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27.xml" ContentType="application/vnd.openxmlformats-officedocument.presentationml.tags+xml"/>
  <Override PartName="/ppt/notesSlides/notesSlide8.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ppt/charts/chart3.xml" ContentType="application/vnd.openxmlformats-officedocument.drawingml.chart+xml"/>
  <Override PartName="/ppt/drawings/drawing3.xml" ContentType="application/vnd.openxmlformats-officedocument.drawingml.chartshape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8" r:id="rId2"/>
    <p:sldMasterId id="2147483698" r:id="rId3"/>
    <p:sldMasterId id="2147483718" r:id="rId4"/>
    <p:sldMasterId id="2147483735" r:id="rId5"/>
  </p:sldMasterIdLst>
  <p:notesMasterIdLst>
    <p:notesMasterId r:id="rId77"/>
  </p:notesMasterIdLst>
  <p:sldIdLst>
    <p:sldId id="257" r:id="rId6"/>
    <p:sldId id="2088197960" r:id="rId7"/>
    <p:sldId id="273" r:id="rId8"/>
    <p:sldId id="2088198028" r:id="rId9"/>
    <p:sldId id="278" r:id="rId10"/>
    <p:sldId id="10940" r:id="rId11"/>
    <p:sldId id="2088198030" r:id="rId12"/>
    <p:sldId id="10943" r:id="rId13"/>
    <p:sldId id="3663" r:id="rId14"/>
    <p:sldId id="2088197984" r:id="rId15"/>
    <p:sldId id="2088197969" r:id="rId16"/>
    <p:sldId id="2088197968" r:id="rId17"/>
    <p:sldId id="2088197971" r:id="rId18"/>
    <p:sldId id="2088197973" r:id="rId19"/>
    <p:sldId id="2088197981" r:id="rId20"/>
    <p:sldId id="3876" r:id="rId21"/>
    <p:sldId id="3874" r:id="rId22"/>
    <p:sldId id="2088197980" r:id="rId23"/>
    <p:sldId id="2088198025" r:id="rId24"/>
    <p:sldId id="2088197998" r:id="rId25"/>
    <p:sldId id="2088198000" r:id="rId26"/>
    <p:sldId id="2088198002" r:id="rId27"/>
    <p:sldId id="271" r:id="rId28"/>
    <p:sldId id="3861" r:id="rId29"/>
    <p:sldId id="2088197974" r:id="rId30"/>
    <p:sldId id="2088198031" r:id="rId31"/>
    <p:sldId id="10927" r:id="rId32"/>
    <p:sldId id="2088198005" r:id="rId33"/>
    <p:sldId id="2088198007" r:id="rId34"/>
    <p:sldId id="2088198039" r:id="rId35"/>
    <p:sldId id="2088198041" r:id="rId36"/>
    <p:sldId id="10942" r:id="rId37"/>
    <p:sldId id="2088198042" r:id="rId38"/>
    <p:sldId id="3849" r:id="rId39"/>
    <p:sldId id="2088198032" r:id="rId40"/>
    <p:sldId id="2088198038" r:id="rId41"/>
    <p:sldId id="2088198043" r:id="rId42"/>
    <p:sldId id="3817" r:id="rId43"/>
    <p:sldId id="2088198040" r:id="rId44"/>
    <p:sldId id="2088198035" r:id="rId45"/>
    <p:sldId id="2088197991" r:id="rId46"/>
    <p:sldId id="260" r:id="rId47"/>
    <p:sldId id="2088197964" r:id="rId48"/>
    <p:sldId id="2088197965" r:id="rId49"/>
    <p:sldId id="2088197966" r:id="rId50"/>
    <p:sldId id="2088197988" r:id="rId51"/>
    <p:sldId id="2088197967" r:id="rId52"/>
    <p:sldId id="2088197995" r:id="rId53"/>
    <p:sldId id="2088198017" r:id="rId54"/>
    <p:sldId id="2088197992" r:id="rId55"/>
    <p:sldId id="2088198004" r:id="rId56"/>
    <p:sldId id="2088198006" r:id="rId57"/>
    <p:sldId id="2088197994" r:id="rId58"/>
    <p:sldId id="2088197989" r:id="rId59"/>
    <p:sldId id="2088198008" r:id="rId60"/>
    <p:sldId id="2088198014" r:id="rId61"/>
    <p:sldId id="2088198009" r:id="rId62"/>
    <p:sldId id="2088198015" r:id="rId63"/>
    <p:sldId id="2088198016" r:id="rId64"/>
    <p:sldId id="2088197993" r:id="rId65"/>
    <p:sldId id="2088198029" r:id="rId66"/>
    <p:sldId id="2088198011" r:id="rId67"/>
    <p:sldId id="2088198013" r:id="rId68"/>
    <p:sldId id="2088197975" r:id="rId69"/>
    <p:sldId id="2088198003" r:id="rId70"/>
    <p:sldId id="2088197987" r:id="rId71"/>
    <p:sldId id="2088198026" r:id="rId72"/>
    <p:sldId id="2088198027" r:id="rId73"/>
    <p:sldId id="2088198019" r:id="rId74"/>
    <p:sldId id="2088198022" r:id="rId75"/>
    <p:sldId id="2088198023" r:id="rId76"/>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67" d="100"/>
          <a:sy n="67" d="100"/>
        </p:scale>
        <p:origin x="644" y="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751294601688313E-2"/>
          <c:y val="1.3269085836152847E-2"/>
          <c:w val="0.80777683195006045"/>
          <c:h val="0.74025377140204851"/>
        </c:manualLayout>
      </c:layout>
      <c:pieChart>
        <c:varyColors val="1"/>
        <c:ser>
          <c:idx val="0"/>
          <c:order val="0"/>
          <c:tx>
            <c:strRef>
              <c:f>Sheet1!$A$2</c:f>
              <c:strCache>
                <c:ptCount val="1"/>
                <c:pt idx="0">
                  <c:v>Placeholder</c:v>
                </c:pt>
              </c:strCache>
            </c:strRef>
          </c:tx>
          <c:spPr>
            <a:solidFill>
              <a:schemeClr val="accent1">
                <a:lumMod val="40000"/>
                <a:lumOff val="60000"/>
              </a:schemeClr>
            </a:solidFill>
            <a:ln w="25558">
              <a:noFill/>
              <a:prstDash val="solid"/>
            </a:ln>
          </c:spPr>
          <c:explosion val="1"/>
          <c:dPt>
            <c:idx val="0"/>
            <c:bubble3D val="0"/>
            <c:explosion val="0"/>
            <c:spPr>
              <a:solidFill>
                <a:schemeClr val="bg2"/>
              </a:solidFill>
              <a:ln w="25558">
                <a:noFill/>
                <a:prstDash val="solid"/>
              </a:ln>
            </c:spPr>
            <c:extLst>
              <c:ext xmlns:c16="http://schemas.microsoft.com/office/drawing/2014/chart" uri="{C3380CC4-5D6E-409C-BE32-E72D297353CC}">
                <c16:uniqueId val="{00000001-5503-40CD-8A2F-9A3AC1B4473C}"/>
              </c:ext>
            </c:extLst>
          </c:dPt>
          <c:dPt>
            <c:idx val="1"/>
            <c:bubble3D val="0"/>
            <c:spPr>
              <a:solidFill>
                <a:schemeClr val="bg2">
                  <a:lumMod val="40000"/>
                  <a:lumOff val="60000"/>
                </a:schemeClr>
              </a:solidFill>
              <a:ln w="25558">
                <a:noFill/>
                <a:prstDash val="solid"/>
              </a:ln>
            </c:spPr>
            <c:extLst>
              <c:ext xmlns:c16="http://schemas.microsoft.com/office/drawing/2014/chart" uri="{C3380CC4-5D6E-409C-BE32-E72D297353CC}">
                <c16:uniqueId val="{00000003-5503-40CD-8A2F-9A3AC1B4473C}"/>
              </c:ext>
            </c:extLst>
          </c:dPt>
          <c:dLbls>
            <c:dLbl>
              <c:idx val="0"/>
              <c:tx>
                <c:rich>
                  <a:bodyPr/>
                  <a:lstStyle/>
                  <a:p>
                    <a:fld id="{5EB55226-8D9B-4CD6-9759-7347746A798E}" type="VALUE">
                      <a:rPr lang="en-US" sz="1200"/>
                      <a:pPr/>
                      <a:t>[VALEUR]</a:t>
                    </a:fld>
                    <a:endParaRPr lang="fr-F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5503-40CD-8A2F-9A3AC1B4473C}"/>
                </c:ext>
              </c:extLst>
            </c:dLbl>
            <c:dLbl>
              <c:idx val="1"/>
              <c:layout>
                <c:manualLayout>
                  <c:x val="6.4859903806206251E-2"/>
                  <c:y val="6.5932745922175268E-2"/>
                </c:manualLayout>
              </c:layout>
              <c:tx>
                <c:rich>
                  <a:bodyPr/>
                  <a:lstStyle/>
                  <a:p>
                    <a:fld id="{6941CD49-9B0D-465A-80F6-D77F15AA8204}" type="VALUE">
                      <a:rPr lang="en-US" sz="1400"/>
                      <a:pPr/>
                      <a:t>[VALEUR]</a:t>
                    </a:fld>
                    <a:endParaRPr lang="fr-FR"/>
                  </a:p>
                </c:rich>
              </c:tx>
              <c:dLblPos val="bestFit"/>
              <c:showLegendKey val="0"/>
              <c:showVal val="1"/>
              <c:showCatName val="0"/>
              <c:showSerName val="0"/>
              <c:showPercent val="0"/>
              <c:showBubbleSize val="0"/>
              <c:extLst>
                <c:ext xmlns:c15="http://schemas.microsoft.com/office/drawing/2012/chart" uri="{CE6537A1-D6FC-4f65-9D91-7224C49458BB}">
                  <c15:layout>
                    <c:manualLayout>
                      <c:w val="0.29355635406346875"/>
                      <c:h val="0.21380774678018297"/>
                    </c:manualLayout>
                  </c15:layout>
                  <c15:dlblFieldTable/>
                  <c15:showDataLabelsRange val="0"/>
                </c:ext>
                <c:ext xmlns:c16="http://schemas.microsoft.com/office/drawing/2014/chart" uri="{C3380CC4-5D6E-409C-BE32-E72D297353CC}">
                  <c16:uniqueId val="{00000003-5503-40CD-8A2F-9A3AC1B4473C}"/>
                </c:ext>
              </c:extLst>
            </c:dLbl>
            <c:numFmt formatCode="0%" sourceLinked="0"/>
            <c:spPr>
              <a:noFill/>
              <a:ln>
                <a:noFill/>
              </a:ln>
              <a:effectLst/>
            </c:spPr>
            <c:txPr>
              <a:bodyPr/>
              <a:lstStyle/>
              <a:p>
                <a:pPr>
                  <a:defRPr sz="2000">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Sheet1!$B$1:$C$1</c:f>
              <c:strCache>
                <c:ptCount val="2"/>
                <c:pt idx="0">
                  <c:v>Femmes</c:v>
                </c:pt>
                <c:pt idx="1">
                  <c:v>Hommes</c:v>
                </c:pt>
              </c:strCache>
            </c:strRef>
          </c:cat>
          <c:val>
            <c:numRef>
              <c:f>Sheet1!$B$2:$C$2</c:f>
              <c:numCache>
                <c:formatCode>0.00%</c:formatCode>
                <c:ptCount val="2"/>
                <c:pt idx="0">
                  <c:v>0.56999999999999995</c:v>
                </c:pt>
                <c:pt idx="1">
                  <c:v>0.43</c:v>
                </c:pt>
              </c:numCache>
            </c:numRef>
          </c:val>
          <c:extLst>
            <c:ext xmlns:c16="http://schemas.microsoft.com/office/drawing/2014/chart" uri="{C3380CC4-5D6E-409C-BE32-E72D297353CC}">
              <c16:uniqueId val="{00000008-5503-40CD-8A2F-9A3AC1B4473C}"/>
            </c:ext>
          </c:extLst>
        </c:ser>
        <c:dLbls>
          <c:showLegendKey val="0"/>
          <c:showVal val="0"/>
          <c:showCatName val="0"/>
          <c:showSerName val="0"/>
          <c:showPercent val="0"/>
          <c:showBubbleSize val="0"/>
          <c:showLeaderLines val="0"/>
        </c:dLbls>
        <c:firstSliceAng val="0"/>
      </c:pieChart>
      <c:spPr>
        <a:noFill/>
        <a:ln w="25558">
          <a:noFill/>
        </a:ln>
      </c:spPr>
    </c:plotArea>
    <c:legend>
      <c:legendPos val="b"/>
      <c:layout>
        <c:manualLayout>
          <c:xMode val="edge"/>
          <c:yMode val="edge"/>
          <c:x val="3.7100092218202456E-4"/>
          <c:y val="0.81491039168668533"/>
          <c:w val="0.99925799815563598"/>
          <c:h val="0.18508960831331467"/>
        </c:manualLayout>
      </c:layout>
      <c:overlay val="0"/>
      <c:spPr>
        <a:solidFill>
          <a:schemeClr val="tx2"/>
        </a:solidFill>
      </c:spPr>
      <c:txPr>
        <a:bodyPr/>
        <a:lstStyle/>
        <a:p>
          <a:pPr>
            <a:defRPr sz="1100">
              <a:solidFill>
                <a:schemeClr val="tx1"/>
              </a:solidFill>
            </a:defRPr>
          </a:pPr>
          <a:endParaRPr lang="fr-FR"/>
        </a:p>
      </c:txPr>
    </c:legend>
    <c:plotVisOnly val="1"/>
    <c:dispBlanksAs val="zero"/>
    <c:showDLblsOverMax val="0"/>
  </c:chart>
  <c:spPr>
    <a:noFill/>
    <a:ln>
      <a:noFill/>
    </a:ln>
  </c:spPr>
  <c:txPr>
    <a:bodyPr/>
    <a:lstStyle/>
    <a:p>
      <a:pPr>
        <a:defRPr sz="1258" b="0" i="0" u="none" strike="noStrike" baseline="0">
          <a:solidFill>
            <a:schemeClr val="tx1"/>
          </a:solidFill>
          <a:latin typeface="+mj-lt"/>
          <a:ea typeface="Arial"/>
          <a:cs typeface="Arial"/>
        </a:defRPr>
      </a:pPr>
      <a:endParaRPr lang="fr-FR"/>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751294601688313E-2"/>
          <c:y val="1.3269085836152847E-2"/>
          <c:w val="0.80777683195006045"/>
          <c:h val="0.74025377140204851"/>
        </c:manualLayout>
      </c:layout>
      <c:pieChart>
        <c:varyColors val="1"/>
        <c:ser>
          <c:idx val="0"/>
          <c:order val="0"/>
          <c:tx>
            <c:strRef>
              <c:f>Sheet1!$A$2</c:f>
              <c:strCache>
                <c:ptCount val="1"/>
                <c:pt idx="0">
                  <c:v>Placeholder</c:v>
                </c:pt>
              </c:strCache>
            </c:strRef>
          </c:tx>
          <c:spPr>
            <a:solidFill>
              <a:schemeClr val="accent1"/>
            </a:solidFill>
            <a:ln w="25558">
              <a:noFill/>
              <a:prstDash val="solid"/>
            </a:ln>
          </c:spPr>
          <c:dPt>
            <c:idx val="0"/>
            <c:bubble3D val="0"/>
            <c:spPr>
              <a:solidFill>
                <a:schemeClr val="bg2"/>
              </a:solidFill>
              <a:ln w="25558">
                <a:noFill/>
                <a:prstDash val="solid"/>
              </a:ln>
            </c:spPr>
            <c:extLst>
              <c:ext xmlns:c16="http://schemas.microsoft.com/office/drawing/2014/chart" uri="{C3380CC4-5D6E-409C-BE32-E72D297353CC}">
                <c16:uniqueId val="{00000001-8A92-418C-9F59-195CD6FE54E0}"/>
              </c:ext>
            </c:extLst>
          </c:dPt>
          <c:dPt>
            <c:idx val="1"/>
            <c:bubble3D val="0"/>
            <c:spPr>
              <a:solidFill>
                <a:schemeClr val="bg2">
                  <a:lumMod val="40000"/>
                  <a:lumOff val="60000"/>
                </a:schemeClr>
              </a:solidFill>
              <a:ln w="25558">
                <a:noFill/>
                <a:prstDash val="solid"/>
              </a:ln>
            </c:spPr>
            <c:extLst>
              <c:ext xmlns:c16="http://schemas.microsoft.com/office/drawing/2014/chart" uri="{C3380CC4-5D6E-409C-BE32-E72D297353CC}">
                <c16:uniqueId val="{00000003-8A92-418C-9F59-195CD6FE54E0}"/>
              </c:ext>
            </c:extLst>
          </c:dPt>
          <c:dPt>
            <c:idx val="2"/>
            <c:bubble3D val="0"/>
            <c:spPr>
              <a:solidFill>
                <a:schemeClr val="accent1">
                  <a:lumMod val="60000"/>
                  <a:lumOff val="40000"/>
                </a:schemeClr>
              </a:solidFill>
              <a:ln w="25558">
                <a:noFill/>
                <a:prstDash val="solid"/>
              </a:ln>
            </c:spPr>
            <c:extLst>
              <c:ext xmlns:c16="http://schemas.microsoft.com/office/drawing/2014/chart" uri="{C3380CC4-5D6E-409C-BE32-E72D297353CC}">
                <c16:uniqueId val="{00000005-8A92-418C-9F59-195CD6FE54E0}"/>
              </c:ext>
            </c:extLst>
          </c:dPt>
          <c:dPt>
            <c:idx val="3"/>
            <c:bubble3D val="0"/>
            <c:spPr>
              <a:solidFill>
                <a:schemeClr val="accent1">
                  <a:lumMod val="40000"/>
                  <a:lumOff val="60000"/>
                </a:schemeClr>
              </a:solidFill>
              <a:ln w="25558">
                <a:noFill/>
                <a:prstDash val="solid"/>
              </a:ln>
            </c:spPr>
            <c:extLst>
              <c:ext xmlns:c16="http://schemas.microsoft.com/office/drawing/2014/chart" uri="{C3380CC4-5D6E-409C-BE32-E72D297353CC}">
                <c16:uniqueId val="{00000007-8A92-418C-9F59-195CD6FE54E0}"/>
              </c:ext>
            </c:extLst>
          </c:dPt>
          <c:dLbls>
            <c:dLbl>
              <c:idx val="0"/>
              <c:layout>
                <c:manualLayout>
                  <c:x val="-9.5193106644083078E-2"/>
                  <c:y val="3.7634049407517065E-2"/>
                </c:manualLayout>
              </c:layout>
              <c:tx>
                <c:rich>
                  <a:bodyPr/>
                  <a:lstStyle/>
                  <a:p>
                    <a:fld id="{CB9F6909-5AF1-4E47-A56D-CC666B80EFCF}" type="VALUE">
                      <a:rPr lang="en-US" sz="1400"/>
                      <a:pPr/>
                      <a:t>[VALEUR]</a:t>
                    </a:fld>
                    <a:endParaRPr lang="fr-FR"/>
                  </a:p>
                </c:rich>
              </c:tx>
              <c:dLblPos val="bestFit"/>
              <c:showLegendKey val="0"/>
              <c:showVal val="1"/>
              <c:showCatName val="0"/>
              <c:showSerName val="0"/>
              <c:showPercent val="0"/>
              <c:showBubbleSize val="0"/>
              <c:extLst>
                <c:ext xmlns:c15="http://schemas.microsoft.com/office/drawing/2012/chart" uri="{CE6537A1-D6FC-4f65-9D91-7224C49458BB}">
                  <c15:layout>
                    <c:manualLayout>
                      <c:w val="0.22379787718513311"/>
                      <c:h val="0.21380774678018297"/>
                    </c:manualLayout>
                  </c15:layout>
                  <c15:dlblFieldTable/>
                  <c15:showDataLabelsRange val="0"/>
                </c:ext>
                <c:ext xmlns:c16="http://schemas.microsoft.com/office/drawing/2014/chart" uri="{C3380CC4-5D6E-409C-BE32-E72D297353CC}">
                  <c16:uniqueId val="{00000001-8A92-418C-9F59-195CD6FE54E0}"/>
                </c:ext>
              </c:extLst>
            </c:dLbl>
            <c:dLbl>
              <c:idx val="1"/>
              <c:tx>
                <c:rich>
                  <a:bodyPr/>
                  <a:lstStyle/>
                  <a:p>
                    <a:fld id="{D03C883B-247F-41A4-9597-518D23523B7C}" type="VALUE">
                      <a:rPr lang="en-US" sz="1400"/>
                      <a:pPr/>
                      <a:t>[VALEUR]</a:t>
                    </a:fld>
                    <a:endParaRPr lang="fr-FR"/>
                  </a:p>
                </c:rich>
              </c:tx>
              <c:dLblPos val="inEnd"/>
              <c:showLegendKey val="0"/>
              <c:showVal val="1"/>
              <c:showCatName val="0"/>
              <c:showSerName val="0"/>
              <c:showPercent val="0"/>
              <c:showBubbleSize val="0"/>
              <c:extLst>
                <c:ext xmlns:c15="http://schemas.microsoft.com/office/drawing/2012/chart" uri="{CE6537A1-D6FC-4f65-9D91-7224C49458BB}">
                  <c15:layout>
                    <c:manualLayout>
                      <c:w val="0.26184795548240708"/>
                      <c:h val="0.21380774678018297"/>
                    </c:manualLayout>
                  </c15:layout>
                  <c15:dlblFieldTable/>
                  <c15:showDataLabelsRange val="0"/>
                </c:ext>
                <c:ext xmlns:c16="http://schemas.microsoft.com/office/drawing/2014/chart" uri="{C3380CC4-5D6E-409C-BE32-E72D297353CC}">
                  <c16:uniqueId val="{00000003-8A92-418C-9F59-195CD6FE54E0}"/>
                </c:ext>
              </c:extLst>
            </c:dLbl>
            <c:dLbl>
              <c:idx val="2"/>
              <c:layout>
                <c:manualLayout>
                  <c:x val="9.5412818382282452E-2"/>
                  <c:y val="1.1957882116602106E-2"/>
                </c:manualLayout>
              </c:layout>
              <c:tx>
                <c:rich>
                  <a:bodyPr/>
                  <a:lstStyle/>
                  <a:p>
                    <a:pPr>
                      <a:defRPr sz="2000">
                        <a:solidFill>
                          <a:schemeClr val="tx1"/>
                        </a:solidFill>
                      </a:defRPr>
                    </a:pPr>
                    <a:fld id="{81E9A0EC-78FC-45ED-BF12-BF2CBBAB03CB}" type="VALUE">
                      <a:rPr lang="en-US" sz="1400">
                        <a:solidFill>
                          <a:schemeClr val="bg1"/>
                        </a:solidFill>
                      </a:rPr>
                      <a:pPr>
                        <a:defRPr sz="2000">
                          <a:solidFill>
                            <a:schemeClr val="tx1"/>
                          </a:solidFill>
                        </a:defRPr>
                      </a:pPr>
                      <a:t>[VALEUR]</a:t>
                    </a:fld>
                    <a:endParaRPr lang="fr-FR"/>
                  </a:p>
                </c:rich>
              </c:tx>
              <c:numFmt formatCode="0%" sourceLinked="0"/>
              <c:spPr>
                <a:noFill/>
                <a:ln>
                  <a:noFill/>
                </a:ln>
                <a:effectLst/>
              </c:spPr>
              <c:dLblPos val="bestFit"/>
              <c:showLegendKey val="0"/>
              <c:showVal val="1"/>
              <c:showCatName val="0"/>
              <c:showSerName val="0"/>
              <c:showPercent val="0"/>
              <c:showBubbleSize val="0"/>
              <c:extLst>
                <c:ext xmlns:c15="http://schemas.microsoft.com/office/drawing/2012/chart" uri="{CE6537A1-D6FC-4f65-9D91-7224C49458BB}">
                  <c15:layout>
                    <c:manualLayout>
                      <c:w val="0.24916459604998245"/>
                      <c:h val="0.21380774678018297"/>
                    </c:manualLayout>
                  </c15:layout>
                  <c15:dlblFieldTable/>
                  <c15:showDataLabelsRange val="0"/>
                </c:ext>
                <c:ext xmlns:c16="http://schemas.microsoft.com/office/drawing/2014/chart" uri="{C3380CC4-5D6E-409C-BE32-E72D297353CC}">
                  <c16:uniqueId val="{00000005-8A92-418C-9F59-195CD6FE54E0}"/>
                </c:ext>
              </c:extLst>
            </c:dLbl>
            <c:dLbl>
              <c:idx val="3"/>
              <c:tx>
                <c:rich>
                  <a:bodyPr/>
                  <a:lstStyle/>
                  <a:p>
                    <a:pPr>
                      <a:defRPr sz="2000">
                        <a:solidFill>
                          <a:schemeClr val="tx1"/>
                        </a:solidFill>
                      </a:defRPr>
                    </a:pPr>
                    <a:fld id="{A3063C52-F35F-41D1-9CCB-DEEA4811FCD3}" type="VALUE">
                      <a:rPr lang="en-US" sz="1400">
                        <a:solidFill>
                          <a:schemeClr val="bg1"/>
                        </a:solidFill>
                      </a:rPr>
                      <a:pPr>
                        <a:defRPr sz="2000">
                          <a:solidFill>
                            <a:schemeClr val="tx1"/>
                          </a:solidFill>
                        </a:defRPr>
                      </a:pPr>
                      <a:t>[VALEUR]</a:t>
                    </a:fld>
                    <a:endParaRPr lang="fr-FR"/>
                  </a:p>
                </c:rich>
              </c:tx>
              <c:numFmt formatCode="0%" sourceLinked="0"/>
              <c:spPr>
                <a:noFill/>
                <a:ln>
                  <a:noFill/>
                </a:ln>
                <a:effectLst/>
              </c:spPr>
              <c:dLblPos val="inEnd"/>
              <c:showLegendKey val="0"/>
              <c:showVal val="1"/>
              <c:showCatName val="0"/>
              <c:showSerName val="0"/>
              <c:showPercent val="0"/>
              <c:showBubbleSize val="0"/>
              <c:extLst>
                <c:ext xmlns:c15="http://schemas.microsoft.com/office/drawing/2012/chart" uri="{CE6537A1-D6FC-4f65-9D91-7224C49458BB}">
                  <c15:layout>
                    <c:manualLayout>
                      <c:w val="0.30623971349589341"/>
                      <c:h val="0.21380774678018297"/>
                    </c:manualLayout>
                  </c15:layout>
                  <c15:dlblFieldTable/>
                  <c15:showDataLabelsRange val="0"/>
                </c:ext>
                <c:ext xmlns:c16="http://schemas.microsoft.com/office/drawing/2014/chart" uri="{C3380CC4-5D6E-409C-BE32-E72D297353CC}">
                  <c16:uniqueId val="{00000007-8A92-418C-9F59-195CD6FE54E0}"/>
                </c:ext>
              </c:extLst>
            </c:dLbl>
            <c:numFmt formatCode="0%" sourceLinked="0"/>
            <c:spPr>
              <a:noFill/>
              <a:ln>
                <a:noFill/>
              </a:ln>
              <a:effectLst/>
            </c:spPr>
            <c:txPr>
              <a:bodyPr/>
              <a:lstStyle/>
              <a:p>
                <a:pPr>
                  <a:defRPr sz="2000">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Sheet1!$B$1:$E$1</c:f>
              <c:strCache>
                <c:ptCount val="4"/>
                <c:pt idx="0">
                  <c:v>Conjoints</c:v>
                </c:pt>
                <c:pt idx="1">
                  <c:v>Enfants</c:v>
                </c:pt>
                <c:pt idx="2">
                  <c:v>Autres</c:v>
                </c:pt>
                <c:pt idx="3">
                  <c:v>Parents</c:v>
                </c:pt>
              </c:strCache>
            </c:strRef>
          </c:cat>
          <c:val>
            <c:numRef>
              <c:f>Sheet1!$B$2:$E$2</c:f>
              <c:numCache>
                <c:formatCode>0.00%</c:formatCode>
                <c:ptCount val="4"/>
                <c:pt idx="0">
                  <c:v>0.45</c:v>
                </c:pt>
                <c:pt idx="1">
                  <c:v>0.21</c:v>
                </c:pt>
                <c:pt idx="2">
                  <c:v>0.21</c:v>
                </c:pt>
                <c:pt idx="3">
                  <c:v>0.13</c:v>
                </c:pt>
              </c:numCache>
            </c:numRef>
          </c:val>
          <c:extLst>
            <c:ext xmlns:c16="http://schemas.microsoft.com/office/drawing/2014/chart" uri="{C3380CC4-5D6E-409C-BE32-E72D297353CC}">
              <c16:uniqueId val="{00000008-8A92-418C-9F59-195CD6FE54E0}"/>
            </c:ext>
          </c:extLst>
        </c:ser>
        <c:dLbls>
          <c:showLegendKey val="0"/>
          <c:showVal val="0"/>
          <c:showCatName val="0"/>
          <c:showSerName val="0"/>
          <c:showPercent val="0"/>
          <c:showBubbleSize val="0"/>
          <c:showLeaderLines val="0"/>
        </c:dLbls>
        <c:firstSliceAng val="0"/>
      </c:pieChart>
      <c:spPr>
        <a:noFill/>
        <a:ln w="25558">
          <a:noFill/>
        </a:ln>
      </c:spPr>
    </c:plotArea>
    <c:legend>
      <c:legendPos val="b"/>
      <c:layout>
        <c:manualLayout>
          <c:xMode val="edge"/>
          <c:yMode val="edge"/>
          <c:x val="3.7100092218202456E-4"/>
          <c:y val="0.8049727301892845"/>
          <c:w val="0.99962918191103844"/>
          <c:h val="0.19502726981071541"/>
        </c:manualLayout>
      </c:layout>
      <c:overlay val="0"/>
      <c:spPr>
        <a:solidFill>
          <a:schemeClr val="tx2"/>
        </a:solidFill>
      </c:spPr>
      <c:txPr>
        <a:bodyPr/>
        <a:lstStyle/>
        <a:p>
          <a:pPr>
            <a:defRPr sz="1100">
              <a:solidFill>
                <a:schemeClr val="tx1"/>
              </a:solidFill>
            </a:defRPr>
          </a:pPr>
          <a:endParaRPr lang="fr-FR"/>
        </a:p>
      </c:txPr>
    </c:legend>
    <c:plotVisOnly val="1"/>
    <c:dispBlanksAs val="zero"/>
    <c:showDLblsOverMax val="0"/>
  </c:chart>
  <c:spPr>
    <a:noFill/>
    <a:ln>
      <a:noFill/>
    </a:ln>
  </c:spPr>
  <c:txPr>
    <a:bodyPr/>
    <a:lstStyle/>
    <a:p>
      <a:pPr>
        <a:defRPr sz="1258" b="0" i="0" u="none" strike="noStrike" baseline="0">
          <a:solidFill>
            <a:schemeClr val="tx1"/>
          </a:solidFill>
          <a:latin typeface="+mj-lt"/>
          <a:ea typeface="Arial"/>
          <a:cs typeface="Arial"/>
        </a:defRPr>
      </a:pPr>
      <a:endParaRPr lang="fr-FR"/>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751294601688313E-2"/>
          <c:y val="1.3269085836152847E-2"/>
          <c:w val="0.80777683195006045"/>
          <c:h val="0.74025377140204851"/>
        </c:manualLayout>
      </c:layout>
      <c:pieChart>
        <c:varyColors val="1"/>
        <c:ser>
          <c:idx val="0"/>
          <c:order val="0"/>
          <c:tx>
            <c:strRef>
              <c:f>Sheet1!$A$2</c:f>
              <c:strCache>
                <c:ptCount val="1"/>
                <c:pt idx="0">
                  <c:v>Placeholder</c:v>
                </c:pt>
              </c:strCache>
            </c:strRef>
          </c:tx>
          <c:spPr>
            <a:solidFill>
              <a:schemeClr val="accent1"/>
            </a:solidFill>
            <a:ln w="25558">
              <a:noFill/>
              <a:prstDash val="solid"/>
            </a:ln>
          </c:spPr>
          <c:dPt>
            <c:idx val="0"/>
            <c:bubble3D val="0"/>
            <c:spPr>
              <a:solidFill>
                <a:schemeClr val="bg2"/>
              </a:solidFill>
              <a:ln w="25558">
                <a:noFill/>
                <a:prstDash val="solid"/>
              </a:ln>
            </c:spPr>
            <c:extLst>
              <c:ext xmlns:c16="http://schemas.microsoft.com/office/drawing/2014/chart" uri="{C3380CC4-5D6E-409C-BE32-E72D297353CC}">
                <c16:uniqueId val="{00000001-40D3-451E-8B55-2A70F0EB251A}"/>
              </c:ext>
            </c:extLst>
          </c:dPt>
          <c:dPt>
            <c:idx val="1"/>
            <c:bubble3D val="0"/>
            <c:spPr>
              <a:solidFill>
                <a:schemeClr val="bg2">
                  <a:lumMod val="40000"/>
                  <a:lumOff val="60000"/>
                </a:schemeClr>
              </a:solidFill>
              <a:ln w="25558">
                <a:noFill/>
                <a:prstDash val="solid"/>
              </a:ln>
            </c:spPr>
            <c:extLst>
              <c:ext xmlns:c16="http://schemas.microsoft.com/office/drawing/2014/chart" uri="{C3380CC4-5D6E-409C-BE32-E72D297353CC}">
                <c16:uniqueId val="{00000003-40D3-451E-8B55-2A70F0EB251A}"/>
              </c:ext>
            </c:extLst>
          </c:dPt>
          <c:dPt>
            <c:idx val="2"/>
            <c:bubble3D val="0"/>
            <c:spPr>
              <a:solidFill>
                <a:schemeClr val="accent1">
                  <a:lumMod val="60000"/>
                  <a:lumOff val="40000"/>
                </a:schemeClr>
              </a:solidFill>
              <a:ln w="25558">
                <a:noFill/>
                <a:prstDash val="solid"/>
              </a:ln>
            </c:spPr>
            <c:extLst>
              <c:ext xmlns:c16="http://schemas.microsoft.com/office/drawing/2014/chart" uri="{C3380CC4-5D6E-409C-BE32-E72D297353CC}">
                <c16:uniqueId val="{00000005-40D3-451E-8B55-2A70F0EB251A}"/>
              </c:ext>
            </c:extLst>
          </c:dPt>
          <c:dPt>
            <c:idx val="3"/>
            <c:bubble3D val="0"/>
            <c:spPr>
              <a:solidFill>
                <a:schemeClr val="accent1">
                  <a:lumMod val="40000"/>
                  <a:lumOff val="60000"/>
                </a:schemeClr>
              </a:solidFill>
              <a:ln w="25558">
                <a:noFill/>
                <a:prstDash val="solid"/>
              </a:ln>
            </c:spPr>
            <c:extLst>
              <c:ext xmlns:c16="http://schemas.microsoft.com/office/drawing/2014/chart" uri="{C3380CC4-5D6E-409C-BE32-E72D297353CC}">
                <c16:uniqueId val="{00000007-40D3-451E-8B55-2A70F0EB251A}"/>
              </c:ext>
            </c:extLst>
          </c:dPt>
          <c:dLbls>
            <c:dLbl>
              <c:idx val="0"/>
              <c:layout>
                <c:manualLayout>
                  <c:x val="-9.2130125275638367E-2"/>
                  <c:y val="3.8236714036320014E-2"/>
                </c:manualLayout>
              </c:layout>
              <c:tx>
                <c:rich>
                  <a:bodyPr/>
                  <a:lstStyle/>
                  <a:p>
                    <a:fld id="{36901137-200E-4346-97A1-3C68344B4B82}" type="VALUE">
                      <a:rPr lang="en-US" sz="1400"/>
                      <a:pPr/>
                      <a:t>[VALEUR]</a:t>
                    </a:fld>
                    <a:endParaRPr lang="fr-FR"/>
                  </a:p>
                </c:rich>
              </c:tx>
              <c:dLblPos val="bestFit"/>
              <c:showLegendKey val="0"/>
              <c:showVal val="1"/>
              <c:showCatName val="0"/>
              <c:showSerName val="0"/>
              <c:showPercent val="0"/>
              <c:showBubbleSize val="0"/>
              <c:extLst>
                <c:ext xmlns:c15="http://schemas.microsoft.com/office/drawing/2012/chart" uri="{CE6537A1-D6FC-4f65-9D91-7224C49458BB}">
                  <c15:layout>
                    <c:manualLayout>
                      <c:w val="0.22728580102904991"/>
                      <c:h val="0.29801743014101068"/>
                    </c:manualLayout>
                  </c15:layout>
                  <c15:dlblFieldTable/>
                  <c15:showDataLabelsRange val="0"/>
                </c:ext>
                <c:ext xmlns:c16="http://schemas.microsoft.com/office/drawing/2014/chart" uri="{C3380CC4-5D6E-409C-BE32-E72D297353CC}">
                  <c16:uniqueId val="{00000001-40D3-451E-8B55-2A70F0EB251A}"/>
                </c:ext>
              </c:extLst>
            </c:dLbl>
            <c:dLbl>
              <c:idx val="1"/>
              <c:layout>
                <c:manualLayout>
                  <c:x val="0.19441942171870505"/>
                  <c:y val="-0.16285169736808988"/>
                </c:manualLayout>
              </c:layout>
              <c:tx>
                <c:rich>
                  <a:bodyPr/>
                  <a:lstStyle/>
                  <a:p>
                    <a:fld id="{E9F5DE55-F491-4705-A0BE-543D4D2C7E4F}" type="VALUE">
                      <a:rPr lang="en-US" sz="1400"/>
                      <a:pPr/>
                      <a:t>[VALEUR]</a:t>
                    </a:fld>
                    <a:endParaRPr lang="fr-FR"/>
                  </a:p>
                </c:rich>
              </c:tx>
              <c:dLblPos val="bestFit"/>
              <c:showLegendKey val="0"/>
              <c:showVal val="1"/>
              <c:showCatName val="0"/>
              <c:showSerName val="0"/>
              <c:showPercent val="0"/>
              <c:showBubbleSize val="0"/>
              <c:extLst>
                <c:ext xmlns:c15="http://schemas.microsoft.com/office/drawing/2012/chart" uri="{CE6537A1-D6FC-4f65-9D91-7224C49458BB}">
                  <c15:layout>
                    <c:manualLayout>
                      <c:w val="0.37314443450193346"/>
                      <c:h val="0.24571327898521711"/>
                    </c:manualLayout>
                  </c15:layout>
                  <c15:dlblFieldTable/>
                  <c15:showDataLabelsRange val="0"/>
                </c:ext>
                <c:ext xmlns:c16="http://schemas.microsoft.com/office/drawing/2014/chart" uri="{C3380CC4-5D6E-409C-BE32-E72D297353CC}">
                  <c16:uniqueId val="{00000003-40D3-451E-8B55-2A70F0EB251A}"/>
                </c:ext>
              </c:extLst>
            </c:dLbl>
            <c:dLbl>
              <c:idx val="2"/>
              <c:layout>
                <c:manualLayout>
                  <c:x val="0.12111859240676233"/>
                  <c:y val="8.4994703232286722E-2"/>
                </c:manualLayout>
              </c:layout>
              <c:tx>
                <c:rich>
                  <a:bodyPr/>
                  <a:lstStyle/>
                  <a:p>
                    <a:pPr>
                      <a:defRPr sz="2000">
                        <a:solidFill>
                          <a:schemeClr val="tx1"/>
                        </a:solidFill>
                      </a:defRPr>
                    </a:pPr>
                    <a:fld id="{83D52F47-F908-4F08-A27B-74DDB0E6FECC}" type="VALUE">
                      <a:rPr lang="en-US" sz="1400">
                        <a:solidFill>
                          <a:schemeClr val="bg1"/>
                        </a:solidFill>
                      </a:rPr>
                      <a:pPr>
                        <a:defRPr sz="2000">
                          <a:solidFill>
                            <a:schemeClr val="tx1"/>
                          </a:solidFill>
                        </a:defRPr>
                      </a:pPr>
                      <a:t>[VALEUR]</a:t>
                    </a:fld>
                    <a:endParaRPr lang="fr-FR"/>
                  </a:p>
                </c:rich>
              </c:tx>
              <c:numFmt formatCode="0%" sourceLinked="0"/>
              <c:spPr>
                <a:noFill/>
                <a:ln>
                  <a:noFill/>
                </a:ln>
                <a:effectLst/>
              </c:spPr>
              <c:dLblPos val="bestFit"/>
              <c:showLegendKey val="0"/>
              <c:showVal val="1"/>
              <c:showCatName val="0"/>
              <c:showSerName val="0"/>
              <c:showPercent val="0"/>
              <c:showBubbleSize val="0"/>
              <c:extLst>
                <c:ext xmlns:c15="http://schemas.microsoft.com/office/drawing/2012/chart" uri="{CE6537A1-D6FC-4f65-9D91-7224C49458BB}">
                  <c15:layout>
                    <c:manualLayout>
                      <c:w val="0.32875267648844714"/>
                      <c:h val="0.29801743014101068"/>
                    </c:manualLayout>
                  </c15:layout>
                  <c15:dlblFieldTable/>
                  <c15:showDataLabelsRange val="0"/>
                </c:ext>
                <c:ext xmlns:c16="http://schemas.microsoft.com/office/drawing/2014/chart" uri="{C3380CC4-5D6E-409C-BE32-E72D297353CC}">
                  <c16:uniqueId val="{00000005-40D3-451E-8B55-2A70F0EB251A}"/>
                </c:ext>
              </c:extLst>
            </c:dLbl>
            <c:dLbl>
              <c:idx val="3"/>
              <c:layout>
                <c:manualLayout>
                  <c:x val="0.10036770169115529"/>
                  <c:y val="-2.2359727667158862E-2"/>
                </c:manualLayout>
              </c:layout>
              <c:tx>
                <c:rich>
                  <a:bodyPr/>
                  <a:lstStyle/>
                  <a:p>
                    <a:pPr>
                      <a:defRPr sz="2000">
                        <a:solidFill>
                          <a:schemeClr val="tx1"/>
                        </a:solidFill>
                      </a:defRPr>
                    </a:pPr>
                    <a:fld id="{7DCFB2BF-0AF9-4AD1-9F08-FD0A119253B4}" type="VALUE">
                      <a:rPr lang="en-US" sz="1400" dirty="0">
                        <a:solidFill>
                          <a:schemeClr val="bg1"/>
                        </a:solidFill>
                      </a:rPr>
                      <a:pPr>
                        <a:defRPr sz="2000">
                          <a:solidFill>
                            <a:schemeClr val="tx1"/>
                          </a:solidFill>
                        </a:defRPr>
                      </a:pPr>
                      <a:t>[VALEUR]</a:t>
                    </a:fld>
                    <a:endParaRPr lang="fr-FR"/>
                  </a:p>
                </c:rich>
              </c:tx>
              <c:numFmt formatCode="0%" sourceLinked="0"/>
              <c:spPr>
                <a:noFill/>
                <a:ln>
                  <a:noFill/>
                </a:ln>
                <a:effectLst/>
              </c:spPr>
              <c:dLblPos val="bestFit"/>
              <c:showLegendKey val="0"/>
              <c:showVal val="1"/>
              <c:showCatName val="0"/>
              <c:showSerName val="0"/>
              <c:showPercent val="0"/>
              <c:showBubbleSize val="0"/>
              <c:extLst>
                <c:ext xmlns:c15="http://schemas.microsoft.com/office/drawing/2012/chart" uri="{CE6537A1-D6FC-4f65-9D91-7224C49458BB}">
                  <c15:layout>
                    <c:manualLayout>
                      <c:w val="0.23556132769439769"/>
                      <c:h val="0.20541092513908776"/>
                    </c:manualLayout>
                  </c15:layout>
                  <c15:dlblFieldTable/>
                  <c15:showDataLabelsRange val="0"/>
                </c:ext>
                <c:ext xmlns:c16="http://schemas.microsoft.com/office/drawing/2014/chart" uri="{C3380CC4-5D6E-409C-BE32-E72D297353CC}">
                  <c16:uniqueId val="{00000007-40D3-451E-8B55-2A70F0EB251A}"/>
                </c:ext>
              </c:extLst>
            </c:dLbl>
            <c:numFmt formatCode="0%" sourceLinked="0"/>
            <c:spPr>
              <a:noFill/>
              <a:ln>
                <a:noFill/>
              </a:ln>
              <a:effectLst/>
            </c:spPr>
            <c:txPr>
              <a:bodyPr/>
              <a:lstStyle/>
              <a:p>
                <a:pPr>
                  <a:defRPr sz="2000">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Sheet1!$B$1:$E$1</c:f>
              <c:strCache>
                <c:ptCount val="4"/>
                <c:pt idx="0">
                  <c:v>Employés</c:v>
                </c:pt>
                <c:pt idx="1">
                  <c:v>Retraités</c:v>
                </c:pt>
                <c:pt idx="2">
                  <c:v>Inactifs</c:v>
                </c:pt>
                <c:pt idx="3">
                  <c:v>Sans emploi</c:v>
                </c:pt>
              </c:strCache>
            </c:strRef>
          </c:cat>
          <c:val>
            <c:numRef>
              <c:f>Sheet1!$B$2:$E$2</c:f>
              <c:numCache>
                <c:formatCode>0.00%</c:formatCode>
                <c:ptCount val="4"/>
                <c:pt idx="0">
                  <c:v>0.47</c:v>
                </c:pt>
                <c:pt idx="1">
                  <c:v>0.33</c:v>
                </c:pt>
                <c:pt idx="2">
                  <c:v>0.13</c:v>
                </c:pt>
                <c:pt idx="3">
                  <c:v>7.0000000000000007E-2</c:v>
                </c:pt>
              </c:numCache>
            </c:numRef>
          </c:val>
          <c:extLst>
            <c:ext xmlns:c16="http://schemas.microsoft.com/office/drawing/2014/chart" uri="{C3380CC4-5D6E-409C-BE32-E72D297353CC}">
              <c16:uniqueId val="{00000008-40D3-451E-8B55-2A70F0EB251A}"/>
            </c:ext>
          </c:extLst>
        </c:ser>
        <c:dLbls>
          <c:showLegendKey val="0"/>
          <c:showVal val="0"/>
          <c:showCatName val="0"/>
          <c:showSerName val="0"/>
          <c:showPercent val="0"/>
          <c:showBubbleSize val="0"/>
          <c:showLeaderLines val="0"/>
        </c:dLbls>
        <c:firstSliceAng val="0"/>
      </c:pieChart>
      <c:spPr>
        <a:noFill/>
        <a:ln w="25558">
          <a:noFill/>
        </a:ln>
      </c:spPr>
    </c:plotArea>
    <c:legend>
      <c:legendPos val="t"/>
      <c:legendEntry>
        <c:idx val="0"/>
        <c:txPr>
          <a:bodyPr anchor="ctr" anchorCtr="0"/>
          <a:lstStyle/>
          <a:p>
            <a:pPr algn="just">
              <a:defRPr sz="1100"/>
            </a:pPr>
            <a:endParaRPr lang="fr-FR"/>
          </a:p>
        </c:txPr>
      </c:legendEntry>
      <c:layout>
        <c:manualLayout>
          <c:xMode val="edge"/>
          <c:yMode val="edge"/>
          <c:x val="0"/>
          <c:y val="0.80182163900561043"/>
          <c:w val="1"/>
          <c:h val="0.19430659561648556"/>
        </c:manualLayout>
      </c:layout>
      <c:overlay val="1"/>
      <c:spPr>
        <a:solidFill>
          <a:schemeClr val="bg1">
            <a:lumMod val="95000"/>
          </a:schemeClr>
        </a:solidFill>
      </c:spPr>
      <c:txPr>
        <a:bodyPr anchor="ctr" anchorCtr="0"/>
        <a:lstStyle/>
        <a:p>
          <a:pPr>
            <a:defRPr sz="1100"/>
          </a:pPr>
          <a:endParaRPr lang="fr-FR"/>
        </a:p>
      </c:txPr>
    </c:legend>
    <c:plotVisOnly val="1"/>
    <c:dispBlanksAs val="zero"/>
    <c:showDLblsOverMax val="0"/>
  </c:chart>
  <c:spPr>
    <a:noFill/>
    <a:ln>
      <a:noFill/>
    </a:ln>
  </c:spPr>
  <c:txPr>
    <a:bodyPr/>
    <a:lstStyle/>
    <a:p>
      <a:pPr>
        <a:defRPr sz="1258" b="0" i="0" u="none" strike="noStrike" baseline="0">
          <a:solidFill>
            <a:schemeClr val="tx1"/>
          </a:solidFill>
          <a:latin typeface="+mj-lt"/>
          <a:ea typeface="Arial"/>
          <a:cs typeface="Arial"/>
        </a:defRPr>
      </a:pPr>
      <a:endParaRPr lang="fr-FR"/>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solidFill>
              <a:srgbClr val="CAC5B8"/>
            </a:solidFill>
            <a:ln>
              <a:noFill/>
            </a:ln>
          </c:spPr>
          <c:dPt>
            <c:idx val="0"/>
            <c:bubble3D val="0"/>
            <c:spPr>
              <a:solidFill>
                <a:srgbClr val="546B8C"/>
              </a:solidFill>
              <a:ln w="19050">
                <a:noFill/>
              </a:ln>
              <a:effectLst/>
            </c:spPr>
            <c:extLst>
              <c:ext xmlns:c16="http://schemas.microsoft.com/office/drawing/2014/chart" uri="{C3380CC4-5D6E-409C-BE32-E72D297353CC}">
                <c16:uniqueId val="{00000001-D40A-4EBD-A61E-B38D0D53EE99}"/>
              </c:ext>
            </c:extLst>
          </c:dPt>
          <c:dPt>
            <c:idx val="1"/>
            <c:bubble3D val="0"/>
            <c:spPr>
              <a:solidFill>
                <a:srgbClr val="546B8C">
                  <a:lumMod val="40000"/>
                  <a:lumOff val="60000"/>
                  <a:alpha val="60000"/>
                </a:srgbClr>
              </a:solidFill>
              <a:ln w="19050">
                <a:noFill/>
              </a:ln>
              <a:effectLst/>
            </c:spPr>
            <c:extLst>
              <c:ext xmlns:c16="http://schemas.microsoft.com/office/drawing/2014/chart" uri="{C3380CC4-5D6E-409C-BE32-E72D297353CC}">
                <c16:uniqueId val="{00000003-D40A-4EBD-A61E-B38D0D53EE99}"/>
              </c:ext>
            </c:extLst>
          </c:dPt>
          <c:dPt>
            <c:idx val="2"/>
            <c:bubble3D val="0"/>
            <c:spPr>
              <a:solidFill>
                <a:srgbClr val="CAC5B8"/>
              </a:solidFill>
              <a:ln w="19050">
                <a:noFill/>
              </a:ln>
              <a:effectLst/>
            </c:spPr>
            <c:extLst>
              <c:ext xmlns:c16="http://schemas.microsoft.com/office/drawing/2014/chart" uri="{C3380CC4-5D6E-409C-BE32-E72D297353CC}">
                <c16:uniqueId val="{00000005-D40A-4EBD-A61E-B38D0D53EE99}"/>
              </c:ext>
            </c:extLst>
          </c:dPt>
          <c:dPt>
            <c:idx val="3"/>
            <c:bubble3D val="0"/>
            <c:spPr>
              <a:solidFill>
                <a:srgbClr val="CAC5B8"/>
              </a:solidFill>
              <a:ln w="19050">
                <a:noFill/>
              </a:ln>
              <a:effectLst/>
            </c:spPr>
            <c:extLst>
              <c:ext xmlns:c16="http://schemas.microsoft.com/office/drawing/2014/chart" uri="{C3380CC4-5D6E-409C-BE32-E72D297353CC}">
                <c16:uniqueId val="{00000007-D40A-4EBD-A61E-B38D0D53EE99}"/>
              </c:ext>
            </c:extLst>
          </c:dPt>
          <c:cat>
            <c:strRef>
              <c:f>Sheet1!$A$2:$A$5</c:f>
              <c:strCache>
                <c:ptCount val="2"/>
                <c:pt idx="0">
                  <c:v>1st Qtr</c:v>
                </c:pt>
                <c:pt idx="1">
                  <c:v>2nd Qtr</c:v>
                </c:pt>
              </c:strCache>
            </c:strRef>
          </c:cat>
          <c:val>
            <c:numRef>
              <c:f>Sheet1!$B$2:$B$5</c:f>
              <c:numCache>
                <c:formatCode>General</c:formatCode>
                <c:ptCount val="4"/>
                <c:pt idx="0">
                  <c:v>64</c:v>
                </c:pt>
                <c:pt idx="1">
                  <c:v>36</c:v>
                </c:pt>
              </c:numCache>
            </c:numRef>
          </c:val>
          <c:extLst>
            <c:ext xmlns:c16="http://schemas.microsoft.com/office/drawing/2014/chart" uri="{C3380CC4-5D6E-409C-BE32-E72D297353CC}">
              <c16:uniqueId val="{00000008-D40A-4EBD-A61E-B38D0D53EE99}"/>
            </c:ext>
          </c:extLst>
        </c:ser>
        <c:dLbls>
          <c:showLegendKey val="0"/>
          <c:showVal val="0"/>
          <c:showCatName val="0"/>
          <c:showSerName val="0"/>
          <c:showPercent val="0"/>
          <c:showBubbleSize val="0"/>
          <c:showLeaderLines val="1"/>
        </c:dLbls>
        <c:firstSliceAng val="0"/>
        <c:holeSize val="84"/>
      </c:doughnutChart>
      <c:spPr>
        <a:noFill/>
        <a:ln>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solidFill>
              <a:srgbClr val="8C9B9C"/>
            </a:solidFill>
          </c:spPr>
          <c:dPt>
            <c:idx val="0"/>
            <c:bubble3D val="0"/>
            <c:explosion val="1"/>
            <c:spPr>
              <a:solidFill>
                <a:srgbClr val="B24669"/>
              </a:solidFill>
              <a:ln w="19050">
                <a:noFill/>
              </a:ln>
              <a:effectLst/>
            </c:spPr>
            <c:extLst>
              <c:ext xmlns:c16="http://schemas.microsoft.com/office/drawing/2014/chart" uri="{C3380CC4-5D6E-409C-BE32-E72D297353CC}">
                <c16:uniqueId val="{00000001-B0B3-4669-84F6-5E8DC9229408}"/>
              </c:ext>
            </c:extLst>
          </c:dPt>
          <c:dPt>
            <c:idx val="1"/>
            <c:bubble3D val="0"/>
            <c:spPr>
              <a:solidFill>
                <a:srgbClr val="B24669">
                  <a:lumMod val="40000"/>
                  <a:lumOff val="60000"/>
                </a:srgbClr>
              </a:solidFill>
              <a:ln w="19050">
                <a:noFill/>
              </a:ln>
              <a:effectLst/>
            </c:spPr>
            <c:extLst>
              <c:ext xmlns:c16="http://schemas.microsoft.com/office/drawing/2014/chart" uri="{C3380CC4-5D6E-409C-BE32-E72D297353CC}">
                <c16:uniqueId val="{00000003-B0B3-4669-84F6-5E8DC9229408}"/>
              </c:ext>
            </c:extLst>
          </c:dPt>
          <c:dPt>
            <c:idx val="2"/>
            <c:bubble3D val="0"/>
            <c:spPr>
              <a:solidFill>
                <a:srgbClr val="8C9B9C"/>
              </a:solidFill>
              <a:ln w="19050">
                <a:solidFill>
                  <a:schemeClr val="lt1"/>
                </a:solidFill>
              </a:ln>
              <a:effectLst/>
            </c:spPr>
            <c:extLst>
              <c:ext xmlns:c16="http://schemas.microsoft.com/office/drawing/2014/chart" uri="{C3380CC4-5D6E-409C-BE32-E72D297353CC}">
                <c16:uniqueId val="{00000005-B0B3-4669-84F6-5E8DC9229408}"/>
              </c:ext>
            </c:extLst>
          </c:dPt>
          <c:dPt>
            <c:idx val="3"/>
            <c:bubble3D val="0"/>
            <c:spPr>
              <a:solidFill>
                <a:srgbClr val="8C9B9C"/>
              </a:solidFill>
              <a:ln w="19050">
                <a:solidFill>
                  <a:schemeClr val="lt1"/>
                </a:solidFill>
              </a:ln>
              <a:effectLst/>
            </c:spPr>
            <c:extLst>
              <c:ext xmlns:c16="http://schemas.microsoft.com/office/drawing/2014/chart" uri="{C3380CC4-5D6E-409C-BE32-E72D297353CC}">
                <c16:uniqueId val="{00000007-B0B3-4669-84F6-5E8DC9229408}"/>
              </c:ext>
            </c:extLst>
          </c:dPt>
          <c:cat>
            <c:strRef>
              <c:f>Sheet1!$A$2:$A$5</c:f>
              <c:strCache>
                <c:ptCount val="2"/>
                <c:pt idx="0">
                  <c:v>1st Qtr</c:v>
                </c:pt>
                <c:pt idx="1">
                  <c:v>2nd Qtr</c:v>
                </c:pt>
              </c:strCache>
            </c:strRef>
          </c:cat>
          <c:val>
            <c:numRef>
              <c:f>Sheet1!$B$2:$B$5</c:f>
              <c:numCache>
                <c:formatCode>General</c:formatCode>
                <c:ptCount val="4"/>
                <c:pt idx="0">
                  <c:v>25</c:v>
                </c:pt>
                <c:pt idx="1">
                  <c:v>75</c:v>
                </c:pt>
              </c:numCache>
            </c:numRef>
          </c:val>
          <c:extLst>
            <c:ext xmlns:c16="http://schemas.microsoft.com/office/drawing/2014/chart" uri="{C3380CC4-5D6E-409C-BE32-E72D297353CC}">
              <c16:uniqueId val="{00000008-B0B3-4669-84F6-5E8DC9229408}"/>
            </c:ext>
          </c:extLst>
        </c:ser>
        <c:dLbls>
          <c:showLegendKey val="0"/>
          <c:showVal val="0"/>
          <c:showCatName val="0"/>
          <c:showSerName val="0"/>
          <c:showPercent val="0"/>
          <c:showBubbleSize val="0"/>
          <c:showLeaderLines val="1"/>
        </c:dLbls>
        <c:firstSliceAng val="0"/>
        <c:holeSize val="84"/>
      </c:doughnutChart>
      <c:spPr>
        <a:noFill/>
        <a:ln>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bg2"/>
              </a:solidFill>
              <a:ln>
                <a:noFill/>
              </a:ln>
              <a:effectLst/>
            </c:spPr>
            <c:extLst>
              <c:ext xmlns:c16="http://schemas.microsoft.com/office/drawing/2014/chart" uri="{C3380CC4-5D6E-409C-BE32-E72D297353CC}">
                <c16:uniqueId val="{00000001-E449-45FC-9AF1-1DC90FE43B7C}"/>
              </c:ext>
            </c:extLst>
          </c:dPt>
          <c:dPt>
            <c:idx val="1"/>
            <c:bubble3D val="0"/>
            <c:spPr>
              <a:solidFill>
                <a:schemeClr val="accent2">
                  <a:lumMod val="60000"/>
                  <a:lumOff val="40000"/>
                </a:schemeClr>
              </a:solidFill>
              <a:ln>
                <a:noFill/>
              </a:ln>
              <a:effectLst/>
            </c:spPr>
            <c:extLst>
              <c:ext xmlns:c16="http://schemas.microsoft.com/office/drawing/2014/chart" uri="{C3380CC4-5D6E-409C-BE32-E72D297353CC}">
                <c16:uniqueId val="{00000003-E449-45FC-9AF1-1DC90FE43B7C}"/>
              </c:ext>
            </c:extLst>
          </c:dPt>
          <c:dPt>
            <c:idx val="2"/>
            <c:bubble3D val="0"/>
            <c:spPr>
              <a:solidFill>
                <a:schemeClr val="accent3"/>
              </a:solidFill>
              <a:ln>
                <a:noFill/>
              </a:ln>
              <a:effectLst/>
            </c:spPr>
            <c:extLst>
              <c:ext xmlns:c16="http://schemas.microsoft.com/office/drawing/2014/chart" uri="{C3380CC4-5D6E-409C-BE32-E72D297353CC}">
                <c16:uniqueId val="{00000005-E449-45FC-9AF1-1DC90FE43B7C}"/>
              </c:ext>
            </c:extLst>
          </c:dPt>
          <c:dPt>
            <c:idx val="3"/>
            <c:bubble3D val="0"/>
            <c:spPr>
              <a:solidFill>
                <a:schemeClr val="accent4"/>
              </a:solidFill>
              <a:ln>
                <a:noFill/>
              </a:ln>
              <a:effectLst/>
            </c:spPr>
            <c:extLst>
              <c:ext xmlns:c16="http://schemas.microsoft.com/office/drawing/2014/chart" uri="{C3380CC4-5D6E-409C-BE32-E72D297353CC}">
                <c16:uniqueId val="{00000007-E449-45FC-9AF1-1DC90FE43B7C}"/>
              </c:ext>
            </c:extLst>
          </c:dPt>
          <c:cat>
            <c:strRef>
              <c:f>Sheet1!$A$2:$A$5</c:f>
              <c:strCache>
                <c:ptCount val="2"/>
                <c:pt idx="0">
                  <c:v>1st Qtr</c:v>
                </c:pt>
                <c:pt idx="1">
                  <c:v>2nd Qtr</c:v>
                </c:pt>
              </c:strCache>
            </c:strRef>
          </c:cat>
          <c:val>
            <c:numRef>
              <c:f>Sheet1!$B$2:$B$5</c:f>
              <c:numCache>
                <c:formatCode>General</c:formatCode>
                <c:ptCount val="4"/>
                <c:pt idx="0">
                  <c:v>14</c:v>
                </c:pt>
                <c:pt idx="1">
                  <c:v>86</c:v>
                </c:pt>
              </c:numCache>
            </c:numRef>
          </c:val>
          <c:extLst>
            <c:ext xmlns:c16="http://schemas.microsoft.com/office/drawing/2014/chart" uri="{C3380CC4-5D6E-409C-BE32-E72D297353CC}">
              <c16:uniqueId val="{00000008-E449-45FC-9AF1-1DC90FE43B7C}"/>
            </c:ext>
          </c:extLst>
        </c:ser>
        <c:dLbls>
          <c:showLegendKey val="0"/>
          <c:showVal val="0"/>
          <c:showCatName val="0"/>
          <c:showSerName val="0"/>
          <c:showPercent val="0"/>
          <c:showBubbleSize val="0"/>
          <c:showLeaderLines val="1"/>
        </c:dLbls>
        <c:firstSliceAng val="0"/>
        <c:holeSize val="84"/>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a:pPr>
      <a:endParaRPr lang="fr-FR"/>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31741</cdr:x>
      <cdr:y>0.21494</cdr:y>
    </cdr:from>
    <cdr:to>
      <cdr:x>0.68297</cdr:x>
      <cdr:y>0.54994</cdr:y>
    </cdr:to>
    <cdr:sp macro="" textlink="">
      <cdr:nvSpPr>
        <cdr:cNvPr id="2" name="Ellipse 1"/>
        <cdr:cNvSpPr/>
      </cdr:nvSpPr>
      <cdr:spPr bwMode="gray">
        <a:xfrm xmlns:a="http://schemas.openxmlformats.org/drawingml/2006/main">
          <a:off x="1342352" y="991938"/>
          <a:ext cx="1545981" cy="1545976"/>
        </a:xfrm>
        <a:prstGeom xmlns:a="http://schemas.openxmlformats.org/drawingml/2006/main" prst="ellipse">
          <a:avLst/>
        </a:prstGeom>
        <a:solidFill xmlns:a="http://schemas.openxmlformats.org/drawingml/2006/main">
          <a:srgbClr val="FFFFFF">
            <a:alpha val="80000"/>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endParaRPr lang="en-US" dirty="0"/>
        </a:p>
      </cdr:txBody>
    </cdr:sp>
  </cdr:relSizeAnchor>
</c:userShapes>
</file>

<file path=ppt/drawings/drawing2.xml><?xml version="1.0" encoding="utf-8"?>
<c:userShapes xmlns:c="http://schemas.openxmlformats.org/drawingml/2006/chart">
  <cdr:relSizeAnchor xmlns:cdr="http://schemas.openxmlformats.org/drawingml/2006/chartDrawing">
    <cdr:from>
      <cdr:x>0.31741</cdr:x>
      <cdr:y>0.21494</cdr:y>
    </cdr:from>
    <cdr:to>
      <cdr:x>0.68297</cdr:x>
      <cdr:y>0.54994</cdr:y>
    </cdr:to>
    <cdr:sp macro="" textlink="">
      <cdr:nvSpPr>
        <cdr:cNvPr id="2" name="Ellipse 1"/>
        <cdr:cNvSpPr/>
      </cdr:nvSpPr>
      <cdr:spPr bwMode="gray">
        <a:xfrm xmlns:a="http://schemas.openxmlformats.org/drawingml/2006/main">
          <a:off x="1342352" y="991938"/>
          <a:ext cx="1545981" cy="1545976"/>
        </a:xfrm>
        <a:prstGeom xmlns:a="http://schemas.openxmlformats.org/drawingml/2006/main" prst="ellipse">
          <a:avLst/>
        </a:prstGeom>
        <a:solidFill xmlns:a="http://schemas.openxmlformats.org/drawingml/2006/main">
          <a:srgbClr val="FFFFFF">
            <a:alpha val="80000"/>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endParaRPr lang="en-US" dirty="0"/>
        </a:p>
      </cdr:txBody>
    </cdr:sp>
  </cdr:relSizeAnchor>
</c:userShapes>
</file>

<file path=ppt/drawings/drawing3.xml><?xml version="1.0" encoding="utf-8"?>
<c:userShapes xmlns:c="http://schemas.openxmlformats.org/drawingml/2006/chart">
  <cdr:relSizeAnchor xmlns:cdr="http://schemas.openxmlformats.org/drawingml/2006/chartDrawing">
    <cdr:from>
      <cdr:x>0.31741</cdr:x>
      <cdr:y>0.21494</cdr:y>
    </cdr:from>
    <cdr:to>
      <cdr:x>0.68297</cdr:x>
      <cdr:y>0.54994</cdr:y>
    </cdr:to>
    <cdr:sp macro="" textlink="">
      <cdr:nvSpPr>
        <cdr:cNvPr id="2" name="Ellipse 1"/>
        <cdr:cNvSpPr/>
      </cdr:nvSpPr>
      <cdr:spPr bwMode="gray">
        <a:xfrm xmlns:a="http://schemas.openxmlformats.org/drawingml/2006/main">
          <a:off x="635653" y="469707"/>
          <a:ext cx="732079" cy="732074"/>
        </a:xfrm>
        <a:prstGeom xmlns:a="http://schemas.openxmlformats.org/drawingml/2006/main" prst="ellipse">
          <a:avLst/>
        </a:prstGeom>
        <a:solidFill xmlns:a="http://schemas.openxmlformats.org/drawingml/2006/main">
          <a:srgbClr val="FFFFFF">
            <a:alpha val="80000"/>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endParaRPr lang="en-US"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362643-044A-4A96-8854-93F784910F7F}" type="datetimeFigureOut">
              <a:rPr lang="fr-FR" smtClean="0"/>
              <a:t>05/10/2022</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611228C-87E5-4106-A863-9348D21EC2AE}" type="slidenum">
              <a:rPr lang="fr-FR" smtClean="0"/>
              <a:t>‹N°›</a:t>
            </a:fld>
            <a:endParaRPr lang="fr-FR"/>
          </a:p>
        </p:txBody>
      </p:sp>
    </p:spTree>
    <p:extLst>
      <p:ext uri="{BB962C8B-B14F-4D97-AF65-F5344CB8AC3E}">
        <p14:creationId xmlns:p14="http://schemas.microsoft.com/office/powerpoint/2010/main" val="29031417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168828-14A0-412B-94BC-241CF3A039BF}"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33444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67432A-633C-4EAF-86EB-4E8177ED7F9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41611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67432A-633C-4EAF-86EB-4E8177ED7F9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1442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67432A-633C-4EAF-86EB-4E8177ED7F9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15363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67432A-633C-4EAF-86EB-4E8177ED7F9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96542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1D77F8-E7AE-4D51-830A-D34A30251F2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94523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168828-14A0-412B-94BC-241CF3A039B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13061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168828-14A0-412B-94BC-241CF3A039B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61629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168828-14A0-412B-94BC-241CF3A039BF}" type="slidenum">
              <a:rPr kumimoji="0" lang="fr-FR"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fr-FR"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4081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1D77F8-E7AE-4D51-830A-D34A30251F2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15050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1D77F8-E7AE-4D51-830A-D34A30251F2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48506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lvl="0" indent="0" algn="just">
              <a:buFont typeface="Arial" panose="020B0604020202020204" pitchFamily="34" charset="0"/>
              <a:buNone/>
            </a:pPr>
            <a:endParaRPr lang="fr-FR" sz="1200">
              <a:solidFill>
                <a:schemeClr val="bg2"/>
              </a:solidFill>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168828-14A0-412B-94BC-241CF3A039B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28132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67432A-633C-4EAF-86EB-4E8177ED7F9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99346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67432A-633C-4EAF-86EB-4E8177ED7F9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52157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67432A-633C-4EAF-86EB-4E8177ED7F9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6174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67432A-633C-4EAF-86EB-4E8177ED7F9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11060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67432A-633C-4EAF-86EB-4E8177ED7F9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84212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67432A-633C-4EAF-86EB-4E8177ED7F9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81036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67432A-633C-4EAF-86EB-4E8177ED7F9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78386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67432A-633C-4EAF-86EB-4E8177ED7F93}"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31224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1D77F8-E7AE-4D51-830A-D34A30251F2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51233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1D77F8-E7AE-4D51-830A-D34A30251F2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19762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1D77F8-E7AE-4D51-830A-D34A30251F2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25101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1D77F8-E7AE-4D51-830A-D34A30251F2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59521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168828-14A0-412B-94BC-241CF3A039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46300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1D77F8-E7AE-4D51-830A-D34A30251F2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22474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1D77F8-E7AE-4D51-830A-D34A30251F2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84406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White + Image">
    <p:spTree>
      <p:nvGrpSpPr>
        <p:cNvPr id="1" name=""/>
        <p:cNvGrpSpPr/>
        <p:nvPr/>
      </p:nvGrpSpPr>
      <p:grpSpPr>
        <a:xfrm>
          <a:off x="0" y="0"/>
          <a:ext cx="0" cy="0"/>
          <a:chOff x="0" y="0"/>
          <a:chExt cx="0" cy="0"/>
        </a:xfrm>
      </p:grpSpPr>
      <p:sp>
        <p:nvSpPr>
          <p:cNvPr id="36" name="Espace réservé pour une image  35"/>
          <p:cNvSpPr>
            <a:spLocks noGrp="1"/>
          </p:cNvSpPr>
          <p:nvPr>
            <p:ph type="pic" sz="quarter" idx="10" hasCustomPrompt="1"/>
          </p:nvPr>
        </p:nvSpPr>
        <p:spPr>
          <a:xfrm>
            <a:off x="0" y="2"/>
            <a:ext cx="7519015" cy="6621613"/>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a:t>Cliquer ici   &gt;&gt;</a:t>
            </a:r>
            <a:br>
              <a:rPr lang="fr-FR"/>
            </a:br>
            <a:r>
              <a:rPr lang="fr-FR"/>
              <a:t>pour insérer votre photo</a:t>
            </a:r>
          </a:p>
        </p:txBody>
      </p:sp>
      <p:sp>
        <p:nvSpPr>
          <p:cNvPr id="8" name="Bildplatzhalter 3"/>
          <p:cNvSpPr>
            <a:spLocks noGrp="1"/>
          </p:cNvSpPr>
          <p:nvPr>
            <p:ph type="pic" sz="quarter" idx="14" hasCustomPrompt="1"/>
          </p:nvPr>
        </p:nvSpPr>
        <p:spPr bwMode="gray">
          <a:xfrm>
            <a:off x="9241908" y="5520421"/>
            <a:ext cx="2348308" cy="72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1200" dirty="0">
                <a:solidFill>
                  <a:schemeClr val="bg2"/>
                </a:solidFill>
                <a:latin typeface="+mn-lt"/>
                <a:cs typeface="+mn-cs"/>
              </a:defRPr>
            </a:lvl1pPr>
          </a:lstStyle>
          <a:p>
            <a:pPr lvl="0"/>
            <a:r>
              <a:rPr lang="fr-FR" noProof="0"/>
              <a:t>Insérer un logo client</a:t>
            </a:r>
          </a:p>
        </p:txBody>
      </p:sp>
      <p:sp>
        <p:nvSpPr>
          <p:cNvPr id="10" name="Titel 1"/>
          <p:cNvSpPr>
            <a:spLocks noGrp="1"/>
          </p:cNvSpPr>
          <p:nvPr>
            <p:ph type="title" hasCustomPrompt="1"/>
          </p:nvPr>
        </p:nvSpPr>
        <p:spPr bwMode="gray">
          <a:xfrm>
            <a:off x="4323406" y="3334423"/>
            <a:ext cx="7266810" cy="964800"/>
          </a:xfrm>
        </p:spPr>
        <p:txBody>
          <a:bodyPr lIns="0" rIns="0" anchor="b">
            <a:noAutofit/>
          </a:bodyPr>
          <a:lstStyle>
            <a:lvl1pPr algn="r">
              <a:defRPr sz="2800" cap="none" baseline="0">
                <a:solidFill>
                  <a:schemeClr val="bg2"/>
                </a:solidFill>
                <a:latin typeface="+mj-lt"/>
              </a:defRPr>
            </a:lvl1pPr>
          </a:lstStyle>
          <a:p>
            <a:r>
              <a:rPr lang="fr-FR" noProof="0"/>
              <a:t>Titre de votre Présentation</a:t>
            </a:r>
          </a:p>
        </p:txBody>
      </p:sp>
      <p:sp>
        <p:nvSpPr>
          <p:cNvPr id="14" name="Textplatzhalter 25"/>
          <p:cNvSpPr>
            <a:spLocks noGrp="1"/>
          </p:cNvSpPr>
          <p:nvPr>
            <p:ph type="body" sz="quarter" idx="15" hasCustomPrompt="1"/>
          </p:nvPr>
        </p:nvSpPr>
        <p:spPr bwMode="gray">
          <a:xfrm>
            <a:off x="4323497" y="4425489"/>
            <a:ext cx="7266720" cy="4824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2000" i="0">
                <a:solidFill>
                  <a:schemeClr val="bg2"/>
                </a:solidFill>
                <a:latin typeface="+mj-lt"/>
              </a:defRPr>
            </a:lvl1pPr>
          </a:lstStyle>
          <a:p>
            <a:pPr lvl="0"/>
            <a:r>
              <a:rPr lang="fr-FR" noProof="0"/>
              <a:t>Sous titre de votre présentation</a:t>
            </a:r>
          </a:p>
        </p:txBody>
      </p:sp>
      <p:sp>
        <p:nvSpPr>
          <p:cNvPr id="15" name="Textplatzhalter 25"/>
          <p:cNvSpPr>
            <a:spLocks noGrp="1"/>
          </p:cNvSpPr>
          <p:nvPr>
            <p:ph type="body" sz="quarter" idx="17" hasCustomPrompt="1"/>
          </p:nvPr>
        </p:nvSpPr>
        <p:spPr bwMode="gray">
          <a:xfrm>
            <a:off x="4323497" y="5034155"/>
            <a:ext cx="7266720" cy="3600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i="0">
                <a:solidFill>
                  <a:schemeClr val="bg2"/>
                </a:solidFill>
                <a:latin typeface="+mj-lt"/>
              </a:defRPr>
            </a:lvl1pPr>
          </a:lstStyle>
          <a:p>
            <a:pPr lvl="0"/>
            <a:r>
              <a:rPr lang="fr-FR" noProof="0"/>
              <a:t>Date | Auteur | Diffusion</a:t>
            </a:r>
          </a:p>
        </p:txBody>
      </p:sp>
      <p:pic>
        <p:nvPicPr>
          <p:cNvPr id="11" name="Image 10"/>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0"/>
            <a:ext cx="7459698" cy="6496334"/>
          </a:xfrm>
          <a:prstGeom prst="rect">
            <a:avLst/>
          </a:prstGeom>
        </p:spPr>
      </p:pic>
      <p:pic>
        <p:nvPicPr>
          <p:cNvPr id="13" name="Picture 8"/>
          <p:cNvPicPr>
            <a:picLocks noChangeAspect="1"/>
          </p:cNvPicPr>
          <p:nvPr/>
        </p:nvPicPr>
        <p:blipFill>
          <a:blip r:embed="rId3"/>
          <a:stretch>
            <a:fillRect/>
          </a:stretch>
        </p:blipFill>
        <p:spPr>
          <a:xfrm>
            <a:off x="8152615" y="1152000"/>
            <a:ext cx="3479769" cy="381600"/>
          </a:xfrm>
          <a:prstGeom prst="rect">
            <a:avLst/>
          </a:prstGeom>
        </p:spPr>
      </p:pic>
    </p:spTree>
    <p:extLst>
      <p:ext uri="{BB962C8B-B14F-4D97-AF65-F5344CB8AC3E}">
        <p14:creationId xmlns:p14="http://schemas.microsoft.com/office/powerpoint/2010/main" val="21820431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hapter Green light">
    <p:bg>
      <p:bgPr>
        <a:solidFill>
          <a:schemeClr val="accent1"/>
        </a:solidFill>
        <a:effectLst/>
      </p:bgPr>
    </p:bg>
    <p:spTree>
      <p:nvGrpSpPr>
        <p:cNvPr id="1" name=""/>
        <p:cNvGrpSpPr/>
        <p:nvPr/>
      </p:nvGrpSpPr>
      <p:grpSpPr>
        <a:xfrm>
          <a:off x="0" y="0"/>
          <a:ext cx="0" cy="0"/>
          <a:chOff x="0" y="0"/>
          <a:chExt cx="0" cy="0"/>
        </a:xfrm>
      </p:grpSpPr>
      <p:pic>
        <p:nvPicPr>
          <p:cNvPr id="7" name="Image 11"/>
          <p:cNvPicPr>
            <a:picLocks noChangeAspect="1"/>
          </p:cNvPicPr>
          <p:nvPr/>
        </p:nvPicPr>
        <p:blipFill rotWithShape="1">
          <a:blip r:embed="rId2" cstate="print">
            <a:lum bright="70000" contrast="-70000"/>
            <a:extLst>
              <a:ext uri="{28A0092B-C50C-407E-A947-70E740481C1C}">
                <a14:useLocalDpi xmlns:a14="http://schemas.microsoft.com/office/drawing/2010/main"/>
              </a:ext>
            </a:extLst>
          </a:blip>
          <a:srcRect l="-1" t="1" r="-184259" b="-45082"/>
          <a:stretch/>
        </p:blipFill>
        <p:spPr>
          <a:xfrm>
            <a:off x="0" y="-1"/>
            <a:ext cx="12192000" cy="6856413"/>
          </a:xfrm>
          <a:prstGeom prst="rect">
            <a:avLst/>
          </a:prstGeom>
          <a:solidFill>
            <a:schemeClr val="accent1"/>
          </a:solidFill>
        </p:spPr>
      </p:pic>
      <p:sp>
        <p:nvSpPr>
          <p:cNvPr id="6" name="Title 1"/>
          <p:cNvSpPr>
            <a:spLocks noGrp="1"/>
          </p:cNvSpPr>
          <p:nvPr>
            <p:ph type="title" hasCustomPrompt="1"/>
          </p:nvPr>
        </p:nvSpPr>
        <p:spPr bwMode="gray">
          <a:xfrm>
            <a:off x="4214575" y="3342167"/>
            <a:ext cx="7375641" cy="986946"/>
          </a:xfrm>
          <a:noFill/>
        </p:spPr>
        <p:txBody>
          <a:bodyPr tIns="108000" rIns="0" anchor="t"/>
          <a:lstStyle>
            <a:lvl1pPr algn="r">
              <a:defRPr sz="2400">
                <a:solidFill>
                  <a:schemeClr val="bg1"/>
                </a:solidFill>
                <a:latin typeface="+mj-lt"/>
              </a:defRPr>
            </a:lvl1pPr>
          </a:lstStyle>
          <a:p>
            <a:r>
              <a:rPr lang="fr-FR" noProof="0"/>
              <a:t>Titre de chapitre</a:t>
            </a:r>
          </a:p>
        </p:txBody>
      </p:sp>
      <p:sp>
        <p:nvSpPr>
          <p:cNvPr id="8" name="Espace réservé pour une image  35"/>
          <p:cNvSpPr>
            <a:spLocks noGrp="1"/>
          </p:cNvSpPr>
          <p:nvPr>
            <p:ph type="pic" sz="quarter" idx="10" hasCustomPrompt="1"/>
          </p:nvPr>
        </p:nvSpPr>
        <p:spPr bwMode="gray">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a:t>Cliquer ici   &gt;&gt;</a:t>
            </a:r>
            <a:br>
              <a:rPr lang="fr-FR"/>
            </a:br>
            <a:r>
              <a:rPr lang="fr-FR"/>
              <a:t>pour insérer votre photo</a:t>
            </a:r>
          </a:p>
        </p:txBody>
      </p:sp>
      <p:sp>
        <p:nvSpPr>
          <p:cNvPr id="5" name="Text Placeholder 4"/>
          <p:cNvSpPr>
            <a:spLocks noGrp="1"/>
          </p:cNvSpPr>
          <p:nvPr>
            <p:ph type="body" sz="quarter" idx="38" hasCustomPrompt="1"/>
          </p:nvPr>
        </p:nvSpPr>
        <p:spPr bwMode="gray">
          <a:xfrm>
            <a:off x="2787386" y="3342167"/>
            <a:ext cx="1329231" cy="986400"/>
          </a:xfrm>
          <a:prstGeom prst="rect">
            <a:avLst/>
          </a:prstGeom>
          <a:noFill/>
        </p:spPr>
        <p:txBody>
          <a:bodyPr anchor="t">
            <a:noAutofit/>
          </a:bodyPr>
          <a:lstStyle>
            <a:lvl1pPr marL="0" indent="-252000" algn="just">
              <a:lnSpc>
                <a:spcPct val="100000"/>
              </a:lnSpc>
              <a:spcBef>
                <a:spcPts val="400"/>
              </a:spcBef>
              <a:buClr>
                <a:schemeClr val="bg1"/>
              </a:buClr>
              <a:buFont typeface="Tempus Sans ITC" panose="04020404030D07020202" pitchFamily="82" charset="0"/>
              <a:buChar char="/"/>
              <a:defRPr sz="2400" b="1" i="0">
                <a:solidFill>
                  <a:schemeClr val="bg1"/>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01</a:t>
            </a:r>
          </a:p>
        </p:txBody>
      </p:sp>
    </p:spTree>
    <p:extLst>
      <p:ext uri="{BB962C8B-B14F-4D97-AF65-F5344CB8AC3E}">
        <p14:creationId xmlns:p14="http://schemas.microsoft.com/office/powerpoint/2010/main" val="41183574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hapter Brown light">
    <p:bg>
      <p:bgPr>
        <a:solidFill>
          <a:schemeClr val="accent2"/>
        </a:solidFill>
        <a:effectLst/>
      </p:bgPr>
    </p:bg>
    <p:spTree>
      <p:nvGrpSpPr>
        <p:cNvPr id="1" name=""/>
        <p:cNvGrpSpPr/>
        <p:nvPr/>
      </p:nvGrpSpPr>
      <p:grpSpPr>
        <a:xfrm>
          <a:off x="0" y="0"/>
          <a:ext cx="0" cy="0"/>
          <a:chOff x="0" y="0"/>
          <a:chExt cx="0" cy="0"/>
        </a:xfrm>
      </p:grpSpPr>
      <p:pic>
        <p:nvPicPr>
          <p:cNvPr id="7" name="Image 11"/>
          <p:cNvPicPr>
            <a:picLocks noChangeAspect="1"/>
          </p:cNvPicPr>
          <p:nvPr/>
        </p:nvPicPr>
        <p:blipFill rotWithShape="1">
          <a:blip r:embed="rId2" cstate="print">
            <a:lum bright="70000" contrast="-70000"/>
            <a:extLst>
              <a:ext uri="{28A0092B-C50C-407E-A947-70E740481C1C}">
                <a14:useLocalDpi xmlns:a14="http://schemas.microsoft.com/office/drawing/2010/main"/>
              </a:ext>
            </a:extLst>
          </a:blip>
          <a:srcRect l="-1" t="1" r="-184259" b="-45082"/>
          <a:stretch/>
        </p:blipFill>
        <p:spPr>
          <a:xfrm>
            <a:off x="0" y="-1"/>
            <a:ext cx="12192000" cy="6856413"/>
          </a:xfrm>
          <a:prstGeom prst="rect">
            <a:avLst/>
          </a:prstGeom>
          <a:solidFill>
            <a:schemeClr val="accent2"/>
          </a:solidFill>
        </p:spPr>
      </p:pic>
      <p:sp>
        <p:nvSpPr>
          <p:cNvPr id="6" name="Title 1"/>
          <p:cNvSpPr>
            <a:spLocks noGrp="1"/>
          </p:cNvSpPr>
          <p:nvPr>
            <p:ph type="title" hasCustomPrompt="1"/>
          </p:nvPr>
        </p:nvSpPr>
        <p:spPr bwMode="gray">
          <a:xfrm>
            <a:off x="4214575" y="3342167"/>
            <a:ext cx="7375641" cy="986946"/>
          </a:xfrm>
          <a:noFill/>
        </p:spPr>
        <p:txBody>
          <a:bodyPr tIns="108000" rIns="0" anchor="t"/>
          <a:lstStyle>
            <a:lvl1pPr algn="r">
              <a:defRPr sz="2400">
                <a:solidFill>
                  <a:schemeClr val="bg1"/>
                </a:solidFill>
                <a:latin typeface="+mj-lt"/>
              </a:defRPr>
            </a:lvl1pPr>
          </a:lstStyle>
          <a:p>
            <a:r>
              <a:rPr lang="fr-FR" noProof="0"/>
              <a:t>Titre de chapitre</a:t>
            </a:r>
          </a:p>
        </p:txBody>
      </p:sp>
      <p:sp>
        <p:nvSpPr>
          <p:cNvPr id="8" name="Espace réservé pour une image  35"/>
          <p:cNvSpPr>
            <a:spLocks noGrp="1"/>
          </p:cNvSpPr>
          <p:nvPr>
            <p:ph type="pic" sz="quarter" idx="10" hasCustomPrompt="1"/>
          </p:nvPr>
        </p:nvSpPr>
        <p:spPr bwMode="gray">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a:t>Cliquer ici   &gt;&gt;</a:t>
            </a:r>
            <a:br>
              <a:rPr lang="fr-FR"/>
            </a:br>
            <a:r>
              <a:rPr lang="fr-FR"/>
              <a:t>pour insérer votre photo</a:t>
            </a:r>
          </a:p>
        </p:txBody>
      </p:sp>
      <p:sp>
        <p:nvSpPr>
          <p:cNvPr id="5" name="Text Placeholder 4"/>
          <p:cNvSpPr>
            <a:spLocks noGrp="1"/>
          </p:cNvSpPr>
          <p:nvPr>
            <p:ph type="body" sz="quarter" idx="38" hasCustomPrompt="1"/>
          </p:nvPr>
        </p:nvSpPr>
        <p:spPr bwMode="gray">
          <a:xfrm>
            <a:off x="2787386" y="3342167"/>
            <a:ext cx="1329231" cy="986400"/>
          </a:xfrm>
          <a:prstGeom prst="rect">
            <a:avLst/>
          </a:prstGeom>
          <a:noFill/>
        </p:spPr>
        <p:txBody>
          <a:bodyPr anchor="t">
            <a:noAutofit/>
          </a:bodyPr>
          <a:lstStyle>
            <a:lvl1pPr marL="0" indent="-252000" algn="just">
              <a:lnSpc>
                <a:spcPct val="100000"/>
              </a:lnSpc>
              <a:spcBef>
                <a:spcPts val="400"/>
              </a:spcBef>
              <a:buClr>
                <a:schemeClr val="bg1"/>
              </a:buClr>
              <a:buFont typeface="Tempus Sans ITC" panose="04020404030D07020202" pitchFamily="82" charset="0"/>
              <a:buChar char="/"/>
              <a:defRPr sz="2400" b="1" i="0">
                <a:solidFill>
                  <a:schemeClr val="bg1"/>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01</a:t>
            </a:r>
          </a:p>
        </p:txBody>
      </p:sp>
    </p:spTree>
    <p:extLst>
      <p:ext uri="{BB962C8B-B14F-4D97-AF65-F5344CB8AC3E}">
        <p14:creationId xmlns:p14="http://schemas.microsoft.com/office/powerpoint/2010/main" val="32336297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36953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Page Contacts">
    <p:bg>
      <p:bgPr>
        <a:solidFill>
          <a:schemeClr val="bg2"/>
        </a:solidFill>
        <a:effectLst/>
      </p:bgPr>
    </p:bg>
    <p:spTree>
      <p:nvGrpSpPr>
        <p:cNvPr id="1" name=""/>
        <p:cNvGrpSpPr/>
        <p:nvPr/>
      </p:nvGrpSpPr>
      <p:grpSpPr>
        <a:xfrm>
          <a:off x="0" y="0"/>
          <a:ext cx="0" cy="0"/>
          <a:chOff x="0" y="0"/>
          <a:chExt cx="0" cy="0"/>
        </a:xfrm>
      </p:grpSpPr>
      <p:pic>
        <p:nvPicPr>
          <p:cNvPr id="32" name="Image 5"/>
          <p:cNvPicPr>
            <a:picLocks noChangeAspect="1"/>
          </p:cNvPicPr>
          <p:nvPr/>
        </p:nvPicPr>
        <p:blipFill rotWithShape="1">
          <a:blip r:embed="rId2" cstate="print">
            <a:extLst>
              <a:ext uri="{28A0092B-C50C-407E-A947-70E740481C1C}">
                <a14:useLocalDpi xmlns:a14="http://schemas.microsoft.com/office/drawing/2010/main"/>
              </a:ext>
            </a:extLst>
          </a:blip>
          <a:srcRect r="-184204" b="-45087"/>
          <a:stretch/>
        </p:blipFill>
        <p:spPr>
          <a:xfrm>
            <a:off x="-2" y="-9086"/>
            <a:ext cx="12192001" cy="6858000"/>
          </a:xfrm>
          <a:prstGeom prst="rect">
            <a:avLst/>
          </a:prstGeom>
          <a:solidFill>
            <a:schemeClr val="bg2"/>
          </a:solidFill>
        </p:spPr>
      </p:pic>
      <p:pic>
        <p:nvPicPr>
          <p:cNvPr id="5" name="Picture 7"/>
          <p:cNvPicPr>
            <a:picLocks/>
          </p:cNvPicPr>
          <p:nvPr/>
        </p:nvPicPr>
        <p:blipFill>
          <a:blip r:embed="rId3"/>
          <a:stretch>
            <a:fillRect/>
          </a:stretch>
        </p:blipFill>
        <p:spPr>
          <a:xfrm>
            <a:off x="8152615" y="1152000"/>
            <a:ext cx="3478154" cy="381600"/>
          </a:xfrm>
          <a:prstGeom prst="rect">
            <a:avLst/>
          </a:prstGeom>
        </p:spPr>
      </p:pic>
    </p:spTree>
    <p:extLst>
      <p:ext uri="{BB962C8B-B14F-4D97-AF65-F5344CB8AC3E}">
        <p14:creationId xmlns:p14="http://schemas.microsoft.com/office/powerpoint/2010/main" val="8026182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End Page Picture">
    <p:spTree>
      <p:nvGrpSpPr>
        <p:cNvPr id="1" name=""/>
        <p:cNvGrpSpPr/>
        <p:nvPr/>
      </p:nvGrpSpPr>
      <p:grpSpPr>
        <a:xfrm>
          <a:off x="0" y="0"/>
          <a:ext cx="0" cy="0"/>
          <a:chOff x="0" y="0"/>
          <a:chExt cx="0" cy="0"/>
        </a:xfrm>
      </p:grpSpPr>
      <p:pic>
        <p:nvPicPr>
          <p:cNvPr id="1026" name="Picture 2" descr="C:\Users\kerveillant\Desktop\WAVESTONE #ProdTools\4. Visuels\La city 2.png"/>
          <p:cNvPicPr>
            <a:picLocks noChangeAspect="1" noChangeArrowheads="1"/>
          </p:cNvPicPr>
          <p:nvPr/>
        </p:nvPicPr>
        <p:blipFill rotWithShape="1">
          <a:blip r:embed="rId2">
            <a:extLst>
              <a:ext uri="{28A0092B-C50C-407E-A947-70E740481C1C}">
                <a14:useLocalDpi xmlns:a14="http://schemas.microsoft.com/office/drawing/2010/main" val="0"/>
              </a:ext>
            </a:extLst>
          </a:blip>
          <a:srcRect r="3694"/>
          <a:stretch/>
        </p:blipFill>
        <p:spPr bwMode="auto">
          <a:xfrm>
            <a:off x="-19141" y="1"/>
            <a:ext cx="12211141" cy="6865389"/>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bwMode="black">
          <a:xfrm>
            <a:off x="-1277" y="0"/>
            <a:ext cx="2835031" cy="4540246"/>
          </a:xfrm>
          <a:prstGeom prst="rect">
            <a:avLst/>
          </a:prstGeom>
          <a:noFill/>
        </p:spPr>
        <p:txBody>
          <a:bodyPr wrap="square" rtlCol="0" anchor="ctr" anchorCtr="1">
            <a:noAutofit/>
          </a:bodyPr>
          <a:lstStyle/>
          <a:p>
            <a:pPr algn="l">
              <a:lnSpc>
                <a:spcPct val="200000"/>
              </a:lnSpc>
            </a:pPr>
            <a:r>
              <a:rPr lang="fr-FR" sz="1000">
                <a:solidFill>
                  <a:schemeClr val="bg2"/>
                </a:solidFill>
              </a:rPr>
              <a:t>PARIS</a:t>
            </a:r>
          </a:p>
          <a:p>
            <a:pPr algn="l">
              <a:lnSpc>
                <a:spcPct val="200000"/>
              </a:lnSpc>
            </a:pPr>
            <a:r>
              <a:rPr lang="fr-FR" sz="1000">
                <a:solidFill>
                  <a:schemeClr val="bg2"/>
                </a:solidFill>
              </a:rPr>
              <a:t>LONDON</a:t>
            </a:r>
          </a:p>
          <a:p>
            <a:pPr algn="l">
              <a:lnSpc>
                <a:spcPct val="200000"/>
              </a:lnSpc>
            </a:pPr>
            <a:r>
              <a:rPr lang="fr-FR" sz="1000">
                <a:solidFill>
                  <a:schemeClr val="bg2"/>
                </a:solidFill>
              </a:rPr>
              <a:t>NEW YORK</a:t>
            </a:r>
          </a:p>
          <a:p>
            <a:pPr algn="l">
              <a:lnSpc>
                <a:spcPct val="200000"/>
              </a:lnSpc>
            </a:pPr>
            <a:r>
              <a:rPr lang="fr-FR" sz="1000">
                <a:solidFill>
                  <a:schemeClr val="bg2"/>
                </a:solidFill>
              </a:rPr>
              <a:t>HONG KONG</a:t>
            </a:r>
          </a:p>
          <a:p>
            <a:pPr algn="l">
              <a:lnSpc>
                <a:spcPct val="200000"/>
              </a:lnSpc>
            </a:pPr>
            <a:r>
              <a:rPr lang="fr-FR" sz="1000">
                <a:solidFill>
                  <a:schemeClr val="bg2"/>
                </a:solidFill>
              </a:rPr>
              <a:t>SINGAPORE *</a:t>
            </a:r>
          </a:p>
          <a:p>
            <a:pPr algn="l">
              <a:lnSpc>
                <a:spcPct val="200000"/>
              </a:lnSpc>
            </a:pPr>
            <a:r>
              <a:rPr lang="fr-FR" sz="1000">
                <a:solidFill>
                  <a:schemeClr val="bg2"/>
                </a:solidFill>
              </a:rPr>
              <a:t>DUBAI *</a:t>
            </a:r>
          </a:p>
          <a:p>
            <a:pPr algn="l">
              <a:lnSpc>
                <a:spcPct val="200000"/>
              </a:lnSpc>
            </a:pPr>
            <a:r>
              <a:rPr lang="fr-FR" sz="1000">
                <a:solidFill>
                  <a:schemeClr val="bg2"/>
                </a:solidFill>
              </a:rPr>
              <a:t>BRUSSELS</a:t>
            </a:r>
          </a:p>
          <a:p>
            <a:pPr algn="l">
              <a:lnSpc>
                <a:spcPct val="200000"/>
              </a:lnSpc>
            </a:pPr>
            <a:r>
              <a:rPr lang="fr-FR" sz="1000">
                <a:solidFill>
                  <a:schemeClr val="bg2"/>
                </a:solidFill>
              </a:rPr>
              <a:t>LUXEMBOURG</a:t>
            </a:r>
          </a:p>
          <a:p>
            <a:pPr algn="l">
              <a:lnSpc>
                <a:spcPct val="200000"/>
              </a:lnSpc>
            </a:pPr>
            <a:r>
              <a:rPr lang="fr-FR" sz="1000">
                <a:solidFill>
                  <a:schemeClr val="bg2"/>
                </a:solidFill>
              </a:rPr>
              <a:t>GENEVA</a:t>
            </a:r>
          </a:p>
          <a:p>
            <a:pPr algn="l">
              <a:lnSpc>
                <a:spcPct val="200000"/>
              </a:lnSpc>
            </a:pPr>
            <a:r>
              <a:rPr lang="fr-FR" sz="1000">
                <a:solidFill>
                  <a:schemeClr val="bg2"/>
                </a:solidFill>
              </a:rPr>
              <a:t>CASABLANCA</a:t>
            </a:r>
          </a:p>
          <a:p>
            <a:pPr algn="l">
              <a:lnSpc>
                <a:spcPct val="200000"/>
              </a:lnSpc>
            </a:pPr>
            <a:r>
              <a:rPr lang="fr-FR" sz="1000">
                <a:solidFill>
                  <a:schemeClr val="bg2"/>
                </a:solidFill>
              </a:rPr>
              <a:t>LYON</a:t>
            </a:r>
          </a:p>
          <a:p>
            <a:pPr algn="l">
              <a:lnSpc>
                <a:spcPct val="200000"/>
              </a:lnSpc>
            </a:pPr>
            <a:r>
              <a:rPr lang="fr-FR" sz="1000">
                <a:solidFill>
                  <a:schemeClr val="bg2"/>
                </a:solidFill>
              </a:rPr>
              <a:t>MARSEILLE</a:t>
            </a:r>
          </a:p>
          <a:p>
            <a:pPr algn="l">
              <a:lnSpc>
                <a:spcPct val="200000"/>
              </a:lnSpc>
            </a:pPr>
            <a:r>
              <a:rPr lang="fr-FR" sz="1000">
                <a:solidFill>
                  <a:schemeClr val="bg2"/>
                </a:solidFill>
              </a:rPr>
              <a:t>NANTES</a:t>
            </a:r>
          </a:p>
          <a:p>
            <a:pPr algn="l"/>
            <a:endParaRPr lang="fr-FR" sz="1000">
              <a:solidFill>
                <a:schemeClr val="bg2"/>
              </a:solidFill>
            </a:endParaRPr>
          </a:p>
        </p:txBody>
      </p:sp>
      <p:sp>
        <p:nvSpPr>
          <p:cNvPr id="2" name="TextBox 1"/>
          <p:cNvSpPr txBox="1"/>
          <p:nvPr/>
        </p:nvSpPr>
        <p:spPr bwMode="black">
          <a:xfrm>
            <a:off x="778486" y="4248152"/>
            <a:ext cx="1687294" cy="200055"/>
          </a:xfrm>
          <a:prstGeom prst="rect">
            <a:avLst/>
          </a:prstGeom>
          <a:noFill/>
        </p:spPr>
        <p:txBody>
          <a:bodyPr wrap="square" rtlCol="0">
            <a:spAutoFit/>
          </a:bodyPr>
          <a:lstStyle/>
          <a:p>
            <a:pPr algn="l"/>
            <a:r>
              <a:rPr lang="fr-FR" sz="700">
                <a:solidFill>
                  <a:schemeClr val="bg2"/>
                </a:solidFill>
              </a:rPr>
              <a:t>* Partenaires stratégiques</a:t>
            </a:r>
          </a:p>
        </p:txBody>
      </p:sp>
      <p:pic>
        <p:nvPicPr>
          <p:cNvPr id="9" name="Picture 7"/>
          <p:cNvPicPr>
            <a:picLocks/>
          </p:cNvPicPr>
          <p:nvPr/>
        </p:nvPicPr>
        <p:blipFill>
          <a:blip r:embed="rId3"/>
          <a:stretch>
            <a:fillRect/>
          </a:stretch>
        </p:blipFill>
        <p:spPr>
          <a:xfrm>
            <a:off x="8152615" y="1152000"/>
            <a:ext cx="3478154" cy="381600"/>
          </a:xfrm>
          <a:prstGeom prst="rect">
            <a:avLst/>
          </a:prstGeom>
        </p:spPr>
      </p:pic>
    </p:spTree>
    <p:extLst>
      <p:ext uri="{BB962C8B-B14F-4D97-AF65-F5344CB8AC3E}">
        <p14:creationId xmlns:p14="http://schemas.microsoft.com/office/powerpoint/2010/main" val="26824928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Guidelin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5354" y="404665"/>
            <a:ext cx="11342769" cy="863748"/>
          </a:xfrm>
        </p:spPr>
        <p:txBody>
          <a:bodyPr lIns="108000" tIns="36000" rIns="108000" bIns="0"/>
          <a:lstStyle>
            <a:lvl1pPr>
              <a:defRPr sz="2200" baseline="0">
                <a:solidFill>
                  <a:schemeClr val="bg2"/>
                </a:solidFill>
              </a:defRPr>
            </a:lvl1pPr>
          </a:lstStyle>
          <a:p>
            <a:r>
              <a:rPr lang="fr-FR" noProof="0" err="1"/>
              <a:t>Color</a:t>
            </a:r>
            <a:r>
              <a:rPr lang="fr-FR" noProof="0"/>
              <a:t> &amp; Font structure</a:t>
            </a:r>
          </a:p>
        </p:txBody>
      </p:sp>
      <p:graphicFrame>
        <p:nvGraphicFramePr>
          <p:cNvPr id="5" name="Table 4"/>
          <p:cNvGraphicFramePr>
            <a:graphicFrameLocks noGrp="1"/>
          </p:cNvGraphicFramePr>
          <p:nvPr>
            <p:extLst>
              <p:ext uri="{D42A27DB-BD31-4B8C-83A1-F6EECF244321}">
                <p14:modId xmlns:p14="http://schemas.microsoft.com/office/powerpoint/2010/main" val="765990144"/>
              </p:ext>
            </p:extLst>
          </p:nvPr>
        </p:nvGraphicFramePr>
        <p:xfrm>
          <a:off x="486065" y="3212976"/>
          <a:ext cx="11561351" cy="359664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2381692">
                  <a:extLst>
                    <a:ext uri="{9D8B030D-6E8A-4147-A177-3AD203B41FA5}">
                      <a16:colId xmlns:a16="http://schemas.microsoft.com/office/drawing/2014/main" val="20006"/>
                    </a:ext>
                  </a:extLst>
                </a:gridCol>
                <a:gridCol w="1937737">
                  <a:extLst>
                    <a:ext uri="{9D8B030D-6E8A-4147-A177-3AD203B41FA5}">
                      <a16:colId xmlns:a16="http://schemas.microsoft.com/office/drawing/2014/main" val="20007"/>
                    </a:ext>
                  </a:extLst>
                </a:gridCol>
              </a:tblGrid>
              <a:tr h="364884">
                <a:tc>
                  <a:txBody>
                    <a:bodyPr/>
                    <a:lstStyle/>
                    <a:p>
                      <a:r>
                        <a:rPr lang="fr-FR" sz="900" b="1"/>
                        <a:t>Niveau</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Police</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Couleur</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Taille</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Effet</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Bullet </a:t>
                      </a:r>
                    </a:p>
                  </a:txBody>
                  <a:tcPr marL="112542" marR="112542">
                    <a:solidFill>
                      <a:schemeClr val="bg1">
                        <a:lumMod val="95000"/>
                      </a:schemeClr>
                    </a:solidFill>
                  </a:tcPr>
                </a:tc>
                <a:tc>
                  <a:txBody>
                    <a:bodyPr/>
                    <a:lstStyle/>
                    <a:p>
                      <a:r>
                        <a:rPr lang="fr-FR" sz="900" b="1" kern="1200">
                          <a:solidFill>
                            <a:schemeClr val="tx1"/>
                          </a:solidFill>
                          <a:latin typeface="+mn-lt"/>
                          <a:ea typeface="+mn-ea"/>
                          <a:cs typeface="+mn-cs"/>
                        </a:rPr>
                        <a:t>Retrait </a:t>
                      </a:r>
                      <a:br>
                        <a:rPr lang="fr-FR" sz="900" b="1" kern="1200">
                          <a:solidFill>
                            <a:schemeClr val="tx1"/>
                          </a:solidFill>
                          <a:latin typeface="+mn-lt"/>
                          <a:ea typeface="+mn-ea"/>
                          <a:cs typeface="+mn-cs"/>
                        </a:rPr>
                      </a:br>
                      <a:r>
                        <a:rPr lang="fr-FR" sz="900" b="1" kern="1200">
                          <a:solidFill>
                            <a:schemeClr val="tx1"/>
                          </a:solidFill>
                          <a:latin typeface="+mn-lt"/>
                          <a:ea typeface="+mn-ea"/>
                          <a:cs typeface="+mn-cs"/>
                        </a:rPr>
                        <a:t>Paragraphe</a:t>
                      </a:r>
                    </a:p>
                  </a:txBody>
                  <a:tcPr marL="112542" marR="112542">
                    <a:solidFill>
                      <a:schemeClr val="bg1">
                        <a:lumMod val="95000"/>
                      </a:schemeClr>
                    </a:solidFill>
                  </a:tcPr>
                </a:tc>
                <a:tc>
                  <a:txBody>
                    <a:bodyPr/>
                    <a:lstStyle/>
                    <a:p>
                      <a:r>
                        <a:rPr lang="fr-FR" sz="900" b="1" kern="1200">
                          <a:solidFill>
                            <a:schemeClr val="tx1"/>
                          </a:solidFill>
                          <a:latin typeface="+mn-lt"/>
                          <a:ea typeface="+mn-ea"/>
                          <a:cs typeface="+mn-cs"/>
                        </a:rPr>
                        <a:t>Espacement </a:t>
                      </a:r>
                    </a:p>
                    <a:p>
                      <a:r>
                        <a:rPr lang="fr-FR" sz="900" b="1" kern="1200">
                          <a:solidFill>
                            <a:schemeClr val="tx1"/>
                          </a:solidFill>
                          <a:latin typeface="+mn-lt"/>
                          <a:ea typeface="+mn-ea"/>
                          <a:cs typeface="+mn-cs"/>
                        </a:rPr>
                        <a:t>Paragraphe</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fr-FR" sz="1000" i="0" kern="1200" cap="all" baseline="0">
                          <a:solidFill>
                            <a:schemeClr val="accent4"/>
                          </a:solidFill>
                          <a:latin typeface="+mj-lt"/>
                          <a:ea typeface="+mn-ea"/>
                          <a:cs typeface="+mn-cs"/>
                        </a:rPr>
                        <a:t>surtitre</a:t>
                      </a:r>
                    </a:p>
                  </a:txBody>
                  <a:tcPr marL="112542" marR="112542" anchor="ctr">
                    <a:solidFill>
                      <a:schemeClr val="bg1"/>
                    </a:solidFill>
                  </a:tcPr>
                </a:tc>
                <a:tc>
                  <a:txBody>
                    <a:bodyPr/>
                    <a:lstStyle/>
                    <a:p>
                      <a:pPr algn="ctr"/>
                      <a:r>
                        <a:rPr lang="fr-FR" sz="1000" i="0" kern="1200" cap="none" baseline="0" err="1">
                          <a:solidFill>
                            <a:schemeClr val="tx1"/>
                          </a:solidFill>
                          <a:latin typeface="+mn-lt"/>
                          <a:ea typeface="+mn-ea"/>
                          <a:cs typeface="+mn-cs"/>
                        </a:rPr>
                        <a:t>Tahoma</a:t>
                      </a:r>
                      <a:r>
                        <a:rPr lang="fr-FR" sz="1000" i="0" kern="1200" cap="none" baseline="0">
                          <a:solidFill>
                            <a:schemeClr val="tx1"/>
                          </a:solidFill>
                          <a:latin typeface="+mn-lt"/>
                          <a:ea typeface="+mn-ea"/>
                          <a:cs typeface="+mn-cs"/>
                        </a:rPr>
                        <a:t> </a:t>
                      </a:r>
                      <a:r>
                        <a:rPr lang="fr-FR" sz="1000" i="0" kern="1200" cap="none" baseline="0" err="1">
                          <a:solidFill>
                            <a:schemeClr val="tx1"/>
                          </a:solidFill>
                          <a:latin typeface="+mn-lt"/>
                          <a:ea typeface="+mn-ea"/>
                          <a:cs typeface="+mn-cs"/>
                        </a:rPr>
                        <a:t>Headings</a:t>
                      </a:r>
                      <a:endParaRPr lang="fr-FR" sz="1000" i="0" kern="1200" cap="none" baseline="0">
                        <a:solidFill>
                          <a:schemeClr val="tx1"/>
                        </a:solidFill>
                        <a:latin typeface="+mn-lt"/>
                        <a:ea typeface="+mn-ea"/>
                        <a:cs typeface="+mn-cs"/>
                      </a:endParaRP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47 / 132 / 129</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0</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ALL CAPS</a:t>
                      </a: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0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Pas d’interligne</a:t>
                      </a:r>
                    </a:p>
                  </a:txBody>
                  <a:tcPr marL="112542" marR="112542" anchor="ctr">
                    <a:solidFill>
                      <a:schemeClr val="bg1"/>
                    </a:solidFill>
                  </a:tcPr>
                </a:tc>
                <a:extLst>
                  <a:ext uri="{0D108BD9-81ED-4DB2-BD59-A6C34878D82A}">
                    <a16:rowId xmlns:a16="http://schemas.microsoft.com/office/drawing/2014/main" val="10001"/>
                  </a:ext>
                </a:extLst>
              </a:tr>
              <a:tr h="192471">
                <a:tc>
                  <a:txBody>
                    <a:bodyPr/>
                    <a:lstStyle/>
                    <a:p>
                      <a:r>
                        <a:rPr lang="fr-FR" sz="2200" kern="1200" baseline="0">
                          <a:solidFill>
                            <a:schemeClr val="bg2"/>
                          </a:solidFill>
                          <a:latin typeface="+mj-lt"/>
                          <a:ea typeface="+mj-ea"/>
                          <a:cs typeface="+mj-cs"/>
                        </a:rPr>
                        <a:t>Titre</a:t>
                      </a:r>
                    </a:p>
                  </a:txBody>
                  <a:tcPr marL="112542" marR="112542" anchor="ctr">
                    <a:solidFill>
                      <a:schemeClr val="bg1"/>
                    </a:solidFill>
                  </a:tcPr>
                </a:tc>
                <a:tc>
                  <a:txBody>
                    <a:bodyPr/>
                    <a:lstStyle/>
                    <a:p>
                      <a:pPr algn="ctr"/>
                      <a:r>
                        <a:rPr lang="fr-FR" sz="1000" i="0" kern="1200" cap="none" baseline="0" err="1">
                          <a:solidFill>
                            <a:schemeClr val="tx1"/>
                          </a:solidFill>
                          <a:latin typeface="+mn-lt"/>
                          <a:ea typeface="+mn-ea"/>
                          <a:cs typeface="+mn-cs"/>
                        </a:rPr>
                        <a:t>Tahoma</a:t>
                      </a:r>
                      <a:r>
                        <a:rPr lang="fr-FR" sz="1000" i="0" kern="1200" cap="none" baseline="0">
                          <a:solidFill>
                            <a:schemeClr val="tx1"/>
                          </a:solidFill>
                          <a:latin typeface="+mn-lt"/>
                          <a:ea typeface="+mn-ea"/>
                          <a:cs typeface="+mn-cs"/>
                        </a:rPr>
                        <a:t> </a:t>
                      </a:r>
                      <a:r>
                        <a:rPr lang="fr-FR" sz="1000" i="0" kern="1200" cap="none" baseline="0" err="1">
                          <a:solidFill>
                            <a:schemeClr val="tx1"/>
                          </a:solidFill>
                          <a:latin typeface="+mn-lt"/>
                          <a:ea typeface="+mn-ea"/>
                          <a:cs typeface="+mn-cs"/>
                        </a:rPr>
                        <a:t>Headings</a:t>
                      </a:r>
                      <a:endParaRPr lang="fr-FR" sz="1000" i="0" kern="1200" cap="none" baseline="0">
                        <a:solidFill>
                          <a:schemeClr val="tx1"/>
                        </a:solidFill>
                        <a:latin typeface="+mn-lt"/>
                        <a:ea typeface="+mn-ea"/>
                        <a:cs typeface="+mn-cs"/>
                      </a:endParaRPr>
                    </a:p>
                    <a:p>
                      <a:pPr algn="ctr"/>
                      <a:endParaRPr lang="fr-FR" sz="1000" i="0" kern="1200" cap="none" baseline="0">
                        <a:solidFill>
                          <a:schemeClr val="tx1"/>
                        </a:solidFill>
                        <a:latin typeface="+mn-lt"/>
                        <a:ea typeface="+mn-ea"/>
                        <a:cs typeface="+mn-cs"/>
                      </a:endParaRP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80 / 48 /120</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8</a:t>
                      </a:r>
                    </a:p>
                  </a:txBody>
                  <a:tcPr marL="112542" marR="112542" anchor="ctr">
                    <a:solidFill>
                      <a:schemeClr val="bg1"/>
                    </a:solidFill>
                  </a:tcPr>
                </a:tc>
                <a:tc>
                  <a:txBody>
                    <a:bodyPr/>
                    <a:lstStyle/>
                    <a:p>
                      <a:pPr algn="ctr"/>
                      <a:r>
                        <a:rPr kumimoji="0" lang="fr-FR" sz="1000" b="0" i="0" u="none" strike="noStrike" kern="1200" cap="none" spc="0" normalizeH="0" baseline="0" noProof="0">
                          <a:ln>
                            <a:noFill/>
                          </a:ln>
                          <a:solidFill>
                            <a:srgbClr val="333333"/>
                          </a:solidFill>
                          <a:effectLst/>
                          <a:uLnTx/>
                          <a:uFillTx/>
                          <a:latin typeface="+mn-lt"/>
                          <a:ea typeface="+mn-ea"/>
                          <a:cs typeface="+mn-cs"/>
                        </a:rPr>
                        <a:t>Normal</a:t>
                      </a:r>
                      <a:endParaRPr lang="fr-FR" sz="1000" i="0" kern="1200" cap="all" baseline="0">
                        <a:solidFill>
                          <a:schemeClr val="tx1"/>
                        </a:solidFill>
                        <a:latin typeface="+mn-lt"/>
                        <a:ea typeface="+mn-ea"/>
                        <a:cs typeface="+mn-cs"/>
                      </a:endParaRP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0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Pas d’interligne</a:t>
                      </a:r>
                    </a:p>
                  </a:txBody>
                  <a:tcPr marL="112542" marR="112542" anchor="ctr">
                    <a:solidFill>
                      <a:schemeClr val="bg1"/>
                    </a:solidFill>
                  </a:tcPr>
                </a:tc>
                <a:extLst>
                  <a:ext uri="{0D108BD9-81ED-4DB2-BD59-A6C34878D82A}">
                    <a16:rowId xmlns:a16="http://schemas.microsoft.com/office/drawing/2014/main" val="10002"/>
                  </a:ext>
                </a:extLst>
              </a:tr>
              <a:tr h="364884">
                <a:tc>
                  <a:txBody>
                    <a:bodyPr/>
                    <a:lstStyle/>
                    <a:p>
                      <a:pPr lvl="0"/>
                      <a:r>
                        <a:rPr lang="fr-FR" sz="1600" i="0" kern="1200" cap="none" baseline="0">
                          <a:solidFill>
                            <a:srgbClr val="503078"/>
                          </a:solidFill>
                          <a:latin typeface="+mn-lt"/>
                          <a:ea typeface="+mn-ea"/>
                          <a:cs typeface="+mn-cs"/>
                        </a:rPr>
                        <a:t>Niveau 1</a:t>
                      </a:r>
                    </a:p>
                  </a:txBody>
                  <a:tcPr marL="112542" marR="112542" anchor="ctr">
                    <a:solidFill>
                      <a:schemeClr val="bg1"/>
                    </a:solidFill>
                  </a:tcPr>
                </a:tc>
                <a:tc>
                  <a:txBody>
                    <a:bodyPr/>
                    <a:lstStyle/>
                    <a:p>
                      <a:pPr algn="ctr"/>
                      <a:r>
                        <a:rPr lang="fr-FR" sz="1000" i="0" kern="1200" cap="none" baseline="0" err="1">
                          <a:solidFill>
                            <a:schemeClr val="tx1"/>
                          </a:solidFill>
                          <a:latin typeface="+mn-lt"/>
                          <a:ea typeface="+mn-ea"/>
                          <a:cs typeface="+mn-cs"/>
                        </a:rPr>
                        <a:t>Tahoma</a:t>
                      </a:r>
                      <a:r>
                        <a:rPr lang="fr-FR" sz="1000" i="0" kern="1200" cap="none" baseline="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80 / 48 /120</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6</a:t>
                      </a:r>
                    </a:p>
                  </a:txBody>
                  <a:tcPr marL="112542" marR="112542" anchor="ctr">
                    <a:solidFill>
                      <a:schemeClr val="bg1"/>
                    </a:solidFill>
                  </a:tcPr>
                </a:tc>
                <a:tc>
                  <a:txBody>
                    <a:bodyPr/>
                    <a:lstStyle/>
                    <a:p>
                      <a:pPr algn="ctr"/>
                      <a:r>
                        <a:rPr kumimoji="0" lang="fr-FR" sz="1000" b="0" i="0" u="none" strike="noStrike" kern="1200" cap="none" spc="0" normalizeH="0" baseline="0" noProof="0">
                          <a:ln>
                            <a:noFill/>
                          </a:ln>
                          <a:solidFill>
                            <a:srgbClr val="333333"/>
                          </a:solidFill>
                          <a:effectLst/>
                          <a:uLnTx/>
                          <a:uFillTx/>
                          <a:latin typeface="+mn-lt"/>
                          <a:ea typeface="+mn-ea"/>
                          <a:cs typeface="+mn-cs"/>
                        </a:rPr>
                        <a:t>Normal</a:t>
                      </a:r>
                      <a:endParaRPr lang="fr-FR" sz="1000" i="0" kern="1200" cap="all" baseline="0">
                        <a:solidFill>
                          <a:schemeClr val="tx1"/>
                        </a:solidFill>
                        <a:latin typeface="+mn-lt"/>
                        <a:ea typeface="+mn-ea"/>
                        <a:cs typeface="+mn-cs"/>
                      </a:endParaRP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0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18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3"/>
                  </a:ext>
                </a:extLst>
              </a:tr>
              <a:tr h="364884">
                <a:tc>
                  <a:txBody>
                    <a:bodyPr/>
                    <a:lstStyle/>
                    <a:p>
                      <a:pPr marL="285750" indent="-285750">
                        <a:buClr>
                          <a:schemeClr val="bg2"/>
                        </a:buClr>
                        <a:buFont typeface="Tempus Sans ITC" panose="04020404030D07020202" pitchFamily="82" charset="0"/>
                        <a:buChar char="/"/>
                      </a:pPr>
                      <a:r>
                        <a:rPr lang="fr-FR" sz="1400" kern="1200">
                          <a:solidFill>
                            <a:schemeClr val="tx1"/>
                          </a:solidFill>
                          <a:latin typeface="+mn-lt"/>
                          <a:ea typeface="+mn-ea"/>
                          <a:cs typeface="+mn-cs"/>
                        </a:rPr>
                        <a:t>Niveau 2</a:t>
                      </a:r>
                    </a:p>
                  </a:txBody>
                  <a:tcPr marL="112542" marR="112542" anchor="ctr">
                    <a:solidFill>
                      <a:schemeClr val="bg1"/>
                    </a:solidFill>
                  </a:tcPr>
                </a:tc>
                <a:tc>
                  <a:txBody>
                    <a:bodyPr/>
                    <a:lstStyle/>
                    <a:p>
                      <a:pPr algn="ctr"/>
                      <a:r>
                        <a:rPr lang="fr-FR" sz="1000" kern="1200" err="1">
                          <a:solidFill>
                            <a:schemeClr val="tx1"/>
                          </a:solidFill>
                          <a:latin typeface="+mn-lt"/>
                          <a:ea typeface="+mn-ea"/>
                          <a:cs typeface="+mn-cs"/>
                        </a:rPr>
                        <a:t>Tahoma</a:t>
                      </a:r>
                      <a:r>
                        <a:rPr lang="fr-FR" sz="1000" kern="120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14</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00" kern="1200" cap="none" baseline="0">
                          <a:solidFill>
                            <a:schemeClr val="tx1"/>
                          </a:solidFill>
                          <a:latin typeface="+mn-lt"/>
                          <a:ea typeface="+mn-ea"/>
                          <a:cs typeface="+mn-cs"/>
                        </a:rPr>
                        <a:t>Font Tempus Sans ITC</a:t>
                      </a:r>
                      <a:br>
                        <a:rPr lang="fr-FR" sz="1000" kern="1200" cap="none" baseline="0">
                          <a:solidFill>
                            <a:schemeClr val="tx1"/>
                          </a:solidFill>
                          <a:latin typeface="+mn-lt"/>
                          <a:ea typeface="+mn-ea"/>
                          <a:cs typeface="+mn-cs"/>
                        </a:rPr>
                      </a:br>
                      <a:r>
                        <a:rPr lang="fr-FR" sz="1000" kern="1200" cap="none" baseline="0">
                          <a:solidFill>
                            <a:schemeClr val="tx1"/>
                          </a:solidFill>
                          <a:latin typeface="+mn-lt"/>
                          <a:ea typeface="+mn-ea"/>
                          <a:cs typeface="+mn-cs"/>
                        </a:rPr>
                        <a:t>code 002F</a:t>
                      </a: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1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14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4"/>
                  </a:ext>
                </a:extLst>
              </a:tr>
              <a:tr h="364884">
                <a:tc>
                  <a:txBody>
                    <a:bodyPr/>
                    <a:lstStyle/>
                    <a:p>
                      <a:r>
                        <a:rPr lang="fr-FR" sz="1400" kern="1200">
                          <a:solidFill>
                            <a:schemeClr val="tx1"/>
                          </a:solidFill>
                          <a:latin typeface="+mn-lt"/>
                          <a:ea typeface="+mn-ea"/>
                          <a:cs typeface="+mn-cs"/>
                        </a:rPr>
                        <a:t>Niveau 3</a:t>
                      </a:r>
                    </a:p>
                  </a:txBody>
                  <a:tcPr marL="112542" marR="112542" anchor="ctr">
                    <a:solidFill>
                      <a:schemeClr val="bg1"/>
                    </a:solidFill>
                  </a:tcPr>
                </a:tc>
                <a:tc>
                  <a:txBody>
                    <a:bodyPr/>
                    <a:lstStyle/>
                    <a:p>
                      <a:pPr algn="ctr"/>
                      <a:r>
                        <a:rPr lang="fr-FR" sz="1000" kern="1200" err="1">
                          <a:solidFill>
                            <a:schemeClr val="tx1"/>
                          </a:solidFill>
                          <a:latin typeface="+mn-lt"/>
                          <a:ea typeface="+mn-ea"/>
                          <a:cs typeface="+mn-cs"/>
                        </a:rPr>
                        <a:t>Tahoma</a:t>
                      </a:r>
                      <a:r>
                        <a:rPr lang="fr-FR" sz="1000" kern="120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14</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Normal</a:t>
                      </a: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1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fr-FR" sz="1200" kern="1200" cap="none" baseline="0">
                          <a:solidFill>
                            <a:schemeClr val="tx1"/>
                          </a:solidFill>
                          <a:latin typeface="+mn-lt"/>
                          <a:ea typeface="+mn-ea"/>
                          <a:cs typeface="+mn-cs"/>
                        </a:rPr>
                        <a:t>Niveau 4</a:t>
                      </a:r>
                    </a:p>
                  </a:txBody>
                  <a:tcPr marL="112542" marR="112542" anchor="ctr">
                    <a:solidFill>
                      <a:schemeClr val="bg1"/>
                    </a:solidFill>
                  </a:tcPr>
                </a:tc>
                <a:tc>
                  <a:txBody>
                    <a:bodyPr/>
                    <a:lstStyle/>
                    <a:p>
                      <a:pPr algn="ctr"/>
                      <a:r>
                        <a:rPr lang="fr-FR" sz="1000" kern="1200" cap="none" baseline="0" err="1">
                          <a:solidFill>
                            <a:schemeClr val="tx1"/>
                          </a:solidFill>
                          <a:latin typeface="+mn-lt"/>
                          <a:ea typeface="+mn-ea"/>
                          <a:cs typeface="+mn-cs"/>
                        </a:rPr>
                        <a:t>Tahoma</a:t>
                      </a:r>
                      <a:r>
                        <a:rPr lang="fr-FR" sz="1000" kern="1200" cap="none" baseline="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cap="none" baseline="0">
                          <a:solidFill>
                            <a:schemeClr val="tx1"/>
                          </a:solidFill>
                          <a:latin typeface="+mn-lt"/>
                          <a:ea typeface="+mn-ea"/>
                          <a:cs typeface="+mn-cs"/>
                        </a:rPr>
                        <a:t>12</a:t>
                      </a:r>
                    </a:p>
                  </a:txBody>
                  <a:tcPr marL="112542" marR="112542" anchor="ctr">
                    <a:solidFill>
                      <a:schemeClr val="bg1"/>
                    </a:solidFill>
                  </a:tcPr>
                </a:tc>
                <a:tc>
                  <a:txBody>
                    <a:bodyPr/>
                    <a:lstStyle/>
                    <a:p>
                      <a:pPr algn="ctr"/>
                      <a:r>
                        <a:rPr lang="fr-FR" sz="1000" kern="1200" cap="none" baseline="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fr-FR" sz="1000" kern="1200" cap="none" baseline="0">
                          <a:solidFill>
                            <a:schemeClr val="tx1"/>
                          </a:solidFill>
                          <a:latin typeface="+mn-lt"/>
                          <a:ea typeface="+mn-ea"/>
                          <a:cs typeface="+mn-cs"/>
                        </a:rPr>
                        <a:t>Font </a:t>
                      </a:r>
                      <a:r>
                        <a:rPr lang="fr-FR" sz="1000" kern="1200" cap="none" baseline="0" err="1">
                          <a:solidFill>
                            <a:schemeClr val="tx1"/>
                          </a:solidFill>
                          <a:latin typeface="+mn-lt"/>
                          <a:ea typeface="+mn-ea"/>
                          <a:cs typeface="+mn-cs"/>
                        </a:rPr>
                        <a:t>Tahoma</a:t>
                      </a:r>
                      <a:r>
                        <a:rPr lang="fr-FR" sz="1000" kern="1200" cap="none" baseline="0">
                          <a:solidFill>
                            <a:schemeClr val="tx1"/>
                          </a:solidFill>
                          <a:latin typeface="+mn-lt"/>
                          <a:ea typeface="+mn-ea"/>
                          <a:cs typeface="+mn-cs"/>
                        </a:rPr>
                        <a:t> </a:t>
                      </a:r>
                      <a:br>
                        <a:rPr lang="fr-FR" sz="1000" kern="1200" cap="none" baseline="0">
                          <a:solidFill>
                            <a:schemeClr val="tx1"/>
                          </a:solidFill>
                          <a:latin typeface="+mn-lt"/>
                          <a:ea typeface="+mn-ea"/>
                          <a:cs typeface="+mn-cs"/>
                        </a:rPr>
                      </a:br>
                      <a:r>
                        <a:rPr lang="fr-FR" sz="1000" kern="1200" cap="none" baseline="0">
                          <a:solidFill>
                            <a:schemeClr val="tx1"/>
                          </a:solidFill>
                          <a:latin typeface="+mn-lt"/>
                          <a:ea typeface="+mn-ea"/>
                          <a:cs typeface="+mn-cs"/>
                        </a:rPr>
                        <a:t>code 203A</a:t>
                      </a: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1,8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fr-FR" sz="1000" kern="1200">
                          <a:solidFill>
                            <a:schemeClr val="tx1"/>
                          </a:solidFill>
                          <a:latin typeface="+mn-lt"/>
                          <a:ea typeface="+mn-ea"/>
                          <a:cs typeface="+mn-cs"/>
                        </a:rPr>
                        <a:t>Niveau 5</a:t>
                      </a:r>
                    </a:p>
                  </a:txBody>
                  <a:tcPr marL="112542" marR="112542" anchor="ctr">
                    <a:solidFill>
                      <a:schemeClr val="bg1"/>
                    </a:solidFill>
                  </a:tcPr>
                </a:tc>
                <a:tc>
                  <a:txBody>
                    <a:bodyPr/>
                    <a:lstStyle/>
                    <a:p>
                      <a:pPr algn="ctr"/>
                      <a:r>
                        <a:rPr lang="fr-FR" sz="1000" kern="1200" err="1">
                          <a:solidFill>
                            <a:schemeClr val="tx1"/>
                          </a:solidFill>
                          <a:latin typeface="+mn-lt"/>
                          <a:ea typeface="+mn-ea"/>
                          <a:cs typeface="+mn-cs"/>
                        </a:rPr>
                        <a:t>Tahoma</a:t>
                      </a:r>
                      <a:r>
                        <a:rPr lang="fr-FR" sz="1000" kern="120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10</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Font </a:t>
                      </a:r>
                      <a:r>
                        <a:rPr lang="fr-FR" sz="1000" kern="1200" err="1">
                          <a:solidFill>
                            <a:schemeClr val="tx1"/>
                          </a:solidFill>
                          <a:latin typeface="+mn-lt"/>
                          <a:ea typeface="+mn-ea"/>
                          <a:cs typeface="+mn-cs"/>
                        </a:rPr>
                        <a:t>Tahoma</a:t>
                      </a:r>
                      <a:br>
                        <a:rPr lang="fr-FR" sz="1000" kern="1200">
                          <a:solidFill>
                            <a:schemeClr val="tx1"/>
                          </a:solidFill>
                          <a:latin typeface="+mn-lt"/>
                          <a:ea typeface="+mn-ea"/>
                          <a:cs typeface="+mn-cs"/>
                        </a:rPr>
                      </a:br>
                      <a:r>
                        <a:rPr lang="fr-FR" sz="1000" kern="1200">
                          <a:solidFill>
                            <a:schemeClr val="tx1"/>
                          </a:solidFill>
                          <a:latin typeface="+mn-lt"/>
                          <a:ea typeface="+mn-ea"/>
                          <a:cs typeface="+mn-cs"/>
                        </a:rPr>
                        <a:t>code 00BB</a:t>
                      </a:r>
                    </a:p>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2,5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fr-FR" sz="1400" b="1" err="1">
                <a:solidFill>
                  <a:schemeClr val="bg2"/>
                </a:solidFill>
              </a:rPr>
              <a:t>Remaining</a:t>
            </a:r>
            <a:r>
              <a:rPr lang="fr-FR" sz="1400" b="1">
                <a:solidFill>
                  <a:schemeClr val="bg2"/>
                </a:solidFill>
              </a:rPr>
              <a:t> bug</a:t>
            </a:r>
            <a:endParaRPr lang="fr-FR" sz="1400">
              <a:solidFill>
                <a:schemeClr val="bg2"/>
              </a:solidFill>
            </a:endParaRPr>
          </a:p>
          <a:p>
            <a:pPr algn="r"/>
            <a:r>
              <a:rPr lang="fr-FR" sz="1400">
                <a:solidFill>
                  <a:schemeClr val="bg2"/>
                </a:solidFill>
              </a:rPr>
              <a:t>La Police</a:t>
            </a:r>
            <a:r>
              <a:rPr lang="fr-FR" sz="1400" baseline="0">
                <a:solidFill>
                  <a:schemeClr val="bg2"/>
                </a:solidFill>
              </a:rPr>
              <a:t> </a:t>
            </a:r>
            <a:r>
              <a:rPr lang="fr-FR" sz="1400" baseline="0" err="1">
                <a:solidFill>
                  <a:schemeClr val="bg2"/>
                </a:solidFill>
              </a:rPr>
              <a:t>Tahoma</a:t>
            </a:r>
            <a:r>
              <a:rPr lang="fr-FR" sz="1400" baseline="0">
                <a:solidFill>
                  <a:schemeClr val="bg2"/>
                </a:solidFill>
              </a:rPr>
              <a:t> italique ne passe pas à l’impression depuis un document </a:t>
            </a:r>
            <a:r>
              <a:rPr lang="fr-FR" sz="1400" baseline="0" err="1">
                <a:solidFill>
                  <a:schemeClr val="bg2"/>
                </a:solidFill>
              </a:rPr>
              <a:t>pdf</a:t>
            </a:r>
            <a:r>
              <a:rPr lang="fr-FR" sz="1400" baseline="0">
                <a:solidFill>
                  <a:schemeClr val="bg2"/>
                </a:solidFill>
              </a:rPr>
              <a:t> généré directement par PPT. </a:t>
            </a:r>
          </a:p>
          <a:p>
            <a:pPr algn="r"/>
            <a:r>
              <a:rPr lang="fr-FR" sz="1400" b="1" baseline="0">
                <a:solidFill>
                  <a:schemeClr val="bg2"/>
                </a:solidFill>
              </a:rPr>
              <a:t>Passer par une imprimante </a:t>
            </a:r>
            <a:r>
              <a:rPr lang="fr-FR" sz="1400" b="1" baseline="0" err="1">
                <a:solidFill>
                  <a:schemeClr val="bg2"/>
                </a:solidFill>
              </a:rPr>
              <a:t>Pdf</a:t>
            </a:r>
            <a:r>
              <a:rPr lang="fr-FR" sz="1400" b="1" baseline="0">
                <a:solidFill>
                  <a:schemeClr val="bg2"/>
                </a:solidFill>
              </a:rPr>
              <a:t> type </a:t>
            </a:r>
            <a:r>
              <a:rPr lang="fr-FR" sz="1400" b="1" baseline="0" err="1">
                <a:solidFill>
                  <a:schemeClr val="bg2"/>
                </a:solidFill>
              </a:rPr>
              <a:t>Pdf</a:t>
            </a:r>
            <a:r>
              <a:rPr lang="fr-FR" sz="1400" b="1" baseline="0">
                <a:solidFill>
                  <a:schemeClr val="bg2"/>
                </a:solidFill>
              </a:rPr>
              <a:t> Creator.</a:t>
            </a:r>
            <a:endParaRPr lang="fr-FR" sz="1400" b="1">
              <a:solidFill>
                <a:schemeClr val="bg2"/>
              </a:solidFill>
            </a:endParaRPr>
          </a:p>
        </p:txBody>
      </p:sp>
      <p:graphicFrame>
        <p:nvGraphicFramePr>
          <p:cNvPr id="7" name="Inhaltsplatzhalter 3"/>
          <p:cNvGraphicFramePr>
            <a:graphicFrameLocks/>
          </p:cNvGraphicFramePr>
          <p:nvPr>
            <p:extLst>
              <p:ext uri="{D42A27DB-BD31-4B8C-83A1-F6EECF244321}">
                <p14:modId xmlns:p14="http://schemas.microsoft.com/office/powerpoint/2010/main" val="2976141139"/>
              </p:ext>
            </p:extLst>
          </p:nvPr>
        </p:nvGraphicFramePr>
        <p:xfrm>
          <a:off x="446856" y="1470716"/>
          <a:ext cx="11360135" cy="1635316"/>
        </p:xfrm>
        <a:graphic>
          <a:graphicData uri="http://schemas.openxmlformats.org/drawingml/2006/table">
            <a:tbl>
              <a:tblPr bandRow="1">
                <a:tableStyleId>{5C22544A-7EE6-4342-B048-85BDC9FD1C3A}</a:tableStyleId>
              </a:tblPr>
              <a:tblGrid>
                <a:gridCol w="1136014">
                  <a:extLst>
                    <a:ext uri="{9D8B030D-6E8A-4147-A177-3AD203B41FA5}">
                      <a16:colId xmlns:a16="http://schemas.microsoft.com/office/drawing/2014/main" val="20000"/>
                    </a:ext>
                  </a:extLst>
                </a:gridCol>
                <a:gridCol w="1136014">
                  <a:extLst>
                    <a:ext uri="{9D8B030D-6E8A-4147-A177-3AD203B41FA5}">
                      <a16:colId xmlns:a16="http://schemas.microsoft.com/office/drawing/2014/main" val="20001"/>
                    </a:ext>
                  </a:extLst>
                </a:gridCol>
                <a:gridCol w="1136014">
                  <a:extLst>
                    <a:ext uri="{9D8B030D-6E8A-4147-A177-3AD203B41FA5}">
                      <a16:colId xmlns:a16="http://schemas.microsoft.com/office/drawing/2014/main" val="20002"/>
                    </a:ext>
                  </a:extLst>
                </a:gridCol>
                <a:gridCol w="1136014">
                  <a:extLst>
                    <a:ext uri="{9D8B030D-6E8A-4147-A177-3AD203B41FA5}">
                      <a16:colId xmlns:a16="http://schemas.microsoft.com/office/drawing/2014/main" val="20003"/>
                    </a:ext>
                  </a:extLst>
                </a:gridCol>
                <a:gridCol w="1136014">
                  <a:extLst>
                    <a:ext uri="{9D8B030D-6E8A-4147-A177-3AD203B41FA5}">
                      <a16:colId xmlns:a16="http://schemas.microsoft.com/office/drawing/2014/main" val="20004"/>
                    </a:ext>
                  </a:extLst>
                </a:gridCol>
                <a:gridCol w="1136014">
                  <a:extLst>
                    <a:ext uri="{9D8B030D-6E8A-4147-A177-3AD203B41FA5}">
                      <a16:colId xmlns:a16="http://schemas.microsoft.com/office/drawing/2014/main" val="20005"/>
                    </a:ext>
                  </a:extLst>
                </a:gridCol>
                <a:gridCol w="1136014">
                  <a:extLst>
                    <a:ext uri="{9D8B030D-6E8A-4147-A177-3AD203B41FA5}">
                      <a16:colId xmlns:a16="http://schemas.microsoft.com/office/drawing/2014/main" val="20006"/>
                    </a:ext>
                  </a:extLst>
                </a:gridCol>
                <a:gridCol w="1136014">
                  <a:extLst>
                    <a:ext uri="{9D8B030D-6E8A-4147-A177-3AD203B41FA5}">
                      <a16:colId xmlns:a16="http://schemas.microsoft.com/office/drawing/2014/main" val="20007"/>
                    </a:ext>
                  </a:extLst>
                </a:gridCol>
                <a:gridCol w="1136014">
                  <a:extLst>
                    <a:ext uri="{9D8B030D-6E8A-4147-A177-3AD203B41FA5}">
                      <a16:colId xmlns:a16="http://schemas.microsoft.com/office/drawing/2014/main" val="20008"/>
                    </a:ext>
                  </a:extLst>
                </a:gridCol>
                <a:gridCol w="1136014">
                  <a:extLst>
                    <a:ext uri="{9D8B030D-6E8A-4147-A177-3AD203B41FA5}">
                      <a16:colId xmlns:a16="http://schemas.microsoft.com/office/drawing/2014/main" val="20009"/>
                    </a:ext>
                  </a:extLst>
                </a:gridCol>
              </a:tblGrid>
              <a:tr h="30668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fr-FR" sz="900" b="1" kern="1200" noProof="0" err="1">
                          <a:solidFill>
                            <a:schemeClr val="bg2"/>
                          </a:solidFill>
                          <a:latin typeface="+mn-lt"/>
                          <a:ea typeface="+mn-ea"/>
                          <a:cs typeface="+mn-cs"/>
                        </a:rPr>
                        <a:t>Color</a:t>
                      </a:r>
                      <a:r>
                        <a:rPr lang="fr-FR" sz="900" b="1" kern="1200" noProof="0">
                          <a:solidFill>
                            <a:schemeClr val="bg2"/>
                          </a:solidFill>
                          <a:latin typeface="+mn-lt"/>
                          <a:ea typeface="+mn-ea"/>
                          <a:cs typeface="+mn-cs"/>
                        </a:rPr>
                        <a:t> </a:t>
                      </a:r>
                      <a:r>
                        <a:rPr lang="fr-FR" sz="900" b="1" kern="1200" noProof="0" err="1">
                          <a:solidFill>
                            <a:schemeClr val="bg2"/>
                          </a:solidFill>
                          <a:latin typeface="+mn-lt"/>
                          <a:ea typeface="+mn-ea"/>
                          <a:cs typeface="+mn-cs"/>
                        </a:rPr>
                        <a:t>scheme</a:t>
                      </a:r>
                      <a:endParaRPr lang="fr-FR" sz="900" b="1" kern="1200" noProof="0">
                        <a:solidFill>
                          <a:schemeClr val="bg2"/>
                        </a:solidFill>
                        <a:latin typeface="+mn-lt"/>
                        <a:ea typeface="+mn-ea"/>
                        <a:cs typeface="+mn-cs"/>
                      </a:endParaRPr>
                    </a:p>
                  </a:txBody>
                  <a:tcPr marL="88615"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00647">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Background 1</a:t>
                      </a:r>
                    </a:p>
                  </a:txBody>
                  <a:tcPr marL="88615" marR="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err="1">
                          <a:solidFill>
                            <a:schemeClr val="bg2"/>
                          </a:solidFill>
                          <a:latin typeface="+mn-lt"/>
                          <a:cs typeface="Arial" pitchFamily="34" charset="0"/>
                        </a:rPr>
                        <a:t>Text</a:t>
                      </a:r>
                      <a:r>
                        <a:rPr lang="fr-FR" sz="900" b="0" i="0" u="none" noProof="0">
                          <a:solidFill>
                            <a:schemeClr val="bg2"/>
                          </a:solidFill>
                          <a:latin typeface="+mn-lt"/>
                          <a:cs typeface="Arial" pitchFamily="34" charset="0"/>
                        </a:rPr>
                        <a: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Background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err="1">
                          <a:solidFill>
                            <a:schemeClr val="bg2"/>
                          </a:solidFill>
                          <a:latin typeface="+mn-lt"/>
                          <a:cs typeface="Arial" pitchFamily="34" charset="0"/>
                        </a:rPr>
                        <a:t>Text</a:t>
                      </a:r>
                      <a:r>
                        <a:rPr lang="fr-FR" sz="900" b="0" i="0" u="none" noProof="0">
                          <a:solidFill>
                            <a:schemeClr val="bg2"/>
                          </a:solidFill>
                          <a:latin typeface="+mn-lt"/>
                          <a:cs typeface="Arial" pitchFamily="34" charset="0"/>
                        </a:rPr>
                        <a: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3</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4</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5</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6</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563945">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55552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55</a:t>
                      </a:r>
                      <a:br>
                        <a:rPr lang="fr-FR" sz="1000" i="0" u="none" noProof="0">
                          <a:solidFill>
                            <a:srgbClr val="000000"/>
                          </a:solidFill>
                          <a:latin typeface="+mn-lt"/>
                          <a:cs typeface="Arial" pitchFamily="34" charset="0"/>
                        </a:rPr>
                      </a:br>
                      <a:r>
                        <a:rPr lang="fr-FR" sz="1000" i="0" u="none" noProof="0">
                          <a:solidFill>
                            <a:srgbClr val="000000"/>
                          </a:solidFill>
                          <a:latin typeface="+mn-lt"/>
                          <a:cs typeface="Arial" pitchFamily="34" charset="0"/>
                        </a:rPr>
                        <a:t>25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2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4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4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4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4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5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9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8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2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18</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4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3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2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3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5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0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6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fr-FR" noProof="0"/>
              <a:t>How to use the Wavestone </a:t>
            </a:r>
            <a:r>
              <a:rPr lang="fr-FR" noProof="0" err="1"/>
              <a:t>ppt</a:t>
            </a:r>
            <a:r>
              <a:rPr lang="fr-FR" noProof="0"/>
              <a:t> </a:t>
            </a:r>
            <a:r>
              <a:rPr lang="fr-FR" noProof="0" err="1"/>
              <a:t>template</a:t>
            </a:r>
            <a:endParaRPr lang="fr-FR" noProof="0"/>
          </a:p>
        </p:txBody>
      </p:sp>
      <p:grpSp>
        <p:nvGrpSpPr>
          <p:cNvPr id="3" name="Groupe 2"/>
          <p:cNvGrpSpPr/>
          <p:nvPr/>
        </p:nvGrpSpPr>
        <p:grpSpPr>
          <a:xfrm>
            <a:off x="416542" y="730806"/>
            <a:ext cx="5502208" cy="753979"/>
            <a:chOff x="338440" y="866281"/>
            <a:chExt cx="4614560" cy="753979"/>
          </a:xfrm>
        </p:grpSpPr>
        <p:sp>
          <p:nvSpPr>
            <p:cNvPr id="11" name="Rectangle 10"/>
            <p:cNvSpPr/>
            <p:nvPr userDrawn="1"/>
          </p:nvSpPr>
          <p:spPr>
            <a:xfrm>
              <a:off x="338440" y="866281"/>
              <a:ext cx="4614560"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fr-FR" sz="1600" b="1">
                  <a:solidFill>
                    <a:schemeClr val="bg2"/>
                  </a:solidFill>
                </a:rPr>
                <a:t>Raccourci</a:t>
              </a:r>
              <a:r>
                <a:rPr lang="fr-FR" sz="1600" b="1" baseline="0">
                  <a:solidFill>
                    <a:schemeClr val="bg2"/>
                  </a:solidFill>
                </a:rPr>
                <a:t> pour changer de niveau :</a:t>
              </a:r>
              <a:endParaRPr lang="fr-FR" sz="1600" b="1">
                <a:solidFill>
                  <a:schemeClr val="bg2"/>
                </a:solidFill>
              </a:endParaRPr>
            </a:p>
            <a:p>
              <a:pPr algn="r"/>
              <a:r>
                <a:rPr lang="fr-FR" sz="1600" b="0">
                  <a:solidFill>
                    <a:schemeClr val="bg2"/>
                  </a:solidFill>
                </a:rPr>
                <a:t>Shift</a:t>
              </a:r>
              <a:r>
                <a:rPr lang="fr-FR" sz="1600" b="0" baseline="0">
                  <a:solidFill>
                    <a:schemeClr val="bg2"/>
                  </a:solidFill>
                </a:rPr>
                <a:t> + Alt + Flèche droite ou gauche</a:t>
              </a:r>
              <a:endParaRPr lang="fr-FR" sz="1600" b="0">
                <a:solidFill>
                  <a:schemeClr val="bg2"/>
                </a:solidFill>
              </a:endParaRPr>
            </a:p>
          </p:txBody>
        </p:sp>
        <p:pic>
          <p:nvPicPr>
            <p:cNvPr id="12"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142" y="998628"/>
              <a:ext cx="489284" cy="489284"/>
            </a:xfrm>
            <a:prstGeom prst="rect">
              <a:avLst/>
            </a:prstGeom>
          </p:spPr>
        </p:pic>
      </p:grpSp>
    </p:spTree>
    <p:extLst>
      <p:ext uri="{BB962C8B-B14F-4D97-AF65-F5344CB8AC3E}">
        <p14:creationId xmlns:p14="http://schemas.microsoft.com/office/powerpoint/2010/main" val="41703572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1_Guidelin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5354" y="404665"/>
            <a:ext cx="11342769" cy="863748"/>
          </a:xfrm>
        </p:spPr>
        <p:txBody>
          <a:bodyPr lIns="108000" tIns="36000" rIns="108000" bIns="0"/>
          <a:lstStyle>
            <a:lvl1pPr>
              <a:defRPr sz="2200" baseline="0">
                <a:solidFill>
                  <a:schemeClr val="bg2"/>
                </a:solidFill>
              </a:defRPr>
            </a:lvl1pPr>
          </a:lstStyle>
          <a:p>
            <a:r>
              <a:rPr lang="fr-FR" noProof="0" err="1"/>
              <a:t>Color</a:t>
            </a:r>
            <a:r>
              <a:rPr lang="fr-FR" noProof="0"/>
              <a:t> &amp; Font structure</a:t>
            </a:r>
          </a:p>
        </p:txBody>
      </p:sp>
      <p:graphicFrame>
        <p:nvGraphicFramePr>
          <p:cNvPr id="5" name="Table 4"/>
          <p:cNvGraphicFramePr>
            <a:graphicFrameLocks noGrp="1"/>
          </p:cNvGraphicFramePr>
          <p:nvPr>
            <p:extLst>
              <p:ext uri="{D42A27DB-BD31-4B8C-83A1-F6EECF244321}">
                <p14:modId xmlns:p14="http://schemas.microsoft.com/office/powerpoint/2010/main" val="765990144"/>
              </p:ext>
            </p:extLst>
          </p:nvPr>
        </p:nvGraphicFramePr>
        <p:xfrm>
          <a:off x="486065" y="3212976"/>
          <a:ext cx="11561351" cy="359664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2381692">
                  <a:extLst>
                    <a:ext uri="{9D8B030D-6E8A-4147-A177-3AD203B41FA5}">
                      <a16:colId xmlns:a16="http://schemas.microsoft.com/office/drawing/2014/main" val="20006"/>
                    </a:ext>
                  </a:extLst>
                </a:gridCol>
                <a:gridCol w="1937737">
                  <a:extLst>
                    <a:ext uri="{9D8B030D-6E8A-4147-A177-3AD203B41FA5}">
                      <a16:colId xmlns:a16="http://schemas.microsoft.com/office/drawing/2014/main" val="20007"/>
                    </a:ext>
                  </a:extLst>
                </a:gridCol>
              </a:tblGrid>
              <a:tr h="364884">
                <a:tc>
                  <a:txBody>
                    <a:bodyPr/>
                    <a:lstStyle/>
                    <a:p>
                      <a:r>
                        <a:rPr lang="fr-FR" sz="900" b="1"/>
                        <a:t>Niveau</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Police</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Couleur</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Taille</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Effet</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Bullet </a:t>
                      </a:r>
                    </a:p>
                  </a:txBody>
                  <a:tcPr marL="112542" marR="112542">
                    <a:solidFill>
                      <a:schemeClr val="bg1">
                        <a:lumMod val="95000"/>
                      </a:schemeClr>
                    </a:solidFill>
                  </a:tcPr>
                </a:tc>
                <a:tc>
                  <a:txBody>
                    <a:bodyPr/>
                    <a:lstStyle/>
                    <a:p>
                      <a:r>
                        <a:rPr lang="fr-FR" sz="900" b="1" kern="1200">
                          <a:solidFill>
                            <a:schemeClr val="tx1"/>
                          </a:solidFill>
                          <a:latin typeface="+mn-lt"/>
                          <a:ea typeface="+mn-ea"/>
                          <a:cs typeface="+mn-cs"/>
                        </a:rPr>
                        <a:t>Retrait </a:t>
                      </a:r>
                      <a:br>
                        <a:rPr lang="fr-FR" sz="900" b="1" kern="1200">
                          <a:solidFill>
                            <a:schemeClr val="tx1"/>
                          </a:solidFill>
                          <a:latin typeface="+mn-lt"/>
                          <a:ea typeface="+mn-ea"/>
                          <a:cs typeface="+mn-cs"/>
                        </a:rPr>
                      </a:br>
                      <a:r>
                        <a:rPr lang="fr-FR" sz="900" b="1" kern="1200">
                          <a:solidFill>
                            <a:schemeClr val="tx1"/>
                          </a:solidFill>
                          <a:latin typeface="+mn-lt"/>
                          <a:ea typeface="+mn-ea"/>
                          <a:cs typeface="+mn-cs"/>
                        </a:rPr>
                        <a:t>Paragraphe</a:t>
                      </a:r>
                    </a:p>
                  </a:txBody>
                  <a:tcPr marL="112542" marR="112542">
                    <a:solidFill>
                      <a:schemeClr val="bg1">
                        <a:lumMod val="95000"/>
                      </a:schemeClr>
                    </a:solidFill>
                  </a:tcPr>
                </a:tc>
                <a:tc>
                  <a:txBody>
                    <a:bodyPr/>
                    <a:lstStyle/>
                    <a:p>
                      <a:r>
                        <a:rPr lang="fr-FR" sz="900" b="1" kern="1200">
                          <a:solidFill>
                            <a:schemeClr val="tx1"/>
                          </a:solidFill>
                          <a:latin typeface="+mn-lt"/>
                          <a:ea typeface="+mn-ea"/>
                          <a:cs typeface="+mn-cs"/>
                        </a:rPr>
                        <a:t>Espacement </a:t>
                      </a:r>
                    </a:p>
                    <a:p>
                      <a:r>
                        <a:rPr lang="fr-FR" sz="900" b="1" kern="1200">
                          <a:solidFill>
                            <a:schemeClr val="tx1"/>
                          </a:solidFill>
                          <a:latin typeface="+mn-lt"/>
                          <a:ea typeface="+mn-ea"/>
                          <a:cs typeface="+mn-cs"/>
                        </a:rPr>
                        <a:t>Paragraphe</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fr-FR" sz="1000" i="0" kern="1200" cap="all" baseline="0">
                          <a:solidFill>
                            <a:schemeClr val="accent4"/>
                          </a:solidFill>
                          <a:latin typeface="+mj-lt"/>
                          <a:ea typeface="+mn-ea"/>
                          <a:cs typeface="+mn-cs"/>
                        </a:rPr>
                        <a:t>surtitre</a:t>
                      </a:r>
                    </a:p>
                  </a:txBody>
                  <a:tcPr marL="112542" marR="112542" anchor="ctr">
                    <a:solidFill>
                      <a:schemeClr val="bg1"/>
                    </a:solidFill>
                  </a:tcPr>
                </a:tc>
                <a:tc>
                  <a:txBody>
                    <a:bodyPr/>
                    <a:lstStyle/>
                    <a:p>
                      <a:pPr algn="ctr"/>
                      <a:r>
                        <a:rPr lang="fr-FR" sz="1000" i="0" kern="1200" cap="none" baseline="0" err="1">
                          <a:solidFill>
                            <a:schemeClr val="tx1"/>
                          </a:solidFill>
                          <a:latin typeface="+mn-lt"/>
                          <a:ea typeface="+mn-ea"/>
                          <a:cs typeface="+mn-cs"/>
                        </a:rPr>
                        <a:t>Tahoma</a:t>
                      </a:r>
                      <a:r>
                        <a:rPr lang="fr-FR" sz="1000" i="0" kern="1200" cap="none" baseline="0">
                          <a:solidFill>
                            <a:schemeClr val="tx1"/>
                          </a:solidFill>
                          <a:latin typeface="+mn-lt"/>
                          <a:ea typeface="+mn-ea"/>
                          <a:cs typeface="+mn-cs"/>
                        </a:rPr>
                        <a:t> </a:t>
                      </a:r>
                      <a:r>
                        <a:rPr lang="fr-FR" sz="1000" i="0" kern="1200" cap="none" baseline="0" err="1">
                          <a:solidFill>
                            <a:schemeClr val="tx1"/>
                          </a:solidFill>
                          <a:latin typeface="+mn-lt"/>
                          <a:ea typeface="+mn-ea"/>
                          <a:cs typeface="+mn-cs"/>
                        </a:rPr>
                        <a:t>Headings</a:t>
                      </a:r>
                      <a:endParaRPr lang="fr-FR" sz="1000" i="0" kern="1200" cap="none" baseline="0">
                        <a:solidFill>
                          <a:schemeClr val="tx1"/>
                        </a:solidFill>
                        <a:latin typeface="+mn-lt"/>
                        <a:ea typeface="+mn-ea"/>
                        <a:cs typeface="+mn-cs"/>
                      </a:endParaRP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47 / 132 / 129</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0</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ALL CAPS</a:t>
                      </a: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0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Pas d’interligne</a:t>
                      </a:r>
                    </a:p>
                  </a:txBody>
                  <a:tcPr marL="112542" marR="112542" anchor="ctr">
                    <a:solidFill>
                      <a:schemeClr val="bg1"/>
                    </a:solidFill>
                  </a:tcPr>
                </a:tc>
                <a:extLst>
                  <a:ext uri="{0D108BD9-81ED-4DB2-BD59-A6C34878D82A}">
                    <a16:rowId xmlns:a16="http://schemas.microsoft.com/office/drawing/2014/main" val="10001"/>
                  </a:ext>
                </a:extLst>
              </a:tr>
              <a:tr h="192471">
                <a:tc>
                  <a:txBody>
                    <a:bodyPr/>
                    <a:lstStyle/>
                    <a:p>
                      <a:r>
                        <a:rPr lang="fr-FR" sz="2200" kern="1200" baseline="0">
                          <a:solidFill>
                            <a:schemeClr val="bg2"/>
                          </a:solidFill>
                          <a:latin typeface="+mj-lt"/>
                          <a:ea typeface="+mj-ea"/>
                          <a:cs typeface="+mj-cs"/>
                        </a:rPr>
                        <a:t>Titre</a:t>
                      </a:r>
                    </a:p>
                  </a:txBody>
                  <a:tcPr marL="112542" marR="112542" anchor="ctr">
                    <a:solidFill>
                      <a:schemeClr val="bg1"/>
                    </a:solidFill>
                  </a:tcPr>
                </a:tc>
                <a:tc>
                  <a:txBody>
                    <a:bodyPr/>
                    <a:lstStyle/>
                    <a:p>
                      <a:pPr algn="ctr"/>
                      <a:r>
                        <a:rPr lang="fr-FR" sz="1000" i="0" kern="1200" cap="none" baseline="0" err="1">
                          <a:solidFill>
                            <a:schemeClr val="tx1"/>
                          </a:solidFill>
                          <a:latin typeface="+mn-lt"/>
                          <a:ea typeface="+mn-ea"/>
                          <a:cs typeface="+mn-cs"/>
                        </a:rPr>
                        <a:t>Tahoma</a:t>
                      </a:r>
                      <a:r>
                        <a:rPr lang="fr-FR" sz="1000" i="0" kern="1200" cap="none" baseline="0">
                          <a:solidFill>
                            <a:schemeClr val="tx1"/>
                          </a:solidFill>
                          <a:latin typeface="+mn-lt"/>
                          <a:ea typeface="+mn-ea"/>
                          <a:cs typeface="+mn-cs"/>
                        </a:rPr>
                        <a:t> </a:t>
                      </a:r>
                      <a:r>
                        <a:rPr lang="fr-FR" sz="1000" i="0" kern="1200" cap="none" baseline="0" err="1">
                          <a:solidFill>
                            <a:schemeClr val="tx1"/>
                          </a:solidFill>
                          <a:latin typeface="+mn-lt"/>
                          <a:ea typeface="+mn-ea"/>
                          <a:cs typeface="+mn-cs"/>
                        </a:rPr>
                        <a:t>Headings</a:t>
                      </a:r>
                      <a:endParaRPr lang="fr-FR" sz="1000" i="0" kern="1200" cap="none" baseline="0">
                        <a:solidFill>
                          <a:schemeClr val="tx1"/>
                        </a:solidFill>
                        <a:latin typeface="+mn-lt"/>
                        <a:ea typeface="+mn-ea"/>
                        <a:cs typeface="+mn-cs"/>
                      </a:endParaRPr>
                    </a:p>
                    <a:p>
                      <a:pPr algn="ctr"/>
                      <a:endParaRPr lang="fr-FR" sz="1000" i="0" kern="1200" cap="none" baseline="0">
                        <a:solidFill>
                          <a:schemeClr val="tx1"/>
                        </a:solidFill>
                        <a:latin typeface="+mn-lt"/>
                        <a:ea typeface="+mn-ea"/>
                        <a:cs typeface="+mn-cs"/>
                      </a:endParaRP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80 / 48 /120</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8</a:t>
                      </a:r>
                    </a:p>
                  </a:txBody>
                  <a:tcPr marL="112542" marR="112542" anchor="ctr">
                    <a:solidFill>
                      <a:schemeClr val="bg1"/>
                    </a:solidFill>
                  </a:tcPr>
                </a:tc>
                <a:tc>
                  <a:txBody>
                    <a:bodyPr/>
                    <a:lstStyle/>
                    <a:p>
                      <a:pPr algn="ctr"/>
                      <a:r>
                        <a:rPr kumimoji="0" lang="fr-FR" sz="1000" b="0" i="0" u="none" strike="noStrike" kern="1200" cap="none" spc="0" normalizeH="0" baseline="0" noProof="0">
                          <a:ln>
                            <a:noFill/>
                          </a:ln>
                          <a:solidFill>
                            <a:srgbClr val="333333"/>
                          </a:solidFill>
                          <a:effectLst/>
                          <a:uLnTx/>
                          <a:uFillTx/>
                          <a:latin typeface="+mn-lt"/>
                          <a:ea typeface="+mn-ea"/>
                          <a:cs typeface="+mn-cs"/>
                        </a:rPr>
                        <a:t>Normal</a:t>
                      </a:r>
                      <a:endParaRPr lang="fr-FR" sz="1000" i="0" kern="1200" cap="all" baseline="0">
                        <a:solidFill>
                          <a:schemeClr val="tx1"/>
                        </a:solidFill>
                        <a:latin typeface="+mn-lt"/>
                        <a:ea typeface="+mn-ea"/>
                        <a:cs typeface="+mn-cs"/>
                      </a:endParaRP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0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Pas d’interligne</a:t>
                      </a:r>
                    </a:p>
                  </a:txBody>
                  <a:tcPr marL="112542" marR="112542" anchor="ctr">
                    <a:solidFill>
                      <a:schemeClr val="bg1"/>
                    </a:solidFill>
                  </a:tcPr>
                </a:tc>
                <a:extLst>
                  <a:ext uri="{0D108BD9-81ED-4DB2-BD59-A6C34878D82A}">
                    <a16:rowId xmlns:a16="http://schemas.microsoft.com/office/drawing/2014/main" val="10002"/>
                  </a:ext>
                </a:extLst>
              </a:tr>
              <a:tr h="364884">
                <a:tc>
                  <a:txBody>
                    <a:bodyPr/>
                    <a:lstStyle/>
                    <a:p>
                      <a:pPr lvl="0"/>
                      <a:r>
                        <a:rPr lang="fr-FR" sz="1600" i="0" kern="1200" cap="none" baseline="0">
                          <a:solidFill>
                            <a:srgbClr val="503078"/>
                          </a:solidFill>
                          <a:latin typeface="+mn-lt"/>
                          <a:ea typeface="+mn-ea"/>
                          <a:cs typeface="+mn-cs"/>
                        </a:rPr>
                        <a:t>Niveau 1</a:t>
                      </a:r>
                    </a:p>
                  </a:txBody>
                  <a:tcPr marL="112542" marR="112542" anchor="ctr">
                    <a:solidFill>
                      <a:schemeClr val="bg1"/>
                    </a:solidFill>
                  </a:tcPr>
                </a:tc>
                <a:tc>
                  <a:txBody>
                    <a:bodyPr/>
                    <a:lstStyle/>
                    <a:p>
                      <a:pPr algn="ctr"/>
                      <a:r>
                        <a:rPr lang="fr-FR" sz="1000" i="0" kern="1200" cap="none" baseline="0" err="1">
                          <a:solidFill>
                            <a:schemeClr val="tx1"/>
                          </a:solidFill>
                          <a:latin typeface="+mn-lt"/>
                          <a:ea typeface="+mn-ea"/>
                          <a:cs typeface="+mn-cs"/>
                        </a:rPr>
                        <a:t>Tahoma</a:t>
                      </a:r>
                      <a:r>
                        <a:rPr lang="fr-FR" sz="1000" i="0" kern="1200" cap="none" baseline="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80 / 48 /120</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6</a:t>
                      </a:r>
                    </a:p>
                  </a:txBody>
                  <a:tcPr marL="112542" marR="112542" anchor="ctr">
                    <a:solidFill>
                      <a:schemeClr val="bg1"/>
                    </a:solidFill>
                  </a:tcPr>
                </a:tc>
                <a:tc>
                  <a:txBody>
                    <a:bodyPr/>
                    <a:lstStyle/>
                    <a:p>
                      <a:pPr algn="ctr"/>
                      <a:r>
                        <a:rPr kumimoji="0" lang="fr-FR" sz="1000" b="0" i="0" u="none" strike="noStrike" kern="1200" cap="none" spc="0" normalizeH="0" baseline="0" noProof="0">
                          <a:ln>
                            <a:noFill/>
                          </a:ln>
                          <a:solidFill>
                            <a:srgbClr val="333333"/>
                          </a:solidFill>
                          <a:effectLst/>
                          <a:uLnTx/>
                          <a:uFillTx/>
                          <a:latin typeface="+mn-lt"/>
                          <a:ea typeface="+mn-ea"/>
                          <a:cs typeface="+mn-cs"/>
                        </a:rPr>
                        <a:t>Normal</a:t>
                      </a:r>
                      <a:endParaRPr lang="fr-FR" sz="1000" i="0" kern="1200" cap="all" baseline="0">
                        <a:solidFill>
                          <a:schemeClr val="tx1"/>
                        </a:solidFill>
                        <a:latin typeface="+mn-lt"/>
                        <a:ea typeface="+mn-ea"/>
                        <a:cs typeface="+mn-cs"/>
                      </a:endParaRP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0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18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3"/>
                  </a:ext>
                </a:extLst>
              </a:tr>
              <a:tr h="364884">
                <a:tc>
                  <a:txBody>
                    <a:bodyPr/>
                    <a:lstStyle/>
                    <a:p>
                      <a:pPr marL="285750" indent="-285750">
                        <a:buClr>
                          <a:schemeClr val="bg2"/>
                        </a:buClr>
                        <a:buFont typeface="Tempus Sans ITC" panose="04020404030D07020202" pitchFamily="82" charset="0"/>
                        <a:buChar char="/"/>
                      </a:pPr>
                      <a:r>
                        <a:rPr lang="fr-FR" sz="1400" kern="1200">
                          <a:solidFill>
                            <a:schemeClr val="tx1"/>
                          </a:solidFill>
                          <a:latin typeface="+mn-lt"/>
                          <a:ea typeface="+mn-ea"/>
                          <a:cs typeface="+mn-cs"/>
                        </a:rPr>
                        <a:t>Niveau 2</a:t>
                      </a:r>
                    </a:p>
                  </a:txBody>
                  <a:tcPr marL="112542" marR="112542" anchor="ctr">
                    <a:solidFill>
                      <a:schemeClr val="bg1"/>
                    </a:solidFill>
                  </a:tcPr>
                </a:tc>
                <a:tc>
                  <a:txBody>
                    <a:bodyPr/>
                    <a:lstStyle/>
                    <a:p>
                      <a:pPr algn="ctr"/>
                      <a:r>
                        <a:rPr lang="fr-FR" sz="1000" kern="1200" err="1">
                          <a:solidFill>
                            <a:schemeClr val="tx1"/>
                          </a:solidFill>
                          <a:latin typeface="+mn-lt"/>
                          <a:ea typeface="+mn-ea"/>
                          <a:cs typeface="+mn-cs"/>
                        </a:rPr>
                        <a:t>Tahoma</a:t>
                      </a:r>
                      <a:r>
                        <a:rPr lang="fr-FR" sz="1000" kern="120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14</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00" kern="1200" cap="none" baseline="0">
                          <a:solidFill>
                            <a:schemeClr val="tx1"/>
                          </a:solidFill>
                          <a:latin typeface="+mn-lt"/>
                          <a:ea typeface="+mn-ea"/>
                          <a:cs typeface="+mn-cs"/>
                        </a:rPr>
                        <a:t>Font Tempus Sans ITC</a:t>
                      </a:r>
                      <a:br>
                        <a:rPr lang="fr-FR" sz="1000" kern="1200" cap="none" baseline="0">
                          <a:solidFill>
                            <a:schemeClr val="tx1"/>
                          </a:solidFill>
                          <a:latin typeface="+mn-lt"/>
                          <a:ea typeface="+mn-ea"/>
                          <a:cs typeface="+mn-cs"/>
                        </a:rPr>
                      </a:br>
                      <a:r>
                        <a:rPr lang="fr-FR" sz="1000" kern="1200" cap="none" baseline="0">
                          <a:solidFill>
                            <a:schemeClr val="tx1"/>
                          </a:solidFill>
                          <a:latin typeface="+mn-lt"/>
                          <a:ea typeface="+mn-ea"/>
                          <a:cs typeface="+mn-cs"/>
                        </a:rPr>
                        <a:t>code 002F</a:t>
                      </a: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1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14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4"/>
                  </a:ext>
                </a:extLst>
              </a:tr>
              <a:tr h="364884">
                <a:tc>
                  <a:txBody>
                    <a:bodyPr/>
                    <a:lstStyle/>
                    <a:p>
                      <a:r>
                        <a:rPr lang="fr-FR" sz="1400" kern="1200">
                          <a:solidFill>
                            <a:schemeClr val="tx1"/>
                          </a:solidFill>
                          <a:latin typeface="+mn-lt"/>
                          <a:ea typeface="+mn-ea"/>
                          <a:cs typeface="+mn-cs"/>
                        </a:rPr>
                        <a:t>Niveau 3</a:t>
                      </a:r>
                    </a:p>
                  </a:txBody>
                  <a:tcPr marL="112542" marR="112542" anchor="ctr">
                    <a:solidFill>
                      <a:schemeClr val="bg1"/>
                    </a:solidFill>
                  </a:tcPr>
                </a:tc>
                <a:tc>
                  <a:txBody>
                    <a:bodyPr/>
                    <a:lstStyle/>
                    <a:p>
                      <a:pPr algn="ctr"/>
                      <a:r>
                        <a:rPr lang="fr-FR" sz="1000" kern="1200" err="1">
                          <a:solidFill>
                            <a:schemeClr val="tx1"/>
                          </a:solidFill>
                          <a:latin typeface="+mn-lt"/>
                          <a:ea typeface="+mn-ea"/>
                          <a:cs typeface="+mn-cs"/>
                        </a:rPr>
                        <a:t>Tahoma</a:t>
                      </a:r>
                      <a:r>
                        <a:rPr lang="fr-FR" sz="1000" kern="120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14</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Normal</a:t>
                      </a: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1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fr-FR" sz="1200" kern="1200" cap="none" baseline="0">
                          <a:solidFill>
                            <a:schemeClr val="tx1"/>
                          </a:solidFill>
                          <a:latin typeface="+mn-lt"/>
                          <a:ea typeface="+mn-ea"/>
                          <a:cs typeface="+mn-cs"/>
                        </a:rPr>
                        <a:t>Niveau 4</a:t>
                      </a:r>
                    </a:p>
                  </a:txBody>
                  <a:tcPr marL="112542" marR="112542" anchor="ctr">
                    <a:solidFill>
                      <a:schemeClr val="bg1"/>
                    </a:solidFill>
                  </a:tcPr>
                </a:tc>
                <a:tc>
                  <a:txBody>
                    <a:bodyPr/>
                    <a:lstStyle/>
                    <a:p>
                      <a:pPr algn="ctr"/>
                      <a:r>
                        <a:rPr lang="fr-FR" sz="1000" kern="1200" cap="none" baseline="0" err="1">
                          <a:solidFill>
                            <a:schemeClr val="tx1"/>
                          </a:solidFill>
                          <a:latin typeface="+mn-lt"/>
                          <a:ea typeface="+mn-ea"/>
                          <a:cs typeface="+mn-cs"/>
                        </a:rPr>
                        <a:t>Tahoma</a:t>
                      </a:r>
                      <a:r>
                        <a:rPr lang="fr-FR" sz="1000" kern="1200" cap="none" baseline="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cap="none" baseline="0">
                          <a:solidFill>
                            <a:schemeClr val="tx1"/>
                          </a:solidFill>
                          <a:latin typeface="+mn-lt"/>
                          <a:ea typeface="+mn-ea"/>
                          <a:cs typeface="+mn-cs"/>
                        </a:rPr>
                        <a:t>12</a:t>
                      </a:r>
                    </a:p>
                  </a:txBody>
                  <a:tcPr marL="112542" marR="112542" anchor="ctr">
                    <a:solidFill>
                      <a:schemeClr val="bg1"/>
                    </a:solidFill>
                  </a:tcPr>
                </a:tc>
                <a:tc>
                  <a:txBody>
                    <a:bodyPr/>
                    <a:lstStyle/>
                    <a:p>
                      <a:pPr algn="ctr"/>
                      <a:r>
                        <a:rPr lang="fr-FR" sz="1000" kern="1200" cap="none" baseline="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fr-FR" sz="1000" kern="1200" cap="none" baseline="0">
                          <a:solidFill>
                            <a:schemeClr val="tx1"/>
                          </a:solidFill>
                          <a:latin typeface="+mn-lt"/>
                          <a:ea typeface="+mn-ea"/>
                          <a:cs typeface="+mn-cs"/>
                        </a:rPr>
                        <a:t>Font </a:t>
                      </a:r>
                      <a:r>
                        <a:rPr lang="fr-FR" sz="1000" kern="1200" cap="none" baseline="0" err="1">
                          <a:solidFill>
                            <a:schemeClr val="tx1"/>
                          </a:solidFill>
                          <a:latin typeface="+mn-lt"/>
                          <a:ea typeface="+mn-ea"/>
                          <a:cs typeface="+mn-cs"/>
                        </a:rPr>
                        <a:t>Tahoma</a:t>
                      </a:r>
                      <a:r>
                        <a:rPr lang="fr-FR" sz="1000" kern="1200" cap="none" baseline="0">
                          <a:solidFill>
                            <a:schemeClr val="tx1"/>
                          </a:solidFill>
                          <a:latin typeface="+mn-lt"/>
                          <a:ea typeface="+mn-ea"/>
                          <a:cs typeface="+mn-cs"/>
                        </a:rPr>
                        <a:t> </a:t>
                      </a:r>
                      <a:br>
                        <a:rPr lang="fr-FR" sz="1000" kern="1200" cap="none" baseline="0">
                          <a:solidFill>
                            <a:schemeClr val="tx1"/>
                          </a:solidFill>
                          <a:latin typeface="+mn-lt"/>
                          <a:ea typeface="+mn-ea"/>
                          <a:cs typeface="+mn-cs"/>
                        </a:rPr>
                      </a:br>
                      <a:r>
                        <a:rPr lang="fr-FR" sz="1000" kern="1200" cap="none" baseline="0">
                          <a:solidFill>
                            <a:schemeClr val="tx1"/>
                          </a:solidFill>
                          <a:latin typeface="+mn-lt"/>
                          <a:ea typeface="+mn-ea"/>
                          <a:cs typeface="+mn-cs"/>
                        </a:rPr>
                        <a:t>code 203A</a:t>
                      </a: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1,8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fr-FR" sz="1000" kern="1200">
                          <a:solidFill>
                            <a:schemeClr val="tx1"/>
                          </a:solidFill>
                          <a:latin typeface="+mn-lt"/>
                          <a:ea typeface="+mn-ea"/>
                          <a:cs typeface="+mn-cs"/>
                        </a:rPr>
                        <a:t>Niveau 5</a:t>
                      </a:r>
                    </a:p>
                  </a:txBody>
                  <a:tcPr marL="112542" marR="112542" anchor="ctr">
                    <a:solidFill>
                      <a:schemeClr val="bg1"/>
                    </a:solidFill>
                  </a:tcPr>
                </a:tc>
                <a:tc>
                  <a:txBody>
                    <a:bodyPr/>
                    <a:lstStyle/>
                    <a:p>
                      <a:pPr algn="ctr"/>
                      <a:r>
                        <a:rPr lang="fr-FR" sz="1000" kern="1200" err="1">
                          <a:solidFill>
                            <a:schemeClr val="tx1"/>
                          </a:solidFill>
                          <a:latin typeface="+mn-lt"/>
                          <a:ea typeface="+mn-ea"/>
                          <a:cs typeface="+mn-cs"/>
                        </a:rPr>
                        <a:t>Tahoma</a:t>
                      </a:r>
                      <a:r>
                        <a:rPr lang="fr-FR" sz="1000" kern="120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10</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Font </a:t>
                      </a:r>
                      <a:r>
                        <a:rPr lang="fr-FR" sz="1000" kern="1200" err="1">
                          <a:solidFill>
                            <a:schemeClr val="tx1"/>
                          </a:solidFill>
                          <a:latin typeface="+mn-lt"/>
                          <a:ea typeface="+mn-ea"/>
                          <a:cs typeface="+mn-cs"/>
                        </a:rPr>
                        <a:t>Tahoma</a:t>
                      </a:r>
                      <a:br>
                        <a:rPr lang="fr-FR" sz="1000" kern="1200">
                          <a:solidFill>
                            <a:schemeClr val="tx1"/>
                          </a:solidFill>
                          <a:latin typeface="+mn-lt"/>
                          <a:ea typeface="+mn-ea"/>
                          <a:cs typeface="+mn-cs"/>
                        </a:rPr>
                      </a:br>
                      <a:r>
                        <a:rPr lang="fr-FR" sz="1000" kern="1200">
                          <a:solidFill>
                            <a:schemeClr val="tx1"/>
                          </a:solidFill>
                          <a:latin typeface="+mn-lt"/>
                          <a:ea typeface="+mn-ea"/>
                          <a:cs typeface="+mn-cs"/>
                        </a:rPr>
                        <a:t>code 00BB</a:t>
                      </a:r>
                    </a:p>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2,5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fr-FR" sz="1400" b="1" err="1">
                <a:solidFill>
                  <a:schemeClr val="bg2"/>
                </a:solidFill>
              </a:rPr>
              <a:t>Remaining</a:t>
            </a:r>
            <a:r>
              <a:rPr lang="fr-FR" sz="1400" b="1">
                <a:solidFill>
                  <a:schemeClr val="bg2"/>
                </a:solidFill>
              </a:rPr>
              <a:t> bug</a:t>
            </a:r>
            <a:endParaRPr lang="fr-FR" sz="1400">
              <a:solidFill>
                <a:schemeClr val="bg2"/>
              </a:solidFill>
            </a:endParaRPr>
          </a:p>
          <a:p>
            <a:pPr algn="r"/>
            <a:r>
              <a:rPr lang="fr-FR" sz="1400">
                <a:solidFill>
                  <a:schemeClr val="bg2"/>
                </a:solidFill>
              </a:rPr>
              <a:t>La Police</a:t>
            </a:r>
            <a:r>
              <a:rPr lang="fr-FR" sz="1400" baseline="0">
                <a:solidFill>
                  <a:schemeClr val="bg2"/>
                </a:solidFill>
              </a:rPr>
              <a:t> </a:t>
            </a:r>
            <a:r>
              <a:rPr lang="fr-FR" sz="1400" baseline="0" err="1">
                <a:solidFill>
                  <a:schemeClr val="bg2"/>
                </a:solidFill>
              </a:rPr>
              <a:t>Tahoma</a:t>
            </a:r>
            <a:r>
              <a:rPr lang="fr-FR" sz="1400" baseline="0">
                <a:solidFill>
                  <a:schemeClr val="bg2"/>
                </a:solidFill>
              </a:rPr>
              <a:t> italique ne passe pas à l’impression depuis un document </a:t>
            </a:r>
            <a:r>
              <a:rPr lang="fr-FR" sz="1400" baseline="0" err="1">
                <a:solidFill>
                  <a:schemeClr val="bg2"/>
                </a:solidFill>
              </a:rPr>
              <a:t>pdf</a:t>
            </a:r>
            <a:r>
              <a:rPr lang="fr-FR" sz="1400" baseline="0">
                <a:solidFill>
                  <a:schemeClr val="bg2"/>
                </a:solidFill>
              </a:rPr>
              <a:t> généré directement par PPT. </a:t>
            </a:r>
          </a:p>
          <a:p>
            <a:pPr algn="r"/>
            <a:r>
              <a:rPr lang="fr-FR" sz="1400" b="1" baseline="0">
                <a:solidFill>
                  <a:schemeClr val="bg2"/>
                </a:solidFill>
              </a:rPr>
              <a:t>Passer par une imprimante </a:t>
            </a:r>
            <a:r>
              <a:rPr lang="fr-FR" sz="1400" b="1" baseline="0" err="1">
                <a:solidFill>
                  <a:schemeClr val="bg2"/>
                </a:solidFill>
              </a:rPr>
              <a:t>Pdf</a:t>
            </a:r>
            <a:r>
              <a:rPr lang="fr-FR" sz="1400" b="1" baseline="0">
                <a:solidFill>
                  <a:schemeClr val="bg2"/>
                </a:solidFill>
              </a:rPr>
              <a:t> type </a:t>
            </a:r>
            <a:r>
              <a:rPr lang="fr-FR" sz="1400" b="1" baseline="0" err="1">
                <a:solidFill>
                  <a:schemeClr val="bg2"/>
                </a:solidFill>
              </a:rPr>
              <a:t>Pdf</a:t>
            </a:r>
            <a:r>
              <a:rPr lang="fr-FR" sz="1400" b="1" baseline="0">
                <a:solidFill>
                  <a:schemeClr val="bg2"/>
                </a:solidFill>
              </a:rPr>
              <a:t> Creator.</a:t>
            </a:r>
            <a:endParaRPr lang="fr-FR" sz="1400" b="1">
              <a:solidFill>
                <a:schemeClr val="bg2"/>
              </a:solidFill>
            </a:endParaRPr>
          </a:p>
        </p:txBody>
      </p:sp>
      <p:graphicFrame>
        <p:nvGraphicFramePr>
          <p:cNvPr id="7" name="Inhaltsplatzhalter 3"/>
          <p:cNvGraphicFramePr>
            <a:graphicFrameLocks/>
          </p:cNvGraphicFramePr>
          <p:nvPr>
            <p:extLst>
              <p:ext uri="{D42A27DB-BD31-4B8C-83A1-F6EECF244321}">
                <p14:modId xmlns:p14="http://schemas.microsoft.com/office/powerpoint/2010/main" val="2976141139"/>
              </p:ext>
            </p:extLst>
          </p:nvPr>
        </p:nvGraphicFramePr>
        <p:xfrm>
          <a:off x="446856" y="1470716"/>
          <a:ext cx="11360135" cy="1635316"/>
        </p:xfrm>
        <a:graphic>
          <a:graphicData uri="http://schemas.openxmlformats.org/drawingml/2006/table">
            <a:tbl>
              <a:tblPr bandRow="1">
                <a:tableStyleId>{5C22544A-7EE6-4342-B048-85BDC9FD1C3A}</a:tableStyleId>
              </a:tblPr>
              <a:tblGrid>
                <a:gridCol w="1136014">
                  <a:extLst>
                    <a:ext uri="{9D8B030D-6E8A-4147-A177-3AD203B41FA5}">
                      <a16:colId xmlns:a16="http://schemas.microsoft.com/office/drawing/2014/main" val="20000"/>
                    </a:ext>
                  </a:extLst>
                </a:gridCol>
                <a:gridCol w="1136014">
                  <a:extLst>
                    <a:ext uri="{9D8B030D-6E8A-4147-A177-3AD203B41FA5}">
                      <a16:colId xmlns:a16="http://schemas.microsoft.com/office/drawing/2014/main" val="20001"/>
                    </a:ext>
                  </a:extLst>
                </a:gridCol>
                <a:gridCol w="1136014">
                  <a:extLst>
                    <a:ext uri="{9D8B030D-6E8A-4147-A177-3AD203B41FA5}">
                      <a16:colId xmlns:a16="http://schemas.microsoft.com/office/drawing/2014/main" val="20002"/>
                    </a:ext>
                  </a:extLst>
                </a:gridCol>
                <a:gridCol w="1136014">
                  <a:extLst>
                    <a:ext uri="{9D8B030D-6E8A-4147-A177-3AD203B41FA5}">
                      <a16:colId xmlns:a16="http://schemas.microsoft.com/office/drawing/2014/main" val="20003"/>
                    </a:ext>
                  </a:extLst>
                </a:gridCol>
                <a:gridCol w="1136014">
                  <a:extLst>
                    <a:ext uri="{9D8B030D-6E8A-4147-A177-3AD203B41FA5}">
                      <a16:colId xmlns:a16="http://schemas.microsoft.com/office/drawing/2014/main" val="20004"/>
                    </a:ext>
                  </a:extLst>
                </a:gridCol>
                <a:gridCol w="1136014">
                  <a:extLst>
                    <a:ext uri="{9D8B030D-6E8A-4147-A177-3AD203B41FA5}">
                      <a16:colId xmlns:a16="http://schemas.microsoft.com/office/drawing/2014/main" val="20005"/>
                    </a:ext>
                  </a:extLst>
                </a:gridCol>
                <a:gridCol w="1136014">
                  <a:extLst>
                    <a:ext uri="{9D8B030D-6E8A-4147-A177-3AD203B41FA5}">
                      <a16:colId xmlns:a16="http://schemas.microsoft.com/office/drawing/2014/main" val="20006"/>
                    </a:ext>
                  </a:extLst>
                </a:gridCol>
                <a:gridCol w="1136014">
                  <a:extLst>
                    <a:ext uri="{9D8B030D-6E8A-4147-A177-3AD203B41FA5}">
                      <a16:colId xmlns:a16="http://schemas.microsoft.com/office/drawing/2014/main" val="20007"/>
                    </a:ext>
                  </a:extLst>
                </a:gridCol>
                <a:gridCol w="1136014">
                  <a:extLst>
                    <a:ext uri="{9D8B030D-6E8A-4147-A177-3AD203B41FA5}">
                      <a16:colId xmlns:a16="http://schemas.microsoft.com/office/drawing/2014/main" val="20008"/>
                    </a:ext>
                  </a:extLst>
                </a:gridCol>
                <a:gridCol w="1136014">
                  <a:extLst>
                    <a:ext uri="{9D8B030D-6E8A-4147-A177-3AD203B41FA5}">
                      <a16:colId xmlns:a16="http://schemas.microsoft.com/office/drawing/2014/main" val="20009"/>
                    </a:ext>
                  </a:extLst>
                </a:gridCol>
              </a:tblGrid>
              <a:tr h="30668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fr-FR" sz="900" b="1" kern="1200" noProof="0" err="1">
                          <a:solidFill>
                            <a:schemeClr val="bg2"/>
                          </a:solidFill>
                          <a:latin typeface="+mn-lt"/>
                          <a:ea typeface="+mn-ea"/>
                          <a:cs typeface="+mn-cs"/>
                        </a:rPr>
                        <a:t>Color</a:t>
                      </a:r>
                      <a:r>
                        <a:rPr lang="fr-FR" sz="900" b="1" kern="1200" noProof="0">
                          <a:solidFill>
                            <a:schemeClr val="bg2"/>
                          </a:solidFill>
                          <a:latin typeface="+mn-lt"/>
                          <a:ea typeface="+mn-ea"/>
                          <a:cs typeface="+mn-cs"/>
                        </a:rPr>
                        <a:t> </a:t>
                      </a:r>
                      <a:r>
                        <a:rPr lang="fr-FR" sz="900" b="1" kern="1200" noProof="0" err="1">
                          <a:solidFill>
                            <a:schemeClr val="bg2"/>
                          </a:solidFill>
                          <a:latin typeface="+mn-lt"/>
                          <a:ea typeface="+mn-ea"/>
                          <a:cs typeface="+mn-cs"/>
                        </a:rPr>
                        <a:t>scheme</a:t>
                      </a:r>
                      <a:endParaRPr lang="fr-FR" sz="900" b="1" kern="1200" noProof="0">
                        <a:solidFill>
                          <a:schemeClr val="bg2"/>
                        </a:solidFill>
                        <a:latin typeface="+mn-lt"/>
                        <a:ea typeface="+mn-ea"/>
                        <a:cs typeface="+mn-cs"/>
                      </a:endParaRPr>
                    </a:p>
                  </a:txBody>
                  <a:tcPr marL="88615"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00647">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Background 1</a:t>
                      </a:r>
                    </a:p>
                  </a:txBody>
                  <a:tcPr marL="88615" marR="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err="1">
                          <a:solidFill>
                            <a:schemeClr val="bg2"/>
                          </a:solidFill>
                          <a:latin typeface="+mn-lt"/>
                          <a:cs typeface="Arial" pitchFamily="34" charset="0"/>
                        </a:rPr>
                        <a:t>Text</a:t>
                      </a:r>
                      <a:r>
                        <a:rPr lang="fr-FR" sz="900" b="0" i="0" u="none" noProof="0">
                          <a:solidFill>
                            <a:schemeClr val="bg2"/>
                          </a:solidFill>
                          <a:latin typeface="+mn-lt"/>
                          <a:cs typeface="Arial" pitchFamily="34" charset="0"/>
                        </a:rPr>
                        <a: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Background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err="1">
                          <a:solidFill>
                            <a:schemeClr val="bg2"/>
                          </a:solidFill>
                          <a:latin typeface="+mn-lt"/>
                          <a:cs typeface="Arial" pitchFamily="34" charset="0"/>
                        </a:rPr>
                        <a:t>Text</a:t>
                      </a:r>
                      <a:r>
                        <a:rPr lang="fr-FR" sz="900" b="0" i="0" u="none" noProof="0">
                          <a:solidFill>
                            <a:schemeClr val="bg2"/>
                          </a:solidFill>
                          <a:latin typeface="+mn-lt"/>
                          <a:cs typeface="Arial" pitchFamily="34" charset="0"/>
                        </a:rPr>
                        <a: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3</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4</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5</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6</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563945">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55552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55</a:t>
                      </a:r>
                      <a:br>
                        <a:rPr lang="fr-FR" sz="1000" i="0" u="none" noProof="0">
                          <a:solidFill>
                            <a:srgbClr val="000000"/>
                          </a:solidFill>
                          <a:latin typeface="+mn-lt"/>
                          <a:cs typeface="Arial" pitchFamily="34" charset="0"/>
                        </a:rPr>
                      </a:br>
                      <a:r>
                        <a:rPr lang="fr-FR" sz="1000" i="0" u="none" noProof="0">
                          <a:solidFill>
                            <a:srgbClr val="000000"/>
                          </a:solidFill>
                          <a:latin typeface="+mn-lt"/>
                          <a:cs typeface="Arial" pitchFamily="34" charset="0"/>
                        </a:rPr>
                        <a:t>25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2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4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4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4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4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5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9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8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2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18</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4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3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2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3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5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0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6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fr-FR" noProof="0"/>
              <a:t>How to use the Wavestone </a:t>
            </a:r>
            <a:r>
              <a:rPr lang="fr-FR" noProof="0" err="1"/>
              <a:t>ppt</a:t>
            </a:r>
            <a:r>
              <a:rPr lang="fr-FR" noProof="0"/>
              <a:t> </a:t>
            </a:r>
            <a:r>
              <a:rPr lang="fr-FR" noProof="0" err="1"/>
              <a:t>template</a:t>
            </a:r>
            <a:endParaRPr lang="fr-FR" noProof="0"/>
          </a:p>
        </p:txBody>
      </p:sp>
      <p:grpSp>
        <p:nvGrpSpPr>
          <p:cNvPr id="3" name="Groupe 2"/>
          <p:cNvGrpSpPr/>
          <p:nvPr/>
        </p:nvGrpSpPr>
        <p:grpSpPr>
          <a:xfrm>
            <a:off x="416542" y="730806"/>
            <a:ext cx="5502208" cy="753979"/>
            <a:chOff x="338440" y="866281"/>
            <a:chExt cx="4614560" cy="753979"/>
          </a:xfrm>
        </p:grpSpPr>
        <p:sp>
          <p:nvSpPr>
            <p:cNvPr id="11" name="Rectangle 10"/>
            <p:cNvSpPr/>
            <p:nvPr userDrawn="1"/>
          </p:nvSpPr>
          <p:spPr>
            <a:xfrm>
              <a:off x="338440" y="866281"/>
              <a:ext cx="4614560"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fr-FR" sz="1600" b="1">
                  <a:solidFill>
                    <a:schemeClr val="bg2"/>
                  </a:solidFill>
                </a:rPr>
                <a:t>Raccourci</a:t>
              </a:r>
              <a:r>
                <a:rPr lang="fr-FR" sz="1600" b="1" baseline="0">
                  <a:solidFill>
                    <a:schemeClr val="bg2"/>
                  </a:solidFill>
                </a:rPr>
                <a:t> pour changer de niveau :</a:t>
              </a:r>
              <a:endParaRPr lang="fr-FR" sz="1600" b="1">
                <a:solidFill>
                  <a:schemeClr val="bg2"/>
                </a:solidFill>
              </a:endParaRPr>
            </a:p>
            <a:p>
              <a:pPr algn="r"/>
              <a:r>
                <a:rPr lang="fr-FR" sz="1600" b="0">
                  <a:solidFill>
                    <a:schemeClr val="bg2"/>
                  </a:solidFill>
                </a:rPr>
                <a:t>Shift</a:t>
              </a:r>
              <a:r>
                <a:rPr lang="fr-FR" sz="1600" b="0" baseline="0">
                  <a:solidFill>
                    <a:schemeClr val="bg2"/>
                  </a:solidFill>
                </a:rPr>
                <a:t> + Alt + Flèche droite ou gauche</a:t>
              </a:r>
              <a:endParaRPr lang="fr-FR" sz="1600" b="0">
                <a:solidFill>
                  <a:schemeClr val="bg2"/>
                </a:solidFill>
              </a:endParaRPr>
            </a:p>
          </p:txBody>
        </p:sp>
        <p:pic>
          <p:nvPicPr>
            <p:cNvPr id="12"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142" y="998628"/>
              <a:ext cx="489284" cy="489284"/>
            </a:xfrm>
            <a:prstGeom prst="rect">
              <a:avLst/>
            </a:prstGeom>
          </p:spPr>
        </p:pic>
      </p:grpSp>
    </p:spTree>
    <p:extLst>
      <p:ext uri="{BB962C8B-B14F-4D97-AF65-F5344CB8AC3E}">
        <p14:creationId xmlns:p14="http://schemas.microsoft.com/office/powerpoint/2010/main" val="3654055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2_Guidelin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5354" y="404665"/>
            <a:ext cx="11342769" cy="863748"/>
          </a:xfrm>
        </p:spPr>
        <p:txBody>
          <a:bodyPr lIns="108000" tIns="36000" rIns="108000" bIns="0"/>
          <a:lstStyle>
            <a:lvl1pPr>
              <a:defRPr sz="2200" baseline="0">
                <a:solidFill>
                  <a:schemeClr val="bg2"/>
                </a:solidFill>
              </a:defRPr>
            </a:lvl1pPr>
          </a:lstStyle>
          <a:p>
            <a:r>
              <a:rPr lang="fr-FR" noProof="0" err="1"/>
              <a:t>Color</a:t>
            </a:r>
            <a:r>
              <a:rPr lang="fr-FR" noProof="0"/>
              <a:t> &amp; Font structure</a:t>
            </a:r>
          </a:p>
        </p:txBody>
      </p:sp>
      <p:graphicFrame>
        <p:nvGraphicFramePr>
          <p:cNvPr id="5" name="Table 4"/>
          <p:cNvGraphicFramePr>
            <a:graphicFrameLocks noGrp="1"/>
          </p:cNvGraphicFramePr>
          <p:nvPr>
            <p:extLst>
              <p:ext uri="{D42A27DB-BD31-4B8C-83A1-F6EECF244321}">
                <p14:modId xmlns:p14="http://schemas.microsoft.com/office/powerpoint/2010/main" val="765990144"/>
              </p:ext>
            </p:extLst>
          </p:nvPr>
        </p:nvGraphicFramePr>
        <p:xfrm>
          <a:off x="486065" y="3212976"/>
          <a:ext cx="11561351" cy="359664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2381692">
                  <a:extLst>
                    <a:ext uri="{9D8B030D-6E8A-4147-A177-3AD203B41FA5}">
                      <a16:colId xmlns:a16="http://schemas.microsoft.com/office/drawing/2014/main" val="20006"/>
                    </a:ext>
                  </a:extLst>
                </a:gridCol>
                <a:gridCol w="1937737">
                  <a:extLst>
                    <a:ext uri="{9D8B030D-6E8A-4147-A177-3AD203B41FA5}">
                      <a16:colId xmlns:a16="http://schemas.microsoft.com/office/drawing/2014/main" val="20007"/>
                    </a:ext>
                  </a:extLst>
                </a:gridCol>
              </a:tblGrid>
              <a:tr h="364884">
                <a:tc>
                  <a:txBody>
                    <a:bodyPr/>
                    <a:lstStyle/>
                    <a:p>
                      <a:r>
                        <a:rPr lang="fr-FR" sz="900" b="1"/>
                        <a:t>Niveau</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Police</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Couleur</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Taille</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Effet</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Bullet </a:t>
                      </a:r>
                    </a:p>
                  </a:txBody>
                  <a:tcPr marL="112542" marR="112542">
                    <a:solidFill>
                      <a:schemeClr val="bg1">
                        <a:lumMod val="95000"/>
                      </a:schemeClr>
                    </a:solidFill>
                  </a:tcPr>
                </a:tc>
                <a:tc>
                  <a:txBody>
                    <a:bodyPr/>
                    <a:lstStyle/>
                    <a:p>
                      <a:r>
                        <a:rPr lang="fr-FR" sz="900" b="1" kern="1200">
                          <a:solidFill>
                            <a:schemeClr val="tx1"/>
                          </a:solidFill>
                          <a:latin typeface="+mn-lt"/>
                          <a:ea typeface="+mn-ea"/>
                          <a:cs typeface="+mn-cs"/>
                        </a:rPr>
                        <a:t>Retrait </a:t>
                      </a:r>
                      <a:br>
                        <a:rPr lang="fr-FR" sz="900" b="1" kern="1200">
                          <a:solidFill>
                            <a:schemeClr val="tx1"/>
                          </a:solidFill>
                          <a:latin typeface="+mn-lt"/>
                          <a:ea typeface="+mn-ea"/>
                          <a:cs typeface="+mn-cs"/>
                        </a:rPr>
                      </a:br>
                      <a:r>
                        <a:rPr lang="fr-FR" sz="900" b="1" kern="1200">
                          <a:solidFill>
                            <a:schemeClr val="tx1"/>
                          </a:solidFill>
                          <a:latin typeface="+mn-lt"/>
                          <a:ea typeface="+mn-ea"/>
                          <a:cs typeface="+mn-cs"/>
                        </a:rPr>
                        <a:t>Paragraphe</a:t>
                      </a:r>
                    </a:p>
                  </a:txBody>
                  <a:tcPr marL="112542" marR="112542">
                    <a:solidFill>
                      <a:schemeClr val="bg1">
                        <a:lumMod val="95000"/>
                      </a:schemeClr>
                    </a:solidFill>
                  </a:tcPr>
                </a:tc>
                <a:tc>
                  <a:txBody>
                    <a:bodyPr/>
                    <a:lstStyle/>
                    <a:p>
                      <a:r>
                        <a:rPr lang="fr-FR" sz="900" b="1" kern="1200">
                          <a:solidFill>
                            <a:schemeClr val="tx1"/>
                          </a:solidFill>
                          <a:latin typeface="+mn-lt"/>
                          <a:ea typeface="+mn-ea"/>
                          <a:cs typeface="+mn-cs"/>
                        </a:rPr>
                        <a:t>Espacement </a:t>
                      </a:r>
                    </a:p>
                    <a:p>
                      <a:r>
                        <a:rPr lang="fr-FR" sz="900" b="1" kern="1200">
                          <a:solidFill>
                            <a:schemeClr val="tx1"/>
                          </a:solidFill>
                          <a:latin typeface="+mn-lt"/>
                          <a:ea typeface="+mn-ea"/>
                          <a:cs typeface="+mn-cs"/>
                        </a:rPr>
                        <a:t>Paragraphe</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fr-FR" sz="1000" i="0" kern="1200" cap="all" baseline="0">
                          <a:solidFill>
                            <a:schemeClr val="accent4"/>
                          </a:solidFill>
                          <a:latin typeface="+mj-lt"/>
                          <a:ea typeface="+mn-ea"/>
                          <a:cs typeface="+mn-cs"/>
                        </a:rPr>
                        <a:t>surtitre</a:t>
                      </a:r>
                    </a:p>
                  </a:txBody>
                  <a:tcPr marL="112542" marR="112542" anchor="ctr">
                    <a:solidFill>
                      <a:schemeClr val="bg1"/>
                    </a:solidFill>
                  </a:tcPr>
                </a:tc>
                <a:tc>
                  <a:txBody>
                    <a:bodyPr/>
                    <a:lstStyle/>
                    <a:p>
                      <a:pPr algn="ctr"/>
                      <a:r>
                        <a:rPr lang="fr-FR" sz="1000" i="0" kern="1200" cap="none" baseline="0" err="1">
                          <a:solidFill>
                            <a:schemeClr val="tx1"/>
                          </a:solidFill>
                          <a:latin typeface="+mn-lt"/>
                          <a:ea typeface="+mn-ea"/>
                          <a:cs typeface="+mn-cs"/>
                        </a:rPr>
                        <a:t>Tahoma</a:t>
                      </a:r>
                      <a:r>
                        <a:rPr lang="fr-FR" sz="1000" i="0" kern="1200" cap="none" baseline="0">
                          <a:solidFill>
                            <a:schemeClr val="tx1"/>
                          </a:solidFill>
                          <a:latin typeface="+mn-lt"/>
                          <a:ea typeface="+mn-ea"/>
                          <a:cs typeface="+mn-cs"/>
                        </a:rPr>
                        <a:t> </a:t>
                      </a:r>
                      <a:r>
                        <a:rPr lang="fr-FR" sz="1000" i="0" kern="1200" cap="none" baseline="0" err="1">
                          <a:solidFill>
                            <a:schemeClr val="tx1"/>
                          </a:solidFill>
                          <a:latin typeface="+mn-lt"/>
                          <a:ea typeface="+mn-ea"/>
                          <a:cs typeface="+mn-cs"/>
                        </a:rPr>
                        <a:t>Headings</a:t>
                      </a:r>
                      <a:endParaRPr lang="fr-FR" sz="1000" i="0" kern="1200" cap="none" baseline="0">
                        <a:solidFill>
                          <a:schemeClr val="tx1"/>
                        </a:solidFill>
                        <a:latin typeface="+mn-lt"/>
                        <a:ea typeface="+mn-ea"/>
                        <a:cs typeface="+mn-cs"/>
                      </a:endParaRP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47 / 132 / 129</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0</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ALL CAPS</a:t>
                      </a: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0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Pas d’interligne</a:t>
                      </a:r>
                    </a:p>
                  </a:txBody>
                  <a:tcPr marL="112542" marR="112542" anchor="ctr">
                    <a:solidFill>
                      <a:schemeClr val="bg1"/>
                    </a:solidFill>
                  </a:tcPr>
                </a:tc>
                <a:extLst>
                  <a:ext uri="{0D108BD9-81ED-4DB2-BD59-A6C34878D82A}">
                    <a16:rowId xmlns:a16="http://schemas.microsoft.com/office/drawing/2014/main" val="10001"/>
                  </a:ext>
                </a:extLst>
              </a:tr>
              <a:tr h="192471">
                <a:tc>
                  <a:txBody>
                    <a:bodyPr/>
                    <a:lstStyle/>
                    <a:p>
                      <a:r>
                        <a:rPr lang="fr-FR" sz="2200" kern="1200" baseline="0">
                          <a:solidFill>
                            <a:schemeClr val="bg2"/>
                          </a:solidFill>
                          <a:latin typeface="+mj-lt"/>
                          <a:ea typeface="+mj-ea"/>
                          <a:cs typeface="+mj-cs"/>
                        </a:rPr>
                        <a:t>Titre</a:t>
                      </a:r>
                    </a:p>
                  </a:txBody>
                  <a:tcPr marL="112542" marR="112542" anchor="ctr">
                    <a:solidFill>
                      <a:schemeClr val="bg1"/>
                    </a:solidFill>
                  </a:tcPr>
                </a:tc>
                <a:tc>
                  <a:txBody>
                    <a:bodyPr/>
                    <a:lstStyle/>
                    <a:p>
                      <a:pPr algn="ctr"/>
                      <a:r>
                        <a:rPr lang="fr-FR" sz="1000" i="0" kern="1200" cap="none" baseline="0" err="1">
                          <a:solidFill>
                            <a:schemeClr val="tx1"/>
                          </a:solidFill>
                          <a:latin typeface="+mn-lt"/>
                          <a:ea typeface="+mn-ea"/>
                          <a:cs typeface="+mn-cs"/>
                        </a:rPr>
                        <a:t>Tahoma</a:t>
                      </a:r>
                      <a:r>
                        <a:rPr lang="fr-FR" sz="1000" i="0" kern="1200" cap="none" baseline="0">
                          <a:solidFill>
                            <a:schemeClr val="tx1"/>
                          </a:solidFill>
                          <a:latin typeface="+mn-lt"/>
                          <a:ea typeface="+mn-ea"/>
                          <a:cs typeface="+mn-cs"/>
                        </a:rPr>
                        <a:t> </a:t>
                      </a:r>
                      <a:r>
                        <a:rPr lang="fr-FR" sz="1000" i="0" kern="1200" cap="none" baseline="0" err="1">
                          <a:solidFill>
                            <a:schemeClr val="tx1"/>
                          </a:solidFill>
                          <a:latin typeface="+mn-lt"/>
                          <a:ea typeface="+mn-ea"/>
                          <a:cs typeface="+mn-cs"/>
                        </a:rPr>
                        <a:t>Headings</a:t>
                      </a:r>
                      <a:endParaRPr lang="fr-FR" sz="1000" i="0" kern="1200" cap="none" baseline="0">
                        <a:solidFill>
                          <a:schemeClr val="tx1"/>
                        </a:solidFill>
                        <a:latin typeface="+mn-lt"/>
                        <a:ea typeface="+mn-ea"/>
                        <a:cs typeface="+mn-cs"/>
                      </a:endParaRPr>
                    </a:p>
                    <a:p>
                      <a:pPr algn="ctr"/>
                      <a:endParaRPr lang="fr-FR" sz="1000" i="0" kern="1200" cap="none" baseline="0">
                        <a:solidFill>
                          <a:schemeClr val="tx1"/>
                        </a:solidFill>
                        <a:latin typeface="+mn-lt"/>
                        <a:ea typeface="+mn-ea"/>
                        <a:cs typeface="+mn-cs"/>
                      </a:endParaRP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80 / 48 /120</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8</a:t>
                      </a:r>
                    </a:p>
                  </a:txBody>
                  <a:tcPr marL="112542" marR="112542" anchor="ctr">
                    <a:solidFill>
                      <a:schemeClr val="bg1"/>
                    </a:solidFill>
                  </a:tcPr>
                </a:tc>
                <a:tc>
                  <a:txBody>
                    <a:bodyPr/>
                    <a:lstStyle/>
                    <a:p>
                      <a:pPr algn="ctr"/>
                      <a:r>
                        <a:rPr kumimoji="0" lang="fr-FR" sz="1000" b="0" i="0" u="none" strike="noStrike" kern="1200" cap="none" spc="0" normalizeH="0" baseline="0" noProof="0">
                          <a:ln>
                            <a:noFill/>
                          </a:ln>
                          <a:solidFill>
                            <a:srgbClr val="333333"/>
                          </a:solidFill>
                          <a:effectLst/>
                          <a:uLnTx/>
                          <a:uFillTx/>
                          <a:latin typeface="+mn-lt"/>
                          <a:ea typeface="+mn-ea"/>
                          <a:cs typeface="+mn-cs"/>
                        </a:rPr>
                        <a:t>Normal</a:t>
                      </a:r>
                      <a:endParaRPr lang="fr-FR" sz="1000" i="0" kern="1200" cap="all" baseline="0">
                        <a:solidFill>
                          <a:schemeClr val="tx1"/>
                        </a:solidFill>
                        <a:latin typeface="+mn-lt"/>
                        <a:ea typeface="+mn-ea"/>
                        <a:cs typeface="+mn-cs"/>
                      </a:endParaRP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0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Pas d’interligne</a:t>
                      </a:r>
                    </a:p>
                  </a:txBody>
                  <a:tcPr marL="112542" marR="112542" anchor="ctr">
                    <a:solidFill>
                      <a:schemeClr val="bg1"/>
                    </a:solidFill>
                  </a:tcPr>
                </a:tc>
                <a:extLst>
                  <a:ext uri="{0D108BD9-81ED-4DB2-BD59-A6C34878D82A}">
                    <a16:rowId xmlns:a16="http://schemas.microsoft.com/office/drawing/2014/main" val="10002"/>
                  </a:ext>
                </a:extLst>
              </a:tr>
              <a:tr h="364884">
                <a:tc>
                  <a:txBody>
                    <a:bodyPr/>
                    <a:lstStyle/>
                    <a:p>
                      <a:pPr lvl="0"/>
                      <a:r>
                        <a:rPr lang="fr-FR" sz="1600" i="0" kern="1200" cap="none" baseline="0">
                          <a:solidFill>
                            <a:srgbClr val="503078"/>
                          </a:solidFill>
                          <a:latin typeface="+mn-lt"/>
                          <a:ea typeface="+mn-ea"/>
                          <a:cs typeface="+mn-cs"/>
                        </a:rPr>
                        <a:t>Niveau 1</a:t>
                      </a:r>
                    </a:p>
                  </a:txBody>
                  <a:tcPr marL="112542" marR="112542" anchor="ctr">
                    <a:solidFill>
                      <a:schemeClr val="bg1"/>
                    </a:solidFill>
                  </a:tcPr>
                </a:tc>
                <a:tc>
                  <a:txBody>
                    <a:bodyPr/>
                    <a:lstStyle/>
                    <a:p>
                      <a:pPr algn="ctr"/>
                      <a:r>
                        <a:rPr lang="fr-FR" sz="1000" i="0" kern="1200" cap="none" baseline="0" err="1">
                          <a:solidFill>
                            <a:schemeClr val="tx1"/>
                          </a:solidFill>
                          <a:latin typeface="+mn-lt"/>
                          <a:ea typeface="+mn-ea"/>
                          <a:cs typeface="+mn-cs"/>
                        </a:rPr>
                        <a:t>Tahoma</a:t>
                      </a:r>
                      <a:r>
                        <a:rPr lang="fr-FR" sz="1000" i="0" kern="1200" cap="none" baseline="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80 / 48 /120</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6</a:t>
                      </a:r>
                    </a:p>
                  </a:txBody>
                  <a:tcPr marL="112542" marR="112542" anchor="ctr">
                    <a:solidFill>
                      <a:schemeClr val="bg1"/>
                    </a:solidFill>
                  </a:tcPr>
                </a:tc>
                <a:tc>
                  <a:txBody>
                    <a:bodyPr/>
                    <a:lstStyle/>
                    <a:p>
                      <a:pPr algn="ctr"/>
                      <a:r>
                        <a:rPr kumimoji="0" lang="fr-FR" sz="1000" b="0" i="0" u="none" strike="noStrike" kern="1200" cap="none" spc="0" normalizeH="0" baseline="0" noProof="0">
                          <a:ln>
                            <a:noFill/>
                          </a:ln>
                          <a:solidFill>
                            <a:srgbClr val="333333"/>
                          </a:solidFill>
                          <a:effectLst/>
                          <a:uLnTx/>
                          <a:uFillTx/>
                          <a:latin typeface="+mn-lt"/>
                          <a:ea typeface="+mn-ea"/>
                          <a:cs typeface="+mn-cs"/>
                        </a:rPr>
                        <a:t>Normal</a:t>
                      </a:r>
                      <a:endParaRPr lang="fr-FR" sz="1000" i="0" kern="1200" cap="all" baseline="0">
                        <a:solidFill>
                          <a:schemeClr val="tx1"/>
                        </a:solidFill>
                        <a:latin typeface="+mn-lt"/>
                        <a:ea typeface="+mn-ea"/>
                        <a:cs typeface="+mn-cs"/>
                      </a:endParaRP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0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18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3"/>
                  </a:ext>
                </a:extLst>
              </a:tr>
              <a:tr h="364884">
                <a:tc>
                  <a:txBody>
                    <a:bodyPr/>
                    <a:lstStyle/>
                    <a:p>
                      <a:pPr marL="285750" indent="-285750">
                        <a:buClr>
                          <a:schemeClr val="bg2"/>
                        </a:buClr>
                        <a:buFont typeface="Tempus Sans ITC" panose="04020404030D07020202" pitchFamily="82" charset="0"/>
                        <a:buChar char="/"/>
                      </a:pPr>
                      <a:r>
                        <a:rPr lang="fr-FR" sz="1400" kern="1200">
                          <a:solidFill>
                            <a:schemeClr val="tx1"/>
                          </a:solidFill>
                          <a:latin typeface="+mn-lt"/>
                          <a:ea typeface="+mn-ea"/>
                          <a:cs typeface="+mn-cs"/>
                        </a:rPr>
                        <a:t>Niveau 2</a:t>
                      </a:r>
                    </a:p>
                  </a:txBody>
                  <a:tcPr marL="112542" marR="112542" anchor="ctr">
                    <a:solidFill>
                      <a:schemeClr val="bg1"/>
                    </a:solidFill>
                  </a:tcPr>
                </a:tc>
                <a:tc>
                  <a:txBody>
                    <a:bodyPr/>
                    <a:lstStyle/>
                    <a:p>
                      <a:pPr algn="ctr"/>
                      <a:r>
                        <a:rPr lang="fr-FR" sz="1000" kern="1200" err="1">
                          <a:solidFill>
                            <a:schemeClr val="tx1"/>
                          </a:solidFill>
                          <a:latin typeface="+mn-lt"/>
                          <a:ea typeface="+mn-ea"/>
                          <a:cs typeface="+mn-cs"/>
                        </a:rPr>
                        <a:t>Tahoma</a:t>
                      </a:r>
                      <a:r>
                        <a:rPr lang="fr-FR" sz="1000" kern="120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14</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00" kern="1200" cap="none" baseline="0">
                          <a:solidFill>
                            <a:schemeClr val="tx1"/>
                          </a:solidFill>
                          <a:latin typeface="+mn-lt"/>
                          <a:ea typeface="+mn-ea"/>
                          <a:cs typeface="+mn-cs"/>
                        </a:rPr>
                        <a:t>Font Tempus Sans ITC</a:t>
                      </a:r>
                      <a:br>
                        <a:rPr lang="fr-FR" sz="1000" kern="1200" cap="none" baseline="0">
                          <a:solidFill>
                            <a:schemeClr val="tx1"/>
                          </a:solidFill>
                          <a:latin typeface="+mn-lt"/>
                          <a:ea typeface="+mn-ea"/>
                          <a:cs typeface="+mn-cs"/>
                        </a:rPr>
                      </a:br>
                      <a:r>
                        <a:rPr lang="fr-FR" sz="1000" kern="1200" cap="none" baseline="0">
                          <a:solidFill>
                            <a:schemeClr val="tx1"/>
                          </a:solidFill>
                          <a:latin typeface="+mn-lt"/>
                          <a:ea typeface="+mn-ea"/>
                          <a:cs typeface="+mn-cs"/>
                        </a:rPr>
                        <a:t>code 002F</a:t>
                      </a: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1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14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4"/>
                  </a:ext>
                </a:extLst>
              </a:tr>
              <a:tr h="364884">
                <a:tc>
                  <a:txBody>
                    <a:bodyPr/>
                    <a:lstStyle/>
                    <a:p>
                      <a:r>
                        <a:rPr lang="fr-FR" sz="1400" kern="1200">
                          <a:solidFill>
                            <a:schemeClr val="tx1"/>
                          </a:solidFill>
                          <a:latin typeface="+mn-lt"/>
                          <a:ea typeface="+mn-ea"/>
                          <a:cs typeface="+mn-cs"/>
                        </a:rPr>
                        <a:t>Niveau 3</a:t>
                      </a:r>
                    </a:p>
                  </a:txBody>
                  <a:tcPr marL="112542" marR="112542" anchor="ctr">
                    <a:solidFill>
                      <a:schemeClr val="bg1"/>
                    </a:solidFill>
                  </a:tcPr>
                </a:tc>
                <a:tc>
                  <a:txBody>
                    <a:bodyPr/>
                    <a:lstStyle/>
                    <a:p>
                      <a:pPr algn="ctr"/>
                      <a:r>
                        <a:rPr lang="fr-FR" sz="1000" kern="1200" err="1">
                          <a:solidFill>
                            <a:schemeClr val="tx1"/>
                          </a:solidFill>
                          <a:latin typeface="+mn-lt"/>
                          <a:ea typeface="+mn-ea"/>
                          <a:cs typeface="+mn-cs"/>
                        </a:rPr>
                        <a:t>Tahoma</a:t>
                      </a:r>
                      <a:r>
                        <a:rPr lang="fr-FR" sz="1000" kern="120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14</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Normal</a:t>
                      </a: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1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fr-FR" sz="1200" kern="1200" cap="none" baseline="0">
                          <a:solidFill>
                            <a:schemeClr val="tx1"/>
                          </a:solidFill>
                          <a:latin typeface="+mn-lt"/>
                          <a:ea typeface="+mn-ea"/>
                          <a:cs typeface="+mn-cs"/>
                        </a:rPr>
                        <a:t>Niveau 4</a:t>
                      </a:r>
                    </a:p>
                  </a:txBody>
                  <a:tcPr marL="112542" marR="112542" anchor="ctr">
                    <a:solidFill>
                      <a:schemeClr val="bg1"/>
                    </a:solidFill>
                  </a:tcPr>
                </a:tc>
                <a:tc>
                  <a:txBody>
                    <a:bodyPr/>
                    <a:lstStyle/>
                    <a:p>
                      <a:pPr algn="ctr"/>
                      <a:r>
                        <a:rPr lang="fr-FR" sz="1000" kern="1200" cap="none" baseline="0" err="1">
                          <a:solidFill>
                            <a:schemeClr val="tx1"/>
                          </a:solidFill>
                          <a:latin typeface="+mn-lt"/>
                          <a:ea typeface="+mn-ea"/>
                          <a:cs typeface="+mn-cs"/>
                        </a:rPr>
                        <a:t>Tahoma</a:t>
                      </a:r>
                      <a:r>
                        <a:rPr lang="fr-FR" sz="1000" kern="1200" cap="none" baseline="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cap="none" baseline="0">
                          <a:solidFill>
                            <a:schemeClr val="tx1"/>
                          </a:solidFill>
                          <a:latin typeface="+mn-lt"/>
                          <a:ea typeface="+mn-ea"/>
                          <a:cs typeface="+mn-cs"/>
                        </a:rPr>
                        <a:t>12</a:t>
                      </a:r>
                    </a:p>
                  </a:txBody>
                  <a:tcPr marL="112542" marR="112542" anchor="ctr">
                    <a:solidFill>
                      <a:schemeClr val="bg1"/>
                    </a:solidFill>
                  </a:tcPr>
                </a:tc>
                <a:tc>
                  <a:txBody>
                    <a:bodyPr/>
                    <a:lstStyle/>
                    <a:p>
                      <a:pPr algn="ctr"/>
                      <a:r>
                        <a:rPr lang="fr-FR" sz="1000" kern="1200" cap="none" baseline="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fr-FR" sz="1000" kern="1200" cap="none" baseline="0">
                          <a:solidFill>
                            <a:schemeClr val="tx1"/>
                          </a:solidFill>
                          <a:latin typeface="+mn-lt"/>
                          <a:ea typeface="+mn-ea"/>
                          <a:cs typeface="+mn-cs"/>
                        </a:rPr>
                        <a:t>Font </a:t>
                      </a:r>
                      <a:r>
                        <a:rPr lang="fr-FR" sz="1000" kern="1200" cap="none" baseline="0" err="1">
                          <a:solidFill>
                            <a:schemeClr val="tx1"/>
                          </a:solidFill>
                          <a:latin typeface="+mn-lt"/>
                          <a:ea typeface="+mn-ea"/>
                          <a:cs typeface="+mn-cs"/>
                        </a:rPr>
                        <a:t>Tahoma</a:t>
                      </a:r>
                      <a:r>
                        <a:rPr lang="fr-FR" sz="1000" kern="1200" cap="none" baseline="0">
                          <a:solidFill>
                            <a:schemeClr val="tx1"/>
                          </a:solidFill>
                          <a:latin typeface="+mn-lt"/>
                          <a:ea typeface="+mn-ea"/>
                          <a:cs typeface="+mn-cs"/>
                        </a:rPr>
                        <a:t> </a:t>
                      </a:r>
                      <a:br>
                        <a:rPr lang="fr-FR" sz="1000" kern="1200" cap="none" baseline="0">
                          <a:solidFill>
                            <a:schemeClr val="tx1"/>
                          </a:solidFill>
                          <a:latin typeface="+mn-lt"/>
                          <a:ea typeface="+mn-ea"/>
                          <a:cs typeface="+mn-cs"/>
                        </a:rPr>
                      </a:br>
                      <a:r>
                        <a:rPr lang="fr-FR" sz="1000" kern="1200" cap="none" baseline="0">
                          <a:solidFill>
                            <a:schemeClr val="tx1"/>
                          </a:solidFill>
                          <a:latin typeface="+mn-lt"/>
                          <a:ea typeface="+mn-ea"/>
                          <a:cs typeface="+mn-cs"/>
                        </a:rPr>
                        <a:t>code 203A</a:t>
                      </a: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1,8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fr-FR" sz="1000" kern="1200">
                          <a:solidFill>
                            <a:schemeClr val="tx1"/>
                          </a:solidFill>
                          <a:latin typeface="+mn-lt"/>
                          <a:ea typeface="+mn-ea"/>
                          <a:cs typeface="+mn-cs"/>
                        </a:rPr>
                        <a:t>Niveau 5</a:t>
                      </a:r>
                    </a:p>
                  </a:txBody>
                  <a:tcPr marL="112542" marR="112542" anchor="ctr">
                    <a:solidFill>
                      <a:schemeClr val="bg1"/>
                    </a:solidFill>
                  </a:tcPr>
                </a:tc>
                <a:tc>
                  <a:txBody>
                    <a:bodyPr/>
                    <a:lstStyle/>
                    <a:p>
                      <a:pPr algn="ctr"/>
                      <a:r>
                        <a:rPr lang="fr-FR" sz="1000" kern="1200" err="1">
                          <a:solidFill>
                            <a:schemeClr val="tx1"/>
                          </a:solidFill>
                          <a:latin typeface="+mn-lt"/>
                          <a:ea typeface="+mn-ea"/>
                          <a:cs typeface="+mn-cs"/>
                        </a:rPr>
                        <a:t>Tahoma</a:t>
                      </a:r>
                      <a:r>
                        <a:rPr lang="fr-FR" sz="1000" kern="120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10</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Font </a:t>
                      </a:r>
                      <a:r>
                        <a:rPr lang="fr-FR" sz="1000" kern="1200" err="1">
                          <a:solidFill>
                            <a:schemeClr val="tx1"/>
                          </a:solidFill>
                          <a:latin typeface="+mn-lt"/>
                          <a:ea typeface="+mn-ea"/>
                          <a:cs typeface="+mn-cs"/>
                        </a:rPr>
                        <a:t>Tahoma</a:t>
                      </a:r>
                      <a:br>
                        <a:rPr lang="fr-FR" sz="1000" kern="1200">
                          <a:solidFill>
                            <a:schemeClr val="tx1"/>
                          </a:solidFill>
                          <a:latin typeface="+mn-lt"/>
                          <a:ea typeface="+mn-ea"/>
                          <a:cs typeface="+mn-cs"/>
                        </a:rPr>
                      </a:br>
                      <a:r>
                        <a:rPr lang="fr-FR" sz="1000" kern="1200">
                          <a:solidFill>
                            <a:schemeClr val="tx1"/>
                          </a:solidFill>
                          <a:latin typeface="+mn-lt"/>
                          <a:ea typeface="+mn-ea"/>
                          <a:cs typeface="+mn-cs"/>
                        </a:rPr>
                        <a:t>code 00BB</a:t>
                      </a:r>
                    </a:p>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2,5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fr-FR" sz="1400" b="1" err="1">
                <a:solidFill>
                  <a:schemeClr val="bg2"/>
                </a:solidFill>
              </a:rPr>
              <a:t>Remaining</a:t>
            </a:r>
            <a:r>
              <a:rPr lang="fr-FR" sz="1400" b="1">
                <a:solidFill>
                  <a:schemeClr val="bg2"/>
                </a:solidFill>
              </a:rPr>
              <a:t> bug</a:t>
            </a:r>
            <a:endParaRPr lang="fr-FR" sz="1400">
              <a:solidFill>
                <a:schemeClr val="bg2"/>
              </a:solidFill>
            </a:endParaRPr>
          </a:p>
          <a:p>
            <a:pPr algn="r"/>
            <a:r>
              <a:rPr lang="fr-FR" sz="1400">
                <a:solidFill>
                  <a:schemeClr val="bg2"/>
                </a:solidFill>
              </a:rPr>
              <a:t>La Police</a:t>
            </a:r>
            <a:r>
              <a:rPr lang="fr-FR" sz="1400" baseline="0">
                <a:solidFill>
                  <a:schemeClr val="bg2"/>
                </a:solidFill>
              </a:rPr>
              <a:t> </a:t>
            </a:r>
            <a:r>
              <a:rPr lang="fr-FR" sz="1400" baseline="0" err="1">
                <a:solidFill>
                  <a:schemeClr val="bg2"/>
                </a:solidFill>
              </a:rPr>
              <a:t>Tahoma</a:t>
            </a:r>
            <a:r>
              <a:rPr lang="fr-FR" sz="1400" baseline="0">
                <a:solidFill>
                  <a:schemeClr val="bg2"/>
                </a:solidFill>
              </a:rPr>
              <a:t> italique ne passe pas à l’impression depuis un document </a:t>
            </a:r>
            <a:r>
              <a:rPr lang="fr-FR" sz="1400" baseline="0" err="1">
                <a:solidFill>
                  <a:schemeClr val="bg2"/>
                </a:solidFill>
              </a:rPr>
              <a:t>pdf</a:t>
            </a:r>
            <a:r>
              <a:rPr lang="fr-FR" sz="1400" baseline="0">
                <a:solidFill>
                  <a:schemeClr val="bg2"/>
                </a:solidFill>
              </a:rPr>
              <a:t> généré directement par PPT. </a:t>
            </a:r>
          </a:p>
          <a:p>
            <a:pPr algn="r"/>
            <a:r>
              <a:rPr lang="fr-FR" sz="1400" b="1" baseline="0">
                <a:solidFill>
                  <a:schemeClr val="bg2"/>
                </a:solidFill>
              </a:rPr>
              <a:t>Passer par une imprimante </a:t>
            </a:r>
            <a:r>
              <a:rPr lang="fr-FR" sz="1400" b="1" baseline="0" err="1">
                <a:solidFill>
                  <a:schemeClr val="bg2"/>
                </a:solidFill>
              </a:rPr>
              <a:t>Pdf</a:t>
            </a:r>
            <a:r>
              <a:rPr lang="fr-FR" sz="1400" b="1" baseline="0">
                <a:solidFill>
                  <a:schemeClr val="bg2"/>
                </a:solidFill>
              </a:rPr>
              <a:t> type </a:t>
            </a:r>
            <a:r>
              <a:rPr lang="fr-FR" sz="1400" b="1" baseline="0" err="1">
                <a:solidFill>
                  <a:schemeClr val="bg2"/>
                </a:solidFill>
              </a:rPr>
              <a:t>Pdf</a:t>
            </a:r>
            <a:r>
              <a:rPr lang="fr-FR" sz="1400" b="1" baseline="0">
                <a:solidFill>
                  <a:schemeClr val="bg2"/>
                </a:solidFill>
              </a:rPr>
              <a:t> Creator.</a:t>
            </a:r>
            <a:endParaRPr lang="fr-FR" sz="1400" b="1">
              <a:solidFill>
                <a:schemeClr val="bg2"/>
              </a:solidFill>
            </a:endParaRPr>
          </a:p>
        </p:txBody>
      </p:sp>
      <p:graphicFrame>
        <p:nvGraphicFramePr>
          <p:cNvPr id="7" name="Inhaltsplatzhalter 3"/>
          <p:cNvGraphicFramePr>
            <a:graphicFrameLocks/>
          </p:cNvGraphicFramePr>
          <p:nvPr>
            <p:extLst>
              <p:ext uri="{D42A27DB-BD31-4B8C-83A1-F6EECF244321}">
                <p14:modId xmlns:p14="http://schemas.microsoft.com/office/powerpoint/2010/main" val="2976141139"/>
              </p:ext>
            </p:extLst>
          </p:nvPr>
        </p:nvGraphicFramePr>
        <p:xfrm>
          <a:off x="446856" y="1470716"/>
          <a:ext cx="11360135" cy="1635316"/>
        </p:xfrm>
        <a:graphic>
          <a:graphicData uri="http://schemas.openxmlformats.org/drawingml/2006/table">
            <a:tbl>
              <a:tblPr bandRow="1">
                <a:tableStyleId>{5C22544A-7EE6-4342-B048-85BDC9FD1C3A}</a:tableStyleId>
              </a:tblPr>
              <a:tblGrid>
                <a:gridCol w="1136014">
                  <a:extLst>
                    <a:ext uri="{9D8B030D-6E8A-4147-A177-3AD203B41FA5}">
                      <a16:colId xmlns:a16="http://schemas.microsoft.com/office/drawing/2014/main" val="20000"/>
                    </a:ext>
                  </a:extLst>
                </a:gridCol>
                <a:gridCol w="1136014">
                  <a:extLst>
                    <a:ext uri="{9D8B030D-6E8A-4147-A177-3AD203B41FA5}">
                      <a16:colId xmlns:a16="http://schemas.microsoft.com/office/drawing/2014/main" val="20001"/>
                    </a:ext>
                  </a:extLst>
                </a:gridCol>
                <a:gridCol w="1136014">
                  <a:extLst>
                    <a:ext uri="{9D8B030D-6E8A-4147-A177-3AD203B41FA5}">
                      <a16:colId xmlns:a16="http://schemas.microsoft.com/office/drawing/2014/main" val="20002"/>
                    </a:ext>
                  </a:extLst>
                </a:gridCol>
                <a:gridCol w="1136014">
                  <a:extLst>
                    <a:ext uri="{9D8B030D-6E8A-4147-A177-3AD203B41FA5}">
                      <a16:colId xmlns:a16="http://schemas.microsoft.com/office/drawing/2014/main" val="20003"/>
                    </a:ext>
                  </a:extLst>
                </a:gridCol>
                <a:gridCol w="1136014">
                  <a:extLst>
                    <a:ext uri="{9D8B030D-6E8A-4147-A177-3AD203B41FA5}">
                      <a16:colId xmlns:a16="http://schemas.microsoft.com/office/drawing/2014/main" val="20004"/>
                    </a:ext>
                  </a:extLst>
                </a:gridCol>
                <a:gridCol w="1136014">
                  <a:extLst>
                    <a:ext uri="{9D8B030D-6E8A-4147-A177-3AD203B41FA5}">
                      <a16:colId xmlns:a16="http://schemas.microsoft.com/office/drawing/2014/main" val="20005"/>
                    </a:ext>
                  </a:extLst>
                </a:gridCol>
                <a:gridCol w="1136014">
                  <a:extLst>
                    <a:ext uri="{9D8B030D-6E8A-4147-A177-3AD203B41FA5}">
                      <a16:colId xmlns:a16="http://schemas.microsoft.com/office/drawing/2014/main" val="20006"/>
                    </a:ext>
                  </a:extLst>
                </a:gridCol>
                <a:gridCol w="1136014">
                  <a:extLst>
                    <a:ext uri="{9D8B030D-6E8A-4147-A177-3AD203B41FA5}">
                      <a16:colId xmlns:a16="http://schemas.microsoft.com/office/drawing/2014/main" val="20007"/>
                    </a:ext>
                  </a:extLst>
                </a:gridCol>
                <a:gridCol w="1136014">
                  <a:extLst>
                    <a:ext uri="{9D8B030D-6E8A-4147-A177-3AD203B41FA5}">
                      <a16:colId xmlns:a16="http://schemas.microsoft.com/office/drawing/2014/main" val="20008"/>
                    </a:ext>
                  </a:extLst>
                </a:gridCol>
                <a:gridCol w="1136014">
                  <a:extLst>
                    <a:ext uri="{9D8B030D-6E8A-4147-A177-3AD203B41FA5}">
                      <a16:colId xmlns:a16="http://schemas.microsoft.com/office/drawing/2014/main" val="20009"/>
                    </a:ext>
                  </a:extLst>
                </a:gridCol>
              </a:tblGrid>
              <a:tr h="30668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fr-FR" sz="900" b="1" kern="1200" noProof="0" err="1">
                          <a:solidFill>
                            <a:schemeClr val="bg2"/>
                          </a:solidFill>
                          <a:latin typeface="+mn-lt"/>
                          <a:ea typeface="+mn-ea"/>
                          <a:cs typeface="+mn-cs"/>
                        </a:rPr>
                        <a:t>Color</a:t>
                      </a:r>
                      <a:r>
                        <a:rPr lang="fr-FR" sz="900" b="1" kern="1200" noProof="0">
                          <a:solidFill>
                            <a:schemeClr val="bg2"/>
                          </a:solidFill>
                          <a:latin typeface="+mn-lt"/>
                          <a:ea typeface="+mn-ea"/>
                          <a:cs typeface="+mn-cs"/>
                        </a:rPr>
                        <a:t> </a:t>
                      </a:r>
                      <a:r>
                        <a:rPr lang="fr-FR" sz="900" b="1" kern="1200" noProof="0" err="1">
                          <a:solidFill>
                            <a:schemeClr val="bg2"/>
                          </a:solidFill>
                          <a:latin typeface="+mn-lt"/>
                          <a:ea typeface="+mn-ea"/>
                          <a:cs typeface="+mn-cs"/>
                        </a:rPr>
                        <a:t>scheme</a:t>
                      </a:r>
                      <a:endParaRPr lang="fr-FR" sz="900" b="1" kern="1200" noProof="0">
                        <a:solidFill>
                          <a:schemeClr val="bg2"/>
                        </a:solidFill>
                        <a:latin typeface="+mn-lt"/>
                        <a:ea typeface="+mn-ea"/>
                        <a:cs typeface="+mn-cs"/>
                      </a:endParaRPr>
                    </a:p>
                  </a:txBody>
                  <a:tcPr marL="88615"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00647">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Background 1</a:t>
                      </a:r>
                    </a:p>
                  </a:txBody>
                  <a:tcPr marL="88615" marR="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err="1">
                          <a:solidFill>
                            <a:schemeClr val="bg2"/>
                          </a:solidFill>
                          <a:latin typeface="+mn-lt"/>
                          <a:cs typeface="Arial" pitchFamily="34" charset="0"/>
                        </a:rPr>
                        <a:t>Text</a:t>
                      </a:r>
                      <a:r>
                        <a:rPr lang="fr-FR" sz="900" b="0" i="0" u="none" noProof="0">
                          <a:solidFill>
                            <a:schemeClr val="bg2"/>
                          </a:solidFill>
                          <a:latin typeface="+mn-lt"/>
                          <a:cs typeface="Arial" pitchFamily="34" charset="0"/>
                        </a:rPr>
                        <a: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Background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err="1">
                          <a:solidFill>
                            <a:schemeClr val="bg2"/>
                          </a:solidFill>
                          <a:latin typeface="+mn-lt"/>
                          <a:cs typeface="Arial" pitchFamily="34" charset="0"/>
                        </a:rPr>
                        <a:t>Text</a:t>
                      </a:r>
                      <a:r>
                        <a:rPr lang="fr-FR" sz="900" b="0" i="0" u="none" noProof="0">
                          <a:solidFill>
                            <a:schemeClr val="bg2"/>
                          </a:solidFill>
                          <a:latin typeface="+mn-lt"/>
                          <a:cs typeface="Arial" pitchFamily="34" charset="0"/>
                        </a:rPr>
                        <a: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3</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4</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5</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6</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563945">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55552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55</a:t>
                      </a:r>
                      <a:br>
                        <a:rPr lang="fr-FR" sz="1000" i="0" u="none" noProof="0">
                          <a:solidFill>
                            <a:srgbClr val="000000"/>
                          </a:solidFill>
                          <a:latin typeface="+mn-lt"/>
                          <a:cs typeface="Arial" pitchFamily="34" charset="0"/>
                        </a:rPr>
                      </a:br>
                      <a:r>
                        <a:rPr lang="fr-FR" sz="1000" i="0" u="none" noProof="0">
                          <a:solidFill>
                            <a:srgbClr val="000000"/>
                          </a:solidFill>
                          <a:latin typeface="+mn-lt"/>
                          <a:cs typeface="Arial" pitchFamily="34" charset="0"/>
                        </a:rPr>
                        <a:t>25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2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4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4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4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4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5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9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8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2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18</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4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3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2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3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5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0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6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fr-FR" noProof="0"/>
              <a:t>How to use the Wavestone </a:t>
            </a:r>
            <a:r>
              <a:rPr lang="fr-FR" noProof="0" err="1"/>
              <a:t>ppt</a:t>
            </a:r>
            <a:r>
              <a:rPr lang="fr-FR" noProof="0"/>
              <a:t> </a:t>
            </a:r>
            <a:r>
              <a:rPr lang="fr-FR" noProof="0" err="1"/>
              <a:t>template</a:t>
            </a:r>
            <a:endParaRPr lang="fr-FR" noProof="0"/>
          </a:p>
        </p:txBody>
      </p:sp>
      <p:grpSp>
        <p:nvGrpSpPr>
          <p:cNvPr id="3" name="Groupe 2"/>
          <p:cNvGrpSpPr/>
          <p:nvPr/>
        </p:nvGrpSpPr>
        <p:grpSpPr>
          <a:xfrm>
            <a:off x="416542" y="730806"/>
            <a:ext cx="5502208" cy="753979"/>
            <a:chOff x="338440" y="866281"/>
            <a:chExt cx="4614560" cy="753979"/>
          </a:xfrm>
        </p:grpSpPr>
        <p:sp>
          <p:nvSpPr>
            <p:cNvPr id="11" name="Rectangle 10"/>
            <p:cNvSpPr/>
            <p:nvPr userDrawn="1"/>
          </p:nvSpPr>
          <p:spPr>
            <a:xfrm>
              <a:off x="338440" y="866281"/>
              <a:ext cx="4614560"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fr-FR" sz="1600" b="1">
                  <a:solidFill>
                    <a:schemeClr val="bg2"/>
                  </a:solidFill>
                </a:rPr>
                <a:t>Raccourci</a:t>
              </a:r>
              <a:r>
                <a:rPr lang="fr-FR" sz="1600" b="1" baseline="0">
                  <a:solidFill>
                    <a:schemeClr val="bg2"/>
                  </a:solidFill>
                </a:rPr>
                <a:t> pour changer de niveau :</a:t>
              </a:r>
              <a:endParaRPr lang="fr-FR" sz="1600" b="1">
                <a:solidFill>
                  <a:schemeClr val="bg2"/>
                </a:solidFill>
              </a:endParaRPr>
            </a:p>
            <a:p>
              <a:pPr algn="r"/>
              <a:r>
                <a:rPr lang="fr-FR" sz="1600" b="0">
                  <a:solidFill>
                    <a:schemeClr val="bg2"/>
                  </a:solidFill>
                </a:rPr>
                <a:t>Shift</a:t>
              </a:r>
              <a:r>
                <a:rPr lang="fr-FR" sz="1600" b="0" baseline="0">
                  <a:solidFill>
                    <a:schemeClr val="bg2"/>
                  </a:solidFill>
                </a:rPr>
                <a:t> + Alt + Flèche droite ou gauche</a:t>
              </a:r>
              <a:endParaRPr lang="fr-FR" sz="1600" b="0">
                <a:solidFill>
                  <a:schemeClr val="bg2"/>
                </a:solidFill>
              </a:endParaRPr>
            </a:p>
          </p:txBody>
        </p:sp>
        <p:pic>
          <p:nvPicPr>
            <p:cNvPr id="12"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142" y="998628"/>
              <a:ext cx="489284" cy="489284"/>
            </a:xfrm>
            <a:prstGeom prst="rect">
              <a:avLst/>
            </a:prstGeom>
          </p:spPr>
        </p:pic>
      </p:grpSp>
    </p:spTree>
    <p:extLst>
      <p:ext uri="{BB962C8B-B14F-4D97-AF65-F5344CB8AC3E}">
        <p14:creationId xmlns:p14="http://schemas.microsoft.com/office/powerpoint/2010/main" val="26920623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Cover White + Image">
    <p:spTree>
      <p:nvGrpSpPr>
        <p:cNvPr id="1" name=""/>
        <p:cNvGrpSpPr/>
        <p:nvPr/>
      </p:nvGrpSpPr>
      <p:grpSpPr>
        <a:xfrm>
          <a:off x="0" y="0"/>
          <a:ext cx="0" cy="0"/>
          <a:chOff x="0" y="0"/>
          <a:chExt cx="0" cy="0"/>
        </a:xfrm>
      </p:grpSpPr>
      <p:sp>
        <p:nvSpPr>
          <p:cNvPr id="36" name="Espace réservé pour une image  35"/>
          <p:cNvSpPr>
            <a:spLocks noGrp="1"/>
          </p:cNvSpPr>
          <p:nvPr>
            <p:ph type="pic" sz="quarter" idx="10" hasCustomPrompt="1"/>
          </p:nvPr>
        </p:nvSpPr>
        <p:spPr>
          <a:xfrm>
            <a:off x="0" y="2"/>
            <a:ext cx="7519015" cy="6621613"/>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ck </a:t>
            </a:r>
            <a:r>
              <a:rPr lang="fr-FR" noProof="0" err="1"/>
              <a:t>here</a:t>
            </a:r>
            <a:br>
              <a:rPr lang="fr-FR" noProof="0"/>
            </a:br>
            <a:r>
              <a:rPr lang="fr-FR" noProof="0"/>
              <a:t>to insert a </a:t>
            </a:r>
            <a:r>
              <a:rPr lang="fr-FR" noProof="0" err="1"/>
              <a:t>picture</a:t>
            </a:r>
            <a:r>
              <a:rPr lang="fr-FR" noProof="0"/>
              <a:t> &gt;&gt;</a:t>
            </a:r>
          </a:p>
        </p:txBody>
      </p:sp>
      <p:sp>
        <p:nvSpPr>
          <p:cNvPr id="8" name="Bildplatzhalter 3"/>
          <p:cNvSpPr>
            <a:spLocks noGrp="1"/>
          </p:cNvSpPr>
          <p:nvPr>
            <p:ph type="pic" sz="quarter" idx="14" hasCustomPrompt="1"/>
          </p:nvPr>
        </p:nvSpPr>
        <p:spPr bwMode="gray">
          <a:xfrm>
            <a:off x="9241909" y="5520421"/>
            <a:ext cx="2348308" cy="72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1200" baseline="0" dirty="0">
                <a:solidFill>
                  <a:schemeClr val="bg2"/>
                </a:solidFill>
                <a:latin typeface="+mn-lt"/>
                <a:cs typeface="+mn-cs"/>
              </a:defRPr>
            </a:lvl1pPr>
          </a:lstStyle>
          <a:p>
            <a:pPr lvl="0"/>
            <a:r>
              <a:rPr lang="fr-FR" noProof="0"/>
              <a:t>Insert client logo</a:t>
            </a:r>
          </a:p>
        </p:txBody>
      </p:sp>
      <p:sp>
        <p:nvSpPr>
          <p:cNvPr id="10" name="Titel 1"/>
          <p:cNvSpPr>
            <a:spLocks noGrp="1"/>
          </p:cNvSpPr>
          <p:nvPr>
            <p:ph type="title" hasCustomPrompt="1"/>
          </p:nvPr>
        </p:nvSpPr>
        <p:spPr bwMode="gray">
          <a:xfrm>
            <a:off x="3836371" y="3334423"/>
            <a:ext cx="7753846" cy="964800"/>
          </a:xfrm>
        </p:spPr>
        <p:txBody>
          <a:bodyPr lIns="0" rIns="0" anchor="b">
            <a:noAutofit/>
          </a:bodyPr>
          <a:lstStyle>
            <a:lvl1pPr algn="r">
              <a:defRPr sz="2800" cap="none" baseline="0">
                <a:solidFill>
                  <a:schemeClr val="bg2"/>
                </a:solidFill>
                <a:latin typeface="+mj-lt"/>
              </a:defRPr>
            </a:lvl1pPr>
          </a:lstStyle>
          <a:p>
            <a:r>
              <a:rPr lang="fr-FR" noProof="0" err="1"/>
              <a:t>Placeholder</a:t>
            </a:r>
            <a:r>
              <a:rPr lang="fr-FR" noProof="0"/>
              <a:t> for </a:t>
            </a:r>
            <a:r>
              <a:rPr lang="fr-FR" noProof="0" err="1"/>
              <a:t>your</a:t>
            </a:r>
            <a:r>
              <a:rPr lang="fr-FR" noProof="0"/>
              <a:t> </a:t>
            </a:r>
            <a:r>
              <a:rPr lang="fr-FR" noProof="0" err="1"/>
              <a:t>title</a:t>
            </a:r>
            <a:endParaRPr lang="fr-FR" noProof="0"/>
          </a:p>
        </p:txBody>
      </p:sp>
      <p:sp>
        <p:nvSpPr>
          <p:cNvPr id="14" name="Textplatzhalter 25"/>
          <p:cNvSpPr>
            <a:spLocks noGrp="1"/>
          </p:cNvSpPr>
          <p:nvPr>
            <p:ph type="body" sz="quarter" idx="15" hasCustomPrompt="1"/>
          </p:nvPr>
        </p:nvSpPr>
        <p:spPr bwMode="gray">
          <a:xfrm>
            <a:off x="3836371" y="4425489"/>
            <a:ext cx="7753846" cy="4824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2000" i="0">
                <a:solidFill>
                  <a:schemeClr val="bg2"/>
                </a:solidFill>
                <a:latin typeface="+mj-lt"/>
              </a:defRPr>
            </a:lvl1pPr>
          </a:lstStyle>
          <a:p>
            <a:pPr lvl="0"/>
            <a:r>
              <a:rPr lang="fr-FR" noProof="0" err="1"/>
              <a:t>Placeholder</a:t>
            </a:r>
            <a:r>
              <a:rPr lang="fr-FR" noProof="0"/>
              <a:t> for </a:t>
            </a:r>
            <a:r>
              <a:rPr lang="fr-FR" noProof="0" err="1"/>
              <a:t>your</a:t>
            </a:r>
            <a:r>
              <a:rPr lang="fr-FR" noProof="0"/>
              <a:t> </a:t>
            </a:r>
            <a:r>
              <a:rPr lang="fr-FR" noProof="0" err="1"/>
              <a:t>sub</a:t>
            </a:r>
            <a:r>
              <a:rPr lang="fr-FR" noProof="0"/>
              <a:t> headline</a:t>
            </a:r>
          </a:p>
        </p:txBody>
      </p:sp>
      <p:sp>
        <p:nvSpPr>
          <p:cNvPr id="15" name="Textplatzhalter 25"/>
          <p:cNvSpPr>
            <a:spLocks noGrp="1"/>
          </p:cNvSpPr>
          <p:nvPr>
            <p:ph type="body" sz="quarter" idx="17" hasCustomPrompt="1"/>
          </p:nvPr>
        </p:nvSpPr>
        <p:spPr bwMode="gray">
          <a:xfrm>
            <a:off x="3836371" y="5034155"/>
            <a:ext cx="7753846" cy="3600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i="0">
                <a:solidFill>
                  <a:schemeClr val="bg2"/>
                </a:solidFill>
                <a:latin typeface="+mj-lt"/>
              </a:defRPr>
            </a:lvl1pPr>
          </a:lstStyle>
          <a:p>
            <a:pPr lvl="0"/>
            <a:r>
              <a:rPr lang="fr-FR" noProof="0"/>
              <a:t>Date | </a:t>
            </a:r>
            <a:r>
              <a:rPr lang="fr-FR" noProof="0" err="1"/>
              <a:t>Author</a:t>
            </a:r>
            <a:r>
              <a:rPr lang="fr-FR" noProof="0"/>
              <a:t> | distribution</a:t>
            </a:r>
          </a:p>
        </p:txBody>
      </p:sp>
      <p:pic>
        <p:nvPicPr>
          <p:cNvPr id="11" name="Image 10"/>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0"/>
            <a:ext cx="7459698" cy="6496334"/>
          </a:xfrm>
          <a:prstGeom prst="rect">
            <a:avLst/>
          </a:prstGeom>
        </p:spPr>
      </p:pic>
      <p:pic>
        <p:nvPicPr>
          <p:cNvPr id="13" name="Picture 8"/>
          <p:cNvPicPr>
            <a:picLocks noChangeAspect="1"/>
          </p:cNvPicPr>
          <p:nvPr/>
        </p:nvPicPr>
        <p:blipFill>
          <a:blip r:embed="rId3"/>
          <a:stretch>
            <a:fillRect/>
          </a:stretch>
        </p:blipFill>
        <p:spPr>
          <a:xfrm>
            <a:off x="8152615" y="1152000"/>
            <a:ext cx="3479769" cy="381600"/>
          </a:xfrm>
          <a:prstGeom prst="rect">
            <a:avLst/>
          </a:prstGeom>
        </p:spPr>
      </p:pic>
    </p:spTree>
    <p:extLst>
      <p:ext uri="{BB962C8B-B14F-4D97-AF65-F5344CB8AC3E}">
        <p14:creationId xmlns:p14="http://schemas.microsoft.com/office/powerpoint/2010/main" val="20244094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over Purple + Image">
    <p:bg>
      <p:bgPr>
        <a:solidFill>
          <a:schemeClr val="bg2"/>
        </a:solidFill>
        <a:effectLst/>
      </p:bgPr>
    </p:bg>
    <p:spTree>
      <p:nvGrpSpPr>
        <p:cNvPr id="1" name=""/>
        <p:cNvGrpSpPr/>
        <p:nvPr/>
      </p:nvGrpSpPr>
      <p:grpSpPr>
        <a:xfrm>
          <a:off x="0" y="0"/>
          <a:ext cx="0" cy="0"/>
          <a:chOff x="0" y="0"/>
          <a:chExt cx="0" cy="0"/>
        </a:xfrm>
      </p:grpSpPr>
      <p:pic>
        <p:nvPicPr>
          <p:cNvPr id="1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 r="-63997" b="-5943"/>
          <a:stretch/>
        </p:blipFill>
        <p:spPr bwMode="auto">
          <a:xfrm>
            <a:off x="0" y="1"/>
            <a:ext cx="12192000" cy="6856413"/>
          </a:xfrm>
          <a:prstGeom prst="rect">
            <a:avLst/>
          </a:prstGeom>
          <a:solidFill>
            <a:schemeClr val="bg2"/>
          </a:solidFill>
          <a:ln>
            <a:noFill/>
          </a:ln>
          <a:effectLst/>
        </p:spPr>
      </p:pic>
      <p:sp>
        <p:nvSpPr>
          <p:cNvPr id="9" name="Espace réservé pour une image  35"/>
          <p:cNvSpPr>
            <a:spLocks noGrp="1"/>
          </p:cNvSpPr>
          <p:nvPr>
            <p:ph type="pic" sz="quarter" idx="10" hasCustomPrompt="1"/>
          </p:nvPr>
        </p:nvSpPr>
        <p:spPr bwMode="gray">
          <a:xfrm>
            <a:off x="0" y="1"/>
            <a:ext cx="7519015" cy="6621613"/>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ck </a:t>
            </a:r>
            <a:r>
              <a:rPr lang="fr-FR" noProof="0" err="1"/>
              <a:t>here</a:t>
            </a:r>
            <a:br>
              <a:rPr lang="fr-FR" noProof="0"/>
            </a:br>
            <a:r>
              <a:rPr lang="fr-FR" noProof="0"/>
              <a:t>to insert a </a:t>
            </a:r>
            <a:r>
              <a:rPr lang="fr-FR" noProof="0" err="1"/>
              <a:t>picture</a:t>
            </a:r>
            <a:r>
              <a:rPr lang="fr-FR" noProof="0"/>
              <a:t>	&gt;&gt;</a:t>
            </a:r>
          </a:p>
        </p:txBody>
      </p:sp>
      <p:sp>
        <p:nvSpPr>
          <p:cNvPr id="10" name="Bildplatzhalter 3"/>
          <p:cNvSpPr>
            <a:spLocks noGrp="1"/>
          </p:cNvSpPr>
          <p:nvPr>
            <p:ph type="pic" sz="quarter" idx="14" hasCustomPrompt="1"/>
          </p:nvPr>
        </p:nvSpPr>
        <p:spPr bwMode="gray">
          <a:xfrm>
            <a:off x="9241909" y="5520421"/>
            <a:ext cx="2348308" cy="72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1200" dirty="0">
                <a:solidFill>
                  <a:schemeClr val="bg1"/>
                </a:solidFill>
                <a:latin typeface="+mn-lt"/>
                <a:cs typeface="+mn-cs"/>
              </a:defRPr>
            </a:lvl1pPr>
          </a:lstStyle>
          <a:p>
            <a:pPr lvl="0"/>
            <a:r>
              <a:rPr lang="fr-FR" noProof="0"/>
              <a:t>Insert client logo</a:t>
            </a:r>
          </a:p>
        </p:txBody>
      </p:sp>
      <p:sp>
        <p:nvSpPr>
          <p:cNvPr id="11" name="Titel 1"/>
          <p:cNvSpPr>
            <a:spLocks noGrp="1"/>
          </p:cNvSpPr>
          <p:nvPr>
            <p:ph type="title" hasCustomPrompt="1"/>
          </p:nvPr>
        </p:nvSpPr>
        <p:spPr bwMode="gray">
          <a:xfrm>
            <a:off x="4323497" y="3334423"/>
            <a:ext cx="7266720" cy="964800"/>
          </a:xfrm>
        </p:spPr>
        <p:txBody>
          <a:bodyPr lIns="0" rIns="0" anchor="b">
            <a:noAutofit/>
          </a:bodyPr>
          <a:lstStyle>
            <a:lvl1pPr algn="r">
              <a:defRPr sz="2800" cap="none" baseline="0">
                <a:solidFill>
                  <a:schemeClr val="bg1"/>
                </a:solidFill>
                <a:latin typeface="+mj-lt"/>
              </a:defRPr>
            </a:lvl1pPr>
          </a:lstStyle>
          <a:p>
            <a:r>
              <a:rPr lang="fr-FR" noProof="0" err="1"/>
              <a:t>Placeholder</a:t>
            </a:r>
            <a:r>
              <a:rPr lang="fr-FR" noProof="0"/>
              <a:t> for </a:t>
            </a:r>
            <a:r>
              <a:rPr lang="fr-FR" noProof="0" err="1"/>
              <a:t>your</a:t>
            </a:r>
            <a:r>
              <a:rPr lang="fr-FR" noProof="0"/>
              <a:t> </a:t>
            </a:r>
            <a:r>
              <a:rPr lang="fr-FR" noProof="0" err="1"/>
              <a:t>title</a:t>
            </a:r>
            <a:endParaRPr lang="fr-FR" noProof="0"/>
          </a:p>
        </p:txBody>
      </p:sp>
      <p:sp>
        <p:nvSpPr>
          <p:cNvPr id="15" name="Textplatzhalter 25"/>
          <p:cNvSpPr>
            <a:spLocks noGrp="1"/>
          </p:cNvSpPr>
          <p:nvPr>
            <p:ph type="body" sz="quarter" idx="15" hasCustomPrompt="1"/>
          </p:nvPr>
        </p:nvSpPr>
        <p:spPr bwMode="gray">
          <a:xfrm>
            <a:off x="4323497" y="4425489"/>
            <a:ext cx="7266720" cy="4824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2000" i="0">
                <a:solidFill>
                  <a:schemeClr val="bg1"/>
                </a:solidFill>
                <a:latin typeface="+mj-lt"/>
              </a:defRPr>
            </a:lvl1pPr>
          </a:lstStyle>
          <a:p>
            <a:pPr lvl="0"/>
            <a:r>
              <a:rPr lang="fr-FR" noProof="0" err="1"/>
              <a:t>Placeholder</a:t>
            </a:r>
            <a:r>
              <a:rPr lang="fr-FR" noProof="0"/>
              <a:t> for </a:t>
            </a:r>
            <a:r>
              <a:rPr lang="fr-FR" noProof="0" err="1"/>
              <a:t>your</a:t>
            </a:r>
            <a:r>
              <a:rPr lang="fr-FR" noProof="0"/>
              <a:t> </a:t>
            </a:r>
            <a:r>
              <a:rPr lang="fr-FR" noProof="0" err="1"/>
              <a:t>sub</a:t>
            </a:r>
            <a:r>
              <a:rPr lang="fr-FR" noProof="0"/>
              <a:t> headline</a:t>
            </a:r>
          </a:p>
        </p:txBody>
      </p:sp>
      <p:sp>
        <p:nvSpPr>
          <p:cNvPr id="16" name="Textplatzhalter 25"/>
          <p:cNvSpPr>
            <a:spLocks noGrp="1"/>
          </p:cNvSpPr>
          <p:nvPr>
            <p:ph type="body" sz="quarter" idx="17" hasCustomPrompt="1"/>
          </p:nvPr>
        </p:nvSpPr>
        <p:spPr bwMode="gray">
          <a:xfrm>
            <a:off x="4323497" y="5034155"/>
            <a:ext cx="7266720" cy="3600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i="0">
                <a:solidFill>
                  <a:schemeClr val="bg1"/>
                </a:solidFill>
                <a:latin typeface="+mj-lt"/>
              </a:defRPr>
            </a:lvl1pPr>
          </a:lstStyle>
          <a:p>
            <a:pPr lvl="0"/>
            <a:r>
              <a:rPr lang="fr-FR" noProof="0"/>
              <a:t>Date | </a:t>
            </a:r>
            <a:r>
              <a:rPr lang="fr-FR" noProof="0" err="1"/>
              <a:t>Author</a:t>
            </a:r>
            <a:r>
              <a:rPr lang="fr-FR" noProof="0"/>
              <a:t> | distribution</a:t>
            </a:r>
          </a:p>
        </p:txBody>
      </p:sp>
      <p:pic>
        <p:nvPicPr>
          <p:cNvPr id="8" name="Picture 7"/>
          <p:cNvPicPr>
            <a:picLocks/>
          </p:cNvPicPr>
          <p:nvPr/>
        </p:nvPicPr>
        <p:blipFill>
          <a:blip r:embed="rId3"/>
          <a:stretch>
            <a:fillRect/>
          </a:stretch>
        </p:blipFill>
        <p:spPr>
          <a:xfrm>
            <a:off x="8152615" y="1152000"/>
            <a:ext cx="3478154" cy="381600"/>
          </a:xfrm>
          <a:prstGeom prst="rect">
            <a:avLst/>
          </a:prstGeom>
        </p:spPr>
      </p:pic>
    </p:spTree>
    <p:extLst>
      <p:ext uri="{BB962C8B-B14F-4D97-AF65-F5344CB8AC3E}">
        <p14:creationId xmlns:p14="http://schemas.microsoft.com/office/powerpoint/2010/main" val="3592748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Purple + Image">
    <p:bg>
      <p:bgPr>
        <a:solidFill>
          <a:schemeClr val="bg2"/>
        </a:solidFill>
        <a:effectLst/>
      </p:bgPr>
    </p:bg>
    <p:spTree>
      <p:nvGrpSpPr>
        <p:cNvPr id="1" name=""/>
        <p:cNvGrpSpPr/>
        <p:nvPr/>
      </p:nvGrpSpPr>
      <p:grpSpPr>
        <a:xfrm>
          <a:off x="0" y="0"/>
          <a:ext cx="0" cy="0"/>
          <a:chOff x="0" y="0"/>
          <a:chExt cx="0" cy="0"/>
        </a:xfrm>
      </p:grpSpPr>
      <p:pic>
        <p:nvPicPr>
          <p:cNvPr id="1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 r="-63997" b="-5943"/>
          <a:stretch/>
        </p:blipFill>
        <p:spPr bwMode="auto">
          <a:xfrm>
            <a:off x="0" y="1"/>
            <a:ext cx="12192000" cy="6856413"/>
          </a:xfrm>
          <a:prstGeom prst="rect">
            <a:avLst/>
          </a:prstGeom>
          <a:solidFill>
            <a:schemeClr val="bg2"/>
          </a:solidFill>
          <a:ln>
            <a:noFill/>
          </a:ln>
          <a:effectLst/>
        </p:spPr>
      </p:pic>
      <p:sp>
        <p:nvSpPr>
          <p:cNvPr id="9" name="Espace réservé pour une image  35"/>
          <p:cNvSpPr>
            <a:spLocks noGrp="1"/>
          </p:cNvSpPr>
          <p:nvPr>
            <p:ph type="pic" sz="quarter" idx="10" hasCustomPrompt="1"/>
          </p:nvPr>
        </p:nvSpPr>
        <p:spPr bwMode="gray">
          <a:xfrm>
            <a:off x="0" y="2"/>
            <a:ext cx="7519015" cy="6621613"/>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a:t>Cliquer ici    &gt;&gt;</a:t>
            </a:r>
            <a:br>
              <a:rPr lang="fr-FR"/>
            </a:br>
            <a:r>
              <a:rPr lang="fr-FR"/>
              <a:t>pour insérer votre photo</a:t>
            </a:r>
          </a:p>
        </p:txBody>
      </p:sp>
      <p:sp>
        <p:nvSpPr>
          <p:cNvPr id="10" name="Bildplatzhalter 3"/>
          <p:cNvSpPr>
            <a:spLocks noGrp="1"/>
          </p:cNvSpPr>
          <p:nvPr>
            <p:ph type="pic" sz="quarter" idx="14" hasCustomPrompt="1"/>
          </p:nvPr>
        </p:nvSpPr>
        <p:spPr bwMode="gray">
          <a:xfrm>
            <a:off x="9241909" y="5520421"/>
            <a:ext cx="2348308" cy="72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1200" dirty="0">
                <a:solidFill>
                  <a:schemeClr val="bg1"/>
                </a:solidFill>
                <a:latin typeface="+mn-lt"/>
                <a:cs typeface="+mn-cs"/>
              </a:defRPr>
            </a:lvl1pPr>
          </a:lstStyle>
          <a:p>
            <a:pPr lvl="0"/>
            <a:r>
              <a:rPr lang="fr-FR" noProof="0"/>
              <a:t>Insérer un logo client</a:t>
            </a:r>
          </a:p>
        </p:txBody>
      </p:sp>
      <p:sp>
        <p:nvSpPr>
          <p:cNvPr id="11" name="Titel 1"/>
          <p:cNvSpPr>
            <a:spLocks noGrp="1"/>
          </p:cNvSpPr>
          <p:nvPr>
            <p:ph type="title" hasCustomPrompt="1"/>
          </p:nvPr>
        </p:nvSpPr>
        <p:spPr bwMode="gray">
          <a:xfrm>
            <a:off x="4323497" y="3334423"/>
            <a:ext cx="7266720" cy="964800"/>
          </a:xfrm>
        </p:spPr>
        <p:txBody>
          <a:bodyPr lIns="0" rIns="0" anchor="b">
            <a:noAutofit/>
          </a:bodyPr>
          <a:lstStyle>
            <a:lvl1pPr algn="r">
              <a:defRPr sz="2800" cap="none" baseline="0">
                <a:solidFill>
                  <a:schemeClr val="bg1"/>
                </a:solidFill>
                <a:latin typeface="+mj-lt"/>
              </a:defRPr>
            </a:lvl1pPr>
          </a:lstStyle>
          <a:p>
            <a:r>
              <a:rPr lang="fr-FR" noProof="0"/>
              <a:t>Titre de votre présentation</a:t>
            </a:r>
          </a:p>
        </p:txBody>
      </p:sp>
      <p:sp>
        <p:nvSpPr>
          <p:cNvPr id="15" name="Textplatzhalter 25"/>
          <p:cNvSpPr>
            <a:spLocks noGrp="1"/>
          </p:cNvSpPr>
          <p:nvPr>
            <p:ph type="body" sz="quarter" idx="15" hasCustomPrompt="1"/>
          </p:nvPr>
        </p:nvSpPr>
        <p:spPr bwMode="gray">
          <a:xfrm>
            <a:off x="4323497" y="4425489"/>
            <a:ext cx="7266720" cy="4824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2000" i="0">
                <a:solidFill>
                  <a:schemeClr val="bg1"/>
                </a:solidFill>
                <a:latin typeface="+mj-lt"/>
              </a:defRPr>
            </a:lvl1pPr>
          </a:lstStyle>
          <a:p>
            <a:pPr lvl="0"/>
            <a:r>
              <a:rPr lang="fr-FR" noProof="0"/>
              <a:t>Sous-titre de votre présentation</a:t>
            </a:r>
          </a:p>
        </p:txBody>
      </p:sp>
      <p:sp>
        <p:nvSpPr>
          <p:cNvPr id="16" name="Textplatzhalter 25"/>
          <p:cNvSpPr>
            <a:spLocks noGrp="1"/>
          </p:cNvSpPr>
          <p:nvPr>
            <p:ph type="body" sz="quarter" idx="17" hasCustomPrompt="1"/>
          </p:nvPr>
        </p:nvSpPr>
        <p:spPr bwMode="gray">
          <a:xfrm>
            <a:off x="4323497" y="5034155"/>
            <a:ext cx="7266720" cy="3600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i="0">
                <a:solidFill>
                  <a:schemeClr val="bg1"/>
                </a:solidFill>
                <a:latin typeface="+mj-lt"/>
              </a:defRPr>
            </a:lvl1pPr>
          </a:lstStyle>
          <a:p>
            <a:pPr lvl="0"/>
            <a:r>
              <a:rPr lang="fr-FR" noProof="0"/>
              <a:t>Date | Auteur | Diffusion</a:t>
            </a:r>
          </a:p>
        </p:txBody>
      </p:sp>
      <p:pic>
        <p:nvPicPr>
          <p:cNvPr id="8" name="Picture 7"/>
          <p:cNvPicPr>
            <a:picLocks/>
          </p:cNvPicPr>
          <p:nvPr/>
        </p:nvPicPr>
        <p:blipFill>
          <a:blip r:embed="rId3"/>
          <a:stretch>
            <a:fillRect/>
          </a:stretch>
        </p:blipFill>
        <p:spPr>
          <a:xfrm>
            <a:off x="8152615" y="1152000"/>
            <a:ext cx="3478154" cy="381600"/>
          </a:xfrm>
          <a:prstGeom prst="rect">
            <a:avLst/>
          </a:prstGeom>
        </p:spPr>
      </p:pic>
    </p:spTree>
    <p:extLst>
      <p:ext uri="{BB962C8B-B14F-4D97-AF65-F5344CB8AC3E}">
        <p14:creationId xmlns:p14="http://schemas.microsoft.com/office/powerpoint/2010/main" val="30458947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25354" y="404665"/>
            <a:ext cx="11342769" cy="863748"/>
          </a:xfrm>
        </p:spPr>
        <p:txBody>
          <a:bodyPr lIns="108000" tIns="0" rIns="108000" bIns="0"/>
          <a:lstStyle>
            <a:lvl1pPr>
              <a:defRPr sz="2200" baseline="0">
                <a:solidFill>
                  <a:schemeClr val="bg2"/>
                </a:solidFill>
              </a:defRPr>
            </a:lvl1pPr>
          </a:lstStyle>
          <a:p>
            <a:r>
              <a:rPr lang="fr-FR" noProof="0"/>
              <a:t>Complete </a:t>
            </a:r>
            <a:r>
              <a:rPr lang="fr-FR" noProof="0" err="1"/>
              <a:t>with</a:t>
            </a:r>
            <a:r>
              <a:rPr lang="fr-FR" noProof="0"/>
              <a:t> a </a:t>
            </a:r>
            <a:r>
              <a:rPr lang="fr-FR" noProof="0" err="1"/>
              <a:t>title</a:t>
            </a:r>
            <a:r>
              <a:rPr lang="fr-FR" noProof="0"/>
              <a:t> </a:t>
            </a:r>
            <a:r>
              <a:rPr lang="fr-FR" noProof="0" err="1"/>
              <a:t>here</a:t>
            </a:r>
            <a:r>
              <a:rPr lang="fr-FR" noProof="0"/>
              <a:t> </a:t>
            </a:r>
            <a:r>
              <a:rPr lang="fr-FR" noProof="0" err="1"/>
              <a:t>that</a:t>
            </a:r>
            <a:r>
              <a:rPr lang="fr-FR" noProof="0"/>
              <a:t> carries </a:t>
            </a:r>
            <a:r>
              <a:rPr lang="fr-FR" noProof="0" err="1"/>
              <a:t>your</a:t>
            </a:r>
            <a:r>
              <a:rPr lang="fr-FR" noProof="0"/>
              <a:t> message on </a:t>
            </a:r>
            <a:r>
              <a:rPr lang="fr-FR" noProof="0" err="1"/>
              <a:t>two</a:t>
            </a:r>
            <a:r>
              <a:rPr lang="fr-FR" noProof="0"/>
              <a:t> </a:t>
            </a:r>
            <a:r>
              <a:rPr lang="fr-FR" noProof="0" err="1"/>
              <a:t>lines</a:t>
            </a:r>
            <a:r>
              <a:rPr lang="fr-FR" noProof="0"/>
              <a:t> at </a:t>
            </a:r>
            <a:r>
              <a:rPr lang="fr-FR" noProof="0" err="1"/>
              <a:t>most</a:t>
            </a:r>
            <a:r>
              <a:rPr lang="fr-FR" noProof="0"/>
              <a:t> for more </a:t>
            </a:r>
            <a:r>
              <a:rPr lang="fr-FR" noProof="0" err="1"/>
              <a:t>readability</a:t>
            </a:r>
            <a:endParaRPr lang="fr-FR" noProof="0"/>
          </a:p>
        </p:txBody>
      </p:sp>
      <p:sp>
        <p:nvSpPr>
          <p:cNvPr id="5"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fr-FR" noProof="0"/>
              <a:t>Insert a top </a:t>
            </a:r>
            <a:r>
              <a:rPr lang="fr-FR" noProof="0" err="1"/>
              <a:t>title</a:t>
            </a:r>
            <a:r>
              <a:rPr lang="fr-FR" noProof="0"/>
              <a:t> </a:t>
            </a:r>
            <a:r>
              <a:rPr lang="fr-FR" noProof="0" err="1"/>
              <a:t>here</a:t>
            </a:r>
            <a:r>
              <a:rPr lang="fr-FR" noProof="0"/>
              <a:t> - must not </a:t>
            </a:r>
            <a:r>
              <a:rPr lang="fr-FR" noProof="0" err="1"/>
              <a:t>exceed</a:t>
            </a:r>
            <a:r>
              <a:rPr lang="fr-FR" noProof="0"/>
              <a:t> 1 line</a:t>
            </a:r>
          </a:p>
        </p:txBody>
      </p:sp>
    </p:spTree>
    <p:extLst>
      <p:ext uri="{BB962C8B-B14F-4D97-AF65-F5344CB8AC3E}">
        <p14:creationId xmlns:p14="http://schemas.microsoft.com/office/powerpoint/2010/main" val="12935156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enera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5354" y="404665"/>
            <a:ext cx="11342769" cy="863748"/>
          </a:xfrm>
        </p:spPr>
        <p:txBody>
          <a:bodyPr lIns="108000" tIns="0" rIns="108000" bIns="0"/>
          <a:lstStyle>
            <a:lvl1pPr>
              <a:defRPr sz="2200" baseline="0">
                <a:solidFill>
                  <a:schemeClr val="bg2"/>
                </a:solidFill>
              </a:defRPr>
            </a:lvl1pPr>
          </a:lstStyle>
          <a:p>
            <a:r>
              <a:rPr lang="fr-FR"/>
              <a:t>Complete </a:t>
            </a:r>
            <a:r>
              <a:rPr lang="fr-FR" err="1"/>
              <a:t>with</a:t>
            </a:r>
            <a:r>
              <a:rPr lang="fr-FR"/>
              <a:t> a </a:t>
            </a:r>
            <a:r>
              <a:rPr lang="fr-FR" err="1"/>
              <a:t>title</a:t>
            </a:r>
            <a:r>
              <a:rPr lang="fr-FR"/>
              <a:t> </a:t>
            </a:r>
            <a:r>
              <a:rPr lang="fr-FR" err="1"/>
              <a:t>here</a:t>
            </a:r>
            <a:r>
              <a:rPr lang="fr-FR"/>
              <a:t> </a:t>
            </a:r>
            <a:r>
              <a:rPr lang="fr-FR" err="1"/>
              <a:t>that</a:t>
            </a:r>
            <a:r>
              <a:rPr lang="fr-FR"/>
              <a:t> carries </a:t>
            </a:r>
            <a:r>
              <a:rPr lang="fr-FR" err="1"/>
              <a:t>your</a:t>
            </a:r>
            <a:r>
              <a:rPr lang="fr-FR"/>
              <a:t> message on </a:t>
            </a:r>
            <a:r>
              <a:rPr lang="fr-FR" err="1"/>
              <a:t>two</a:t>
            </a:r>
            <a:r>
              <a:rPr lang="fr-FR"/>
              <a:t> </a:t>
            </a:r>
            <a:r>
              <a:rPr lang="fr-FR" err="1"/>
              <a:t>lines</a:t>
            </a:r>
            <a:r>
              <a:rPr lang="fr-FR"/>
              <a:t> at </a:t>
            </a:r>
            <a:r>
              <a:rPr lang="fr-FR" err="1"/>
              <a:t>most</a:t>
            </a:r>
            <a:r>
              <a:rPr lang="fr-FR"/>
              <a:t> for more </a:t>
            </a:r>
            <a:r>
              <a:rPr lang="fr-FR" noProof="0" err="1"/>
              <a:t>readability</a:t>
            </a:r>
            <a:endParaRPr lang="fr-FR" noProof="0"/>
          </a:p>
        </p:txBody>
      </p:sp>
      <p:sp>
        <p:nvSpPr>
          <p:cNvPr id="9"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fr-FR" noProof="0"/>
              <a:t>Insert a top </a:t>
            </a:r>
            <a:r>
              <a:rPr lang="fr-FR" noProof="0" err="1"/>
              <a:t>title</a:t>
            </a:r>
            <a:r>
              <a:rPr lang="fr-FR" noProof="0"/>
              <a:t> </a:t>
            </a:r>
            <a:r>
              <a:rPr lang="fr-FR" noProof="0" err="1"/>
              <a:t>here</a:t>
            </a:r>
            <a:r>
              <a:rPr lang="fr-FR" noProof="0"/>
              <a:t> - must not </a:t>
            </a:r>
            <a:r>
              <a:rPr lang="fr-FR" noProof="0" err="1"/>
              <a:t>exceed</a:t>
            </a:r>
            <a:r>
              <a:rPr lang="fr-FR" noProof="0"/>
              <a:t> 1 line</a:t>
            </a:r>
          </a:p>
        </p:txBody>
      </p:sp>
      <p:sp>
        <p:nvSpPr>
          <p:cNvPr id="4" name="Espace réservé du contenu 3"/>
          <p:cNvSpPr>
            <a:spLocks noGrp="1"/>
          </p:cNvSpPr>
          <p:nvPr>
            <p:ph sz="quarter" idx="14" hasCustomPrompt="1"/>
          </p:nvPr>
        </p:nvSpPr>
        <p:spPr>
          <a:xfrm>
            <a:off x="425354" y="1268414"/>
            <a:ext cx="11342769" cy="4968875"/>
          </a:xfrm>
          <a:prstGeom prst="rect">
            <a:avLst/>
          </a:prstGeom>
        </p:spPr>
        <p:txBody>
          <a:bodyPr lIns="108000" tIns="108000" rIns="108000" bIns="108000"/>
          <a:lstStyle>
            <a:lvl2pPr>
              <a:defRPr>
                <a:solidFill>
                  <a:schemeClr val="tx1"/>
                </a:solidFill>
              </a:defRPr>
            </a:lvl2pPr>
            <a:lvl3pPr>
              <a:defRPr baseline="0">
                <a:solidFill>
                  <a:schemeClr val="tx1"/>
                </a:solidFill>
              </a:defRPr>
            </a:lvl3pPr>
            <a:lvl4pPr>
              <a:defRPr>
                <a:solidFill>
                  <a:schemeClr val="tx1"/>
                </a:solidFill>
              </a:defRPr>
            </a:lvl4pPr>
            <a:lvl5pPr>
              <a:defRPr>
                <a:solidFill>
                  <a:schemeClr val="tx1"/>
                </a:solidFill>
              </a:defRPr>
            </a:lvl5pPr>
            <a:lvl6pPr algn="just">
              <a:defRPr>
                <a:solidFill>
                  <a:schemeClr val="tx1"/>
                </a:solidFill>
              </a:defRPr>
            </a:lvl6pPr>
            <a:lvl7pPr algn="just">
              <a:defRPr>
                <a:solidFill>
                  <a:schemeClr val="tx1"/>
                </a:solidFill>
              </a:defRPr>
            </a:lvl7pPr>
            <a:lvl8pPr algn="just">
              <a:defRPr>
                <a:solidFill>
                  <a:schemeClr val="tx1"/>
                </a:solidFill>
              </a:defRPr>
            </a:lvl8pPr>
            <a:lvl9pPr algn="just">
              <a:defRPr>
                <a:solidFill>
                  <a:schemeClr val="tx1"/>
                </a:solidFill>
              </a:defRPr>
            </a:lvl9pPr>
          </a:lstStyle>
          <a:p>
            <a:pPr lvl="0"/>
            <a:r>
              <a:rPr lang="fr-FR" err="1"/>
              <a:t>Level</a:t>
            </a:r>
            <a:r>
              <a:rPr lang="fr-FR"/>
              <a:t> 1 - </a:t>
            </a:r>
            <a:r>
              <a:rPr lang="fr-FR">
                <a:solidFill>
                  <a:srgbClr val="503078"/>
                </a:solidFill>
              </a:rPr>
              <a:t>To move to the </a:t>
            </a:r>
            <a:r>
              <a:rPr lang="fr-FR" err="1">
                <a:solidFill>
                  <a:srgbClr val="503078"/>
                </a:solidFill>
              </a:rPr>
              <a:t>next</a:t>
            </a:r>
            <a:r>
              <a:rPr lang="fr-FR">
                <a:solidFill>
                  <a:srgbClr val="503078"/>
                </a:solidFill>
              </a:rPr>
              <a:t> </a:t>
            </a:r>
            <a:r>
              <a:rPr lang="fr-FR" err="1">
                <a:solidFill>
                  <a:srgbClr val="503078"/>
                </a:solidFill>
              </a:rPr>
              <a:t>level</a:t>
            </a:r>
            <a:r>
              <a:rPr lang="fr-FR">
                <a:solidFill>
                  <a:srgbClr val="503078"/>
                </a:solidFill>
              </a:rPr>
              <a:t>, Alt + Shift + right </a:t>
            </a:r>
            <a:r>
              <a:rPr lang="fr-FR" err="1">
                <a:solidFill>
                  <a:srgbClr val="503078"/>
                </a:solidFill>
              </a:rPr>
              <a:t>arrow</a:t>
            </a:r>
            <a:endParaRPr lang="fr-FR"/>
          </a:p>
          <a:p>
            <a:pPr lvl="1"/>
            <a:r>
              <a:rPr lang="fr-FR" err="1"/>
              <a:t>Level</a:t>
            </a:r>
            <a:r>
              <a:rPr lang="fr-FR"/>
              <a:t> 2</a:t>
            </a:r>
          </a:p>
          <a:p>
            <a:pPr lvl="2"/>
            <a:r>
              <a:rPr lang="fr-FR" err="1"/>
              <a:t>Level</a:t>
            </a:r>
            <a:r>
              <a:rPr lang="fr-FR"/>
              <a:t> 3</a:t>
            </a:r>
          </a:p>
          <a:p>
            <a:pPr lvl="3"/>
            <a:r>
              <a:rPr lang="fr-FR" err="1"/>
              <a:t>Level</a:t>
            </a:r>
            <a:r>
              <a:rPr lang="fr-FR"/>
              <a:t> 4</a:t>
            </a:r>
          </a:p>
          <a:p>
            <a:pPr lvl="4"/>
            <a:r>
              <a:rPr lang="fr-FR" err="1"/>
              <a:t>Level</a:t>
            </a:r>
            <a:r>
              <a:rPr lang="fr-FR"/>
              <a:t> 5</a:t>
            </a:r>
          </a:p>
          <a:p>
            <a:pPr lvl="5"/>
            <a:r>
              <a:rPr lang="fr-FR" err="1"/>
              <a:t>Level</a:t>
            </a:r>
            <a:r>
              <a:rPr lang="fr-FR"/>
              <a:t> 6</a:t>
            </a:r>
          </a:p>
          <a:p>
            <a:pPr lvl="6"/>
            <a:r>
              <a:rPr lang="fr-FR" err="1"/>
              <a:t>Level</a:t>
            </a:r>
            <a:r>
              <a:rPr lang="fr-FR"/>
              <a:t> 7</a:t>
            </a:r>
          </a:p>
          <a:p>
            <a:pPr lvl="7"/>
            <a:r>
              <a:rPr lang="fr-FR" noProof="0" err="1"/>
              <a:t>Level</a:t>
            </a:r>
            <a:r>
              <a:rPr lang="fr-FR" noProof="0"/>
              <a:t> </a:t>
            </a:r>
            <a:r>
              <a:rPr lang="fr-FR"/>
              <a:t>8</a:t>
            </a:r>
          </a:p>
          <a:p>
            <a:pPr lvl="8"/>
            <a:r>
              <a:rPr lang="fr-FR" err="1"/>
              <a:t>Level</a:t>
            </a:r>
            <a:r>
              <a:rPr lang="fr-FR"/>
              <a:t> 9</a:t>
            </a:r>
          </a:p>
        </p:txBody>
      </p:sp>
    </p:spTree>
    <p:extLst>
      <p:ext uri="{BB962C8B-B14F-4D97-AF65-F5344CB8AC3E}">
        <p14:creationId xmlns:p14="http://schemas.microsoft.com/office/powerpoint/2010/main" val="9131662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Flat Text left + Text right">
    <p:spTree>
      <p:nvGrpSpPr>
        <p:cNvPr id="1" name=""/>
        <p:cNvGrpSpPr/>
        <p:nvPr/>
      </p:nvGrpSpPr>
      <p:grpSpPr>
        <a:xfrm>
          <a:off x="0" y="0"/>
          <a:ext cx="0" cy="0"/>
          <a:chOff x="0" y="0"/>
          <a:chExt cx="0" cy="0"/>
        </a:xfrm>
      </p:grpSpPr>
      <p:sp>
        <p:nvSpPr>
          <p:cNvPr id="6" name="Content Placeholder 4"/>
          <p:cNvSpPr>
            <a:spLocks noGrp="1"/>
          </p:cNvSpPr>
          <p:nvPr>
            <p:ph sz="quarter" idx="14" hasCustomPrompt="1"/>
          </p:nvPr>
        </p:nvSpPr>
        <p:spPr>
          <a:xfrm>
            <a:off x="425355" y="1268413"/>
            <a:ext cx="5502209" cy="4968000"/>
          </a:xfrm>
          <a:prstGeom prst="rect">
            <a:avLst/>
          </a:prstGeom>
          <a:solidFill>
            <a:srgbClr val="F4F3F0"/>
          </a:solidFill>
        </p:spPr>
        <p:txBody>
          <a:bodyPr lIns="108000" tIns="108000" rIns="108000" bIns="108000"/>
          <a:lstStyle>
            <a:lvl1pPr marL="0" marR="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solidFill>
                  <a:schemeClr val="bg2"/>
                </a:solidFill>
              </a:defRPr>
            </a:lvl1pPr>
            <a:lvl2pPr marL="358775" marR="0"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solidFill>
                  <a:schemeClr val="tx1"/>
                </a:solidFill>
              </a:defRPr>
            </a:lvl2pPr>
            <a:lvl3pPr marL="360000" marR="0" indent="0" algn="just" defTabSz="914400" rtl="0" eaLnBrk="1" fontAlgn="auto" latinLnBrk="0" hangingPunct="1">
              <a:lnSpc>
                <a:spcPct val="100000"/>
              </a:lnSpc>
              <a:spcBef>
                <a:spcPts val="600"/>
              </a:spcBef>
              <a:spcAft>
                <a:spcPts val="0"/>
              </a:spcAft>
              <a:buClrTx/>
              <a:buSzTx/>
              <a:buFontTx/>
              <a:buNone/>
              <a:tabLst/>
              <a:defRPr>
                <a:solidFill>
                  <a:schemeClr val="tx1"/>
                </a:solidFill>
              </a:defRPr>
            </a:lvl3pPr>
            <a:lvl4pPr marL="648000" marR="0"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solidFill>
                  <a:schemeClr val="tx1"/>
                </a:solidFill>
              </a:defRPr>
            </a:lvl4pPr>
            <a:lvl5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5pPr>
            <a:lvl6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6pPr>
            <a:lvl7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7pPr>
            <a:lvl8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8pPr>
            <a:lvl9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fr-FR" sz="1600" b="0" i="0" u="none" strike="noStrike" kern="1200" cap="none" spc="0" normalizeH="0" baseline="0" noProof="0" err="1">
                <a:ln>
                  <a:noFill/>
                </a:ln>
                <a:solidFill>
                  <a:srgbClr val="503078"/>
                </a:solidFill>
                <a:effectLst/>
                <a:uLnTx/>
                <a:uFillTx/>
                <a:latin typeface="+mn-lt"/>
                <a:ea typeface="+mn-ea"/>
                <a:cs typeface="+mn-cs"/>
              </a:rPr>
              <a:t>Level</a:t>
            </a:r>
            <a:r>
              <a:rPr kumimoji="0" lang="fr-FR" sz="1600" b="0" i="0" u="none" strike="noStrike" kern="1200" cap="none" spc="0" normalizeH="0" baseline="0" noProof="0">
                <a:ln>
                  <a:noFill/>
                </a:ln>
                <a:solidFill>
                  <a:srgbClr val="503078"/>
                </a:solidFill>
                <a:effectLst/>
                <a:uLnTx/>
                <a:uFillTx/>
                <a:latin typeface="+mn-lt"/>
                <a:ea typeface="+mn-ea"/>
                <a:cs typeface="+mn-cs"/>
              </a:rPr>
              <a:t> 1 - To move to the </a:t>
            </a:r>
            <a:r>
              <a:rPr kumimoji="0" lang="fr-FR" sz="1600" b="0" i="0" u="none" strike="noStrike" kern="1200" cap="none" spc="0" normalizeH="0" baseline="0" noProof="0" err="1">
                <a:ln>
                  <a:noFill/>
                </a:ln>
                <a:solidFill>
                  <a:srgbClr val="503078"/>
                </a:solidFill>
                <a:effectLst/>
                <a:uLnTx/>
                <a:uFillTx/>
                <a:latin typeface="+mn-lt"/>
                <a:ea typeface="+mn-ea"/>
                <a:cs typeface="+mn-cs"/>
              </a:rPr>
              <a:t>next</a:t>
            </a:r>
            <a:r>
              <a:rPr kumimoji="0" lang="fr-FR" sz="1600" b="0" i="0" u="none" strike="noStrike" kern="1200" cap="none" spc="0" normalizeH="0" baseline="0" noProof="0">
                <a:ln>
                  <a:noFill/>
                </a:ln>
                <a:solidFill>
                  <a:srgbClr val="503078"/>
                </a:solidFill>
                <a:effectLst/>
                <a:uLnTx/>
                <a:uFillTx/>
                <a:latin typeface="+mn-lt"/>
                <a:ea typeface="+mn-ea"/>
                <a:cs typeface="+mn-cs"/>
              </a:rPr>
              <a:t> </a:t>
            </a:r>
            <a:r>
              <a:rPr kumimoji="0" lang="fr-FR" sz="1600" b="0" i="0" u="none" strike="noStrike" kern="1200" cap="none" spc="0" normalizeH="0" baseline="0" noProof="0" err="1">
                <a:ln>
                  <a:noFill/>
                </a:ln>
                <a:solidFill>
                  <a:srgbClr val="503078"/>
                </a:solidFill>
                <a:effectLst/>
                <a:uLnTx/>
                <a:uFillTx/>
                <a:latin typeface="+mn-lt"/>
                <a:ea typeface="+mn-ea"/>
                <a:cs typeface="+mn-cs"/>
              </a:rPr>
              <a:t>level</a:t>
            </a:r>
            <a:r>
              <a:rPr kumimoji="0" lang="fr-FR" sz="1600" b="0" i="0" u="none" strike="noStrike" kern="1200" cap="none" spc="0" normalizeH="0" baseline="0" noProof="0">
                <a:ln>
                  <a:noFill/>
                </a:ln>
                <a:solidFill>
                  <a:srgbClr val="503078"/>
                </a:solidFill>
                <a:effectLst/>
                <a:uLnTx/>
                <a:uFillTx/>
                <a:latin typeface="+mn-lt"/>
                <a:ea typeface="+mn-ea"/>
                <a:cs typeface="+mn-cs"/>
              </a:rPr>
              <a:t>, Alt + Shift + right </a:t>
            </a:r>
            <a:r>
              <a:rPr kumimoji="0" lang="fr-FR" sz="1600" b="0" i="0" u="none" strike="noStrike" kern="1200" cap="none" spc="0" normalizeH="0" baseline="0" noProof="0" err="1">
                <a:ln>
                  <a:noFill/>
                </a:ln>
                <a:solidFill>
                  <a:srgbClr val="503078"/>
                </a:solidFill>
                <a:effectLst/>
                <a:uLnTx/>
                <a:uFillTx/>
                <a:latin typeface="+mn-lt"/>
                <a:ea typeface="+mn-ea"/>
                <a:cs typeface="+mn-cs"/>
              </a:rPr>
              <a:t>arrow</a:t>
            </a:r>
            <a:endParaRPr kumimoji="0" lang="fr-FR" sz="1600" b="0" i="0" u="none" strike="noStrike" kern="1200" cap="none" spc="0" normalizeH="0" baseline="0" noProof="0">
              <a:ln>
                <a:noFill/>
              </a:ln>
              <a:solidFill>
                <a:srgbClr val="503078"/>
              </a:solidFill>
              <a:effectLst/>
              <a:uLnTx/>
              <a:uFillTx/>
              <a:latin typeface="+mn-lt"/>
              <a:ea typeface="+mn-ea"/>
              <a:cs typeface="+mn-cs"/>
            </a:endParaRPr>
          </a:p>
          <a:p>
            <a:pPr marL="358775" marR="0" lvl="1"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pPr>
            <a:r>
              <a:rPr kumimoji="0" lang="fr-FR" sz="1400" b="0" i="0" u="none" strike="noStrike" kern="1200" cap="none" spc="0" normalizeH="0" baseline="0" noProof="0" err="1">
                <a:ln>
                  <a:noFill/>
                </a:ln>
                <a:solidFill>
                  <a:srgbClr val="5F5F5F"/>
                </a:solidFill>
                <a:effectLst/>
                <a:uLnTx/>
                <a:uFillTx/>
                <a:latin typeface="+mn-lt"/>
                <a:ea typeface="+mn-ea"/>
                <a:cs typeface="+mn-cs"/>
              </a:rPr>
              <a:t>Level</a:t>
            </a:r>
            <a:r>
              <a:rPr kumimoji="0" lang="fr-FR" sz="1400" b="0" i="0" u="none" strike="noStrike" kern="1200" cap="none" spc="0" normalizeH="0" baseline="0" noProof="0">
                <a:ln>
                  <a:noFill/>
                </a:ln>
                <a:solidFill>
                  <a:srgbClr val="5F5F5F"/>
                </a:solidFill>
                <a:effectLst/>
                <a:uLnTx/>
                <a:uFillTx/>
                <a:latin typeface="+mn-lt"/>
                <a:ea typeface="+mn-ea"/>
                <a:cs typeface="+mn-cs"/>
              </a:rPr>
              <a:t> 2</a:t>
            </a:r>
          </a:p>
          <a:p>
            <a:pPr marL="360000" marR="0" lvl="2" indent="0" algn="just" defTabSz="914400" rtl="0" eaLnBrk="1" fontAlgn="auto" latinLnBrk="0" hangingPunct="1">
              <a:lnSpc>
                <a:spcPct val="100000"/>
              </a:lnSpc>
              <a:spcBef>
                <a:spcPts val="600"/>
              </a:spcBef>
              <a:spcAft>
                <a:spcPts val="0"/>
              </a:spcAft>
              <a:buClrTx/>
              <a:buSzTx/>
              <a:buFontTx/>
              <a:buNone/>
              <a:tabLst/>
              <a:defRPr/>
            </a:pPr>
            <a:r>
              <a:rPr kumimoji="0" lang="fr-FR" sz="1400" b="0" i="0" u="none" strike="noStrike" kern="1200" cap="none" spc="0" normalizeH="0" baseline="0" noProof="0" err="1">
                <a:ln>
                  <a:noFill/>
                </a:ln>
                <a:solidFill>
                  <a:srgbClr val="5F5F5F"/>
                </a:solidFill>
                <a:effectLst/>
                <a:uLnTx/>
                <a:uFillTx/>
                <a:latin typeface="+mn-lt"/>
                <a:ea typeface="+mn-ea"/>
                <a:cs typeface="+mn-cs"/>
              </a:rPr>
              <a:t>Level</a:t>
            </a:r>
            <a:r>
              <a:rPr kumimoji="0" lang="fr-FR" sz="1400" b="0" i="0" u="none" strike="noStrike" kern="1200" cap="none" spc="0" normalizeH="0" baseline="0" noProof="0">
                <a:ln>
                  <a:noFill/>
                </a:ln>
                <a:solidFill>
                  <a:srgbClr val="5F5F5F"/>
                </a:solidFill>
                <a:effectLst/>
                <a:uLnTx/>
                <a:uFillTx/>
                <a:latin typeface="+mn-lt"/>
                <a:ea typeface="+mn-ea"/>
                <a:cs typeface="+mn-cs"/>
              </a:rPr>
              <a:t> 3</a:t>
            </a:r>
          </a:p>
          <a:p>
            <a:pPr marL="648000" marR="0" lvl="3"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pPr>
            <a:r>
              <a:rPr kumimoji="0" lang="fr-FR" sz="1200" b="0" i="0" u="none" strike="noStrike" kern="1200" cap="none" spc="0" normalizeH="0" baseline="0" noProof="0" err="1">
                <a:ln>
                  <a:noFill/>
                </a:ln>
                <a:solidFill>
                  <a:srgbClr val="5F5F5F"/>
                </a:solidFill>
                <a:effectLst/>
                <a:uLnTx/>
                <a:uFillTx/>
                <a:latin typeface="+mn-lt"/>
                <a:ea typeface="+mn-ea"/>
                <a:cs typeface="+mn-cs"/>
              </a:rPr>
              <a:t>Level</a:t>
            </a:r>
            <a:r>
              <a:rPr kumimoji="0" lang="fr-FR" sz="1200" b="0" i="0" u="none" strike="noStrike" kern="1200" cap="none" spc="0" normalizeH="0" baseline="0" noProof="0">
                <a:ln>
                  <a:noFill/>
                </a:ln>
                <a:solidFill>
                  <a:srgbClr val="5F5F5F"/>
                </a:solidFill>
                <a:effectLst/>
                <a:uLnTx/>
                <a:uFillTx/>
                <a:latin typeface="+mn-lt"/>
                <a:ea typeface="+mn-ea"/>
                <a:cs typeface="+mn-cs"/>
              </a:rPr>
              <a:t> 4</a:t>
            </a:r>
          </a:p>
          <a:p>
            <a:pPr marL="900000" marR="0" lvl="4"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err="1">
                <a:ln>
                  <a:noFill/>
                </a:ln>
                <a:solidFill>
                  <a:srgbClr val="5F5F5F"/>
                </a:solidFill>
                <a:effectLst/>
                <a:uLnTx/>
                <a:uFillTx/>
                <a:latin typeface="+mn-lt"/>
                <a:ea typeface="+mn-ea"/>
                <a:cs typeface="+mn-cs"/>
              </a:rPr>
              <a:t>Level</a:t>
            </a:r>
            <a:r>
              <a:rPr kumimoji="0" lang="fr-FR" sz="1000" b="0" i="0" u="none" strike="noStrike" kern="1200" cap="none" spc="0" normalizeH="0" baseline="0" noProof="0">
                <a:ln>
                  <a:noFill/>
                </a:ln>
                <a:solidFill>
                  <a:srgbClr val="5F5F5F"/>
                </a:solidFill>
                <a:effectLst/>
                <a:uLnTx/>
                <a:uFillTx/>
                <a:latin typeface="+mn-lt"/>
                <a:ea typeface="+mn-ea"/>
                <a:cs typeface="+mn-cs"/>
              </a:rPr>
              <a:t> 5</a:t>
            </a:r>
          </a:p>
          <a:p>
            <a:pPr marL="900000" marR="0" lvl="5"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err="1">
                <a:ln>
                  <a:noFill/>
                </a:ln>
                <a:solidFill>
                  <a:srgbClr val="5F5F5F"/>
                </a:solidFill>
                <a:effectLst/>
                <a:uLnTx/>
                <a:uFillTx/>
                <a:latin typeface="+mn-lt"/>
                <a:ea typeface="+mn-ea"/>
                <a:cs typeface="+mn-cs"/>
              </a:rPr>
              <a:t>Level</a:t>
            </a:r>
            <a:r>
              <a:rPr kumimoji="0" lang="fr-FR" sz="1000" b="0" i="0" u="none" strike="noStrike" kern="1200" cap="none" spc="0" normalizeH="0" baseline="0" noProof="0">
                <a:ln>
                  <a:noFill/>
                </a:ln>
                <a:solidFill>
                  <a:srgbClr val="5F5F5F"/>
                </a:solidFill>
                <a:effectLst/>
                <a:uLnTx/>
                <a:uFillTx/>
                <a:latin typeface="+mn-lt"/>
                <a:ea typeface="+mn-ea"/>
                <a:cs typeface="+mn-cs"/>
              </a:rPr>
              <a:t> 6</a:t>
            </a:r>
          </a:p>
          <a:p>
            <a:pPr marL="900000" marR="0" lvl="6"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err="1">
                <a:ln>
                  <a:noFill/>
                </a:ln>
                <a:solidFill>
                  <a:srgbClr val="5F5F5F"/>
                </a:solidFill>
                <a:effectLst/>
                <a:uLnTx/>
                <a:uFillTx/>
                <a:latin typeface="+mn-lt"/>
                <a:ea typeface="+mn-ea"/>
                <a:cs typeface="+mn-cs"/>
              </a:rPr>
              <a:t>Level</a:t>
            </a:r>
            <a:r>
              <a:rPr kumimoji="0" lang="fr-FR" sz="1000" b="0" i="0" u="none" strike="noStrike" kern="1200" cap="none" spc="0" normalizeH="0" baseline="0" noProof="0">
                <a:ln>
                  <a:noFill/>
                </a:ln>
                <a:solidFill>
                  <a:srgbClr val="5F5F5F"/>
                </a:solidFill>
                <a:effectLst/>
                <a:uLnTx/>
                <a:uFillTx/>
                <a:latin typeface="+mn-lt"/>
                <a:ea typeface="+mn-ea"/>
                <a:cs typeface="+mn-cs"/>
              </a:rPr>
              <a:t> 7</a:t>
            </a:r>
          </a:p>
          <a:p>
            <a:pPr marL="900000" marR="0" lvl="7"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err="1">
                <a:ln>
                  <a:noFill/>
                </a:ln>
                <a:solidFill>
                  <a:srgbClr val="5F5F5F"/>
                </a:solidFill>
                <a:effectLst/>
                <a:uLnTx/>
                <a:uFillTx/>
                <a:latin typeface="+mn-lt"/>
                <a:ea typeface="+mn-ea"/>
                <a:cs typeface="+mn-cs"/>
              </a:rPr>
              <a:t>Level</a:t>
            </a:r>
            <a:r>
              <a:rPr kumimoji="0" lang="fr-FR" sz="1000" b="0" i="0" u="none" strike="noStrike" kern="1200" cap="none" spc="0" normalizeH="0" baseline="0" noProof="0">
                <a:ln>
                  <a:noFill/>
                </a:ln>
                <a:solidFill>
                  <a:srgbClr val="5F5F5F"/>
                </a:solidFill>
                <a:effectLst/>
                <a:uLnTx/>
                <a:uFillTx/>
                <a:latin typeface="+mn-lt"/>
                <a:ea typeface="+mn-ea"/>
                <a:cs typeface="+mn-cs"/>
              </a:rPr>
              <a:t> 8</a:t>
            </a:r>
          </a:p>
          <a:p>
            <a:pPr marL="900000" marR="0" lvl="8"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err="1">
                <a:ln>
                  <a:noFill/>
                </a:ln>
                <a:solidFill>
                  <a:srgbClr val="5F5F5F"/>
                </a:solidFill>
                <a:effectLst/>
                <a:uLnTx/>
                <a:uFillTx/>
                <a:latin typeface="+mn-lt"/>
                <a:ea typeface="+mn-ea"/>
                <a:cs typeface="+mn-cs"/>
              </a:rPr>
              <a:t>Level</a:t>
            </a:r>
            <a:r>
              <a:rPr kumimoji="0" lang="fr-FR" sz="1000" b="0" i="0" u="none" strike="noStrike" kern="1200" cap="none" spc="0" normalizeH="0" baseline="0" noProof="0">
                <a:ln>
                  <a:noFill/>
                </a:ln>
                <a:solidFill>
                  <a:srgbClr val="5F5F5F"/>
                </a:solidFill>
                <a:effectLst/>
                <a:uLnTx/>
                <a:uFillTx/>
                <a:latin typeface="+mn-lt"/>
                <a:ea typeface="+mn-ea"/>
                <a:cs typeface="+mn-cs"/>
              </a:rPr>
              <a:t> 9</a:t>
            </a:r>
          </a:p>
        </p:txBody>
      </p:sp>
      <p:sp>
        <p:nvSpPr>
          <p:cNvPr id="9" name="Content Placeholder 4"/>
          <p:cNvSpPr>
            <a:spLocks noGrp="1"/>
          </p:cNvSpPr>
          <p:nvPr>
            <p:ph sz="quarter" idx="15" hasCustomPrompt="1"/>
          </p:nvPr>
        </p:nvSpPr>
        <p:spPr>
          <a:xfrm>
            <a:off x="6265808" y="1268413"/>
            <a:ext cx="5502209" cy="4968000"/>
          </a:xfrm>
          <a:prstGeom prst="rect">
            <a:avLst/>
          </a:prstGeom>
        </p:spPr>
        <p:txBody>
          <a:bodyPr lIns="108000" tIns="108000" rIns="108000" bIns="108000"/>
          <a:lstStyle>
            <a:lvl1pPr marL="0" marR="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solidFill>
                  <a:schemeClr val="bg2"/>
                </a:solidFill>
              </a:defRPr>
            </a:lvl1pPr>
            <a:lvl2pPr marL="358775" marR="0"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solidFill>
                  <a:schemeClr val="tx1"/>
                </a:solidFill>
              </a:defRPr>
            </a:lvl2pPr>
            <a:lvl3pPr marL="360000" marR="0" indent="0" algn="just" defTabSz="914400" rtl="0" eaLnBrk="1" fontAlgn="auto" latinLnBrk="0" hangingPunct="1">
              <a:lnSpc>
                <a:spcPct val="100000"/>
              </a:lnSpc>
              <a:spcBef>
                <a:spcPts val="600"/>
              </a:spcBef>
              <a:spcAft>
                <a:spcPts val="0"/>
              </a:spcAft>
              <a:buClrTx/>
              <a:buSzTx/>
              <a:buFontTx/>
              <a:buNone/>
              <a:tabLst/>
              <a:defRPr>
                <a:solidFill>
                  <a:schemeClr val="tx1"/>
                </a:solidFill>
              </a:defRPr>
            </a:lvl3pPr>
            <a:lvl4pPr marL="648000" marR="0"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solidFill>
                  <a:schemeClr val="tx1"/>
                </a:solidFill>
              </a:defRPr>
            </a:lvl4pPr>
            <a:lvl5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5pPr>
            <a:lvl6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6pPr>
            <a:lvl7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7pPr>
            <a:lvl8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8pPr>
            <a:lvl9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fr-FR" sz="1600" b="0" i="0" u="none" strike="noStrike" kern="1200" cap="none" spc="0" normalizeH="0" baseline="0" noProof="0" err="1">
                <a:ln>
                  <a:noFill/>
                </a:ln>
                <a:solidFill>
                  <a:srgbClr val="503078"/>
                </a:solidFill>
                <a:effectLst/>
                <a:uLnTx/>
                <a:uFillTx/>
                <a:latin typeface="+mn-lt"/>
                <a:ea typeface="+mn-ea"/>
                <a:cs typeface="+mn-cs"/>
              </a:rPr>
              <a:t>Level</a:t>
            </a:r>
            <a:r>
              <a:rPr kumimoji="0" lang="fr-FR" sz="1600" b="0" i="0" u="none" strike="noStrike" kern="1200" cap="none" spc="0" normalizeH="0" baseline="0" noProof="0">
                <a:ln>
                  <a:noFill/>
                </a:ln>
                <a:solidFill>
                  <a:srgbClr val="503078"/>
                </a:solidFill>
                <a:effectLst/>
                <a:uLnTx/>
                <a:uFillTx/>
                <a:latin typeface="+mn-lt"/>
                <a:ea typeface="+mn-ea"/>
                <a:cs typeface="+mn-cs"/>
              </a:rPr>
              <a:t> 1 - To move to the </a:t>
            </a:r>
            <a:r>
              <a:rPr kumimoji="0" lang="fr-FR" sz="1600" b="0" i="0" u="none" strike="noStrike" kern="1200" cap="none" spc="0" normalizeH="0" baseline="0" noProof="0" err="1">
                <a:ln>
                  <a:noFill/>
                </a:ln>
                <a:solidFill>
                  <a:srgbClr val="503078"/>
                </a:solidFill>
                <a:effectLst/>
                <a:uLnTx/>
                <a:uFillTx/>
                <a:latin typeface="+mn-lt"/>
                <a:ea typeface="+mn-ea"/>
                <a:cs typeface="+mn-cs"/>
              </a:rPr>
              <a:t>next</a:t>
            </a:r>
            <a:r>
              <a:rPr kumimoji="0" lang="fr-FR" sz="1600" b="0" i="0" u="none" strike="noStrike" kern="1200" cap="none" spc="0" normalizeH="0" baseline="0" noProof="0">
                <a:ln>
                  <a:noFill/>
                </a:ln>
                <a:solidFill>
                  <a:srgbClr val="503078"/>
                </a:solidFill>
                <a:effectLst/>
                <a:uLnTx/>
                <a:uFillTx/>
                <a:latin typeface="+mn-lt"/>
                <a:ea typeface="+mn-ea"/>
                <a:cs typeface="+mn-cs"/>
              </a:rPr>
              <a:t> </a:t>
            </a:r>
            <a:r>
              <a:rPr kumimoji="0" lang="fr-FR" sz="1600" b="0" i="0" u="none" strike="noStrike" kern="1200" cap="none" spc="0" normalizeH="0" baseline="0" noProof="0" err="1">
                <a:ln>
                  <a:noFill/>
                </a:ln>
                <a:solidFill>
                  <a:srgbClr val="503078"/>
                </a:solidFill>
                <a:effectLst/>
                <a:uLnTx/>
                <a:uFillTx/>
                <a:latin typeface="+mn-lt"/>
                <a:ea typeface="+mn-ea"/>
                <a:cs typeface="+mn-cs"/>
              </a:rPr>
              <a:t>level</a:t>
            </a:r>
            <a:r>
              <a:rPr kumimoji="0" lang="fr-FR" sz="1600" b="0" i="0" u="none" strike="noStrike" kern="1200" cap="none" spc="0" normalizeH="0" baseline="0" noProof="0">
                <a:ln>
                  <a:noFill/>
                </a:ln>
                <a:solidFill>
                  <a:srgbClr val="503078"/>
                </a:solidFill>
                <a:effectLst/>
                <a:uLnTx/>
                <a:uFillTx/>
                <a:latin typeface="+mn-lt"/>
                <a:ea typeface="+mn-ea"/>
                <a:cs typeface="+mn-cs"/>
              </a:rPr>
              <a:t>, Alt + Shift + right </a:t>
            </a:r>
            <a:r>
              <a:rPr kumimoji="0" lang="fr-FR" sz="1600" b="0" i="0" u="none" strike="noStrike" kern="1200" cap="none" spc="0" normalizeH="0" baseline="0" noProof="0" err="1">
                <a:ln>
                  <a:noFill/>
                </a:ln>
                <a:solidFill>
                  <a:srgbClr val="503078"/>
                </a:solidFill>
                <a:effectLst/>
                <a:uLnTx/>
                <a:uFillTx/>
                <a:latin typeface="+mn-lt"/>
                <a:ea typeface="+mn-ea"/>
                <a:cs typeface="+mn-cs"/>
              </a:rPr>
              <a:t>arrow</a:t>
            </a:r>
            <a:endParaRPr kumimoji="0" lang="fr-FR" sz="1600" b="0" i="0" u="none" strike="noStrike" kern="1200" cap="none" spc="0" normalizeH="0" baseline="0" noProof="0">
              <a:ln>
                <a:noFill/>
              </a:ln>
              <a:solidFill>
                <a:srgbClr val="503078"/>
              </a:solidFill>
              <a:effectLst/>
              <a:uLnTx/>
              <a:uFillTx/>
              <a:latin typeface="+mn-lt"/>
              <a:ea typeface="+mn-ea"/>
              <a:cs typeface="+mn-cs"/>
            </a:endParaRPr>
          </a:p>
          <a:p>
            <a:pPr marL="358775" marR="0" lvl="1"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pPr>
            <a:r>
              <a:rPr kumimoji="0" lang="fr-FR" sz="1400" b="0" i="0" u="none" strike="noStrike" kern="1200" cap="none" spc="0" normalizeH="0" baseline="0" noProof="0" err="1">
                <a:ln>
                  <a:noFill/>
                </a:ln>
                <a:solidFill>
                  <a:srgbClr val="5F5F5F"/>
                </a:solidFill>
                <a:effectLst/>
                <a:uLnTx/>
                <a:uFillTx/>
                <a:latin typeface="+mn-lt"/>
                <a:ea typeface="+mn-ea"/>
                <a:cs typeface="+mn-cs"/>
              </a:rPr>
              <a:t>Level</a:t>
            </a:r>
            <a:r>
              <a:rPr kumimoji="0" lang="fr-FR" sz="1400" b="0" i="0" u="none" strike="noStrike" kern="1200" cap="none" spc="0" normalizeH="0" baseline="0" noProof="0">
                <a:ln>
                  <a:noFill/>
                </a:ln>
                <a:solidFill>
                  <a:srgbClr val="5F5F5F"/>
                </a:solidFill>
                <a:effectLst/>
                <a:uLnTx/>
                <a:uFillTx/>
                <a:latin typeface="+mn-lt"/>
                <a:ea typeface="+mn-ea"/>
                <a:cs typeface="+mn-cs"/>
              </a:rPr>
              <a:t> 2</a:t>
            </a:r>
          </a:p>
          <a:p>
            <a:pPr marL="360000" marR="0" lvl="2" indent="0" algn="just" defTabSz="914400" rtl="0" eaLnBrk="1" fontAlgn="auto" latinLnBrk="0" hangingPunct="1">
              <a:lnSpc>
                <a:spcPct val="100000"/>
              </a:lnSpc>
              <a:spcBef>
                <a:spcPts val="600"/>
              </a:spcBef>
              <a:spcAft>
                <a:spcPts val="0"/>
              </a:spcAft>
              <a:buClrTx/>
              <a:buSzTx/>
              <a:buFontTx/>
              <a:buNone/>
              <a:tabLst/>
              <a:defRPr/>
            </a:pPr>
            <a:r>
              <a:rPr kumimoji="0" lang="fr-FR" sz="1400" b="0" i="0" u="none" strike="noStrike" kern="1200" cap="none" spc="0" normalizeH="0" baseline="0" noProof="0" err="1">
                <a:ln>
                  <a:noFill/>
                </a:ln>
                <a:solidFill>
                  <a:srgbClr val="5F5F5F"/>
                </a:solidFill>
                <a:effectLst/>
                <a:uLnTx/>
                <a:uFillTx/>
                <a:latin typeface="+mn-lt"/>
                <a:ea typeface="+mn-ea"/>
                <a:cs typeface="+mn-cs"/>
              </a:rPr>
              <a:t>Level</a:t>
            </a:r>
            <a:r>
              <a:rPr kumimoji="0" lang="fr-FR" sz="1400" b="0" i="0" u="none" strike="noStrike" kern="1200" cap="none" spc="0" normalizeH="0" baseline="0" noProof="0">
                <a:ln>
                  <a:noFill/>
                </a:ln>
                <a:solidFill>
                  <a:srgbClr val="5F5F5F"/>
                </a:solidFill>
                <a:effectLst/>
                <a:uLnTx/>
                <a:uFillTx/>
                <a:latin typeface="+mn-lt"/>
                <a:ea typeface="+mn-ea"/>
                <a:cs typeface="+mn-cs"/>
              </a:rPr>
              <a:t> 3</a:t>
            </a:r>
          </a:p>
          <a:p>
            <a:pPr marL="648000" marR="0" lvl="3"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pPr>
            <a:r>
              <a:rPr kumimoji="0" lang="fr-FR" sz="1200" b="0" i="0" u="none" strike="noStrike" kern="1200" cap="none" spc="0" normalizeH="0" baseline="0" noProof="0" err="1">
                <a:ln>
                  <a:noFill/>
                </a:ln>
                <a:solidFill>
                  <a:srgbClr val="5F5F5F"/>
                </a:solidFill>
                <a:effectLst/>
                <a:uLnTx/>
                <a:uFillTx/>
                <a:latin typeface="+mn-lt"/>
                <a:ea typeface="+mn-ea"/>
                <a:cs typeface="+mn-cs"/>
              </a:rPr>
              <a:t>Level</a:t>
            </a:r>
            <a:r>
              <a:rPr kumimoji="0" lang="fr-FR" sz="1200" b="0" i="0" u="none" strike="noStrike" kern="1200" cap="none" spc="0" normalizeH="0" baseline="0" noProof="0">
                <a:ln>
                  <a:noFill/>
                </a:ln>
                <a:solidFill>
                  <a:srgbClr val="5F5F5F"/>
                </a:solidFill>
                <a:effectLst/>
                <a:uLnTx/>
                <a:uFillTx/>
                <a:latin typeface="+mn-lt"/>
                <a:ea typeface="+mn-ea"/>
                <a:cs typeface="+mn-cs"/>
              </a:rPr>
              <a:t> 4</a:t>
            </a:r>
          </a:p>
          <a:p>
            <a:pPr marL="900000" marR="0" lvl="4"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err="1">
                <a:ln>
                  <a:noFill/>
                </a:ln>
                <a:solidFill>
                  <a:srgbClr val="5F5F5F"/>
                </a:solidFill>
                <a:effectLst/>
                <a:uLnTx/>
                <a:uFillTx/>
                <a:latin typeface="+mn-lt"/>
                <a:ea typeface="+mn-ea"/>
                <a:cs typeface="+mn-cs"/>
              </a:rPr>
              <a:t>Level</a:t>
            </a:r>
            <a:r>
              <a:rPr kumimoji="0" lang="fr-FR" sz="1000" b="0" i="0" u="none" strike="noStrike" kern="1200" cap="none" spc="0" normalizeH="0" baseline="0" noProof="0">
                <a:ln>
                  <a:noFill/>
                </a:ln>
                <a:solidFill>
                  <a:srgbClr val="5F5F5F"/>
                </a:solidFill>
                <a:effectLst/>
                <a:uLnTx/>
                <a:uFillTx/>
                <a:latin typeface="+mn-lt"/>
                <a:ea typeface="+mn-ea"/>
                <a:cs typeface="+mn-cs"/>
              </a:rPr>
              <a:t> 5</a:t>
            </a:r>
          </a:p>
          <a:p>
            <a:pPr marL="900000" marR="0" lvl="5"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err="1">
                <a:ln>
                  <a:noFill/>
                </a:ln>
                <a:solidFill>
                  <a:srgbClr val="5F5F5F"/>
                </a:solidFill>
                <a:effectLst/>
                <a:uLnTx/>
                <a:uFillTx/>
                <a:latin typeface="+mn-lt"/>
                <a:ea typeface="+mn-ea"/>
                <a:cs typeface="+mn-cs"/>
              </a:rPr>
              <a:t>Level</a:t>
            </a:r>
            <a:r>
              <a:rPr kumimoji="0" lang="fr-FR" sz="1000" b="0" i="0" u="none" strike="noStrike" kern="1200" cap="none" spc="0" normalizeH="0" baseline="0" noProof="0">
                <a:ln>
                  <a:noFill/>
                </a:ln>
                <a:solidFill>
                  <a:srgbClr val="5F5F5F"/>
                </a:solidFill>
                <a:effectLst/>
                <a:uLnTx/>
                <a:uFillTx/>
                <a:latin typeface="+mn-lt"/>
                <a:ea typeface="+mn-ea"/>
                <a:cs typeface="+mn-cs"/>
              </a:rPr>
              <a:t> 6</a:t>
            </a:r>
          </a:p>
          <a:p>
            <a:pPr marL="900000" marR="0" lvl="6"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err="1">
                <a:ln>
                  <a:noFill/>
                </a:ln>
                <a:solidFill>
                  <a:srgbClr val="5F5F5F"/>
                </a:solidFill>
                <a:effectLst/>
                <a:uLnTx/>
                <a:uFillTx/>
                <a:latin typeface="+mn-lt"/>
                <a:ea typeface="+mn-ea"/>
                <a:cs typeface="+mn-cs"/>
              </a:rPr>
              <a:t>Level</a:t>
            </a:r>
            <a:r>
              <a:rPr kumimoji="0" lang="fr-FR" sz="1000" b="0" i="0" u="none" strike="noStrike" kern="1200" cap="none" spc="0" normalizeH="0" baseline="0" noProof="0">
                <a:ln>
                  <a:noFill/>
                </a:ln>
                <a:solidFill>
                  <a:srgbClr val="5F5F5F"/>
                </a:solidFill>
                <a:effectLst/>
                <a:uLnTx/>
                <a:uFillTx/>
                <a:latin typeface="+mn-lt"/>
                <a:ea typeface="+mn-ea"/>
                <a:cs typeface="+mn-cs"/>
              </a:rPr>
              <a:t> 7</a:t>
            </a:r>
          </a:p>
          <a:p>
            <a:pPr marL="900000" marR="0" lvl="7"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err="1">
                <a:ln>
                  <a:noFill/>
                </a:ln>
                <a:solidFill>
                  <a:srgbClr val="5F5F5F"/>
                </a:solidFill>
                <a:effectLst/>
                <a:uLnTx/>
                <a:uFillTx/>
                <a:latin typeface="+mn-lt"/>
                <a:ea typeface="+mn-ea"/>
                <a:cs typeface="+mn-cs"/>
              </a:rPr>
              <a:t>Level</a:t>
            </a:r>
            <a:r>
              <a:rPr kumimoji="0" lang="fr-FR" sz="1000" b="0" i="0" u="none" strike="noStrike" kern="1200" cap="none" spc="0" normalizeH="0" baseline="0" noProof="0">
                <a:ln>
                  <a:noFill/>
                </a:ln>
                <a:solidFill>
                  <a:srgbClr val="5F5F5F"/>
                </a:solidFill>
                <a:effectLst/>
                <a:uLnTx/>
                <a:uFillTx/>
                <a:latin typeface="+mn-lt"/>
                <a:ea typeface="+mn-ea"/>
                <a:cs typeface="+mn-cs"/>
              </a:rPr>
              <a:t> 8</a:t>
            </a:r>
          </a:p>
          <a:p>
            <a:pPr marL="900000" marR="0" lvl="8"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err="1">
                <a:ln>
                  <a:noFill/>
                </a:ln>
                <a:solidFill>
                  <a:srgbClr val="5F5F5F"/>
                </a:solidFill>
                <a:effectLst/>
                <a:uLnTx/>
                <a:uFillTx/>
                <a:latin typeface="+mn-lt"/>
                <a:ea typeface="+mn-ea"/>
                <a:cs typeface="+mn-cs"/>
              </a:rPr>
              <a:t>Level</a:t>
            </a:r>
            <a:r>
              <a:rPr kumimoji="0" lang="fr-FR" sz="1000" b="0" i="0" u="none" strike="noStrike" kern="1200" cap="none" spc="0" normalizeH="0" baseline="0" noProof="0">
                <a:ln>
                  <a:noFill/>
                </a:ln>
                <a:solidFill>
                  <a:srgbClr val="5F5F5F"/>
                </a:solidFill>
                <a:effectLst/>
                <a:uLnTx/>
                <a:uFillTx/>
                <a:latin typeface="+mn-lt"/>
                <a:ea typeface="+mn-ea"/>
                <a:cs typeface="+mn-cs"/>
              </a:rPr>
              <a:t> 9</a:t>
            </a:r>
          </a:p>
        </p:txBody>
      </p:sp>
      <p:sp>
        <p:nvSpPr>
          <p:cNvPr id="10" name="Title 1"/>
          <p:cNvSpPr>
            <a:spLocks noGrp="1"/>
          </p:cNvSpPr>
          <p:nvPr>
            <p:ph type="title" hasCustomPrompt="1"/>
          </p:nvPr>
        </p:nvSpPr>
        <p:spPr>
          <a:xfrm>
            <a:off x="425354" y="404665"/>
            <a:ext cx="11342769" cy="863748"/>
          </a:xfrm>
        </p:spPr>
        <p:txBody>
          <a:bodyPr lIns="108000" tIns="0" rIns="108000" bIns="0"/>
          <a:lstStyle>
            <a:lvl1pPr>
              <a:defRPr sz="2200" baseline="0">
                <a:solidFill>
                  <a:schemeClr val="bg2"/>
                </a:solidFill>
              </a:defRPr>
            </a:lvl1pPr>
          </a:lstStyle>
          <a:p>
            <a:r>
              <a:rPr lang="fr-FR"/>
              <a:t>Complete </a:t>
            </a:r>
            <a:r>
              <a:rPr lang="fr-FR" err="1"/>
              <a:t>with</a:t>
            </a:r>
            <a:r>
              <a:rPr lang="fr-FR"/>
              <a:t> a </a:t>
            </a:r>
            <a:r>
              <a:rPr lang="fr-FR" err="1"/>
              <a:t>title</a:t>
            </a:r>
            <a:r>
              <a:rPr lang="fr-FR"/>
              <a:t> </a:t>
            </a:r>
            <a:r>
              <a:rPr lang="fr-FR" err="1"/>
              <a:t>here</a:t>
            </a:r>
            <a:r>
              <a:rPr lang="fr-FR"/>
              <a:t> </a:t>
            </a:r>
            <a:r>
              <a:rPr lang="fr-FR" err="1"/>
              <a:t>that</a:t>
            </a:r>
            <a:r>
              <a:rPr lang="fr-FR"/>
              <a:t> carries </a:t>
            </a:r>
            <a:r>
              <a:rPr lang="fr-FR" err="1"/>
              <a:t>your</a:t>
            </a:r>
            <a:r>
              <a:rPr lang="fr-FR"/>
              <a:t> message on </a:t>
            </a:r>
            <a:r>
              <a:rPr lang="fr-FR" err="1"/>
              <a:t>two</a:t>
            </a:r>
            <a:r>
              <a:rPr lang="fr-FR"/>
              <a:t> </a:t>
            </a:r>
            <a:r>
              <a:rPr lang="fr-FR" err="1"/>
              <a:t>lines</a:t>
            </a:r>
            <a:r>
              <a:rPr lang="fr-FR"/>
              <a:t> at </a:t>
            </a:r>
            <a:r>
              <a:rPr lang="fr-FR" err="1"/>
              <a:t>most</a:t>
            </a:r>
            <a:r>
              <a:rPr lang="fr-FR"/>
              <a:t> for more </a:t>
            </a:r>
            <a:r>
              <a:rPr lang="fr-FR" noProof="0" err="1"/>
              <a:t>readability</a:t>
            </a:r>
            <a:endParaRPr lang="fr-FR" noProof="0"/>
          </a:p>
        </p:txBody>
      </p:sp>
      <p:sp>
        <p:nvSpPr>
          <p:cNvPr id="12"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fr-FR" noProof="0"/>
              <a:t>Insert a top </a:t>
            </a:r>
            <a:r>
              <a:rPr lang="fr-FR" noProof="0" err="1"/>
              <a:t>title</a:t>
            </a:r>
            <a:r>
              <a:rPr lang="fr-FR" noProof="0"/>
              <a:t> </a:t>
            </a:r>
            <a:r>
              <a:rPr lang="fr-FR" noProof="0" err="1"/>
              <a:t>here</a:t>
            </a:r>
            <a:r>
              <a:rPr lang="fr-FR" noProof="0"/>
              <a:t> - must not </a:t>
            </a:r>
            <a:r>
              <a:rPr lang="fr-FR" noProof="0" err="1"/>
              <a:t>exceed</a:t>
            </a:r>
            <a:r>
              <a:rPr lang="fr-FR" noProof="0"/>
              <a:t> 1 line</a:t>
            </a:r>
          </a:p>
        </p:txBody>
      </p:sp>
    </p:spTree>
    <p:extLst>
      <p:ext uri="{BB962C8B-B14F-4D97-AF65-F5344CB8AC3E}">
        <p14:creationId xmlns:p14="http://schemas.microsoft.com/office/powerpoint/2010/main" val="34505170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Agenda - 1 à 6 chapitres">
    <p:spTree>
      <p:nvGrpSpPr>
        <p:cNvPr id="1" name=""/>
        <p:cNvGrpSpPr/>
        <p:nvPr/>
      </p:nvGrpSpPr>
      <p:grpSpPr>
        <a:xfrm>
          <a:off x="0" y="0"/>
          <a:ext cx="0" cy="0"/>
          <a:chOff x="0" y="0"/>
          <a:chExt cx="0" cy="0"/>
        </a:xfrm>
      </p:grpSpPr>
      <p:sp>
        <p:nvSpPr>
          <p:cNvPr id="23" name="Title 1"/>
          <p:cNvSpPr txBox="1">
            <a:spLocks/>
          </p:cNvSpPr>
          <p:nvPr/>
        </p:nvSpPr>
        <p:spPr>
          <a:xfrm>
            <a:off x="416540" y="404665"/>
            <a:ext cx="11342769" cy="863748"/>
          </a:xfrm>
          <a:prstGeom prst="rect">
            <a:avLst/>
          </a:prstGeom>
          <a:noFill/>
        </p:spPr>
        <p:txBody>
          <a:bodyPr vert="horz" lIns="108000" tIns="36000" rIns="108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2200" b="1" noProof="0"/>
              <a:t>AGENDA</a:t>
            </a:r>
          </a:p>
        </p:txBody>
      </p:sp>
      <p:sp>
        <p:nvSpPr>
          <p:cNvPr id="5" name="Text Placeholder 8"/>
          <p:cNvSpPr>
            <a:spLocks noGrp="1"/>
          </p:cNvSpPr>
          <p:nvPr>
            <p:ph type="body" sz="quarter" idx="15" hasCustomPrompt="1"/>
          </p:nvPr>
        </p:nvSpPr>
        <p:spPr>
          <a:xfrm>
            <a:off x="2019239" y="1249572"/>
            <a:ext cx="7620832" cy="684000"/>
          </a:xfrm>
          <a:prstGeom prst="rect">
            <a:avLst/>
          </a:prstGeom>
        </p:spPr>
        <p:txBody>
          <a:bodyPr wrap="square" anchor="ctr">
            <a:noAutofit/>
          </a:bodyPr>
          <a:lstStyle>
            <a:lvl1pPr marL="0" indent="0" algn="l">
              <a:buClr>
                <a:schemeClr val="bg2"/>
              </a:buClr>
              <a:buFontTx/>
              <a:buNone/>
              <a:defRPr sz="2200" i="0" cap="none" baseline="0">
                <a:solidFill>
                  <a:schemeClr val="bg2"/>
                </a:solidFill>
              </a:defRPr>
            </a:lvl1pPr>
            <a:lvl2pPr>
              <a:defRPr sz="1000"/>
            </a:lvl2pPr>
          </a:lstStyle>
          <a:p>
            <a:pPr lvl="0"/>
            <a:r>
              <a:rPr lang="fr-FR" noProof="0" err="1"/>
              <a:t>Chapter</a:t>
            </a:r>
            <a:r>
              <a:rPr lang="fr-FR" noProof="0"/>
              <a:t> 1</a:t>
            </a:r>
          </a:p>
        </p:txBody>
      </p:sp>
      <p:sp>
        <p:nvSpPr>
          <p:cNvPr id="8" name="Text Placeholder 8"/>
          <p:cNvSpPr>
            <a:spLocks noGrp="1"/>
          </p:cNvSpPr>
          <p:nvPr>
            <p:ph type="body" sz="quarter" idx="17" hasCustomPrompt="1"/>
          </p:nvPr>
        </p:nvSpPr>
        <p:spPr>
          <a:xfrm>
            <a:off x="2019239" y="2052195"/>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err="1"/>
              <a:t>Chapter</a:t>
            </a:r>
            <a:r>
              <a:rPr lang="fr-FR" noProof="0"/>
              <a:t> 2</a:t>
            </a:r>
          </a:p>
        </p:txBody>
      </p:sp>
      <p:sp>
        <p:nvSpPr>
          <p:cNvPr id="11" name="Text Placeholder 8"/>
          <p:cNvSpPr>
            <a:spLocks noGrp="1"/>
          </p:cNvSpPr>
          <p:nvPr>
            <p:ph type="body" sz="quarter" idx="19" hasCustomPrompt="1"/>
          </p:nvPr>
        </p:nvSpPr>
        <p:spPr>
          <a:xfrm>
            <a:off x="2019239" y="2854818"/>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err="1"/>
              <a:t>Chapter</a:t>
            </a:r>
            <a:r>
              <a:rPr lang="fr-FR" noProof="0"/>
              <a:t> 3</a:t>
            </a:r>
          </a:p>
        </p:txBody>
      </p:sp>
      <p:sp>
        <p:nvSpPr>
          <p:cNvPr id="14" name="Text Placeholder 8"/>
          <p:cNvSpPr>
            <a:spLocks noGrp="1"/>
          </p:cNvSpPr>
          <p:nvPr>
            <p:ph type="body" sz="quarter" idx="21" hasCustomPrompt="1"/>
          </p:nvPr>
        </p:nvSpPr>
        <p:spPr>
          <a:xfrm>
            <a:off x="2019239" y="3657441"/>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err="1"/>
              <a:t>Chapter</a:t>
            </a:r>
            <a:r>
              <a:rPr lang="fr-FR" noProof="0"/>
              <a:t> 4</a:t>
            </a:r>
          </a:p>
        </p:txBody>
      </p:sp>
      <p:sp>
        <p:nvSpPr>
          <p:cNvPr id="17" name="Text Placeholder 8"/>
          <p:cNvSpPr>
            <a:spLocks noGrp="1"/>
          </p:cNvSpPr>
          <p:nvPr>
            <p:ph type="body" sz="quarter" idx="23" hasCustomPrompt="1"/>
          </p:nvPr>
        </p:nvSpPr>
        <p:spPr>
          <a:xfrm>
            <a:off x="2019239" y="4460064"/>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err="1"/>
              <a:t>Chapter</a:t>
            </a:r>
            <a:r>
              <a:rPr lang="fr-FR" noProof="0"/>
              <a:t> 5</a:t>
            </a:r>
          </a:p>
        </p:txBody>
      </p:sp>
      <p:sp>
        <p:nvSpPr>
          <p:cNvPr id="30" name="Text Placeholder 8"/>
          <p:cNvSpPr>
            <a:spLocks noGrp="1"/>
          </p:cNvSpPr>
          <p:nvPr>
            <p:ph type="body" sz="quarter" idx="25" hasCustomPrompt="1"/>
          </p:nvPr>
        </p:nvSpPr>
        <p:spPr>
          <a:xfrm>
            <a:off x="9875315" y="1249572"/>
            <a:ext cx="1700834" cy="684000"/>
          </a:xfrm>
          <a:prstGeom prst="rect">
            <a:avLst/>
          </a:prstGeom>
        </p:spPr>
        <p:txBody>
          <a:bodyPr wrap="square" anchor="ctr">
            <a:noAutofit/>
          </a:bodyPr>
          <a:lstStyle>
            <a:lvl1pPr algn="l">
              <a:defRPr sz="1000" b="0" i="0" cap="none" baseline="0">
                <a:solidFill>
                  <a:schemeClr val="bg2"/>
                </a:solidFill>
              </a:defRPr>
            </a:lvl1pPr>
            <a:lvl2pPr>
              <a:defRPr sz="1000"/>
            </a:lvl2pPr>
          </a:lstStyle>
          <a:p>
            <a:pPr lvl="0"/>
            <a:r>
              <a:rPr lang="fr-FR" noProof="0"/>
              <a:t>Page x</a:t>
            </a:r>
          </a:p>
        </p:txBody>
      </p:sp>
      <p:sp>
        <p:nvSpPr>
          <p:cNvPr id="32" name="Text Placeholder 8"/>
          <p:cNvSpPr>
            <a:spLocks noGrp="1"/>
          </p:cNvSpPr>
          <p:nvPr>
            <p:ph type="body" sz="quarter" idx="26" hasCustomPrompt="1"/>
          </p:nvPr>
        </p:nvSpPr>
        <p:spPr>
          <a:xfrm>
            <a:off x="9875315" y="4460064"/>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33" name="Text Placeholder 8"/>
          <p:cNvSpPr>
            <a:spLocks noGrp="1"/>
          </p:cNvSpPr>
          <p:nvPr>
            <p:ph type="body" sz="quarter" idx="27" hasCustomPrompt="1"/>
          </p:nvPr>
        </p:nvSpPr>
        <p:spPr>
          <a:xfrm>
            <a:off x="9875315" y="3657441"/>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34" name="Text Placeholder 8"/>
          <p:cNvSpPr>
            <a:spLocks noGrp="1"/>
          </p:cNvSpPr>
          <p:nvPr>
            <p:ph type="body" sz="quarter" idx="28" hasCustomPrompt="1"/>
          </p:nvPr>
        </p:nvSpPr>
        <p:spPr>
          <a:xfrm>
            <a:off x="9875315" y="2854818"/>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35" name="Text Placeholder 8"/>
          <p:cNvSpPr>
            <a:spLocks noGrp="1"/>
          </p:cNvSpPr>
          <p:nvPr>
            <p:ph type="body" sz="quarter" idx="29" hasCustomPrompt="1"/>
          </p:nvPr>
        </p:nvSpPr>
        <p:spPr>
          <a:xfrm>
            <a:off x="9875315" y="2052195"/>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24" name="Text Placeholder 8"/>
          <p:cNvSpPr>
            <a:spLocks noGrp="1"/>
          </p:cNvSpPr>
          <p:nvPr>
            <p:ph type="body" sz="quarter" idx="30" hasCustomPrompt="1"/>
          </p:nvPr>
        </p:nvSpPr>
        <p:spPr>
          <a:xfrm>
            <a:off x="2019239" y="5262689"/>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err="1"/>
              <a:t>Chapter</a:t>
            </a:r>
            <a:r>
              <a:rPr lang="fr-FR" noProof="0"/>
              <a:t> 6</a:t>
            </a:r>
          </a:p>
        </p:txBody>
      </p:sp>
      <p:sp>
        <p:nvSpPr>
          <p:cNvPr id="26" name="Text Placeholder 8"/>
          <p:cNvSpPr>
            <a:spLocks noGrp="1"/>
          </p:cNvSpPr>
          <p:nvPr>
            <p:ph type="body" sz="quarter" idx="32" hasCustomPrompt="1"/>
          </p:nvPr>
        </p:nvSpPr>
        <p:spPr>
          <a:xfrm>
            <a:off x="9875315" y="5262689"/>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44" name="Text Placeholder 4"/>
          <p:cNvSpPr>
            <a:spLocks noGrp="1"/>
          </p:cNvSpPr>
          <p:nvPr>
            <p:ph type="body" sz="quarter" idx="38" hasCustomPrompt="1"/>
          </p:nvPr>
        </p:nvSpPr>
        <p:spPr>
          <a:xfrm>
            <a:off x="416540" y="1249572"/>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1</a:t>
            </a:r>
          </a:p>
        </p:txBody>
      </p:sp>
      <p:sp>
        <p:nvSpPr>
          <p:cNvPr id="45" name="Text Placeholder 4"/>
          <p:cNvSpPr>
            <a:spLocks noGrp="1"/>
          </p:cNvSpPr>
          <p:nvPr>
            <p:ph type="body" sz="quarter" idx="39" hasCustomPrompt="1"/>
          </p:nvPr>
        </p:nvSpPr>
        <p:spPr>
          <a:xfrm>
            <a:off x="416540" y="2052195"/>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2</a:t>
            </a:r>
          </a:p>
        </p:txBody>
      </p:sp>
      <p:sp>
        <p:nvSpPr>
          <p:cNvPr id="46" name="Text Placeholder 4"/>
          <p:cNvSpPr>
            <a:spLocks noGrp="1"/>
          </p:cNvSpPr>
          <p:nvPr>
            <p:ph type="body" sz="quarter" idx="40" hasCustomPrompt="1"/>
          </p:nvPr>
        </p:nvSpPr>
        <p:spPr>
          <a:xfrm>
            <a:off x="416540" y="2854818"/>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3</a:t>
            </a:r>
          </a:p>
        </p:txBody>
      </p:sp>
      <p:sp>
        <p:nvSpPr>
          <p:cNvPr id="47" name="Text Placeholder 4"/>
          <p:cNvSpPr>
            <a:spLocks noGrp="1"/>
          </p:cNvSpPr>
          <p:nvPr>
            <p:ph type="body" sz="quarter" idx="41" hasCustomPrompt="1"/>
          </p:nvPr>
        </p:nvSpPr>
        <p:spPr>
          <a:xfrm>
            <a:off x="416540" y="3657441"/>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4</a:t>
            </a:r>
          </a:p>
        </p:txBody>
      </p:sp>
      <p:sp>
        <p:nvSpPr>
          <p:cNvPr id="48" name="Text Placeholder 4"/>
          <p:cNvSpPr>
            <a:spLocks noGrp="1"/>
          </p:cNvSpPr>
          <p:nvPr>
            <p:ph type="body" sz="quarter" idx="42" hasCustomPrompt="1"/>
          </p:nvPr>
        </p:nvSpPr>
        <p:spPr>
          <a:xfrm>
            <a:off x="416540" y="4460064"/>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5</a:t>
            </a:r>
          </a:p>
        </p:txBody>
      </p:sp>
      <p:sp>
        <p:nvSpPr>
          <p:cNvPr id="49" name="Text Placeholder 4"/>
          <p:cNvSpPr>
            <a:spLocks noGrp="1"/>
          </p:cNvSpPr>
          <p:nvPr>
            <p:ph type="body" sz="quarter" idx="43" hasCustomPrompt="1"/>
          </p:nvPr>
        </p:nvSpPr>
        <p:spPr>
          <a:xfrm>
            <a:off x="416540" y="5262689"/>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6</a:t>
            </a:r>
          </a:p>
        </p:txBody>
      </p:sp>
    </p:spTree>
    <p:extLst>
      <p:ext uri="{BB962C8B-B14F-4D97-AF65-F5344CB8AC3E}">
        <p14:creationId xmlns:p14="http://schemas.microsoft.com/office/powerpoint/2010/main" val="38659294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Agenda - 1 à 10 chapitre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2019239" y="1268760"/>
            <a:ext cx="7459579" cy="414000"/>
          </a:xfrm>
          <a:prstGeom prst="rect">
            <a:avLst/>
          </a:prstGeom>
        </p:spPr>
        <p:txBody>
          <a:bodyPr wrap="square" tIns="0" bIns="0" anchor="ctr">
            <a:noAutofit/>
          </a:bodyPr>
          <a:lstStyle>
            <a:lvl1pPr marL="0" indent="0" algn="l">
              <a:buClr>
                <a:schemeClr val="bg2"/>
              </a:buClr>
              <a:buFontTx/>
              <a:buNone/>
              <a:defRPr sz="2000" i="0" cap="none" baseline="0">
                <a:solidFill>
                  <a:schemeClr val="bg2"/>
                </a:solidFill>
              </a:defRPr>
            </a:lvl1pPr>
            <a:lvl2pPr>
              <a:defRPr sz="1000"/>
            </a:lvl2pPr>
          </a:lstStyle>
          <a:p>
            <a:pPr lvl="0"/>
            <a:r>
              <a:rPr lang="fr-FR" noProof="0" err="1"/>
              <a:t>Chapter</a:t>
            </a:r>
            <a:r>
              <a:rPr lang="fr-FR" noProof="0"/>
              <a:t> 1</a:t>
            </a:r>
          </a:p>
        </p:txBody>
      </p:sp>
      <p:sp>
        <p:nvSpPr>
          <p:cNvPr id="8" name="Text Placeholder 8"/>
          <p:cNvSpPr>
            <a:spLocks noGrp="1"/>
          </p:cNvSpPr>
          <p:nvPr>
            <p:ph type="body" sz="quarter" idx="17" hasCustomPrompt="1"/>
          </p:nvPr>
        </p:nvSpPr>
        <p:spPr>
          <a:xfrm>
            <a:off x="2019239" y="1744301"/>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err="1"/>
              <a:t>Chapter</a:t>
            </a:r>
            <a:r>
              <a:rPr lang="fr-FR" noProof="0"/>
              <a:t> 2</a:t>
            </a:r>
          </a:p>
        </p:txBody>
      </p:sp>
      <p:sp>
        <p:nvSpPr>
          <p:cNvPr id="11" name="Text Placeholder 8"/>
          <p:cNvSpPr>
            <a:spLocks noGrp="1"/>
          </p:cNvSpPr>
          <p:nvPr>
            <p:ph type="body" sz="quarter" idx="19" hasCustomPrompt="1"/>
          </p:nvPr>
        </p:nvSpPr>
        <p:spPr>
          <a:xfrm>
            <a:off x="2019239" y="2219842"/>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err="1"/>
              <a:t>Chapter</a:t>
            </a:r>
            <a:r>
              <a:rPr lang="fr-FR" noProof="0"/>
              <a:t> 3</a:t>
            </a:r>
          </a:p>
        </p:txBody>
      </p:sp>
      <p:sp>
        <p:nvSpPr>
          <p:cNvPr id="14" name="Text Placeholder 8"/>
          <p:cNvSpPr>
            <a:spLocks noGrp="1"/>
          </p:cNvSpPr>
          <p:nvPr>
            <p:ph type="body" sz="quarter" idx="21" hasCustomPrompt="1"/>
          </p:nvPr>
        </p:nvSpPr>
        <p:spPr>
          <a:xfrm>
            <a:off x="2019239" y="2695383"/>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err="1"/>
              <a:t>Chapter</a:t>
            </a:r>
            <a:r>
              <a:rPr lang="fr-FR" noProof="0"/>
              <a:t> 4</a:t>
            </a:r>
          </a:p>
        </p:txBody>
      </p:sp>
      <p:sp>
        <p:nvSpPr>
          <p:cNvPr id="17" name="Text Placeholder 8"/>
          <p:cNvSpPr>
            <a:spLocks noGrp="1"/>
          </p:cNvSpPr>
          <p:nvPr>
            <p:ph type="body" sz="quarter" idx="23" hasCustomPrompt="1"/>
          </p:nvPr>
        </p:nvSpPr>
        <p:spPr>
          <a:xfrm>
            <a:off x="2019239" y="5548631"/>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err="1"/>
              <a:t>Chapter</a:t>
            </a:r>
            <a:r>
              <a:rPr lang="fr-FR" noProof="0"/>
              <a:t> 10</a:t>
            </a:r>
          </a:p>
        </p:txBody>
      </p:sp>
      <p:sp>
        <p:nvSpPr>
          <p:cNvPr id="30" name="Text Placeholder 8"/>
          <p:cNvSpPr>
            <a:spLocks noGrp="1"/>
          </p:cNvSpPr>
          <p:nvPr>
            <p:ph type="body" sz="quarter" idx="25" hasCustomPrompt="1"/>
          </p:nvPr>
        </p:nvSpPr>
        <p:spPr>
          <a:xfrm>
            <a:off x="9877001" y="1268760"/>
            <a:ext cx="1546213" cy="414000"/>
          </a:xfrm>
          <a:prstGeom prst="rect">
            <a:avLst/>
          </a:prstGeom>
        </p:spPr>
        <p:txBody>
          <a:bodyPr wrap="square" tIns="0" bIns="0" anchor="ctr">
            <a:noAutofit/>
          </a:bodyPr>
          <a:lstStyle>
            <a:lvl1pPr algn="l">
              <a:defRPr sz="1000" b="0" i="0" cap="none" baseline="0">
                <a:solidFill>
                  <a:schemeClr val="bg2"/>
                </a:solidFill>
              </a:defRPr>
            </a:lvl1pPr>
            <a:lvl2pPr>
              <a:defRPr sz="1000"/>
            </a:lvl2pPr>
          </a:lstStyle>
          <a:p>
            <a:pPr lvl="0"/>
            <a:r>
              <a:rPr lang="fr-FR" noProof="0"/>
              <a:t>Page x</a:t>
            </a:r>
          </a:p>
        </p:txBody>
      </p:sp>
      <p:sp>
        <p:nvSpPr>
          <p:cNvPr id="32" name="Text Placeholder 8"/>
          <p:cNvSpPr>
            <a:spLocks noGrp="1"/>
          </p:cNvSpPr>
          <p:nvPr>
            <p:ph type="body" sz="quarter" idx="26" hasCustomPrompt="1"/>
          </p:nvPr>
        </p:nvSpPr>
        <p:spPr>
          <a:xfrm>
            <a:off x="9877001" y="5548631"/>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33" name="Text Placeholder 8"/>
          <p:cNvSpPr>
            <a:spLocks noGrp="1"/>
          </p:cNvSpPr>
          <p:nvPr>
            <p:ph type="body" sz="quarter" idx="27" hasCustomPrompt="1"/>
          </p:nvPr>
        </p:nvSpPr>
        <p:spPr>
          <a:xfrm>
            <a:off x="9877001" y="2695383"/>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34" name="Text Placeholder 8"/>
          <p:cNvSpPr>
            <a:spLocks noGrp="1"/>
          </p:cNvSpPr>
          <p:nvPr>
            <p:ph type="body" sz="quarter" idx="28" hasCustomPrompt="1"/>
          </p:nvPr>
        </p:nvSpPr>
        <p:spPr>
          <a:xfrm>
            <a:off x="9877001" y="2219842"/>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35" name="Text Placeholder 8"/>
          <p:cNvSpPr>
            <a:spLocks noGrp="1"/>
          </p:cNvSpPr>
          <p:nvPr>
            <p:ph type="body" sz="quarter" idx="29" hasCustomPrompt="1"/>
          </p:nvPr>
        </p:nvSpPr>
        <p:spPr>
          <a:xfrm>
            <a:off x="9877001" y="1744301"/>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22" name="Text Placeholder 8"/>
          <p:cNvSpPr>
            <a:spLocks noGrp="1"/>
          </p:cNvSpPr>
          <p:nvPr>
            <p:ph type="body" sz="quarter" idx="30" hasCustomPrompt="1"/>
          </p:nvPr>
        </p:nvSpPr>
        <p:spPr>
          <a:xfrm>
            <a:off x="2019239" y="3170924"/>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err="1"/>
              <a:t>Chapter</a:t>
            </a:r>
            <a:r>
              <a:rPr lang="fr-FR" noProof="0"/>
              <a:t> 5</a:t>
            </a:r>
          </a:p>
        </p:txBody>
      </p:sp>
      <p:sp>
        <p:nvSpPr>
          <p:cNvPr id="24" name="Text Placeholder 8"/>
          <p:cNvSpPr>
            <a:spLocks noGrp="1"/>
          </p:cNvSpPr>
          <p:nvPr>
            <p:ph type="body" sz="quarter" idx="32" hasCustomPrompt="1"/>
          </p:nvPr>
        </p:nvSpPr>
        <p:spPr>
          <a:xfrm>
            <a:off x="9877001" y="3170924"/>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25" name="Text Placeholder 8"/>
          <p:cNvSpPr>
            <a:spLocks noGrp="1"/>
          </p:cNvSpPr>
          <p:nvPr>
            <p:ph type="body" sz="quarter" idx="33" hasCustomPrompt="1"/>
          </p:nvPr>
        </p:nvSpPr>
        <p:spPr>
          <a:xfrm>
            <a:off x="2019239" y="3646465"/>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err="1"/>
              <a:t>Chapter</a:t>
            </a:r>
            <a:r>
              <a:rPr lang="fr-FR" noProof="0"/>
              <a:t> 6</a:t>
            </a:r>
          </a:p>
        </p:txBody>
      </p:sp>
      <p:sp>
        <p:nvSpPr>
          <p:cNvPr id="27" name="Text Placeholder 8"/>
          <p:cNvSpPr>
            <a:spLocks noGrp="1"/>
          </p:cNvSpPr>
          <p:nvPr>
            <p:ph type="body" sz="quarter" idx="35" hasCustomPrompt="1"/>
          </p:nvPr>
        </p:nvSpPr>
        <p:spPr>
          <a:xfrm>
            <a:off x="2019239" y="4122006"/>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err="1"/>
              <a:t>Chapter</a:t>
            </a:r>
            <a:r>
              <a:rPr lang="fr-FR" noProof="0"/>
              <a:t> 7</a:t>
            </a:r>
          </a:p>
        </p:txBody>
      </p:sp>
      <p:sp>
        <p:nvSpPr>
          <p:cNvPr id="29" name="Text Placeholder 8"/>
          <p:cNvSpPr>
            <a:spLocks noGrp="1"/>
          </p:cNvSpPr>
          <p:nvPr>
            <p:ph type="body" sz="quarter" idx="37" hasCustomPrompt="1"/>
          </p:nvPr>
        </p:nvSpPr>
        <p:spPr>
          <a:xfrm>
            <a:off x="9877001" y="4122006"/>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31" name="Text Placeholder 8"/>
          <p:cNvSpPr>
            <a:spLocks noGrp="1"/>
          </p:cNvSpPr>
          <p:nvPr>
            <p:ph type="body" sz="quarter" idx="38" hasCustomPrompt="1"/>
          </p:nvPr>
        </p:nvSpPr>
        <p:spPr>
          <a:xfrm>
            <a:off x="9877001" y="3646465"/>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39" name="Text Placeholder 8"/>
          <p:cNvSpPr>
            <a:spLocks noGrp="1"/>
          </p:cNvSpPr>
          <p:nvPr>
            <p:ph type="body" sz="quarter" idx="39" hasCustomPrompt="1"/>
          </p:nvPr>
        </p:nvSpPr>
        <p:spPr>
          <a:xfrm>
            <a:off x="2019239" y="4597547"/>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err="1"/>
              <a:t>Chapter</a:t>
            </a:r>
            <a:r>
              <a:rPr lang="fr-FR" noProof="0"/>
              <a:t> 8</a:t>
            </a:r>
          </a:p>
        </p:txBody>
      </p:sp>
      <p:sp>
        <p:nvSpPr>
          <p:cNvPr id="41" name="Text Placeholder 8"/>
          <p:cNvSpPr>
            <a:spLocks noGrp="1"/>
          </p:cNvSpPr>
          <p:nvPr>
            <p:ph type="body" sz="quarter" idx="41" hasCustomPrompt="1"/>
          </p:nvPr>
        </p:nvSpPr>
        <p:spPr>
          <a:xfrm>
            <a:off x="9877001" y="4597547"/>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42" name="Text Placeholder 8"/>
          <p:cNvSpPr>
            <a:spLocks noGrp="1"/>
          </p:cNvSpPr>
          <p:nvPr>
            <p:ph type="body" sz="quarter" idx="42" hasCustomPrompt="1"/>
          </p:nvPr>
        </p:nvSpPr>
        <p:spPr>
          <a:xfrm>
            <a:off x="2019239" y="5073088"/>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err="1"/>
              <a:t>Chapter</a:t>
            </a:r>
            <a:r>
              <a:rPr lang="fr-FR" noProof="0"/>
              <a:t> 9</a:t>
            </a:r>
          </a:p>
        </p:txBody>
      </p:sp>
      <p:sp>
        <p:nvSpPr>
          <p:cNvPr id="44" name="Text Placeholder 8"/>
          <p:cNvSpPr>
            <a:spLocks noGrp="1"/>
          </p:cNvSpPr>
          <p:nvPr>
            <p:ph type="body" sz="quarter" idx="44" hasCustomPrompt="1"/>
          </p:nvPr>
        </p:nvSpPr>
        <p:spPr>
          <a:xfrm>
            <a:off x="9877001" y="5073088"/>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40" name="Text Placeholder 4"/>
          <p:cNvSpPr>
            <a:spLocks noGrp="1"/>
          </p:cNvSpPr>
          <p:nvPr>
            <p:ph type="body" sz="quarter" idx="56" hasCustomPrompt="1"/>
          </p:nvPr>
        </p:nvSpPr>
        <p:spPr>
          <a:xfrm>
            <a:off x="423985" y="1268760"/>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1</a:t>
            </a:r>
          </a:p>
        </p:txBody>
      </p:sp>
      <p:sp>
        <p:nvSpPr>
          <p:cNvPr id="43" name="Text Placeholder 4"/>
          <p:cNvSpPr>
            <a:spLocks noGrp="1"/>
          </p:cNvSpPr>
          <p:nvPr>
            <p:ph type="body" sz="quarter" idx="57" hasCustomPrompt="1"/>
          </p:nvPr>
        </p:nvSpPr>
        <p:spPr>
          <a:xfrm>
            <a:off x="423985" y="1744301"/>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2</a:t>
            </a:r>
          </a:p>
        </p:txBody>
      </p:sp>
      <p:sp>
        <p:nvSpPr>
          <p:cNvPr id="48" name="Text Placeholder 4"/>
          <p:cNvSpPr>
            <a:spLocks noGrp="1"/>
          </p:cNvSpPr>
          <p:nvPr>
            <p:ph type="body" sz="quarter" idx="58" hasCustomPrompt="1"/>
          </p:nvPr>
        </p:nvSpPr>
        <p:spPr>
          <a:xfrm>
            <a:off x="423985" y="2219842"/>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3</a:t>
            </a:r>
          </a:p>
        </p:txBody>
      </p:sp>
      <p:sp>
        <p:nvSpPr>
          <p:cNvPr id="59" name="Text Placeholder 4"/>
          <p:cNvSpPr>
            <a:spLocks noGrp="1"/>
          </p:cNvSpPr>
          <p:nvPr>
            <p:ph type="body" sz="quarter" idx="59" hasCustomPrompt="1"/>
          </p:nvPr>
        </p:nvSpPr>
        <p:spPr>
          <a:xfrm>
            <a:off x="423985" y="2695383"/>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4</a:t>
            </a:r>
          </a:p>
        </p:txBody>
      </p:sp>
      <p:sp>
        <p:nvSpPr>
          <p:cNvPr id="60" name="Text Placeholder 4"/>
          <p:cNvSpPr>
            <a:spLocks noGrp="1"/>
          </p:cNvSpPr>
          <p:nvPr>
            <p:ph type="body" sz="quarter" idx="60" hasCustomPrompt="1"/>
          </p:nvPr>
        </p:nvSpPr>
        <p:spPr>
          <a:xfrm>
            <a:off x="423985" y="3170924"/>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5</a:t>
            </a:r>
          </a:p>
        </p:txBody>
      </p:sp>
      <p:sp>
        <p:nvSpPr>
          <p:cNvPr id="61" name="Text Placeholder 4"/>
          <p:cNvSpPr>
            <a:spLocks noGrp="1"/>
          </p:cNvSpPr>
          <p:nvPr>
            <p:ph type="body" sz="quarter" idx="61" hasCustomPrompt="1"/>
          </p:nvPr>
        </p:nvSpPr>
        <p:spPr>
          <a:xfrm>
            <a:off x="423985" y="3646465"/>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6</a:t>
            </a:r>
          </a:p>
        </p:txBody>
      </p:sp>
      <p:sp>
        <p:nvSpPr>
          <p:cNvPr id="62" name="Text Placeholder 4"/>
          <p:cNvSpPr>
            <a:spLocks noGrp="1"/>
          </p:cNvSpPr>
          <p:nvPr>
            <p:ph type="body" sz="quarter" idx="62" hasCustomPrompt="1"/>
          </p:nvPr>
        </p:nvSpPr>
        <p:spPr>
          <a:xfrm>
            <a:off x="423985" y="4122006"/>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7</a:t>
            </a:r>
          </a:p>
        </p:txBody>
      </p:sp>
      <p:sp>
        <p:nvSpPr>
          <p:cNvPr id="63" name="Text Placeholder 4"/>
          <p:cNvSpPr>
            <a:spLocks noGrp="1"/>
          </p:cNvSpPr>
          <p:nvPr>
            <p:ph type="body" sz="quarter" idx="63" hasCustomPrompt="1"/>
          </p:nvPr>
        </p:nvSpPr>
        <p:spPr>
          <a:xfrm>
            <a:off x="423985" y="4597547"/>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8</a:t>
            </a:r>
          </a:p>
        </p:txBody>
      </p:sp>
      <p:sp>
        <p:nvSpPr>
          <p:cNvPr id="64" name="Text Placeholder 4"/>
          <p:cNvSpPr>
            <a:spLocks noGrp="1"/>
          </p:cNvSpPr>
          <p:nvPr>
            <p:ph type="body" sz="quarter" idx="64" hasCustomPrompt="1"/>
          </p:nvPr>
        </p:nvSpPr>
        <p:spPr>
          <a:xfrm>
            <a:off x="423985" y="5073088"/>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9</a:t>
            </a:r>
          </a:p>
        </p:txBody>
      </p:sp>
      <p:sp>
        <p:nvSpPr>
          <p:cNvPr id="65" name="Text Placeholder 4"/>
          <p:cNvSpPr>
            <a:spLocks noGrp="1"/>
          </p:cNvSpPr>
          <p:nvPr>
            <p:ph type="body" sz="quarter" idx="65" hasCustomPrompt="1"/>
          </p:nvPr>
        </p:nvSpPr>
        <p:spPr>
          <a:xfrm>
            <a:off x="423985" y="5548631"/>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10</a:t>
            </a:r>
          </a:p>
        </p:txBody>
      </p:sp>
      <p:sp>
        <p:nvSpPr>
          <p:cNvPr id="36" name="Title 1"/>
          <p:cNvSpPr txBox="1">
            <a:spLocks/>
          </p:cNvSpPr>
          <p:nvPr/>
        </p:nvSpPr>
        <p:spPr>
          <a:xfrm>
            <a:off x="416540" y="404665"/>
            <a:ext cx="11342769" cy="863748"/>
          </a:xfrm>
          <a:prstGeom prst="rect">
            <a:avLst/>
          </a:prstGeom>
          <a:noFill/>
        </p:spPr>
        <p:txBody>
          <a:bodyPr vert="horz" lIns="108000" tIns="36000" rIns="108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2200" b="1" noProof="0"/>
              <a:t>AGENDA</a:t>
            </a:r>
          </a:p>
        </p:txBody>
      </p:sp>
    </p:spTree>
    <p:extLst>
      <p:ext uri="{BB962C8B-B14F-4D97-AF65-F5344CB8AC3E}">
        <p14:creationId xmlns:p14="http://schemas.microsoft.com/office/powerpoint/2010/main" val="28105378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hapter White">
    <p:spTree>
      <p:nvGrpSpPr>
        <p:cNvPr id="1" name=""/>
        <p:cNvGrpSpPr/>
        <p:nvPr/>
      </p:nvGrpSpPr>
      <p:grpSpPr>
        <a:xfrm>
          <a:off x="0" y="0"/>
          <a:ext cx="0" cy="0"/>
          <a:chOff x="0" y="0"/>
          <a:chExt cx="0" cy="0"/>
        </a:xfrm>
      </p:grpSpPr>
      <p:pic>
        <p:nvPicPr>
          <p:cNvPr id="6" name="Image 11"/>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0"/>
            <a:ext cx="4289072" cy="4725900"/>
          </a:xfrm>
          <a:prstGeom prst="rect">
            <a:avLst/>
          </a:prstGeom>
        </p:spPr>
      </p:pic>
      <p:sp>
        <p:nvSpPr>
          <p:cNvPr id="8" name="Espace réservé pour une image  35"/>
          <p:cNvSpPr>
            <a:spLocks noGrp="1"/>
          </p:cNvSpPr>
          <p:nvPr>
            <p:ph type="pic" sz="quarter" idx="10" hasCustomPrompt="1"/>
          </p:nvPr>
        </p:nvSpPr>
        <p:spPr>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ck </a:t>
            </a:r>
            <a:r>
              <a:rPr lang="fr-FR" noProof="0" err="1"/>
              <a:t>here</a:t>
            </a:r>
            <a:r>
              <a:rPr lang="fr-FR" noProof="0"/>
              <a:t>	&gt;&gt; </a:t>
            </a:r>
            <a:br>
              <a:rPr lang="fr-FR" noProof="0"/>
            </a:br>
            <a:r>
              <a:rPr lang="fr-FR" noProof="0"/>
              <a:t>to insert a </a:t>
            </a:r>
            <a:r>
              <a:rPr lang="fr-FR" noProof="0" err="1"/>
              <a:t>picture</a:t>
            </a:r>
            <a:endParaRPr lang="fr-FR" noProof="0"/>
          </a:p>
        </p:txBody>
      </p:sp>
      <p:sp>
        <p:nvSpPr>
          <p:cNvPr id="10" name="Text Placeholder 4"/>
          <p:cNvSpPr>
            <a:spLocks noGrp="1"/>
          </p:cNvSpPr>
          <p:nvPr>
            <p:ph type="body" sz="quarter" idx="38" hasCustomPrompt="1"/>
          </p:nvPr>
        </p:nvSpPr>
        <p:spPr bwMode="gray">
          <a:xfrm>
            <a:off x="2787386" y="3334423"/>
            <a:ext cx="1050092" cy="964800"/>
          </a:xfrm>
          <a:prstGeom prst="rect">
            <a:avLst/>
          </a:prstGeom>
          <a:noFill/>
        </p:spPr>
        <p:txBody>
          <a:bodyPr lIns="0" rIns="0" anchor="t">
            <a:noAutofit/>
          </a:bodyPr>
          <a:lstStyle>
            <a:lvl1pPr marL="0" indent="-252000" algn="just">
              <a:lnSpc>
                <a:spcPct val="100000"/>
              </a:lnSpc>
              <a:spcBef>
                <a:spcPts val="400"/>
              </a:spcBef>
              <a:buClr>
                <a:schemeClr val="bg2"/>
              </a:buClr>
              <a:buFont typeface="Tempus Sans ITC" panose="04020404030D07020202" pitchFamily="82" charset="0"/>
              <a:buChar char="/"/>
              <a:defRPr sz="2400" b="1" i="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1</a:t>
            </a:r>
          </a:p>
        </p:txBody>
      </p:sp>
      <p:sp>
        <p:nvSpPr>
          <p:cNvPr id="12" name="Titel 1"/>
          <p:cNvSpPr>
            <a:spLocks noGrp="1"/>
          </p:cNvSpPr>
          <p:nvPr>
            <p:ph type="title" hasCustomPrompt="1"/>
          </p:nvPr>
        </p:nvSpPr>
        <p:spPr bwMode="gray">
          <a:xfrm>
            <a:off x="3836371" y="3334423"/>
            <a:ext cx="7753846" cy="964800"/>
          </a:xfrm>
        </p:spPr>
        <p:txBody>
          <a:bodyPr lIns="108000" tIns="108000" rIns="0" anchor="t">
            <a:noAutofit/>
          </a:bodyPr>
          <a:lstStyle>
            <a:lvl1pPr algn="r">
              <a:defRPr sz="2400" cap="none" baseline="0">
                <a:solidFill>
                  <a:schemeClr val="bg2"/>
                </a:solidFill>
                <a:latin typeface="+mj-lt"/>
              </a:defRPr>
            </a:lvl1pPr>
          </a:lstStyle>
          <a:p>
            <a:r>
              <a:rPr lang="fr-FR" noProof="0" err="1"/>
              <a:t>Chapter</a:t>
            </a:r>
            <a:r>
              <a:rPr lang="fr-FR" noProof="0"/>
              <a:t> slide headline</a:t>
            </a:r>
          </a:p>
        </p:txBody>
      </p:sp>
    </p:spTree>
    <p:extLst>
      <p:ext uri="{BB962C8B-B14F-4D97-AF65-F5344CB8AC3E}">
        <p14:creationId xmlns:p14="http://schemas.microsoft.com/office/powerpoint/2010/main" val="35563920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Chapter Silver Grey light">
    <p:bg>
      <p:bgPr>
        <a:solidFill>
          <a:schemeClr val="tx2"/>
        </a:solidFill>
        <a:effectLst/>
      </p:bgPr>
    </p:bg>
    <p:spTree>
      <p:nvGrpSpPr>
        <p:cNvPr id="1" name=""/>
        <p:cNvGrpSpPr/>
        <p:nvPr/>
      </p:nvGrpSpPr>
      <p:grpSpPr>
        <a:xfrm>
          <a:off x="0" y="0"/>
          <a:ext cx="0" cy="0"/>
          <a:chOff x="0" y="0"/>
          <a:chExt cx="0" cy="0"/>
        </a:xfrm>
      </p:grpSpPr>
      <p:pic>
        <p:nvPicPr>
          <p:cNvPr id="7" name="Image 11"/>
          <p:cNvPicPr>
            <a:picLocks noChangeAspect="1"/>
          </p:cNvPicPr>
          <p:nvPr/>
        </p:nvPicPr>
        <p:blipFill rotWithShape="1">
          <a:blip r:embed="rId2" cstate="print">
            <a:extLst>
              <a:ext uri="{28A0092B-C50C-407E-A947-70E740481C1C}">
                <a14:useLocalDpi xmlns:a14="http://schemas.microsoft.com/office/drawing/2010/main"/>
              </a:ext>
            </a:extLst>
          </a:blip>
          <a:srcRect l="-1" t="1" r="-184259" b="-45082"/>
          <a:stretch/>
        </p:blipFill>
        <p:spPr>
          <a:xfrm>
            <a:off x="0" y="-1"/>
            <a:ext cx="12192000" cy="6856413"/>
          </a:xfrm>
          <a:prstGeom prst="rect">
            <a:avLst/>
          </a:prstGeom>
          <a:solidFill>
            <a:schemeClr val="tx2"/>
          </a:solidFill>
        </p:spPr>
      </p:pic>
      <p:sp>
        <p:nvSpPr>
          <p:cNvPr id="5" name="Text Placeholder 4"/>
          <p:cNvSpPr>
            <a:spLocks noGrp="1"/>
          </p:cNvSpPr>
          <p:nvPr>
            <p:ph type="body" sz="quarter" idx="38" hasCustomPrompt="1"/>
          </p:nvPr>
        </p:nvSpPr>
        <p:spPr bwMode="gray">
          <a:xfrm>
            <a:off x="2787386" y="3334423"/>
            <a:ext cx="1050092" cy="964800"/>
          </a:xfrm>
          <a:prstGeom prst="rect">
            <a:avLst/>
          </a:prstGeom>
          <a:noFill/>
        </p:spPr>
        <p:txBody>
          <a:bodyPr lIns="0" rIns="0" anchor="t">
            <a:noAutofit/>
          </a:bodyPr>
          <a:lstStyle>
            <a:lvl1pPr marL="0" indent="-252000" algn="just">
              <a:lnSpc>
                <a:spcPct val="100000"/>
              </a:lnSpc>
              <a:spcBef>
                <a:spcPts val="400"/>
              </a:spcBef>
              <a:buClr>
                <a:schemeClr val="bg2"/>
              </a:buClr>
              <a:buFont typeface="Tempus Sans ITC" panose="04020404030D07020202" pitchFamily="82" charset="0"/>
              <a:buChar char="/"/>
              <a:defRPr sz="2400" b="1" i="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1</a:t>
            </a:r>
          </a:p>
        </p:txBody>
      </p:sp>
      <p:sp>
        <p:nvSpPr>
          <p:cNvPr id="8" name="Espace réservé pour une image  35"/>
          <p:cNvSpPr>
            <a:spLocks noGrp="1"/>
          </p:cNvSpPr>
          <p:nvPr>
            <p:ph type="pic" sz="quarter" idx="10" hasCustomPrompt="1"/>
          </p:nvPr>
        </p:nvSpPr>
        <p:spPr bwMode="gray">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ck </a:t>
            </a:r>
            <a:r>
              <a:rPr lang="fr-FR" noProof="0" err="1"/>
              <a:t>here</a:t>
            </a:r>
            <a:r>
              <a:rPr lang="fr-FR" noProof="0"/>
              <a:t>	&gt;&gt; </a:t>
            </a:r>
            <a:br>
              <a:rPr lang="fr-FR" noProof="0"/>
            </a:br>
            <a:r>
              <a:rPr lang="fr-FR" noProof="0"/>
              <a:t>to insert a </a:t>
            </a:r>
            <a:r>
              <a:rPr lang="fr-FR" noProof="0" err="1"/>
              <a:t>picture</a:t>
            </a:r>
            <a:endParaRPr lang="fr-FR" noProof="0"/>
          </a:p>
        </p:txBody>
      </p:sp>
      <p:sp>
        <p:nvSpPr>
          <p:cNvPr id="9" name="Titel 1"/>
          <p:cNvSpPr>
            <a:spLocks noGrp="1"/>
          </p:cNvSpPr>
          <p:nvPr>
            <p:ph type="title" hasCustomPrompt="1"/>
          </p:nvPr>
        </p:nvSpPr>
        <p:spPr bwMode="gray">
          <a:xfrm>
            <a:off x="3836371" y="3334423"/>
            <a:ext cx="7753846" cy="964800"/>
          </a:xfrm>
        </p:spPr>
        <p:txBody>
          <a:bodyPr lIns="108000" tIns="108000" rIns="0" anchor="t">
            <a:noAutofit/>
          </a:bodyPr>
          <a:lstStyle>
            <a:lvl1pPr algn="r">
              <a:defRPr sz="2400" cap="none" baseline="0">
                <a:solidFill>
                  <a:schemeClr val="bg2"/>
                </a:solidFill>
                <a:latin typeface="+mj-lt"/>
              </a:defRPr>
            </a:lvl1pPr>
          </a:lstStyle>
          <a:p>
            <a:r>
              <a:rPr lang="fr-FR" noProof="0" err="1"/>
              <a:t>Chapter</a:t>
            </a:r>
            <a:r>
              <a:rPr lang="fr-FR" noProof="0"/>
              <a:t> slide headline</a:t>
            </a:r>
          </a:p>
        </p:txBody>
      </p:sp>
    </p:spTree>
    <p:extLst>
      <p:ext uri="{BB962C8B-B14F-4D97-AF65-F5344CB8AC3E}">
        <p14:creationId xmlns:p14="http://schemas.microsoft.com/office/powerpoint/2010/main" val="22584547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hapter Green light">
    <p:bg>
      <p:bgPr>
        <a:solidFill>
          <a:schemeClr val="accent1"/>
        </a:solidFill>
        <a:effectLst/>
      </p:bgPr>
    </p:bg>
    <p:spTree>
      <p:nvGrpSpPr>
        <p:cNvPr id="1" name=""/>
        <p:cNvGrpSpPr/>
        <p:nvPr/>
      </p:nvGrpSpPr>
      <p:grpSpPr>
        <a:xfrm>
          <a:off x="0" y="0"/>
          <a:ext cx="0" cy="0"/>
          <a:chOff x="0" y="0"/>
          <a:chExt cx="0" cy="0"/>
        </a:xfrm>
      </p:grpSpPr>
      <p:pic>
        <p:nvPicPr>
          <p:cNvPr id="7" name="Image 11"/>
          <p:cNvPicPr>
            <a:picLocks noChangeAspect="1"/>
          </p:cNvPicPr>
          <p:nvPr/>
        </p:nvPicPr>
        <p:blipFill rotWithShape="1">
          <a:blip r:embed="rId2" cstate="print">
            <a:lum bright="70000" contrast="-70000"/>
            <a:extLst>
              <a:ext uri="{28A0092B-C50C-407E-A947-70E740481C1C}">
                <a14:useLocalDpi xmlns:a14="http://schemas.microsoft.com/office/drawing/2010/main"/>
              </a:ext>
            </a:extLst>
          </a:blip>
          <a:srcRect l="-1" t="1" r="-184259" b="-45082"/>
          <a:stretch/>
        </p:blipFill>
        <p:spPr>
          <a:xfrm>
            <a:off x="0" y="-1"/>
            <a:ext cx="12192000" cy="6856413"/>
          </a:xfrm>
          <a:prstGeom prst="rect">
            <a:avLst/>
          </a:prstGeom>
          <a:solidFill>
            <a:schemeClr val="accent1"/>
          </a:solidFill>
        </p:spPr>
      </p:pic>
      <p:sp>
        <p:nvSpPr>
          <p:cNvPr id="8" name="Espace réservé pour une image  35"/>
          <p:cNvSpPr>
            <a:spLocks noGrp="1"/>
          </p:cNvSpPr>
          <p:nvPr>
            <p:ph type="pic" sz="quarter" idx="10" hasCustomPrompt="1"/>
          </p:nvPr>
        </p:nvSpPr>
        <p:spPr bwMode="gray">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ck </a:t>
            </a:r>
            <a:r>
              <a:rPr lang="fr-FR" noProof="0" err="1"/>
              <a:t>here</a:t>
            </a:r>
            <a:r>
              <a:rPr lang="fr-FR" noProof="0"/>
              <a:t>	&gt;&gt; </a:t>
            </a:r>
            <a:br>
              <a:rPr lang="fr-FR" noProof="0"/>
            </a:br>
            <a:r>
              <a:rPr lang="fr-FR" noProof="0"/>
              <a:t>to insert a </a:t>
            </a:r>
            <a:r>
              <a:rPr lang="fr-FR" noProof="0" err="1"/>
              <a:t>picture</a:t>
            </a:r>
            <a:endParaRPr lang="fr-FR" noProof="0"/>
          </a:p>
        </p:txBody>
      </p:sp>
      <p:sp>
        <p:nvSpPr>
          <p:cNvPr id="5" name="Text Placeholder 4"/>
          <p:cNvSpPr>
            <a:spLocks noGrp="1"/>
          </p:cNvSpPr>
          <p:nvPr>
            <p:ph type="body" sz="quarter" idx="38" hasCustomPrompt="1"/>
          </p:nvPr>
        </p:nvSpPr>
        <p:spPr bwMode="gray">
          <a:xfrm>
            <a:off x="2787386" y="3334423"/>
            <a:ext cx="1050092" cy="964800"/>
          </a:xfrm>
          <a:prstGeom prst="rect">
            <a:avLst/>
          </a:prstGeom>
          <a:noFill/>
        </p:spPr>
        <p:txBody>
          <a:bodyPr lIns="0" rIns="0" bIns="108000" anchor="t">
            <a:noAutofit/>
          </a:bodyPr>
          <a:lstStyle>
            <a:lvl1pPr marL="0" indent="-252000" algn="just">
              <a:lnSpc>
                <a:spcPct val="100000"/>
              </a:lnSpc>
              <a:spcBef>
                <a:spcPts val="400"/>
              </a:spcBef>
              <a:buClr>
                <a:schemeClr val="bg1"/>
              </a:buClr>
              <a:buFont typeface="Tempus Sans ITC" panose="04020404030D07020202" pitchFamily="82" charset="0"/>
              <a:buChar char="/"/>
              <a:defRPr sz="2400" b="1" i="0">
                <a:solidFill>
                  <a:schemeClr val="bg1"/>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1</a:t>
            </a:r>
          </a:p>
        </p:txBody>
      </p:sp>
      <p:sp>
        <p:nvSpPr>
          <p:cNvPr id="9" name="Titel 1"/>
          <p:cNvSpPr>
            <a:spLocks noGrp="1"/>
          </p:cNvSpPr>
          <p:nvPr>
            <p:ph type="title" hasCustomPrompt="1"/>
          </p:nvPr>
        </p:nvSpPr>
        <p:spPr bwMode="gray">
          <a:xfrm>
            <a:off x="3836371" y="3334423"/>
            <a:ext cx="7753846" cy="964800"/>
          </a:xfrm>
        </p:spPr>
        <p:txBody>
          <a:bodyPr lIns="108000" tIns="108000" rIns="0" anchor="t">
            <a:noAutofit/>
          </a:bodyPr>
          <a:lstStyle>
            <a:lvl1pPr algn="r">
              <a:defRPr sz="2400" cap="none" baseline="0">
                <a:solidFill>
                  <a:schemeClr val="bg1"/>
                </a:solidFill>
                <a:latin typeface="+mj-lt"/>
              </a:defRPr>
            </a:lvl1pPr>
          </a:lstStyle>
          <a:p>
            <a:r>
              <a:rPr lang="fr-FR" noProof="0" err="1"/>
              <a:t>Chapter</a:t>
            </a:r>
            <a:r>
              <a:rPr lang="fr-FR" noProof="0"/>
              <a:t> slide headline</a:t>
            </a:r>
          </a:p>
        </p:txBody>
      </p:sp>
    </p:spTree>
    <p:extLst>
      <p:ext uri="{BB962C8B-B14F-4D97-AF65-F5344CB8AC3E}">
        <p14:creationId xmlns:p14="http://schemas.microsoft.com/office/powerpoint/2010/main" val="1218873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hapter Brown light">
    <p:bg>
      <p:bgPr>
        <a:solidFill>
          <a:schemeClr val="accent2"/>
        </a:solidFill>
        <a:effectLst/>
      </p:bgPr>
    </p:bg>
    <p:spTree>
      <p:nvGrpSpPr>
        <p:cNvPr id="1" name=""/>
        <p:cNvGrpSpPr/>
        <p:nvPr/>
      </p:nvGrpSpPr>
      <p:grpSpPr>
        <a:xfrm>
          <a:off x="0" y="0"/>
          <a:ext cx="0" cy="0"/>
          <a:chOff x="0" y="0"/>
          <a:chExt cx="0" cy="0"/>
        </a:xfrm>
      </p:grpSpPr>
      <p:pic>
        <p:nvPicPr>
          <p:cNvPr id="7" name="Image 11"/>
          <p:cNvPicPr>
            <a:picLocks noChangeAspect="1"/>
          </p:cNvPicPr>
          <p:nvPr/>
        </p:nvPicPr>
        <p:blipFill rotWithShape="1">
          <a:blip r:embed="rId2" cstate="print">
            <a:lum bright="70000" contrast="-70000"/>
            <a:extLst>
              <a:ext uri="{28A0092B-C50C-407E-A947-70E740481C1C}">
                <a14:useLocalDpi xmlns:a14="http://schemas.microsoft.com/office/drawing/2010/main"/>
              </a:ext>
            </a:extLst>
          </a:blip>
          <a:srcRect l="-1" t="1" r="-184259" b="-45082"/>
          <a:stretch/>
        </p:blipFill>
        <p:spPr>
          <a:xfrm>
            <a:off x="0" y="-1"/>
            <a:ext cx="12192000" cy="6856413"/>
          </a:xfrm>
          <a:prstGeom prst="rect">
            <a:avLst/>
          </a:prstGeom>
          <a:solidFill>
            <a:schemeClr val="accent2"/>
          </a:solidFill>
        </p:spPr>
      </p:pic>
      <p:sp>
        <p:nvSpPr>
          <p:cNvPr id="8" name="Espace réservé pour une image  35"/>
          <p:cNvSpPr>
            <a:spLocks noGrp="1"/>
          </p:cNvSpPr>
          <p:nvPr>
            <p:ph type="pic" sz="quarter" idx="10" hasCustomPrompt="1"/>
          </p:nvPr>
        </p:nvSpPr>
        <p:spPr bwMode="gray">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ck </a:t>
            </a:r>
            <a:r>
              <a:rPr lang="fr-FR" noProof="0" err="1"/>
              <a:t>here</a:t>
            </a:r>
            <a:r>
              <a:rPr lang="fr-FR" noProof="0"/>
              <a:t>	&gt;&gt; </a:t>
            </a:r>
            <a:br>
              <a:rPr lang="fr-FR" noProof="0"/>
            </a:br>
            <a:r>
              <a:rPr lang="fr-FR" noProof="0"/>
              <a:t>to insert a </a:t>
            </a:r>
            <a:r>
              <a:rPr lang="fr-FR" noProof="0" err="1"/>
              <a:t>picture</a:t>
            </a:r>
            <a:endParaRPr lang="fr-FR" noProof="0"/>
          </a:p>
        </p:txBody>
      </p:sp>
      <p:sp>
        <p:nvSpPr>
          <p:cNvPr id="5" name="Text Placeholder 4"/>
          <p:cNvSpPr>
            <a:spLocks noGrp="1"/>
          </p:cNvSpPr>
          <p:nvPr>
            <p:ph type="body" sz="quarter" idx="38" hasCustomPrompt="1"/>
          </p:nvPr>
        </p:nvSpPr>
        <p:spPr bwMode="gray">
          <a:xfrm>
            <a:off x="2787386" y="3334423"/>
            <a:ext cx="1050092" cy="964800"/>
          </a:xfrm>
          <a:prstGeom prst="rect">
            <a:avLst/>
          </a:prstGeom>
          <a:noFill/>
        </p:spPr>
        <p:txBody>
          <a:bodyPr lIns="0" rIns="0" anchor="t">
            <a:noAutofit/>
          </a:bodyPr>
          <a:lstStyle>
            <a:lvl1pPr marL="0" indent="-252000" algn="just">
              <a:lnSpc>
                <a:spcPct val="100000"/>
              </a:lnSpc>
              <a:spcBef>
                <a:spcPts val="400"/>
              </a:spcBef>
              <a:buClr>
                <a:schemeClr val="bg1"/>
              </a:buClr>
              <a:buFont typeface="Tempus Sans ITC" panose="04020404030D07020202" pitchFamily="82" charset="0"/>
              <a:buChar char="/"/>
              <a:defRPr sz="2400" b="1" i="0">
                <a:solidFill>
                  <a:schemeClr val="bg1"/>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1</a:t>
            </a:r>
          </a:p>
        </p:txBody>
      </p:sp>
      <p:sp>
        <p:nvSpPr>
          <p:cNvPr id="9" name="Titel 1"/>
          <p:cNvSpPr>
            <a:spLocks noGrp="1"/>
          </p:cNvSpPr>
          <p:nvPr>
            <p:ph type="title" hasCustomPrompt="1"/>
          </p:nvPr>
        </p:nvSpPr>
        <p:spPr bwMode="gray">
          <a:xfrm>
            <a:off x="3836371" y="3334423"/>
            <a:ext cx="7753846" cy="964800"/>
          </a:xfrm>
        </p:spPr>
        <p:txBody>
          <a:bodyPr lIns="108000" tIns="108000" rIns="0" anchor="t">
            <a:noAutofit/>
          </a:bodyPr>
          <a:lstStyle>
            <a:lvl1pPr algn="r">
              <a:defRPr sz="2400" cap="none" baseline="0">
                <a:solidFill>
                  <a:schemeClr val="bg1"/>
                </a:solidFill>
                <a:latin typeface="+mj-lt"/>
              </a:defRPr>
            </a:lvl1pPr>
          </a:lstStyle>
          <a:p>
            <a:r>
              <a:rPr lang="fr-FR" noProof="0" err="1"/>
              <a:t>Chapter</a:t>
            </a:r>
            <a:r>
              <a:rPr lang="fr-FR" noProof="0"/>
              <a:t> slide headline</a:t>
            </a:r>
          </a:p>
        </p:txBody>
      </p:sp>
    </p:spTree>
    <p:extLst>
      <p:ext uri="{BB962C8B-B14F-4D97-AF65-F5344CB8AC3E}">
        <p14:creationId xmlns:p14="http://schemas.microsoft.com/office/powerpoint/2010/main" val="40084713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35769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25354" y="404665"/>
            <a:ext cx="11342769" cy="863748"/>
          </a:xfrm>
        </p:spPr>
        <p:txBody>
          <a:bodyPr lIns="108000" tIns="0" rIns="108000" bIns="0"/>
          <a:lstStyle>
            <a:lvl1pPr>
              <a:defRPr sz="2200" baseline="0">
                <a:solidFill>
                  <a:schemeClr val="bg2"/>
                </a:solidFill>
              </a:defRPr>
            </a:lvl1pPr>
          </a:lstStyle>
          <a:p>
            <a:r>
              <a:rPr lang="fr-FR"/>
              <a:t>Compléter avec un titre ici qui porte votre message sur deux lignes au maximum pour des raisons de lisibilité</a:t>
            </a:r>
            <a:endParaRPr lang="fr-FR" noProof="0"/>
          </a:p>
        </p:txBody>
      </p:sp>
      <p:sp>
        <p:nvSpPr>
          <p:cNvPr id="5"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fr-FR" noProof="0"/>
              <a:t>Insérer un surtitre ici – il ne doit pas dépasser 1 ligne</a:t>
            </a:r>
          </a:p>
        </p:txBody>
      </p:sp>
    </p:spTree>
    <p:extLst>
      <p:ext uri="{BB962C8B-B14F-4D97-AF65-F5344CB8AC3E}">
        <p14:creationId xmlns:p14="http://schemas.microsoft.com/office/powerpoint/2010/main" val="28403405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Page Contacts">
    <p:bg>
      <p:bgPr>
        <a:solidFill>
          <a:schemeClr val="bg2"/>
        </a:solidFill>
        <a:effectLst/>
      </p:bgPr>
    </p:bg>
    <p:spTree>
      <p:nvGrpSpPr>
        <p:cNvPr id="1" name=""/>
        <p:cNvGrpSpPr/>
        <p:nvPr/>
      </p:nvGrpSpPr>
      <p:grpSpPr>
        <a:xfrm>
          <a:off x="0" y="0"/>
          <a:ext cx="0" cy="0"/>
          <a:chOff x="0" y="0"/>
          <a:chExt cx="0" cy="0"/>
        </a:xfrm>
      </p:grpSpPr>
      <p:pic>
        <p:nvPicPr>
          <p:cNvPr id="32" name="Image 5"/>
          <p:cNvPicPr>
            <a:picLocks noChangeAspect="1"/>
          </p:cNvPicPr>
          <p:nvPr/>
        </p:nvPicPr>
        <p:blipFill rotWithShape="1">
          <a:blip r:embed="rId2" cstate="print">
            <a:extLst>
              <a:ext uri="{28A0092B-C50C-407E-A947-70E740481C1C}">
                <a14:useLocalDpi xmlns:a14="http://schemas.microsoft.com/office/drawing/2010/main"/>
              </a:ext>
            </a:extLst>
          </a:blip>
          <a:srcRect r="-184204" b="-45087"/>
          <a:stretch/>
        </p:blipFill>
        <p:spPr>
          <a:xfrm>
            <a:off x="-2" y="-9086"/>
            <a:ext cx="12192001" cy="6858000"/>
          </a:xfrm>
          <a:prstGeom prst="rect">
            <a:avLst/>
          </a:prstGeom>
          <a:solidFill>
            <a:schemeClr val="bg2"/>
          </a:solidFill>
        </p:spPr>
      </p:pic>
      <p:pic>
        <p:nvPicPr>
          <p:cNvPr id="5" name="Picture 7"/>
          <p:cNvPicPr>
            <a:picLocks/>
          </p:cNvPicPr>
          <p:nvPr/>
        </p:nvPicPr>
        <p:blipFill>
          <a:blip r:embed="rId3"/>
          <a:stretch>
            <a:fillRect/>
          </a:stretch>
        </p:blipFill>
        <p:spPr>
          <a:xfrm>
            <a:off x="8152615" y="1152000"/>
            <a:ext cx="3478154" cy="381600"/>
          </a:xfrm>
          <a:prstGeom prst="rect">
            <a:avLst/>
          </a:prstGeom>
        </p:spPr>
      </p:pic>
    </p:spTree>
    <p:extLst>
      <p:ext uri="{BB962C8B-B14F-4D97-AF65-F5344CB8AC3E}">
        <p14:creationId xmlns:p14="http://schemas.microsoft.com/office/powerpoint/2010/main" val="16504528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End Page Picture">
    <p:spTree>
      <p:nvGrpSpPr>
        <p:cNvPr id="1" name=""/>
        <p:cNvGrpSpPr/>
        <p:nvPr/>
      </p:nvGrpSpPr>
      <p:grpSpPr>
        <a:xfrm>
          <a:off x="0" y="0"/>
          <a:ext cx="0" cy="0"/>
          <a:chOff x="0" y="0"/>
          <a:chExt cx="0" cy="0"/>
        </a:xfrm>
      </p:grpSpPr>
      <p:pic>
        <p:nvPicPr>
          <p:cNvPr id="1026" name="Picture 2" descr="C:\Users\kerveillant\Desktop\WAVESTONE #ProdTools\4. Visuels\La city 2.png"/>
          <p:cNvPicPr>
            <a:picLocks noChangeAspect="1" noChangeArrowheads="1"/>
          </p:cNvPicPr>
          <p:nvPr/>
        </p:nvPicPr>
        <p:blipFill rotWithShape="1">
          <a:blip r:embed="rId2">
            <a:extLst>
              <a:ext uri="{28A0092B-C50C-407E-A947-70E740481C1C}">
                <a14:useLocalDpi xmlns:a14="http://schemas.microsoft.com/office/drawing/2010/main" val="0"/>
              </a:ext>
            </a:extLst>
          </a:blip>
          <a:srcRect r="3694"/>
          <a:stretch/>
        </p:blipFill>
        <p:spPr bwMode="auto">
          <a:xfrm>
            <a:off x="-19141" y="1"/>
            <a:ext cx="12211141" cy="686538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7"/>
          <p:cNvPicPr>
            <a:picLocks/>
          </p:cNvPicPr>
          <p:nvPr/>
        </p:nvPicPr>
        <p:blipFill>
          <a:blip r:embed="rId3"/>
          <a:stretch>
            <a:fillRect/>
          </a:stretch>
        </p:blipFill>
        <p:spPr>
          <a:xfrm>
            <a:off x="8152615" y="1152000"/>
            <a:ext cx="3478154" cy="381600"/>
          </a:xfrm>
          <a:prstGeom prst="rect">
            <a:avLst/>
          </a:prstGeom>
        </p:spPr>
      </p:pic>
      <p:sp>
        <p:nvSpPr>
          <p:cNvPr id="6" name="TextBox 5"/>
          <p:cNvSpPr txBox="1"/>
          <p:nvPr/>
        </p:nvSpPr>
        <p:spPr bwMode="black">
          <a:xfrm>
            <a:off x="-1277" y="0"/>
            <a:ext cx="2835031" cy="5229200"/>
          </a:xfrm>
          <a:prstGeom prst="rect">
            <a:avLst/>
          </a:prstGeom>
          <a:noFill/>
        </p:spPr>
        <p:txBody>
          <a:bodyPr wrap="square" rtlCol="0" anchor="t" anchorCtr="1">
            <a:noAutofit/>
          </a:bodyPr>
          <a:lstStyle/>
          <a:p>
            <a:pPr algn="l">
              <a:lnSpc>
                <a:spcPct val="200000"/>
              </a:lnSpc>
            </a:pPr>
            <a:r>
              <a:rPr lang="fr-FR" sz="1000" noProof="0">
                <a:solidFill>
                  <a:schemeClr val="bg2"/>
                </a:solidFill>
              </a:rPr>
              <a:t>PARIS</a:t>
            </a:r>
          </a:p>
          <a:p>
            <a:pPr algn="l">
              <a:lnSpc>
                <a:spcPct val="200000"/>
              </a:lnSpc>
            </a:pPr>
            <a:r>
              <a:rPr lang="fr-FR" sz="1000" noProof="0">
                <a:solidFill>
                  <a:schemeClr val="bg2"/>
                </a:solidFill>
              </a:rPr>
              <a:t>LONDON</a:t>
            </a:r>
          </a:p>
          <a:p>
            <a:pPr algn="l">
              <a:lnSpc>
                <a:spcPct val="200000"/>
              </a:lnSpc>
            </a:pPr>
            <a:r>
              <a:rPr lang="fr-FR" sz="1000" noProof="0">
                <a:solidFill>
                  <a:schemeClr val="bg2"/>
                </a:solidFill>
              </a:rPr>
              <a:t>NEW YORK</a:t>
            </a:r>
          </a:p>
          <a:p>
            <a:pPr algn="l">
              <a:lnSpc>
                <a:spcPct val="200000"/>
              </a:lnSpc>
            </a:pPr>
            <a:r>
              <a:rPr lang="fr-FR" sz="1000" noProof="0">
                <a:solidFill>
                  <a:schemeClr val="bg2"/>
                </a:solidFill>
              </a:rPr>
              <a:t>HONG KONG</a:t>
            </a:r>
          </a:p>
          <a:p>
            <a:pPr algn="l">
              <a:lnSpc>
                <a:spcPct val="200000"/>
              </a:lnSpc>
            </a:pPr>
            <a:r>
              <a:rPr lang="fr-FR" sz="1000" noProof="0">
                <a:solidFill>
                  <a:schemeClr val="bg2"/>
                </a:solidFill>
              </a:rPr>
              <a:t>SINGAPORE *</a:t>
            </a:r>
          </a:p>
          <a:p>
            <a:pPr algn="l">
              <a:lnSpc>
                <a:spcPct val="200000"/>
              </a:lnSpc>
            </a:pPr>
            <a:r>
              <a:rPr lang="fr-FR" sz="1000" noProof="0">
                <a:solidFill>
                  <a:schemeClr val="bg2"/>
                </a:solidFill>
              </a:rPr>
              <a:t>DUBAI *</a:t>
            </a:r>
          </a:p>
          <a:p>
            <a:pPr algn="l">
              <a:lnSpc>
                <a:spcPct val="200000"/>
              </a:lnSpc>
            </a:pPr>
            <a:r>
              <a:rPr lang="fr-FR" sz="1000" noProof="0">
                <a:solidFill>
                  <a:schemeClr val="bg2"/>
                </a:solidFill>
              </a:rPr>
              <a:t>SAO PAULO *</a:t>
            </a:r>
          </a:p>
          <a:p>
            <a:pPr marL="0" marR="0" indent="0" algn="l" defTabSz="914400" rtl="0" eaLnBrk="1" fontAlgn="auto" latinLnBrk="0" hangingPunct="1">
              <a:lnSpc>
                <a:spcPct val="200000"/>
              </a:lnSpc>
              <a:spcBef>
                <a:spcPts val="0"/>
              </a:spcBef>
              <a:spcAft>
                <a:spcPts val="0"/>
              </a:spcAft>
              <a:buClrTx/>
              <a:buSzTx/>
              <a:buFontTx/>
              <a:buNone/>
              <a:tabLst/>
              <a:defRPr/>
            </a:pPr>
            <a:r>
              <a:rPr lang="fr-FR" sz="1000" noProof="0">
                <a:solidFill>
                  <a:schemeClr val="bg2"/>
                </a:solidFill>
              </a:rPr>
              <a:t>LUXEMBOURG</a:t>
            </a:r>
          </a:p>
          <a:p>
            <a:pPr algn="l">
              <a:lnSpc>
                <a:spcPct val="200000"/>
              </a:lnSpc>
            </a:pPr>
            <a:r>
              <a:rPr lang="fr-FR" sz="1000" noProof="0">
                <a:solidFill>
                  <a:schemeClr val="bg2"/>
                </a:solidFill>
              </a:rPr>
              <a:t>MADRID *</a:t>
            </a:r>
          </a:p>
          <a:p>
            <a:pPr algn="l">
              <a:lnSpc>
                <a:spcPct val="200000"/>
              </a:lnSpc>
            </a:pPr>
            <a:r>
              <a:rPr lang="fr-FR" sz="1000" noProof="0">
                <a:solidFill>
                  <a:schemeClr val="bg2"/>
                </a:solidFill>
              </a:rPr>
              <a:t>MILANO *</a:t>
            </a:r>
          </a:p>
          <a:p>
            <a:pPr algn="l">
              <a:lnSpc>
                <a:spcPct val="200000"/>
              </a:lnSpc>
            </a:pPr>
            <a:r>
              <a:rPr lang="fr-FR" sz="1000" noProof="0">
                <a:solidFill>
                  <a:schemeClr val="bg2"/>
                </a:solidFill>
              </a:rPr>
              <a:t>BRUSSELS</a:t>
            </a:r>
          </a:p>
          <a:p>
            <a:pPr algn="l">
              <a:lnSpc>
                <a:spcPct val="200000"/>
              </a:lnSpc>
            </a:pPr>
            <a:r>
              <a:rPr lang="fr-FR" sz="1000" noProof="0">
                <a:solidFill>
                  <a:schemeClr val="bg2"/>
                </a:solidFill>
              </a:rPr>
              <a:t>GENEVA</a:t>
            </a:r>
          </a:p>
          <a:p>
            <a:pPr algn="l">
              <a:lnSpc>
                <a:spcPct val="200000"/>
              </a:lnSpc>
            </a:pPr>
            <a:r>
              <a:rPr lang="fr-FR" sz="1000" noProof="0">
                <a:solidFill>
                  <a:schemeClr val="bg2"/>
                </a:solidFill>
              </a:rPr>
              <a:t>CASABLANCA</a:t>
            </a:r>
          </a:p>
          <a:p>
            <a:pPr algn="l">
              <a:lnSpc>
                <a:spcPct val="200000"/>
              </a:lnSpc>
            </a:pPr>
            <a:r>
              <a:rPr lang="fr-FR" sz="1000" noProof="0">
                <a:solidFill>
                  <a:schemeClr val="bg2"/>
                </a:solidFill>
              </a:rPr>
              <a:t>ISTANBUL *</a:t>
            </a:r>
          </a:p>
          <a:p>
            <a:pPr algn="l">
              <a:lnSpc>
                <a:spcPct val="200000"/>
              </a:lnSpc>
            </a:pPr>
            <a:r>
              <a:rPr lang="fr-FR" sz="1000" noProof="0">
                <a:solidFill>
                  <a:schemeClr val="bg2"/>
                </a:solidFill>
              </a:rPr>
              <a:t>LYON</a:t>
            </a:r>
          </a:p>
          <a:p>
            <a:pPr algn="l">
              <a:lnSpc>
                <a:spcPct val="200000"/>
              </a:lnSpc>
            </a:pPr>
            <a:r>
              <a:rPr lang="fr-FR" sz="1000" noProof="0">
                <a:solidFill>
                  <a:schemeClr val="bg2"/>
                </a:solidFill>
              </a:rPr>
              <a:t>MARSEILLE</a:t>
            </a:r>
          </a:p>
          <a:p>
            <a:pPr algn="l">
              <a:lnSpc>
                <a:spcPct val="200000"/>
              </a:lnSpc>
            </a:pPr>
            <a:r>
              <a:rPr lang="fr-FR" sz="1000" noProof="0">
                <a:solidFill>
                  <a:schemeClr val="bg2"/>
                </a:solidFill>
              </a:rPr>
              <a:t>NANTES</a:t>
            </a:r>
          </a:p>
          <a:p>
            <a:pPr algn="l"/>
            <a:endParaRPr lang="fr-FR" sz="1000" noProof="0">
              <a:solidFill>
                <a:schemeClr val="bg2"/>
              </a:solidFill>
            </a:endParaRPr>
          </a:p>
        </p:txBody>
      </p:sp>
      <p:sp>
        <p:nvSpPr>
          <p:cNvPr id="7" name="TextBox 6"/>
          <p:cNvSpPr txBox="1"/>
          <p:nvPr/>
        </p:nvSpPr>
        <p:spPr bwMode="black">
          <a:xfrm>
            <a:off x="811107" y="5358408"/>
            <a:ext cx="1107692" cy="230832"/>
          </a:xfrm>
          <a:prstGeom prst="rect">
            <a:avLst/>
          </a:prstGeom>
          <a:noFill/>
        </p:spPr>
        <p:txBody>
          <a:bodyPr wrap="square" rtlCol="0">
            <a:spAutoFit/>
          </a:bodyPr>
          <a:lstStyle/>
          <a:p>
            <a:pPr algn="l"/>
            <a:r>
              <a:rPr lang="fr-FR" sz="900" noProof="0">
                <a:solidFill>
                  <a:schemeClr val="bg2"/>
                </a:solidFill>
              </a:rPr>
              <a:t>* </a:t>
            </a:r>
            <a:r>
              <a:rPr lang="fr-FR" sz="900" noProof="0" err="1">
                <a:solidFill>
                  <a:schemeClr val="bg2"/>
                </a:solidFill>
              </a:rPr>
              <a:t>Partners</a:t>
            </a:r>
            <a:endParaRPr lang="fr-FR" sz="900" noProof="0">
              <a:solidFill>
                <a:schemeClr val="bg2"/>
              </a:solidFill>
            </a:endParaRPr>
          </a:p>
        </p:txBody>
      </p:sp>
    </p:spTree>
    <p:extLst>
      <p:ext uri="{BB962C8B-B14F-4D97-AF65-F5344CB8AC3E}">
        <p14:creationId xmlns:p14="http://schemas.microsoft.com/office/powerpoint/2010/main" val="32077555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Guidelin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5354" y="404665"/>
            <a:ext cx="11342769" cy="863748"/>
          </a:xfrm>
        </p:spPr>
        <p:txBody>
          <a:bodyPr lIns="108000" tIns="36000" rIns="108000" bIns="0"/>
          <a:lstStyle>
            <a:lvl1pPr>
              <a:defRPr sz="2200" baseline="0">
                <a:solidFill>
                  <a:schemeClr val="bg2"/>
                </a:solidFill>
              </a:defRPr>
            </a:lvl1pPr>
          </a:lstStyle>
          <a:p>
            <a:r>
              <a:rPr lang="fr-FR" noProof="0" err="1"/>
              <a:t>Colour</a:t>
            </a:r>
            <a:r>
              <a:rPr lang="fr-FR" noProof="0"/>
              <a:t> &amp; Font structure</a:t>
            </a:r>
          </a:p>
        </p:txBody>
      </p:sp>
      <p:graphicFrame>
        <p:nvGraphicFramePr>
          <p:cNvPr id="5" name="Table 4"/>
          <p:cNvGraphicFramePr>
            <a:graphicFrameLocks noGrp="1"/>
          </p:cNvGraphicFramePr>
          <p:nvPr>
            <p:extLst>
              <p:ext uri="{D42A27DB-BD31-4B8C-83A1-F6EECF244321}">
                <p14:modId xmlns:p14="http://schemas.microsoft.com/office/powerpoint/2010/main" val="2445495934"/>
              </p:ext>
            </p:extLst>
          </p:nvPr>
        </p:nvGraphicFramePr>
        <p:xfrm>
          <a:off x="486065" y="3212976"/>
          <a:ext cx="11561351" cy="359664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2381692">
                  <a:extLst>
                    <a:ext uri="{9D8B030D-6E8A-4147-A177-3AD203B41FA5}">
                      <a16:colId xmlns:a16="http://schemas.microsoft.com/office/drawing/2014/main" val="20006"/>
                    </a:ext>
                  </a:extLst>
                </a:gridCol>
                <a:gridCol w="1937737">
                  <a:extLst>
                    <a:ext uri="{9D8B030D-6E8A-4147-A177-3AD203B41FA5}">
                      <a16:colId xmlns:a16="http://schemas.microsoft.com/office/drawing/2014/main" val="20007"/>
                    </a:ext>
                  </a:extLst>
                </a:gridCol>
              </a:tblGrid>
              <a:tr h="364884">
                <a:tc>
                  <a:txBody>
                    <a:bodyPr/>
                    <a:lstStyle/>
                    <a:p>
                      <a:r>
                        <a:rPr lang="fr-FR" sz="900" b="1" noProof="0" err="1"/>
                        <a:t>Level</a:t>
                      </a:r>
                      <a:endParaRPr lang="fr-FR" sz="900" b="1" noProof="0"/>
                    </a:p>
                  </a:txBody>
                  <a:tcPr marL="112542" marR="112542">
                    <a:solidFill>
                      <a:schemeClr val="bg1">
                        <a:lumMod val="95000"/>
                      </a:schemeClr>
                    </a:solidFill>
                  </a:tcPr>
                </a:tc>
                <a:tc>
                  <a:txBody>
                    <a:bodyPr/>
                    <a:lstStyle/>
                    <a:p>
                      <a:r>
                        <a:rPr lang="fr-FR" sz="900" b="1" kern="1200" noProof="0">
                          <a:solidFill>
                            <a:schemeClr val="tx1"/>
                          </a:solidFill>
                          <a:latin typeface="+mn-lt"/>
                          <a:ea typeface="+mn-ea"/>
                          <a:cs typeface="+mn-cs"/>
                        </a:rPr>
                        <a:t>Font</a:t>
                      </a:r>
                    </a:p>
                  </a:txBody>
                  <a:tcPr marL="112542" marR="112542">
                    <a:solidFill>
                      <a:schemeClr val="bg1">
                        <a:lumMod val="95000"/>
                      </a:schemeClr>
                    </a:solidFill>
                  </a:tcPr>
                </a:tc>
                <a:tc>
                  <a:txBody>
                    <a:bodyPr/>
                    <a:lstStyle/>
                    <a:p>
                      <a:r>
                        <a:rPr lang="fr-FR" sz="900" b="1" kern="1200" noProof="0" err="1">
                          <a:solidFill>
                            <a:schemeClr val="tx1"/>
                          </a:solidFill>
                          <a:latin typeface="+mn-lt"/>
                          <a:ea typeface="+mn-ea"/>
                          <a:cs typeface="+mn-cs"/>
                        </a:rPr>
                        <a:t>Color</a:t>
                      </a:r>
                      <a:endParaRPr lang="fr-FR" sz="900" b="1" kern="1200" noProof="0">
                        <a:solidFill>
                          <a:schemeClr val="tx1"/>
                        </a:solidFill>
                        <a:latin typeface="+mn-lt"/>
                        <a:ea typeface="+mn-ea"/>
                        <a:cs typeface="+mn-cs"/>
                      </a:endParaRPr>
                    </a:p>
                  </a:txBody>
                  <a:tcPr marL="112542" marR="112542">
                    <a:solidFill>
                      <a:schemeClr val="bg1">
                        <a:lumMod val="95000"/>
                      </a:schemeClr>
                    </a:solidFill>
                  </a:tcPr>
                </a:tc>
                <a:tc>
                  <a:txBody>
                    <a:bodyPr/>
                    <a:lstStyle/>
                    <a:p>
                      <a:r>
                        <a:rPr lang="fr-FR" sz="900" b="1" kern="1200" noProof="0">
                          <a:solidFill>
                            <a:schemeClr val="tx1"/>
                          </a:solidFill>
                          <a:latin typeface="+mn-lt"/>
                          <a:ea typeface="+mn-ea"/>
                          <a:cs typeface="+mn-cs"/>
                        </a:rPr>
                        <a:t>Size</a:t>
                      </a:r>
                    </a:p>
                  </a:txBody>
                  <a:tcPr marL="112542" marR="112542">
                    <a:solidFill>
                      <a:schemeClr val="bg1">
                        <a:lumMod val="95000"/>
                      </a:schemeClr>
                    </a:solidFill>
                  </a:tcPr>
                </a:tc>
                <a:tc>
                  <a:txBody>
                    <a:bodyPr/>
                    <a:lstStyle/>
                    <a:p>
                      <a:r>
                        <a:rPr lang="fr-FR" sz="900" b="1" kern="1200" noProof="0" err="1">
                          <a:solidFill>
                            <a:schemeClr val="tx1"/>
                          </a:solidFill>
                          <a:latin typeface="+mn-lt"/>
                          <a:ea typeface="+mn-ea"/>
                          <a:cs typeface="+mn-cs"/>
                        </a:rPr>
                        <a:t>Effect</a:t>
                      </a:r>
                      <a:endParaRPr lang="fr-FR" sz="900" b="1" kern="1200" noProof="0">
                        <a:solidFill>
                          <a:schemeClr val="tx1"/>
                        </a:solidFill>
                        <a:latin typeface="+mn-lt"/>
                        <a:ea typeface="+mn-ea"/>
                        <a:cs typeface="+mn-cs"/>
                      </a:endParaRPr>
                    </a:p>
                  </a:txBody>
                  <a:tcPr marL="112542" marR="112542">
                    <a:solidFill>
                      <a:schemeClr val="bg1">
                        <a:lumMod val="95000"/>
                      </a:schemeClr>
                    </a:solidFill>
                  </a:tcPr>
                </a:tc>
                <a:tc>
                  <a:txBody>
                    <a:bodyPr/>
                    <a:lstStyle/>
                    <a:p>
                      <a:r>
                        <a:rPr lang="fr-FR" sz="900" b="1" kern="1200" noProof="0">
                          <a:solidFill>
                            <a:schemeClr val="tx1"/>
                          </a:solidFill>
                          <a:latin typeface="+mn-lt"/>
                          <a:ea typeface="+mn-ea"/>
                          <a:cs typeface="+mn-cs"/>
                        </a:rPr>
                        <a:t>Bullet </a:t>
                      </a:r>
                    </a:p>
                  </a:txBody>
                  <a:tcPr marL="112542" marR="112542">
                    <a:solidFill>
                      <a:schemeClr val="bg1">
                        <a:lumMod val="95000"/>
                      </a:schemeClr>
                    </a:solidFill>
                  </a:tcPr>
                </a:tc>
                <a:tc>
                  <a:txBody>
                    <a:bodyPr/>
                    <a:lstStyle/>
                    <a:p>
                      <a:r>
                        <a:rPr lang="fr-FR" sz="900" b="1" kern="1200" noProof="0" err="1">
                          <a:solidFill>
                            <a:schemeClr val="tx1"/>
                          </a:solidFill>
                          <a:latin typeface="+mn-lt"/>
                          <a:ea typeface="+mn-ea"/>
                          <a:cs typeface="+mn-cs"/>
                        </a:rPr>
                        <a:t>Paragraph</a:t>
                      </a:r>
                      <a:endParaRPr lang="fr-FR" sz="900" b="1" kern="1200" noProof="0">
                        <a:solidFill>
                          <a:schemeClr val="tx1"/>
                        </a:solidFill>
                        <a:latin typeface="+mn-lt"/>
                        <a:ea typeface="+mn-ea"/>
                        <a:cs typeface="+mn-cs"/>
                      </a:endParaRPr>
                    </a:p>
                    <a:p>
                      <a:r>
                        <a:rPr lang="fr-FR" sz="900" b="1" kern="1200" noProof="0">
                          <a:solidFill>
                            <a:schemeClr val="tx1"/>
                          </a:solidFill>
                          <a:latin typeface="+mn-lt"/>
                          <a:ea typeface="+mn-ea"/>
                          <a:cs typeface="+mn-cs"/>
                        </a:rPr>
                        <a:t>Indentation</a:t>
                      </a:r>
                    </a:p>
                  </a:txBody>
                  <a:tcPr marL="112542" marR="112542">
                    <a:solidFill>
                      <a:schemeClr val="bg1">
                        <a:lumMod val="95000"/>
                      </a:schemeClr>
                    </a:solidFill>
                  </a:tcPr>
                </a:tc>
                <a:tc>
                  <a:txBody>
                    <a:bodyPr/>
                    <a:lstStyle/>
                    <a:p>
                      <a:r>
                        <a:rPr lang="fr-FR" sz="900" b="1" kern="1200" noProof="0" err="1">
                          <a:solidFill>
                            <a:schemeClr val="tx1"/>
                          </a:solidFill>
                          <a:latin typeface="+mn-lt"/>
                          <a:ea typeface="+mn-ea"/>
                          <a:cs typeface="+mn-cs"/>
                        </a:rPr>
                        <a:t>Paragraph</a:t>
                      </a:r>
                      <a:endParaRPr lang="fr-FR" sz="900" b="1" kern="1200" noProof="0">
                        <a:solidFill>
                          <a:schemeClr val="tx1"/>
                        </a:solidFill>
                        <a:latin typeface="+mn-lt"/>
                        <a:ea typeface="+mn-ea"/>
                        <a:cs typeface="+mn-cs"/>
                      </a:endParaRPr>
                    </a:p>
                    <a:p>
                      <a:r>
                        <a:rPr lang="fr-FR" sz="900" b="1" kern="1200" noProof="0" err="1">
                          <a:solidFill>
                            <a:schemeClr val="tx1"/>
                          </a:solidFill>
                          <a:latin typeface="+mn-lt"/>
                          <a:ea typeface="+mn-ea"/>
                          <a:cs typeface="+mn-cs"/>
                        </a:rPr>
                        <a:t>Spacing</a:t>
                      </a:r>
                      <a:endParaRPr lang="fr-FR" sz="900" b="1" kern="1200" noProof="0">
                        <a:solidFill>
                          <a:schemeClr val="tx1"/>
                        </a:solidFill>
                        <a:latin typeface="+mn-lt"/>
                        <a:ea typeface="+mn-ea"/>
                        <a:cs typeface="+mn-cs"/>
                      </a:endParaRP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fr-FR" sz="1000" i="0" kern="1200" cap="all" baseline="0" err="1">
                          <a:solidFill>
                            <a:schemeClr val="accent4"/>
                          </a:solidFill>
                          <a:latin typeface="+mj-lt"/>
                          <a:ea typeface="+mn-ea"/>
                          <a:cs typeface="+mn-cs"/>
                        </a:rPr>
                        <a:t>subtitle</a:t>
                      </a:r>
                      <a:endParaRPr lang="fr-FR" sz="1000" i="0" kern="1200" cap="all" baseline="0">
                        <a:solidFill>
                          <a:schemeClr val="accent4"/>
                        </a:solidFill>
                        <a:latin typeface="+mj-lt"/>
                        <a:ea typeface="+mn-ea"/>
                        <a:cs typeface="+mn-cs"/>
                      </a:endParaRPr>
                    </a:p>
                  </a:txBody>
                  <a:tcPr marL="112542" marR="112542" anchor="ctr">
                    <a:solidFill>
                      <a:schemeClr val="bg1"/>
                    </a:solidFill>
                  </a:tcPr>
                </a:tc>
                <a:tc>
                  <a:txBody>
                    <a:bodyPr/>
                    <a:lstStyle/>
                    <a:p>
                      <a:pPr algn="ctr"/>
                      <a:r>
                        <a:rPr lang="fr-FR" sz="1000" i="0" kern="1200" cap="none" baseline="0" err="1">
                          <a:solidFill>
                            <a:schemeClr val="tx1"/>
                          </a:solidFill>
                          <a:latin typeface="+mn-lt"/>
                          <a:ea typeface="+mn-ea"/>
                          <a:cs typeface="+mn-cs"/>
                        </a:rPr>
                        <a:t>Tahoma</a:t>
                      </a:r>
                      <a:r>
                        <a:rPr lang="fr-FR" sz="1000" i="0" kern="1200" cap="none" baseline="0">
                          <a:solidFill>
                            <a:schemeClr val="tx1"/>
                          </a:solidFill>
                          <a:latin typeface="+mn-lt"/>
                          <a:ea typeface="+mn-ea"/>
                          <a:cs typeface="+mn-cs"/>
                        </a:rPr>
                        <a:t> </a:t>
                      </a:r>
                      <a:r>
                        <a:rPr lang="fr-FR" sz="1000" i="0" kern="1200" cap="none" baseline="0" err="1">
                          <a:solidFill>
                            <a:schemeClr val="tx1"/>
                          </a:solidFill>
                          <a:latin typeface="+mn-lt"/>
                          <a:ea typeface="+mn-ea"/>
                          <a:cs typeface="+mn-cs"/>
                        </a:rPr>
                        <a:t>Headings</a:t>
                      </a:r>
                      <a:endParaRPr lang="fr-FR" sz="1000" i="0" kern="1200" cap="none" baseline="0">
                        <a:solidFill>
                          <a:schemeClr val="tx1"/>
                        </a:solidFill>
                        <a:latin typeface="+mn-lt"/>
                        <a:ea typeface="+mn-ea"/>
                        <a:cs typeface="+mn-cs"/>
                      </a:endParaRP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47 / 132 / 129</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0</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ALL CAPS</a:t>
                      </a: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err="1">
                          <a:solidFill>
                            <a:schemeClr val="tx1"/>
                          </a:solidFill>
                          <a:latin typeface="+mn-lt"/>
                          <a:ea typeface="+mn-ea"/>
                          <a:cs typeface="+mn-cs"/>
                        </a:rPr>
                        <a:t>Before</a:t>
                      </a:r>
                      <a:r>
                        <a:rPr lang="fr-FR" sz="1000" kern="1200">
                          <a:solidFill>
                            <a:schemeClr val="tx1"/>
                          </a:solidFill>
                          <a:latin typeface="+mn-lt"/>
                          <a:ea typeface="+mn-ea"/>
                          <a:cs typeface="+mn-cs"/>
                        </a:rPr>
                        <a:t> </a:t>
                      </a:r>
                      <a:r>
                        <a:rPr lang="fr-FR" sz="1000" kern="1200" err="1">
                          <a:solidFill>
                            <a:schemeClr val="tx1"/>
                          </a:solidFill>
                          <a:latin typeface="+mn-lt"/>
                          <a:ea typeface="+mn-ea"/>
                          <a:cs typeface="+mn-cs"/>
                        </a:rPr>
                        <a:t>text</a:t>
                      </a:r>
                      <a:r>
                        <a:rPr lang="fr-FR" sz="1000" kern="1200">
                          <a:solidFill>
                            <a:schemeClr val="tx1"/>
                          </a:solidFill>
                          <a:latin typeface="+mn-lt"/>
                          <a:ea typeface="+mn-ea"/>
                          <a:cs typeface="+mn-cs"/>
                        </a:rPr>
                        <a: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noProof="0" err="1">
                          <a:solidFill>
                            <a:schemeClr val="tx1"/>
                          </a:solidFill>
                          <a:latin typeface="+mn-lt"/>
                          <a:ea typeface="+mn-ea"/>
                          <a:cs typeface="+mn-cs"/>
                        </a:rPr>
                        <a:t>Before</a:t>
                      </a:r>
                      <a:r>
                        <a:rPr lang="fr-FR" sz="1000" kern="1200" noProof="0">
                          <a:solidFill>
                            <a:schemeClr val="tx1"/>
                          </a:solidFill>
                          <a:latin typeface="+mn-lt"/>
                          <a:ea typeface="+mn-ea"/>
                          <a:cs typeface="+mn-cs"/>
                        </a:rPr>
                        <a:t> </a:t>
                      </a:r>
                      <a:r>
                        <a:rPr lang="fr-FR" sz="1000" kern="1200" noProof="0" err="1">
                          <a:solidFill>
                            <a:schemeClr val="tx1"/>
                          </a:solidFill>
                          <a:latin typeface="+mn-lt"/>
                          <a:ea typeface="+mn-ea"/>
                          <a:cs typeface="+mn-cs"/>
                        </a:rPr>
                        <a:t>Text</a:t>
                      </a:r>
                      <a:r>
                        <a:rPr lang="fr-FR" sz="1000" kern="1200" noProof="0">
                          <a:solidFill>
                            <a:schemeClr val="tx1"/>
                          </a:solidFill>
                          <a:latin typeface="+mn-lt"/>
                          <a:ea typeface="+mn-ea"/>
                          <a:cs typeface="+mn-cs"/>
                        </a:rPr>
                        <a:t> </a:t>
                      </a:r>
                      <a:r>
                        <a:rPr lang="fr-FR" sz="1000" kern="1200" baseline="0" noProof="0">
                          <a:solidFill>
                            <a:schemeClr val="tx1"/>
                          </a:solidFill>
                          <a:latin typeface="+mn-lt"/>
                          <a:ea typeface="+mn-ea"/>
                          <a:cs typeface="+mn-cs"/>
                        </a:rPr>
                        <a:t>= </a:t>
                      </a:r>
                      <a:r>
                        <a:rPr lang="fr-FR" sz="1000" kern="120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noProof="0">
                          <a:solidFill>
                            <a:schemeClr val="tx1"/>
                          </a:solidFill>
                          <a:latin typeface="+mn-lt"/>
                          <a:ea typeface="+mn-ea"/>
                          <a:cs typeface="+mn-cs"/>
                        </a:rPr>
                        <a:t>No line </a:t>
                      </a:r>
                      <a:r>
                        <a:rPr lang="fr-FR" sz="1000" kern="1200" noProof="0" err="1">
                          <a:solidFill>
                            <a:schemeClr val="tx1"/>
                          </a:solidFill>
                          <a:latin typeface="+mn-lt"/>
                          <a:ea typeface="+mn-ea"/>
                          <a:cs typeface="+mn-cs"/>
                        </a:rPr>
                        <a:t>spacing</a:t>
                      </a:r>
                      <a:endParaRPr lang="fr-FR" sz="1000" kern="1200" noProof="0">
                        <a:solidFill>
                          <a:schemeClr val="tx1"/>
                        </a:solidFill>
                        <a:latin typeface="+mn-lt"/>
                        <a:ea typeface="+mn-ea"/>
                        <a:cs typeface="+mn-cs"/>
                      </a:endParaRPr>
                    </a:p>
                  </a:txBody>
                  <a:tcPr marL="112542" marR="112542" anchor="ctr">
                    <a:solidFill>
                      <a:schemeClr val="bg1"/>
                    </a:solidFill>
                  </a:tcPr>
                </a:tc>
                <a:extLst>
                  <a:ext uri="{0D108BD9-81ED-4DB2-BD59-A6C34878D82A}">
                    <a16:rowId xmlns:a16="http://schemas.microsoft.com/office/drawing/2014/main" val="10001"/>
                  </a:ext>
                </a:extLst>
              </a:tr>
              <a:tr h="192471">
                <a:tc>
                  <a:txBody>
                    <a:bodyPr/>
                    <a:lstStyle/>
                    <a:p>
                      <a:r>
                        <a:rPr lang="fr-FR" sz="2200" kern="1200" baseline="0" err="1">
                          <a:solidFill>
                            <a:schemeClr val="bg2"/>
                          </a:solidFill>
                          <a:latin typeface="+mj-lt"/>
                          <a:ea typeface="+mj-ea"/>
                          <a:cs typeface="+mj-cs"/>
                        </a:rPr>
                        <a:t>Title</a:t>
                      </a:r>
                      <a:endParaRPr lang="fr-FR" sz="2200" kern="1200" baseline="0">
                        <a:solidFill>
                          <a:schemeClr val="bg2"/>
                        </a:solidFill>
                        <a:latin typeface="+mj-lt"/>
                        <a:ea typeface="+mj-ea"/>
                        <a:cs typeface="+mj-cs"/>
                      </a:endParaRPr>
                    </a:p>
                  </a:txBody>
                  <a:tcPr marL="112542" marR="112542" anchor="ctr">
                    <a:solidFill>
                      <a:schemeClr val="bg1"/>
                    </a:solidFill>
                  </a:tcPr>
                </a:tc>
                <a:tc>
                  <a:txBody>
                    <a:bodyPr/>
                    <a:lstStyle/>
                    <a:p>
                      <a:pPr algn="ctr"/>
                      <a:r>
                        <a:rPr lang="fr-FR" sz="1000" i="0" kern="1200" cap="none" baseline="0" err="1">
                          <a:solidFill>
                            <a:schemeClr val="tx1"/>
                          </a:solidFill>
                          <a:latin typeface="+mn-lt"/>
                          <a:ea typeface="+mn-ea"/>
                          <a:cs typeface="+mn-cs"/>
                        </a:rPr>
                        <a:t>Tahoma</a:t>
                      </a:r>
                      <a:r>
                        <a:rPr lang="fr-FR" sz="1000" i="0" kern="1200" cap="none" baseline="0">
                          <a:solidFill>
                            <a:schemeClr val="tx1"/>
                          </a:solidFill>
                          <a:latin typeface="+mn-lt"/>
                          <a:ea typeface="+mn-ea"/>
                          <a:cs typeface="+mn-cs"/>
                        </a:rPr>
                        <a:t> </a:t>
                      </a:r>
                      <a:r>
                        <a:rPr lang="fr-FR" sz="1000" i="0" kern="1200" cap="none" baseline="0" err="1">
                          <a:solidFill>
                            <a:schemeClr val="tx1"/>
                          </a:solidFill>
                          <a:latin typeface="+mn-lt"/>
                          <a:ea typeface="+mn-ea"/>
                          <a:cs typeface="+mn-cs"/>
                        </a:rPr>
                        <a:t>Headings</a:t>
                      </a:r>
                      <a:endParaRPr lang="fr-FR" sz="1000" i="0" kern="1200" cap="none" baseline="0">
                        <a:solidFill>
                          <a:schemeClr val="tx1"/>
                        </a:solidFill>
                        <a:latin typeface="+mn-lt"/>
                        <a:ea typeface="+mn-ea"/>
                        <a:cs typeface="+mn-cs"/>
                      </a:endParaRPr>
                    </a:p>
                    <a:p>
                      <a:pPr algn="ctr"/>
                      <a:endParaRPr lang="fr-FR" sz="1000" i="0" kern="1200" cap="none" baseline="0">
                        <a:solidFill>
                          <a:schemeClr val="tx1"/>
                        </a:solidFill>
                        <a:latin typeface="+mn-lt"/>
                        <a:ea typeface="+mn-ea"/>
                        <a:cs typeface="+mn-cs"/>
                      </a:endParaRP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80 / 48 /120</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8</a:t>
                      </a:r>
                    </a:p>
                  </a:txBody>
                  <a:tcPr marL="112542" marR="112542" anchor="ctr">
                    <a:solidFill>
                      <a:schemeClr val="bg1"/>
                    </a:solidFill>
                  </a:tcPr>
                </a:tc>
                <a:tc>
                  <a:txBody>
                    <a:bodyPr/>
                    <a:lstStyle/>
                    <a:p>
                      <a:pPr algn="ctr"/>
                      <a:r>
                        <a:rPr kumimoji="0" lang="fr-FR" sz="1000" b="0" i="0" u="none" strike="noStrike" kern="1200" cap="none" spc="0" normalizeH="0" baseline="0" noProof="0">
                          <a:ln>
                            <a:noFill/>
                          </a:ln>
                          <a:solidFill>
                            <a:srgbClr val="333333"/>
                          </a:solidFill>
                          <a:effectLst/>
                          <a:uLnTx/>
                          <a:uFillTx/>
                          <a:latin typeface="+mn-lt"/>
                          <a:ea typeface="+mn-ea"/>
                          <a:cs typeface="+mn-cs"/>
                        </a:rPr>
                        <a:t>Normal</a:t>
                      </a:r>
                      <a:endParaRPr lang="fr-FR" sz="1000" i="0" kern="1200" cap="all" baseline="0">
                        <a:solidFill>
                          <a:schemeClr val="tx1"/>
                        </a:solidFill>
                        <a:latin typeface="+mn-lt"/>
                        <a:ea typeface="+mn-ea"/>
                        <a:cs typeface="+mn-cs"/>
                      </a:endParaRP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err="1">
                          <a:solidFill>
                            <a:schemeClr val="tx1"/>
                          </a:solidFill>
                          <a:latin typeface="+mn-lt"/>
                          <a:ea typeface="+mn-ea"/>
                          <a:cs typeface="+mn-cs"/>
                        </a:rPr>
                        <a:t>Before</a:t>
                      </a:r>
                      <a:r>
                        <a:rPr lang="fr-FR" sz="1000" kern="1200">
                          <a:solidFill>
                            <a:schemeClr val="tx1"/>
                          </a:solidFill>
                          <a:latin typeface="+mn-lt"/>
                          <a:ea typeface="+mn-ea"/>
                          <a:cs typeface="+mn-cs"/>
                        </a:rPr>
                        <a:t> </a:t>
                      </a:r>
                      <a:r>
                        <a:rPr lang="fr-FR" sz="1000" kern="1200" err="1">
                          <a:solidFill>
                            <a:schemeClr val="tx1"/>
                          </a:solidFill>
                          <a:latin typeface="+mn-lt"/>
                          <a:ea typeface="+mn-ea"/>
                          <a:cs typeface="+mn-cs"/>
                        </a:rPr>
                        <a:t>text</a:t>
                      </a:r>
                      <a:r>
                        <a:rPr lang="fr-FR" sz="1000" kern="1200">
                          <a:solidFill>
                            <a:schemeClr val="tx1"/>
                          </a:solidFill>
                          <a:latin typeface="+mn-lt"/>
                          <a:ea typeface="+mn-ea"/>
                          <a:cs typeface="+mn-cs"/>
                        </a:rPr>
                        <a: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noProof="0" err="1">
                          <a:solidFill>
                            <a:schemeClr val="tx1"/>
                          </a:solidFill>
                          <a:latin typeface="+mn-lt"/>
                          <a:ea typeface="+mn-ea"/>
                          <a:cs typeface="+mn-cs"/>
                        </a:rPr>
                        <a:t>Before</a:t>
                      </a:r>
                      <a:r>
                        <a:rPr lang="fr-FR" sz="1000" kern="1200" noProof="0">
                          <a:solidFill>
                            <a:schemeClr val="tx1"/>
                          </a:solidFill>
                          <a:latin typeface="+mn-lt"/>
                          <a:ea typeface="+mn-ea"/>
                          <a:cs typeface="+mn-cs"/>
                        </a:rPr>
                        <a:t> </a:t>
                      </a:r>
                      <a:r>
                        <a:rPr lang="fr-FR" sz="1000" kern="1200" noProof="0" err="1">
                          <a:solidFill>
                            <a:schemeClr val="tx1"/>
                          </a:solidFill>
                          <a:latin typeface="+mn-lt"/>
                          <a:ea typeface="+mn-ea"/>
                          <a:cs typeface="+mn-cs"/>
                        </a:rPr>
                        <a:t>Text</a:t>
                      </a:r>
                      <a:r>
                        <a:rPr lang="fr-FR" sz="1000" kern="1200" noProof="0">
                          <a:solidFill>
                            <a:schemeClr val="tx1"/>
                          </a:solidFill>
                          <a:latin typeface="+mn-lt"/>
                          <a:ea typeface="+mn-ea"/>
                          <a:cs typeface="+mn-cs"/>
                        </a:rPr>
                        <a:t> </a:t>
                      </a:r>
                      <a:r>
                        <a:rPr lang="fr-FR" sz="1000" kern="1200" baseline="0" noProof="0">
                          <a:solidFill>
                            <a:schemeClr val="tx1"/>
                          </a:solidFill>
                          <a:latin typeface="+mn-lt"/>
                          <a:ea typeface="+mn-ea"/>
                          <a:cs typeface="+mn-cs"/>
                        </a:rPr>
                        <a:t>= </a:t>
                      </a:r>
                      <a:r>
                        <a:rPr lang="fr-FR" sz="1000" kern="120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noProof="0">
                          <a:solidFill>
                            <a:schemeClr val="tx1"/>
                          </a:solidFill>
                          <a:latin typeface="+mn-lt"/>
                          <a:ea typeface="+mn-ea"/>
                          <a:cs typeface="+mn-cs"/>
                        </a:rPr>
                        <a:t>No line </a:t>
                      </a:r>
                      <a:r>
                        <a:rPr lang="fr-FR" sz="1000" kern="1200" noProof="0" err="1">
                          <a:solidFill>
                            <a:schemeClr val="tx1"/>
                          </a:solidFill>
                          <a:latin typeface="+mn-lt"/>
                          <a:ea typeface="+mn-ea"/>
                          <a:cs typeface="+mn-cs"/>
                        </a:rPr>
                        <a:t>spacing</a:t>
                      </a:r>
                      <a:endParaRPr lang="fr-FR" sz="1000" kern="1200" noProof="0">
                        <a:solidFill>
                          <a:schemeClr val="tx1"/>
                        </a:solidFill>
                        <a:latin typeface="+mn-lt"/>
                        <a:ea typeface="+mn-ea"/>
                        <a:cs typeface="+mn-cs"/>
                      </a:endParaRPr>
                    </a:p>
                  </a:txBody>
                  <a:tcPr marL="112542" marR="112542" anchor="ctr">
                    <a:solidFill>
                      <a:schemeClr val="bg1"/>
                    </a:solidFill>
                  </a:tcPr>
                </a:tc>
                <a:extLst>
                  <a:ext uri="{0D108BD9-81ED-4DB2-BD59-A6C34878D82A}">
                    <a16:rowId xmlns:a16="http://schemas.microsoft.com/office/drawing/2014/main" val="10002"/>
                  </a:ext>
                </a:extLst>
              </a:tr>
              <a:tr h="364884">
                <a:tc>
                  <a:txBody>
                    <a:bodyPr/>
                    <a:lstStyle/>
                    <a:p>
                      <a:pPr lvl="0"/>
                      <a:r>
                        <a:rPr lang="fr-FR" sz="1600" i="0" kern="1200" cap="none" baseline="0" err="1">
                          <a:solidFill>
                            <a:srgbClr val="503078"/>
                          </a:solidFill>
                          <a:latin typeface="+mn-lt"/>
                          <a:ea typeface="+mn-ea"/>
                          <a:cs typeface="+mn-cs"/>
                        </a:rPr>
                        <a:t>Level</a:t>
                      </a:r>
                      <a:r>
                        <a:rPr lang="fr-FR" sz="1600" i="0" kern="1200" cap="none" baseline="0">
                          <a:solidFill>
                            <a:srgbClr val="503078"/>
                          </a:solidFill>
                          <a:latin typeface="+mn-lt"/>
                          <a:ea typeface="+mn-ea"/>
                          <a:cs typeface="+mn-cs"/>
                        </a:rPr>
                        <a:t> 1</a:t>
                      </a:r>
                    </a:p>
                  </a:txBody>
                  <a:tcPr marL="112542" marR="112542" anchor="ctr">
                    <a:solidFill>
                      <a:schemeClr val="bg1"/>
                    </a:solidFill>
                  </a:tcPr>
                </a:tc>
                <a:tc>
                  <a:txBody>
                    <a:bodyPr/>
                    <a:lstStyle/>
                    <a:p>
                      <a:pPr algn="ctr"/>
                      <a:r>
                        <a:rPr lang="fr-FR" sz="1000" i="0" kern="1200" cap="none" baseline="0" err="1">
                          <a:solidFill>
                            <a:schemeClr val="tx1"/>
                          </a:solidFill>
                          <a:latin typeface="+mn-lt"/>
                          <a:ea typeface="+mn-ea"/>
                          <a:cs typeface="+mn-cs"/>
                        </a:rPr>
                        <a:t>Tahoma</a:t>
                      </a:r>
                      <a:r>
                        <a:rPr lang="fr-FR" sz="1000" i="0" kern="1200" cap="none" baseline="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80 / 48 /120</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6</a:t>
                      </a:r>
                    </a:p>
                  </a:txBody>
                  <a:tcPr marL="112542" marR="112542" anchor="ctr">
                    <a:solidFill>
                      <a:schemeClr val="bg1"/>
                    </a:solidFill>
                  </a:tcPr>
                </a:tc>
                <a:tc>
                  <a:txBody>
                    <a:bodyPr/>
                    <a:lstStyle/>
                    <a:p>
                      <a:pPr algn="ctr"/>
                      <a:r>
                        <a:rPr kumimoji="0" lang="fr-FR" sz="1000" b="0" i="0" u="none" strike="noStrike" kern="1200" cap="none" spc="0" normalizeH="0" baseline="0" noProof="0">
                          <a:ln>
                            <a:noFill/>
                          </a:ln>
                          <a:solidFill>
                            <a:srgbClr val="333333"/>
                          </a:solidFill>
                          <a:effectLst/>
                          <a:uLnTx/>
                          <a:uFillTx/>
                          <a:latin typeface="+mn-lt"/>
                          <a:ea typeface="+mn-ea"/>
                          <a:cs typeface="+mn-cs"/>
                        </a:rPr>
                        <a:t>Normal</a:t>
                      </a:r>
                      <a:endParaRPr lang="fr-FR" sz="1000" i="0" kern="1200" cap="all" baseline="0">
                        <a:solidFill>
                          <a:schemeClr val="tx1"/>
                        </a:solidFill>
                        <a:latin typeface="+mn-lt"/>
                        <a:ea typeface="+mn-ea"/>
                        <a:cs typeface="+mn-cs"/>
                      </a:endParaRP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err="1">
                          <a:solidFill>
                            <a:schemeClr val="tx1"/>
                          </a:solidFill>
                          <a:latin typeface="+mn-lt"/>
                          <a:ea typeface="+mn-ea"/>
                          <a:cs typeface="+mn-cs"/>
                        </a:rPr>
                        <a:t>Before</a:t>
                      </a:r>
                      <a:r>
                        <a:rPr lang="fr-FR" sz="1000" kern="1200">
                          <a:solidFill>
                            <a:schemeClr val="tx1"/>
                          </a:solidFill>
                          <a:latin typeface="+mn-lt"/>
                          <a:ea typeface="+mn-ea"/>
                          <a:cs typeface="+mn-cs"/>
                        </a:rPr>
                        <a:t> </a:t>
                      </a:r>
                      <a:r>
                        <a:rPr lang="fr-FR" sz="1000" kern="1200" err="1">
                          <a:solidFill>
                            <a:schemeClr val="tx1"/>
                          </a:solidFill>
                          <a:latin typeface="+mn-lt"/>
                          <a:ea typeface="+mn-ea"/>
                          <a:cs typeface="+mn-cs"/>
                        </a:rPr>
                        <a:t>text</a:t>
                      </a:r>
                      <a:r>
                        <a:rPr lang="fr-FR" sz="1000" kern="1200">
                          <a:solidFill>
                            <a:schemeClr val="tx1"/>
                          </a:solidFill>
                          <a:latin typeface="+mn-lt"/>
                          <a:ea typeface="+mn-ea"/>
                          <a:cs typeface="+mn-cs"/>
                        </a:rPr>
                        <a:t> </a:t>
                      </a:r>
                      <a:r>
                        <a:rPr lang="fr-FR" sz="1000" kern="1200" baseline="0">
                          <a:solidFill>
                            <a:schemeClr val="tx1"/>
                          </a:solidFill>
                          <a:latin typeface="+mn-lt"/>
                          <a:ea typeface="+mn-ea"/>
                          <a:cs typeface="+mn-cs"/>
                        </a:rPr>
                        <a:t>= 0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noProof="0" err="1">
                          <a:solidFill>
                            <a:schemeClr val="tx1"/>
                          </a:solidFill>
                          <a:latin typeface="+mn-lt"/>
                          <a:ea typeface="+mn-ea"/>
                          <a:cs typeface="+mn-cs"/>
                        </a:rPr>
                        <a:t>Before</a:t>
                      </a:r>
                      <a:r>
                        <a:rPr lang="fr-FR" sz="1000" kern="1200" noProof="0">
                          <a:solidFill>
                            <a:schemeClr val="tx1"/>
                          </a:solidFill>
                          <a:latin typeface="+mn-lt"/>
                          <a:ea typeface="+mn-ea"/>
                          <a:cs typeface="+mn-cs"/>
                        </a:rPr>
                        <a:t> </a:t>
                      </a:r>
                      <a:r>
                        <a:rPr lang="fr-FR" sz="1000" kern="1200" noProof="0" err="1">
                          <a:solidFill>
                            <a:schemeClr val="tx1"/>
                          </a:solidFill>
                          <a:latin typeface="+mn-lt"/>
                          <a:ea typeface="+mn-ea"/>
                          <a:cs typeface="+mn-cs"/>
                        </a:rPr>
                        <a:t>Text</a:t>
                      </a:r>
                      <a:r>
                        <a:rPr lang="fr-FR" sz="1000" kern="1200" noProof="0">
                          <a:solidFill>
                            <a:schemeClr val="tx1"/>
                          </a:solidFill>
                          <a:latin typeface="+mn-lt"/>
                          <a:ea typeface="+mn-ea"/>
                          <a:cs typeface="+mn-cs"/>
                        </a:rPr>
                        <a:t> </a:t>
                      </a:r>
                      <a:r>
                        <a:rPr lang="fr-FR" sz="1000" kern="1200" baseline="0" noProof="0">
                          <a:solidFill>
                            <a:schemeClr val="tx1"/>
                          </a:solidFill>
                          <a:latin typeface="+mn-lt"/>
                          <a:ea typeface="+mn-ea"/>
                          <a:cs typeface="+mn-cs"/>
                        </a:rPr>
                        <a:t>= </a:t>
                      </a:r>
                      <a:r>
                        <a:rPr lang="fr-FR" sz="1000" kern="120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noProof="0">
                          <a:solidFill>
                            <a:schemeClr val="tx1"/>
                          </a:solidFill>
                          <a:latin typeface="+mn-lt"/>
                          <a:ea typeface="+mn-ea"/>
                          <a:cs typeface="+mn-cs"/>
                        </a:rPr>
                        <a:t>No line </a:t>
                      </a:r>
                      <a:r>
                        <a:rPr lang="fr-FR" sz="1000" kern="1200" noProof="0" err="1">
                          <a:solidFill>
                            <a:schemeClr val="tx1"/>
                          </a:solidFill>
                          <a:latin typeface="+mn-lt"/>
                          <a:ea typeface="+mn-ea"/>
                          <a:cs typeface="+mn-cs"/>
                        </a:rPr>
                        <a:t>spacing</a:t>
                      </a:r>
                      <a:endParaRPr lang="fr-FR" sz="1000" kern="1200" noProof="0">
                        <a:solidFill>
                          <a:schemeClr val="tx1"/>
                        </a:solidFill>
                        <a:latin typeface="+mn-lt"/>
                        <a:ea typeface="+mn-ea"/>
                        <a:cs typeface="+mn-cs"/>
                      </a:endParaRPr>
                    </a:p>
                  </a:txBody>
                  <a:tcPr marL="112542" marR="112542" anchor="ctr">
                    <a:solidFill>
                      <a:schemeClr val="bg1"/>
                    </a:solidFill>
                  </a:tcPr>
                </a:tc>
                <a:extLst>
                  <a:ext uri="{0D108BD9-81ED-4DB2-BD59-A6C34878D82A}">
                    <a16:rowId xmlns:a16="http://schemas.microsoft.com/office/drawing/2014/main" val="10003"/>
                  </a:ext>
                </a:extLst>
              </a:tr>
              <a:tr h="364884">
                <a:tc>
                  <a:txBody>
                    <a:bodyPr/>
                    <a:lstStyle/>
                    <a:p>
                      <a:pPr marL="177800" indent="-177800">
                        <a:buClr>
                          <a:schemeClr val="bg2"/>
                        </a:buClr>
                        <a:buFont typeface="Tempus Sans ITC" panose="04020404030D07020202" pitchFamily="82" charset="0"/>
                        <a:buChar char="/"/>
                      </a:pPr>
                      <a:r>
                        <a:rPr lang="fr-FR" sz="1400" kern="1200" err="1">
                          <a:solidFill>
                            <a:schemeClr val="tx1"/>
                          </a:solidFill>
                          <a:latin typeface="+mn-lt"/>
                          <a:ea typeface="+mn-ea"/>
                          <a:cs typeface="+mn-cs"/>
                        </a:rPr>
                        <a:t>Level</a:t>
                      </a:r>
                      <a:r>
                        <a:rPr lang="fr-FR" sz="1400" kern="1200">
                          <a:solidFill>
                            <a:schemeClr val="tx1"/>
                          </a:solidFill>
                          <a:latin typeface="+mn-lt"/>
                          <a:ea typeface="+mn-ea"/>
                          <a:cs typeface="+mn-cs"/>
                        </a:rPr>
                        <a:t> 2</a:t>
                      </a:r>
                    </a:p>
                  </a:txBody>
                  <a:tcPr marL="112542" marR="112542" anchor="ctr">
                    <a:solidFill>
                      <a:schemeClr val="bg1"/>
                    </a:solidFill>
                  </a:tcPr>
                </a:tc>
                <a:tc>
                  <a:txBody>
                    <a:bodyPr/>
                    <a:lstStyle/>
                    <a:p>
                      <a:pPr algn="ctr"/>
                      <a:r>
                        <a:rPr lang="fr-FR" sz="1000" kern="1200" err="1">
                          <a:solidFill>
                            <a:schemeClr val="tx1"/>
                          </a:solidFill>
                          <a:latin typeface="+mn-lt"/>
                          <a:ea typeface="+mn-ea"/>
                          <a:cs typeface="+mn-cs"/>
                        </a:rPr>
                        <a:t>Tahoma</a:t>
                      </a:r>
                      <a:r>
                        <a:rPr lang="fr-FR" sz="1000" kern="120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14</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00" kern="1200" cap="none" baseline="0">
                          <a:solidFill>
                            <a:schemeClr val="tx1"/>
                          </a:solidFill>
                          <a:latin typeface="+mn-lt"/>
                          <a:ea typeface="+mn-ea"/>
                          <a:cs typeface="+mn-cs"/>
                        </a:rPr>
                        <a:t>Font Tempus Sans ITC</a:t>
                      </a:r>
                      <a:br>
                        <a:rPr lang="fr-FR" sz="1000" kern="1200" cap="none" baseline="0">
                          <a:solidFill>
                            <a:schemeClr val="tx1"/>
                          </a:solidFill>
                          <a:latin typeface="+mn-lt"/>
                          <a:ea typeface="+mn-ea"/>
                          <a:cs typeface="+mn-cs"/>
                        </a:rPr>
                      </a:br>
                      <a:r>
                        <a:rPr lang="fr-FR" sz="1000" kern="1200" cap="none" baseline="0">
                          <a:solidFill>
                            <a:schemeClr val="tx1"/>
                          </a:solidFill>
                          <a:latin typeface="+mn-lt"/>
                          <a:ea typeface="+mn-ea"/>
                          <a:cs typeface="+mn-cs"/>
                        </a:rPr>
                        <a:t>code 002F</a:t>
                      </a:r>
                    </a:p>
                  </a:txBody>
                  <a:tcPr marL="112542" marR="112542" anchor="ctr">
                    <a:solidFill>
                      <a:schemeClr val="bg1"/>
                    </a:solidFill>
                  </a:tcPr>
                </a:tc>
                <a:tc>
                  <a:txBody>
                    <a:bodyPr/>
                    <a:lstStyle/>
                    <a:p>
                      <a:r>
                        <a:rPr lang="fr-FR" sz="1000" kern="1200" err="1">
                          <a:solidFill>
                            <a:schemeClr val="tx1"/>
                          </a:solidFill>
                          <a:latin typeface="+mn-lt"/>
                          <a:ea typeface="+mn-ea"/>
                          <a:cs typeface="+mn-cs"/>
                        </a:rPr>
                        <a:t>Before</a:t>
                      </a:r>
                      <a:r>
                        <a:rPr lang="fr-FR" sz="1000" kern="1200">
                          <a:solidFill>
                            <a:schemeClr val="tx1"/>
                          </a:solidFill>
                          <a:latin typeface="+mn-lt"/>
                          <a:ea typeface="+mn-ea"/>
                          <a:cs typeface="+mn-cs"/>
                        </a:rPr>
                        <a:t> </a:t>
                      </a:r>
                      <a:r>
                        <a:rPr lang="fr-FR" sz="1000" kern="1200" err="1">
                          <a:solidFill>
                            <a:schemeClr val="tx1"/>
                          </a:solidFill>
                          <a:latin typeface="+mn-lt"/>
                          <a:ea typeface="+mn-ea"/>
                          <a:cs typeface="+mn-cs"/>
                        </a:rPr>
                        <a:t>text</a:t>
                      </a:r>
                      <a:r>
                        <a:rPr lang="fr-FR" sz="1000" kern="1200">
                          <a:solidFill>
                            <a:schemeClr val="tx1"/>
                          </a:solidFill>
                          <a:latin typeface="+mn-lt"/>
                          <a:ea typeface="+mn-ea"/>
                          <a:cs typeface="+mn-cs"/>
                        </a:rPr>
                        <a:t> </a:t>
                      </a:r>
                      <a:r>
                        <a:rPr lang="fr-FR" sz="1000" kern="1200" baseline="0">
                          <a:solidFill>
                            <a:schemeClr val="tx1"/>
                          </a:solidFill>
                          <a:latin typeface="+mn-lt"/>
                          <a:ea typeface="+mn-ea"/>
                          <a:cs typeface="+mn-cs"/>
                        </a:rPr>
                        <a:t>= 1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noProof="0" err="1">
                          <a:solidFill>
                            <a:schemeClr val="tx1"/>
                          </a:solidFill>
                          <a:latin typeface="+mn-lt"/>
                          <a:ea typeface="+mn-ea"/>
                          <a:cs typeface="+mn-cs"/>
                        </a:rPr>
                        <a:t>Before</a:t>
                      </a:r>
                      <a:r>
                        <a:rPr lang="fr-FR" sz="1000" kern="1200" noProof="0">
                          <a:solidFill>
                            <a:schemeClr val="tx1"/>
                          </a:solidFill>
                          <a:latin typeface="+mn-lt"/>
                          <a:ea typeface="+mn-ea"/>
                          <a:cs typeface="+mn-cs"/>
                        </a:rPr>
                        <a:t> </a:t>
                      </a:r>
                      <a:r>
                        <a:rPr lang="fr-FR" sz="1000" kern="1200" noProof="0" err="1">
                          <a:solidFill>
                            <a:schemeClr val="tx1"/>
                          </a:solidFill>
                          <a:latin typeface="+mn-lt"/>
                          <a:ea typeface="+mn-ea"/>
                          <a:cs typeface="+mn-cs"/>
                        </a:rPr>
                        <a:t>Text</a:t>
                      </a:r>
                      <a:r>
                        <a:rPr lang="fr-FR" sz="1000" kern="1200" noProof="0">
                          <a:solidFill>
                            <a:schemeClr val="tx1"/>
                          </a:solidFill>
                          <a:latin typeface="+mn-lt"/>
                          <a:ea typeface="+mn-ea"/>
                          <a:cs typeface="+mn-cs"/>
                        </a:rPr>
                        <a:t> </a:t>
                      </a:r>
                      <a:r>
                        <a:rPr lang="fr-FR" sz="1000" kern="1200" baseline="0" noProof="0">
                          <a:solidFill>
                            <a:schemeClr val="tx1"/>
                          </a:solidFill>
                          <a:latin typeface="+mn-lt"/>
                          <a:ea typeface="+mn-ea"/>
                          <a:cs typeface="+mn-cs"/>
                        </a:rPr>
                        <a:t>= </a:t>
                      </a:r>
                      <a:r>
                        <a:rPr lang="fr-FR" sz="1000" kern="120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noProof="0">
                          <a:solidFill>
                            <a:schemeClr val="tx1"/>
                          </a:solidFill>
                          <a:latin typeface="+mn-lt"/>
                          <a:ea typeface="+mn-ea"/>
                          <a:cs typeface="+mn-cs"/>
                        </a:rPr>
                        <a:t>No line </a:t>
                      </a:r>
                      <a:r>
                        <a:rPr lang="fr-FR" sz="1000" kern="1200" noProof="0" err="1">
                          <a:solidFill>
                            <a:schemeClr val="tx1"/>
                          </a:solidFill>
                          <a:latin typeface="+mn-lt"/>
                          <a:ea typeface="+mn-ea"/>
                          <a:cs typeface="+mn-cs"/>
                        </a:rPr>
                        <a:t>spacing</a:t>
                      </a:r>
                      <a:endParaRPr lang="fr-FR" sz="1000" kern="1200" noProof="0">
                        <a:solidFill>
                          <a:schemeClr val="tx1"/>
                        </a:solidFill>
                        <a:latin typeface="+mn-lt"/>
                        <a:ea typeface="+mn-ea"/>
                        <a:cs typeface="+mn-cs"/>
                      </a:endParaRPr>
                    </a:p>
                  </a:txBody>
                  <a:tcPr marL="112542" marR="112542" anchor="ctr">
                    <a:solidFill>
                      <a:schemeClr val="bg1"/>
                    </a:solidFill>
                  </a:tcPr>
                </a:tc>
                <a:extLst>
                  <a:ext uri="{0D108BD9-81ED-4DB2-BD59-A6C34878D82A}">
                    <a16:rowId xmlns:a16="http://schemas.microsoft.com/office/drawing/2014/main" val="10004"/>
                  </a:ext>
                </a:extLst>
              </a:tr>
              <a:tr h="364884">
                <a:tc>
                  <a:txBody>
                    <a:bodyPr/>
                    <a:lstStyle/>
                    <a:p>
                      <a:r>
                        <a:rPr lang="fr-FR" sz="1400" kern="1200" err="1">
                          <a:solidFill>
                            <a:schemeClr val="tx1"/>
                          </a:solidFill>
                          <a:latin typeface="+mn-lt"/>
                          <a:ea typeface="+mn-ea"/>
                          <a:cs typeface="+mn-cs"/>
                        </a:rPr>
                        <a:t>Level</a:t>
                      </a:r>
                      <a:r>
                        <a:rPr lang="fr-FR" sz="1400" kern="1200">
                          <a:solidFill>
                            <a:schemeClr val="tx1"/>
                          </a:solidFill>
                          <a:latin typeface="+mn-lt"/>
                          <a:ea typeface="+mn-ea"/>
                          <a:cs typeface="+mn-cs"/>
                        </a:rPr>
                        <a:t> 3</a:t>
                      </a:r>
                    </a:p>
                  </a:txBody>
                  <a:tcPr marL="112542" marR="112542" anchor="ctr">
                    <a:solidFill>
                      <a:schemeClr val="bg1"/>
                    </a:solidFill>
                  </a:tcPr>
                </a:tc>
                <a:tc>
                  <a:txBody>
                    <a:bodyPr/>
                    <a:lstStyle/>
                    <a:p>
                      <a:pPr algn="ctr"/>
                      <a:r>
                        <a:rPr lang="fr-FR" sz="1000" kern="1200" err="1">
                          <a:solidFill>
                            <a:schemeClr val="tx1"/>
                          </a:solidFill>
                          <a:latin typeface="+mn-lt"/>
                          <a:ea typeface="+mn-ea"/>
                          <a:cs typeface="+mn-cs"/>
                        </a:rPr>
                        <a:t>Tahoma</a:t>
                      </a:r>
                      <a:r>
                        <a:rPr lang="fr-FR" sz="1000" kern="120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14</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Normal</a:t>
                      </a: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err="1">
                          <a:solidFill>
                            <a:schemeClr val="tx1"/>
                          </a:solidFill>
                          <a:latin typeface="+mn-lt"/>
                          <a:ea typeface="+mn-ea"/>
                          <a:cs typeface="+mn-cs"/>
                        </a:rPr>
                        <a:t>Before</a:t>
                      </a:r>
                      <a:r>
                        <a:rPr lang="fr-FR" sz="1000" kern="1200">
                          <a:solidFill>
                            <a:schemeClr val="tx1"/>
                          </a:solidFill>
                          <a:latin typeface="+mn-lt"/>
                          <a:ea typeface="+mn-ea"/>
                          <a:cs typeface="+mn-cs"/>
                        </a:rPr>
                        <a:t> </a:t>
                      </a:r>
                      <a:r>
                        <a:rPr lang="fr-FR" sz="1000" kern="1200" err="1">
                          <a:solidFill>
                            <a:schemeClr val="tx1"/>
                          </a:solidFill>
                          <a:latin typeface="+mn-lt"/>
                          <a:ea typeface="+mn-ea"/>
                          <a:cs typeface="+mn-cs"/>
                        </a:rPr>
                        <a:t>text</a:t>
                      </a:r>
                      <a:r>
                        <a:rPr lang="fr-FR" sz="1000" kern="1200">
                          <a:solidFill>
                            <a:schemeClr val="tx1"/>
                          </a:solidFill>
                          <a:latin typeface="+mn-lt"/>
                          <a:ea typeface="+mn-ea"/>
                          <a:cs typeface="+mn-cs"/>
                        </a:rPr>
                        <a:t> </a:t>
                      </a:r>
                      <a:r>
                        <a:rPr lang="fr-FR" sz="1000" kern="1200" baseline="0">
                          <a:solidFill>
                            <a:schemeClr val="tx1"/>
                          </a:solidFill>
                          <a:latin typeface="+mn-lt"/>
                          <a:ea typeface="+mn-ea"/>
                          <a:cs typeface="+mn-cs"/>
                        </a:rPr>
                        <a:t>= 1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noProof="0" err="1">
                          <a:solidFill>
                            <a:schemeClr val="tx1"/>
                          </a:solidFill>
                          <a:latin typeface="+mn-lt"/>
                          <a:ea typeface="+mn-ea"/>
                          <a:cs typeface="+mn-cs"/>
                        </a:rPr>
                        <a:t>Before</a:t>
                      </a:r>
                      <a:r>
                        <a:rPr lang="fr-FR" sz="1000" kern="1200" noProof="0">
                          <a:solidFill>
                            <a:schemeClr val="tx1"/>
                          </a:solidFill>
                          <a:latin typeface="+mn-lt"/>
                          <a:ea typeface="+mn-ea"/>
                          <a:cs typeface="+mn-cs"/>
                        </a:rPr>
                        <a:t> </a:t>
                      </a:r>
                      <a:r>
                        <a:rPr lang="fr-FR" sz="1000" kern="1200" noProof="0" err="1">
                          <a:solidFill>
                            <a:schemeClr val="tx1"/>
                          </a:solidFill>
                          <a:latin typeface="+mn-lt"/>
                          <a:ea typeface="+mn-ea"/>
                          <a:cs typeface="+mn-cs"/>
                        </a:rPr>
                        <a:t>Text</a:t>
                      </a:r>
                      <a:r>
                        <a:rPr lang="fr-FR" sz="1000" kern="1200" noProof="0">
                          <a:solidFill>
                            <a:schemeClr val="tx1"/>
                          </a:solidFill>
                          <a:latin typeface="+mn-lt"/>
                          <a:ea typeface="+mn-ea"/>
                          <a:cs typeface="+mn-cs"/>
                        </a:rPr>
                        <a:t> </a:t>
                      </a:r>
                      <a:r>
                        <a:rPr lang="fr-FR" sz="1000" kern="1200" baseline="0" noProof="0">
                          <a:solidFill>
                            <a:schemeClr val="tx1"/>
                          </a:solidFill>
                          <a:latin typeface="+mn-lt"/>
                          <a:ea typeface="+mn-ea"/>
                          <a:cs typeface="+mn-cs"/>
                        </a:rPr>
                        <a:t>= </a:t>
                      </a:r>
                      <a:r>
                        <a:rPr lang="fr-FR" sz="1000" kern="120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noProof="0">
                          <a:solidFill>
                            <a:schemeClr val="tx1"/>
                          </a:solidFill>
                          <a:latin typeface="+mn-lt"/>
                          <a:ea typeface="+mn-ea"/>
                          <a:cs typeface="+mn-cs"/>
                        </a:rPr>
                        <a:t>No line </a:t>
                      </a:r>
                      <a:r>
                        <a:rPr lang="fr-FR" sz="1000" kern="1200" noProof="0" err="1">
                          <a:solidFill>
                            <a:schemeClr val="tx1"/>
                          </a:solidFill>
                          <a:latin typeface="+mn-lt"/>
                          <a:ea typeface="+mn-ea"/>
                          <a:cs typeface="+mn-cs"/>
                        </a:rPr>
                        <a:t>spacing</a:t>
                      </a:r>
                      <a:endParaRPr lang="fr-FR" sz="1000" kern="1200" noProof="0">
                        <a:solidFill>
                          <a:schemeClr val="tx1"/>
                        </a:solidFill>
                        <a:latin typeface="+mn-lt"/>
                        <a:ea typeface="+mn-ea"/>
                        <a:cs typeface="+mn-cs"/>
                      </a:endParaRPr>
                    </a:p>
                  </a:txBody>
                  <a:tcPr marL="112542" marR="112542"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fr-FR" sz="1200" kern="1200" cap="none" baseline="0" err="1">
                          <a:solidFill>
                            <a:schemeClr val="tx1"/>
                          </a:solidFill>
                          <a:latin typeface="+mn-lt"/>
                          <a:ea typeface="+mn-ea"/>
                          <a:cs typeface="+mn-cs"/>
                        </a:rPr>
                        <a:t>Level</a:t>
                      </a:r>
                      <a:r>
                        <a:rPr lang="fr-FR" sz="1200" kern="1200" cap="none" baseline="0">
                          <a:solidFill>
                            <a:schemeClr val="tx1"/>
                          </a:solidFill>
                          <a:latin typeface="+mn-lt"/>
                          <a:ea typeface="+mn-ea"/>
                          <a:cs typeface="+mn-cs"/>
                        </a:rPr>
                        <a:t> 4</a:t>
                      </a:r>
                    </a:p>
                  </a:txBody>
                  <a:tcPr marL="112542" marR="112542" anchor="ctr">
                    <a:solidFill>
                      <a:schemeClr val="bg1"/>
                    </a:solidFill>
                  </a:tcPr>
                </a:tc>
                <a:tc>
                  <a:txBody>
                    <a:bodyPr/>
                    <a:lstStyle/>
                    <a:p>
                      <a:pPr algn="ctr"/>
                      <a:r>
                        <a:rPr lang="fr-FR" sz="1000" kern="1200" cap="none" baseline="0" err="1">
                          <a:solidFill>
                            <a:schemeClr val="tx1"/>
                          </a:solidFill>
                          <a:latin typeface="+mn-lt"/>
                          <a:ea typeface="+mn-ea"/>
                          <a:cs typeface="+mn-cs"/>
                        </a:rPr>
                        <a:t>Tahoma</a:t>
                      </a:r>
                      <a:r>
                        <a:rPr lang="fr-FR" sz="1000" kern="1200" cap="none" baseline="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cap="none" baseline="0">
                          <a:solidFill>
                            <a:schemeClr val="tx1"/>
                          </a:solidFill>
                          <a:latin typeface="+mn-lt"/>
                          <a:ea typeface="+mn-ea"/>
                          <a:cs typeface="+mn-cs"/>
                        </a:rPr>
                        <a:t>12</a:t>
                      </a:r>
                    </a:p>
                  </a:txBody>
                  <a:tcPr marL="112542" marR="112542" anchor="ctr">
                    <a:solidFill>
                      <a:schemeClr val="bg1"/>
                    </a:solidFill>
                  </a:tcPr>
                </a:tc>
                <a:tc>
                  <a:txBody>
                    <a:bodyPr/>
                    <a:lstStyle/>
                    <a:p>
                      <a:pPr algn="ctr"/>
                      <a:r>
                        <a:rPr lang="fr-FR" sz="1000" kern="1200" cap="none" baseline="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fr-FR" sz="1000" kern="1200" cap="none" baseline="0">
                          <a:solidFill>
                            <a:schemeClr val="tx1"/>
                          </a:solidFill>
                          <a:latin typeface="+mn-lt"/>
                          <a:ea typeface="+mn-ea"/>
                          <a:cs typeface="+mn-cs"/>
                        </a:rPr>
                        <a:t>Font </a:t>
                      </a:r>
                      <a:r>
                        <a:rPr lang="fr-FR" sz="1000" kern="1200" cap="none" baseline="0" err="1">
                          <a:solidFill>
                            <a:schemeClr val="tx1"/>
                          </a:solidFill>
                          <a:latin typeface="+mn-lt"/>
                          <a:ea typeface="+mn-ea"/>
                          <a:cs typeface="+mn-cs"/>
                        </a:rPr>
                        <a:t>Tahoma</a:t>
                      </a:r>
                      <a:r>
                        <a:rPr lang="fr-FR" sz="1000" kern="1200" cap="none" baseline="0">
                          <a:solidFill>
                            <a:schemeClr val="tx1"/>
                          </a:solidFill>
                          <a:latin typeface="+mn-lt"/>
                          <a:ea typeface="+mn-ea"/>
                          <a:cs typeface="+mn-cs"/>
                        </a:rPr>
                        <a:t> </a:t>
                      </a:r>
                      <a:br>
                        <a:rPr lang="fr-FR" sz="1000" kern="1200" cap="none" baseline="0">
                          <a:solidFill>
                            <a:schemeClr val="tx1"/>
                          </a:solidFill>
                          <a:latin typeface="+mn-lt"/>
                          <a:ea typeface="+mn-ea"/>
                          <a:cs typeface="+mn-cs"/>
                        </a:rPr>
                      </a:br>
                      <a:r>
                        <a:rPr lang="fr-FR" sz="1000" kern="1200" cap="none" baseline="0">
                          <a:solidFill>
                            <a:schemeClr val="tx1"/>
                          </a:solidFill>
                          <a:latin typeface="+mn-lt"/>
                          <a:ea typeface="+mn-ea"/>
                          <a:cs typeface="+mn-cs"/>
                        </a:rPr>
                        <a:t>code 203A</a:t>
                      </a:r>
                    </a:p>
                  </a:txBody>
                  <a:tcPr marL="112542" marR="112542" anchor="ctr">
                    <a:solidFill>
                      <a:schemeClr val="bg1"/>
                    </a:solidFill>
                  </a:tcPr>
                </a:tc>
                <a:tc>
                  <a:txBody>
                    <a:bodyPr/>
                    <a:lstStyle/>
                    <a:p>
                      <a:r>
                        <a:rPr lang="fr-FR" sz="1000" kern="1200" err="1">
                          <a:solidFill>
                            <a:schemeClr val="tx1"/>
                          </a:solidFill>
                          <a:latin typeface="+mn-lt"/>
                          <a:ea typeface="+mn-ea"/>
                          <a:cs typeface="+mn-cs"/>
                        </a:rPr>
                        <a:t>Before</a:t>
                      </a:r>
                      <a:r>
                        <a:rPr lang="fr-FR" sz="1000" kern="1200">
                          <a:solidFill>
                            <a:schemeClr val="tx1"/>
                          </a:solidFill>
                          <a:latin typeface="+mn-lt"/>
                          <a:ea typeface="+mn-ea"/>
                          <a:cs typeface="+mn-cs"/>
                        </a:rPr>
                        <a:t> </a:t>
                      </a:r>
                      <a:r>
                        <a:rPr lang="fr-FR" sz="1000" kern="1200" err="1">
                          <a:solidFill>
                            <a:schemeClr val="tx1"/>
                          </a:solidFill>
                          <a:latin typeface="+mn-lt"/>
                          <a:ea typeface="+mn-ea"/>
                          <a:cs typeface="+mn-cs"/>
                        </a:rPr>
                        <a:t>text</a:t>
                      </a:r>
                      <a:r>
                        <a:rPr lang="fr-FR" sz="1000" kern="1200">
                          <a:solidFill>
                            <a:schemeClr val="tx1"/>
                          </a:solidFill>
                          <a:latin typeface="+mn-lt"/>
                          <a:ea typeface="+mn-ea"/>
                          <a:cs typeface="+mn-cs"/>
                        </a:rPr>
                        <a:t> </a:t>
                      </a:r>
                      <a:r>
                        <a:rPr lang="fr-FR" sz="1000" kern="1200" baseline="0">
                          <a:solidFill>
                            <a:schemeClr val="tx1"/>
                          </a:solidFill>
                          <a:latin typeface="+mn-lt"/>
                          <a:ea typeface="+mn-ea"/>
                          <a:cs typeface="+mn-cs"/>
                        </a:rPr>
                        <a:t>= 1,8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noProof="0" err="1">
                          <a:solidFill>
                            <a:schemeClr val="tx1"/>
                          </a:solidFill>
                          <a:latin typeface="+mn-lt"/>
                          <a:ea typeface="+mn-ea"/>
                          <a:cs typeface="+mn-cs"/>
                        </a:rPr>
                        <a:t>Before</a:t>
                      </a:r>
                      <a:r>
                        <a:rPr lang="fr-FR" sz="1000" kern="1200" noProof="0">
                          <a:solidFill>
                            <a:schemeClr val="tx1"/>
                          </a:solidFill>
                          <a:latin typeface="+mn-lt"/>
                          <a:ea typeface="+mn-ea"/>
                          <a:cs typeface="+mn-cs"/>
                        </a:rPr>
                        <a:t> </a:t>
                      </a:r>
                      <a:r>
                        <a:rPr lang="fr-FR" sz="1000" kern="1200" noProof="0" err="1">
                          <a:solidFill>
                            <a:schemeClr val="tx1"/>
                          </a:solidFill>
                          <a:latin typeface="+mn-lt"/>
                          <a:ea typeface="+mn-ea"/>
                          <a:cs typeface="+mn-cs"/>
                        </a:rPr>
                        <a:t>Text</a:t>
                      </a:r>
                      <a:r>
                        <a:rPr lang="fr-FR" sz="1000" kern="1200" noProof="0">
                          <a:solidFill>
                            <a:schemeClr val="tx1"/>
                          </a:solidFill>
                          <a:latin typeface="+mn-lt"/>
                          <a:ea typeface="+mn-ea"/>
                          <a:cs typeface="+mn-cs"/>
                        </a:rPr>
                        <a:t> </a:t>
                      </a:r>
                      <a:r>
                        <a:rPr lang="fr-FR" sz="1000" kern="1200" baseline="0" noProof="0">
                          <a:solidFill>
                            <a:schemeClr val="tx1"/>
                          </a:solidFill>
                          <a:latin typeface="+mn-lt"/>
                          <a:ea typeface="+mn-ea"/>
                          <a:cs typeface="+mn-cs"/>
                        </a:rPr>
                        <a:t>= </a:t>
                      </a:r>
                      <a:r>
                        <a:rPr lang="fr-FR" sz="1000" kern="120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noProof="0">
                          <a:solidFill>
                            <a:schemeClr val="tx1"/>
                          </a:solidFill>
                          <a:latin typeface="+mn-lt"/>
                          <a:ea typeface="+mn-ea"/>
                          <a:cs typeface="+mn-cs"/>
                        </a:rPr>
                        <a:t>No line </a:t>
                      </a:r>
                      <a:r>
                        <a:rPr lang="fr-FR" sz="1000" kern="1200" noProof="0" err="1">
                          <a:solidFill>
                            <a:schemeClr val="tx1"/>
                          </a:solidFill>
                          <a:latin typeface="+mn-lt"/>
                          <a:ea typeface="+mn-ea"/>
                          <a:cs typeface="+mn-cs"/>
                        </a:rPr>
                        <a:t>spacing</a:t>
                      </a:r>
                      <a:endParaRPr lang="fr-FR" sz="1000" kern="1200" noProof="0">
                        <a:solidFill>
                          <a:schemeClr val="tx1"/>
                        </a:solidFill>
                        <a:latin typeface="+mn-lt"/>
                        <a:ea typeface="+mn-ea"/>
                        <a:cs typeface="+mn-cs"/>
                      </a:endParaRPr>
                    </a:p>
                  </a:txBody>
                  <a:tcPr marL="112542" marR="112542"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fr-FR" sz="1000" kern="1200" err="1">
                          <a:solidFill>
                            <a:schemeClr val="tx1"/>
                          </a:solidFill>
                          <a:latin typeface="+mn-lt"/>
                          <a:ea typeface="+mn-ea"/>
                          <a:cs typeface="+mn-cs"/>
                        </a:rPr>
                        <a:t>Level</a:t>
                      </a:r>
                      <a:r>
                        <a:rPr lang="fr-FR" sz="1000" kern="1200">
                          <a:solidFill>
                            <a:schemeClr val="tx1"/>
                          </a:solidFill>
                          <a:latin typeface="+mn-lt"/>
                          <a:ea typeface="+mn-ea"/>
                          <a:cs typeface="+mn-cs"/>
                        </a:rPr>
                        <a:t> 5</a:t>
                      </a:r>
                    </a:p>
                  </a:txBody>
                  <a:tcPr marL="112542" marR="112542" anchor="ctr">
                    <a:solidFill>
                      <a:schemeClr val="bg1"/>
                    </a:solidFill>
                  </a:tcPr>
                </a:tc>
                <a:tc>
                  <a:txBody>
                    <a:bodyPr/>
                    <a:lstStyle/>
                    <a:p>
                      <a:pPr algn="ctr"/>
                      <a:r>
                        <a:rPr lang="fr-FR" sz="1000" kern="1200" err="1">
                          <a:solidFill>
                            <a:schemeClr val="tx1"/>
                          </a:solidFill>
                          <a:latin typeface="+mn-lt"/>
                          <a:ea typeface="+mn-ea"/>
                          <a:cs typeface="+mn-cs"/>
                        </a:rPr>
                        <a:t>Tahoma</a:t>
                      </a:r>
                      <a:r>
                        <a:rPr lang="fr-FR" sz="1000" kern="120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10</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Font </a:t>
                      </a:r>
                      <a:r>
                        <a:rPr lang="fr-FR" sz="1000" kern="1200" err="1">
                          <a:solidFill>
                            <a:schemeClr val="tx1"/>
                          </a:solidFill>
                          <a:latin typeface="+mn-lt"/>
                          <a:ea typeface="+mn-ea"/>
                          <a:cs typeface="+mn-cs"/>
                        </a:rPr>
                        <a:t>Tahoma</a:t>
                      </a:r>
                      <a:br>
                        <a:rPr lang="fr-FR" sz="1000" kern="1200">
                          <a:solidFill>
                            <a:schemeClr val="tx1"/>
                          </a:solidFill>
                          <a:latin typeface="+mn-lt"/>
                          <a:ea typeface="+mn-ea"/>
                          <a:cs typeface="+mn-cs"/>
                        </a:rPr>
                      </a:br>
                      <a:r>
                        <a:rPr lang="fr-FR" sz="1000" kern="1200">
                          <a:solidFill>
                            <a:schemeClr val="tx1"/>
                          </a:solidFill>
                          <a:latin typeface="+mn-lt"/>
                          <a:ea typeface="+mn-ea"/>
                          <a:cs typeface="+mn-cs"/>
                        </a:rPr>
                        <a:t>code 00BB</a:t>
                      </a:r>
                    </a:p>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err="1">
                          <a:solidFill>
                            <a:schemeClr val="tx1"/>
                          </a:solidFill>
                          <a:latin typeface="+mn-lt"/>
                          <a:ea typeface="+mn-ea"/>
                          <a:cs typeface="+mn-cs"/>
                        </a:rPr>
                        <a:t>Before</a:t>
                      </a:r>
                      <a:r>
                        <a:rPr lang="fr-FR" sz="1000" kern="1200">
                          <a:solidFill>
                            <a:schemeClr val="tx1"/>
                          </a:solidFill>
                          <a:latin typeface="+mn-lt"/>
                          <a:ea typeface="+mn-ea"/>
                          <a:cs typeface="+mn-cs"/>
                        </a:rPr>
                        <a:t> </a:t>
                      </a:r>
                      <a:r>
                        <a:rPr lang="fr-FR" sz="1000" kern="1200" err="1">
                          <a:solidFill>
                            <a:schemeClr val="tx1"/>
                          </a:solidFill>
                          <a:latin typeface="+mn-lt"/>
                          <a:ea typeface="+mn-ea"/>
                          <a:cs typeface="+mn-cs"/>
                        </a:rPr>
                        <a:t>text</a:t>
                      </a:r>
                      <a:r>
                        <a:rPr lang="fr-FR" sz="1000" kern="1200">
                          <a:solidFill>
                            <a:schemeClr val="tx1"/>
                          </a:solidFill>
                          <a:latin typeface="+mn-lt"/>
                          <a:ea typeface="+mn-ea"/>
                          <a:cs typeface="+mn-cs"/>
                        </a:rPr>
                        <a:t> </a:t>
                      </a:r>
                      <a:r>
                        <a:rPr lang="fr-FR" sz="1000" kern="1200" baseline="0">
                          <a:solidFill>
                            <a:schemeClr val="tx1"/>
                          </a:solidFill>
                          <a:latin typeface="+mn-lt"/>
                          <a:ea typeface="+mn-ea"/>
                          <a:cs typeface="+mn-cs"/>
                        </a:rPr>
                        <a:t>= 2,5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noProof="0" err="1">
                          <a:solidFill>
                            <a:schemeClr val="tx1"/>
                          </a:solidFill>
                          <a:latin typeface="+mn-lt"/>
                          <a:ea typeface="+mn-ea"/>
                          <a:cs typeface="+mn-cs"/>
                        </a:rPr>
                        <a:t>Before</a:t>
                      </a:r>
                      <a:r>
                        <a:rPr lang="fr-FR" sz="1000" kern="1200" noProof="0">
                          <a:solidFill>
                            <a:schemeClr val="tx1"/>
                          </a:solidFill>
                          <a:latin typeface="+mn-lt"/>
                          <a:ea typeface="+mn-ea"/>
                          <a:cs typeface="+mn-cs"/>
                        </a:rPr>
                        <a:t> </a:t>
                      </a:r>
                      <a:r>
                        <a:rPr lang="fr-FR" sz="1000" kern="1200" noProof="0" err="1">
                          <a:solidFill>
                            <a:schemeClr val="tx1"/>
                          </a:solidFill>
                          <a:latin typeface="+mn-lt"/>
                          <a:ea typeface="+mn-ea"/>
                          <a:cs typeface="+mn-cs"/>
                        </a:rPr>
                        <a:t>Text</a:t>
                      </a:r>
                      <a:r>
                        <a:rPr lang="fr-FR" sz="1000" kern="1200" noProof="0">
                          <a:solidFill>
                            <a:schemeClr val="tx1"/>
                          </a:solidFill>
                          <a:latin typeface="+mn-lt"/>
                          <a:ea typeface="+mn-ea"/>
                          <a:cs typeface="+mn-cs"/>
                        </a:rPr>
                        <a:t> </a:t>
                      </a:r>
                      <a:r>
                        <a:rPr lang="fr-FR" sz="1000" kern="1200" baseline="0" noProof="0">
                          <a:solidFill>
                            <a:schemeClr val="tx1"/>
                          </a:solidFill>
                          <a:latin typeface="+mn-lt"/>
                          <a:ea typeface="+mn-ea"/>
                          <a:cs typeface="+mn-cs"/>
                        </a:rPr>
                        <a:t>= </a:t>
                      </a:r>
                      <a:r>
                        <a:rPr lang="fr-FR" sz="1000" kern="120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noProof="0">
                          <a:solidFill>
                            <a:schemeClr val="tx1"/>
                          </a:solidFill>
                          <a:latin typeface="+mn-lt"/>
                          <a:ea typeface="+mn-ea"/>
                          <a:cs typeface="+mn-cs"/>
                        </a:rPr>
                        <a:t>No line </a:t>
                      </a:r>
                      <a:r>
                        <a:rPr lang="fr-FR" sz="1000" kern="1200" noProof="0" err="1">
                          <a:solidFill>
                            <a:schemeClr val="tx1"/>
                          </a:solidFill>
                          <a:latin typeface="+mn-lt"/>
                          <a:ea typeface="+mn-ea"/>
                          <a:cs typeface="+mn-cs"/>
                        </a:rPr>
                        <a:t>spacing</a:t>
                      </a:r>
                      <a:endParaRPr lang="fr-FR" sz="1000" kern="1200" noProof="0">
                        <a:solidFill>
                          <a:schemeClr val="tx1"/>
                        </a:solidFill>
                        <a:latin typeface="+mn-lt"/>
                        <a:ea typeface="+mn-ea"/>
                        <a:cs typeface="+mn-cs"/>
                      </a:endParaRPr>
                    </a:p>
                  </a:txBody>
                  <a:tcPr marL="112542" marR="112542"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p:nvSpPr>
        <p:spPr>
          <a:xfrm>
            <a:off x="5918750" y="404665"/>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fr-FR" sz="1400" b="1" noProof="0" err="1">
                <a:solidFill>
                  <a:schemeClr val="bg2"/>
                </a:solidFill>
              </a:rPr>
              <a:t>Remaining</a:t>
            </a:r>
            <a:r>
              <a:rPr lang="fr-FR" sz="1400" b="1" noProof="0">
                <a:solidFill>
                  <a:schemeClr val="bg2"/>
                </a:solidFill>
              </a:rPr>
              <a:t> bug</a:t>
            </a:r>
            <a:endParaRPr lang="fr-FR" sz="1400" noProof="0">
              <a:solidFill>
                <a:schemeClr val="bg2"/>
              </a:solidFill>
            </a:endParaRPr>
          </a:p>
          <a:p>
            <a:pPr algn="r"/>
            <a:r>
              <a:rPr lang="fr-FR" sz="1400" noProof="0" err="1">
                <a:solidFill>
                  <a:schemeClr val="bg2"/>
                </a:solidFill>
              </a:rPr>
              <a:t>Print</a:t>
            </a:r>
            <a:r>
              <a:rPr lang="fr-FR" sz="1400" noProof="0">
                <a:solidFill>
                  <a:schemeClr val="bg2"/>
                </a:solidFill>
              </a:rPr>
              <a:t> issue </a:t>
            </a:r>
            <a:r>
              <a:rPr lang="fr-FR" sz="1400" noProof="0" err="1">
                <a:solidFill>
                  <a:schemeClr val="bg2"/>
                </a:solidFill>
              </a:rPr>
              <a:t>is</a:t>
            </a:r>
            <a:r>
              <a:rPr lang="fr-FR" sz="1400" noProof="0">
                <a:solidFill>
                  <a:schemeClr val="bg2"/>
                </a:solidFill>
              </a:rPr>
              <a:t> </a:t>
            </a:r>
            <a:r>
              <a:rPr lang="fr-FR" sz="1400" noProof="0" err="1">
                <a:solidFill>
                  <a:schemeClr val="bg2"/>
                </a:solidFill>
              </a:rPr>
              <a:t>reported</a:t>
            </a:r>
            <a:r>
              <a:rPr lang="fr-FR" sz="1400" noProof="0">
                <a:solidFill>
                  <a:schemeClr val="bg2"/>
                </a:solidFill>
              </a:rPr>
              <a:t> </a:t>
            </a:r>
            <a:r>
              <a:rPr lang="fr-FR" sz="1400" noProof="0" err="1">
                <a:solidFill>
                  <a:schemeClr val="bg2"/>
                </a:solidFill>
              </a:rPr>
              <a:t>with</a:t>
            </a:r>
            <a:r>
              <a:rPr lang="fr-FR" sz="1400" noProof="0">
                <a:solidFill>
                  <a:schemeClr val="bg2"/>
                </a:solidFill>
              </a:rPr>
              <a:t> Font </a:t>
            </a:r>
            <a:r>
              <a:rPr lang="fr-FR" sz="1400" baseline="0" noProof="0">
                <a:solidFill>
                  <a:schemeClr val="bg2"/>
                </a:solidFill>
              </a:rPr>
              <a:t> </a:t>
            </a:r>
            <a:r>
              <a:rPr lang="fr-FR" sz="1400" baseline="0" noProof="0" err="1">
                <a:solidFill>
                  <a:schemeClr val="bg2"/>
                </a:solidFill>
              </a:rPr>
              <a:t>Tahoma</a:t>
            </a:r>
            <a:r>
              <a:rPr lang="fr-FR" sz="1400" baseline="0" noProof="0">
                <a:solidFill>
                  <a:schemeClr val="bg2"/>
                </a:solidFill>
              </a:rPr>
              <a:t> in </a:t>
            </a:r>
            <a:r>
              <a:rPr lang="fr-FR" sz="1400" baseline="0" noProof="0" err="1">
                <a:solidFill>
                  <a:schemeClr val="bg2"/>
                </a:solidFill>
              </a:rPr>
              <a:t>italic</a:t>
            </a:r>
            <a:r>
              <a:rPr lang="fr-FR" sz="1400" baseline="0" noProof="0">
                <a:solidFill>
                  <a:schemeClr val="bg2"/>
                </a:solidFill>
              </a:rPr>
              <a:t> </a:t>
            </a:r>
            <a:r>
              <a:rPr lang="fr-FR" sz="1400" baseline="0" noProof="0" err="1">
                <a:solidFill>
                  <a:schemeClr val="bg2"/>
                </a:solidFill>
              </a:rPr>
              <a:t>when</a:t>
            </a:r>
            <a:r>
              <a:rPr lang="fr-FR" sz="1400" baseline="0" noProof="0">
                <a:solidFill>
                  <a:schemeClr val="bg2"/>
                </a:solidFill>
              </a:rPr>
              <a:t> the document </a:t>
            </a:r>
            <a:r>
              <a:rPr lang="fr-FR" sz="1400" baseline="0" noProof="0" err="1">
                <a:solidFill>
                  <a:schemeClr val="bg2"/>
                </a:solidFill>
              </a:rPr>
              <a:t>is</a:t>
            </a:r>
            <a:r>
              <a:rPr lang="fr-FR" sz="1400" baseline="0" noProof="0">
                <a:solidFill>
                  <a:schemeClr val="bg2"/>
                </a:solidFill>
              </a:rPr>
              <a:t> </a:t>
            </a:r>
            <a:r>
              <a:rPr lang="fr-FR" sz="1400" baseline="0" noProof="0" err="1">
                <a:solidFill>
                  <a:schemeClr val="bg2"/>
                </a:solidFill>
              </a:rPr>
              <a:t>save</a:t>
            </a:r>
            <a:r>
              <a:rPr lang="fr-FR" sz="1400" baseline="0" noProof="0">
                <a:solidFill>
                  <a:schemeClr val="bg2"/>
                </a:solidFill>
              </a:rPr>
              <a:t> as a PDF </a:t>
            </a:r>
            <a:r>
              <a:rPr lang="fr-FR" sz="1400" baseline="0" noProof="0" err="1">
                <a:solidFill>
                  <a:schemeClr val="bg2"/>
                </a:solidFill>
              </a:rPr>
              <a:t>with</a:t>
            </a:r>
            <a:r>
              <a:rPr lang="fr-FR" sz="1400" baseline="0" noProof="0">
                <a:solidFill>
                  <a:schemeClr val="bg2"/>
                </a:solidFill>
              </a:rPr>
              <a:t> MS PPT. </a:t>
            </a:r>
          </a:p>
          <a:p>
            <a:pPr algn="r"/>
            <a:r>
              <a:rPr lang="fr-FR" sz="1400" b="1" baseline="0" noProof="0">
                <a:solidFill>
                  <a:schemeClr val="bg2"/>
                </a:solidFill>
              </a:rPr>
              <a:t>Work </a:t>
            </a:r>
            <a:r>
              <a:rPr lang="fr-FR" sz="1400" b="1" baseline="0" noProof="0" err="1">
                <a:solidFill>
                  <a:schemeClr val="bg2"/>
                </a:solidFill>
              </a:rPr>
              <a:t>around</a:t>
            </a:r>
            <a:r>
              <a:rPr lang="fr-FR" sz="1400" b="1" baseline="0" noProof="0">
                <a:solidFill>
                  <a:schemeClr val="bg2"/>
                </a:solidFill>
              </a:rPr>
              <a:t> solution: </a:t>
            </a:r>
            <a:r>
              <a:rPr lang="fr-FR" sz="1400" b="1" baseline="0" noProof="0" err="1">
                <a:solidFill>
                  <a:schemeClr val="bg2"/>
                </a:solidFill>
              </a:rPr>
              <a:t>generate</a:t>
            </a:r>
            <a:r>
              <a:rPr lang="fr-FR" sz="1400" b="1" baseline="0" noProof="0">
                <a:solidFill>
                  <a:schemeClr val="bg2"/>
                </a:solidFill>
              </a:rPr>
              <a:t> </a:t>
            </a:r>
            <a:r>
              <a:rPr lang="fr-FR" sz="1400" b="1" baseline="0" noProof="0" err="1">
                <a:solidFill>
                  <a:schemeClr val="bg2"/>
                </a:solidFill>
              </a:rPr>
              <a:t>with</a:t>
            </a:r>
            <a:r>
              <a:rPr lang="fr-FR" sz="1400" b="1" baseline="0" noProof="0">
                <a:solidFill>
                  <a:schemeClr val="bg2"/>
                </a:solidFill>
              </a:rPr>
              <a:t> </a:t>
            </a:r>
            <a:r>
              <a:rPr lang="fr-FR" sz="1400" b="1" baseline="0" noProof="0" err="1">
                <a:solidFill>
                  <a:schemeClr val="bg2"/>
                </a:solidFill>
              </a:rPr>
              <a:t>Pdf</a:t>
            </a:r>
            <a:r>
              <a:rPr lang="fr-FR" sz="1400" b="1" baseline="0" noProof="0">
                <a:solidFill>
                  <a:schemeClr val="bg2"/>
                </a:solidFill>
              </a:rPr>
              <a:t> Creator.</a:t>
            </a:r>
            <a:endParaRPr lang="fr-FR" sz="1400" b="1" noProof="0">
              <a:solidFill>
                <a:schemeClr val="bg2"/>
              </a:solidFill>
            </a:endParaRPr>
          </a:p>
        </p:txBody>
      </p:sp>
      <p:graphicFrame>
        <p:nvGraphicFramePr>
          <p:cNvPr id="7" name="Inhaltsplatzhalter 3"/>
          <p:cNvGraphicFramePr>
            <a:graphicFrameLocks/>
          </p:cNvGraphicFramePr>
          <p:nvPr>
            <p:extLst>
              <p:ext uri="{D42A27DB-BD31-4B8C-83A1-F6EECF244321}">
                <p14:modId xmlns:p14="http://schemas.microsoft.com/office/powerpoint/2010/main" val="850362476"/>
              </p:ext>
            </p:extLst>
          </p:nvPr>
        </p:nvGraphicFramePr>
        <p:xfrm>
          <a:off x="446856" y="1470716"/>
          <a:ext cx="11360135" cy="1635316"/>
        </p:xfrm>
        <a:graphic>
          <a:graphicData uri="http://schemas.openxmlformats.org/drawingml/2006/table">
            <a:tbl>
              <a:tblPr bandRow="1">
                <a:tableStyleId>{5C22544A-7EE6-4342-B048-85BDC9FD1C3A}</a:tableStyleId>
              </a:tblPr>
              <a:tblGrid>
                <a:gridCol w="1136014">
                  <a:extLst>
                    <a:ext uri="{9D8B030D-6E8A-4147-A177-3AD203B41FA5}">
                      <a16:colId xmlns:a16="http://schemas.microsoft.com/office/drawing/2014/main" val="20000"/>
                    </a:ext>
                  </a:extLst>
                </a:gridCol>
                <a:gridCol w="1136014">
                  <a:extLst>
                    <a:ext uri="{9D8B030D-6E8A-4147-A177-3AD203B41FA5}">
                      <a16:colId xmlns:a16="http://schemas.microsoft.com/office/drawing/2014/main" val="20001"/>
                    </a:ext>
                  </a:extLst>
                </a:gridCol>
                <a:gridCol w="1136014">
                  <a:extLst>
                    <a:ext uri="{9D8B030D-6E8A-4147-A177-3AD203B41FA5}">
                      <a16:colId xmlns:a16="http://schemas.microsoft.com/office/drawing/2014/main" val="20002"/>
                    </a:ext>
                  </a:extLst>
                </a:gridCol>
                <a:gridCol w="1136014">
                  <a:extLst>
                    <a:ext uri="{9D8B030D-6E8A-4147-A177-3AD203B41FA5}">
                      <a16:colId xmlns:a16="http://schemas.microsoft.com/office/drawing/2014/main" val="20003"/>
                    </a:ext>
                  </a:extLst>
                </a:gridCol>
                <a:gridCol w="1136014">
                  <a:extLst>
                    <a:ext uri="{9D8B030D-6E8A-4147-A177-3AD203B41FA5}">
                      <a16:colId xmlns:a16="http://schemas.microsoft.com/office/drawing/2014/main" val="20004"/>
                    </a:ext>
                  </a:extLst>
                </a:gridCol>
                <a:gridCol w="1136014">
                  <a:extLst>
                    <a:ext uri="{9D8B030D-6E8A-4147-A177-3AD203B41FA5}">
                      <a16:colId xmlns:a16="http://schemas.microsoft.com/office/drawing/2014/main" val="20005"/>
                    </a:ext>
                  </a:extLst>
                </a:gridCol>
                <a:gridCol w="1136014">
                  <a:extLst>
                    <a:ext uri="{9D8B030D-6E8A-4147-A177-3AD203B41FA5}">
                      <a16:colId xmlns:a16="http://schemas.microsoft.com/office/drawing/2014/main" val="20006"/>
                    </a:ext>
                  </a:extLst>
                </a:gridCol>
                <a:gridCol w="1136014">
                  <a:extLst>
                    <a:ext uri="{9D8B030D-6E8A-4147-A177-3AD203B41FA5}">
                      <a16:colId xmlns:a16="http://schemas.microsoft.com/office/drawing/2014/main" val="20007"/>
                    </a:ext>
                  </a:extLst>
                </a:gridCol>
                <a:gridCol w="1136014">
                  <a:extLst>
                    <a:ext uri="{9D8B030D-6E8A-4147-A177-3AD203B41FA5}">
                      <a16:colId xmlns:a16="http://schemas.microsoft.com/office/drawing/2014/main" val="20008"/>
                    </a:ext>
                  </a:extLst>
                </a:gridCol>
                <a:gridCol w="1136014">
                  <a:extLst>
                    <a:ext uri="{9D8B030D-6E8A-4147-A177-3AD203B41FA5}">
                      <a16:colId xmlns:a16="http://schemas.microsoft.com/office/drawing/2014/main" val="20009"/>
                    </a:ext>
                  </a:extLst>
                </a:gridCol>
              </a:tblGrid>
              <a:tr h="30668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fr-FR" sz="900" b="1" kern="1200" noProof="0" err="1">
                          <a:solidFill>
                            <a:schemeClr val="bg2"/>
                          </a:solidFill>
                          <a:latin typeface="+mn-lt"/>
                          <a:ea typeface="+mn-ea"/>
                          <a:cs typeface="+mn-cs"/>
                        </a:rPr>
                        <a:t>Color</a:t>
                      </a:r>
                      <a:r>
                        <a:rPr lang="fr-FR" sz="900" b="1" kern="1200" noProof="0">
                          <a:solidFill>
                            <a:schemeClr val="bg2"/>
                          </a:solidFill>
                          <a:latin typeface="+mn-lt"/>
                          <a:ea typeface="+mn-ea"/>
                          <a:cs typeface="+mn-cs"/>
                        </a:rPr>
                        <a:t> </a:t>
                      </a:r>
                      <a:r>
                        <a:rPr lang="fr-FR" sz="900" b="1" kern="1200" noProof="0" err="1">
                          <a:solidFill>
                            <a:schemeClr val="bg2"/>
                          </a:solidFill>
                          <a:latin typeface="+mn-lt"/>
                          <a:ea typeface="+mn-ea"/>
                          <a:cs typeface="+mn-cs"/>
                        </a:rPr>
                        <a:t>scheme</a:t>
                      </a:r>
                      <a:endParaRPr lang="fr-FR" sz="900" b="1" kern="1200" noProof="0">
                        <a:solidFill>
                          <a:schemeClr val="bg2"/>
                        </a:solidFill>
                        <a:latin typeface="+mn-lt"/>
                        <a:ea typeface="+mn-ea"/>
                        <a:cs typeface="+mn-cs"/>
                      </a:endParaRPr>
                    </a:p>
                  </a:txBody>
                  <a:tcPr marL="88615"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00647">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Background 1</a:t>
                      </a:r>
                    </a:p>
                  </a:txBody>
                  <a:tcPr marL="88615" marR="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err="1">
                          <a:solidFill>
                            <a:schemeClr val="bg2"/>
                          </a:solidFill>
                          <a:latin typeface="+mn-lt"/>
                          <a:cs typeface="Arial" pitchFamily="34" charset="0"/>
                        </a:rPr>
                        <a:t>Text</a:t>
                      </a:r>
                      <a:r>
                        <a:rPr lang="fr-FR" sz="900" b="0" i="0" u="none" noProof="0">
                          <a:solidFill>
                            <a:schemeClr val="bg2"/>
                          </a:solidFill>
                          <a:latin typeface="+mn-lt"/>
                          <a:cs typeface="Arial" pitchFamily="34" charset="0"/>
                        </a:rPr>
                        <a: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Background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err="1">
                          <a:solidFill>
                            <a:schemeClr val="bg2"/>
                          </a:solidFill>
                          <a:latin typeface="+mn-lt"/>
                          <a:cs typeface="Arial" pitchFamily="34" charset="0"/>
                        </a:rPr>
                        <a:t>Text</a:t>
                      </a:r>
                      <a:r>
                        <a:rPr lang="fr-FR" sz="900" b="0" i="0" u="none" noProof="0">
                          <a:solidFill>
                            <a:schemeClr val="bg2"/>
                          </a:solidFill>
                          <a:latin typeface="+mn-lt"/>
                          <a:cs typeface="Arial" pitchFamily="34" charset="0"/>
                        </a:rPr>
                        <a: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3</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4</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5</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6</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563945">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55552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55</a:t>
                      </a:r>
                      <a:br>
                        <a:rPr lang="fr-FR" sz="1000" i="0" u="none" noProof="0">
                          <a:solidFill>
                            <a:srgbClr val="000000"/>
                          </a:solidFill>
                          <a:latin typeface="+mn-lt"/>
                          <a:cs typeface="Arial" pitchFamily="34" charset="0"/>
                        </a:rPr>
                      </a:br>
                      <a:r>
                        <a:rPr lang="fr-FR" sz="1000" i="0" u="none" noProof="0">
                          <a:solidFill>
                            <a:srgbClr val="000000"/>
                          </a:solidFill>
                          <a:latin typeface="+mn-lt"/>
                          <a:cs typeface="Arial" pitchFamily="34" charset="0"/>
                        </a:rPr>
                        <a:t>25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2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4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4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4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4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5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9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8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2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18</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4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3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2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3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5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0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6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fr-FR" noProof="0"/>
              <a:t>How to use the Wavestone </a:t>
            </a:r>
            <a:r>
              <a:rPr lang="fr-FR" noProof="0" err="1"/>
              <a:t>ppt</a:t>
            </a:r>
            <a:r>
              <a:rPr lang="fr-FR" noProof="0"/>
              <a:t> </a:t>
            </a:r>
            <a:r>
              <a:rPr lang="fr-FR" noProof="0" err="1"/>
              <a:t>template</a:t>
            </a:r>
            <a:endParaRPr lang="fr-FR" noProof="0"/>
          </a:p>
        </p:txBody>
      </p:sp>
      <p:grpSp>
        <p:nvGrpSpPr>
          <p:cNvPr id="3" name="Groupe 2"/>
          <p:cNvGrpSpPr/>
          <p:nvPr/>
        </p:nvGrpSpPr>
        <p:grpSpPr>
          <a:xfrm>
            <a:off x="416542" y="730806"/>
            <a:ext cx="5502208" cy="753979"/>
            <a:chOff x="338440" y="866281"/>
            <a:chExt cx="4614560" cy="753979"/>
          </a:xfrm>
        </p:grpSpPr>
        <p:sp>
          <p:nvSpPr>
            <p:cNvPr id="11" name="Rectangle 10"/>
            <p:cNvSpPr/>
            <p:nvPr userDrawn="1"/>
          </p:nvSpPr>
          <p:spPr>
            <a:xfrm>
              <a:off x="338440" y="866281"/>
              <a:ext cx="4614560"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fr-FR" sz="1600" b="1" noProof="0" err="1">
                  <a:solidFill>
                    <a:schemeClr val="bg2"/>
                  </a:solidFill>
                </a:rPr>
                <a:t>Shortcut</a:t>
              </a:r>
              <a:r>
                <a:rPr lang="fr-FR" sz="1600" b="1" noProof="0">
                  <a:solidFill>
                    <a:schemeClr val="bg2"/>
                  </a:solidFill>
                </a:rPr>
                <a:t> to switch</a:t>
              </a:r>
              <a:r>
                <a:rPr lang="fr-FR" sz="1600" b="1" baseline="0" noProof="0">
                  <a:solidFill>
                    <a:schemeClr val="bg2"/>
                  </a:solidFill>
                </a:rPr>
                <a:t> </a:t>
              </a:r>
              <a:r>
                <a:rPr lang="fr-FR" sz="1600" b="1" baseline="0" noProof="0" err="1">
                  <a:solidFill>
                    <a:schemeClr val="bg2"/>
                  </a:solidFill>
                </a:rPr>
                <a:t>text</a:t>
              </a:r>
              <a:r>
                <a:rPr lang="fr-FR" sz="1600" b="1" baseline="0" noProof="0">
                  <a:solidFill>
                    <a:schemeClr val="bg2"/>
                  </a:solidFill>
                </a:rPr>
                <a:t> </a:t>
              </a:r>
              <a:r>
                <a:rPr lang="fr-FR" sz="1600" b="1" baseline="0" noProof="0" err="1">
                  <a:solidFill>
                    <a:schemeClr val="bg2"/>
                  </a:solidFill>
                </a:rPr>
                <a:t>level</a:t>
              </a:r>
              <a:r>
                <a:rPr lang="fr-FR" sz="1600" b="1" baseline="0" noProof="0">
                  <a:solidFill>
                    <a:schemeClr val="bg2"/>
                  </a:solidFill>
                </a:rPr>
                <a:t> :</a:t>
              </a:r>
              <a:endParaRPr lang="fr-FR" sz="1600" b="1" noProof="0">
                <a:solidFill>
                  <a:schemeClr val="bg2"/>
                </a:solidFill>
              </a:endParaRPr>
            </a:p>
            <a:p>
              <a:pPr algn="r"/>
              <a:r>
                <a:rPr lang="fr-FR" sz="1600" b="0" noProof="0">
                  <a:solidFill>
                    <a:schemeClr val="bg2"/>
                  </a:solidFill>
                </a:rPr>
                <a:t>Shift</a:t>
              </a:r>
              <a:r>
                <a:rPr lang="fr-FR" sz="1600" b="0" baseline="0" noProof="0">
                  <a:solidFill>
                    <a:schemeClr val="bg2"/>
                  </a:solidFill>
                </a:rPr>
                <a:t> + Alt + Right/</a:t>
              </a:r>
              <a:r>
                <a:rPr lang="fr-FR" sz="1600" b="0" baseline="0" noProof="0" err="1">
                  <a:solidFill>
                    <a:schemeClr val="bg2"/>
                  </a:solidFill>
                </a:rPr>
                <a:t>Left</a:t>
              </a:r>
              <a:r>
                <a:rPr lang="fr-FR" sz="1600" b="0" baseline="0" noProof="0">
                  <a:solidFill>
                    <a:schemeClr val="bg2"/>
                  </a:solidFill>
                </a:rPr>
                <a:t> </a:t>
              </a:r>
              <a:r>
                <a:rPr lang="fr-FR" sz="1600" b="0" baseline="0" noProof="0" err="1">
                  <a:solidFill>
                    <a:schemeClr val="bg2"/>
                  </a:solidFill>
                </a:rPr>
                <a:t>arrow</a:t>
              </a:r>
              <a:endParaRPr lang="fr-FR" sz="1600" b="0" noProof="0">
                <a:solidFill>
                  <a:schemeClr val="bg2"/>
                </a:solidFill>
              </a:endParaRPr>
            </a:p>
          </p:txBody>
        </p:sp>
        <p:pic>
          <p:nvPicPr>
            <p:cNvPr id="12"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142" y="998628"/>
              <a:ext cx="489284" cy="489284"/>
            </a:xfrm>
            <a:prstGeom prst="rect">
              <a:avLst/>
            </a:prstGeom>
          </p:spPr>
        </p:pic>
      </p:grpSp>
    </p:spTree>
    <p:extLst>
      <p:ext uri="{BB962C8B-B14F-4D97-AF65-F5344CB8AC3E}">
        <p14:creationId xmlns:p14="http://schemas.microsoft.com/office/powerpoint/2010/main" val="12430013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cSld name="Purple background + image">
    <p:bg>
      <p:bgPr>
        <a:solidFill>
          <a:schemeClr val="bg2"/>
        </a:solidFill>
        <a:effectLst/>
      </p:bgPr>
    </p:bg>
    <p:spTree>
      <p:nvGrpSpPr>
        <p:cNvPr id="1" name=""/>
        <p:cNvGrpSpPr/>
        <p:nvPr/>
      </p:nvGrpSpPr>
      <p:grpSpPr>
        <a:xfrm>
          <a:off x="0" y="0"/>
          <a:ext cx="0" cy="0"/>
          <a:chOff x="0" y="0"/>
          <a:chExt cx="0" cy="0"/>
        </a:xfrm>
      </p:grpSpPr>
      <p:pic>
        <p:nvPicPr>
          <p:cNvPr id="1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 r="-63997" b="-5943"/>
          <a:stretch/>
        </p:blipFill>
        <p:spPr bwMode="auto">
          <a:xfrm>
            <a:off x="0" y="1"/>
            <a:ext cx="12192000" cy="6856413"/>
          </a:xfrm>
          <a:prstGeom prst="rect">
            <a:avLst/>
          </a:prstGeom>
          <a:solidFill>
            <a:schemeClr val="bg2"/>
          </a:solidFill>
          <a:ln>
            <a:noFill/>
          </a:ln>
          <a:effectLst/>
        </p:spPr>
      </p:pic>
      <p:sp>
        <p:nvSpPr>
          <p:cNvPr id="9" name="Espace réservé pour une image  35"/>
          <p:cNvSpPr>
            <a:spLocks noGrp="1"/>
          </p:cNvSpPr>
          <p:nvPr>
            <p:ph type="pic" sz="quarter" idx="10" hasCustomPrompt="1"/>
          </p:nvPr>
        </p:nvSpPr>
        <p:spPr bwMode="gray">
          <a:xfrm>
            <a:off x="0" y="2"/>
            <a:ext cx="7519015" cy="6621613"/>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ck </a:t>
            </a:r>
            <a:r>
              <a:rPr lang="fr-FR" noProof="0" err="1"/>
              <a:t>here</a:t>
            </a:r>
            <a:r>
              <a:rPr lang="fr-FR" noProof="0"/>
              <a:t> &gt;&gt;</a:t>
            </a:r>
          </a:p>
          <a:p>
            <a:r>
              <a:rPr lang="fr-FR" noProof="0"/>
              <a:t>to insert a </a:t>
            </a:r>
            <a:r>
              <a:rPr lang="fr-FR" noProof="0" err="1"/>
              <a:t>picture</a:t>
            </a:r>
            <a:endParaRPr lang="fr-FR" noProof="0"/>
          </a:p>
        </p:txBody>
      </p:sp>
      <p:sp>
        <p:nvSpPr>
          <p:cNvPr id="17" name="Rectangle 16"/>
          <p:cNvSpPr/>
          <p:nvPr/>
        </p:nvSpPr>
        <p:spPr>
          <a:xfrm>
            <a:off x="9286508" y="6503348"/>
            <a:ext cx="2004177" cy="230400"/>
          </a:xfrm>
          <a:prstGeom prst="rect">
            <a:avLst/>
          </a:prstGeom>
        </p:spPr>
        <p:txBody>
          <a:bodyPr wrap="square" anchor="ctr">
            <a:spAutoFit/>
          </a:bodyPr>
          <a:lstStyle/>
          <a:p>
            <a:pPr lvl="0" algn="r">
              <a:spcBef>
                <a:spcPts val="400"/>
              </a:spcBef>
              <a:buClr>
                <a:srgbClr val="660066"/>
              </a:buClr>
            </a:pPr>
            <a:r>
              <a:rPr lang="fr-FR" sz="600" noProof="0" err="1">
                <a:solidFill>
                  <a:schemeClr val="bg1"/>
                </a:solidFill>
                <a:latin typeface="Tahoma" panose="020B0604030504040204" pitchFamily="34" charset="0"/>
                <a:ea typeface="Tahoma" panose="020B0604030504040204" pitchFamily="34" charset="0"/>
                <a:cs typeface="Tahoma" panose="020B0604030504040204" pitchFamily="34" charset="0"/>
              </a:rPr>
              <a:t>confidential</a:t>
            </a:r>
            <a:r>
              <a:rPr lang="fr-FR" sz="600" noProof="0">
                <a:solidFill>
                  <a:schemeClr val="bg1"/>
                </a:solidFill>
                <a:latin typeface="Tahoma" panose="020B0604030504040204" pitchFamily="34" charset="0"/>
                <a:ea typeface="Tahoma" panose="020B0604030504040204" pitchFamily="34" charset="0"/>
                <a:cs typeface="Tahoma" panose="020B0604030504040204" pitchFamily="34" charset="0"/>
              </a:rPr>
              <a:t> </a:t>
            </a:r>
            <a:r>
              <a:rPr lang="fr-FR" sz="900" noProof="0">
                <a:solidFill>
                  <a:schemeClr val="bg1"/>
                </a:solidFill>
                <a:latin typeface="Tahoma" panose="020B0604030504040204" pitchFamily="34" charset="0"/>
                <a:ea typeface="Tahoma" panose="020B0604030504040204" pitchFamily="34" charset="0"/>
                <a:cs typeface="Tahoma" panose="020B0604030504040204" pitchFamily="34" charset="0"/>
              </a:rPr>
              <a:t>| © WAVESTONE</a:t>
            </a:r>
          </a:p>
        </p:txBody>
      </p:sp>
      <p:sp>
        <p:nvSpPr>
          <p:cNvPr id="18" name="Textfeld 6"/>
          <p:cNvSpPr txBox="1"/>
          <p:nvPr/>
        </p:nvSpPr>
        <p:spPr bwMode="gray">
          <a:xfrm>
            <a:off x="11324889" y="6549299"/>
            <a:ext cx="443077" cy="138499"/>
          </a:xfrm>
          <a:prstGeom prst="rect">
            <a:avLst/>
          </a:prstGeom>
          <a:noFill/>
        </p:spPr>
        <p:txBody>
          <a:bodyPr wrap="square" lIns="0" tIns="0" rIns="0" bIns="0" rtlCol="0" anchor="ctr"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5152254E-7EB4-45E4-904F-3575BFE2F20B}" type="slidenum">
              <a:rPr lang="fr-FR" sz="900" noProof="0" smtClean="0">
                <a:solidFill>
                  <a:schemeClr val="bg1"/>
                </a:solidFill>
              </a:rPr>
              <a:pPr marL="0" marR="0" indent="0" algn="r" defTabSz="914400" rtl="0" eaLnBrk="1" fontAlgn="auto" latinLnBrk="0" hangingPunct="1">
                <a:lnSpc>
                  <a:spcPct val="100000"/>
                </a:lnSpc>
                <a:spcBef>
                  <a:spcPts val="0"/>
                </a:spcBef>
                <a:spcAft>
                  <a:spcPts val="0"/>
                </a:spcAft>
                <a:buClrTx/>
                <a:buSzTx/>
                <a:buFontTx/>
                <a:buNone/>
                <a:tabLst/>
                <a:defRPr/>
              </a:pPr>
              <a:t>‹N°›</a:t>
            </a:fld>
            <a:endParaRPr lang="fr-FR" sz="900" noProof="0">
              <a:solidFill>
                <a:schemeClr val="bg1"/>
              </a:solidFill>
            </a:endParaRPr>
          </a:p>
        </p:txBody>
      </p:sp>
    </p:spTree>
    <p:extLst>
      <p:ext uri="{BB962C8B-B14F-4D97-AF65-F5344CB8AC3E}">
        <p14:creationId xmlns:p14="http://schemas.microsoft.com/office/powerpoint/2010/main" val="10324661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P Agenda">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a:t>Agenda</a:t>
            </a:r>
          </a:p>
        </p:txBody>
      </p:sp>
      <p:sp>
        <p:nvSpPr>
          <p:cNvPr id="3" name="SP Agenda Notice"/>
          <p:cNvSpPr>
            <a:spLocks noGrp="1"/>
          </p:cNvSpPr>
          <p:nvPr>
            <p:ph sz="quarter" idx="13" hasCustomPrompt="1"/>
          </p:nvPr>
        </p:nvSpPr>
        <p:spPr>
          <a:xfrm>
            <a:off x="12344401" y="48315"/>
            <a:ext cx="1920240" cy="0"/>
          </a:xfrm>
          <a:prstGeom prst="rect">
            <a:avLst/>
          </a:prstGeom>
          <a:solidFill>
            <a:schemeClr val="accent2"/>
          </a:solidFill>
        </p:spPr>
        <p:txBody>
          <a:bodyPr>
            <a:noAutofit/>
          </a:bodyPr>
          <a:lstStyle>
            <a:lvl1pPr marL="0" indent="0">
              <a:buFontTx/>
              <a:buNone/>
              <a:defRPr sz="800" b="0" i="0" baseline="0">
                <a:solidFill>
                  <a:schemeClr val="accent2"/>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accent2"/>
                </a:solidFill>
              </a:defRPr>
            </a:lvl2pPr>
            <a:lvl3pPr>
              <a:defRPr sz="900"/>
            </a:lvl3pPr>
            <a:lvl4pPr>
              <a:defRPr sz="900"/>
            </a:lvl4pPr>
            <a:lvl5pPr>
              <a:defRPr sz="900"/>
            </a:lvl5pPr>
          </a:lstStyle>
          <a:p>
            <a:pPr lvl="0"/>
            <a:r>
              <a:rPr lang="fr-FR" noProof="0"/>
              <a:t>Use the </a:t>
            </a:r>
            <a:r>
              <a:rPr lang="fr-FR" noProof="0" err="1"/>
              <a:t>Selection</a:t>
            </a:r>
            <a:r>
              <a:rPr lang="fr-FR" noProof="0"/>
              <a:t> Pane (Alt+F10) to </a:t>
            </a:r>
            <a:r>
              <a:rPr lang="fr-FR" noProof="0" err="1"/>
              <a:t>make</a:t>
            </a:r>
            <a:r>
              <a:rPr lang="fr-FR" noProof="0"/>
              <a:t> the </a:t>
            </a:r>
            <a:r>
              <a:rPr lang="fr-FR" noProof="0" err="1"/>
              <a:t>hidden</a:t>
            </a:r>
            <a:r>
              <a:rPr lang="fr-FR" noProof="0"/>
              <a:t> </a:t>
            </a:r>
            <a:r>
              <a:rPr lang="fr-FR" noProof="0" err="1"/>
              <a:t>shapes</a:t>
            </a:r>
            <a:r>
              <a:rPr lang="fr-FR" noProof="0"/>
              <a:t> of the Agenda visible. </a:t>
            </a:r>
            <a:r>
              <a:rPr lang="fr-FR" noProof="0" err="1"/>
              <a:t>Make</a:t>
            </a:r>
            <a:r>
              <a:rPr lang="fr-FR" noProof="0"/>
              <a:t> sure </a:t>
            </a:r>
            <a:r>
              <a:rPr lang="fr-FR" noProof="0" err="1"/>
              <a:t>you</a:t>
            </a:r>
            <a:r>
              <a:rPr lang="fr-FR" noProof="0"/>
              <a:t> group </a:t>
            </a:r>
            <a:r>
              <a:rPr lang="fr-FR" noProof="0" err="1"/>
              <a:t>them</a:t>
            </a:r>
            <a:r>
              <a:rPr lang="fr-FR" noProof="0"/>
              <a:t> </a:t>
            </a:r>
            <a:r>
              <a:rPr lang="fr-FR" noProof="0" err="1"/>
              <a:t>again</a:t>
            </a:r>
            <a:r>
              <a:rPr lang="fr-FR" noProof="0"/>
              <a:t> </a:t>
            </a:r>
            <a:r>
              <a:rPr lang="fr-FR" noProof="0" err="1"/>
              <a:t>after</a:t>
            </a:r>
            <a:r>
              <a:rPr lang="fr-FR" noProof="0"/>
              <a:t> </a:t>
            </a:r>
            <a:r>
              <a:rPr lang="fr-FR" noProof="0" err="1"/>
              <a:t>editing</a:t>
            </a:r>
            <a:r>
              <a:rPr lang="fr-FR" noProof="0"/>
              <a:t>.</a:t>
            </a:r>
          </a:p>
          <a:p>
            <a:pPr lvl="0"/>
            <a:endParaRPr lang="fr-FR" noProof="0"/>
          </a:p>
          <a:p>
            <a:pPr lvl="0"/>
            <a:r>
              <a:rPr lang="fr-FR" noProof="0" err="1"/>
              <a:t>Expected</a:t>
            </a:r>
            <a:r>
              <a:rPr lang="fr-FR" noProof="0"/>
              <a:t> groups are:</a:t>
            </a:r>
          </a:p>
          <a:p>
            <a:pPr lvl="0"/>
            <a:endParaRPr lang="fr-FR" noProof="0"/>
          </a:p>
          <a:p>
            <a:pPr lvl="1"/>
            <a:r>
              <a:rPr lang="fr-FR" noProof="0"/>
              <a:t>SP Agenda Section</a:t>
            </a:r>
          </a:p>
          <a:p>
            <a:pPr lvl="1"/>
            <a:r>
              <a:rPr lang="fr-FR" noProof="0"/>
              <a:t>SP Agenda Section Highlight</a:t>
            </a:r>
          </a:p>
          <a:p>
            <a:pPr lvl="1"/>
            <a:r>
              <a:rPr lang="fr-FR" noProof="0"/>
              <a:t>SP Agenda </a:t>
            </a:r>
            <a:r>
              <a:rPr lang="fr-FR" noProof="0" err="1"/>
              <a:t>Subsection</a:t>
            </a:r>
            <a:endParaRPr lang="fr-FR" noProof="0"/>
          </a:p>
          <a:p>
            <a:pPr lvl="1"/>
            <a:r>
              <a:rPr lang="fr-FR" noProof="0"/>
              <a:t>SP Agenda </a:t>
            </a:r>
            <a:r>
              <a:rPr lang="fr-FR" noProof="0" err="1"/>
              <a:t>Subsection</a:t>
            </a:r>
            <a:r>
              <a:rPr lang="fr-FR" noProof="0"/>
              <a:t> Highlight</a:t>
            </a:r>
          </a:p>
          <a:p>
            <a:pPr lvl="0"/>
            <a:endParaRPr lang="fr-FR" noProof="0"/>
          </a:p>
          <a:p>
            <a:pPr lvl="0"/>
            <a:r>
              <a:rPr lang="fr-FR" noProof="0" err="1"/>
              <a:t>Any</a:t>
            </a:r>
            <a:r>
              <a:rPr lang="fr-FR" noProof="0"/>
              <a:t> </a:t>
            </a:r>
            <a:r>
              <a:rPr lang="fr-FR" noProof="0" err="1"/>
              <a:t>shapes</a:t>
            </a:r>
            <a:r>
              <a:rPr lang="fr-FR" noProof="0"/>
              <a:t> or images </a:t>
            </a:r>
            <a:r>
              <a:rPr lang="fr-FR" noProof="0" err="1"/>
              <a:t>inside</a:t>
            </a:r>
            <a:r>
              <a:rPr lang="fr-FR" noProof="0"/>
              <a:t> the groups </a:t>
            </a:r>
            <a:r>
              <a:rPr lang="fr-FR" noProof="0" err="1"/>
              <a:t>will</a:t>
            </a:r>
            <a:r>
              <a:rPr lang="fr-FR" noProof="0"/>
              <a:t> </a:t>
            </a:r>
            <a:r>
              <a:rPr lang="fr-FR" noProof="0" err="1"/>
              <a:t>appear</a:t>
            </a:r>
            <a:r>
              <a:rPr lang="fr-FR" noProof="0"/>
              <a:t> on the agenda pages. This notice (SP Agenda Notice) </a:t>
            </a:r>
            <a:r>
              <a:rPr lang="fr-FR" noProof="0" err="1"/>
              <a:t>will</a:t>
            </a:r>
            <a:r>
              <a:rPr lang="fr-FR" noProof="0"/>
              <a:t> not </a:t>
            </a:r>
            <a:r>
              <a:rPr lang="fr-FR" noProof="0" err="1"/>
              <a:t>appear</a:t>
            </a:r>
            <a:r>
              <a:rPr lang="fr-FR" noProof="0"/>
              <a:t> on the agenda pages.</a:t>
            </a:r>
          </a:p>
          <a:p>
            <a:pPr lvl="0"/>
            <a:endParaRPr lang="fr-FR" noProof="0"/>
          </a:p>
          <a:p>
            <a:pPr lvl="0"/>
            <a:r>
              <a:rPr lang="fr-FR" noProof="0" err="1"/>
              <a:t>Valid</a:t>
            </a:r>
            <a:r>
              <a:rPr lang="fr-FR" noProof="0"/>
              <a:t> </a:t>
            </a:r>
            <a:r>
              <a:rPr lang="fr-FR" noProof="0" err="1"/>
              <a:t>text</a:t>
            </a:r>
            <a:r>
              <a:rPr lang="fr-FR" noProof="0"/>
              <a:t> </a:t>
            </a:r>
            <a:r>
              <a:rPr lang="fr-FR" noProof="0" err="1"/>
              <a:t>placeholders</a:t>
            </a:r>
            <a:r>
              <a:rPr lang="fr-FR" noProof="0"/>
              <a:t> are:</a:t>
            </a:r>
          </a:p>
          <a:p>
            <a:pPr lvl="0"/>
            <a:endParaRPr lang="fr-FR" noProof="0"/>
          </a:p>
          <a:p>
            <a:pPr lvl="1"/>
            <a:r>
              <a:rPr lang="fr-FR" noProof="0"/>
              <a:t>&lt;N&gt; for </a:t>
            </a:r>
            <a:r>
              <a:rPr lang="fr-FR" noProof="0" err="1"/>
              <a:t>number</a:t>
            </a:r>
            <a:endParaRPr lang="fr-FR" noProof="0"/>
          </a:p>
          <a:p>
            <a:pPr lvl="1"/>
            <a:r>
              <a:rPr lang="fr-FR" noProof="0"/>
              <a:t>&lt;TEXT&gt;</a:t>
            </a:r>
          </a:p>
          <a:p>
            <a:pPr lvl="1"/>
            <a:r>
              <a:rPr lang="fr-FR" noProof="0"/>
              <a:t>&lt;RESPONSIBLE&gt;</a:t>
            </a:r>
          </a:p>
          <a:p>
            <a:pPr lvl="1"/>
            <a:r>
              <a:rPr lang="fr-FR" noProof="0"/>
              <a:t>&lt;TIMESLOT&gt;</a:t>
            </a:r>
          </a:p>
          <a:p>
            <a:pPr lvl="1"/>
            <a:r>
              <a:rPr lang="fr-FR" noProof="0"/>
              <a:t>&lt;DURATION&gt; for duration</a:t>
            </a:r>
          </a:p>
          <a:p>
            <a:pPr lvl="1"/>
            <a:r>
              <a:rPr lang="fr-FR" noProof="0"/>
              <a:t>&lt;P&gt; for page </a:t>
            </a:r>
            <a:r>
              <a:rPr lang="fr-FR" noProof="0" err="1"/>
              <a:t>number</a:t>
            </a:r>
            <a:endParaRPr lang="fr-FR" noProof="0"/>
          </a:p>
          <a:p>
            <a:pPr lvl="0"/>
            <a:endParaRPr lang="fr-FR" noProof="0"/>
          </a:p>
          <a:p>
            <a:pPr lvl="0"/>
            <a:r>
              <a:rPr lang="fr-FR" noProof="0"/>
              <a:t>If </a:t>
            </a:r>
            <a:r>
              <a:rPr lang="fr-FR" noProof="0" err="1"/>
              <a:t>you</a:t>
            </a:r>
            <a:r>
              <a:rPr lang="fr-FR" noProof="0"/>
              <a:t> </a:t>
            </a:r>
            <a:r>
              <a:rPr lang="fr-FR" noProof="0" err="1"/>
              <a:t>want</a:t>
            </a:r>
            <a:r>
              <a:rPr lang="fr-FR" noProof="0"/>
              <a:t> the agenda to </a:t>
            </a:r>
            <a:r>
              <a:rPr lang="fr-FR" noProof="0" err="1"/>
              <a:t>be</a:t>
            </a:r>
            <a:r>
              <a:rPr lang="fr-FR" noProof="0"/>
              <a:t> </a:t>
            </a:r>
            <a:r>
              <a:rPr lang="fr-FR" noProof="0" err="1"/>
              <a:t>vertically</a:t>
            </a:r>
            <a:r>
              <a:rPr lang="fr-FR" noProof="0"/>
              <a:t> </a:t>
            </a:r>
            <a:r>
              <a:rPr lang="fr-FR" noProof="0" err="1"/>
              <a:t>centered</a:t>
            </a:r>
            <a:r>
              <a:rPr lang="fr-FR" noProof="0"/>
              <a:t> on </a:t>
            </a:r>
            <a:r>
              <a:rPr lang="fr-FR" noProof="0" err="1"/>
              <a:t>each</a:t>
            </a:r>
            <a:r>
              <a:rPr lang="fr-FR" noProof="0"/>
              <a:t> Agenda slide, </a:t>
            </a:r>
            <a:r>
              <a:rPr lang="fr-FR" noProof="0" err="1"/>
              <a:t>rename</a:t>
            </a:r>
            <a:r>
              <a:rPr lang="fr-FR" noProof="0"/>
              <a:t> </a:t>
            </a:r>
            <a:r>
              <a:rPr lang="fr-FR" noProof="0" err="1"/>
              <a:t>this</a:t>
            </a:r>
            <a:r>
              <a:rPr lang="fr-FR" noProof="0"/>
              <a:t> </a:t>
            </a:r>
            <a:r>
              <a:rPr lang="fr-FR" noProof="0" err="1"/>
              <a:t>layout</a:t>
            </a:r>
            <a:r>
              <a:rPr lang="fr-FR" noProof="0"/>
              <a:t> to:</a:t>
            </a:r>
          </a:p>
          <a:p>
            <a:pPr lvl="0"/>
            <a:endParaRPr lang="fr-FR" noProof="0"/>
          </a:p>
          <a:p>
            <a:pPr lvl="1"/>
            <a:r>
              <a:rPr lang="fr-FR" noProof="0"/>
              <a:t>SP Agenda Vertical</a:t>
            </a:r>
          </a:p>
        </p:txBody>
      </p:sp>
      <p:grpSp>
        <p:nvGrpSpPr>
          <p:cNvPr id="4" name="SP Agenda Section" hidden="1"/>
          <p:cNvGrpSpPr/>
          <p:nvPr/>
        </p:nvGrpSpPr>
        <p:grpSpPr>
          <a:xfrm>
            <a:off x="1797664" y="2085631"/>
            <a:ext cx="8657275" cy="369332"/>
            <a:chOff x="1797664" y="2085631"/>
            <a:chExt cx="8657274" cy="369332"/>
          </a:xfrm>
        </p:grpSpPr>
        <p:sp>
          <p:nvSpPr>
            <p:cNvPr id="5"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fr-FR" sz="1400"/>
                <a:t>&lt;TEXT&gt;</a:t>
              </a:r>
            </a:p>
          </p:txBody>
        </p:sp>
        <p:sp>
          <p:nvSpPr>
            <p:cNvPr id="6"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1400"/>
                <a:t>&lt;N&gt;</a:t>
              </a:r>
            </a:p>
          </p:txBody>
        </p:sp>
        <p:sp>
          <p:nvSpPr>
            <p:cNvPr id="7"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fr-FR" sz="1400"/>
                <a:t>&lt;P&gt;</a:t>
              </a:r>
            </a:p>
          </p:txBody>
        </p:sp>
        <p:sp>
          <p:nvSpPr>
            <p:cNvPr id="8"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fr-FR" sz="1400"/>
                <a:t>&lt;TIMESLOT&gt;</a:t>
              </a:r>
            </a:p>
          </p:txBody>
        </p:sp>
        <p:sp>
          <p:nvSpPr>
            <p:cNvPr id="9"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fr-FR" sz="1400"/>
                <a:t>&lt;RESPONSIBLE&gt;</a:t>
              </a:r>
            </a:p>
          </p:txBody>
        </p:sp>
        <p:sp>
          <p:nvSpPr>
            <p:cNvPr id="10"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fr-FR" sz="1400"/>
                <a:t>&lt;DURATION&gt;</a:t>
              </a:r>
            </a:p>
          </p:txBody>
        </p:sp>
      </p:grpSp>
      <p:grpSp>
        <p:nvGrpSpPr>
          <p:cNvPr id="11" name="SP Agenda Section Highlight" hidden="1"/>
          <p:cNvGrpSpPr>
            <a:grpSpLocks/>
          </p:cNvGrpSpPr>
          <p:nvPr/>
        </p:nvGrpSpPr>
        <p:grpSpPr>
          <a:xfrm>
            <a:off x="1797665" y="2616963"/>
            <a:ext cx="8657274" cy="369332"/>
            <a:chOff x="1797664" y="2616963"/>
            <a:chExt cx="8657274" cy="369332"/>
          </a:xfrm>
          <a:solidFill>
            <a:schemeClr val="accent1">
              <a:lumMod val="60000"/>
              <a:lumOff val="40000"/>
            </a:schemeClr>
          </a:solidFill>
        </p:grpSpPr>
        <p:sp>
          <p:nvSpPr>
            <p:cNvPr id="1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9334267">
                <a:tabLst>
                  <a:tab pos="9512062" algn="l"/>
                </a:tabLst>
              </a:pPr>
              <a:r>
                <a:rPr lang="fr-FR" sz="1400" b="1"/>
                <a:t>&lt;TEXT&gt;</a:t>
              </a:r>
            </a:p>
          </p:txBody>
        </p:sp>
        <p:sp>
          <p:nvSpPr>
            <p:cNvPr id="1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fr-FR" sz="1400" b="1"/>
                <a:t>&lt;N&gt;</a:t>
              </a:r>
            </a:p>
          </p:txBody>
        </p:sp>
        <p:sp>
          <p:nvSpPr>
            <p:cNvPr id="1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fr-FR" sz="1400" b="1"/>
                <a:t>&lt;P&gt;</a:t>
              </a:r>
            </a:p>
          </p:txBody>
        </p:sp>
        <p:sp>
          <p:nvSpPr>
            <p:cNvPr id="1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fr-FR" sz="1400" b="1"/>
                <a:t>&lt;TIMESLOT&gt;</a:t>
              </a:r>
            </a:p>
          </p:txBody>
        </p:sp>
        <p:sp>
          <p:nvSpPr>
            <p:cNvPr id="1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fr-FR" sz="1400" b="1"/>
                <a:t>&lt;RESPONSIBLE&gt;</a:t>
              </a:r>
            </a:p>
          </p:txBody>
        </p:sp>
        <p:sp>
          <p:nvSpPr>
            <p:cNvPr id="1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fr-FR" sz="1400" b="1"/>
                <a:t>&lt;DURATION&gt;</a:t>
              </a:r>
            </a:p>
          </p:txBody>
        </p:sp>
      </p:grpSp>
      <p:grpSp>
        <p:nvGrpSpPr>
          <p:cNvPr id="18" name="SP Agenda Subsection" hidden="1"/>
          <p:cNvGrpSpPr>
            <a:grpSpLocks/>
          </p:cNvGrpSpPr>
          <p:nvPr/>
        </p:nvGrpSpPr>
        <p:grpSpPr>
          <a:xfrm>
            <a:off x="2265805" y="3148295"/>
            <a:ext cx="8189135" cy="369332"/>
            <a:chOff x="2265804" y="3155687"/>
            <a:chExt cx="8189134" cy="369332"/>
          </a:xfrm>
        </p:grpSpPr>
        <p:sp>
          <p:nvSpPr>
            <p:cNvPr id="1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fr-FR" sz="1400"/>
                <a:t>&lt;TEXT&gt;</a:t>
              </a:r>
            </a:p>
          </p:txBody>
        </p:sp>
        <p:sp>
          <p:nvSpPr>
            <p:cNvPr id="2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fr-FR" sz="1400"/>
                <a:t>&lt;N&gt;</a:t>
              </a:r>
            </a:p>
          </p:txBody>
        </p:sp>
        <p:sp>
          <p:nvSpPr>
            <p:cNvPr id="2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fr-FR" sz="1400"/>
                <a:t>&lt;P&gt;</a:t>
              </a:r>
            </a:p>
          </p:txBody>
        </p:sp>
        <p:sp>
          <p:nvSpPr>
            <p:cNvPr id="2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fr-FR" sz="1400"/>
                <a:t>&lt;TIMESLOT&gt;</a:t>
              </a:r>
            </a:p>
          </p:txBody>
        </p:sp>
        <p:sp>
          <p:nvSpPr>
            <p:cNvPr id="2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fr-FR" sz="1400"/>
                <a:t>&lt;RESPONSIBLE&gt;</a:t>
              </a:r>
            </a:p>
          </p:txBody>
        </p:sp>
        <p:sp>
          <p:nvSpPr>
            <p:cNvPr id="2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fr-FR" sz="1400"/>
                <a:t>&lt;DURATION&gt;</a:t>
              </a:r>
            </a:p>
          </p:txBody>
        </p:sp>
      </p:grpSp>
      <p:grpSp>
        <p:nvGrpSpPr>
          <p:cNvPr id="25" name="SP Agenda Subsection Highlight" hidden="1"/>
          <p:cNvGrpSpPr>
            <a:grpSpLocks/>
          </p:cNvGrpSpPr>
          <p:nvPr/>
        </p:nvGrpSpPr>
        <p:grpSpPr>
          <a:xfrm>
            <a:off x="2265805" y="3679627"/>
            <a:ext cx="8189134" cy="369332"/>
            <a:chOff x="2265804" y="3694411"/>
            <a:chExt cx="8189134" cy="369332"/>
          </a:xfrm>
          <a:solidFill>
            <a:schemeClr val="accent1">
              <a:lumMod val="60000"/>
              <a:lumOff val="40000"/>
            </a:schemeClr>
          </a:solidFill>
        </p:grpSpPr>
        <p:sp>
          <p:nvSpPr>
            <p:cNvPr id="2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9334267">
                <a:tabLst>
                  <a:tab pos="9512062" algn="l"/>
                </a:tabLst>
              </a:pPr>
              <a:r>
                <a:rPr lang="fr-FR" sz="1400" b="1"/>
                <a:t>&lt;TEXT&gt;</a:t>
              </a:r>
            </a:p>
          </p:txBody>
        </p:sp>
        <p:sp>
          <p:nvSpPr>
            <p:cNvPr id="2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fr-FR" sz="1400" b="1"/>
                <a:t>&lt;N&gt;</a:t>
              </a:r>
            </a:p>
          </p:txBody>
        </p:sp>
        <p:sp>
          <p:nvSpPr>
            <p:cNvPr id="2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fr-FR" sz="1400" b="1"/>
                <a:t>&lt;P&gt;</a:t>
              </a:r>
            </a:p>
          </p:txBody>
        </p:sp>
        <p:sp>
          <p:nvSpPr>
            <p:cNvPr id="2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fr-FR" sz="1400" b="1"/>
                <a:t>&lt;TIMESLOT&gt;</a:t>
              </a:r>
            </a:p>
          </p:txBody>
        </p:sp>
        <p:sp>
          <p:nvSpPr>
            <p:cNvPr id="3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fr-FR" sz="1400" b="1"/>
                <a:t>&lt;RESPONSIBLE&gt;</a:t>
              </a:r>
            </a:p>
          </p:txBody>
        </p:sp>
        <p:sp>
          <p:nvSpPr>
            <p:cNvPr id="3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fr-FR" sz="1400" b="1"/>
                <a:t>&lt;DURATION&gt;</a:t>
              </a:r>
            </a:p>
          </p:txBody>
        </p:sp>
      </p:grpSp>
    </p:spTree>
    <p:extLst>
      <p:ext uri="{BB962C8B-B14F-4D97-AF65-F5344CB8AC3E}">
        <p14:creationId xmlns:p14="http://schemas.microsoft.com/office/powerpoint/2010/main" val="36518009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hasCustomPrompt="1"/>
          </p:nvPr>
        </p:nvSpPr>
        <p:spPr>
          <a:xfrm>
            <a:off x="336064" y="1289050"/>
            <a:ext cx="5644662" cy="5019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hasCustomPrompt="1"/>
          </p:nvPr>
        </p:nvSpPr>
        <p:spPr>
          <a:xfrm>
            <a:off x="6168296" y="1289050"/>
            <a:ext cx="5644661" cy="5019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71909719"/>
      </p:ext>
    </p:extLst>
  </p:cSld>
  <p:clrMapOvr>
    <a:masterClrMapping/>
  </p:clrMapOvr>
  <p:transition>
    <p:wipe dir="d"/>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600" b="0" i="0">
                <a:solidFill>
                  <a:srgbClr val="333333"/>
                </a:solidFill>
                <a:latin typeface="Tahoma"/>
                <a:cs typeface="Tahoma"/>
              </a:defRPr>
            </a:lvl1pPr>
          </a:lstStyle>
          <a:p>
            <a:pPr marL="12700">
              <a:lnSpc>
                <a:spcPts val="1025"/>
              </a:lnSpc>
            </a:pPr>
            <a:r>
              <a:rPr lang="fr-FR" spc="-5"/>
              <a:t>Property of Solucom, all rights reserved</a:t>
            </a:r>
            <a:endParaRPr lang="fr-FR" sz="90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fr-FR" smtClean="0"/>
              <a:t>05/10/2022</a:t>
            </a:fld>
            <a:endParaRPr lang="fr-FR"/>
          </a:p>
        </p:txBody>
      </p:sp>
      <p:sp>
        <p:nvSpPr>
          <p:cNvPr id="4" name="Holder 4"/>
          <p:cNvSpPr>
            <a:spLocks noGrp="1"/>
          </p:cNvSpPr>
          <p:nvPr>
            <p:ph type="sldNum" sz="quarter" idx="7"/>
          </p:nvPr>
        </p:nvSpPr>
        <p:spPr/>
        <p:txBody>
          <a:bodyPr lIns="0" tIns="0" rIns="0" bIns="0"/>
          <a:lstStyle>
            <a:lvl1pPr>
              <a:defRPr sz="900" b="0" i="0">
                <a:solidFill>
                  <a:srgbClr val="333333"/>
                </a:solidFill>
                <a:latin typeface="Tahoma"/>
                <a:cs typeface="Tahoma"/>
              </a:defRPr>
            </a:lvl1pPr>
          </a:lstStyle>
          <a:p>
            <a:pPr marL="57150">
              <a:lnSpc>
                <a:spcPts val="1025"/>
              </a:lnSpc>
            </a:pPr>
            <a:fld id="{81D60167-4931-47E6-BA6A-407CBD079E47}" type="slidenum">
              <a:rPr lang="fr-FR" smtClean="0"/>
              <a:pPr marL="57150">
                <a:lnSpc>
                  <a:spcPts val="1025"/>
                </a:lnSpc>
              </a:pPr>
              <a:t>‹N°›</a:t>
            </a:fld>
            <a:endParaRPr lang="fr-FR"/>
          </a:p>
        </p:txBody>
      </p:sp>
    </p:spTree>
    <p:extLst>
      <p:ext uri="{BB962C8B-B14F-4D97-AF65-F5344CB8AC3E}">
        <p14:creationId xmlns:p14="http://schemas.microsoft.com/office/powerpoint/2010/main" val="967432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_Cover White + Image">
    <p:spTree>
      <p:nvGrpSpPr>
        <p:cNvPr id="1" name=""/>
        <p:cNvGrpSpPr/>
        <p:nvPr/>
      </p:nvGrpSpPr>
      <p:grpSpPr>
        <a:xfrm>
          <a:off x="0" y="0"/>
          <a:ext cx="0" cy="0"/>
          <a:chOff x="0" y="0"/>
          <a:chExt cx="0" cy="0"/>
        </a:xfrm>
      </p:grpSpPr>
      <p:sp>
        <p:nvSpPr>
          <p:cNvPr id="36" name="Espace réservé pour une image  35"/>
          <p:cNvSpPr>
            <a:spLocks noGrp="1"/>
          </p:cNvSpPr>
          <p:nvPr>
            <p:ph type="pic" sz="quarter" idx="10" hasCustomPrompt="1"/>
          </p:nvPr>
        </p:nvSpPr>
        <p:spPr>
          <a:xfrm>
            <a:off x="0" y="2"/>
            <a:ext cx="7519015" cy="6621613"/>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quer ici	&gt;&gt;</a:t>
            </a:r>
            <a:br>
              <a:rPr lang="fr-FR" noProof="0"/>
            </a:br>
            <a:r>
              <a:rPr lang="fr-FR" noProof="0"/>
              <a:t>pour insérer votre photo</a:t>
            </a:r>
          </a:p>
        </p:txBody>
      </p:sp>
      <p:sp>
        <p:nvSpPr>
          <p:cNvPr id="8" name="Bildplatzhalter 3"/>
          <p:cNvSpPr>
            <a:spLocks noGrp="1"/>
          </p:cNvSpPr>
          <p:nvPr>
            <p:ph type="pic" sz="quarter" idx="14" hasCustomPrompt="1"/>
          </p:nvPr>
        </p:nvSpPr>
        <p:spPr bwMode="gray">
          <a:xfrm>
            <a:off x="9241908" y="5520421"/>
            <a:ext cx="2348308" cy="72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lvl1pPr algn="r">
              <a:defRPr lang="en-GB" sz="1200" dirty="0">
                <a:solidFill>
                  <a:schemeClr val="bg2"/>
                </a:solidFill>
                <a:latin typeface="+mn-lt"/>
                <a:cs typeface="+mn-cs"/>
              </a:defRPr>
            </a:lvl1pPr>
          </a:lstStyle>
          <a:p>
            <a:pPr lvl="0"/>
            <a:r>
              <a:rPr lang="fr-FR" noProof="0"/>
              <a:t>Insérer un logo client</a:t>
            </a:r>
          </a:p>
        </p:txBody>
      </p:sp>
      <p:sp>
        <p:nvSpPr>
          <p:cNvPr id="10" name="Titel 1"/>
          <p:cNvSpPr>
            <a:spLocks noGrp="1"/>
          </p:cNvSpPr>
          <p:nvPr>
            <p:ph type="title" hasCustomPrompt="1"/>
          </p:nvPr>
        </p:nvSpPr>
        <p:spPr bwMode="gray">
          <a:xfrm>
            <a:off x="3836369" y="3334423"/>
            <a:ext cx="7753846" cy="964800"/>
          </a:xfrm>
        </p:spPr>
        <p:txBody>
          <a:bodyPr lIns="0" tIns="72000" rIns="0" bIns="72000" anchor="b">
            <a:noAutofit/>
          </a:bodyPr>
          <a:lstStyle>
            <a:lvl1pPr algn="r">
              <a:defRPr sz="2800" cap="none" baseline="0">
                <a:solidFill>
                  <a:schemeClr val="bg2"/>
                </a:solidFill>
                <a:latin typeface="+mj-lt"/>
              </a:defRPr>
            </a:lvl1pPr>
          </a:lstStyle>
          <a:p>
            <a:r>
              <a:rPr lang="fr-FR" noProof="0"/>
              <a:t>Titre de votre Présentation</a:t>
            </a:r>
          </a:p>
        </p:txBody>
      </p:sp>
      <p:sp>
        <p:nvSpPr>
          <p:cNvPr id="14" name="Textplatzhalter 25"/>
          <p:cNvSpPr>
            <a:spLocks noGrp="1"/>
          </p:cNvSpPr>
          <p:nvPr>
            <p:ph type="body" sz="quarter" idx="15" hasCustomPrompt="1"/>
          </p:nvPr>
        </p:nvSpPr>
        <p:spPr bwMode="gray">
          <a:xfrm>
            <a:off x="3836369" y="4425489"/>
            <a:ext cx="7753846" cy="4824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2000" i="0">
                <a:solidFill>
                  <a:schemeClr val="bg2"/>
                </a:solidFill>
                <a:latin typeface="+mj-lt"/>
              </a:defRPr>
            </a:lvl1pPr>
          </a:lstStyle>
          <a:p>
            <a:pPr lvl="0"/>
            <a:r>
              <a:rPr lang="fr-FR" noProof="0"/>
              <a:t>Sous titre de votre présentation</a:t>
            </a:r>
          </a:p>
        </p:txBody>
      </p:sp>
      <p:sp>
        <p:nvSpPr>
          <p:cNvPr id="15" name="Textplatzhalter 25"/>
          <p:cNvSpPr>
            <a:spLocks noGrp="1"/>
          </p:cNvSpPr>
          <p:nvPr>
            <p:ph type="body" sz="quarter" idx="17" hasCustomPrompt="1"/>
          </p:nvPr>
        </p:nvSpPr>
        <p:spPr bwMode="gray">
          <a:xfrm>
            <a:off x="3836369" y="5034155"/>
            <a:ext cx="7753846" cy="3600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i="0">
                <a:solidFill>
                  <a:schemeClr val="bg2"/>
                </a:solidFill>
                <a:latin typeface="+mj-lt"/>
              </a:defRPr>
            </a:lvl1pPr>
          </a:lstStyle>
          <a:p>
            <a:pPr lvl="0"/>
            <a:r>
              <a:rPr lang="fr-FR" noProof="0"/>
              <a:t>Date | Auteur | Interne</a:t>
            </a:r>
          </a:p>
        </p:txBody>
      </p:sp>
      <p:pic>
        <p:nvPicPr>
          <p:cNvPr id="11" name="Image 10"/>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7459698" cy="6496334"/>
          </a:xfrm>
          <a:prstGeom prst="rect">
            <a:avLst/>
          </a:prstGeom>
        </p:spPr>
      </p:pic>
      <p:pic>
        <p:nvPicPr>
          <p:cNvPr id="13" name="Picture 8"/>
          <p:cNvPicPr>
            <a:picLocks noChangeAspect="1"/>
          </p:cNvPicPr>
          <p:nvPr userDrawn="1"/>
        </p:nvPicPr>
        <p:blipFill>
          <a:blip r:embed="rId3"/>
          <a:stretch>
            <a:fillRect/>
          </a:stretch>
        </p:blipFill>
        <p:spPr>
          <a:xfrm>
            <a:off x="8152615" y="1152000"/>
            <a:ext cx="3479769" cy="381600"/>
          </a:xfrm>
          <a:prstGeom prst="rect">
            <a:avLst/>
          </a:prstGeom>
        </p:spPr>
      </p:pic>
    </p:spTree>
    <p:extLst>
      <p:ext uri="{BB962C8B-B14F-4D97-AF65-F5344CB8AC3E}">
        <p14:creationId xmlns:p14="http://schemas.microsoft.com/office/powerpoint/2010/main" val="8559303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Cover Purple + Image">
    <p:bg>
      <p:bgPr>
        <a:solidFill>
          <a:schemeClr val="bg2"/>
        </a:solidFill>
        <a:effectLst/>
      </p:bgPr>
    </p:bg>
    <p:spTree>
      <p:nvGrpSpPr>
        <p:cNvPr id="1" name=""/>
        <p:cNvGrpSpPr/>
        <p:nvPr/>
      </p:nvGrpSpPr>
      <p:grpSpPr>
        <a:xfrm>
          <a:off x="0" y="0"/>
          <a:ext cx="0" cy="0"/>
          <a:chOff x="0" y="0"/>
          <a:chExt cx="0" cy="0"/>
        </a:xfrm>
      </p:grpSpPr>
      <p:pic>
        <p:nvPicPr>
          <p:cNvPr id="14"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 r="-63997" b="-5943"/>
          <a:stretch/>
        </p:blipFill>
        <p:spPr bwMode="auto">
          <a:xfrm>
            <a:off x="0" y="1"/>
            <a:ext cx="12192000" cy="6856413"/>
          </a:xfrm>
          <a:prstGeom prst="rect">
            <a:avLst/>
          </a:prstGeom>
          <a:solidFill>
            <a:schemeClr val="bg2"/>
          </a:solidFill>
          <a:ln>
            <a:noFill/>
          </a:ln>
          <a:effectLst/>
        </p:spPr>
      </p:pic>
      <p:sp>
        <p:nvSpPr>
          <p:cNvPr id="9" name="Espace réservé pour une image  35"/>
          <p:cNvSpPr>
            <a:spLocks noGrp="1"/>
          </p:cNvSpPr>
          <p:nvPr>
            <p:ph type="pic" sz="quarter" idx="10" hasCustomPrompt="1"/>
          </p:nvPr>
        </p:nvSpPr>
        <p:spPr bwMode="gray">
          <a:xfrm>
            <a:off x="0" y="2"/>
            <a:ext cx="7519015" cy="6621613"/>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quer ici	&gt;&gt;</a:t>
            </a:r>
            <a:br>
              <a:rPr lang="fr-FR" noProof="0"/>
            </a:br>
            <a:r>
              <a:rPr lang="fr-FR" noProof="0"/>
              <a:t>pour insérer votre photo</a:t>
            </a:r>
          </a:p>
        </p:txBody>
      </p:sp>
      <p:sp>
        <p:nvSpPr>
          <p:cNvPr id="10" name="Bildplatzhalter 3"/>
          <p:cNvSpPr>
            <a:spLocks noGrp="1"/>
          </p:cNvSpPr>
          <p:nvPr>
            <p:ph type="pic" sz="quarter" idx="14" hasCustomPrompt="1"/>
          </p:nvPr>
        </p:nvSpPr>
        <p:spPr bwMode="gray">
          <a:xfrm>
            <a:off x="9241909" y="5520421"/>
            <a:ext cx="2348308" cy="72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1200" dirty="0">
                <a:solidFill>
                  <a:schemeClr val="bg1"/>
                </a:solidFill>
                <a:latin typeface="+mn-lt"/>
                <a:cs typeface="+mn-cs"/>
              </a:defRPr>
            </a:lvl1pPr>
          </a:lstStyle>
          <a:p>
            <a:pPr lvl="0"/>
            <a:r>
              <a:rPr lang="fr-FR" noProof="0"/>
              <a:t>Insérer un logo client</a:t>
            </a:r>
          </a:p>
        </p:txBody>
      </p:sp>
      <p:sp>
        <p:nvSpPr>
          <p:cNvPr id="11" name="Titel 1"/>
          <p:cNvSpPr>
            <a:spLocks noGrp="1"/>
          </p:cNvSpPr>
          <p:nvPr>
            <p:ph type="title" hasCustomPrompt="1"/>
          </p:nvPr>
        </p:nvSpPr>
        <p:spPr bwMode="gray">
          <a:xfrm>
            <a:off x="3836371" y="3334423"/>
            <a:ext cx="7753846" cy="964800"/>
          </a:xfrm>
        </p:spPr>
        <p:txBody>
          <a:bodyPr lIns="0" tIns="72000" rIns="0" bIns="72000" anchor="b">
            <a:noAutofit/>
          </a:bodyPr>
          <a:lstStyle>
            <a:lvl1pPr algn="r">
              <a:defRPr sz="2800" cap="none" baseline="0">
                <a:solidFill>
                  <a:schemeClr val="bg1"/>
                </a:solidFill>
                <a:latin typeface="+mj-lt"/>
              </a:defRPr>
            </a:lvl1pPr>
          </a:lstStyle>
          <a:p>
            <a:r>
              <a:rPr lang="fr-FR" noProof="0"/>
              <a:t>Titre de votre présentation</a:t>
            </a:r>
          </a:p>
        </p:txBody>
      </p:sp>
      <p:sp>
        <p:nvSpPr>
          <p:cNvPr id="15" name="Textplatzhalter 25"/>
          <p:cNvSpPr>
            <a:spLocks noGrp="1"/>
          </p:cNvSpPr>
          <p:nvPr>
            <p:ph type="body" sz="quarter" idx="15" hasCustomPrompt="1"/>
          </p:nvPr>
        </p:nvSpPr>
        <p:spPr bwMode="gray">
          <a:xfrm>
            <a:off x="3836371" y="4425489"/>
            <a:ext cx="7753846" cy="4824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2000" i="0">
                <a:solidFill>
                  <a:schemeClr val="bg1"/>
                </a:solidFill>
                <a:latin typeface="+mj-lt"/>
              </a:defRPr>
            </a:lvl1pPr>
          </a:lstStyle>
          <a:p>
            <a:pPr lvl="0"/>
            <a:r>
              <a:rPr lang="fr-FR" noProof="0"/>
              <a:t>Sous-titre de votre présentation</a:t>
            </a:r>
          </a:p>
        </p:txBody>
      </p:sp>
      <p:sp>
        <p:nvSpPr>
          <p:cNvPr id="16" name="Textplatzhalter 25"/>
          <p:cNvSpPr>
            <a:spLocks noGrp="1"/>
          </p:cNvSpPr>
          <p:nvPr>
            <p:ph type="body" sz="quarter" idx="17" hasCustomPrompt="1"/>
          </p:nvPr>
        </p:nvSpPr>
        <p:spPr bwMode="gray">
          <a:xfrm>
            <a:off x="3836371" y="5034155"/>
            <a:ext cx="7753846" cy="360000"/>
          </a:xfrm>
          <a:prstGeom prst="rect">
            <a:avLst/>
          </a:prstGeom>
        </p:spPr>
        <p:txBody>
          <a:bodyPr lIns="0" tIns="72000" rIns="0" bIns="72000" anchor="ctr">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i="0">
                <a:solidFill>
                  <a:schemeClr val="bg1"/>
                </a:solidFill>
                <a:latin typeface="+mj-lt"/>
              </a:defRPr>
            </a:lvl1pPr>
          </a:lstStyle>
          <a:p>
            <a:pPr lvl="0"/>
            <a:r>
              <a:rPr lang="fr-FR" noProof="0"/>
              <a:t>Date | Auteur | Interne</a:t>
            </a:r>
          </a:p>
        </p:txBody>
      </p:sp>
      <p:pic>
        <p:nvPicPr>
          <p:cNvPr id="8" name="Picture 7"/>
          <p:cNvPicPr>
            <a:picLocks/>
          </p:cNvPicPr>
          <p:nvPr userDrawn="1"/>
        </p:nvPicPr>
        <p:blipFill>
          <a:blip r:embed="rId3"/>
          <a:stretch>
            <a:fillRect/>
          </a:stretch>
        </p:blipFill>
        <p:spPr>
          <a:xfrm>
            <a:off x="8152615" y="1152000"/>
            <a:ext cx="3478154" cy="381600"/>
          </a:xfrm>
          <a:prstGeom prst="rect">
            <a:avLst/>
          </a:prstGeom>
        </p:spPr>
      </p:pic>
    </p:spTree>
    <p:extLst>
      <p:ext uri="{BB962C8B-B14F-4D97-AF65-F5344CB8AC3E}">
        <p14:creationId xmlns:p14="http://schemas.microsoft.com/office/powerpoint/2010/main" val="17841462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25354" y="404665"/>
            <a:ext cx="11342769" cy="936773"/>
          </a:xfrm>
        </p:spPr>
        <p:txBody>
          <a:bodyPr lIns="108000" tIns="0" rIns="108000" bIns="0"/>
          <a:lstStyle>
            <a:lvl1pPr>
              <a:defRPr sz="2200" baseline="0">
                <a:solidFill>
                  <a:schemeClr val="bg2"/>
                </a:solidFill>
              </a:defRPr>
            </a:lvl1pPr>
          </a:lstStyle>
          <a:p>
            <a:r>
              <a:rPr lang="fr-FR" noProof="0"/>
              <a:t>Compléter avec un titre ici qui porte votre message sur deux lignes au maximum pour des raisons de lisibilité</a:t>
            </a:r>
          </a:p>
        </p:txBody>
      </p:sp>
      <p:sp>
        <p:nvSpPr>
          <p:cNvPr id="5"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fr-FR" noProof="0"/>
              <a:t>Insérer un surtitre ici – il ne doit pas dépasser 1 ligne</a:t>
            </a:r>
          </a:p>
        </p:txBody>
      </p:sp>
    </p:spTree>
    <p:extLst>
      <p:ext uri="{BB962C8B-B14F-4D97-AF65-F5344CB8AC3E}">
        <p14:creationId xmlns:p14="http://schemas.microsoft.com/office/powerpoint/2010/main" val="28459048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Genera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5354" y="404665"/>
            <a:ext cx="11342769" cy="863748"/>
          </a:xfrm>
        </p:spPr>
        <p:txBody>
          <a:bodyPr lIns="108000" tIns="0" rIns="108000" bIns="0"/>
          <a:lstStyle>
            <a:lvl1pPr>
              <a:defRPr sz="2200" baseline="0">
                <a:solidFill>
                  <a:schemeClr val="bg2"/>
                </a:solidFill>
              </a:defRPr>
            </a:lvl1pPr>
          </a:lstStyle>
          <a:p>
            <a:r>
              <a:rPr lang="fr-FR"/>
              <a:t>Compléter avec un titre ici qui porte votre message sur deux lignes au maximum pour des raisons de lisibilité</a:t>
            </a:r>
            <a:endParaRPr lang="fr-FR" noProof="0"/>
          </a:p>
        </p:txBody>
      </p:sp>
      <p:sp>
        <p:nvSpPr>
          <p:cNvPr id="9"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fr-FR" noProof="0"/>
              <a:t>Insérer un surtitre ici – il ne doit pas dépasser 1 ligne</a:t>
            </a:r>
          </a:p>
        </p:txBody>
      </p:sp>
      <p:sp>
        <p:nvSpPr>
          <p:cNvPr id="4" name="Espace réservé du contenu 3"/>
          <p:cNvSpPr>
            <a:spLocks noGrp="1"/>
          </p:cNvSpPr>
          <p:nvPr>
            <p:ph sz="quarter" idx="14" hasCustomPrompt="1"/>
          </p:nvPr>
        </p:nvSpPr>
        <p:spPr>
          <a:xfrm>
            <a:off x="425354" y="1268414"/>
            <a:ext cx="11342769" cy="4968875"/>
          </a:xfrm>
          <a:prstGeom prst="rect">
            <a:avLst/>
          </a:prstGeom>
        </p:spPr>
        <p:txBody>
          <a:bodyPr lIns="108000" tIns="108000" rIns="108000" bIns="108000"/>
          <a:lstStyle>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lgn="just">
              <a:defRPr>
                <a:solidFill>
                  <a:schemeClr val="tx1"/>
                </a:solidFill>
              </a:defRPr>
            </a:lvl6pPr>
            <a:lvl7pPr algn="just">
              <a:defRPr>
                <a:solidFill>
                  <a:schemeClr val="tx1"/>
                </a:solidFill>
              </a:defRPr>
            </a:lvl7pPr>
            <a:lvl8pPr algn="just">
              <a:defRPr>
                <a:solidFill>
                  <a:schemeClr val="tx1"/>
                </a:solidFill>
              </a:defRPr>
            </a:lvl8pPr>
            <a:lvl9pPr algn="just">
              <a:defRPr>
                <a:solidFill>
                  <a:schemeClr val="tx1"/>
                </a:solidFill>
              </a:defRPr>
            </a:lvl9pPr>
          </a:lstStyle>
          <a:p>
            <a:pPr lvl="0"/>
            <a:r>
              <a:rPr lang="fr-FR"/>
              <a:t>Niveau 1 - </a:t>
            </a:r>
            <a:r>
              <a:rPr lang="fr-FR">
                <a:solidFill>
                  <a:srgbClr val="503078"/>
                </a:solidFill>
              </a:rPr>
              <a:t>Pour passer au niveau suivant, faire Shift + Alt + flèche droite </a:t>
            </a:r>
            <a:endParaRPr lang="fr-FR"/>
          </a:p>
          <a:p>
            <a:pPr lvl="1"/>
            <a:r>
              <a:rPr lang="fr-FR"/>
              <a:t>Niveau 2</a:t>
            </a:r>
          </a:p>
          <a:p>
            <a:pPr lvl="2"/>
            <a:r>
              <a:rPr lang="fr-FR"/>
              <a:t>Niveau 3</a:t>
            </a:r>
          </a:p>
          <a:p>
            <a:pPr lvl="3"/>
            <a:r>
              <a:rPr lang="fr-FR"/>
              <a:t>Niveau 4</a:t>
            </a:r>
          </a:p>
          <a:p>
            <a:pPr lvl="4"/>
            <a:r>
              <a:rPr lang="fr-FR"/>
              <a:t>Niveau 5</a:t>
            </a:r>
          </a:p>
          <a:p>
            <a:pPr lvl="5"/>
            <a:r>
              <a:rPr lang="fr-FR"/>
              <a:t>Niveau 6</a:t>
            </a:r>
          </a:p>
          <a:p>
            <a:pPr lvl="6"/>
            <a:r>
              <a:rPr lang="fr-FR"/>
              <a:t>Niveau 7</a:t>
            </a:r>
          </a:p>
          <a:p>
            <a:pPr lvl="7"/>
            <a:r>
              <a:rPr lang="fr-FR" noProof="0"/>
              <a:t>Nive</a:t>
            </a:r>
            <a:r>
              <a:rPr lang="fr-FR"/>
              <a:t>au 8</a:t>
            </a:r>
          </a:p>
          <a:p>
            <a:pPr lvl="8"/>
            <a:r>
              <a:rPr lang="fr-FR"/>
              <a:t>Niveau 9</a:t>
            </a:r>
          </a:p>
        </p:txBody>
      </p:sp>
    </p:spTree>
    <p:extLst>
      <p:ext uri="{BB962C8B-B14F-4D97-AF65-F5344CB8AC3E}">
        <p14:creationId xmlns:p14="http://schemas.microsoft.com/office/powerpoint/2010/main" val="1528604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5354" y="404665"/>
            <a:ext cx="11342769" cy="936773"/>
          </a:xfrm>
        </p:spPr>
        <p:txBody>
          <a:bodyPr lIns="108000" tIns="0" rIns="108000" bIns="0"/>
          <a:lstStyle>
            <a:lvl1pPr>
              <a:defRPr sz="2200" baseline="0">
                <a:solidFill>
                  <a:schemeClr val="bg2"/>
                </a:solidFill>
              </a:defRPr>
            </a:lvl1pPr>
          </a:lstStyle>
          <a:p>
            <a:r>
              <a:rPr lang="fr-FR"/>
              <a:t>Compléter avec un titre ici qui porte votre message sur deux lignes au maximum pour des raisons de lisibilité</a:t>
            </a:r>
            <a:endParaRPr lang="fr-FR" noProof="0"/>
          </a:p>
        </p:txBody>
      </p:sp>
      <p:sp>
        <p:nvSpPr>
          <p:cNvPr id="9"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fr-FR" noProof="0"/>
              <a:t>Insérer un surtitre ici – il ne doit pas dépasser 1 ligne</a:t>
            </a:r>
          </a:p>
        </p:txBody>
      </p:sp>
      <p:sp>
        <p:nvSpPr>
          <p:cNvPr id="4" name="Espace réservé du contenu 3"/>
          <p:cNvSpPr>
            <a:spLocks noGrp="1"/>
          </p:cNvSpPr>
          <p:nvPr>
            <p:ph sz="quarter" idx="14" hasCustomPrompt="1"/>
          </p:nvPr>
        </p:nvSpPr>
        <p:spPr>
          <a:xfrm>
            <a:off x="425354" y="1341438"/>
            <a:ext cx="11342769" cy="4895850"/>
          </a:xfrm>
          <a:prstGeom prst="rect">
            <a:avLst/>
          </a:prstGeom>
        </p:spPr>
        <p:txBody>
          <a:bodyPr lIns="108000" tIns="108000" rIns="108000" bIns="108000"/>
          <a:lstStyle>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lgn="just">
              <a:defRPr>
                <a:solidFill>
                  <a:schemeClr val="tx1"/>
                </a:solidFill>
              </a:defRPr>
            </a:lvl6pPr>
            <a:lvl7pPr algn="just">
              <a:defRPr>
                <a:solidFill>
                  <a:schemeClr val="tx1"/>
                </a:solidFill>
              </a:defRPr>
            </a:lvl7pPr>
            <a:lvl8pPr algn="just">
              <a:defRPr>
                <a:solidFill>
                  <a:schemeClr val="tx1"/>
                </a:solidFill>
              </a:defRPr>
            </a:lvl8pPr>
            <a:lvl9pPr algn="just">
              <a:defRPr>
                <a:solidFill>
                  <a:schemeClr val="tx1"/>
                </a:solidFill>
              </a:defRPr>
            </a:lvl9pPr>
          </a:lstStyle>
          <a:p>
            <a:pPr lvl="0"/>
            <a:r>
              <a:rPr lang="fr-FR"/>
              <a:t>Niveau 1 - </a:t>
            </a:r>
            <a:r>
              <a:rPr lang="fr-FR">
                <a:solidFill>
                  <a:srgbClr val="503078"/>
                </a:solidFill>
              </a:rPr>
              <a:t>Pour passer au niveau suivant, faire Shift + Alt + flèche droite </a:t>
            </a:r>
            <a:endParaRPr lang="fr-FR"/>
          </a:p>
          <a:p>
            <a:pPr lvl="1"/>
            <a:r>
              <a:rPr lang="fr-FR"/>
              <a:t>Niveau 2</a:t>
            </a:r>
          </a:p>
          <a:p>
            <a:pPr lvl="2"/>
            <a:r>
              <a:rPr lang="fr-FR"/>
              <a:t>Niveau 3</a:t>
            </a:r>
          </a:p>
          <a:p>
            <a:pPr lvl="3"/>
            <a:r>
              <a:rPr lang="fr-FR"/>
              <a:t>Niveau 4</a:t>
            </a:r>
          </a:p>
          <a:p>
            <a:pPr lvl="4"/>
            <a:r>
              <a:rPr lang="fr-FR"/>
              <a:t>Niveau 5</a:t>
            </a:r>
          </a:p>
          <a:p>
            <a:pPr lvl="5"/>
            <a:r>
              <a:rPr lang="fr-FR"/>
              <a:t>Niveau 6</a:t>
            </a:r>
          </a:p>
          <a:p>
            <a:pPr lvl="6"/>
            <a:r>
              <a:rPr lang="fr-FR"/>
              <a:t>Niveau 7</a:t>
            </a:r>
          </a:p>
          <a:p>
            <a:pPr lvl="7"/>
            <a:r>
              <a:rPr lang="fr-FR" noProof="0"/>
              <a:t>Nive</a:t>
            </a:r>
            <a:r>
              <a:rPr lang="fr-FR"/>
              <a:t>au 8</a:t>
            </a:r>
          </a:p>
          <a:p>
            <a:pPr lvl="8"/>
            <a:r>
              <a:rPr lang="fr-FR"/>
              <a:t>Niveau 9</a:t>
            </a:r>
          </a:p>
        </p:txBody>
      </p:sp>
    </p:spTree>
    <p:extLst>
      <p:ext uri="{BB962C8B-B14F-4D97-AF65-F5344CB8AC3E}">
        <p14:creationId xmlns:p14="http://schemas.microsoft.com/office/powerpoint/2010/main" val="41783982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lat Text left + Text right">
    <p:spTree>
      <p:nvGrpSpPr>
        <p:cNvPr id="1" name=""/>
        <p:cNvGrpSpPr/>
        <p:nvPr/>
      </p:nvGrpSpPr>
      <p:grpSpPr>
        <a:xfrm>
          <a:off x="0" y="0"/>
          <a:ext cx="0" cy="0"/>
          <a:chOff x="0" y="0"/>
          <a:chExt cx="0" cy="0"/>
        </a:xfrm>
      </p:grpSpPr>
      <p:sp>
        <p:nvSpPr>
          <p:cNvPr id="6" name="Content Placeholder 4"/>
          <p:cNvSpPr>
            <a:spLocks noGrp="1"/>
          </p:cNvSpPr>
          <p:nvPr>
            <p:ph sz="quarter" idx="14" hasCustomPrompt="1"/>
          </p:nvPr>
        </p:nvSpPr>
        <p:spPr>
          <a:xfrm>
            <a:off x="425355" y="1341438"/>
            <a:ext cx="5502209" cy="4894975"/>
          </a:xfrm>
          <a:prstGeom prst="rect">
            <a:avLst/>
          </a:prstGeom>
          <a:solidFill>
            <a:schemeClr val="tx1">
              <a:lumMod val="20000"/>
              <a:lumOff val="80000"/>
            </a:schemeClr>
          </a:solidFill>
        </p:spPr>
        <p:txBody>
          <a:bodyPr lIns="108000" tIns="108000" rIns="108000" bIns="108000"/>
          <a:lstStyle>
            <a:lvl1pPr marL="0" marR="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solidFill>
                  <a:schemeClr val="bg2"/>
                </a:solidFill>
              </a:defRPr>
            </a:lvl1pPr>
            <a:lvl2pPr marL="358775" marR="0"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solidFill>
                  <a:schemeClr val="tx1"/>
                </a:solidFill>
              </a:defRPr>
            </a:lvl2pPr>
            <a:lvl3pPr marL="360000" marR="0" indent="0" algn="just" defTabSz="914400" rtl="0" eaLnBrk="1" fontAlgn="auto" latinLnBrk="0" hangingPunct="1">
              <a:lnSpc>
                <a:spcPct val="100000"/>
              </a:lnSpc>
              <a:spcBef>
                <a:spcPts val="600"/>
              </a:spcBef>
              <a:spcAft>
                <a:spcPts val="0"/>
              </a:spcAft>
              <a:buClrTx/>
              <a:buSzTx/>
              <a:buFontTx/>
              <a:buNone/>
              <a:tabLst/>
              <a:defRPr>
                <a:solidFill>
                  <a:schemeClr val="tx1"/>
                </a:solidFill>
              </a:defRPr>
            </a:lvl3pPr>
            <a:lvl4pPr marL="648000" marR="0"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solidFill>
                  <a:schemeClr val="tx1"/>
                </a:solidFill>
              </a:defRPr>
            </a:lvl4pPr>
            <a:lvl5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5pPr>
            <a:lvl6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6pPr>
            <a:lvl7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7pPr>
            <a:lvl8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8pPr>
            <a:lvl9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fr-FR" sz="1600" b="0" i="0" u="none" strike="noStrike" kern="1200" cap="none" spc="0" normalizeH="0" baseline="0" noProof="0">
                <a:ln>
                  <a:noFill/>
                </a:ln>
                <a:solidFill>
                  <a:srgbClr val="503078"/>
                </a:solidFill>
                <a:effectLst/>
                <a:uLnTx/>
                <a:uFillTx/>
                <a:latin typeface="+mn-lt"/>
                <a:ea typeface="+mn-ea"/>
                <a:cs typeface="+mn-cs"/>
              </a:rPr>
              <a:t>Niveau 1 - Pour passer au niveau suivant, faire Shift + Alt + flèche droite </a:t>
            </a:r>
          </a:p>
          <a:p>
            <a:pPr marL="358775" marR="0" lvl="1"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pPr>
            <a:r>
              <a:rPr kumimoji="0" lang="fr-FR" sz="1400" b="0" i="0" u="none" strike="noStrike" kern="1200" cap="none" spc="0" normalizeH="0" baseline="0" noProof="0">
                <a:ln>
                  <a:noFill/>
                </a:ln>
                <a:solidFill>
                  <a:srgbClr val="5F5F5F"/>
                </a:solidFill>
                <a:effectLst/>
                <a:uLnTx/>
                <a:uFillTx/>
                <a:latin typeface="+mn-lt"/>
                <a:ea typeface="+mn-ea"/>
                <a:cs typeface="+mn-cs"/>
              </a:rPr>
              <a:t>Niveau 2</a:t>
            </a:r>
          </a:p>
          <a:p>
            <a:pPr marL="360000" marR="0" lvl="2" indent="0" algn="just" defTabSz="914400" rtl="0" eaLnBrk="1" fontAlgn="auto" latinLnBrk="0" hangingPunct="1">
              <a:lnSpc>
                <a:spcPct val="100000"/>
              </a:lnSpc>
              <a:spcBef>
                <a:spcPts val="600"/>
              </a:spcBef>
              <a:spcAft>
                <a:spcPts val="0"/>
              </a:spcAft>
              <a:buClrTx/>
              <a:buSzTx/>
              <a:buFontTx/>
              <a:buNone/>
              <a:tabLst/>
              <a:defRPr/>
            </a:pPr>
            <a:r>
              <a:rPr kumimoji="0" lang="fr-FR" sz="1400" b="0" i="0" u="none" strike="noStrike" kern="1200" cap="none" spc="0" normalizeH="0" baseline="0" noProof="0">
                <a:ln>
                  <a:noFill/>
                </a:ln>
                <a:solidFill>
                  <a:srgbClr val="5F5F5F"/>
                </a:solidFill>
                <a:effectLst/>
                <a:uLnTx/>
                <a:uFillTx/>
                <a:latin typeface="+mn-lt"/>
                <a:ea typeface="+mn-ea"/>
                <a:cs typeface="+mn-cs"/>
              </a:rPr>
              <a:t>Niveau 3</a:t>
            </a:r>
          </a:p>
          <a:p>
            <a:pPr marL="648000" marR="0" lvl="3"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pPr>
            <a:r>
              <a:rPr kumimoji="0" lang="fr-FR" sz="1200" b="0" i="0" u="none" strike="noStrike" kern="1200" cap="none" spc="0" normalizeH="0" baseline="0" noProof="0">
                <a:ln>
                  <a:noFill/>
                </a:ln>
                <a:solidFill>
                  <a:srgbClr val="5F5F5F"/>
                </a:solidFill>
                <a:effectLst/>
                <a:uLnTx/>
                <a:uFillTx/>
                <a:latin typeface="+mn-lt"/>
                <a:ea typeface="+mn-ea"/>
                <a:cs typeface="+mn-cs"/>
              </a:rPr>
              <a:t>Niveau 4</a:t>
            </a:r>
          </a:p>
          <a:p>
            <a:pPr marL="900000" marR="0" lvl="4"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5</a:t>
            </a:r>
          </a:p>
          <a:p>
            <a:pPr marL="900000" marR="0" lvl="5"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6</a:t>
            </a:r>
          </a:p>
          <a:p>
            <a:pPr marL="900000" marR="0" lvl="6"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7</a:t>
            </a:r>
          </a:p>
          <a:p>
            <a:pPr marL="900000" marR="0" lvl="7"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8</a:t>
            </a:r>
          </a:p>
          <a:p>
            <a:pPr marL="900000" marR="0" lvl="8"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9</a:t>
            </a:r>
          </a:p>
        </p:txBody>
      </p:sp>
      <p:sp>
        <p:nvSpPr>
          <p:cNvPr id="9" name="Content Placeholder 4"/>
          <p:cNvSpPr>
            <a:spLocks noGrp="1"/>
          </p:cNvSpPr>
          <p:nvPr>
            <p:ph sz="quarter" idx="15" hasCustomPrompt="1"/>
          </p:nvPr>
        </p:nvSpPr>
        <p:spPr>
          <a:xfrm>
            <a:off x="6265915" y="1341438"/>
            <a:ext cx="5502209" cy="4894975"/>
          </a:xfrm>
          <a:prstGeom prst="rect">
            <a:avLst/>
          </a:prstGeom>
        </p:spPr>
        <p:txBody>
          <a:bodyPr lIns="108000" tIns="108000" rIns="108000" bIns="108000"/>
          <a:lstStyle>
            <a:lvl1pPr marL="0" marR="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solidFill>
                  <a:schemeClr val="bg2"/>
                </a:solidFill>
              </a:defRPr>
            </a:lvl1pPr>
            <a:lvl2pPr marL="358775" marR="0"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solidFill>
                  <a:schemeClr val="tx1"/>
                </a:solidFill>
              </a:defRPr>
            </a:lvl2pPr>
            <a:lvl3pPr marL="360000" marR="0" indent="0" algn="just" defTabSz="914400" rtl="0" eaLnBrk="1" fontAlgn="auto" latinLnBrk="0" hangingPunct="1">
              <a:lnSpc>
                <a:spcPct val="100000"/>
              </a:lnSpc>
              <a:spcBef>
                <a:spcPts val="600"/>
              </a:spcBef>
              <a:spcAft>
                <a:spcPts val="0"/>
              </a:spcAft>
              <a:buClrTx/>
              <a:buSzTx/>
              <a:buFontTx/>
              <a:buNone/>
              <a:tabLst/>
              <a:defRPr>
                <a:solidFill>
                  <a:schemeClr val="tx1"/>
                </a:solidFill>
              </a:defRPr>
            </a:lvl3pPr>
            <a:lvl4pPr marL="648000" marR="0"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solidFill>
                  <a:schemeClr val="tx1"/>
                </a:solidFill>
              </a:defRPr>
            </a:lvl4pPr>
            <a:lvl5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5pPr>
            <a:lvl6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6pPr>
            <a:lvl7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7pPr>
            <a:lvl8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8pPr>
            <a:lvl9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fr-FR" sz="1600" b="0" i="0" u="none" strike="noStrike" kern="1200" cap="none" spc="0" normalizeH="0" baseline="0" noProof="0">
                <a:ln>
                  <a:noFill/>
                </a:ln>
                <a:solidFill>
                  <a:srgbClr val="503078"/>
                </a:solidFill>
                <a:effectLst/>
                <a:uLnTx/>
                <a:uFillTx/>
                <a:latin typeface="+mn-lt"/>
                <a:ea typeface="+mn-ea"/>
                <a:cs typeface="+mn-cs"/>
              </a:rPr>
              <a:t>Niveau 1 - Pour passer au niveau suivant, faire Shift + Alt + flèche droite </a:t>
            </a:r>
          </a:p>
          <a:p>
            <a:pPr marL="358775" marR="0" lvl="1"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pPr>
            <a:r>
              <a:rPr kumimoji="0" lang="fr-FR" sz="1400" b="0" i="0" u="none" strike="noStrike" kern="1200" cap="none" spc="0" normalizeH="0" baseline="0" noProof="0">
                <a:ln>
                  <a:noFill/>
                </a:ln>
                <a:solidFill>
                  <a:srgbClr val="5F5F5F"/>
                </a:solidFill>
                <a:effectLst/>
                <a:uLnTx/>
                <a:uFillTx/>
                <a:latin typeface="+mn-lt"/>
                <a:ea typeface="+mn-ea"/>
                <a:cs typeface="+mn-cs"/>
              </a:rPr>
              <a:t>Niveau 2</a:t>
            </a:r>
          </a:p>
          <a:p>
            <a:pPr marL="360000" marR="0" lvl="2" indent="0" algn="just" defTabSz="914400" rtl="0" eaLnBrk="1" fontAlgn="auto" latinLnBrk="0" hangingPunct="1">
              <a:lnSpc>
                <a:spcPct val="100000"/>
              </a:lnSpc>
              <a:spcBef>
                <a:spcPts val="600"/>
              </a:spcBef>
              <a:spcAft>
                <a:spcPts val="0"/>
              </a:spcAft>
              <a:buClrTx/>
              <a:buSzTx/>
              <a:buFontTx/>
              <a:buNone/>
              <a:tabLst/>
              <a:defRPr/>
            </a:pPr>
            <a:r>
              <a:rPr kumimoji="0" lang="fr-FR" sz="1400" b="0" i="0" u="none" strike="noStrike" kern="1200" cap="none" spc="0" normalizeH="0" baseline="0" noProof="0">
                <a:ln>
                  <a:noFill/>
                </a:ln>
                <a:solidFill>
                  <a:srgbClr val="5F5F5F"/>
                </a:solidFill>
                <a:effectLst/>
                <a:uLnTx/>
                <a:uFillTx/>
                <a:latin typeface="+mn-lt"/>
                <a:ea typeface="+mn-ea"/>
                <a:cs typeface="+mn-cs"/>
              </a:rPr>
              <a:t>Niveau 3</a:t>
            </a:r>
          </a:p>
          <a:p>
            <a:pPr marL="648000" marR="0" lvl="3"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pPr>
            <a:r>
              <a:rPr kumimoji="0" lang="fr-FR" sz="1200" b="0" i="0" u="none" strike="noStrike" kern="1200" cap="none" spc="0" normalizeH="0" baseline="0" noProof="0">
                <a:ln>
                  <a:noFill/>
                </a:ln>
                <a:solidFill>
                  <a:srgbClr val="5F5F5F"/>
                </a:solidFill>
                <a:effectLst/>
                <a:uLnTx/>
                <a:uFillTx/>
                <a:latin typeface="+mn-lt"/>
                <a:ea typeface="+mn-ea"/>
                <a:cs typeface="+mn-cs"/>
              </a:rPr>
              <a:t>Niveau 4</a:t>
            </a:r>
          </a:p>
          <a:p>
            <a:pPr marL="900000" marR="0" lvl="4"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5</a:t>
            </a:r>
          </a:p>
          <a:p>
            <a:pPr marL="900000" marR="0" lvl="5"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6</a:t>
            </a:r>
          </a:p>
          <a:p>
            <a:pPr marL="900000" marR="0" lvl="6"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7</a:t>
            </a:r>
          </a:p>
          <a:p>
            <a:pPr marL="900000" marR="0" lvl="7"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8</a:t>
            </a:r>
          </a:p>
          <a:p>
            <a:pPr marL="900000" marR="0" lvl="8"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9</a:t>
            </a:r>
          </a:p>
        </p:txBody>
      </p:sp>
      <p:sp>
        <p:nvSpPr>
          <p:cNvPr id="10" name="Title 1"/>
          <p:cNvSpPr>
            <a:spLocks noGrp="1"/>
          </p:cNvSpPr>
          <p:nvPr>
            <p:ph type="title" hasCustomPrompt="1"/>
          </p:nvPr>
        </p:nvSpPr>
        <p:spPr>
          <a:xfrm>
            <a:off x="425354" y="404665"/>
            <a:ext cx="11342769" cy="936773"/>
          </a:xfrm>
        </p:spPr>
        <p:txBody>
          <a:bodyPr lIns="108000" tIns="0" rIns="108000" bIns="0"/>
          <a:lstStyle>
            <a:lvl1pPr>
              <a:defRPr sz="2200" baseline="0">
                <a:solidFill>
                  <a:schemeClr val="bg2"/>
                </a:solidFill>
              </a:defRPr>
            </a:lvl1pPr>
          </a:lstStyle>
          <a:p>
            <a:r>
              <a:rPr lang="fr-FR" noProof="0"/>
              <a:t>Compléter avec un titre ici qui porte votre message sur deux lignes au maximum pour des raisons de lisibilité</a:t>
            </a:r>
          </a:p>
        </p:txBody>
      </p:sp>
      <p:sp>
        <p:nvSpPr>
          <p:cNvPr id="12"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fr-FR" noProof="0"/>
              <a:t>Insérer un surtitre ici – il ne doit pas dépasser 1 ligne</a:t>
            </a:r>
          </a:p>
        </p:txBody>
      </p:sp>
    </p:spTree>
    <p:extLst>
      <p:ext uri="{BB962C8B-B14F-4D97-AF65-F5344CB8AC3E}">
        <p14:creationId xmlns:p14="http://schemas.microsoft.com/office/powerpoint/2010/main" val="23735912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 1 à 6 chapitres">
    <p:spTree>
      <p:nvGrpSpPr>
        <p:cNvPr id="1" name=""/>
        <p:cNvGrpSpPr/>
        <p:nvPr/>
      </p:nvGrpSpPr>
      <p:grpSpPr>
        <a:xfrm>
          <a:off x="0" y="0"/>
          <a:ext cx="0" cy="0"/>
          <a:chOff x="0" y="0"/>
          <a:chExt cx="0" cy="0"/>
        </a:xfrm>
      </p:grpSpPr>
      <p:sp>
        <p:nvSpPr>
          <p:cNvPr id="23" name="Title 1"/>
          <p:cNvSpPr txBox="1">
            <a:spLocks/>
          </p:cNvSpPr>
          <p:nvPr userDrawn="1"/>
        </p:nvSpPr>
        <p:spPr>
          <a:xfrm>
            <a:off x="416540" y="404665"/>
            <a:ext cx="11342769" cy="863748"/>
          </a:xfrm>
          <a:prstGeom prst="rect">
            <a:avLst/>
          </a:prstGeom>
          <a:noFill/>
        </p:spPr>
        <p:txBody>
          <a:bodyPr vert="horz" lIns="108000" tIns="36000" rIns="108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2200" b="1" noProof="0"/>
              <a:t>AGENDA</a:t>
            </a:r>
          </a:p>
        </p:txBody>
      </p:sp>
      <p:sp>
        <p:nvSpPr>
          <p:cNvPr id="5" name="Text Placeholder 8"/>
          <p:cNvSpPr>
            <a:spLocks noGrp="1"/>
          </p:cNvSpPr>
          <p:nvPr>
            <p:ph type="body" sz="quarter" idx="15" hasCustomPrompt="1"/>
          </p:nvPr>
        </p:nvSpPr>
        <p:spPr>
          <a:xfrm>
            <a:off x="2035550" y="1352828"/>
            <a:ext cx="7620832" cy="684000"/>
          </a:xfrm>
          <a:prstGeom prst="rect">
            <a:avLst/>
          </a:prstGeom>
        </p:spPr>
        <p:txBody>
          <a:bodyPr wrap="square" anchor="ctr">
            <a:noAutofit/>
          </a:bodyPr>
          <a:lstStyle>
            <a:lvl1pPr marL="0" indent="0" algn="l">
              <a:buClr>
                <a:schemeClr val="bg2"/>
              </a:buClr>
              <a:buFontTx/>
              <a:buNone/>
              <a:defRPr sz="2200" i="0" cap="none" baseline="0">
                <a:solidFill>
                  <a:schemeClr val="bg2"/>
                </a:solidFill>
              </a:defRPr>
            </a:lvl1pPr>
            <a:lvl2pPr>
              <a:defRPr sz="1000"/>
            </a:lvl2pPr>
          </a:lstStyle>
          <a:p>
            <a:pPr lvl="0"/>
            <a:r>
              <a:rPr lang="fr-FR" noProof="0"/>
              <a:t>Chapitre 1</a:t>
            </a:r>
          </a:p>
        </p:txBody>
      </p:sp>
      <p:sp>
        <p:nvSpPr>
          <p:cNvPr id="8" name="Text Placeholder 8"/>
          <p:cNvSpPr>
            <a:spLocks noGrp="1"/>
          </p:cNvSpPr>
          <p:nvPr>
            <p:ph type="body" sz="quarter" idx="17" hasCustomPrompt="1"/>
          </p:nvPr>
        </p:nvSpPr>
        <p:spPr>
          <a:xfrm>
            <a:off x="2035550" y="2155451"/>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a:t>Chapitre 2</a:t>
            </a:r>
          </a:p>
        </p:txBody>
      </p:sp>
      <p:sp>
        <p:nvSpPr>
          <p:cNvPr id="11" name="Text Placeholder 8"/>
          <p:cNvSpPr>
            <a:spLocks noGrp="1"/>
          </p:cNvSpPr>
          <p:nvPr>
            <p:ph type="body" sz="quarter" idx="19" hasCustomPrompt="1"/>
          </p:nvPr>
        </p:nvSpPr>
        <p:spPr>
          <a:xfrm>
            <a:off x="2035550" y="2958074"/>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a:t>Chapitre 3</a:t>
            </a:r>
          </a:p>
        </p:txBody>
      </p:sp>
      <p:sp>
        <p:nvSpPr>
          <p:cNvPr id="14" name="Text Placeholder 8"/>
          <p:cNvSpPr>
            <a:spLocks noGrp="1"/>
          </p:cNvSpPr>
          <p:nvPr>
            <p:ph type="body" sz="quarter" idx="21" hasCustomPrompt="1"/>
          </p:nvPr>
        </p:nvSpPr>
        <p:spPr>
          <a:xfrm>
            <a:off x="2035550" y="3760697"/>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a:t>Chapitre 4</a:t>
            </a:r>
          </a:p>
        </p:txBody>
      </p:sp>
      <p:sp>
        <p:nvSpPr>
          <p:cNvPr id="17" name="Text Placeholder 8"/>
          <p:cNvSpPr>
            <a:spLocks noGrp="1"/>
          </p:cNvSpPr>
          <p:nvPr>
            <p:ph type="body" sz="quarter" idx="23" hasCustomPrompt="1"/>
          </p:nvPr>
        </p:nvSpPr>
        <p:spPr>
          <a:xfrm>
            <a:off x="2035550" y="4563320"/>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a:t>Chapitre 5</a:t>
            </a:r>
          </a:p>
        </p:txBody>
      </p:sp>
      <p:sp>
        <p:nvSpPr>
          <p:cNvPr id="30" name="Text Placeholder 8"/>
          <p:cNvSpPr>
            <a:spLocks noGrp="1"/>
          </p:cNvSpPr>
          <p:nvPr>
            <p:ph type="body" sz="quarter" idx="25" hasCustomPrompt="1"/>
          </p:nvPr>
        </p:nvSpPr>
        <p:spPr>
          <a:xfrm>
            <a:off x="9891625" y="1352828"/>
            <a:ext cx="1700834" cy="684000"/>
          </a:xfrm>
          <a:prstGeom prst="rect">
            <a:avLst/>
          </a:prstGeom>
        </p:spPr>
        <p:txBody>
          <a:bodyPr wrap="square" anchor="ctr">
            <a:noAutofit/>
          </a:bodyPr>
          <a:lstStyle>
            <a:lvl1pPr algn="l">
              <a:defRPr sz="1000" b="0" i="0" cap="none" baseline="0">
                <a:solidFill>
                  <a:schemeClr val="bg2"/>
                </a:solidFill>
              </a:defRPr>
            </a:lvl1pPr>
            <a:lvl2pPr>
              <a:defRPr sz="1000"/>
            </a:lvl2pPr>
          </a:lstStyle>
          <a:p>
            <a:pPr lvl="0"/>
            <a:r>
              <a:rPr lang="fr-FR" noProof="0"/>
              <a:t>Page x</a:t>
            </a:r>
          </a:p>
        </p:txBody>
      </p:sp>
      <p:sp>
        <p:nvSpPr>
          <p:cNvPr id="32" name="Text Placeholder 8"/>
          <p:cNvSpPr>
            <a:spLocks noGrp="1"/>
          </p:cNvSpPr>
          <p:nvPr>
            <p:ph type="body" sz="quarter" idx="26" hasCustomPrompt="1"/>
          </p:nvPr>
        </p:nvSpPr>
        <p:spPr>
          <a:xfrm>
            <a:off x="9891625" y="4563320"/>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33" name="Text Placeholder 8"/>
          <p:cNvSpPr>
            <a:spLocks noGrp="1"/>
          </p:cNvSpPr>
          <p:nvPr>
            <p:ph type="body" sz="quarter" idx="27" hasCustomPrompt="1"/>
          </p:nvPr>
        </p:nvSpPr>
        <p:spPr>
          <a:xfrm>
            <a:off x="9891625" y="3760697"/>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34" name="Text Placeholder 8"/>
          <p:cNvSpPr>
            <a:spLocks noGrp="1"/>
          </p:cNvSpPr>
          <p:nvPr>
            <p:ph type="body" sz="quarter" idx="28" hasCustomPrompt="1"/>
          </p:nvPr>
        </p:nvSpPr>
        <p:spPr>
          <a:xfrm>
            <a:off x="9891625" y="2958074"/>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35" name="Text Placeholder 8"/>
          <p:cNvSpPr>
            <a:spLocks noGrp="1"/>
          </p:cNvSpPr>
          <p:nvPr>
            <p:ph type="body" sz="quarter" idx="29" hasCustomPrompt="1"/>
          </p:nvPr>
        </p:nvSpPr>
        <p:spPr>
          <a:xfrm>
            <a:off x="9891625" y="2155451"/>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24" name="Text Placeholder 8"/>
          <p:cNvSpPr>
            <a:spLocks noGrp="1"/>
          </p:cNvSpPr>
          <p:nvPr>
            <p:ph type="body" sz="quarter" idx="30" hasCustomPrompt="1"/>
          </p:nvPr>
        </p:nvSpPr>
        <p:spPr>
          <a:xfrm>
            <a:off x="2035550" y="5365945"/>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a:t>Chapitre 6</a:t>
            </a:r>
          </a:p>
        </p:txBody>
      </p:sp>
      <p:sp>
        <p:nvSpPr>
          <p:cNvPr id="26" name="Text Placeholder 8"/>
          <p:cNvSpPr>
            <a:spLocks noGrp="1"/>
          </p:cNvSpPr>
          <p:nvPr>
            <p:ph type="body" sz="quarter" idx="32" hasCustomPrompt="1"/>
          </p:nvPr>
        </p:nvSpPr>
        <p:spPr>
          <a:xfrm>
            <a:off x="9891625" y="5365945"/>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44" name="Text Placeholder 4"/>
          <p:cNvSpPr>
            <a:spLocks noGrp="1"/>
          </p:cNvSpPr>
          <p:nvPr>
            <p:ph type="body" sz="quarter" idx="38" hasCustomPrompt="1"/>
          </p:nvPr>
        </p:nvSpPr>
        <p:spPr>
          <a:xfrm>
            <a:off x="432850" y="1352828"/>
            <a:ext cx="1329231" cy="684000"/>
          </a:xfrm>
          <a:prstGeom prst="rect">
            <a:avLst/>
          </a:prstGeom>
          <a:noFill/>
        </p:spPr>
        <p:txBody>
          <a:bodyPr wrap="square"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1</a:t>
            </a:r>
          </a:p>
        </p:txBody>
      </p:sp>
      <p:sp>
        <p:nvSpPr>
          <p:cNvPr id="45" name="Text Placeholder 4"/>
          <p:cNvSpPr>
            <a:spLocks noGrp="1"/>
          </p:cNvSpPr>
          <p:nvPr>
            <p:ph type="body" sz="quarter" idx="39" hasCustomPrompt="1"/>
          </p:nvPr>
        </p:nvSpPr>
        <p:spPr>
          <a:xfrm>
            <a:off x="432850" y="2155451"/>
            <a:ext cx="1329231" cy="684000"/>
          </a:xfrm>
          <a:prstGeom prst="rect">
            <a:avLst/>
          </a:prstGeom>
          <a:noFill/>
        </p:spPr>
        <p:txBody>
          <a:bodyPr wrap="square"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2</a:t>
            </a:r>
          </a:p>
        </p:txBody>
      </p:sp>
      <p:sp>
        <p:nvSpPr>
          <p:cNvPr id="46" name="Text Placeholder 4"/>
          <p:cNvSpPr>
            <a:spLocks noGrp="1"/>
          </p:cNvSpPr>
          <p:nvPr>
            <p:ph type="body" sz="quarter" idx="40" hasCustomPrompt="1"/>
          </p:nvPr>
        </p:nvSpPr>
        <p:spPr>
          <a:xfrm>
            <a:off x="432850" y="2958074"/>
            <a:ext cx="1329231" cy="684000"/>
          </a:xfrm>
          <a:prstGeom prst="rect">
            <a:avLst/>
          </a:prstGeom>
          <a:noFill/>
        </p:spPr>
        <p:txBody>
          <a:bodyPr wrap="square"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3</a:t>
            </a:r>
          </a:p>
        </p:txBody>
      </p:sp>
      <p:sp>
        <p:nvSpPr>
          <p:cNvPr id="47" name="Text Placeholder 4"/>
          <p:cNvSpPr>
            <a:spLocks noGrp="1"/>
          </p:cNvSpPr>
          <p:nvPr>
            <p:ph type="body" sz="quarter" idx="41" hasCustomPrompt="1"/>
          </p:nvPr>
        </p:nvSpPr>
        <p:spPr>
          <a:xfrm>
            <a:off x="432850" y="3760697"/>
            <a:ext cx="1329231" cy="684000"/>
          </a:xfrm>
          <a:prstGeom prst="rect">
            <a:avLst/>
          </a:prstGeom>
          <a:noFill/>
        </p:spPr>
        <p:txBody>
          <a:bodyPr wrap="square"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4</a:t>
            </a:r>
          </a:p>
        </p:txBody>
      </p:sp>
      <p:sp>
        <p:nvSpPr>
          <p:cNvPr id="48" name="Text Placeholder 4"/>
          <p:cNvSpPr>
            <a:spLocks noGrp="1"/>
          </p:cNvSpPr>
          <p:nvPr>
            <p:ph type="body" sz="quarter" idx="42" hasCustomPrompt="1"/>
          </p:nvPr>
        </p:nvSpPr>
        <p:spPr>
          <a:xfrm>
            <a:off x="432850" y="4563320"/>
            <a:ext cx="1329231" cy="684000"/>
          </a:xfrm>
          <a:prstGeom prst="rect">
            <a:avLst/>
          </a:prstGeom>
          <a:noFill/>
        </p:spPr>
        <p:txBody>
          <a:bodyPr wrap="square"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5</a:t>
            </a:r>
          </a:p>
        </p:txBody>
      </p:sp>
      <p:sp>
        <p:nvSpPr>
          <p:cNvPr id="49" name="Text Placeholder 4"/>
          <p:cNvSpPr>
            <a:spLocks noGrp="1"/>
          </p:cNvSpPr>
          <p:nvPr>
            <p:ph type="body" sz="quarter" idx="43" hasCustomPrompt="1"/>
          </p:nvPr>
        </p:nvSpPr>
        <p:spPr>
          <a:xfrm>
            <a:off x="432850" y="5365945"/>
            <a:ext cx="1329231" cy="684000"/>
          </a:xfrm>
          <a:prstGeom prst="rect">
            <a:avLst/>
          </a:prstGeom>
          <a:noFill/>
        </p:spPr>
        <p:txBody>
          <a:bodyPr wrap="square"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6</a:t>
            </a:r>
          </a:p>
        </p:txBody>
      </p:sp>
    </p:spTree>
    <p:extLst>
      <p:ext uri="{BB962C8B-B14F-4D97-AF65-F5344CB8AC3E}">
        <p14:creationId xmlns:p14="http://schemas.microsoft.com/office/powerpoint/2010/main" val="16081204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 1 à 10 chapitre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2035550" y="1358212"/>
            <a:ext cx="7459579" cy="414000"/>
          </a:xfrm>
          <a:prstGeom prst="rect">
            <a:avLst/>
          </a:prstGeom>
        </p:spPr>
        <p:txBody>
          <a:bodyPr wrap="square" tIns="0" bIns="0" anchor="ctr">
            <a:noAutofit/>
          </a:bodyPr>
          <a:lstStyle>
            <a:lvl1pPr marL="0" indent="0" algn="l">
              <a:buClr>
                <a:schemeClr val="bg2"/>
              </a:buClr>
              <a:buFontTx/>
              <a:buNone/>
              <a:defRPr sz="2000" i="0" cap="none" baseline="0">
                <a:solidFill>
                  <a:schemeClr val="bg2"/>
                </a:solidFill>
              </a:defRPr>
            </a:lvl1pPr>
            <a:lvl2pPr>
              <a:defRPr sz="1000"/>
            </a:lvl2pPr>
          </a:lstStyle>
          <a:p>
            <a:pPr lvl="0"/>
            <a:r>
              <a:rPr lang="fr-FR" noProof="0"/>
              <a:t>Chapitre 1</a:t>
            </a:r>
          </a:p>
        </p:txBody>
      </p:sp>
      <p:sp>
        <p:nvSpPr>
          <p:cNvPr id="8" name="Text Placeholder 8"/>
          <p:cNvSpPr>
            <a:spLocks noGrp="1"/>
          </p:cNvSpPr>
          <p:nvPr>
            <p:ph type="body" sz="quarter" idx="17" hasCustomPrompt="1"/>
          </p:nvPr>
        </p:nvSpPr>
        <p:spPr>
          <a:xfrm>
            <a:off x="2035550" y="1833753"/>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itre 2</a:t>
            </a:r>
          </a:p>
        </p:txBody>
      </p:sp>
      <p:sp>
        <p:nvSpPr>
          <p:cNvPr id="11" name="Text Placeholder 8"/>
          <p:cNvSpPr>
            <a:spLocks noGrp="1"/>
          </p:cNvSpPr>
          <p:nvPr>
            <p:ph type="body" sz="quarter" idx="19" hasCustomPrompt="1"/>
          </p:nvPr>
        </p:nvSpPr>
        <p:spPr>
          <a:xfrm>
            <a:off x="2035550" y="2309294"/>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itre 3</a:t>
            </a:r>
          </a:p>
        </p:txBody>
      </p:sp>
      <p:sp>
        <p:nvSpPr>
          <p:cNvPr id="14" name="Text Placeholder 8"/>
          <p:cNvSpPr>
            <a:spLocks noGrp="1"/>
          </p:cNvSpPr>
          <p:nvPr>
            <p:ph type="body" sz="quarter" idx="21" hasCustomPrompt="1"/>
          </p:nvPr>
        </p:nvSpPr>
        <p:spPr>
          <a:xfrm>
            <a:off x="2035550" y="2784835"/>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itre 4</a:t>
            </a:r>
          </a:p>
        </p:txBody>
      </p:sp>
      <p:sp>
        <p:nvSpPr>
          <p:cNvPr id="17" name="Text Placeholder 8"/>
          <p:cNvSpPr>
            <a:spLocks noGrp="1"/>
          </p:cNvSpPr>
          <p:nvPr>
            <p:ph type="body" sz="quarter" idx="23" hasCustomPrompt="1"/>
          </p:nvPr>
        </p:nvSpPr>
        <p:spPr>
          <a:xfrm>
            <a:off x="2035550" y="5638083"/>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itre 10</a:t>
            </a:r>
          </a:p>
        </p:txBody>
      </p:sp>
      <p:sp>
        <p:nvSpPr>
          <p:cNvPr id="30" name="Text Placeholder 8"/>
          <p:cNvSpPr>
            <a:spLocks noGrp="1"/>
          </p:cNvSpPr>
          <p:nvPr>
            <p:ph type="body" sz="quarter" idx="25" hasCustomPrompt="1"/>
          </p:nvPr>
        </p:nvSpPr>
        <p:spPr>
          <a:xfrm>
            <a:off x="9893311" y="1358212"/>
            <a:ext cx="1546213" cy="414000"/>
          </a:xfrm>
          <a:prstGeom prst="rect">
            <a:avLst/>
          </a:prstGeom>
        </p:spPr>
        <p:txBody>
          <a:bodyPr wrap="square" tIns="108000" bIns="108000" anchor="ctr">
            <a:noAutofit/>
          </a:bodyPr>
          <a:lstStyle>
            <a:lvl1pPr algn="l">
              <a:defRPr sz="1000" b="0" i="0" cap="none" baseline="0">
                <a:solidFill>
                  <a:schemeClr val="bg2"/>
                </a:solidFill>
              </a:defRPr>
            </a:lvl1pPr>
            <a:lvl2pPr>
              <a:defRPr sz="1000"/>
            </a:lvl2pPr>
          </a:lstStyle>
          <a:p>
            <a:pPr lvl="0"/>
            <a:r>
              <a:rPr lang="fr-FR" noProof="0"/>
              <a:t>Page x</a:t>
            </a:r>
          </a:p>
        </p:txBody>
      </p:sp>
      <p:sp>
        <p:nvSpPr>
          <p:cNvPr id="32" name="Text Placeholder 8"/>
          <p:cNvSpPr>
            <a:spLocks noGrp="1"/>
          </p:cNvSpPr>
          <p:nvPr>
            <p:ph type="body" sz="quarter" idx="26" hasCustomPrompt="1"/>
          </p:nvPr>
        </p:nvSpPr>
        <p:spPr>
          <a:xfrm>
            <a:off x="9893311" y="5638083"/>
            <a:ext cx="1546213" cy="41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33" name="Text Placeholder 8"/>
          <p:cNvSpPr>
            <a:spLocks noGrp="1"/>
          </p:cNvSpPr>
          <p:nvPr>
            <p:ph type="body" sz="quarter" idx="27" hasCustomPrompt="1"/>
          </p:nvPr>
        </p:nvSpPr>
        <p:spPr>
          <a:xfrm>
            <a:off x="9893311" y="2784835"/>
            <a:ext cx="1546213" cy="41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34" name="Text Placeholder 8"/>
          <p:cNvSpPr>
            <a:spLocks noGrp="1"/>
          </p:cNvSpPr>
          <p:nvPr>
            <p:ph type="body" sz="quarter" idx="28" hasCustomPrompt="1"/>
          </p:nvPr>
        </p:nvSpPr>
        <p:spPr>
          <a:xfrm>
            <a:off x="9893311" y="2309294"/>
            <a:ext cx="1546213" cy="41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35" name="Text Placeholder 8"/>
          <p:cNvSpPr>
            <a:spLocks noGrp="1"/>
          </p:cNvSpPr>
          <p:nvPr>
            <p:ph type="body" sz="quarter" idx="29" hasCustomPrompt="1"/>
          </p:nvPr>
        </p:nvSpPr>
        <p:spPr>
          <a:xfrm>
            <a:off x="9893311" y="1833753"/>
            <a:ext cx="1546213" cy="41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22" name="Text Placeholder 8"/>
          <p:cNvSpPr>
            <a:spLocks noGrp="1"/>
          </p:cNvSpPr>
          <p:nvPr>
            <p:ph type="body" sz="quarter" idx="30" hasCustomPrompt="1"/>
          </p:nvPr>
        </p:nvSpPr>
        <p:spPr>
          <a:xfrm>
            <a:off x="2035550" y="3260376"/>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itre 5</a:t>
            </a:r>
          </a:p>
        </p:txBody>
      </p:sp>
      <p:sp>
        <p:nvSpPr>
          <p:cNvPr id="24" name="Text Placeholder 8"/>
          <p:cNvSpPr>
            <a:spLocks noGrp="1"/>
          </p:cNvSpPr>
          <p:nvPr>
            <p:ph type="body" sz="quarter" idx="32" hasCustomPrompt="1"/>
          </p:nvPr>
        </p:nvSpPr>
        <p:spPr>
          <a:xfrm>
            <a:off x="9893311" y="3260376"/>
            <a:ext cx="1546213" cy="41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25" name="Text Placeholder 8"/>
          <p:cNvSpPr>
            <a:spLocks noGrp="1"/>
          </p:cNvSpPr>
          <p:nvPr>
            <p:ph type="body" sz="quarter" idx="33" hasCustomPrompt="1"/>
          </p:nvPr>
        </p:nvSpPr>
        <p:spPr>
          <a:xfrm>
            <a:off x="2035550" y="3735917"/>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itre 6</a:t>
            </a:r>
          </a:p>
        </p:txBody>
      </p:sp>
      <p:sp>
        <p:nvSpPr>
          <p:cNvPr id="27" name="Text Placeholder 8"/>
          <p:cNvSpPr>
            <a:spLocks noGrp="1"/>
          </p:cNvSpPr>
          <p:nvPr>
            <p:ph type="body" sz="quarter" idx="35" hasCustomPrompt="1"/>
          </p:nvPr>
        </p:nvSpPr>
        <p:spPr>
          <a:xfrm>
            <a:off x="2035550" y="4211458"/>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itre 7</a:t>
            </a:r>
          </a:p>
        </p:txBody>
      </p:sp>
      <p:sp>
        <p:nvSpPr>
          <p:cNvPr id="29" name="Text Placeholder 8"/>
          <p:cNvSpPr>
            <a:spLocks noGrp="1"/>
          </p:cNvSpPr>
          <p:nvPr>
            <p:ph type="body" sz="quarter" idx="37" hasCustomPrompt="1"/>
          </p:nvPr>
        </p:nvSpPr>
        <p:spPr>
          <a:xfrm>
            <a:off x="9893311" y="4211458"/>
            <a:ext cx="1546213" cy="41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31" name="Text Placeholder 8"/>
          <p:cNvSpPr>
            <a:spLocks noGrp="1"/>
          </p:cNvSpPr>
          <p:nvPr>
            <p:ph type="body" sz="quarter" idx="38" hasCustomPrompt="1"/>
          </p:nvPr>
        </p:nvSpPr>
        <p:spPr>
          <a:xfrm>
            <a:off x="9893311" y="3735917"/>
            <a:ext cx="1546213" cy="41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39" name="Text Placeholder 8"/>
          <p:cNvSpPr>
            <a:spLocks noGrp="1"/>
          </p:cNvSpPr>
          <p:nvPr>
            <p:ph type="body" sz="quarter" idx="39" hasCustomPrompt="1"/>
          </p:nvPr>
        </p:nvSpPr>
        <p:spPr>
          <a:xfrm>
            <a:off x="2035550" y="4686999"/>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itre 8</a:t>
            </a:r>
          </a:p>
        </p:txBody>
      </p:sp>
      <p:sp>
        <p:nvSpPr>
          <p:cNvPr id="41" name="Text Placeholder 8"/>
          <p:cNvSpPr>
            <a:spLocks noGrp="1"/>
          </p:cNvSpPr>
          <p:nvPr>
            <p:ph type="body" sz="quarter" idx="41" hasCustomPrompt="1"/>
          </p:nvPr>
        </p:nvSpPr>
        <p:spPr>
          <a:xfrm>
            <a:off x="9893311" y="4686999"/>
            <a:ext cx="1546213" cy="41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42" name="Text Placeholder 8"/>
          <p:cNvSpPr>
            <a:spLocks noGrp="1"/>
          </p:cNvSpPr>
          <p:nvPr>
            <p:ph type="body" sz="quarter" idx="42" hasCustomPrompt="1"/>
          </p:nvPr>
        </p:nvSpPr>
        <p:spPr>
          <a:xfrm>
            <a:off x="2035550" y="5162540"/>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itre 9</a:t>
            </a:r>
          </a:p>
        </p:txBody>
      </p:sp>
      <p:sp>
        <p:nvSpPr>
          <p:cNvPr id="44" name="Text Placeholder 8"/>
          <p:cNvSpPr>
            <a:spLocks noGrp="1"/>
          </p:cNvSpPr>
          <p:nvPr>
            <p:ph type="body" sz="quarter" idx="44" hasCustomPrompt="1"/>
          </p:nvPr>
        </p:nvSpPr>
        <p:spPr>
          <a:xfrm>
            <a:off x="9893311" y="5162540"/>
            <a:ext cx="1546213" cy="41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40" name="Text Placeholder 4"/>
          <p:cNvSpPr>
            <a:spLocks noGrp="1"/>
          </p:cNvSpPr>
          <p:nvPr>
            <p:ph type="body" sz="quarter" idx="56" hasCustomPrompt="1"/>
          </p:nvPr>
        </p:nvSpPr>
        <p:spPr>
          <a:xfrm>
            <a:off x="440295" y="1358212"/>
            <a:ext cx="1329231" cy="414000"/>
          </a:xfrm>
          <a:prstGeom prst="rect">
            <a:avLst/>
          </a:prstGeom>
          <a:noFill/>
        </p:spPr>
        <p:txBody>
          <a:bodyPr wrap="square" tIns="108000" bIns="10800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1</a:t>
            </a:r>
          </a:p>
        </p:txBody>
      </p:sp>
      <p:sp>
        <p:nvSpPr>
          <p:cNvPr id="43" name="Text Placeholder 4"/>
          <p:cNvSpPr>
            <a:spLocks noGrp="1"/>
          </p:cNvSpPr>
          <p:nvPr>
            <p:ph type="body" sz="quarter" idx="57" hasCustomPrompt="1"/>
          </p:nvPr>
        </p:nvSpPr>
        <p:spPr>
          <a:xfrm>
            <a:off x="440295" y="1833753"/>
            <a:ext cx="1329231" cy="414000"/>
          </a:xfrm>
          <a:prstGeom prst="rect">
            <a:avLst/>
          </a:prstGeom>
          <a:noFill/>
        </p:spPr>
        <p:txBody>
          <a:bodyPr wrap="square" tIns="108000" bIns="10800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2</a:t>
            </a:r>
          </a:p>
        </p:txBody>
      </p:sp>
      <p:sp>
        <p:nvSpPr>
          <p:cNvPr id="48" name="Text Placeholder 4"/>
          <p:cNvSpPr>
            <a:spLocks noGrp="1"/>
          </p:cNvSpPr>
          <p:nvPr>
            <p:ph type="body" sz="quarter" idx="58" hasCustomPrompt="1"/>
          </p:nvPr>
        </p:nvSpPr>
        <p:spPr>
          <a:xfrm>
            <a:off x="440295" y="2309294"/>
            <a:ext cx="1329231" cy="414000"/>
          </a:xfrm>
          <a:prstGeom prst="rect">
            <a:avLst/>
          </a:prstGeom>
          <a:noFill/>
        </p:spPr>
        <p:txBody>
          <a:bodyPr wrap="square" tIns="108000" bIns="10800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3</a:t>
            </a:r>
          </a:p>
        </p:txBody>
      </p:sp>
      <p:sp>
        <p:nvSpPr>
          <p:cNvPr id="59" name="Text Placeholder 4"/>
          <p:cNvSpPr>
            <a:spLocks noGrp="1"/>
          </p:cNvSpPr>
          <p:nvPr>
            <p:ph type="body" sz="quarter" idx="59" hasCustomPrompt="1"/>
          </p:nvPr>
        </p:nvSpPr>
        <p:spPr>
          <a:xfrm>
            <a:off x="440295" y="2784835"/>
            <a:ext cx="1329231" cy="414000"/>
          </a:xfrm>
          <a:prstGeom prst="rect">
            <a:avLst/>
          </a:prstGeom>
          <a:noFill/>
        </p:spPr>
        <p:txBody>
          <a:bodyPr wrap="square" tIns="108000" bIns="10800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4</a:t>
            </a:r>
          </a:p>
        </p:txBody>
      </p:sp>
      <p:sp>
        <p:nvSpPr>
          <p:cNvPr id="60" name="Text Placeholder 4"/>
          <p:cNvSpPr>
            <a:spLocks noGrp="1"/>
          </p:cNvSpPr>
          <p:nvPr>
            <p:ph type="body" sz="quarter" idx="60" hasCustomPrompt="1"/>
          </p:nvPr>
        </p:nvSpPr>
        <p:spPr>
          <a:xfrm>
            <a:off x="440295" y="3260376"/>
            <a:ext cx="1329231" cy="414000"/>
          </a:xfrm>
          <a:prstGeom prst="rect">
            <a:avLst/>
          </a:prstGeom>
          <a:noFill/>
        </p:spPr>
        <p:txBody>
          <a:bodyPr wrap="square" tIns="108000" bIns="10800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5</a:t>
            </a:r>
          </a:p>
        </p:txBody>
      </p:sp>
      <p:sp>
        <p:nvSpPr>
          <p:cNvPr id="61" name="Text Placeholder 4"/>
          <p:cNvSpPr>
            <a:spLocks noGrp="1"/>
          </p:cNvSpPr>
          <p:nvPr>
            <p:ph type="body" sz="quarter" idx="61" hasCustomPrompt="1"/>
          </p:nvPr>
        </p:nvSpPr>
        <p:spPr>
          <a:xfrm>
            <a:off x="440295" y="3735917"/>
            <a:ext cx="1329231" cy="414000"/>
          </a:xfrm>
          <a:prstGeom prst="rect">
            <a:avLst/>
          </a:prstGeom>
          <a:noFill/>
        </p:spPr>
        <p:txBody>
          <a:bodyPr wrap="square" tIns="108000" bIns="10800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6</a:t>
            </a:r>
          </a:p>
        </p:txBody>
      </p:sp>
      <p:sp>
        <p:nvSpPr>
          <p:cNvPr id="62" name="Text Placeholder 4"/>
          <p:cNvSpPr>
            <a:spLocks noGrp="1"/>
          </p:cNvSpPr>
          <p:nvPr>
            <p:ph type="body" sz="quarter" idx="62" hasCustomPrompt="1"/>
          </p:nvPr>
        </p:nvSpPr>
        <p:spPr>
          <a:xfrm>
            <a:off x="440295" y="4211458"/>
            <a:ext cx="1329231" cy="414000"/>
          </a:xfrm>
          <a:prstGeom prst="rect">
            <a:avLst/>
          </a:prstGeom>
          <a:noFill/>
        </p:spPr>
        <p:txBody>
          <a:bodyPr wrap="square" tIns="108000" bIns="10800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7</a:t>
            </a:r>
          </a:p>
        </p:txBody>
      </p:sp>
      <p:sp>
        <p:nvSpPr>
          <p:cNvPr id="63" name="Text Placeholder 4"/>
          <p:cNvSpPr>
            <a:spLocks noGrp="1"/>
          </p:cNvSpPr>
          <p:nvPr>
            <p:ph type="body" sz="quarter" idx="63" hasCustomPrompt="1"/>
          </p:nvPr>
        </p:nvSpPr>
        <p:spPr>
          <a:xfrm>
            <a:off x="440295" y="4686999"/>
            <a:ext cx="1329231" cy="414000"/>
          </a:xfrm>
          <a:prstGeom prst="rect">
            <a:avLst/>
          </a:prstGeom>
          <a:noFill/>
        </p:spPr>
        <p:txBody>
          <a:bodyPr wrap="square" tIns="108000" bIns="10800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8</a:t>
            </a:r>
          </a:p>
        </p:txBody>
      </p:sp>
      <p:sp>
        <p:nvSpPr>
          <p:cNvPr id="64" name="Text Placeholder 4"/>
          <p:cNvSpPr>
            <a:spLocks noGrp="1"/>
          </p:cNvSpPr>
          <p:nvPr>
            <p:ph type="body" sz="quarter" idx="64" hasCustomPrompt="1"/>
          </p:nvPr>
        </p:nvSpPr>
        <p:spPr>
          <a:xfrm>
            <a:off x="440295" y="5162540"/>
            <a:ext cx="1329231" cy="414000"/>
          </a:xfrm>
          <a:prstGeom prst="rect">
            <a:avLst/>
          </a:prstGeom>
          <a:noFill/>
        </p:spPr>
        <p:txBody>
          <a:bodyPr wrap="square" tIns="108000" bIns="10800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9</a:t>
            </a:r>
          </a:p>
        </p:txBody>
      </p:sp>
      <p:sp>
        <p:nvSpPr>
          <p:cNvPr id="65" name="Text Placeholder 4"/>
          <p:cNvSpPr>
            <a:spLocks noGrp="1"/>
          </p:cNvSpPr>
          <p:nvPr>
            <p:ph type="body" sz="quarter" idx="65" hasCustomPrompt="1"/>
          </p:nvPr>
        </p:nvSpPr>
        <p:spPr>
          <a:xfrm>
            <a:off x="440295" y="5638083"/>
            <a:ext cx="1329231" cy="414000"/>
          </a:xfrm>
          <a:prstGeom prst="rect">
            <a:avLst/>
          </a:prstGeom>
          <a:noFill/>
        </p:spPr>
        <p:txBody>
          <a:bodyPr wrap="square" tIns="108000" bIns="10800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10</a:t>
            </a:r>
          </a:p>
        </p:txBody>
      </p:sp>
      <p:sp>
        <p:nvSpPr>
          <p:cNvPr id="36" name="Title 1"/>
          <p:cNvSpPr txBox="1">
            <a:spLocks/>
          </p:cNvSpPr>
          <p:nvPr userDrawn="1"/>
        </p:nvSpPr>
        <p:spPr>
          <a:xfrm>
            <a:off x="416540" y="404665"/>
            <a:ext cx="11342769" cy="863748"/>
          </a:xfrm>
          <a:prstGeom prst="rect">
            <a:avLst/>
          </a:prstGeom>
          <a:noFill/>
        </p:spPr>
        <p:txBody>
          <a:bodyPr vert="horz" lIns="108000" tIns="36000" rIns="108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2200" b="1" noProof="0"/>
              <a:t>AGENDA</a:t>
            </a:r>
          </a:p>
        </p:txBody>
      </p:sp>
    </p:spTree>
    <p:extLst>
      <p:ext uri="{BB962C8B-B14F-4D97-AF65-F5344CB8AC3E}">
        <p14:creationId xmlns:p14="http://schemas.microsoft.com/office/powerpoint/2010/main" val="13062704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hapter White">
    <p:spTree>
      <p:nvGrpSpPr>
        <p:cNvPr id="1" name=""/>
        <p:cNvGrpSpPr/>
        <p:nvPr/>
      </p:nvGrpSpPr>
      <p:grpSpPr>
        <a:xfrm>
          <a:off x="0" y="0"/>
          <a:ext cx="0" cy="0"/>
          <a:chOff x="0" y="0"/>
          <a:chExt cx="0" cy="0"/>
        </a:xfrm>
      </p:grpSpPr>
      <p:pic>
        <p:nvPicPr>
          <p:cNvPr id="6" name="Image 1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4289072" cy="4725900"/>
          </a:xfrm>
          <a:prstGeom prst="rect">
            <a:avLst/>
          </a:prstGeom>
        </p:spPr>
      </p:pic>
      <p:sp>
        <p:nvSpPr>
          <p:cNvPr id="8" name="Espace réservé pour une image  35"/>
          <p:cNvSpPr>
            <a:spLocks noGrp="1"/>
          </p:cNvSpPr>
          <p:nvPr>
            <p:ph type="pic" sz="quarter" idx="10" hasCustomPrompt="1"/>
          </p:nvPr>
        </p:nvSpPr>
        <p:spPr>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quer ici	&gt;&gt;</a:t>
            </a:r>
            <a:br>
              <a:rPr lang="fr-FR" noProof="0"/>
            </a:br>
            <a:r>
              <a:rPr lang="fr-FR" noProof="0"/>
              <a:t>pour insérer votre photo</a:t>
            </a:r>
          </a:p>
        </p:txBody>
      </p:sp>
      <p:sp>
        <p:nvSpPr>
          <p:cNvPr id="10" name="Text Placeholder 4"/>
          <p:cNvSpPr>
            <a:spLocks noGrp="1"/>
          </p:cNvSpPr>
          <p:nvPr>
            <p:ph type="body" sz="quarter" idx="38" hasCustomPrompt="1"/>
          </p:nvPr>
        </p:nvSpPr>
        <p:spPr bwMode="gray">
          <a:xfrm>
            <a:off x="2787386" y="3334423"/>
            <a:ext cx="1050092" cy="964800"/>
          </a:xfrm>
          <a:prstGeom prst="rect">
            <a:avLst/>
          </a:prstGeom>
          <a:noFill/>
        </p:spPr>
        <p:txBody>
          <a:bodyPr lIns="0" rIns="0" anchor="t">
            <a:noAutofit/>
          </a:bodyPr>
          <a:lstStyle>
            <a:lvl1pPr marL="0" indent="-252000" algn="l">
              <a:lnSpc>
                <a:spcPct val="100000"/>
              </a:lnSpc>
              <a:spcBef>
                <a:spcPts val="400"/>
              </a:spcBef>
              <a:buClr>
                <a:schemeClr val="bg2"/>
              </a:buClr>
              <a:buFont typeface="Tempus Sans ITC" panose="04020404030D07020202" pitchFamily="82" charset="0"/>
              <a:buChar char="/"/>
              <a:defRPr sz="2400" b="1" i="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1</a:t>
            </a:r>
          </a:p>
        </p:txBody>
      </p:sp>
      <p:sp>
        <p:nvSpPr>
          <p:cNvPr id="7" name="Titel 1"/>
          <p:cNvSpPr>
            <a:spLocks noGrp="1"/>
          </p:cNvSpPr>
          <p:nvPr>
            <p:ph type="title" hasCustomPrompt="1"/>
          </p:nvPr>
        </p:nvSpPr>
        <p:spPr bwMode="gray">
          <a:xfrm>
            <a:off x="3836369" y="3334423"/>
            <a:ext cx="7753846" cy="964800"/>
          </a:xfrm>
        </p:spPr>
        <p:txBody>
          <a:bodyPr lIns="108000" tIns="108000" rIns="0" bIns="0" anchor="t">
            <a:noAutofit/>
          </a:bodyPr>
          <a:lstStyle>
            <a:lvl1pPr algn="r">
              <a:defRPr sz="2400" cap="none" baseline="0">
                <a:solidFill>
                  <a:schemeClr val="bg2"/>
                </a:solidFill>
                <a:latin typeface="+mj-lt"/>
              </a:defRPr>
            </a:lvl1pPr>
          </a:lstStyle>
          <a:p>
            <a:r>
              <a:rPr lang="fr-FR" noProof="0"/>
              <a:t>Titre de votre chapitre</a:t>
            </a:r>
          </a:p>
        </p:txBody>
      </p:sp>
    </p:spTree>
    <p:extLst>
      <p:ext uri="{BB962C8B-B14F-4D97-AF65-F5344CB8AC3E}">
        <p14:creationId xmlns:p14="http://schemas.microsoft.com/office/powerpoint/2010/main" val="20549516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hapter Silver Grey light">
    <p:bg>
      <p:bgPr>
        <a:solidFill>
          <a:schemeClr val="tx1">
            <a:lumMod val="20000"/>
            <a:lumOff val="80000"/>
          </a:schemeClr>
        </a:solidFill>
        <a:effectLst/>
      </p:bgPr>
    </p:bg>
    <p:spTree>
      <p:nvGrpSpPr>
        <p:cNvPr id="1" name=""/>
        <p:cNvGrpSpPr/>
        <p:nvPr/>
      </p:nvGrpSpPr>
      <p:grpSpPr>
        <a:xfrm>
          <a:off x="0" y="0"/>
          <a:ext cx="0" cy="0"/>
          <a:chOff x="0" y="0"/>
          <a:chExt cx="0" cy="0"/>
        </a:xfrm>
      </p:grpSpPr>
      <p:sp>
        <p:nvSpPr>
          <p:cNvPr id="8" name="Espace réservé pour une image  35"/>
          <p:cNvSpPr>
            <a:spLocks noGrp="1"/>
          </p:cNvSpPr>
          <p:nvPr>
            <p:ph type="pic" sz="quarter" idx="10" hasCustomPrompt="1"/>
          </p:nvPr>
        </p:nvSpPr>
        <p:spPr bwMode="gray">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quer ici	&gt;&gt;</a:t>
            </a:r>
            <a:br>
              <a:rPr lang="fr-FR" noProof="0"/>
            </a:br>
            <a:r>
              <a:rPr lang="fr-FR" noProof="0"/>
              <a:t>pour insérer votre photo</a:t>
            </a:r>
          </a:p>
        </p:txBody>
      </p:sp>
      <p:sp>
        <p:nvSpPr>
          <p:cNvPr id="9" name="Titel 1"/>
          <p:cNvSpPr>
            <a:spLocks noGrp="1"/>
          </p:cNvSpPr>
          <p:nvPr>
            <p:ph type="title" hasCustomPrompt="1"/>
          </p:nvPr>
        </p:nvSpPr>
        <p:spPr bwMode="gray">
          <a:xfrm>
            <a:off x="3836369" y="3334423"/>
            <a:ext cx="7753846" cy="964800"/>
          </a:xfrm>
        </p:spPr>
        <p:txBody>
          <a:bodyPr lIns="108000" tIns="108000" rIns="0" bIns="0" anchor="t">
            <a:noAutofit/>
          </a:bodyPr>
          <a:lstStyle>
            <a:lvl1pPr algn="r">
              <a:defRPr sz="2400" cap="none" baseline="0">
                <a:solidFill>
                  <a:schemeClr val="bg2"/>
                </a:solidFill>
                <a:latin typeface="+mj-lt"/>
              </a:defRPr>
            </a:lvl1pPr>
          </a:lstStyle>
          <a:p>
            <a:r>
              <a:rPr lang="fr-FR" noProof="0"/>
              <a:t>Titre de votre chapitre</a:t>
            </a:r>
          </a:p>
        </p:txBody>
      </p:sp>
      <p:sp>
        <p:nvSpPr>
          <p:cNvPr id="6" name="Text Placeholder 4"/>
          <p:cNvSpPr>
            <a:spLocks noGrp="1"/>
          </p:cNvSpPr>
          <p:nvPr>
            <p:ph type="body" sz="quarter" idx="38" hasCustomPrompt="1"/>
          </p:nvPr>
        </p:nvSpPr>
        <p:spPr bwMode="gray">
          <a:xfrm>
            <a:off x="2787386" y="3334423"/>
            <a:ext cx="1050092" cy="964800"/>
          </a:xfrm>
          <a:prstGeom prst="rect">
            <a:avLst/>
          </a:prstGeom>
          <a:noFill/>
        </p:spPr>
        <p:txBody>
          <a:bodyPr lIns="0" rIns="0" anchor="t">
            <a:noAutofit/>
          </a:bodyPr>
          <a:lstStyle>
            <a:lvl1pPr marL="0" indent="-252000" algn="l">
              <a:lnSpc>
                <a:spcPct val="100000"/>
              </a:lnSpc>
              <a:spcBef>
                <a:spcPts val="400"/>
              </a:spcBef>
              <a:buClr>
                <a:schemeClr val="bg2"/>
              </a:buClr>
              <a:buFont typeface="Tempus Sans ITC" panose="04020404030D07020202" pitchFamily="82" charset="0"/>
              <a:buChar char="/"/>
              <a:defRPr sz="2400" b="1" i="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1</a:t>
            </a:r>
          </a:p>
        </p:txBody>
      </p:sp>
    </p:spTree>
    <p:extLst>
      <p:ext uri="{BB962C8B-B14F-4D97-AF65-F5344CB8AC3E}">
        <p14:creationId xmlns:p14="http://schemas.microsoft.com/office/powerpoint/2010/main" val="4235730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hapter Brown light">
    <p:bg>
      <p:bgPr>
        <a:solidFill>
          <a:schemeClr val="accent2"/>
        </a:solidFill>
        <a:effectLst/>
      </p:bgPr>
    </p:bg>
    <p:spTree>
      <p:nvGrpSpPr>
        <p:cNvPr id="1" name=""/>
        <p:cNvGrpSpPr/>
        <p:nvPr/>
      </p:nvGrpSpPr>
      <p:grpSpPr>
        <a:xfrm>
          <a:off x="0" y="0"/>
          <a:ext cx="0" cy="0"/>
          <a:chOff x="0" y="0"/>
          <a:chExt cx="0" cy="0"/>
        </a:xfrm>
      </p:grpSpPr>
      <p:pic>
        <p:nvPicPr>
          <p:cNvPr id="7" name="Image 11"/>
          <p:cNvPicPr>
            <a:picLocks noChangeAspect="1"/>
          </p:cNvPicPr>
          <p:nvPr userDrawn="1"/>
        </p:nvPicPr>
        <p:blipFill rotWithShape="1">
          <a:blip r:embed="rId2" cstate="print">
            <a:lum bright="70000" contrast="-70000"/>
            <a:extLst>
              <a:ext uri="{28A0092B-C50C-407E-A947-70E740481C1C}">
                <a14:useLocalDpi xmlns:a14="http://schemas.microsoft.com/office/drawing/2010/main"/>
              </a:ext>
            </a:extLst>
          </a:blip>
          <a:srcRect l="-1" t="1" r="-184259" b="-45082"/>
          <a:stretch/>
        </p:blipFill>
        <p:spPr>
          <a:xfrm>
            <a:off x="0" y="-1"/>
            <a:ext cx="12192000" cy="6856413"/>
          </a:xfrm>
          <a:prstGeom prst="rect">
            <a:avLst/>
          </a:prstGeom>
          <a:solidFill>
            <a:schemeClr val="accent1"/>
          </a:solidFill>
        </p:spPr>
      </p:pic>
      <p:sp>
        <p:nvSpPr>
          <p:cNvPr id="8" name="Espace réservé pour une image  35"/>
          <p:cNvSpPr>
            <a:spLocks noGrp="1"/>
          </p:cNvSpPr>
          <p:nvPr>
            <p:ph type="pic" sz="quarter" idx="10" hasCustomPrompt="1"/>
          </p:nvPr>
        </p:nvSpPr>
        <p:spPr bwMode="gray">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quer ici	&gt;&gt;</a:t>
            </a:r>
            <a:br>
              <a:rPr lang="fr-FR" noProof="0"/>
            </a:br>
            <a:r>
              <a:rPr lang="fr-FR" noProof="0"/>
              <a:t>pour insérer votre photo</a:t>
            </a:r>
          </a:p>
        </p:txBody>
      </p:sp>
      <p:sp>
        <p:nvSpPr>
          <p:cNvPr id="9" name="Titel 1"/>
          <p:cNvSpPr>
            <a:spLocks noGrp="1"/>
          </p:cNvSpPr>
          <p:nvPr>
            <p:ph type="title" hasCustomPrompt="1"/>
          </p:nvPr>
        </p:nvSpPr>
        <p:spPr bwMode="gray">
          <a:xfrm>
            <a:off x="3836369" y="3334423"/>
            <a:ext cx="7753846" cy="964800"/>
          </a:xfrm>
        </p:spPr>
        <p:txBody>
          <a:bodyPr lIns="108000" tIns="108000" rIns="0" bIns="0" anchor="t">
            <a:noAutofit/>
          </a:bodyPr>
          <a:lstStyle>
            <a:lvl1pPr algn="r">
              <a:defRPr sz="2400" cap="none" baseline="0">
                <a:solidFill>
                  <a:schemeClr val="bg1"/>
                </a:solidFill>
                <a:latin typeface="+mj-lt"/>
              </a:defRPr>
            </a:lvl1pPr>
          </a:lstStyle>
          <a:p>
            <a:r>
              <a:rPr lang="fr-FR" noProof="0"/>
              <a:t>Titre de votre chapitre</a:t>
            </a:r>
          </a:p>
        </p:txBody>
      </p:sp>
      <p:sp>
        <p:nvSpPr>
          <p:cNvPr id="6" name="Text Placeholder 4"/>
          <p:cNvSpPr>
            <a:spLocks noGrp="1"/>
          </p:cNvSpPr>
          <p:nvPr>
            <p:ph type="body" sz="quarter" idx="38" hasCustomPrompt="1"/>
          </p:nvPr>
        </p:nvSpPr>
        <p:spPr bwMode="gray">
          <a:xfrm>
            <a:off x="2787386" y="3334423"/>
            <a:ext cx="1050092" cy="964800"/>
          </a:xfrm>
          <a:prstGeom prst="rect">
            <a:avLst/>
          </a:prstGeom>
          <a:noFill/>
        </p:spPr>
        <p:txBody>
          <a:bodyPr lIns="0" rIns="0" anchor="t">
            <a:noAutofit/>
          </a:bodyPr>
          <a:lstStyle>
            <a:lvl1pPr marL="0" indent="-252000" algn="l">
              <a:lnSpc>
                <a:spcPct val="100000"/>
              </a:lnSpc>
              <a:spcBef>
                <a:spcPts val="400"/>
              </a:spcBef>
              <a:buClr>
                <a:schemeClr val="bg1"/>
              </a:buClr>
              <a:buFont typeface="Tempus Sans ITC" panose="04020404030D07020202" pitchFamily="82" charset="0"/>
              <a:buChar char="/"/>
              <a:defRPr sz="2400" b="1" i="0">
                <a:solidFill>
                  <a:schemeClr val="bg1"/>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1</a:t>
            </a:r>
          </a:p>
        </p:txBody>
      </p:sp>
    </p:spTree>
    <p:extLst>
      <p:ext uri="{BB962C8B-B14F-4D97-AF65-F5344CB8AC3E}">
        <p14:creationId xmlns:p14="http://schemas.microsoft.com/office/powerpoint/2010/main" val="13042047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Chapter Brown light">
    <p:bg>
      <p:bgPr>
        <a:solidFill>
          <a:schemeClr val="accent2"/>
        </a:solidFill>
        <a:effectLst/>
      </p:bgPr>
    </p:bg>
    <p:spTree>
      <p:nvGrpSpPr>
        <p:cNvPr id="1" name=""/>
        <p:cNvGrpSpPr/>
        <p:nvPr/>
      </p:nvGrpSpPr>
      <p:grpSpPr>
        <a:xfrm>
          <a:off x="0" y="0"/>
          <a:ext cx="0" cy="0"/>
          <a:chOff x="0" y="0"/>
          <a:chExt cx="0" cy="0"/>
        </a:xfrm>
      </p:grpSpPr>
      <p:pic>
        <p:nvPicPr>
          <p:cNvPr id="7" name="Image 11"/>
          <p:cNvPicPr>
            <a:picLocks noChangeAspect="1"/>
          </p:cNvPicPr>
          <p:nvPr userDrawn="1"/>
        </p:nvPicPr>
        <p:blipFill rotWithShape="1">
          <a:blip r:embed="rId2" cstate="print">
            <a:lum bright="70000" contrast="-70000"/>
            <a:extLst>
              <a:ext uri="{28A0092B-C50C-407E-A947-70E740481C1C}">
                <a14:useLocalDpi xmlns:a14="http://schemas.microsoft.com/office/drawing/2010/main"/>
              </a:ext>
            </a:extLst>
          </a:blip>
          <a:srcRect l="-1" t="1" r="-184259" b="-45082"/>
          <a:stretch/>
        </p:blipFill>
        <p:spPr>
          <a:xfrm>
            <a:off x="0" y="-1"/>
            <a:ext cx="12192000" cy="6856413"/>
          </a:xfrm>
          <a:prstGeom prst="rect">
            <a:avLst/>
          </a:prstGeom>
          <a:solidFill>
            <a:schemeClr val="accent2"/>
          </a:solidFill>
        </p:spPr>
      </p:pic>
      <p:sp>
        <p:nvSpPr>
          <p:cNvPr id="8" name="Espace réservé pour une image  35"/>
          <p:cNvSpPr>
            <a:spLocks noGrp="1"/>
          </p:cNvSpPr>
          <p:nvPr>
            <p:ph type="pic" sz="quarter" idx="10" hasCustomPrompt="1"/>
          </p:nvPr>
        </p:nvSpPr>
        <p:spPr bwMode="gray">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quer ici	&gt;&gt;</a:t>
            </a:r>
            <a:br>
              <a:rPr lang="fr-FR" noProof="0"/>
            </a:br>
            <a:r>
              <a:rPr lang="fr-FR" noProof="0"/>
              <a:t>pour insérer votre photo</a:t>
            </a:r>
          </a:p>
        </p:txBody>
      </p:sp>
      <p:sp>
        <p:nvSpPr>
          <p:cNvPr id="9" name="Titel 1"/>
          <p:cNvSpPr>
            <a:spLocks noGrp="1"/>
          </p:cNvSpPr>
          <p:nvPr>
            <p:ph type="title" hasCustomPrompt="1"/>
          </p:nvPr>
        </p:nvSpPr>
        <p:spPr bwMode="gray">
          <a:xfrm>
            <a:off x="3836369" y="3334423"/>
            <a:ext cx="7753846" cy="964800"/>
          </a:xfrm>
        </p:spPr>
        <p:txBody>
          <a:bodyPr lIns="108000" tIns="108000" rIns="0" bIns="0" anchor="t">
            <a:noAutofit/>
          </a:bodyPr>
          <a:lstStyle>
            <a:lvl1pPr algn="r">
              <a:defRPr sz="2400" cap="none" baseline="0">
                <a:solidFill>
                  <a:schemeClr val="bg1"/>
                </a:solidFill>
                <a:latin typeface="+mj-lt"/>
              </a:defRPr>
            </a:lvl1pPr>
          </a:lstStyle>
          <a:p>
            <a:r>
              <a:rPr lang="fr-FR" noProof="0"/>
              <a:t>Titre de votre chapitre</a:t>
            </a:r>
          </a:p>
        </p:txBody>
      </p:sp>
      <p:sp>
        <p:nvSpPr>
          <p:cNvPr id="6" name="Text Placeholder 4"/>
          <p:cNvSpPr>
            <a:spLocks noGrp="1"/>
          </p:cNvSpPr>
          <p:nvPr>
            <p:ph type="body" sz="quarter" idx="38" hasCustomPrompt="1"/>
          </p:nvPr>
        </p:nvSpPr>
        <p:spPr bwMode="gray">
          <a:xfrm>
            <a:off x="2787386" y="3334423"/>
            <a:ext cx="1050092" cy="964800"/>
          </a:xfrm>
          <a:prstGeom prst="rect">
            <a:avLst/>
          </a:prstGeom>
          <a:noFill/>
        </p:spPr>
        <p:txBody>
          <a:bodyPr lIns="0" rIns="0" anchor="t">
            <a:noAutofit/>
          </a:bodyPr>
          <a:lstStyle>
            <a:lvl1pPr marL="0" indent="-252000" algn="l">
              <a:lnSpc>
                <a:spcPct val="100000"/>
              </a:lnSpc>
              <a:spcBef>
                <a:spcPts val="400"/>
              </a:spcBef>
              <a:buClr>
                <a:schemeClr val="bg1"/>
              </a:buClr>
              <a:buFont typeface="Tempus Sans ITC" panose="04020404030D07020202" pitchFamily="82" charset="0"/>
              <a:buChar char="/"/>
              <a:defRPr sz="2400" b="1" i="0">
                <a:solidFill>
                  <a:schemeClr val="bg1"/>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noProof="0"/>
              <a:t>01</a:t>
            </a:r>
          </a:p>
        </p:txBody>
      </p:sp>
    </p:spTree>
    <p:extLst>
      <p:ext uri="{BB962C8B-B14F-4D97-AF65-F5344CB8AC3E}">
        <p14:creationId xmlns:p14="http://schemas.microsoft.com/office/powerpoint/2010/main" val="6595036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1310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6" name="Title 1"/>
          <p:cNvSpPr txBox="1">
            <a:spLocks/>
          </p:cNvSpPr>
          <p:nvPr userDrawn="1"/>
        </p:nvSpPr>
        <p:spPr>
          <a:xfrm>
            <a:off x="416540" y="404665"/>
            <a:ext cx="11342769" cy="863748"/>
          </a:xfrm>
          <a:prstGeom prst="rect">
            <a:avLst/>
          </a:prstGeom>
          <a:noFill/>
        </p:spPr>
        <p:txBody>
          <a:bodyPr vert="horz" lIns="108000" tIns="36000" rIns="108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2200" b="1" noProof="0"/>
              <a:t>AGENDA</a:t>
            </a:r>
          </a:p>
        </p:txBody>
      </p:sp>
      <p:grpSp>
        <p:nvGrpSpPr>
          <p:cNvPr id="55" name="SP Agenda Subsection" hidden="1"/>
          <p:cNvGrpSpPr/>
          <p:nvPr userDrawn="1"/>
        </p:nvGrpSpPr>
        <p:grpSpPr>
          <a:xfrm>
            <a:off x="2035550" y="2309294"/>
            <a:ext cx="9387664" cy="414000"/>
            <a:chOff x="1653884" y="1605908"/>
            <a:chExt cx="7627477" cy="414000"/>
          </a:xfrm>
        </p:grpSpPr>
        <p:sp>
          <p:nvSpPr>
            <p:cNvPr id="56" name="Textbox"/>
            <p:cNvSpPr txBox="1">
              <a:spLocks/>
            </p:cNvSpPr>
            <p:nvPr userDrawn="1"/>
          </p:nvSpPr>
          <p:spPr>
            <a:xfrm>
              <a:off x="1653884" y="1605908"/>
              <a:ext cx="6060908" cy="414000"/>
            </a:xfrm>
            <a:prstGeom prst="rect">
              <a:avLst/>
            </a:prstGeom>
          </p:spPr>
          <p:txBody>
            <a:bodyPr wrap="square" anchor="ctr">
              <a:normAutofit/>
            </a:bodyPr>
            <a:lstStyle>
              <a:lvl1pPr marL="0" indent="0" algn="l" defTabSz="914400" rtl="0" eaLnBrk="1" latinLnBrk="0" hangingPunct="1">
                <a:lnSpc>
                  <a:spcPct val="100000"/>
                </a:lnSpc>
                <a:spcBef>
                  <a:spcPts val="400"/>
                </a:spcBef>
                <a:buClr>
                  <a:schemeClr val="bg2"/>
                </a:buClr>
                <a:buFontTx/>
                <a:buNone/>
                <a:defRPr sz="2000" i="0" kern="1200" cap="none" baseline="0">
                  <a:solidFill>
                    <a:schemeClr val="bg2"/>
                  </a:solidFill>
                  <a:latin typeface="+mn-lt"/>
                  <a:ea typeface="+mn-ea"/>
                  <a:cs typeface="+mn-cs"/>
                </a:defRPr>
              </a:lvl1pPr>
              <a:lvl2pPr marL="0" indent="0" algn="l" defTabSz="914400" rtl="0" eaLnBrk="1" latinLnBrk="0" hangingPunct="1">
                <a:lnSpc>
                  <a:spcPct val="100000"/>
                </a:lnSpc>
                <a:spcBef>
                  <a:spcPts val="1200"/>
                </a:spcBef>
                <a:buFontTx/>
                <a:buNone/>
                <a:defRPr sz="1000" kern="1200">
                  <a:solidFill>
                    <a:schemeClr val="bg2"/>
                  </a:solidFill>
                  <a:latin typeface="+mn-lt"/>
                  <a:ea typeface="+mn-ea"/>
                  <a:cs typeface="+mn-cs"/>
                </a:defRPr>
              </a:lvl2pPr>
              <a:lvl3pPr marL="0" indent="0" algn="l" defTabSz="914400" rtl="0" eaLnBrk="1" latinLnBrk="0" hangingPunct="1">
                <a:lnSpc>
                  <a:spcPct val="100000"/>
                </a:lnSpc>
                <a:spcBef>
                  <a:spcPts val="500"/>
                </a:spcBef>
                <a:buFontTx/>
                <a:buNone/>
                <a:defRPr sz="1200" kern="1200">
                  <a:solidFill>
                    <a:schemeClr val="tx1"/>
                  </a:solidFill>
                  <a:latin typeface="+mn-lt"/>
                  <a:ea typeface="+mn-ea"/>
                  <a:cs typeface="+mn-cs"/>
                </a:defRPr>
              </a:lvl3pPr>
              <a:lvl4pPr marL="180000" indent="-180000" algn="l" defTabSz="914400" rtl="0" eaLnBrk="1" latinLnBrk="0" hangingPunct="1">
                <a:lnSpc>
                  <a:spcPct val="100000"/>
                </a:lnSpc>
                <a:spcBef>
                  <a:spcPts val="1200"/>
                </a:spcBef>
                <a:buClr>
                  <a:schemeClr val="bg2"/>
                </a:buClr>
                <a:buFont typeface="Tahoma" panose="020B0604030504040204" pitchFamily="34" charset="0"/>
                <a:buChar char="⁄"/>
                <a:defRPr sz="1200" kern="1200" cap="none" baseline="0">
                  <a:solidFill>
                    <a:schemeClr val="bg2"/>
                  </a:solidFill>
                  <a:latin typeface="+mn-lt"/>
                  <a:ea typeface="+mn-ea"/>
                  <a:cs typeface="+mn-cs"/>
                </a:defRPr>
              </a:lvl4pPr>
              <a:lvl5pPr marL="180000" indent="0" algn="l" defTabSz="914400" rtl="0" eaLnBrk="1" latinLnBrk="0" hangingPunct="1">
                <a:lnSpc>
                  <a:spcPct val="100000"/>
                </a:lnSpc>
                <a:spcBef>
                  <a:spcPts val="500"/>
                </a:spcBef>
                <a:buClr>
                  <a:schemeClr val="bg2"/>
                </a:buClr>
                <a:buFontTx/>
                <a:buNone/>
                <a:defRPr sz="1000" kern="1200">
                  <a:solidFill>
                    <a:schemeClr val="tx1"/>
                  </a:solidFill>
                  <a:latin typeface="+mn-lt"/>
                  <a:ea typeface="+mn-ea"/>
                  <a:cs typeface="+mn-cs"/>
                </a:defRPr>
              </a:lvl5pPr>
              <a:lvl6pPr marL="360000" indent="-180000" algn="l" defTabSz="914400" rtl="0" eaLnBrk="1" latinLnBrk="0" hangingPunct="1">
                <a:lnSpc>
                  <a:spcPct val="100000"/>
                </a:lnSpc>
                <a:spcBef>
                  <a:spcPts val="500"/>
                </a:spcBef>
                <a:buClr>
                  <a:schemeClr val="tx2"/>
                </a:buClr>
                <a:buFont typeface="Calibri" panose="020F0502020204030204" pitchFamily="34" charset="0"/>
                <a:buChar char="›"/>
                <a:defRPr lang="fr-FR" sz="1000" kern="1200" noProof="0" dirty="0" smtClean="0">
                  <a:solidFill>
                    <a:schemeClr val="tx2"/>
                  </a:solidFill>
                  <a:latin typeface="+mn-lt"/>
                  <a:ea typeface="+mn-ea"/>
                  <a:cs typeface="+mn-cs"/>
                </a:defRPr>
              </a:lvl6pPr>
              <a:lvl7pPr marL="358775" indent="0" algn="l" defTabSz="914400" rtl="0" eaLnBrk="1" latinLnBrk="0" hangingPunct="1">
                <a:lnSpc>
                  <a:spcPct val="100000"/>
                </a:lnSpc>
                <a:spcBef>
                  <a:spcPts val="500"/>
                </a:spcBef>
                <a:buClr>
                  <a:schemeClr val="bg2"/>
                </a:buClr>
                <a:buFontTx/>
                <a:buNone/>
                <a:defRPr lang="fr-FR" sz="1000" kern="1200" noProof="0" dirty="0" smtClean="0">
                  <a:solidFill>
                    <a:schemeClr val="tx1"/>
                  </a:solidFill>
                  <a:latin typeface="+mn-lt"/>
                  <a:ea typeface="+mn-ea"/>
                  <a:cs typeface="+mn-cs"/>
                </a:defRPr>
              </a:lvl7pPr>
              <a:lvl8pPr marL="352425" marR="0" indent="0" algn="l" defTabSz="914400" rtl="0" eaLnBrk="1" fontAlgn="auto" latinLnBrk="0" hangingPunct="1">
                <a:lnSpc>
                  <a:spcPct val="100000"/>
                </a:lnSpc>
                <a:spcBef>
                  <a:spcPts val="500"/>
                </a:spcBef>
                <a:spcAft>
                  <a:spcPts val="0"/>
                </a:spcAft>
                <a:buClr>
                  <a:schemeClr val="bg2"/>
                </a:buClr>
                <a:buSzTx/>
                <a:buFontTx/>
                <a:buNone/>
                <a:tabLst/>
                <a:defRPr lang="fr-FR" sz="1000" kern="1200" noProof="0" dirty="0" smtClean="0">
                  <a:solidFill>
                    <a:schemeClr val="tx1"/>
                  </a:solidFill>
                  <a:latin typeface="+mn-lt"/>
                  <a:ea typeface="+mn-ea"/>
                  <a:cs typeface="+mn-cs"/>
                </a:defRPr>
              </a:lvl8pPr>
              <a:lvl9pPr marL="360000" indent="0" algn="l" defTabSz="914400" rtl="0" eaLnBrk="1" latinLnBrk="0" hangingPunct="1">
                <a:lnSpc>
                  <a:spcPct val="100000"/>
                </a:lnSpc>
                <a:spcBef>
                  <a:spcPts val="500"/>
                </a:spcBef>
                <a:buFont typeface="Arial" panose="020B0604020202020204" pitchFamily="34" charset="0"/>
                <a:buNone/>
                <a:defRPr lang="fr-FR" sz="1000" kern="1200" noProof="0" dirty="0" smtClean="0">
                  <a:solidFill>
                    <a:schemeClr val="tx1"/>
                  </a:solidFill>
                  <a:latin typeface="+mn-lt"/>
                  <a:ea typeface="+mn-ea"/>
                  <a:cs typeface="+mn-cs"/>
                </a:defRPr>
              </a:lvl9pPr>
            </a:lstStyle>
            <a:p>
              <a:pPr marL="0" lvl="0" indent="0" algn="l" defTabSz="914400" rtl="0" eaLnBrk="1" latinLnBrk="0" hangingPunct="1">
                <a:lnSpc>
                  <a:spcPct val="100000"/>
                </a:lnSpc>
                <a:spcBef>
                  <a:spcPts val="1800"/>
                </a:spcBef>
                <a:buClr>
                  <a:schemeClr val="bg2"/>
                </a:buClr>
                <a:buFontTx/>
                <a:buNone/>
                <a:tabLst/>
              </a:pPr>
              <a:r>
                <a:rPr lang="fr-FR" sz="2000" i="0" kern="1200" cap="none" baseline="0">
                  <a:solidFill>
                    <a:schemeClr val="bg2"/>
                  </a:solidFill>
                  <a:latin typeface="+mn-lt"/>
                  <a:ea typeface="+mn-ea"/>
                  <a:cs typeface="+mn-cs"/>
                </a:rPr>
                <a:t>&lt;TEXT&gt;</a:t>
              </a:r>
            </a:p>
          </p:txBody>
        </p:sp>
        <p:sp>
          <p:nvSpPr>
            <p:cNvPr id="57" name="Textbox"/>
            <p:cNvSpPr txBox="1">
              <a:spLocks/>
            </p:cNvSpPr>
            <p:nvPr userDrawn="1"/>
          </p:nvSpPr>
          <p:spPr>
            <a:xfrm>
              <a:off x="8025063" y="1605908"/>
              <a:ext cx="1256298" cy="414000"/>
            </a:xfrm>
            <a:prstGeom prst="rect">
              <a:avLst/>
            </a:prstGeom>
          </p:spPr>
          <p:txBody>
            <a:bodyPr wrap="square" anchor="ctr">
              <a:normAutofit/>
            </a:bodyPr>
            <a:lstStyle>
              <a:lvl1pPr marL="0" indent="0" algn="l" defTabSz="914400" rtl="0" eaLnBrk="1" latinLnBrk="0" hangingPunct="1">
                <a:lnSpc>
                  <a:spcPct val="100000"/>
                </a:lnSpc>
                <a:spcBef>
                  <a:spcPts val="400"/>
                </a:spcBef>
                <a:buFontTx/>
                <a:buNone/>
                <a:defRPr sz="1000" b="0" i="0" kern="1200" cap="none" baseline="0">
                  <a:solidFill>
                    <a:schemeClr val="bg2"/>
                  </a:solidFill>
                  <a:latin typeface="+mn-lt"/>
                  <a:ea typeface="+mn-ea"/>
                  <a:cs typeface="+mn-cs"/>
                </a:defRPr>
              </a:lvl1pPr>
              <a:lvl2pPr marL="0" indent="0" algn="l" defTabSz="914400" rtl="0" eaLnBrk="1" latinLnBrk="0" hangingPunct="1">
                <a:lnSpc>
                  <a:spcPct val="100000"/>
                </a:lnSpc>
                <a:spcBef>
                  <a:spcPts val="1200"/>
                </a:spcBef>
                <a:buFontTx/>
                <a:buNone/>
                <a:defRPr sz="1000" kern="1200">
                  <a:solidFill>
                    <a:schemeClr val="bg2"/>
                  </a:solidFill>
                  <a:latin typeface="+mn-lt"/>
                  <a:ea typeface="+mn-ea"/>
                  <a:cs typeface="+mn-cs"/>
                </a:defRPr>
              </a:lvl2pPr>
              <a:lvl3pPr marL="0" indent="0" algn="l" defTabSz="914400" rtl="0" eaLnBrk="1" latinLnBrk="0" hangingPunct="1">
                <a:lnSpc>
                  <a:spcPct val="100000"/>
                </a:lnSpc>
                <a:spcBef>
                  <a:spcPts val="500"/>
                </a:spcBef>
                <a:buFontTx/>
                <a:buNone/>
                <a:defRPr sz="1200" kern="1200">
                  <a:solidFill>
                    <a:schemeClr val="tx1"/>
                  </a:solidFill>
                  <a:latin typeface="+mn-lt"/>
                  <a:ea typeface="+mn-ea"/>
                  <a:cs typeface="+mn-cs"/>
                </a:defRPr>
              </a:lvl3pPr>
              <a:lvl4pPr marL="180000" indent="-180000" algn="l" defTabSz="914400" rtl="0" eaLnBrk="1" latinLnBrk="0" hangingPunct="1">
                <a:lnSpc>
                  <a:spcPct val="100000"/>
                </a:lnSpc>
                <a:spcBef>
                  <a:spcPts val="1200"/>
                </a:spcBef>
                <a:buClr>
                  <a:schemeClr val="bg2"/>
                </a:buClr>
                <a:buFont typeface="Tahoma" panose="020B0604030504040204" pitchFamily="34" charset="0"/>
                <a:buChar char="⁄"/>
                <a:defRPr sz="1200" kern="1200" cap="none" baseline="0">
                  <a:solidFill>
                    <a:schemeClr val="bg2"/>
                  </a:solidFill>
                  <a:latin typeface="+mn-lt"/>
                  <a:ea typeface="+mn-ea"/>
                  <a:cs typeface="+mn-cs"/>
                </a:defRPr>
              </a:lvl4pPr>
              <a:lvl5pPr marL="180000" indent="0" algn="l" defTabSz="914400" rtl="0" eaLnBrk="1" latinLnBrk="0" hangingPunct="1">
                <a:lnSpc>
                  <a:spcPct val="100000"/>
                </a:lnSpc>
                <a:spcBef>
                  <a:spcPts val="500"/>
                </a:spcBef>
                <a:buClr>
                  <a:schemeClr val="bg2"/>
                </a:buClr>
                <a:buFontTx/>
                <a:buNone/>
                <a:defRPr sz="1000" kern="1200">
                  <a:solidFill>
                    <a:schemeClr val="tx1"/>
                  </a:solidFill>
                  <a:latin typeface="+mn-lt"/>
                  <a:ea typeface="+mn-ea"/>
                  <a:cs typeface="+mn-cs"/>
                </a:defRPr>
              </a:lvl5pPr>
              <a:lvl6pPr marL="360000" indent="-180000" algn="l" defTabSz="914400" rtl="0" eaLnBrk="1" latinLnBrk="0" hangingPunct="1">
                <a:lnSpc>
                  <a:spcPct val="100000"/>
                </a:lnSpc>
                <a:spcBef>
                  <a:spcPts val="500"/>
                </a:spcBef>
                <a:buClr>
                  <a:schemeClr val="tx2"/>
                </a:buClr>
                <a:buFont typeface="Calibri" panose="020F0502020204030204" pitchFamily="34" charset="0"/>
                <a:buChar char="›"/>
                <a:defRPr lang="fr-FR" sz="1000" kern="1200" noProof="0" dirty="0" smtClean="0">
                  <a:solidFill>
                    <a:schemeClr val="tx2"/>
                  </a:solidFill>
                  <a:latin typeface="+mn-lt"/>
                  <a:ea typeface="+mn-ea"/>
                  <a:cs typeface="+mn-cs"/>
                </a:defRPr>
              </a:lvl6pPr>
              <a:lvl7pPr marL="358775" indent="0" algn="l" defTabSz="914400" rtl="0" eaLnBrk="1" latinLnBrk="0" hangingPunct="1">
                <a:lnSpc>
                  <a:spcPct val="100000"/>
                </a:lnSpc>
                <a:spcBef>
                  <a:spcPts val="500"/>
                </a:spcBef>
                <a:buClr>
                  <a:schemeClr val="bg2"/>
                </a:buClr>
                <a:buFontTx/>
                <a:buNone/>
                <a:defRPr lang="fr-FR" sz="1000" kern="1200" noProof="0" dirty="0" smtClean="0">
                  <a:solidFill>
                    <a:schemeClr val="tx1"/>
                  </a:solidFill>
                  <a:latin typeface="+mn-lt"/>
                  <a:ea typeface="+mn-ea"/>
                  <a:cs typeface="+mn-cs"/>
                </a:defRPr>
              </a:lvl7pPr>
              <a:lvl8pPr marL="352425" marR="0" indent="0" algn="l" defTabSz="914400" rtl="0" eaLnBrk="1" fontAlgn="auto" latinLnBrk="0" hangingPunct="1">
                <a:lnSpc>
                  <a:spcPct val="100000"/>
                </a:lnSpc>
                <a:spcBef>
                  <a:spcPts val="500"/>
                </a:spcBef>
                <a:spcAft>
                  <a:spcPts val="0"/>
                </a:spcAft>
                <a:buClr>
                  <a:schemeClr val="bg2"/>
                </a:buClr>
                <a:buSzTx/>
                <a:buFontTx/>
                <a:buNone/>
                <a:tabLst/>
                <a:defRPr lang="fr-FR" sz="1000" kern="1200" noProof="0" dirty="0" smtClean="0">
                  <a:solidFill>
                    <a:schemeClr val="tx1"/>
                  </a:solidFill>
                  <a:latin typeface="+mn-lt"/>
                  <a:ea typeface="+mn-ea"/>
                  <a:cs typeface="+mn-cs"/>
                </a:defRPr>
              </a:lvl8pPr>
              <a:lvl9pPr marL="360000" indent="0" algn="l" defTabSz="914400" rtl="0" eaLnBrk="1" latinLnBrk="0" hangingPunct="1">
                <a:lnSpc>
                  <a:spcPct val="100000"/>
                </a:lnSpc>
                <a:spcBef>
                  <a:spcPts val="500"/>
                </a:spcBef>
                <a:buFont typeface="Arial" panose="020B0604020202020204" pitchFamily="34" charset="0"/>
                <a:buNone/>
                <a:defRPr lang="fr-FR" sz="1000" kern="1200" noProof="0" dirty="0" smtClean="0">
                  <a:solidFill>
                    <a:schemeClr val="tx1"/>
                  </a:solidFill>
                  <a:latin typeface="+mn-lt"/>
                  <a:ea typeface="+mn-ea"/>
                  <a:cs typeface="+mn-cs"/>
                </a:defRPr>
              </a:lvl9pPr>
            </a:lstStyle>
            <a:p>
              <a:r>
                <a:rPr lang="fr-FR" sz="1000"/>
                <a:t>Page &lt;P&gt;</a:t>
              </a:r>
            </a:p>
          </p:txBody>
        </p:sp>
      </p:grpSp>
      <p:grpSp>
        <p:nvGrpSpPr>
          <p:cNvPr id="37" name="SP Agenda Section" hidden="1"/>
          <p:cNvGrpSpPr/>
          <p:nvPr userDrawn="1"/>
        </p:nvGrpSpPr>
        <p:grpSpPr>
          <a:xfrm>
            <a:off x="447742" y="1358212"/>
            <a:ext cx="10975472" cy="414000"/>
            <a:chOff x="363790" y="1605908"/>
            <a:chExt cx="8917571" cy="414000"/>
          </a:xfrm>
        </p:grpSpPr>
        <p:sp>
          <p:nvSpPr>
            <p:cNvPr id="38" name="Textbox"/>
            <p:cNvSpPr txBox="1">
              <a:spLocks/>
            </p:cNvSpPr>
            <p:nvPr userDrawn="1"/>
          </p:nvSpPr>
          <p:spPr>
            <a:xfrm>
              <a:off x="1653884" y="1605908"/>
              <a:ext cx="6060908" cy="414000"/>
            </a:xfrm>
            <a:prstGeom prst="rect">
              <a:avLst/>
            </a:prstGeom>
          </p:spPr>
          <p:txBody>
            <a:bodyPr wrap="square" anchor="ctr">
              <a:normAutofit/>
            </a:bodyPr>
            <a:lstStyle>
              <a:lvl1pPr marL="0" indent="0" algn="l" defTabSz="914400" rtl="0" eaLnBrk="1" latinLnBrk="0" hangingPunct="1">
                <a:lnSpc>
                  <a:spcPct val="100000"/>
                </a:lnSpc>
                <a:spcBef>
                  <a:spcPts val="400"/>
                </a:spcBef>
                <a:buClr>
                  <a:schemeClr val="bg2"/>
                </a:buClr>
                <a:buFontTx/>
                <a:buNone/>
                <a:defRPr sz="2000" i="0" kern="1200" cap="none" baseline="0">
                  <a:solidFill>
                    <a:schemeClr val="bg2"/>
                  </a:solidFill>
                  <a:latin typeface="+mn-lt"/>
                  <a:ea typeface="+mn-ea"/>
                  <a:cs typeface="+mn-cs"/>
                </a:defRPr>
              </a:lvl1pPr>
              <a:lvl2pPr marL="0" indent="0" algn="l" defTabSz="914400" rtl="0" eaLnBrk="1" latinLnBrk="0" hangingPunct="1">
                <a:lnSpc>
                  <a:spcPct val="100000"/>
                </a:lnSpc>
                <a:spcBef>
                  <a:spcPts val="1200"/>
                </a:spcBef>
                <a:buFontTx/>
                <a:buNone/>
                <a:defRPr sz="1000" kern="1200">
                  <a:solidFill>
                    <a:schemeClr val="bg2"/>
                  </a:solidFill>
                  <a:latin typeface="+mn-lt"/>
                  <a:ea typeface="+mn-ea"/>
                  <a:cs typeface="+mn-cs"/>
                </a:defRPr>
              </a:lvl2pPr>
              <a:lvl3pPr marL="0" indent="0" algn="l" defTabSz="914400" rtl="0" eaLnBrk="1" latinLnBrk="0" hangingPunct="1">
                <a:lnSpc>
                  <a:spcPct val="100000"/>
                </a:lnSpc>
                <a:spcBef>
                  <a:spcPts val="500"/>
                </a:spcBef>
                <a:buFontTx/>
                <a:buNone/>
                <a:defRPr sz="1200" kern="1200">
                  <a:solidFill>
                    <a:schemeClr val="tx1"/>
                  </a:solidFill>
                  <a:latin typeface="+mn-lt"/>
                  <a:ea typeface="+mn-ea"/>
                  <a:cs typeface="+mn-cs"/>
                </a:defRPr>
              </a:lvl3pPr>
              <a:lvl4pPr marL="180000" indent="-180000" algn="l" defTabSz="914400" rtl="0" eaLnBrk="1" latinLnBrk="0" hangingPunct="1">
                <a:lnSpc>
                  <a:spcPct val="100000"/>
                </a:lnSpc>
                <a:spcBef>
                  <a:spcPts val="1200"/>
                </a:spcBef>
                <a:buClr>
                  <a:schemeClr val="bg2"/>
                </a:buClr>
                <a:buFont typeface="Tahoma" panose="020B0604030504040204" pitchFamily="34" charset="0"/>
                <a:buChar char="⁄"/>
                <a:defRPr sz="1200" kern="1200" cap="none" baseline="0">
                  <a:solidFill>
                    <a:schemeClr val="bg2"/>
                  </a:solidFill>
                  <a:latin typeface="+mn-lt"/>
                  <a:ea typeface="+mn-ea"/>
                  <a:cs typeface="+mn-cs"/>
                </a:defRPr>
              </a:lvl4pPr>
              <a:lvl5pPr marL="180000" indent="0" algn="l" defTabSz="914400" rtl="0" eaLnBrk="1" latinLnBrk="0" hangingPunct="1">
                <a:lnSpc>
                  <a:spcPct val="100000"/>
                </a:lnSpc>
                <a:spcBef>
                  <a:spcPts val="500"/>
                </a:spcBef>
                <a:buClr>
                  <a:schemeClr val="bg2"/>
                </a:buClr>
                <a:buFontTx/>
                <a:buNone/>
                <a:defRPr sz="1000" kern="1200">
                  <a:solidFill>
                    <a:schemeClr val="tx1"/>
                  </a:solidFill>
                  <a:latin typeface="+mn-lt"/>
                  <a:ea typeface="+mn-ea"/>
                  <a:cs typeface="+mn-cs"/>
                </a:defRPr>
              </a:lvl5pPr>
              <a:lvl6pPr marL="360000" indent="-180000" algn="l" defTabSz="914400" rtl="0" eaLnBrk="1" latinLnBrk="0" hangingPunct="1">
                <a:lnSpc>
                  <a:spcPct val="100000"/>
                </a:lnSpc>
                <a:spcBef>
                  <a:spcPts val="500"/>
                </a:spcBef>
                <a:buClr>
                  <a:schemeClr val="tx2"/>
                </a:buClr>
                <a:buFont typeface="Calibri" panose="020F0502020204030204" pitchFamily="34" charset="0"/>
                <a:buChar char="›"/>
                <a:defRPr lang="fr-FR" sz="1000" kern="1200" noProof="0" dirty="0" smtClean="0">
                  <a:solidFill>
                    <a:schemeClr val="tx2"/>
                  </a:solidFill>
                  <a:latin typeface="+mn-lt"/>
                  <a:ea typeface="+mn-ea"/>
                  <a:cs typeface="+mn-cs"/>
                </a:defRPr>
              </a:lvl6pPr>
              <a:lvl7pPr marL="358775" indent="0" algn="l" defTabSz="914400" rtl="0" eaLnBrk="1" latinLnBrk="0" hangingPunct="1">
                <a:lnSpc>
                  <a:spcPct val="100000"/>
                </a:lnSpc>
                <a:spcBef>
                  <a:spcPts val="500"/>
                </a:spcBef>
                <a:buClr>
                  <a:schemeClr val="bg2"/>
                </a:buClr>
                <a:buFontTx/>
                <a:buNone/>
                <a:defRPr lang="fr-FR" sz="1000" kern="1200" noProof="0" dirty="0" smtClean="0">
                  <a:solidFill>
                    <a:schemeClr val="tx1"/>
                  </a:solidFill>
                  <a:latin typeface="+mn-lt"/>
                  <a:ea typeface="+mn-ea"/>
                  <a:cs typeface="+mn-cs"/>
                </a:defRPr>
              </a:lvl7pPr>
              <a:lvl8pPr marL="352425" marR="0" indent="0" algn="l" defTabSz="914400" rtl="0" eaLnBrk="1" fontAlgn="auto" latinLnBrk="0" hangingPunct="1">
                <a:lnSpc>
                  <a:spcPct val="100000"/>
                </a:lnSpc>
                <a:spcBef>
                  <a:spcPts val="500"/>
                </a:spcBef>
                <a:spcAft>
                  <a:spcPts val="0"/>
                </a:spcAft>
                <a:buClr>
                  <a:schemeClr val="bg2"/>
                </a:buClr>
                <a:buSzTx/>
                <a:buFontTx/>
                <a:buNone/>
                <a:tabLst/>
                <a:defRPr lang="fr-FR" sz="1000" kern="1200" noProof="0" dirty="0" smtClean="0">
                  <a:solidFill>
                    <a:schemeClr val="tx1"/>
                  </a:solidFill>
                  <a:latin typeface="+mn-lt"/>
                  <a:ea typeface="+mn-ea"/>
                  <a:cs typeface="+mn-cs"/>
                </a:defRPr>
              </a:lvl8pPr>
              <a:lvl9pPr marL="360000" indent="0" algn="l" defTabSz="914400" rtl="0" eaLnBrk="1" latinLnBrk="0" hangingPunct="1">
                <a:lnSpc>
                  <a:spcPct val="100000"/>
                </a:lnSpc>
                <a:spcBef>
                  <a:spcPts val="500"/>
                </a:spcBef>
                <a:buFont typeface="Arial" panose="020B0604020202020204" pitchFamily="34" charset="0"/>
                <a:buNone/>
                <a:defRPr lang="fr-FR" sz="1000" kern="1200" noProof="0" dirty="0" smtClean="0">
                  <a:solidFill>
                    <a:schemeClr val="tx1"/>
                  </a:solidFill>
                  <a:latin typeface="+mn-lt"/>
                  <a:ea typeface="+mn-ea"/>
                  <a:cs typeface="+mn-cs"/>
                </a:defRPr>
              </a:lvl9pPr>
            </a:lstStyle>
            <a:p>
              <a:pPr marL="0" lvl="0" indent="0" algn="l" defTabSz="914400" rtl="0" eaLnBrk="1" latinLnBrk="0" hangingPunct="1">
                <a:lnSpc>
                  <a:spcPct val="100000"/>
                </a:lnSpc>
                <a:spcBef>
                  <a:spcPts val="1800"/>
                </a:spcBef>
                <a:buClr>
                  <a:schemeClr val="bg2"/>
                </a:buClr>
                <a:buFontTx/>
                <a:buNone/>
                <a:tabLst/>
              </a:pPr>
              <a:r>
                <a:rPr lang="fr-FR" sz="2000" i="0" kern="1200" cap="none" baseline="0">
                  <a:solidFill>
                    <a:schemeClr val="bg2"/>
                  </a:solidFill>
                  <a:latin typeface="+mn-lt"/>
                  <a:ea typeface="+mn-ea"/>
                  <a:cs typeface="+mn-cs"/>
                </a:rPr>
                <a:t>&lt;TEXT&gt;</a:t>
              </a:r>
            </a:p>
          </p:txBody>
        </p:sp>
        <p:sp>
          <p:nvSpPr>
            <p:cNvPr id="45" name="Textbox"/>
            <p:cNvSpPr txBox="1">
              <a:spLocks/>
            </p:cNvSpPr>
            <p:nvPr userDrawn="1"/>
          </p:nvSpPr>
          <p:spPr>
            <a:xfrm>
              <a:off x="8025063" y="1605908"/>
              <a:ext cx="1256298" cy="414000"/>
            </a:xfrm>
            <a:prstGeom prst="rect">
              <a:avLst/>
            </a:prstGeom>
          </p:spPr>
          <p:txBody>
            <a:bodyPr wrap="square" anchor="ctr">
              <a:normAutofit/>
            </a:bodyPr>
            <a:lstStyle>
              <a:lvl1pPr marL="0" indent="0" algn="l" defTabSz="914400" rtl="0" eaLnBrk="1" latinLnBrk="0" hangingPunct="1">
                <a:lnSpc>
                  <a:spcPct val="100000"/>
                </a:lnSpc>
                <a:spcBef>
                  <a:spcPts val="400"/>
                </a:spcBef>
                <a:buFontTx/>
                <a:buNone/>
                <a:defRPr sz="1000" b="0" i="0" kern="1200" cap="none" baseline="0">
                  <a:solidFill>
                    <a:schemeClr val="bg2"/>
                  </a:solidFill>
                  <a:latin typeface="+mn-lt"/>
                  <a:ea typeface="+mn-ea"/>
                  <a:cs typeface="+mn-cs"/>
                </a:defRPr>
              </a:lvl1pPr>
              <a:lvl2pPr marL="0" indent="0" algn="l" defTabSz="914400" rtl="0" eaLnBrk="1" latinLnBrk="0" hangingPunct="1">
                <a:lnSpc>
                  <a:spcPct val="100000"/>
                </a:lnSpc>
                <a:spcBef>
                  <a:spcPts val="1200"/>
                </a:spcBef>
                <a:buFontTx/>
                <a:buNone/>
                <a:defRPr sz="1000" kern="1200">
                  <a:solidFill>
                    <a:schemeClr val="bg2"/>
                  </a:solidFill>
                  <a:latin typeface="+mn-lt"/>
                  <a:ea typeface="+mn-ea"/>
                  <a:cs typeface="+mn-cs"/>
                </a:defRPr>
              </a:lvl2pPr>
              <a:lvl3pPr marL="0" indent="0" algn="l" defTabSz="914400" rtl="0" eaLnBrk="1" latinLnBrk="0" hangingPunct="1">
                <a:lnSpc>
                  <a:spcPct val="100000"/>
                </a:lnSpc>
                <a:spcBef>
                  <a:spcPts val="500"/>
                </a:spcBef>
                <a:buFontTx/>
                <a:buNone/>
                <a:defRPr sz="1200" kern="1200">
                  <a:solidFill>
                    <a:schemeClr val="tx1"/>
                  </a:solidFill>
                  <a:latin typeface="+mn-lt"/>
                  <a:ea typeface="+mn-ea"/>
                  <a:cs typeface="+mn-cs"/>
                </a:defRPr>
              </a:lvl3pPr>
              <a:lvl4pPr marL="180000" indent="-180000" algn="l" defTabSz="914400" rtl="0" eaLnBrk="1" latinLnBrk="0" hangingPunct="1">
                <a:lnSpc>
                  <a:spcPct val="100000"/>
                </a:lnSpc>
                <a:spcBef>
                  <a:spcPts val="1200"/>
                </a:spcBef>
                <a:buClr>
                  <a:schemeClr val="bg2"/>
                </a:buClr>
                <a:buFont typeface="Tahoma" panose="020B0604030504040204" pitchFamily="34" charset="0"/>
                <a:buChar char="⁄"/>
                <a:defRPr sz="1200" kern="1200" cap="none" baseline="0">
                  <a:solidFill>
                    <a:schemeClr val="bg2"/>
                  </a:solidFill>
                  <a:latin typeface="+mn-lt"/>
                  <a:ea typeface="+mn-ea"/>
                  <a:cs typeface="+mn-cs"/>
                </a:defRPr>
              </a:lvl4pPr>
              <a:lvl5pPr marL="180000" indent="0" algn="l" defTabSz="914400" rtl="0" eaLnBrk="1" latinLnBrk="0" hangingPunct="1">
                <a:lnSpc>
                  <a:spcPct val="100000"/>
                </a:lnSpc>
                <a:spcBef>
                  <a:spcPts val="500"/>
                </a:spcBef>
                <a:buClr>
                  <a:schemeClr val="bg2"/>
                </a:buClr>
                <a:buFontTx/>
                <a:buNone/>
                <a:defRPr sz="1000" kern="1200">
                  <a:solidFill>
                    <a:schemeClr val="tx1"/>
                  </a:solidFill>
                  <a:latin typeface="+mn-lt"/>
                  <a:ea typeface="+mn-ea"/>
                  <a:cs typeface="+mn-cs"/>
                </a:defRPr>
              </a:lvl5pPr>
              <a:lvl6pPr marL="360000" indent="-180000" algn="l" defTabSz="914400" rtl="0" eaLnBrk="1" latinLnBrk="0" hangingPunct="1">
                <a:lnSpc>
                  <a:spcPct val="100000"/>
                </a:lnSpc>
                <a:spcBef>
                  <a:spcPts val="500"/>
                </a:spcBef>
                <a:buClr>
                  <a:schemeClr val="tx2"/>
                </a:buClr>
                <a:buFont typeface="Calibri" panose="020F0502020204030204" pitchFamily="34" charset="0"/>
                <a:buChar char="›"/>
                <a:defRPr lang="fr-FR" sz="1000" kern="1200" noProof="0" dirty="0" smtClean="0">
                  <a:solidFill>
                    <a:schemeClr val="tx2"/>
                  </a:solidFill>
                  <a:latin typeface="+mn-lt"/>
                  <a:ea typeface="+mn-ea"/>
                  <a:cs typeface="+mn-cs"/>
                </a:defRPr>
              </a:lvl6pPr>
              <a:lvl7pPr marL="358775" indent="0" algn="l" defTabSz="914400" rtl="0" eaLnBrk="1" latinLnBrk="0" hangingPunct="1">
                <a:lnSpc>
                  <a:spcPct val="100000"/>
                </a:lnSpc>
                <a:spcBef>
                  <a:spcPts val="500"/>
                </a:spcBef>
                <a:buClr>
                  <a:schemeClr val="bg2"/>
                </a:buClr>
                <a:buFontTx/>
                <a:buNone/>
                <a:defRPr lang="fr-FR" sz="1000" kern="1200" noProof="0" dirty="0" smtClean="0">
                  <a:solidFill>
                    <a:schemeClr val="tx1"/>
                  </a:solidFill>
                  <a:latin typeface="+mn-lt"/>
                  <a:ea typeface="+mn-ea"/>
                  <a:cs typeface="+mn-cs"/>
                </a:defRPr>
              </a:lvl7pPr>
              <a:lvl8pPr marL="352425" marR="0" indent="0" algn="l" defTabSz="914400" rtl="0" eaLnBrk="1" fontAlgn="auto" latinLnBrk="0" hangingPunct="1">
                <a:lnSpc>
                  <a:spcPct val="100000"/>
                </a:lnSpc>
                <a:spcBef>
                  <a:spcPts val="500"/>
                </a:spcBef>
                <a:spcAft>
                  <a:spcPts val="0"/>
                </a:spcAft>
                <a:buClr>
                  <a:schemeClr val="bg2"/>
                </a:buClr>
                <a:buSzTx/>
                <a:buFontTx/>
                <a:buNone/>
                <a:tabLst/>
                <a:defRPr lang="fr-FR" sz="1000" kern="1200" noProof="0" dirty="0" smtClean="0">
                  <a:solidFill>
                    <a:schemeClr val="tx1"/>
                  </a:solidFill>
                  <a:latin typeface="+mn-lt"/>
                  <a:ea typeface="+mn-ea"/>
                  <a:cs typeface="+mn-cs"/>
                </a:defRPr>
              </a:lvl8pPr>
              <a:lvl9pPr marL="360000" indent="0" algn="l" defTabSz="914400" rtl="0" eaLnBrk="1" latinLnBrk="0" hangingPunct="1">
                <a:lnSpc>
                  <a:spcPct val="100000"/>
                </a:lnSpc>
                <a:spcBef>
                  <a:spcPts val="500"/>
                </a:spcBef>
                <a:buFont typeface="Arial" panose="020B0604020202020204" pitchFamily="34" charset="0"/>
                <a:buNone/>
                <a:defRPr lang="fr-FR" sz="1000" kern="1200" noProof="0" dirty="0" smtClean="0">
                  <a:solidFill>
                    <a:schemeClr val="tx1"/>
                  </a:solidFill>
                  <a:latin typeface="+mn-lt"/>
                  <a:ea typeface="+mn-ea"/>
                  <a:cs typeface="+mn-cs"/>
                </a:defRPr>
              </a:lvl9pPr>
            </a:lstStyle>
            <a:p>
              <a:r>
                <a:rPr lang="fr-FR" sz="1000"/>
                <a:t>Page &lt;P&gt;</a:t>
              </a:r>
            </a:p>
          </p:txBody>
        </p:sp>
        <p:sp>
          <p:nvSpPr>
            <p:cNvPr id="46" name="Textbox"/>
            <p:cNvSpPr txBox="1">
              <a:spLocks/>
            </p:cNvSpPr>
            <p:nvPr userDrawn="1"/>
          </p:nvSpPr>
          <p:spPr>
            <a:xfrm>
              <a:off x="363790" y="1605908"/>
              <a:ext cx="1080000" cy="414000"/>
            </a:xfrm>
            <a:prstGeom prst="rect">
              <a:avLst/>
            </a:prstGeom>
            <a:noFill/>
          </p:spPr>
          <p:txBody>
            <a:bodyPr wrap="square" anchor="ctr">
              <a:normAutofit/>
            </a:bodyPr>
            <a:lstStyle>
              <a:lvl1pPr marL="0" indent="-252000" algn="just" defTabSz="914400" rtl="0" eaLnBrk="1" latinLnBrk="0" hangingPunct="1">
                <a:lnSpc>
                  <a:spcPct val="100000"/>
                </a:lnSpc>
                <a:spcBef>
                  <a:spcPts val="400"/>
                </a:spcBef>
                <a:buClr>
                  <a:schemeClr val="bg2"/>
                </a:buClr>
                <a:buFont typeface="Tahoma" panose="020B0604030504040204" pitchFamily="34" charset="0"/>
                <a:buChar char="⁄"/>
                <a:defRPr sz="2000" b="1" i="0" kern="1200" cap="all" baseline="0">
                  <a:solidFill>
                    <a:schemeClr val="bg2"/>
                  </a:solidFill>
                  <a:latin typeface="+mn-lt"/>
                  <a:ea typeface="+mn-ea"/>
                  <a:cs typeface="+mn-cs"/>
                </a:defRPr>
              </a:lvl1pPr>
              <a:lvl2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a:solidFill>
                    <a:schemeClr val="bg2"/>
                  </a:solidFill>
                  <a:latin typeface="+mn-lt"/>
                  <a:ea typeface="+mn-ea"/>
                  <a:cs typeface="+mn-cs"/>
                </a:defRPr>
              </a:lvl2pPr>
              <a:lvl3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a:solidFill>
                    <a:schemeClr val="bg2"/>
                  </a:solidFill>
                  <a:latin typeface="+mn-lt"/>
                  <a:ea typeface="+mn-ea"/>
                  <a:cs typeface="+mn-cs"/>
                </a:defRPr>
              </a:lvl3pPr>
              <a:lvl4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cap="none" baseline="0">
                  <a:solidFill>
                    <a:schemeClr val="bg2"/>
                  </a:solidFill>
                  <a:latin typeface="+mn-lt"/>
                  <a:ea typeface="+mn-ea"/>
                  <a:cs typeface="+mn-cs"/>
                </a:defRPr>
              </a:lvl4pPr>
              <a:lvl5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a:solidFill>
                    <a:schemeClr val="bg2"/>
                  </a:solidFill>
                  <a:latin typeface="+mn-lt"/>
                  <a:ea typeface="+mn-ea"/>
                  <a:cs typeface="+mn-cs"/>
                </a:defRPr>
              </a:lvl5pPr>
              <a:lvl6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noProof="0">
                  <a:solidFill>
                    <a:schemeClr val="bg2"/>
                  </a:solidFill>
                  <a:latin typeface="+mn-lt"/>
                  <a:ea typeface="+mn-ea"/>
                  <a:cs typeface="+mn-cs"/>
                </a:defRPr>
              </a:lvl6pPr>
              <a:lvl7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baseline="0" noProof="0">
                  <a:solidFill>
                    <a:schemeClr val="bg2"/>
                  </a:solidFill>
                  <a:latin typeface="+mn-lt"/>
                  <a:ea typeface="+mn-ea"/>
                  <a:cs typeface="+mn-cs"/>
                </a:defRPr>
              </a:lvl7pPr>
              <a:lvl8pPr marL="0" marR="0" indent="-252000" algn="just" defTabSz="914400" rtl="0" eaLnBrk="1" fontAlgn="auto" latinLnBrk="0" hangingPunct="1">
                <a:lnSpc>
                  <a:spcPct val="100000"/>
                </a:lnSpc>
                <a:spcBef>
                  <a:spcPts val="400"/>
                </a:spcBef>
                <a:spcAft>
                  <a:spcPts val="0"/>
                </a:spcAft>
                <a:buClr>
                  <a:schemeClr val="accent1"/>
                </a:buClr>
                <a:buSzTx/>
                <a:buFont typeface="Tahoma" panose="020B0604030504040204" pitchFamily="34" charset="0"/>
                <a:buChar char="⁄"/>
                <a:tabLst/>
                <a:defRPr lang="fr-FR" sz="2000" b="1" i="0" kern="1200" baseline="0" noProof="0">
                  <a:solidFill>
                    <a:schemeClr val="bg2"/>
                  </a:solidFill>
                  <a:latin typeface="+mn-lt"/>
                  <a:ea typeface="+mn-ea"/>
                  <a:cs typeface="+mn-cs"/>
                </a:defRPr>
              </a:lvl8pPr>
              <a:lvl9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baseline="0" noProof="0">
                  <a:solidFill>
                    <a:schemeClr val="bg2"/>
                  </a:solidFill>
                  <a:latin typeface="+mn-lt"/>
                  <a:ea typeface="+mn-ea"/>
                  <a:cs typeface="+mn-cs"/>
                </a:defRPr>
              </a:lvl9pPr>
            </a:lstStyle>
            <a:p>
              <a:pPr marL="0" lvl="0" indent="-252000" algn="just" defTabSz="914400" rtl="0" eaLnBrk="1" latinLnBrk="0" hangingPunct="1">
                <a:lnSpc>
                  <a:spcPct val="100000"/>
                </a:lnSpc>
                <a:spcBef>
                  <a:spcPts val="400"/>
                </a:spcBef>
                <a:buClr>
                  <a:schemeClr val="bg2"/>
                </a:buClr>
                <a:buFont typeface="Tempus Sans ITC" panose="04020404030D07020202" pitchFamily="82" charset="0"/>
                <a:buChar char="/"/>
                <a:tabLst/>
              </a:pPr>
              <a:r>
                <a:rPr lang="fr-FR" sz="2000" b="1" i="0" kern="1200" cap="none" baseline="0">
                  <a:solidFill>
                    <a:schemeClr val="accent1"/>
                  </a:solidFill>
                  <a:latin typeface="+mn-lt"/>
                  <a:ea typeface="+mn-ea"/>
                  <a:cs typeface="+mn-cs"/>
                </a:rPr>
                <a:t>&lt;N&gt;</a:t>
              </a:r>
            </a:p>
          </p:txBody>
        </p:sp>
      </p:grpSp>
      <p:grpSp>
        <p:nvGrpSpPr>
          <p:cNvPr id="51" name="SP Agenda Section Highlight" hidden="1"/>
          <p:cNvGrpSpPr/>
          <p:nvPr userDrawn="1"/>
        </p:nvGrpSpPr>
        <p:grpSpPr>
          <a:xfrm>
            <a:off x="447742" y="1849612"/>
            <a:ext cx="10975472" cy="414000"/>
            <a:chOff x="363790" y="1605908"/>
            <a:chExt cx="8917571" cy="414000"/>
          </a:xfrm>
        </p:grpSpPr>
        <p:sp>
          <p:nvSpPr>
            <p:cNvPr id="52" name="Textbox"/>
            <p:cNvSpPr txBox="1">
              <a:spLocks/>
            </p:cNvSpPr>
            <p:nvPr userDrawn="1"/>
          </p:nvSpPr>
          <p:spPr>
            <a:xfrm>
              <a:off x="1653884" y="1605908"/>
              <a:ext cx="6060908" cy="414000"/>
            </a:xfrm>
            <a:prstGeom prst="rect">
              <a:avLst/>
            </a:prstGeom>
          </p:spPr>
          <p:txBody>
            <a:bodyPr wrap="square" anchor="ctr">
              <a:normAutofit/>
            </a:bodyPr>
            <a:lstStyle>
              <a:lvl1pPr marL="0" indent="0" algn="l" defTabSz="914400" rtl="0" eaLnBrk="1" latinLnBrk="0" hangingPunct="1">
                <a:lnSpc>
                  <a:spcPct val="100000"/>
                </a:lnSpc>
                <a:spcBef>
                  <a:spcPts val="400"/>
                </a:spcBef>
                <a:buClr>
                  <a:schemeClr val="bg2"/>
                </a:buClr>
                <a:buFontTx/>
                <a:buNone/>
                <a:defRPr sz="2000" i="0" kern="1200" cap="none" baseline="0">
                  <a:solidFill>
                    <a:schemeClr val="bg2"/>
                  </a:solidFill>
                  <a:latin typeface="+mn-lt"/>
                  <a:ea typeface="+mn-ea"/>
                  <a:cs typeface="+mn-cs"/>
                </a:defRPr>
              </a:lvl1pPr>
              <a:lvl2pPr marL="0" indent="0" algn="l" defTabSz="914400" rtl="0" eaLnBrk="1" latinLnBrk="0" hangingPunct="1">
                <a:lnSpc>
                  <a:spcPct val="100000"/>
                </a:lnSpc>
                <a:spcBef>
                  <a:spcPts val="1200"/>
                </a:spcBef>
                <a:buFontTx/>
                <a:buNone/>
                <a:defRPr sz="1000" kern="1200">
                  <a:solidFill>
                    <a:schemeClr val="bg2"/>
                  </a:solidFill>
                  <a:latin typeface="+mn-lt"/>
                  <a:ea typeface="+mn-ea"/>
                  <a:cs typeface="+mn-cs"/>
                </a:defRPr>
              </a:lvl2pPr>
              <a:lvl3pPr marL="0" indent="0" algn="l" defTabSz="914400" rtl="0" eaLnBrk="1" latinLnBrk="0" hangingPunct="1">
                <a:lnSpc>
                  <a:spcPct val="100000"/>
                </a:lnSpc>
                <a:spcBef>
                  <a:spcPts val="500"/>
                </a:spcBef>
                <a:buFontTx/>
                <a:buNone/>
                <a:defRPr sz="1200" kern="1200">
                  <a:solidFill>
                    <a:schemeClr val="tx1"/>
                  </a:solidFill>
                  <a:latin typeface="+mn-lt"/>
                  <a:ea typeface="+mn-ea"/>
                  <a:cs typeface="+mn-cs"/>
                </a:defRPr>
              </a:lvl3pPr>
              <a:lvl4pPr marL="180000" indent="-180000" algn="l" defTabSz="914400" rtl="0" eaLnBrk="1" latinLnBrk="0" hangingPunct="1">
                <a:lnSpc>
                  <a:spcPct val="100000"/>
                </a:lnSpc>
                <a:spcBef>
                  <a:spcPts val="1200"/>
                </a:spcBef>
                <a:buClr>
                  <a:schemeClr val="bg2"/>
                </a:buClr>
                <a:buFont typeface="Tahoma" panose="020B0604030504040204" pitchFamily="34" charset="0"/>
                <a:buChar char="⁄"/>
                <a:defRPr sz="1200" kern="1200" cap="none" baseline="0">
                  <a:solidFill>
                    <a:schemeClr val="bg2"/>
                  </a:solidFill>
                  <a:latin typeface="+mn-lt"/>
                  <a:ea typeface="+mn-ea"/>
                  <a:cs typeface="+mn-cs"/>
                </a:defRPr>
              </a:lvl4pPr>
              <a:lvl5pPr marL="180000" indent="0" algn="l" defTabSz="914400" rtl="0" eaLnBrk="1" latinLnBrk="0" hangingPunct="1">
                <a:lnSpc>
                  <a:spcPct val="100000"/>
                </a:lnSpc>
                <a:spcBef>
                  <a:spcPts val="500"/>
                </a:spcBef>
                <a:buClr>
                  <a:schemeClr val="bg2"/>
                </a:buClr>
                <a:buFontTx/>
                <a:buNone/>
                <a:defRPr sz="1000" kern="1200">
                  <a:solidFill>
                    <a:schemeClr val="tx1"/>
                  </a:solidFill>
                  <a:latin typeface="+mn-lt"/>
                  <a:ea typeface="+mn-ea"/>
                  <a:cs typeface="+mn-cs"/>
                </a:defRPr>
              </a:lvl5pPr>
              <a:lvl6pPr marL="360000" indent="-180000" algn="l" defTabSz="914400" rtl="0" eaLnBrk="1" latinLnBrk="0" hangingPunct="1">
                <a:lnSpc>
                  <a:spcPct val="100000"/>
                </a:lnSpc>
                <a:spcBef>
                  <a:spcPts val="500"/>
                </a:spcBef>
                <a:buClr>
                  <a:schemeClr val="tx2"/>
                </a:buClr>
                <a:buFont typeface="Calibri" panose="020F0502020204030204" pitchFamily="34" charset="0"/>
                <a:buChar char="›"/>
                <a:defRPr lang="fr-FR" sz="1000" kern="1200" noProof="0" dirty="0" smtClean="0">
                  <a:solidFill>
                    <a:schemeClr val="tx2"/>
                  </a:solidFill>
                  <a:latin typeface="+mn-lt"/>
                  <a:ea typeface="+mn-ea"/>
                  <a:cs typeface="+mn-cs"/>
                </a:defRPr>
              </a:lvl6pPr>
              <a:lvl7pPr marL="358775" indent="0" algn="l" defTabSz="914400" rtl="0" eaLnBrk="1" latinLnBrk="0" hangingPunct="1">
                <a:lnSpc>
                  <a:spcPct val="100000"/>
                </a:lnSpc>
                <a:spcBef>
                  <a:spcPts val="500"/>
                </a:spcBef>
                <a:buClr>
                  <a:schemeClr val="bg2"/>
                </a:buClr>
                <a:buFontTx/>
                <a:buNone/>
                <a:defRPr lang="fr-FR" sz="1000" kern="1200" noProof="0" dirty="0" smtClean="0">
                  <a:solidFill>
                    <a:schemeClr val="tx1"/>
                  </a:solidFill>
                  <a:latin typeface="+mn-lt"/>
                  <a:ea typeface="+mn-ea"/>
                  <a:cs typeface="+mn-cs"/>
                </a:defRPr>
              </a:lvl7pPr>
              <a:lvl8pPr marL="352425" marR="0" indent="0" algn="l" defTabSz="914400" rtl="0" eaLnBrk="1" fontAlgn="auto" latinLnBrk="0" hangingPunct="1">
                <a:lnSpc>
                  <a:spcPct val="100000"/>
                </a:lnSpc>
                <a:spcBef>
                  <a:spcPts val="500"/>
                </a:spcBef>
                <a:spcAft>
                  <a:spcPts val="0"/>
                </a:spcAft>
                <a:buClr>
                  <a:schemeClr val="bg2"/>
                </a:buClr>
                <a:buSzTx/>
                <a:buFontTx/>
                <a:buNone/>
                <a:tabLst/>
                <a:defRPr lang="fr-FR" sz="1000" kern="1200" noProof="0" dirty="0" smtClean="0">
                  <a:solidFill>
                    <a:schemeClr val="tx1"/>
                  </a:solidFill>
                  <a:latin typeface="+mn-lt"/>
                  <a:ea typeface="+mn-ea"/>
                  <a:cs typeface="+mn-cs"/>
                </a:defRPr>
              </a:lvl8pPr>
              <a:lvl9pPr marL="360000" indent="0" algn="l" defTabSz="914400" rtl="0" eaLnBrk="1" latinLnBrk="0" hangingPunct="1">
                <a:lnSpc>
                  <a:spcPct val="100000"/>
                </a:lnSpc>
                <a:spcBef>
                  <a:spcPts val="500"/>
                </a:spcBef>
                <a:buFont typeface="Arial" panose="020B0604020202020204" pitchFamily="34" charset="0"/>
                <a:buNone/>
                <a:defRPr lang="fr-FR" sz="1000" kern="1200" noProof="0" dirty="0" smtClean="0">
                  <a:solidFill>
                    <a:schemeClr val="tx1"/>
                  </a:solidFill>
                  <a:latin typeface="+mn-lt"/>
                  <a:ea typeface="+mn-ea"/>
                  <a:cs typeface="+mn-cs"/>
                </a:defRPr>
              </a:lvl9pPr>
            </a:lstStyle>
            <a:p>
              <a:pPr marL="0" lvl="0" indent="0" algn="l" defTabSz="914400" rtl="0" eaLnBrk="1" latinLnBrk="0" hangingPunct="1">
                <a:lnSpc>
                  <a:spcPct val="100000"/>
                </a:lnSpc>
                <a:spcBef>
                  <a:spcPts val="1800"/>
                </a:spcBef>
                <a:buClr>
                  <a:schemeClr val="bg2"/>
                </a:buClr>
                <a:buFontTx/>
                <a:buNone/>
                <a:tabLst/>
              </a:pPr>
              <a:r>
                <a:rPr lang="fr-FR" sz="2000" i="0" kern="1200" cap="none" baseline="0">
                  <a:solidFill>
                    <a:schemeClr val="bg2"/>
                  </a:solidFill>
                  <a:latin typeface="+mn-lt"/>
                  <a:ea typeface="+mn-ea"/>
                  <a:cs typeface="+mn-cs"/>
                </a:rPr>
                <a:t>&lt;TEXT&gt;</a:t>
              </a:r>
            </a:p>
          </p:txBody>
        </p:sp>
        <p:sp>
          <p:nvSpPr>
            <p:cNvPr id="53" name="Textbox"/>
            <p:cNvSpPr txBox="1">
              <a:spLocks/>
            </p:cNvSpPr>
            <p:nvPr userDrawn="1"/>
          </p:nvSpPr>
          <p:spPr>
            <a:xfrm>
              <a:off x="8025063" y="1605908"/>
              <a:ext cx="1256298" cy="414000"/>
            </a:xfrm>
            <a:prstGeom prst="rect">
              <a:avLst/>
            </a:prstGeom>
          </p:spPr>
          <p:txBody>
            <a:bodyPr wrap="square" anchor="ctr">
              <a:normAutofit/>
            </a:bodyPr>
            <a:lstStyle>
              <a:lvl1pPr marL="0" indent="0" algn="l" defTabSz="914400" rtl="0" eaLnBrk="1" latinLnBrk="0" hangingPunct="1">
                <a:lnSpc>
                  <a:spcPct val="100000"/>
                </a:lnSpc>
                <a:spcBef>
                  <a:spcPts val="400"/>
                </a:spcBef>
                <a:buFontTx/>
                <a:buNone/>
                <a:defRPr sz="1000" b="0" i="0" kern="1200" cap="none" baseline="0">
                  <a:solidFill>
                    <a:schemeClr val="bg2"/>
                  </a:solidFill>
                  <a:latin typeface="+mn-lt"/>
                  <a:ea typeface="+mn-ea"/>
                  <a:cs typeface="+mn-cs"/>
                </a:defRPr>
              </a:lvl1pPr>
              <a:lvl2pPr marL="0" indent="0" algn="l" defTabSz="914400" rtl="0" eaLnBrk="1" latinLnBrk="0" hangingPunct="1">
                <a:lnSpc>
                  <a:spcPct val="100000"/>
                </a:lnSpc>
                <a:spcBef>
                  <a:spcPts val="1200"/>
                </a:spcBef>
                <a:buFontTx/>
                <a:buNone/>
                <a:defRPr sz="1000" kern="1200">
                  <a:solidFill>
                    <a:schemeClr val="bg2"/>
                  </a:solidFill>
                  <a:latin typeface="+mn-lt"/>
                  <a:ea typeface="+mn-ea"/>
                  <a:cs typeface="+mn-cs"/>
                </a:defRPr>
              </a:lvl2pPr>
              <a:lvl3pPr marL="0" indent="0" algn="l" defTabSz="914400" rtl="0" eaLnBrk="1" latinLnBrk="0" hangingPunct="1">
                <a:lnSpc>
                  <a:spcPct val="100000"/>
                </a:lnSpc>
                <a:spcBef>
                  <a:spcPts val="500"/>
                </a:spcBef>
                <a:buFontTx/>
                <a:buNone/>
                <a:defRPr sz="1200" kern="1200">
                  <a:solidFill>
                    <a:schemeClr val="tx1"/>
                  </a:solidFill>
                  <a:latin typeface="+mn-lt"/>
                  <a:ea typeface="+mn-ea"/>
                  <a:cs typeface="+mn-cs"/>
                </a:defRPr>
              </a:lvl3pPr>
              <a:lvl4pPr marL="180000" indent="-180000" algn="l" defTabSz="914400" rtl="0" eaLnBrk="1" latinLnBrk="0" hangingPunct="1">
                <a:lnSpc>
                  <a:spcPct val="100000"/>
                </a:lnSpc>
                <a:spcBef>
                  <a:spcPts val="1200"/>
                </a:spcBef>
                <a:buClr>
                  <a:schemeClr val="bg2"/>
                </a:buClr>
                <a:buFont typeface="Tahoma" panose="020B0604030504040204" pitchFamily="34" charset="0"/>
                <a:buChar char="⁄"/>
                <a:defRPr sz="1200" kern="1200" cap="none" baseline="0">
                  <a:solidFill>
                    <a:schemeClr val="bg2"/>
                  </a:solidFill>
                  <a:latin typeface="+mn-lt"/>
                  <a:ea typeface="+mn-ea"/>
                  <a:cs typeface="+mn-cs"/>
                </a:defRPr>
              </a:lvl4pPr>
              <a:lvl5pPr marL="180000" indent="0" algn="l" defTabSz="914400" rtl="0" eaLnBrk="1" latinLnBrk="0" hangingPunct="1">
                <a:lnSpc>
                  <a:spcPct val="100000"/>
                </a:lnSpc>
                <a:spcBef>
                  <a:spcPts val="500"/>
                </a:spcBef>
                <a:buClr>
                  <a:schemeClr val="bg2"/>
                </a:buClr>
                <a:buFontTx/>
                <a:buNone/>
                <a:defRPr sz="1000" kern="1200">
                  <a:solidFill>
                    <a:schemeClr val="tx1"/>
                  </a:solidFill>
                  <a:latin typeface="+mn-lt"/>
                  <a:ea typeface="+mn-ea"/>
                  <a:cs typeface="+mn-cs"/>
                </a:defRPr>
              </a:lvl5pPr>
              <a:lvl6pPr marL="360000" indent="-180000" algn="l" defTabSz="914400" rtl="0" eaLnBrk="1" latinLnBrk="0" hangingPunct="1">
                <a:lnSpc>
                  <a:spcPct val="100000"/>
                </a:lnSpc>
                <a:spcBef>
                  <a:spcPts val="500"/>
                </a:spcBef>
                <a:buClr>
                  <a:schemeClr val="tx2"/>
                </a:buClr>
                <a:buFont typeface="Calibri" panose="020F0502020204030204" pitchFamily="34" charset="0"/>
                <a:buChar char="›"/>
                <a:defRPr lang="fr-FR" sz="1000" kern="1200" noProof="0" dirty="0" smtClean="0">
                  <a:solidFill>
                    <a:schemeClr val="tx2"/>
                  </a:solidFill>
                  <a:latin typeface="+mn-lt"/>
                  <a:ea typeface="+mn-ea"/>
                  <a:cs typeface="+mn-cs"/>
                </a:defRPr>
              </a:lvl6pPr>
              <a:lvl7pPr marL="358775" indent="0" algn="l" defTabSz="914400" rtl="0" eaLnBrk="1" latinLnBrk="0" hangingPunct="1">
                <a:lnSpc>
                  <a:spcPct val="100000"/>
                </a:lnSpc>
                <a:spcBef>
                  <a:spcPts val="500"/>
                </a:spcBef>
                <a:buClr>
                  <a:schemeClr val="bg2"/>
                </a:buClr>
                <a:buFontTx/>
                <a:buNone/>
                <a:defRPr lang="fr-FR" sz="1000" kern="1200" noProof="0" dirty="0" smtClean="0">
                  <a:solidFill>
                    <a:schemeClr val="tx1"/>
                  </a:solidFill>
                  <a:latin typeface="+mn-lt"/>
                  <a:ea typeface="+mn-ea"/>
                  <a:cs typeface="+mn-cs"/>
                </a:defRPr>
              </a:lvl7pPr>
              <a:lvl8pPr marL="352425" marR="0" indent="0" algn="l" defTabSz="914400" rtl="0" eaLnBrk="1" fontAlgn="auto" latinLnBrk="0" hangingPunct="1">
                <a:lnSpc>
                  <a:spcPct val="100000"/>
                </a:lnSpc>
                <a:spcBef>
                  <a:spcPts val="500"/>
                </a:spcBef>
                <a:spcAft>
                  <a:spcPts val="0"/>
                </a:spcAft>
                <a:buClr>
                  <a:schemeClr val="bg2"/>
                </a:buClr>
                <a:buSzTx/>
                <a:buFontTx/>
                <a:buNone/>
                <a:tabLst/>
                <a:defRPr lang="fr-FR" sz="1000" kern="1200" noProof="0" dirty="0" smtClean="0">
                  <a:solidFill>
                    <a:schemeClr val="tx1"/>
                  </a:solidFill>
                  <a:latin typeface="+mn-lt"/>
                  <a:ea typeface="+mn-ea"/>
                  <a:cs typeface="+mn-cs"/>
                </a:defRPr>
              </a:lvl8pPr>
              <a:lvl9pPr marL="360000" indent="0" algn="l" defTabSz="914400" rtl="0" eaLnBrk="1" latinLnBrk="0" hangingPunct="1">
                <a:lnSpc>
                  <a:spcPct val="100000"/>
                </a:lnSpc>
                <a:spcBef>
                  <a:spcPts val="500"/>
                </a:spcBef>
                <a:buFont typeface="Arial" panose="020B0604020202020204" pitchFamily="34" charset="0"/>
                <a:buNone/>
                <a:defRPr lang="fr-FR" sz="1000" kern="1200" noProof="0" dirty="0" smtClean="0">
                  <a:solidFill>
                    <a:schemeClr val="tx1"/>
                  </a:solidFill>
                  <a:latin typeface="+mn-lt"/>
                  <a:ea typeface="+mn-ea"/>
                  <a:cs typeface="+mn-cs"/>
                </a:defRPr>
              </a:lvl9pPr>
            </a:lstStyle>
            <a:p>
              <a:r>
                <a:rPr lang="fr-FR" sz="1000"/>
                <a:t>Page &lt;P&gt;</a:t>
              </a:r>
            </a:p>
          </p:txBody>
        </p:sp>
        <p:sp>
          <p:nvSpPr>
            <p:cNvPr id="54" name="Textbox"/>
            <p:cNvSpPr txBox="1">
              <a:spLocks/>
            </p:cNvSpPr>
            <p:nvPr userDrawn="1"/>
          </p:nvSpPr>
          <p:spPr>
            <a:xfrm>
              <a:off x="363790" y="1605908"/>
              <a:ext cx="1080000" cy="414000"/>
            </a:xfrm>
            <a:prstGeom prst="rect">
              <a:avLst/>
            </a:prstGeom>
            <a:noFill/>
          </p:spPr>
          <p:txBody>
            <a:bodyPr wrap="square" anchor="ctr">
              <a:normAutofit/>
            </a:bodyPr>
            <a:lstStyle>
              <a:lvl1pPr marL="0" indent="-252000" algn="just" defTabSz="914400" rtl="0" eaLnBrk="1" latinLnBrk="0" hangingPunct="1">
                <a:lnSpc>
                  <a:spcPct val="100000"/>
                </a:lnSpc>
                <a:spcBef>
                  <a:spcPts val="400"/>
                </a:spcBef>
                <a:buClr>
                  <a:schemeClr val="bg2"/>
                </a:buClr>
                <a:buFont typeface="Tahoma" panose="020B0604030504040204" pitchFamily="34" charset="0"/>
                <a:buChar char="⁄"/>
                <a:defRPr sz="2000" b="1" i="0" kern="1200" cap="all" baseline="0">
                  <a:solidFill>
                    <a:schemeClr val="bg2"/>
                  </a:solidFill>
                  <a:latin typeface="+mn-lt"/>
                  <a:ea typeface="+mn-ea"/>
                  <a:cs typeface="+mn-cs"/>
                </a:defRPr>
              </a:lvl1pPr>
              <a:lvl2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a:solidFill>
                    <a:schemeClr val="bg2"/>
                  </a:solidFill>
                  <a:latin typeface="+mn-lt"/>
                  <a:ea typeface="+mn-ea"/>
                  <a:cs typeface="+mn-cs"/>
                </a:defRPr>
              </a:lvl2pPr>
              <a:lvl3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a:solidFill>
                    <a:schemeClr val="bg2"/>
                  </a:solidFill>
                  <a:latin typeface="+mn-lt"/>
                  <a:ea typeface="+mn-ea"/>
                  <a:cs typeface="+mn-cs"/>
                </a:defRPr>
              </a:lvl3pPr>
              <a:lvl4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cap="none" baseline="0">
                  <a:solidFill>
                    <a:schemeClr val="bg2"/>
                  </a:solidFill>
                  <a:latin typeface="+mn-lt"/>
                  <a:ea typeface="+mn-ea"/>
                  <a:cs typeface="+mn-cs"/>
                </a:defRPr>
              </a:lvl4pPr>
              <a:lvl5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a:solidFill>
                    <a:schemeClr val="bg2"/>
                  </a:solidFill>
                  <a:latin typeface="+mn-lt"/>
                  <a:ea typeface="+mn-ea"/>
                  <a:cs typeface="+mn-cs"/>
                </a:defRPr>
              </a:lvl5pPr>
              <a:lvl6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noProof="0">
                  <a:solidFill>
                    <a:schemeClr val="bg2"/>
                  </a:solidFill>
                  <a:latin typeface="+mn-lt"/>
                  <a:ea typeface="+mn-ea"/>
                  <a:cs typeface="+mn-cs"/>
                </a:defRPr>
              </a:lvl6pPr>
              <a:lvl7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baseline="0" noProof="0">
                  <a:solidFill>
                    <a:schemeClr val="bg2"/>
                  </a:solidFill>
                  <a:latin typeface="+mn-lt"/>
                  <a:ea typeface="+mn-ea"/>
                  <a:cs typeface="+mn-cs"/>
                </a:defRPr>
              </a:lvl7pPr>
              <a:lvl8pPr marL="0" marR="0" indent="-252000" algn="just" defTabSz="914400" rtl="0" eaLnBrk="1" fontAlgn="auto" latinLnBrk="0" hangingPunct="1">
                <a:lnSpc>
                  <a:spcPct val="100000"/>
                </a:lnSpc>
                <a:spcBef>
                  <a:spcPts val="400"/>
                </a:spcBef>
                <a:spcAft>
                  <a:spcPts val="0"/>
                </a:spcAft>
                <a:buClr>
                  <a:schemeClr val="accent1"/>
                </a:buClr>
                <a:buSzTx/>
                <a:buFont typeface="Tahoma" panose="020B0604030504040204" pitchFamily="34" charset="0"/>
                <a:buChar char="⁄"/>
                <a:tabLst/>
                <a:defRPr lang="fr-FR" sz="2000" b="1" i="0" kern="1200" baseline="0" noProof="0">
                  <a:solidFill>
                    <a:schemeClr val="bg2"/>
                  </a:solidFill>
                  <a:latin typeface="+mn-lt"/>
                  <a:ea typeface="+mn-ea"/>
                  <a:cs typeface="+mn-cs"/>
                </a:defRPr>
              </a:lvl8pPr>
              <a:lvl9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baseline="0" noProof="0">
                  <a:solidFill>
                    <a:schemeClr val="bg2"/>
                  </a:solidFill>
                  <a:latin typeface="+mn-lt"/>
                  <a:ea typeface="+mn-ea"/>
                  <a:cs typeface="+mn-cs"/>
                </a:defRPr>
              </a:lvl9pPr>
            </a:lstStyle>
            <a:p>
              <a:pPr marL="0" lvl="0" indent="-252000" algn="just" defTabSz="914400" rtl="0" eaLnBrk="1" latinLnBrk="0" hangingPunct="1">
                <a:lnSpc>
                  <a:spcPct val="100000"/>
                </a:lnSpc>
                <a:spcBef>
                  <a:spcPts val="400"/>
                </a:spcBef>
                <a:buClr>
                  <a:schemeClr val="bg2"/>
                </a:buClr>
                <a:buFont typeface="Tempus Sans ITC" panose="04020404030D07020202" pitchFamily="82" charset="0"/>
                <a:buChar char="/"/>
                <a:tabLst/>
              </a:pPr>
              <a:r>
                <a:rPr lang="fr-FR" sz="2000" b="1" i="0" kern="1200" cap="none" baseline="0">
                  <a:solidFill>
                    <a:schemeClr val="accent1"/>
                  </a:solidFill>
                  <a:latin typeface="+mn-lt"/>
                  <a:ea typeface="+mn-ea"/>
                  <a:cs typeface="+mn-cs"/>
                </a:rPr>
                <a:t>&lt;N&gt;</a:t>
              </a:r>
            </a:p>
          </p:txBody>
        </p:sp>
      </p:grpSp>
      <p:grpSp>
        <p:nvGrpSpPr>
          <p:cNvPr id="66" name="SP Agenda Subsection Highlight" hidden="1"/>
          <p:cNvGrpSpPr/>
          <p:nvPr userDrawn="1"/>
        </p:nvGrpSpPr>
        <p:grpSpPr>
          <a:xfrm>
            <a:off x="2035550" y="2784835"/>
            <a:ext cx="9387664" cy="414000"/>
            <a:chOff x="1653884" y="1605908"/>
            <a:chExt cx="7627477" cy="414000"/>
          </a:xfrm>
        </p:grpSpPr>
        <p:sp>
          <p:nvSpPr>
            <p:cNvPr id="67" name="Textbox"/>
            <p:cNvSpPr txBox="1">
              <a:spLocks/>
            </p:cNvSpPr>
            <p:nvPr userDrawn="1"/>
          </p:nvSpPr>
          <p:spPr>
            <a:xfrm>
              <a:off x="1653884" y="1605908"/>
              <a:ext cx="6060908" cy="414000"/>
            </a:xfrm>
            <a:prstGeom prst="rect">
              <a:avLst/>
            </a:prstGeom>
          </p:spPr>
          <p:txBody>
            <a:bodyPr wrap="square" anchor="ctr">
              <a:normAutofit/>
            </a:bodyPr>
            <a:lstStyle>
              <a:lvl1pPr marL="0" indent="0" algn="l" defTabSz="914400" rtl="0" eaLnBrk="1" latinLnBrk="0" hangingPunct="1">
                <a:lnSpc>
                  <a:spcPct val="100000"/>
                </a:lnSpc>
                <a:spcBef>
                  <a:spcPts val="400"/>
                </a:spcBef>
                <a:buClr>
                  <a:schemeClr val="bg2"/>
                </a:buClr>
                <a:buFontTx/>
                <a:buNone/>
                <a:defRPr sz="2000" i="0" kern="1200" cap="none" baseline="0">
                  <a:solidFill>
                    <a:schemeClr val="bg2"/>
                  </a:solidFill>
                  <a:latin typeface="+mn-lt"/>
                  <a:ea typeface="+mn-ea"/>
                  <a:cs typeface="+mn-cs"/>
                </a:defRPr>
              </a:lvl1pPr>
              <a:lvl2pPr marL="0" indent="0" algn="l" defTabSz="914400" rtl="0" eaLnBrk="1" latinLnBrk="0" hangingPunct="1">
                <a:lnSpc>
                  <a:spcPct val="100000"/>
                </a:lnSpc>
                <a:spcBef>
                  <a:spcPts val="1200"/>
                </a:spcBef>
                <a:buFontTx/>
                <a:buNone/>
                <a:defRPr sz="1000" kern="1200">
                  <a:solidFill>
                    <a:schemeClr val="bg2"/>
                  </a:solidFill>
                  <a:latin typeface="+mn-lt"/>
                  <a:ea typeface="+mn-ea"/>
                  <a:cs typeface="+mn-cs"/>
                </a:defRPr>
              </a:lvl2pPr>
              <a:lvl3pPr marL="0" indent="0" algn="l" defTabSz="914400" rtl="0" eaLnBrk="1" latinLnBrk="0" hangingPunct="1">
                <a:lnSpc>
                  <a:spcPct val="100000"/>
                </a:lnSpc>
                <a:spcBef>
                  <a:spcPts val="500"/>
                </a:spcBef>
                <a:buFontTx/>
                <a:buNone/>
                <a:defRPr sz="1200" kern="1200">
                  <a:solidFill>
                    <a:schemeClr val="tx1"/>
                  </a:solidFill>
                  <a:latin typeface="+mn-lt"/>
                  <a:ea typeface="+mn-ea"/>
                  <a:cs typeface="+mn-cs"/>
                </a:defRPr>
              </a:lvl3pPr>
              <a:lvl4pPr marL="180000" indent="-180000" algn="l" defTabSz="914400" rtl="0" eaLnBrk="1" latinLnBrk="0" hangingPunct="1">
                <a:lnSpc>
                  <a:spcPct val="100000"/>
                </a:lnSpc>
                <a:spcBef>
                  <a:spcPts val="1200"/>
                </a:spcBef>
                <a:buClr>
                  <a:schemeClr val="bg2"/>
                </a:buClr>
                <a:buFont typeface="Tahoma" panose="020B0604030504040204" pitchFamily="34" charset="0"/>
                <a:buChar char="⁄"/>
                <a:defRPr sz="1200" kern="1200" cap="none" baseline="0">
                  <a:solidFill>
                    <a:schemeClr val="bg2"/>
                  </a:solidFill>
                  <a:latin typeface="+mn-lt"/>
                  <a:ea typeface="+mn-ea"/>
                  <a:cs typeface="+mn-cs"/>
                </a:defRPr>
              </a:lvl4pPr>
              <a:lvl5pPr marL="180000" indent="0" algn="l" defTabSz="914400" rtl="0" eaLnBrk="1" latinLnBrk="0" hangingPunct="1">
                <a:lnSpc>
                  <a:spcPct val="100000"/>
                </a:lnSpc>
                <a:spcBef>
                  <a:spcPts val="500"/>
                </a:spcBef>
                <a:buClr>
                  <a:schemeClr val="bg2"/>
                </a:buClr>
                <a:buFontTx/>
                <a:buNone/>
                <a:defRPr sz="1000" kern="1200">
                  <a:solidFill>
                    <a:schemeClr val="tx1"/>
                  </a:solidFill>
                  <a:latin typeface="+mn-lt"/>
                  <a:ea typeface="+mn-ea"/>
                  <a:cs typeface="+mn-cs"/>
                </a:defRPr>
              </a:lvl5pPr>
              <a:lvl6pPr marL="360000" indent="-180000" algn="l" defTabSz="914400" rtl="0" eaLnBrk="1" latinLnBrk="0" hangingPunct="1">
                <a:lnSpc>
                  <a:spcPct val="100000"/>
                </a:lnSpc>
                <a:spcBef>
                  <a:spcPts val="500"/>
                </a:spcBef>
                <a:buClr>
                  <a:schemeClr val="tx2"/>
                </a:buClr>
                <a:buFont typeface="Calibri" panose="020F0502020204030204" pitchFamily="34" charset="0"/>
                <a:buChar char="›"/>
                <a:defRPr lang="fr-FR" sz="1000" kern="1200" noProof="0" dirty="0" smtClean="0">
                  <a:solidFill>
                    <a:schemeClr val="tx2"/>
                  </a:solidFill>
                  <a:latin typeface="+mn-lt"/>
                  <a:ea typeface="+mn-ea"/>
                  <a:cs typeface="+mn-cs"/>
                </a:defRPr>
              </a:lvl6pPr>
              <a:lvl7pPr marL="358775" indent="0" algn="l" defTabSz="914400" rtl="0" eaLnBrk="1" latinLnBrk="0" hangingPunct="1">
                <a:lnSpc>
                  <a:spcPct val="100000"/>
                </a:lnSpc>
                <a:spcBef>
                  <a:spcPts val="500"/>
                </a:spcBef>
                <a:buClr>
                  <a:schemeClr val="bg2"/>
                </a:buClr>
                <a:buFontTx/>
                <a:buNone/>
                <a:defRPr lang="fr-FR" sz="1000" kern="1200" noProof="0" dirty="0" smtClean="0">
                  <a:solidFill>
                    <a:schemeClr val="tx1"/>
                  </a:solidFill>
                  <a:latin typeface="+mn-lt"/>
                  <a:ea typeface="+mn-ea"/>
                  <a:cs typeface="+mn-cs"/>
                </a:defRPr>
              </a:lvl7pPr>
              <a:lvl8pPr marL="352425" marR="0" indent="0" algn="l" defTabSz="914400" rtl="0" eaLnBrk="1" fontAlgn="auto" latinLnBrk="0" hangingPunct="1">
                <a:lnSpc>
                  <a:spcPct val="100000"/>
                </a:lnSpc>
                <a:spcBef>
                  <a:spcPts val="500"/>
                </a:spcBef>
                <a:spcAft>
                  <a:spcPts val="0"/>
                </a:spcAft>
                <a:buClr>
                  <a:schemeClr val="bg2"/>
                </a:buClr>
                <a:buSzTx/>
                <a:buFontTx/>
                <a:buNone/>
                <a:tabLst/>
                <a:defRPr lang="fr-FR" sz="1000" kern="1200" noProof="0" dirty="0" smtClean="0">
                  <a:solidFill>
                    <a:schemeClr val="tx1"/>
                  </a:solidFill>
                  <a:latin typeface="+mn-lt"/>
                  <a:ea typeface="+mn-ea"/>
                  <a:cs typeface="+mn-cs"/>
                </a:defRPr>
              </a:lvl8pPr>
              <a:lvl9pPr marL="360000" indent="0" algn="l" defTabSz="914400" rtl="0" eaLnBrk="1" latinLnBrk="0" hangingPunct="1">
                <a:lnSpc>
                  <a:spcPct val="100000"/>
                </a:lnSpc>
                <a:spcBef>
                  <a:spcPts val="500"/>
                </a:spcBef>
                <a:buFont typeface="Arial" panose="020B0604020202020204" pitchFamily="34" charset="0"/>
                <a:buNone/>
                <a:defRPr lang="fr-FR" sz="1000" kern="1200" noProof="0" dirty="0" smtClean="0">
                  <a:solidFill>
                    <a:schemeClr val="tx1"/>
                  </a:solidFill>
                  <a:latin typeface="+mn-lt"/>
                  <a:ea typeface="+mn-ea"/>
                  <a:cs typeface="+mn-cs"/>
                </a:defRPr>
              </a:lvl9pPr>
            </a:lstStyle>
            <a:p>
              <a:pPr marL="0" lvl="0" indent="0" algn="l" defTabSz="914400" rtl="0" eaLnBrk="1" latinLnBrk="0" hangingPunct="1">
                <a:lnSpc>
                  <a:spcPct val="100000"/>
                </a:lnSpc>
                <a:spcBef>
                  <a:spcPts val="1800"/>
                </a:spcBef>
                <a:buClr>
                  <a:schemeClr val="bg2"/>
                </a:buClr>
                <a:buFontTx/>
                <a:buNone/>
                <a:tabLst/>
              </a:pPr>
              <a:r>
                <a:rPr lang="fr-FR" sz="2000" i="0" kern="1200" cap="none" baseline="0">
                  <a:solidFill>
                    <a:schemeClr val="bg2"/>
                  </a:solidFill>
                  <a:latin typeface="+mn-lt"/>
                  <a:ea typeface="+mn-ea"/>
                  <a:cs typeface="+mn-cs"/>
                </a:rPr>
                <a:t>&lt;TEXT&gt;</a:t>
              </a:r>
            </a:p>
          </p:txBody>
        </p:sp>
        <p:sp>
          <p:nvSpPr>
            <p:cNvPr id="68" name="Textbox"/>
            <p:cNvSpPr txBox="1">
              <a:spLocks/>
            </p:cNvSpPr>
            <p:nvPr userDrawn="1"/>
          </p:nvSpPr>
          <p:spPr>
            <a:xfrm>
              <a:off x="8025063" y="1605908"/>
              <a:ext cx="1256298" cy="414000"/>
            </a:xfrm>
            <a:prstGeom prst="rect">
              <a:avLst/>
            </a:prstGeom>
          </p:spPr>
          <p:txBody>
            <a:bodyPr wrap="square" anchor="ctr">
              <a:normAutofit/>
            </a:bodyPr>
            <a:lstStyle>
              <a:lvl1pPr marL="0" indent="0" algn="l" defTabSz="914400" rtl="0" eaLnBrk="1" latinLnBrk="0" hangingPunct="1">
                <a:lnSpc>
                  <a:spcPct val="100000"/>
                </a:lnSpc>
                <a:spcBef>
                  <a:spcPts val="400"/>
                </a:spcBef>
                <a:buFontTx/>
                <a:buNone/>
                <a:defRPr sz="1000" b="0" i="0" kern="1200" cap="none" baseline="0">
                  <a:solidFill>
                    <a:schemeClr val="bg2"/>
                  </a:solidFill>
                  <a:latin typeface="+mn-lt"/>
                  <a:ea typeface="+mn-ea"/>
                  <a:cs typeface="+mn-cs"/>
                </a:defRPr>
              </a:lvl1pPr>
              <a:lvl2pPr marL="0" indent="0" algn="l" defTabSz="914400" rtl="0" eaLnBrk="1" latinLnBrk="0" hangingPunct="1">
                <a:lnSpc>
                  <a:spcPct val="100000"/>
                </a:lnSpc>
                <a:spcBef>
                  <a:spcPts val="1200"/>
                </a:spcBef>
                <a:buFontTx/>
                <a:buNone/>
                <a:defRPr sz="1000" kern="1200">
                  <a:solidFill>
                    <a:schemeClr val="bg2"/>
                  </a:solidFill>
                  <a:latin typeface="+mn-lt"/>
                  <a:ea typeface="+mn-ea"/>
                  <a:cs typeface="+mn-cs"/>
                </a:defRPr>
              </a:lvl2pPr>
              <a:lvl3pPr marL="0" indent="0" algn="l" defTabSz="914400" rtl="0" eaLnBrk="1" latinLnBrk="0" hangingPunct="1">
                <a:lnSpc>
                  <a:spcPct val="100000"/>
                </a:lnSpc>
                <a:spcBef>
                  <a:spcPts val="500"/>
                </a:spcBef>
                <a:buFontTx/>
                <a:buNone/>
                <a:defRPr sz="1200" kern="1200">
                  <a:solidFill>
                    <a:schemeClr val="tx1"/>
                  </a:solidFill>
                  <a:latin typeface="+mn-lt"/>
                  <a:ea typeface="+mn-ea"/>
                  <a:cs typeface="+mn-cs"/>
                </a:defRPr>
              </a:lvl3pPr>
              <a:lvl4pPr marL="180000" indent="-180000" algn="l" defTabSz="914400" rtl="0" eaLnBrk="1" latinLnBrk="0" hangingPunct="1">
                <a:lnSpc>
                  <a:spcPct val="100000"/>
                </a:lnSpc>
                <a:spcBef>
                  <a:spcPts val="1200"/>
                </a:spcBef>
                <a:buClr>
                  <a:schemeClr val="bg2"/>
                </a:buClr>
                <a:buFont typeface="Tahoma" panose="020B0604030504040204" pitchFamily="34" charset="0"/>
                <a:buChar char="⁄"/>
                <a:defRPr sz="1200" kern="1200" cap="none" baseline="0">
                  <a:solidFill>
                    <a:schemeClr val="bg2"/>
                  </a:solidFill>
                  <a:latin typeface="+mn-lt"/>
                  <a:ea typeface="+mn-ea"/>
                  <a:cs typeface="+mn-cs"/>
                </a:defRPr>
              </a:lvl4pPr>
              <a:lvl5pPr marL="180000" indent="0" algn="l" defTabSz="914400" rtl="0" eaLnBrk="1" latinLnBrk="0" hangingPunct="1">
                <a:lnSpc>
                  <a:spcPct val="100000"/>
                </a:lnSpc>
                <a:spcBef>
                  <a:spcPts val="500"/>
                </a:spcBef>
                <a:buClr>
                  <a:schemeClr val="bg2"/>
                </a:buClr>
                <a:buFontTx/>
                <a:buNone/>
                <a:defRPr sz="1000" kern="1200">
                  <a:solidFill>
                    <a:schemeClr val="tx1"/>
                  </a:solidFill>
                  <a:latin typeface="+mn-lt"/>
                  <a:ea typeface="+mn-ea"/>
                  <a:cs typeface="+mn-cs"/>
                </a:defRPr>
              </a:lvl5pPr>
              <a:lvl6pPr marL="360000" indent="-180000" algn="l" defTabSz="914400" rtl="0" eaLnBrk="1" latinLnBrk="0" hangingPunct="1">
                <a:lnSpc>
                  <a:spcPct val="100000"/>
                </a:lnSpc>
                <a:spcBef>
                  <a:spcPts val="500"/>
                </a:spcBef>
                <a:buClr>
                  <a:schemeClr val="tx2"/>
                </a:buClr>
                <a:buFont typeface="Calibri" panose="020F0502020204030204" pitchFamily="34" charset="0"/>
                <a:buChar char="›"/>
                <a:defRPr lang="fr-FR" sz="1000" kern="1200" noProof="0" dirty="0" smtClean="0">
                  <a:solidFill>
                    <a:schemeClr val="tx2"/>
                  </a:solidFill>
                  <a:latin typeface="+mn-lt"/>
                  <a:ea typeface="+mn-ea"/>
                  <a:cs typeface="+mn-cs"/>
                </a:defRPr>
              </a:lvl6pPr>
              <a:lvl7pPr marL="358775" indent="0" algn="l" defTabSz="914400" rtl="0" eaLnBrk="1" latinLnBrk="0" hangingPunct="1">
                <a:lnSpc>
                  <a:spcPct val="100000"/>
                </a:lnSpc>
                <a:spcBef>
                  <a:spcPts val="500"/>
                </a:spcBef>
                <a:buClr>
                  <a:schemeClr val="bg2"/>
                </a:buClr>
                <a:buFontTx/>
                <a:buNone/>
                <a:defRPr lang="fr-FR" sz="1000" kern="1200" noProof="0" dirty="0" smtClean="0">
                  <a:solidFill>
                    <a:schemeClr val="tx1"/>
                  </a:solidFill>
                  <a:latin typeface="+mn-lt"/>
                  <a:ea typeface="+mn-ea"/>
                  <a:cs typeface="+mn-cs"/>
                </a:defRPr>
              </a:lvl7pPr>
              <a:lvl8pPr marL="352425" marR="0" indent="0" algn="l" defTabSz="914400" rtl="0" eaLnBrk="1" fontAlgn="auto" latinLnBrk="0" hangingPunct="1">
                <a:lnSpc>
                  <a:spcPct val="100000"/>
                </a:lnSpc>
                <a:spcBef>
                  <a:spcPts val="500"/>
                </a:spcBef>
                <a:spcAft>
                  <a:spcPts val="0"/>
                </a:spcAft>
                <a:buClr>
                  <a:schemeClr val="bg2"/>
                </a:buClr>
                <a:buSzTx/>
                <a:buFontTx/>
                <a:buNone/>
                <a:tabLst/>
                <a:defRPr lang="fr-FR" sz="1000" kern="1200" noProof="0" dirty="0" smtClean="0">
                  <a:solidFill>
                    <a:schemeClr val="tx1"/>
                  </a:solidFill>
                  <a:latin typeface="+mn-lt"/>
                  <a:ea typeface="+mn-ea"/>
                  <a:cs typeface="+mn-cs"/>
                </a:defRPr>
              </a:lvl8pPr>
              <a:lvl9pPr marL="360000" indent="0" algn="l" defTabSz="914400" rtl="0" eaLnBrk="1" latinLnBrk="0" hangingPunct="1">
                <a:lnSpc>
                  <a:spcPct val="100000"/>
                </a:lnSpc>
                <a:spcBef>
                  <a:spcPts val="500"/>
                </a:spcBef>
                <a:buFont typeface="Arial" panose="020B0604020202020204" pitchFamily="34" charset="0"/>
                <a:buNone/>
                <a:defRPr lang="fr-FR" sz="1000" kern="1200" noProof="0" dirty="0" smtClean="0">
                  <a:solidFill>
                    <a:schemeClr val="tx1"/>
                  </a:solidFill>
                  <a:latin typeface="+mn-lt"/>
                  <a:ea typeface="+mn-ea"/>
                  <a:cs typeface="+mn-cs"/>
                </a:defRPr>
              </a:lvl9pPr>
            </a:lstStyle>
            <a:p>
              <a:r>
                <a:rPr lang="fr-FR" sz="1000"/>
                <a:t>Page &lt;P&gt;</a:t>
              </a:r>
            </a:p>
          </p:txBody>
        </p:sp>
      </p:grpSp>
    </p:spTree>
    <p:extLst>
      <p:ext uri="{BB962C8B-B14F-4D97-AF65-F5344CB8AC3E}">
        <p14:creationId xmlns:p14="http://schemas.microsoft.com/office/powerpoint/2010/main" val="14416491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lat Text left + Text right">
    <p:spTree>
      <p:nvGrpSpPr>
        <p:cNvPr id="1" name=""/>
        <p:cNvGrpSpPr/>
        <p:nvPr/>
      </p:nvGrpSpPr>
      <p:grpSpPr>
        <a:xfrm>
          <a:off x="0" y="0"/>
          <a:ext cx="0" cy="0"/>
          <a:chOff x="0" y="0"/>
          <a:chExt cx="0" cy="0"/>
        </a:xfrm>
      </p:grpSpPr>
      <p:sp>
        <p:nvSpPr>
          <p:cNvPr id="6" name="Content Placeholder 4"/>
          <p:cNvSpPr>
            <a:spLocks noGrp="1"/>
          </p:cNvSpPr>
          <p:nvPr>
            <p:ph sz="quarter" idx="14" hasCustomPrompt="1"/>
          </p:nvPr>
        </p:nvSpPr>
        <p:spPr>
          <a:xfrm>
            <a:off x="416541" y="1268413"/>
            <a:ext cx="5502209" cy="4968000"/>
          </a:xfrm>
          <a:prstGeom prst="rect">
            <a:avLst/>
          </a:prstGeom>
          <a:solidFill>
            <a:srgbClr val="F4F3F0"/>
          </a:solidFill>
        </p:spPr>
        <p:txBody>
          <a:bodyPr lIns="108000" tIns="108000" rIns="108000" bIns="108000"/>
          <a:lstStyle>
            <a:lvl1pPr marL="0" marR="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solidFill>
                  <a:schemeClr val="bg2"/>
                </a:solidFill>
              </a:defRPr>
            </a:lvl1pPr>
            <a:lvl2pPr marL="358775" marR="0"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solidFill>
                  <a:schemeClr val="tx1"/>
                </a:solidFill>
              </a:defRPr>
            </a:lvl2pPr>
            <a:lvl3pPr marL="360000" marR="0" indent="0" algn="just" defTabSz="914400" rtl="0" eaLnBrk="1" fontAlgn="auto" latinLnBrk="0" hangingPunct="1">
              <a:lnSpc>
                <a:spcPct val="100000"/>
              </a:lnSpc>
              <a:spcBef>
                <a:spcPts val="600"/>
              </a:spcBef>
              <a:spcAft>
                <a:spcPts val="0"/>
              </a:spcAft>
              <a:buClrTx/>
              <a:buSzTx/>
              <a:buFontTx/>
              <a:buNone/>
              <a:tabLst/>
              <a:defRPr>
                <a:solidFill>
                  <a:schemeClr val="tx1"/>
                </a:solidFill>
              </a:defRPr>
            </a:lvl3pPr>
            <a:lvl4pPr marL="648000" marR="0"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solidFill>
                  <a:schemeClr val="tx1"/>
                </a:solidFill>
              </a:defRPr>
            </a:lvl4pPr>
            <a:lvl5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5pPr>
            <a:lvl6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6pPr>
            <a:lvl7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7pPr>
            <a:lvl8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8pPr>
            <a:lvl9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fr-FR" sz="1600" b="0" i="0" u="none" strike="noStrike" kern="1200" cap="none" spc="0" normalizeH="0" baseline="0" noProof="0">
                <a:ln>
                  <a:noFill/>
                </a:ln>
                <a:solidFill>
                  <a:srgbClr val="503078"/>
                </a:solidFill>
                <a:effectLst/>
                <a:uLnTx/>
                <a:uFillTx/>
                <a:latin typeface="+mn-lt"/>
                <a:ea typeface="+mn-ea"/>
                <a:cs typeface="+mn-cs"/>
              </a:rPr>
              <a:t>Niveau 1 - Pour passer au niveau suivant, faire Shift + Alt + flèche droite </a:t>
            </a:r>
          </a:p>
          <a:p>
            <a:pPr marL="358775" marR="0" lvl="1"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pPr>
            <a:r>
              <a:rPr kumimoji="0" lang="fr-FR" sz="1400" b="0" i="0" u="none" strike="noStrike" kern="1200" cap="none" spc="0" normalizeH="0" baseline="0" noProof="0">
                <a:ln>
                  <a:noFill/>
                </a:ln>
                <a:solidFill>
                  <a:srgbClr val="5F5F5F"/>
                </a:solidFill>
                <a:effectLst/>
                <a:uLnTx/>
                <a:uFillTx/>
                <a:latin typeface="+mn-lt"/>
                <a:ea typeface="+mn-ea"/>
                <a:cs typeface="+mn-cs"/>
              </a:rPr>
              <a:t>Niveau 2</a:t>
            </a:r>
          </a:p>
          <a:p>
            <a:pPr marL="360000" marR="0" lvl="2" indent="0" algn="just" defTabSz="914400" rtl="0" eaLnBrk="1" fontAlgn="auto" latinLnBrk="0" hangingPunct="1">
              <a:lnSpc>
                <a:spcPct val="100000"/>
              </a:lnSpc>
              <a:spcBef>
                <a:spcPts val="600"/>
              </a:spcBef>
              <a:spcAft>
                <a:spcPts val="0"/>
              </a:spcAft>
              <a:buClrTx/>
              <a:buSzTx/>
              <a:buFontTx/>
              <a:buNone/>
              <a:tabLst/>
              <a:defRPr/>
            </a:pPr>
            <a:r>
              <a:rPr kumimoji="0" lang="fr-FR" sz="1400" b="0" i="0" u="none" strike="noStrike" kern="1200" cap="none" spc="0" normalizeH="0" baseline="0" noProof="0">
                <a:ln>
                  <a:noFill/>
                </a:ln>
                <a:solidFill>
                  <a:srgbClr val="5F5F5F"/>
                </a:solidFill>
                <a:effectLst/>
                <a:uLnTx/>
                <a:uFillTx/>
                <a:latin typeface="+mn-lt"/>
                <a:ea typeface="+mn-ea"/>
                <a:cs typeface="+mn-cs"/>
              </a:rPr>
              <a:t>Niveau 3</a:t>
            </a:r>
          </a:p>
          <a:p>
            <a:pPr marL="648000" marR="0" lvl="3"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pPr>
            <a:r>
              <a:rPr kumimoji="0" lang="fr-FR" sz="1200" b="0" i="0" u="none" strike="noStrike" kern="1200" cap="none" spc="0" normalizeH="0" baseline="0" noProof="0">
                <a:ln>
                  <a:noFill/>
                </a:ln>
                <a:solidFill>
                  <a:srgbClr val="5F5F5F"/>
                </a:solidFill>
                <a:effectLst/>
                <a:uLnTx/>
                <a:uFillTx/>
                <a:latin typeface="+mn-lt"/>
                <a:ea typeface="+mn-ea"/>
                <a:cs typeface="+mn-cs"/>
              </a:rPr>
              <a:t>Niveau 4</a:t>
            </a:r>
          </a:p>
          <a:p>
            <a:pPr marL="900000" marR="0" lvl="4"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5</a:t>
            </a:r>
          </a:p>
          <a:p>
            <a:pPr marL="900000" marR="0" lvl="5"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6</a:t>
            </a:r>
          </a:p>
          <a:p>
            <a:pPr marL="900000" marR="0" lvl="6"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7</a:t>
            </a:r>
          </a:p>
          <a:p>
            <a:pPr marL="900000" marR="0" lvl="7"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8</a:t>
            </a:r>
          </a:p>
          <a:p>
            <a:pPr marL="900000" marR="0" lvl="8"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9</a:t>
            </a:r>
          </a:p>
        </p:txBody>
      </p:sp>
      <p:sp>
        <p:nvSpPr>
          <p:cNvPr id="9" name="Content Placeholder 4"/>
          <p:cNvSpPr>
            <a:spLocks noGrp="1"/>
          </p:cNvSpPr>
          <p:nvPr>
            <p:ph sz="quarter" idx="15" hasCustomPrompt="1"/>
          </p:nvPr>
        </p:nvSpPr>
        <p:spPr>
          <a:xfrm>
            <a:off x="6265808" y="1268413"/>
            <a:ext cx="5502209" cy="4968000"/>
          </a:xfrm>
          <a:prstGeom prst="rect">
            <a:avLst/>
          </a:prstGeom>
        </p:spPr>
        <p:txBody>
          <a:bodyPr lIns="108000" tIns="108000" rIns="108000" bIns="108000"/>
          <a:lstStyle>
            <a:lvl1pPr marL="0" marR="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solidFill>
                  <a:schemeClr val="bg2"/>
                </a:solidFill>
              </a:defRPr>
            </a:lvl1pPr>
            <a:lvl2pPr marL="358775" marR="0"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solidFill>
                  <a:schemeClr val="tx1"/>
                </a:solidFill>
              </a:defRPr>
            </a:lvl2pPr>
            <a:lvl3pPr marL="360000" marR="0" indent="0" algn="just" defTabSz="914400" rtl="0" eaLnBrk="1" fontAlgn="auto" latinLnBrk="0" hangingPunct="1">
              <a:lnSpc>
                <a:spcPct val="100000"/>
              </a:lnSpc>
              <a:spcBef>
                <a:spcPts val="600"/>
              </a:spcBef>
              <a:spcAft>
                <a:spcPts val="0"/>
              </a:spcAft>
              <a:buClrTx/>
              <a:buSzTx/>
              <a:buFontTx/>
              <a:buNone/>
              <a:tabLst/>
              <a:defRPr>
                <a:solidFill>
                  <a:schemeClr val="tx1"/>
                </a:solidFill>
              </a:defRPr>
            </a:lvl3pPr>
            <a:lvl4pPr marL="648000" marR="0"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solidFill>
                  <a:schemeClr val="tx1"/>
                </a:solidFill>
              </a:defRPr>
            </a:lvl4pPr>
            <a:lvl5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5pPr>
            <a:lvl6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6pPr>
            <a:lvl7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7pPr>
            <a:lvl8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8pPr>
            <a:lvl9pPr marL="900000" marR="0"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fr-FR" sz="1600" b="0" i="0" u="none" strike="noStrike" kern="1200" cap="none" spc="0" normalizeH="0" baseline="0" noProof="0">
                <a:ln>
                  <a:noFill/>
                </a:ln>
                <a:solidFill>
                  <a:srgbClr val="503078"/>
                </a:solidFill>
                <a:effectLst/>
                <a:uLnTx/>
                <a:uFillTx/>
                <a:latin typeface="+mn-lt"/>
                <a:ea typeface="+mn-ea"/>
                <a:cs typeface="+mn-cs"/>
              </a:rPr>
              <a:t>Niveau 1 - Pour passer au niveau suivant, faire Shift + Alt + flèche droite </a:t>
            </a:r>
          </a:p>
          <a:p>
            <a:pPr marL="358775" marR="0" lvl="1" indent="-358775" algn="just" defTabSz="914400" rtl="0" eaLnBrk="1" fontAlgn="auto" latinLnBrk="0" hangingPunct="1">
              <a:lnSpc>
                <a:spcPct val="100000"/>
              </a:lnSpc>
              <a:spcBef>
                <a:spcPts val="1400"/>
              </a:spcBef>
              <a:spcAft>
                <a:spcPts val="0"/>
              </a:spcAft>
              <a:buClr>
                <a:srgbClr val="503078"/>
              </a:buClr>
              <a:buSzTx/>
              <a:buFont typeface="Tempus Sans ITC" panose="04020404030D07020202" pitchFamily="82" charset="0"/>
              <a:buChar char="/"/>
              <a:tabLst/>
              <a:defRPr/>
            </a:pPr>
            <a:r>
              <a:rPr kumimoji="0" lang="fr-FR" sz="1400" b="0" i="0" u="none" strike="noStrike" kern="1200" cap="none" spc="0" normalizeH="0" baseline="0" noProof="0">
                <a:ln>
                  <a:noFill/>
                </a:ln>
                <a:solidFill>
                  <a:srgbClr val="5F5F5F"/>
                </a:solidFill>
                <a:effectLst/>
                <a:uLnTx/>
                <a:uFillTx/>
                <a:latin typeface="+mn-lt"/>
                <a:ea typeface="+mn-ea"/>
                <a:cs typeface="+mn-cs"/>
              </a:rPr>
              <a:t>Niveau 2</a:t>
            </a:r>
          </a:p>
          <a:p>
            <a:pPr marL="360000" marR="0" lvl="2" indent="0" algn="just" defTabSz="914400" rtl="0" eaLnBrk="1" fontAlgn="auto" latinLnBrk="0" hangingPunct="1">
              <a:lnSpc>
                <a:spcPct val="100000"/>
              </a:lnSpc>
              <a:spcBef>
                <a:spcPts val="600"/>
              </a:spcBef>
              <a:spcAft>
                <a:spcPts val="0"/>
              </a:spcAft>
              <a:buClrTx/>
              <a:buSzTx/>
              <a:buFontTx/>
              <a:buNone/>
              <a:tabLst/>
              <a:defRPr/>
            </a:pPr>
            <a:r>
              <a:rPr kumimoji="0" lang="fr-FR" sz="1400" b="0" i="0" u="none" strike="noStrike" kern="1200" cap="none" spc="0" normalizeH="0" baseline="0" noProof="0">
                <a:ln>
                  <a:noFill/>
                </a:ln>
                <a:solidFill>
                  <a:srgbClr val="5F5F5F"/>
                </a:solidFill>
                <a:effectLst/>
                <a:uLnTx/>
                <a:uFillTx/>
                <a:latin typeface="+mn-lt"/>
                <a:ea typeface="+mn-ea"/>
                <a:cs typeface="+mn-cs"/>
              </a:rPr>
              <a:t>Niveau 3</a:t>
            </a:r>
          </a:p>
          <a:p>
            <a:pPr marL="648000" marR="0" lvl="3" indent="-288000" algn="just" defTabSz="914400" rtl="0" eaLnBrk="1" fontAlgn="auto" latinLnBrk="0" hangingPunct="1">
              <a:lnSpc>
                <a:spcPct val="100000"/>
              </a:lnSpc>
              <a:spcBef>
                <a:spcPts val="600"/>
              </a:spcBef>
              <a:spcAft>
                <a:spcPts val="0"/>
              </a:spcAft>
              <a:buClr>
                <a:srgbClr val="503078"/>
              </a:buClr>
              <a:buSzTx/>
              <a:buFont typeface="Tahoma" panose="020B0604030504040204" pitchFamily="34" charset="0"/>
              <a:buChar char="›"/>
              <a:tabLst/>
              <a:defRPr/>
            </a:pPr>
            <a:r>
              <a:rPr kumimoji="0" lang="fr-FR" sz="1200" b="0" i="0" u="none" strike="noStrike" kern="1200" cap="none" spc="0" normalizeH="0" baseline="0" noProof="0">
                <a:ln>
                  <a:noFill/>
                </a:ln>
                <a:solidFill>
                  <a:srgbClr val="5F5F5F"/>
                </a:solidFill>
                <a:effectLst/>
                <a:uLnTx/>
                <a:uFillTx/>
                <a:latin typeface="+mn-lt"/>
                <a:ea typeface="+mn-ea"/>
                <a:cs typeface="+mn-cs"/>
              </a:rPr>
              <a:t>Niveau 4</a:t>
            </a:r>
          </a:p>
          <a:p>
            <a:pPr marL="900000" marR="0" lvl="4"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5</a:t>
            </a:r>
          </a:p>
          <a:p>
            <a:pPr marL="900000" marR="0" lvl="5"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6</a:t>
            </a:r>
          </a:p>
          <a:p>
            <a:pPr marL="900000" marR="0" lvl="6"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7</a:t>
            </a:r>
          </a:p>
          <a:p>
            <a:pPr marL="900000" marR="0" lvl="7"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8</a:t>
            </a:r>
          </a:p>
          <a:p>
            <a:pPr marL="900000" marR="0" lvl="8" indent="-252000" algn="just" defTabSz="914400" rtl="0" eaLnBrk="1" fontAlgn="auto" latinLnBrk="0" hangingPunct="1">
              <a:lnSpc>
                <a:spcPct val="100000"/>
              </a:lnSpc>
              <a:spcBef>
                <a:spcPts val="500"/>
              </a:spcBef>
              <a:spcAft>
                <a:spcPts val="0"/>
              </a:spcAft>
              <a:buClr>
                <a:srgbClr val="503078"/>
              </a:buClr>
              <a:buSzTx/>
              <a:buFont typeface="Tahoma" panose="020B0604030504040204" pitchFamily="34" charset="0"/>
              <a:buChar char="»"/>
              <a:tabLst/>
              <a:defRPr/>
            </a:pPr>
            <a:r>
              <a:rPr kumimoji="0" lang="fr-FR" sz="1000" b="0" i="0" u="none" strike="noStrike" kern="1200" cap="none" spc="0" normalizeH="0" baseline="0" noProof="0">
                <a:ln>
                  <a:noFill/>
                </a:ln>
                <a:solidFill>
                  <a:srgbClr val="5F5F5F"/>
                </a:solidFill>
                <a:effectLst/>
                <a:uLnTx/>
                <a:uFillTx/>
                <a:latin typeface="+mn-lt"/>
                <a:ea typeface="+mn-ea"/>
                <a:cs typeface="+mn-cs"/>
              </a:rPr>
              <a:t>Niveau 9</a:t>
            </a:r>
          </a:p>
        </p:txBody>
      </p:sp>
      <p:sp>
        <p:nvSpPr>
          <p:cNvPr id="10" name="Title 1"/>
          <p:cNvSpPr>
            <a:spLocks noGrp="1"/>
          </p:cNvSpPr>
          <p:nvPr>
            <p:ph type="title" hasCustomPrompt="1"/>
          </p:nvPr>
        </p:nvSpPr>
        <p:spPr>
          <a:xfrm>
            <a:off x="425354" y="404665"/>
            <a:ext cx="11342769" cy="863748"/>
          </a:xfrm>
        </p:spPr>
        <p:txBody>
          <a:bodyPr lIns="108000" tIns="0" rIns="108000" bIns="0"/>
          <a:lstStyle>
            <a:lvl1pPr>
              <a:defRPr sz="2200" baseline="0">
                <a:solidFill>
                  <a:schemeClr val="bg2"/>
                </a:solidFill>
              </a:defRPr>
            </a:lvl1pPr>
          </a:lstStyle>
          <a:p>
            <a:r>
              <a:rPr lang="fr-FR"/>
              <a:t>Compléter avec un titre ici qui porte votre message sur deux lignes au maximum pour des raisons de lisibilité</a:t>
            </a:r>
            <a:endParaRPr lang="fr-FR" noProof="0"/>
          </a:p>
        </p:txBody>
      </p:sp>
      <p:sp>
        <p:nvSpPr>
          <p:cNvPr id="12"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fr-FR" noProof="0"/>
              <a:t>Insérer un surtitre ici – il ne doit pas dépasser 1 ligne</a:t>
            </a:r>
          </a:p>
        </p:txBody>
      </p:sp>
    </p:spTree>
    <p:extLst>
      <p:ext uri="{BB962C8B-B14F-4D97-AF65-F5344CB8AC3E}">
        <p14:creationId xmlns:p14="http://schemas.microsoft.com/office/powerpoint/2010/main" val="19802491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P Agenda">
    <p:spTree>
      <p:nvGrpSpPr>
        <p:cNvPr id="1" name=""/>
        <p:cNvGrpSpPr/>
        <p:nvPr/>
      </p:nvGrpSpPr>
      <p:grpSpPr>
        <a:xfrm>
          <a:off x="0" y="0"/>
          <a:ext cx="0" cy="0"/>
          <a:chOff x="0" y="0"/>
          <a:chExt cx="0" cy="0"/>
        </a:xfrm>
      </p:grpSpPr>
      <p:pic>
        <p:nvPicPr>
          <p:cNvPr id="26" name="Image 11"/>
          <p:cNvPicPr>
            <a:picLocks noChangeAspect="1"/>
          </p:cNvPicPr>
          <p:nvPr userDrawn="1"/>
        </p:nvPicPr>
        <p:blipFill rotWithShape="1">
          <a:blip r:embed="rId2" cstate="print">
            <a:extLst>
              <a:ext uri="{28A0092B-C50C-407E-A947-70E740481C1C}">
                <a14:useLocalDpi xmlns:a14="http://schemas.microsoft.com/office/drawing/2010/main"/>
              </a:ext>
            </a:extLst>
          </a:blip>
          <a:srcRect l="-1" t="1" r="-184259" b="-45082"/>
          <a:stretch/>
        </p:blipFill>
        <p:spPr>
          <a:xfrm>
            <a:off x="0" y="-1"/>
            <a:ext cx="12192000" cy="6856413"/>
          </a:xfrm>
          <a:prstGeom prst="rect">
            <a:avLst/>
          </a:prstGeom>
          <a:solidFill>
            <a:schemeClr val="tx1">
              <a:lumMod val="20000"/>
              <a:lumOff val="80000"/>
            </a:schemeClr>
          </a:solidFill>
        </p:spPr>
      </p:pic>
      <p:grpSp>
        <p:nvGrpSpPr>
          <p:cNvPr id="9" name="SP Agenda Subsection Highlight" hidden="1"/>
          <p:cNvGrpSpPr>
            <a:grpSpLocks/>
          </p:cNvGrpSpPr>
          <p:nvPr userDrawn="1"/>
        </p:nvGrpSpPr>
        <p:grpSpPr>
          <a:xfrm>
            <a:off x="2630719" y="3342713"/>
            <a:ext cx="8959497" cy="986946"/>
            <a:chOff x="2250683" y="3342713"/>
            <a:chExt cx="7279591" cy="986946"/>
          </a:xfrm>
        </p:grpSpPr>
        <p:sp>
          <p:nvSpPr>
            <p:cNvPr id="15" name="Textbox"/>
            <p:cNvSpPr txBox="1">
              <a:spLocks/>
            </p:cNvSpPr>
            <p:nvPr userDrawn="1"/>
          </p:nvSpPr>
          <p:spPr bwMode="gray">
            <a:xfrm>
              <a:off x="3410274" y="3342713"/>
              <a:ext cx="6120000" cy="986946"/>
            </a:xfrm>
            <a:prstGeom prst="rect">
              <a:avLst/>
            </a:prstGeom>
            <a:noFill/>
          </p:spPr>
          <p:txBody>
            <a:bodyPr vert="horz" lIns="91440" tIns="45720" rIns="0" bIns="45720" rtlCol="0" anchor="t" anchorCtr="0">
              <a:noAutofit/>
            </a:bodyPr>
            <a:lstStyle>
              <a:lvl1pPr algn="r" defTabSz="914400" rtl="0" eaLnBrk="1" latinLnBrk="0" hangingPunct="1">
                <a:lnSpc>
                  <a:spcPct val="100000"/>
                </a:lnSpc>
                <a:spcBef>
                  <a:spcPct val="0"/>
                </a:spcBef>
                <a:buNone/>
                <a:defRPr sz="2400" kern="1200" cap="none" baseline="0">
                  <a:solidFill>
                    <a:schemeClr val="bg1"/>
                  </a:solidFill>
                  <a:latin typeface="+mj-lt"/>
                  <a:ea typeface="+mj-ea"/>
                  <a:cs typeface="+mj-cs"/>
                </a:defRPr>
              </a:lvl1pPr>
            </a:lstStyle>
            <a:p>
              <a:pPr algn="r" defTabSz="914400" rtl="0" eaLnBrk="1" latinLnBrk="0" hangingPunct="1">
                <a:lnSpc>
                  <a:spcPct val="100000"/>
                </a:lnSpc>
                <a:spcBef>
                  <a:spcPct val="0"/>
                </a:spcBef>
                <a:buNone/>
              </a:pPr>
              <a:r>
                <a:rPr lang="fr-FR" sz="2400" kern="1200" cap="none" baseline="0">
                  <a:solidFill>
                    <a:schemeClr val="bg2"/>
                  </a:solidFill>
                  <a:latin typeface="+mj-lt"/>
                  <a:ea typeface="+mj-ea"/>
                  <a:cs typeface="+mj-cs"/>
                </a:rPr>
                <a:t>&lt;TEXT&gt;</a:t>
              </a:r>
            </a:p>
          </p:txBody>
        </p:sp>
        <p:sp>
          <p:nvSpPr>
            <p:cNvPr id="16" name="Textbox"/>
            <p:cNvSpPr txBox="1">
              <a:spLocks/>
            </p:cNvSpPr>
            <p:nvPr userDrawn="1"/>
          </p:nvSpPr>
          <p:spPr>
            <a:xfrm>
              <a:off x="2250683" y="3342713"/>
              <a:ext cx="1080000" cy="986400"/>
            </a:xfrm>
            <a:prstGeom prst="rect">
              <a:avLst/>
            </a:prstGeom>
            <a:noFill/>
          </p:spPr>
          <p:txBody>
            <a:bodyPr vert="horz" lIns="0" tIns="108000" rIns="0" bIns="108000" rtlCol="0" anchor="t">
              <a:noAutofit/>
            </a:bodyPr>
            <a:lstStyle>
              <a:lvl1pPr indent="-252000">
                <a:lnSpc>
                  <a:spcPct val="100000"/>
                </a:lnSpc>
                <a:spcBef>
                  <a:spcPts val="400"/>
                </a:spcBef>
                <a:buClr>
                  <a:schemeClr val="bg2"/>
                </a:buClr>
                <a:buFont typeface="Tempus Sans ITC" panose="04020404030D07020202" pitchFamily="82" charset="0"/>
                <a:buChar char="/"/>
                <a:tabLst/>
                <a:defRPr sz="2400" b="1" i="0" cap="none" baseline="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marR="0" indent="-252000" algn="just" fontAlgn="auto">
                <a:lnSpc>
                  <a:spcPct val="100000"/>
                </a:lnSpc>
                <a:spcBef>
                  <a:spcPts val="400"/>
                </a:spcBef>
                <a:spcAft>
                  <a:spcPts val="0"/>
                </a:spcAft>
                <a:buClr>
                  <a:schemeClr val="accent1"/>
                </a:buClr>
                <a:buSzTx/>
                <a:buFont typeface="Tahoma" panose="020B0604030504040204" pitchFamily="34" charset="0"/>
                <a:buChar char="⁄"/>
                <a:tabLst/>
                <a:defRPr lang="fr-FR" sz="2000" b="1" i="0" baseline="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lang="fr-FR" sz="2000" b="1" i="0" baseline="0" noProof="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lang="fr-FR" sz="2000" b="1" i="0" baseline="0" noProof="0">
                  <a:solidFill>
                    <a:schemeClr val="bg2"/>
                  </a:solidFill>
                </a:defRPr>
              </a:lvl7pPr>
              <a:lvl8pPr marL="0" marR="0" indent="-252000" algn="just" fontAlgn="auto">
                <a:lnSpc>
                  <a:spcPct val="100000"/>
                </a:lnSpc>
                <a:spcBef>
                  <a:spcPts val="400"/>
                </a:spcBef>
                <a:spcAft>
                  <a:spcPts val="0"/>
                </a:spcAft>
                <a:buClr>
                  <a:schemeClr val="accent1"/>
                </a:buClr>
                <a:buSzTx/>
                <a:buFont typeface="Tahoma" panose="020B0604030504040204" pitchFamily="34" charset="0"/>
                <a:buChar char="⁄"/>
                <a:tabLst/>
                <a:defRPr lang="fr-FR" sz="2000" b="1" i="0" baseline="0" noProof="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lang="fr-FR" sz="2000" b="1" i="0" baseline="0" noProof="0">
                  <a:solidFill>
                    <a:schemeClr val="bg2"/>
                  </a:solidFill>
                </a:defRPr>
              </a:lvl9pPr>
            </a:lstStyle>
            <a:p>
              <a:pPr lvl="0"/>
              <a:r>
                <a:rPr lang="fr-FR" sz="2400"/>
                <a:t>&lt;N&gt;</a:t>
              </a:r>
            </a:p>
          </p:txBody>
        </p:sp>
      </p:grpSp>
      <p:grpSp>
        <p:nvGrpSpPr>
          <p:cNvPr id="17" name="SP Agenda Section Highlight" hidden="1"/>
          <p:cNvGrpSpPr>
            <a:grpSpLocks/>
          </p:cNvGrpSpPr>
          <p:nvPr userDrawn="1"/>
        </p:nvGrpSpPr>
        <p:grpSpPr>
          <a:xfrm>
            <a:off x="2630719" y="3342713"/>
            <a:ext cx="8959497" cy="986946"/>
            <a:chOff x="2250683" y="3342713"/>
            <a:chExt cx="7279591" cy="986946"/>
          </a:xfrm>
        </p:grpSpPr>
        <p:sp>
          <p:nvSpPr>
            <p:cNvPr id="18" name="Textbox"/>
            <p:cNvSpPr txBox="1">
              <a:spLocks/>
            </p:cNvSpPr>
            <p:nvPr userDrawn="1"/>
          </p:nvSpPr>
          <p:spPr bwMode="gray">
            <a:xfrm>
              <a:off x="3410274" y="3342713"/>
              <a:ext cx="6120000" cy="986946"/>
            </a:xfrm>
            <a:prstGeom prst="rect">
              <a:avLst/>
            </a:prstGeom>
            <a:noFill/>
          </p:spPr>
          <p:txBody>
            <a:bodyPr vert="horz" lIns="91440" tIns="45720" rIns="0" bIns="45720" rtlCol="0" anchor="t" anchorCtr="0">
              <a:noAutofit/>
            </a:bodyPr>
            <a:lstStyle>
              <a:lvl1pPr algn="r" defTabSz="914400" rtl="0" eaLnBrk="1" latinLnBrk="0" hangingPunct="1">
                <a:lnSpc>
                  <a:spcPct val="100000"/>
                </a:lnSpc>
                <a:spcBef>
                  <a:spcPct val="0"/>
                </a:spcBef>
                <a:buNone/>
                <a:defRPr sz="2400" kern="1200" cap="none" baseline="0">
                  <a:solidFill>
                    <a:schemeClr val="bg1"/>
                  </a:solidFill>
                  <a:latin typeface="+mj-lt"/>
                  <a:ea typeface="+mj-ea"/>
                  <a:cs typeface="+mj-cs"/>
                </a:defRPr>
              </a:lvl1pPr>
            </a:lstStyle>
            <a:p>
              <a:pPr algn="r" defTabSz="914400" rtl="0" eaLnBrk="1" latinLnBrk="0" hangingPunct="1">
                <a:lnSpc>
                  <a:spcPct val="100000"/>
                </a:lnSpc>
                <a:spcBef>
                  <a:spcPct val="0"/>
                </a:spcBef>
                <a:buNone/>
              </a:pPr>
              <a:r>
                <a:rPr lang="fr-FR" sz="2400" kern="1200" cap="none" baseline="0">
                  <a:solidFill>
                    <a:schemeClr val="bg2"/>
                  </a:solidFill>
                  <a:latin typeface="+mj-lt"/>
                  <a:ea typeface="+mj-ea"/>
                  <a:cs typeface="+mj-cs"/>
                </a:rPr>
                <a:t>&lt;TEXT&gt;</a:t>
              </a:r>
            </a:p>
          </p:txBody>
        </p:sp>
        <p:sp>
          <p:nvSpPr>
            <p:cNvPr id="19" name="Textbox"/>
            <p:cNvSpPr txBox="1">
              <a:spLocks/>
            </p:cNvSpPr>
            <p:nvPr userDrawn="1"/>
          </p:nvSpPr>
          <p:spPr>
            <a:xfrm>
              <a:off x="2250683" y="3342713"/>
              <a:ext cx="1080000" cy="986400"/>
            </a:xfrm>
            <a:prstGeom prst="rect">
              <a:avLst/>
            </a:prstGeom>
            <a:noFill/>
          </p:spPr>
          <p:txBody>
            <a:bodyPr vert="horz" lIns="0" tIns="108000" rIns="0" bIns="108000" rtlCol="0" anchor="t">
              <a:noAutofit/>
            </a:bodyPr>
            <a:lstStyle>
              <a:lvl1pPr indent="-252000">
                <a:lnSpc>
                  <a:spcPct val="100000"/>
                </a:lnSpc>
                <a:spcBef>
                  <a:spcPts val="400"/>
                </a:spcBef>
                <a:buClr>
                  <a:schemeClr val="bg2"/>
                </a:buClr>
                <a:buFont typeface="Tempus Sans ITC" panose="04020404030D07020202" pitchFamily="82" charset="0"/>
                <a:buChar char="/"/>
                <a:tabLst/>
                <a:defRPr sz="2400" b="1" i="0" cap="none" baseline="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marR="0" indent="-252000" algn="just" fontAlgn="auto">
                <a:lnSpc>
                  <a:spcPct val="100000"/>
                </a:lnSpc>
                <a:spcBef>
                  <a:spcPts val="400"/>
                </a:spcBef>
                <a:spcAft>
                  <a:spcPts val="0"/>
                </a:spcAft>
                <a:buClr>
                  <a:schemeClr val="accent1"/>
                </a:buClr>
                <a:buSzTx/>
                <a:buFont typeface="Tahoma" panose="020B0604030504040204" pitchFamily="34" charset="0"/>
                <a:buChar char="⁄"/>
                <a:tabLst/>
                <a:defRPr lang="fr-FR" sz="2000" b="1" i="0" baseline="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lang="fr-FR" sz="2000" b="1" i="0" baseline="0" noProof="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lang="fr-FR" sz="2000" b="1" i="0" baseline="0" noProof="0">
                  <a:solidFill>
                    <a:schemeClr val="bg2"/>
                  </a:solidFill>
                </a:defRPr>
              </a:lvl7pPr>
              <a:lvl8pPr marL="0" marR="0" indent="-252000" algn="just" fontAlgn="auto">
                <a:lnSpc>
                  <a:spcPct val="100000"/>
                </a:lnSpc>
                <a:spcBef>
                  <a:spcPts val="400"/>
                </a:spcBef>
                <a:spcAft>
                  <a:spcPts val="0"/>
                </a:spcAft>
                <a:buClr>
                  <a:schemeClr val="accent1"/>
                </a:buClr>
                <a:buSzTx/>
                <a:buFont typeface="Tahoma" panose="020B0604030504040204" pitchFamily="34" charset="0"/>
                <a:buChar char="⁄"/>
                <a:tabLst/>
                <a:defRPr lang="fr-FR" sz="2000" b="1" i="0" baseline="0" noProof="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lang="fr-FR" sz="2000" b="1" i="0" baseline="0" noProof="0">
                  <a:solidFill>
                    <a:schemeClr val="bg2"/>
                  </a:solidFill>
                </a:defRPr>
              </a:lvl9pPr>
            </a:lstStyle>
            <a:p>
              <a:pPr lvl="0"/>
              <a:r>
                <a:rPr lang="fr-FR" sz="2400"/>
                <a:t>&lt;N&gt;</a:t>
              </a:r>
            </a:p>
          </p:txBody>
        </p:sp>
      </p:grpSp>
      <p:pic>
        <p:nvPicPr>
          <p:cNvPr id="6" name="Image 1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4289072" cy="4725900"/>
          </a:xfrm>
          <a:prstGeom prst="rect">
            <a:avLst/>
          </a:prstGeom>
        </p:spPr>
      </p:pic>
      <p:sp>
        <p:nvSpPr>
          <p:cNvPr id="8" name="Espace réservé pour une image  35"/>
          <p:cNvSpPr>
            <a:spLocks noGrp="1"/>
          </p:cNvSpPr>
          <p:nvPr>
            <p:ph type="pic" sz="quarter" idx="10" hasCustomPrompt="1"/>
          </p:nvPr>
        </p:nvSpPr>
        <p:spPr>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quer ici	&gt;&gt;</a:t>
            </a:r>
            <a:br>
              <a:rPr lang="fr-FR" noProof="0"/>
            </a:br>
            <a:r>
              <a:rPr lang="fr-FR" noProof="0"/>
              <a:t>pour insérer votre photo</a:t>
            </a:r>
          </a:p>
        </p:txBody>
      </p:sp>
      <p:grpSp>
        <p:nvGrpSpPr>
          <p:cNvPr id="20" name="SP Agenda Subsection" hidden="1"/>
          <p:cNvGrpSpPr>
            <a:grpSpLocks/>
          </p:cNvGrpSpPr>
          <p:nvPr userDrawn="1"/>
        </p:nvGrpSpPr>
        <p:grpSpPr>
          <a:xfrm>
            <a:off x="3118954" y="4329113"/>
            <a:ext cx="8471262" cy="0"/>
            <a:chOff x="2647374" y="3342713"/>
            <a:chExt cx="6882900" cy="500894"/>
          </a:xfrm>
        </p:grpSpPr>
        <p:sp>
          <p:nvSpPr>
            <p:cNvPr id="21" name="Textbox"/>
            <p:cNvSpPr txBox="1">
              <a:spLocks/>
            </p:cNvSpPr>
            <p:nvPr userDrawn="1"/>
          </p:nvSpPr>
          <p:spPr bwMode="gray">
            <a:xfrm>
              <a:off x="9480580" y="3342713"/>
              <a:ext cx="49694" cy="15389"/>
            </a:xfrm>
            <a:prstGeom prst="rect">
              <a:avLst/>
            </a:prstGeom>
            <a:noFill/>
          </p:spPr>
          <p:txBody>
            <a:bodyPr vert="horz" wrap="none" lIns="0" tIns="0" rIns="0" bIns="0" rtlCol="0" anchor="t" anchorCtr="0">
              <a:noAutofit/>
            </a:bodyPr>
            <a:lstStyle>
              <a:lvl1pPr algn="r" defTabSz="914400" rtl="0" eaLnBrk="1" latinLnBrk="0" hangingPunct="1">
                <a:lnSpc>
                  <a:spcPct val="100000"/>
                </a:lnSpc>
                <a:spcBef>
                  <a:spcPct val="0"/>
                </a:spcBef>
                <a:buNone/>
                <a:defRPr sz="2400" kern="1200" cap="none" baseline="0">
                  <a:solidFill>
                    <a:schemeClr val="bg1"/>
                  </a:solidFill>
                  <a:latin typeface="+mj-lt"/>
                  <a:ea typeface="+mj-ea"/>
                  <a:cs typeface="+mj-cs"/>
                </a:defRPr>
              </a:lvl1pPr>
            </a:lstStyle>
            <a:p>
              <a:pPr algn="r" defTabSz="914400" rtl="0" eaLnBrk="1" latinLnBrk="0" hangingPunct="1">
                <a:lnSpc>
                  <a:spcPct val="100000"/>
                </a:lnSpc>
                <a:spcBef>
                  <a:spcPct val="0"/>
                </a:spcBef>
                <a:buNone/>
              </a:pPr>
              <a:r>
                <a:rPr lang="fr-FR" sz="100" kern="1200" cap="none" baseline="0">
                  <a:noFill/>
                  <a:latin typeface="+mj-lt"/>
                  <a:ea typeface="+mj-ea"/>
                  <a:cs typeface="+mj-cs"/>
                </a:rPr>
                <a:t>&lt;TEXT&gt;</a:t>
              </a:r>
            </a:p>
          </p:txBody>
        </p:sp>
        <p:sp>
          <p:nvSpPr>
            <p:cNvPr id="22" name="Textbox"/>
            <p:cNvSpPr txBox="1">
              <a:spLocks/>
            </p:cNvSpPr>
            <p:nvPr userDrawn="1"/>
          </p:nvSpPr>
          <p:spPr>
            <a:xfrm>
              <a:off x="2647374" y="3828218"/>
              <a:ext cx="286617" cy="15389"/>
            </a:xfrm>
            <a:prstGeom prst="rect">
              <a:avLst/>
            </a:prstGeom>
            <a:noFill/>
          </p:spPr>
          <p:txBody>
            <a:bodyPr wrap="none" lIns="0" tIns="0" rIns="0" bIns="0" anchor="ctr">
              <a:noAutofit/>
            </a:bodyPr>
            <a:lstStyle>
              <a:lvl1pPr marL="0" indent="-252000" algn="just" defTabSz="914400" rtl="0" eaLnBrk="1" latinLnBrk="0" hangingPunct="1">
                <a:lnSpc>
                  <a:spcPct val="100000"/>
                </a:lnSpc>
                <a:spcBef>
                  <a:spcPts val="400"/>
                </a:spcBef>
                <a:buClr>
                  <a:schemeClr val="bg1"/>
                </a:buClr>
                <a:buFont typeface="Tahoma" panose="020B0604030504040204" pitchFamily="34" charset="0"/>
                <a:buChar char="⁄"/>
                <a:defRPr sz="2400" b="1" i="0" kern="1200" cap="all" baseline="0">
                  <a:solidFill>
                    <a:schemeClr val="bg1"/>
                  </a:solidFill>
                  <a:latin typeface="+mn-lt"/>
                  <a:ea typeface="+mn-ea"/>
                  <a:cs typeface="+mn-cs"/>
                </a:defRPr>
              </a:lvl1pPr>
              <a:lvl2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a:solidFill>
                    <a:schemeClr val="bg2"/>
                  </a:solidFill>
                  <a:latin typeface="+mn-lt"/>
                  <a:ea typeface="+mn-ea"/>
                  <a:cs typeface="+mn-cs"/>
                </a:defRPr>
              </a:lvl2pPr>
              <a:lvl3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a:solidFill>
                    <a:schemeClr val="bg2"/>
                  </a:solidFill>
                  <a:latin typeface="+mn-lt"/>
                  <a:ea typeface="+mn-ea"/>
                  <a:cs typeface="+mn-cs"/>
                </a:defRPr>
              </a:lvl3pPr>
              <a:lvl4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cap="none" baseline="0">
                  <a:solidFill>
                    <a:schemeClr val="bg2"/>
                  </a:solidFill>
                  <a:latin typeface="+mn-lt"/>
                  <a:ea typeface="+mn-ea"/>
                  <a:cs typeface="+mn-cs"/>
                </a:defRPr>
              </a:lvl4pPr>
              <a:lvl5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a:solidFill>
                    <a:schemeClr val="bg2"/>
                  </a:solidFill>
                  <a:latin typeface="+mn-lt"/>
                  <a:ea typeface="+mn-ea"/>
                  <a:cs typeface="+mn-cs"/>
                </a:defRPr>
              </a:lvl5pPr>
              <a:lvl6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noProof="0">
                  <a:solidFill>
                    <a:schemeClr val="bg2"/>
                  </a:solidFill>
                  <a:latin typeface="+mn-lt"/>
                  <a:ea typeface="+mn-ea"/>
                  <a:cs typeface="+mn-cs"/>
                </a:defRPr>
              </a:lvl6pPr>
              <a:lvl7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baseline="0" noProof="0">
                  <a:solidFill>
                    <a:schemeClr val="bg2"/>
                  </a:solidFill>
                  <a:latin typeface="+mn-lt"/>
                  <a:ea typeface="+mn-ea"/>
                  <a:cs typeface="+mn-cs"/>
                </a:defRPr>
              </a:lvl7pPr>
              <a:lvl8pPr marL="0" marR="0" indent="-252000" algn="just" defTabSz="914400" rtl="0" eaLnBrk="1" fontAlgn="auto" latinLnBrk="0" hangingPunct="1">
                <a:lnSpc>
                  <a:spcPct val="100000"/>
                </a:lnSpc>
                <a:spcBef>
                  <a:spcPts val="400"/>
                </a:spcBef>
                <a:spcAft>
                  <a:spcPts val="0"/>
                </a:spcAft>
                <a:buClr>
                  <a:schemeClr val="accent1"/>
                </a:buClr>
                <a:buSzTx/>
                <a:buFont typeface="Tahoma" panose="020B0604030504040204" pitchFamily="34" charset="0"/>
                <a:buChar char="⁄"/>
                <a:tabLst/>
                <a:defRPr lang="fr-FR" sz="2000" b="1" i="0" kern="1200" baseline="0" noProof="0">
                  <a:solidFill>
                    <a:schemeClr val="bg2"/>
                  </a:solidFill>
                  <a:latin typeface="+mn-lt"/>
                  <a:ea typeface="+mn-ea"/>
                  <a:cs typeface="+mn-cs"/>
                </a:defRPr>
              </a:lvl8pPr>
              <a:lvl9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baseline="0" noProof="0">
                  <a:solidFill>
                    <a:schemeClr val="bg2"/>
                  </a:solidFill>
                  <a:latin typeface="+mn-lt"/>
                  <a:ea typeface="+mn-ea"/>
                  <a:cs typeface="+mn-cs"/>
                </a:defRPr>
              </a:lvl9pPr>
            </a:lstStyle>
            <a:p>
              <a:r>
                <a:rPr lang="fr-FR" sz="100" b="1" i="0" kern="1200" cap="none" baseline="0">
                  <a:noFill/>
                  <a:latin typeface="+mj-lt"/>
                  <a:ea typeface="+mn-ea"/>
                  <a:cs typeface="+mn-cs"/>
                </a:rPr>
                <a:t>&lt;N</a:t>
              </a:r>
              <a:r>
                <a:rPr lang="fr-FR" sz="100">
                  <a:noFill/>
                </a:rPr>
                <a:t>&gt;</a:t>
              </a:r>
            </a:p>
          </p:txBody>
        </p:sp>
      </p:grpSp>
      <p:grpSp>
        <p:nvGrpSpPr>
          <p:cNvPr id="23" name="SP Agenda Section" hidden="1"/>
          <p:cNvGrpSpPr>
            <a:grpSpLocks/>
          </p:cNvGrpSpPr>
          <p:nvPr userDrawn="1"/>
        </p:nvGrpSpPr>
        <p:grpSpPr>
          <a:xfrm>
            <a:off x="3118954" y="4329113"/>
            <a:ext cx="8471262" cy="0"/>
            <a:chOff x="2647374" y="3342713"/>
            <a:chExt cx="6882900" cy="500894"/>
          </a:xfrm>
        </p:grpSpPr>
        <p:sp>
          <p:nvSpPr>
            <p:cNvPr id="24" name="Textbox"/>
            <p:cNvSpPr txBox="1">
              <a:spLocks/>
            </p:cNvSpPr>
            <p:nvPr userDrawn="1"/>
          </p:nvSpPr>
          <p:spPr bwMode="gray">
            <a:xfrm>
              <a:off x="9480580" y="3342713"/>
              <a:ext cx="49694" cy="15389"/>
            </a:xfrm>
            <a:prstGeom prst="rect">
              <a:avLst/>
            </a:prstGeom>
            <a:noFill/>
          </p:spPr>
          <p:txBody>
            <a:bodyPr vert="horz" wrap="none" lIns="0" tIns="0" rIns="0" bIns="0" rtlCol="0" anchor="t" anchorCtr="0">
              <a:noAutofit/>
            </a:bodyPr>
            <a:lstStyle>
              <a:lvl1pPr algn="r" defTabSz="914400" rtl="0" eaLnBrk="1" latinLnBrk="0" hangingPunct="1">
                <a:lnSpc>
                  <a:spcPct val="100000"/>
                </a:lnSpc>
                <a:spcBef>
                  <a:spcPct val="0"/>
                </a:spcBef>
                <a:buNone/>
                <a:defRPr sz="2400" kern="1200" cap="none" baseline="0">
                  <a:solidFill>
                    <a:schemeClr val="bg1"/>
                  </a:solidFill>
                  <a:latin typeface="+mj-lt"/>
                  <a:ea typeface="+mj-ea"/>
                  <a:cs typeface="+mj-cs"/>
                </a:defRPr>
              </a:lvl1pPr>
            </a:lstStyle>
            <a:p>
              <a:pPr algn="r" defTabSz="914400" rtl="0" eaLnBrk="1" latinLnBrk="0" hangingPunct="1">
                <a:lnSpc>
                  <a:spcPct val="100000"/>
                </a:lnSpc>
                <a:spcBef>
                  <a:spcPct val="0"/>
                </a:spcBef>
                <a:buNone/>
              </a:pPr>
              <a:r>
                <a:rPr lang="fr-FR" sz="100" kern="1200" cap="none" baseline="0">
                  <a:noFill/>
                  <a:latin typeface="+mj-lt"/>
                  <a:ea typeface="+mj-ea"/>
                  <a:cs typeface="+mj-cs"/>
                </a:rPr>
                <a:t>&lt;TEXT&gt;</a:t>
              </a:r>
            </a:p>
          </p:txBody>
        </p:sp>
        <p:sp>
          <p:nvSpPr>
            <p:cNvPr id="25" name="Textbox"/>
            <p:cNvSpPr txBox="1">
              <a:spLocks/>
            </p:cNvSpPr>
            <p:nvPr userDrawn="1"/>
          </p:nvSpPr>
          <p:spPr>
            <a:xfrm>
              <a:off x="2647374" y="3828218"/>
              <a:ext cx="286617" cy="15389"/>
            </a:xfrm>
            <a:prstGeom prst="rect">
              <a:avLst/>
            </a:prstGeom>
            <a:noFill/>
          </p:spPr>
          <p:txBody>
            <a:bodyPr wrap="none" lIns="0" tIns="0" rIns="0" bIns="0" anchor="ctr">
              <a:noAutofit/>
            </a:bodyPr>
            <a:lstStyle>
              <a:lvl1pPr marL="0" indent="-252000" algn="just" defTabSz="914400" rtl="0" eaLnBrk="1" latinLnBrk="0" hangingPunct="1">
                <a:lnSpc>
                  <a:spcPct val="100000"/>
                </a:lnSpc>
                <a:spcBef>
                  <a:spcPts val="400"/>
                </a:spcBef>
                <a:buClr>
                  <a:schemeClr val="bg1"/>
                </a:buClr>
                <a:buFont typeface="Tahoma" panose="020B0604030504040204" pitchFamily="34" charset="0"/>
                <a:buChar char="⁄"/>
                <a:defRPr sz="2400" b="1" i="0" kern="1200" cap="all" baseline="0">
                  <a:solidFill>
                    <a:schemeClr val="bg1"/>
                  </a:solidFill>
                  <a:latin typeface="+mn-lt"/>
                  <a:ea typeface="+mn-ea"/>
                  <a:cs typeface="+mn-cs"/>
                </a:defRPr>
              </a:lvl1pPr>
              <a:lvl2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a:solidFill>
                    <a:schemeClr val="bg2"/>
                  </a:solidFill>
                  <a:latin typeface="+mn-lt"/>
                  <a:ea typeface="+mn-ea"/>
                  <a:cs typeface="+mn-cs"/>
                </a:defRPr>
              </a:lvl2pPr>
              <a:lvl3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a:solidFill>
                    <a:schemeClr val="bg2"/>
                  </a:solidFill>
                  <a:latin typeface="+mn-lt"/>
                  <a:ea typeface="+mn-ea"/>
                  <a:cs typeface="+mn-cs"/>
                </a:defRPr>
              </a:lvl3pPr>
              <a:lvl4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cap="none" baseline="0">
                  <a:solidFill>
                    <a:schemeClr val="bg2"/>
                  </a:solidFill>
                  <a:latin typeface="+mn-lt"/>
                  <a:ea typeface="+mn-ea"/>
                  <a:cs typeface="+mn-cs"/>
                </a:defRPr>
              </a:lvl4pPr>
              <a:lvl5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a:solidFill>
                    <a:schemeClr val="bg2"/>
                  </a:solidFill>
                  <a:latin typeface="+mn-lt"/>
                  <a:ea typeface="+mn-ea"/>
                  <a:cs typeface="+mn-cs"/>
                </a:defRPr>
              </a:lvl5pPr>
              <a:lvl6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noProof="0">
                  <a:solidFill>
                    <a:schemeClr val="bg2"/>
                  </a:solidFill>
                  <a:latin typeface="+mn-lt"/>
                  <a:ea typeface="+mn-ea"/>
                  <a:cs typeface="+mn-cs"/>
                </a:defRPr>
              </a:lvl6pPr>
              <a:lvl7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baseline="0" noProof="0">
                  <a:solidFill>
                    <a:schemeClr val="bg2"/>
                  </a:solidFill>
                  <a:latin typeface="+mn-lt"/>
                  <a:ea typeface="+mn-ea"/>
                  <a:cs typeface="+mn-cs"/>
                </a:defRPr>
              </a:lvl7pPr>
              <a:lvl8pPr marL="0" marR="0" indent="-252000" algn="just" defTabSz="914400" rtl="0" eaLnBrk="1" fontAlgn="auto" latinLnBrk="0" hangingPunct="1">
                <a:lnSpc>
                  <a:spcPct val="100000"/>
                </a:lnSpc>
                <a:spcBef>
                  <a:spcPts val="400"/>
                </a:spcBef>
                <a:spcAft>
                  <a:spcPts val="0"/>
                </a:spcAft>
                <a:buClr>
                  <a:schemeClr val="accent1"/>
                </a:buClr>
                <a:buSzTx/>
                <a:buFont typeface="Tahoma" panose="020B0604030504040204" pitchFamily="34" charset="0"/>
                <a:buChar char="⁄"/>
                <a:tabLst/>
                <a:defRPr lang="fr-FR" sz="2000" b="1" i="0" kern="1200" baseline="0" noProof="0">
                  <a:solidFill>
                    <a:schemeClr val="bg2"/>
                  </a:solidFill>
                  <a:latin typeface="+mn-lt"/>
                  <a:ea typeface="+mn-ea"/>
                  <a:cs typeface="+mn-cs"/>
                </a:defRPr>
              </a:lvl8pPr>
              <a:lvl9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baseline="0" noProof="0">
                  <a:solidFill>
                    <a:schemeClr val="bg2"/>
                  </a:solidFill>
                  <a:latin typeface="+mn-lt"/>
                  <a:ea typeface="+mn-ea"/>
                  <a:cs typeface="+mn-cs"/>
                </a:defRPr>
              </a:lvl9pPr>
            </a:lstStyle>
            <a:p>
              <a:r>
                <a:rPr lang="fr-FR" sz="100" b="1" i="0" kern="1200" cap="none" baseline="0">
                  <a:noFill/>
                  <a:latin typeface="+mj-lt"/>
                  <a:ea typeface="+mn-ea"/>
                  <a:cs typeface="+mn-cs"/>
                </a:rPr>
                <a:t>&lt;N</a:t>
              </a:r>
              <a:r>
                <a:rPr lang="fr-FR" sz="100">
                  <a:noFill/>
                </a:rPr>
                <a:t>&gt;</a:t>
              </a:r>
            </a:p>
          </p:txBody>
        </p:sp>
      </p:grpSp>
    </p:spTree>
    <p:extLst>
      <p:ext uri="{BB962C8B-B14F-4D97-AF65-F5344CB8AC3E}">
        <p14:creationId xmlns:p14="http://schemas.microsoft.com/office/powerpoint/2010/main" val="30248098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Page Contacts">
    <p:bg>
      <p:bgPr>
        <a:solidFill>
          <a:schemeClr val="bg2"/>
        </a:solidFill>
        <a:effectLst/>
      </p:bgPr>
    </p:bg>
    <p:spTree>
      <p:nvGrpSpPr>
        <p:cNvPr id="1" name=""/>
        <p:cNvGrpSpPr/>
        <p:nvPr/>
      </p:nvGrpSpPr>
      <p:grpSpPr>
        <a:xfrm>
          <a:off x="0" y="0"/>
          <a:ext cx="0" cy="0"/>
          <a:chOff x="0" y="0"/>
          <a:chExt cx="0" cy="0"/>
        </a:xfrm>
      </p:grpSpPr>
      <p:pic>
        <p:nvPicPr>
          <p:cNvPr id="32" name="Image 5"/>
          <p:cNvPicPr>
            <a:picLocks noChangeAspect="1"/>
          </p:cNvPicPr>
          <p:nvPr userDrawn="1"/>
        </p:nvPicPr>
        <p:blipFill rotWithShape="1">
          <a:blip r:embed="rId2" cstate="print">
            <a:extLst>
              <a:ext uri="{28A0092B-C50C-407E-A947-70E740481C1C}">
                <a14:useLocalDpi xmlns:a14="http://schemas.microsoft.com/office/drawing/2010/main"/>
              </a:ext>
            </a:extLst>
          </a:blip>
          <a:srcRect r="-184204" b="-45087"/>
          <a:stretch/>
        </p:blipFill>
        <p:spPr>
          <a:xfrm>
            <a:off x="-2" y="-9086"/>
            <a:ext cx="12192001" cy="6858000"/>
          </a:xfrm>
          <a:prstGeom prst="rect">
            <a:avLst/>
          </a:prstGeom>
          <a:solidFill>
            <a:schemeClr val="bg2"/>
          </a:solidFill>
        </p:spPr>
      </p:pic>
      <p:pic>
        <p:nvPicPr>
          <p:cNvPr id="5" name="Picture 7"/>
          <p:cNvPicPr>
            <a:picLocks/>
          </p:cNvPicPr>
          <p:nvPr userDrawn="1"/>
        </p:nvPicPr>
        <p:blipFill>
          <a:blip r:embed="rId3"/>
          <a:stretch>
            <a:fillRect/>
          </a:stretch>
        </p:blipFill>
        <p:spPr>
          <a:xfrm>
            <a:off x="8152615" y="1152000"/>
            <a:ext cx="3478154" cy="381600"/>
          </a:xfrm>
          <a:prstGeom prst="rect">
            <a:avLst/>
          </a:prstGeom>
        </p:spPr>
      </p:pic>
    </p:spTree>
    <p:extLst>
      <p:ext uri="{BB962C8B-B14F-4D97-AF65-F5344CB8AC3E}">
        <p14:creationId xmlns:p14="http://schemas.microsoft.com/office/powerpoint/2010/main" val="35683930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End Page Picture">
    <p:spTree>
      <p:nvGrpSpPr>
        <p:cNvPr id="1" name=""/>
        <p:cNvGrpSpPr/>
        <p:nvPr/>
      </p:nvGrpSpPr>
      <p:grpSpPr>
        <a:xfrm>
          <a:off x="0" y="0"/>
          <a:ext cx="0" cy="0"/>
          <a:chOff x="0" y="0"/>
          <a:chExt cx="0" cy="0"/>
        </a:xfrm>
      </p:grpSpPr>
      <p:pic>
        <p:nvPicPr>
          <p:cNvPr id="1026" name="Picture 2" descr="C:\Users\kerveillant\Desktop\WAVESTONE #ProdTools\4. Visuels\La city 2.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694"/>
          <a:stretch/>
        </p:blipFill>
        <p:spPr bwMode="auto">
          <a:xfrm>
            <a:off x="-19141" y="1"/>
            <a:ext cx="12211141" cy="6865389"/>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bwMode="black">
          <a:xfrm>
            <a:off x="-1277" y="-1"/>
            <a:ext cx="2835031" cy="5229201"/>
          </a:xfrm>
          <a:prstGeom prst="rect">
            <a:avLst/>
          </a:prstGeom>
          <a:noFill/>
        </p:spPr>
        <p:txBody>
          <a:bodyPr wrap="square" rtlCol="0" anchor="t" anchorCtr="1">
            <a:noAutofit/>
          </a:bodyPr>
          <a:lstStyle/>
          <a:p>
            <a:pPr algn="l">
              <a:lnSpc>
                <a:spcPct val="200000"/>
              </a:lnSpc>
            </a:pPr>
            <a:r>
              <a:rPr lang="fr-FR" sz="1000" noProof="0">
                <a:solidFill>
                  <a:schemeClr val="bg2"/>
                </a:solidFill>
              </a:rPr>
              <a:t>PARIS</a:t>
            </a:r>
          </a:p>
          <a:p>
            <a:pPr algn="l">
              <a:lnSpc>
                <a:spcPct val="200000"/>
              </a:lnSpc>
            </a:pPr>
            <a:r>
              <a:rPr lang="fr-FR" sz="1000" noProof="0">
                <a:solidFill>
                  <a:schemeClr val="bg2"/>
                </a:solidFill>
              </a:rPr>
              <a:t>LONDRES</a:t>
            </a:r>
          </a:p>
          <a:p>
            <a:pPr algn="l">
              <a:lnSpc>
                <a:spcPct val="200000"/>
              </a:lnSpc>
            </a:pPr>
            <a:r>
              <a:rPr lang="fr-FR" sz="1000" noProof="0">
                <a:solidFill>
                  <a:schemeClr val="bg2"/>
                </a:solidFill>
              </a:rPr>
              <a:t>NEW YORK</a:t>
            </a:r>
          </a:p>
          <a:p>
            <a:pPr algn="l">
              <a:lnSpc>
                <a:spcPct val="200000"/>
              </a:lnSpc>
            </a:pPr>
            <a:r>
              <a:rPr lang="fr-FR" sz="1000" noProof="0">
                <a:solidFill>
                  <a:schemeClr val="bg2"/>
                </a:solidFill>
              </a:rPr>
              <a:t>HONG KONG</a:t>
            </a:r>
          </a:p>
          <a:p>
            <a:pPr algn="l">
              <a:lnSpc>
                <a:spcPct val="200000"/>
              </a:lnSpc>
            </a:pPr>
            <a:r>
              <a:rPr lang="fr-FR" sz="1000" noProof="0">
                <a:solidFill>
                  <a:schemeClr val="bg2"/>
                </a:solidFill>
              </a:rPr>
              <a:t>SINGAPOUR *</a:t>
            </a:r>
          </a:p>
          <a:p>
            <a:pPr algn="l">
              <a:lnSpc>
                <a:spcPct val="200000"/>
              </a:lnSpc>
            </a:pPr>
            <a:r>
              <a:rPr lang="fr-FR" sz="1000" noProof="0">
                <a:solidFill>
                  <a:schemeClr val="bg2"/>
                </a:solidFill>
              </a:rPr>
              <a:t>DUBAI *</a:t>
            </a:r>
          </a:p>
          <a:p>
            <a:pPr algn="l">
              <a:lnSpc>
                <a:spcPct val="200000"/>
              </a:lnSpc>
            </a:pPr>
            <a:r>
              <a:rPr lang="fr-FR" sz="1000" noProof="0">
                <a:solidFill>
                  <a:schemeClr val="bg2"/>
                </a:solidFill>
              </a:rPr>
              <a:t>SAO PAULO *</a:t>
            </a:r>
          </a:p>
          <a:p>
            <a:pPr algn="l">
              <a:lnSpc>
                <a:spcPct val="200000"/>
              </a:lnSpc>
            </a:pPr>
            <a:r>
              <a:rPr lang="fr-FR" sz="1000" noProof="0">
                <a:solidFill>
                  <a:schemeClr val="bg2"/>
                </a:solidFill>
              </a:rPr>
              <a:t>LUXEMBOURG</a:t>
            </a:r>
          </a:p>
          <a:p>
            <a:pPr algn="l">
              <a:lnSpc>
                <a:spcPct val="200000"/>
              </a:lnSpc>
            </a:pPr>
            <a:r>
              <a:rPr lang="fr-FR" sz="1000" noProof="0">
                <a:solidFill>
                  <a:schemeClr val="bg2"/>
                </a:solidFill>
              </a:rPr>
              <a:t>MADRID *</a:t>
            </a:r>
          </a:p>
          <a:p>
            <a:pPr algn="l">
              <a:lnSpc>
                <a:spcPct val="200000"/>
              </a:lnSpc>
            </a:pPr>
            <a:r>
              <a:rPr lang="fr-FR" sz="1000" noProof="0">
                <a:solidFill>
                  <a:schemeClr val="bg2"/>
                </a:solidFill>
              </a:rPr>
              <a:t>MILAN *</a:t>
            </a:r>
          </a:p>
          <a:p>
            <a:pPr marL="0" marR="0" indent="0" algn="l" defTabSz="914400" rtl="0" eaLnBrk="1" fontAlgn="auto" latinLnBrk="0" hangingPunct="1">
              <a:lnSpc>
                <a:spcPct val="200000"/>
              </a:lnSpc>
              <a:spcBef>
                <a:spcPts val="0"/>
              </a:spcBef>
              <a:spcAft>
                <a:spcPts val="0"/>
              </a:spcAft>
              <a:buClrTx/>
              <a:buSzTx/>
              <a:buFontTx/>
              <a:buNone/>
              <a:tabLst/>
              <a:defRPr/>
            </a:pPr>
            <a:r>
              <a:rPr lang="fr-FR" sz="1000" noProof="0">
                <a:solidFill>
                  <a:schemeClr val="bg2"/>
                </a:solidFill>
              </a:rPr>
              <a:t>BRUXELLES</a:t>
            </a:r>
          </a:p>
          <a:p>
            <a:pPr algn="l">
              <a:lnSpc>
                <a:spcPct val="200000"/>
              </a:lnSpc>
            </a:pPr>
            <a:r>
              <a:rPr lang="fr-FR" sz="1000" noProof="0">
                <a:solidFill>
                  <a:schemeClr val="bg2"/>
                </a:solidFill>
              </a:rPr>
              <a:t>GENEVE</a:t>
            </a:r>
          </a:p>
          <a:p>
            <a:pPr algn="l">
              <a:lnSpc>
                <a:spcPct val="200000"/>
              </a:lnSpc>
            </a:pPr>
            <a:r>
              <a:rPr lang="fr-FR" sz="1000" noProof="0">
                <a:solidFill>
                  <a:schemeClr val="bg2"/>
                </a:solidFill>
              </a:rPr>
              <a:t>CASABLANCA</a:t>
            </a:r>
          </a:p>
          <a:p>
            <a:pPr algn="l">
              <a:lnSpc>
                <a:spcPct val="200000"/>
              </a:lnSpc>
            </a:pPr>
            <a:r>
              <a:rPr lang="fr-FR" sz="1000" noProof="0">
                <a:solidFill>
                  <a:schemeClr val="bg2"/>
                </a:solidFill>
              </a:rPr>
              <a:t>ISTANBUL * </a:t>
            </a:r>
          </a:p>
          <a:p>
            <a:pPr algn="l">
              <a:lnSpc>
                <a:spcPct val="200000"/>
              </a:lnSpc>
            </a:pPr>
            <a:r>
              <a:rPr lang="fr-FR" sz="1000" noProof="0">
                <a:solidFill>
                  <a:schemeClr val="bg2"/>
                </a:solidFill>
              </a:rPr>
              <a:t>LYON</a:t>
            </a:r>
          </a:p>
          <a:p>
            <a:pPr algn="l">
              <a:lnSpc>
                <a:spcPct val="200000"/>
              </a:lnSpc>
            </a:pPr>
            <a:r>
              <a:rPr lang="fr-FR" sz="1000" noProof="0">
                <a:solidFill>
                  <a:schemeClr val="bg2"/>
                </a:solidFill>
              </a:rPr>
              <a:t>MARSEILLE</a:t>
            </a:r>
          </a:p>
          <a:p>
            <a:pPr algn="l">
              <a:lnSpc>
                <a:spcPct val="200000"/>
              </a:lnSpc>
            </a:pPr>
            <a:r>
              <a:rPr lang="fr-FR" sz="1000" noProof="0">
                <a:solidFill>
                  <a:schemeClr val="bg2"/>
                </a:solidFill>
              </a:rPr>
              <a:t>NANTES</a:t>
            </a:r>
          </a:p>
          <a:p>
            <a:pPr algn="l"/>
            <a:endParaRPr lang="fr-FR" sz="1000" noProof="0">
              <a:solidFill>
                <a:schemeClr val="bg2"/>
              </a:solidFill>
            </a:endParaRPr>
          </a:p>
        </p:txBody>
      </p:sp>
      <p:sp>
        <p:nvSpPr>
          <p:cNvPr id="2" name="TextBox 1"/>
          <p:cNvSpPr txBox="1"/>
          <p:nvPr userDrawn="1"/>
        </p:nvSpPr>
        <p:spPr bwMode="black">
          <a:xfrm>
            <a:off x="778486" y="5301209"/>
            <a:ext cx="930462" cy="200055"/>
          </a:xfrm>
          <a:prstGeom prst="rect">
            <a:avLst/>
          </a:prstGeom>
          <a:noFill/>
        </p:spPr>
        <p:txBody>
          <a:bodyPr wrap="square" rtlCol="0">
            <a:spAutoFit/>
          </a:bodyPr>
          <a:lstStyle/>
          <a:p>
            <a:pPr algn="l"/>
            <a:r>
              <a:rPr lang="fr-FR" sz="700" noProof="0">
                <a:solidFill>
                  <a:schemeClr val="bg2"/>
                </a:solidFill>
              </a:rPr>
              <a:t>* Partenariats</a:t>
            </a:r>
          </a:p>
        </p:txBody>
      </p:sp>
      <p:pic>
        <p:nvPicPr>
          <p:cNvPr id="9" name="Picture 7"/>
          <p:cNvPicPr>
            <a:picLocks/>
          </p:cNvPicPr>
          <p:nvPr userDrawn="1"/>
        </p:nvPicPr>
        <p:blipFill>
          <a:blip r:embed="rId3"/>
          <a:stretch>
            <a:fillRect/>
          </a:stretch>
        </p:blipFill>
        <p:spPr>
          <a:xfrm>
            <a:off x="8152615" y="1152000"/>
            <a:ext cx="3478154" cy="381600"/>
          </a:xfrm>
          <a:prstGeom prst="rect">
            <a:avLst/>
          </a:prstGeom>
        </p:spPr>
      </p:pic>
    </p:spTree>
    <p:extLst>
      <p:ext uri="{BB962C8B-B14F-4D97-AF65-F5344CB8AC3E}">
        <p14:creationId xmlns:p14="http://schemas.microsoft.com/office/powerpoint/2010/main" val="40835276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uidelines">
    <p:spTree>
      <p:nvGrpSpPr>
        <p:cNvPr id="1" name=""/>
        <p:cNvGrpSpPr/>
        <p:nvPr/>
      </p:nvGrpSpPr>
      <p:grpSpPr>
        <a:xfrm>
          <a:off x="0" y="0"/>
          <a:ext cx="0" cy="0"/>
          <a:chOff x="0" y="0"/>
          <a:chExt cx="0" cy="0"/>
        </a:xfrm>
      </p:grpSpPr>
      <p:graphicFrame>
        <p:nvGraphicFramePr>
          <p:cNvPr id="5" name="Table 4"/>
          <p:cNvGraphicFramePr>
            <a:graphicFrameLocks noGrp="1"/>
          </p:cNvGraphicFramePr>
          <p:nvPr userDrawn="1">
            <p:extLst>
              <p:ext uri="{D42A27DB-BD31-4B8C-83A1-F6EECF244321}">
                <p14:modId xmlns:p14="http://schemas.microsoft.com/office/powerpoint/2010/main" val="1403391821"/>
              </p:ext>
            </p:extLst>
          </p:nvPr>
        </p:nvGraphicFramePr>
        <p:xfrm>
          <a:off x="486065" y="3212976"/>
          <a:ext cx="11561351" cy="359664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2381692">
                  <a:extLst>
                    <a:ext uri="{9D8B030D-6E8A-4147-A177-3AD203B41FA5}">
                      <a16:colId xmlns:a16="http://schemas.microsoft.com/office/drawing/2014/main" val="20006"/>
                    </a:ext>
                  </a:extLst>
                </a:gridCol>
                <a:gridCol w="1937737">
                  <a:extLst>
                    <a:ext uri="{9D8B030D-6E8A-4147-A177-3AD203B41FA5}">
                      <a16:colId xmlns:a16="http://schemas.microsoft.com/office/drawing/2014/main" val="20007"/>
                    </a:ext>
                  </a:extLst>
                </a:gridCol>
              </a:tblGrid>
              <a:tr h="364884">
                <a:tc>
                  <a:txBody>
                    <a:bodyPr/>
                    <a:lstStyle/>
                    <a:p>
                      <a:r>
                        <a:rPr lang="fr-FR" sz="900" b="1"/>
                        <a:t>Niveau</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Police</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Couleur</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Taille</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Effet</a:t>
                      </a:r>
                    </a:p>
                  </a:txBody>
                  <a:tcPr marL="112542" marR="112542">
                    <a:solidFill>
                      <a:schemeClr val="bg1">
                        <a:lumMod val="95000"/>
                      </a:schemeClr>
                    </a:solidFill>
                  </a:tcPr>
                </a:tc>
                <a:tc>
                  <a:txBody>
                    <a:bodyPr/>
                    <a:lstStyle/>
                    <a:p>
                      <a:pPr algn="ctr"/>
                      <a:r>
                        <a:rPr lang="fr-FR" sz="900" b="1" kern="1200">
                          <a:solidFill>
                            <a:schemeClr val="tx1"/>
                          </a:solidFill>
                          <a:latin typeface="+mn-lt"/>
                          <a:ea typeface="+mn-ea"/>
                          <a:cs typeface="+mn-cs"/>
                        </a:rPr>
                        <a:t>Bullet </a:t>
                      </a:r>
                    </a:p>
                  </a:txBody>
                  <a:tcPr marL="112542" marR="112542">
                    <a:solidFill>
                      <a:schemeClr val="bg1">
                        <a:lumMod val="95000"/>
                      </a:schemeClr>
                    </a:solidFill>
                  </a:tcPr>
                </a:tc>
                <a:tc>
                  <a:txBody>
                    <a:bodyPr/>
                    <a:lstStyle/>
                    <a:p>
                      <a:r>
                        <a:rPr lang="fr-FR" sz="900" b="1" kern="1200">
                          <a:solidFill>
                            <a:schemeClr val="tx1"/>
                          </a:solidFill>
                          <a:latin typeface="+mn-lt"/>
                          <a:ea typeface="+mn-ea"/>
                          <a:cs typeface="+mn-cs"/>
                        </a:rPr>
                        <a:t>Retrait </a:t>
                      </a:r>
                      <a:br>
                        <a:rPr lang="fr-FR" sz="900" b="1" kern="1200">
                          <a:solidFill>
                            <a:schemeClr val="tx1"/>
                          </a:solidFill>
                          <a:latin typeface="+mn-lt"/>
                          <a:ea typeface="+mn-ea"/>
                          <a:cs typeface="+mn-cs"/>
                        </a:rPr>
                      </a:br>
                      <a:r>
                        <a:rPr lang="fr-FR" sz="900" b="1" kern="1200">
                          <a:solidFill>
                            <a:schemeClr val="tx1"/>
                          </a:solidFill>
                          <a:latin typeface="+mn-lt"/>
                          <a:ea typeface="+mn-ea"/>
                          <a:cs typeface="+mn-cs"/>
                        </a:rPr>
                        <a:t>Paragraphe</a:t>
                      </a:r>
                    </a:p>
                  </a:txBody>
                  <a:tcPr marL="112542" marR="112542">
                    <a:solidFill>
                      <a:schemeClr val="bg1">
                        <a:lumMod val="95000"/>
                      </a:schemeClr>
                    </a:solidFill>
                  </a:tcPr>
                </a:tc>
                <a:tc>
                  <a:txBody>
                    <a:bodyPr/>
                    <a:lstStyle/>
                    <a:p>
                      <a:r>
                        <a:rPr lang="fr-FR" sz="900" b="1" kern="1200">
                          <a:solidFill>
                            <a:schemeClr val="tx1"/>
                          </a:solidFill>
                          <a:latin typeface="+mn-lt"/>
                          <a:ea typeface="+mn-ea"/>
                          <a:cs typeface="+mn-cs"/>
                        </a:rPr>
                        <a:t>Espacement </a:t>
                      </a:r>
                    </a:p>
                    <a:p>
                      <a:r>
                        <a:rPr lang="fr-FR" sz="900" b="1" kern="1200">
                          <a:solidFill>
                            <a:schemeClr val="tx1"/>
                          </a:solidFill>
                          <a:latin typeface="+mn-lt"/>
                          <a:ea typeface="+mn-ea"/>
                          <a:cs typeface="+mn-cs"/>
                        </a:rPr>
                        <a:t>Paragraphe</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fr-FR" sz="1000" i="0" kern="1200" cap="all" baseline="0">
                          <a:solidFill>
                            <a:schemeClr val="accent4"/>
                          </a:solidFill>
                          <a:latin typeface="+mj-lt"/>
                          <a:ea typeface="+mn-ea"/>
                          <a:cs typeface="+mn-cs"/>
                        </a:rPr>
                        <a:t>surtitre</a:t>
                      </a:r>
                    </a:p>
                  </a:txBody>
                  <a:tcPr marL="112542" marR="112542" anchor="ctr">
                    <a:solidFill>
                      <a:schemeClr val="bg1"/>
                    </a:solidFill>
                  </a:tcPr>
                </a:tc>
                <a:tc>
                  <a:txBody>
                    <a:bodyPr/>
                    <a:lstStyle/>
                    <a:p>
                      <a:pPr algn="ctr"/>
                      <a:r>
                        <a:rPr lang="fr-FR" sz="1000" i="0" kern="1200" cap="none" baseline="0" err="1">
                          <a:solidFill>
                            <a:schemeClr val="tx1"/>
                          </a:solidFill>
                          <a:latin typeface="+mn-lt"/>
                          <a:ea typeface="+mn-ea"/>
                          <a:cs typeface="+mn-cs"/>
                        </a:rPr>
                        <a:t>Tahoma</a:t>
                      </a:r>
                      <a:r>
                        <a:rPr lang="fr-FR" sz="1000" i="0" kern="1200" cap="none" baseline="0">
                          <a:solidFill>
                            <a:schemeClr val="tx1"/>
                          </a:solidFill>
                          <a:latin typeface="+mn-lt"/>
                          <a:ea typeface="+mn-ea"/>
                          <a:cs typeface="+mn-cs"/>
                        </a:rPr>
                        <a:t> </a:t>
                      </a:r>
                      <a:r>
                        <a:rPr lang="fr-FR" sz="1000" i="0" kern="1200" cap="none" baseline="0" err="1">
                          <a:solidFill>
                            <a:schemeClr val="tx1"/>
                          </a:solidFill>
                          <a:latin typeface="+mn-lt"/>
                          <a:ea typeface="+mn-ea"/>
                          <a:cs typeface="+mn-cs"/>
                        </a:rPr>
                        <a:t>Headings</a:t>
                      </a:r>
                      <a:endParaRPr lang="fr-FR" sz="1000" i="0" kern="1200" cap="none" baseline="0">
                        <a:solidFill>
                          <a:schemeClr val="tx1"/>
                        </a:solidFill>
                        <a:latin typeface="+mn-lt"/>
                        <a:ea typeface="+mn-ea"/>
                        <a:cs typeface="+mn-cs"/>
                      </a:endParaRP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47 / 132 / 129</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0</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ALL CAPS</a:t>
                      </a: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Pas d’interligne</a:t>
                      </a:r>
                    </a:p>
                  </a:txBody>
                  <a:tcPr marL="112542" marR="112542" anchor="ctr">
                    <a:solidFill>
                      <a:schemeClr val="bg1"/>
                    </a:solidFill>
                  </a:tcPr>
                </a:tc>
                <a:extLst>
                  <a:ext uri="{0D108BD9-81ED-4DB2-BD59-A6C34878D82A}">
                    <a16:rowId xmlns:a16="http://schemas.microsoft.com/office/drawing/2014/main" val="10001"/>
                  </a:ext>
                </a:extLst>
              </a:tr>
              <a:tr h="192471">
                <a:tc>
                  <a:txBody>
                    <a:bodyPr/>
                    <a:lstStyle/>
                    <a:p>
                      <a:r>
                        <a:rPr lang="fr-FR" sz="2200" kern="1200" baseline="0">
                          <a:solidFill>
                            <a:schemeClr val="bg2"/>
                          </a:solidFill>
                          <a:latin typeface="+mj-lt"/>
                          <a:ea typeface="+mj-ea"/>
                          <a:cs typeface="+mj-cs"/>
                        </a:rPr>
                        <a:t>Titre</a:t>
                      </a:r>
                    </a:p>
                  </a:txBody>
                  <a:tcPr marL="112542" marR="112542" anchor="ctr">
                    <a:solidFill>
                      <a:schemeClr val="bg1"/>
                    </a:solidFill>
                  </a:tcPr>
                </a:tc>
                <a:tc>
                  <a:txBody>
                    <a:bodyPr/>
                    <a:lstStyle/>
                    <a:p>
                      <a:pPr algn="ctr"/>
                      <a:r>
                        <a:rPr lang="fr-FR" sz="1000" i="0" kern="1200" cap="none" baseline="0" err="1">
                          <a:solidFill>
                            <a:schemeClr val="tx1"/>
                          </a:solidFill>
                          <a:latin typeface="+mn-lt"/>
                          <a:ea typeface="+mn-ea"/>
                          <a:cs typeface="+mn-cs"/>
                        </a:rPr>
                        <a:t>Tahoma</a:t>
                      </a:r>
                      <a:r>
                        <a:rPr lang="fr-FR" sz="1000" i="0" kern="1200" cap="none" baseline="0">
                          <a:solidFill>
                            <a:schemeClr val="tx1"/>
                          </a:solidFill>
                          <a:latin typeface="+mn-lt"/>
                          <a:ea typeface="+mn-ea"/>
                          <a:cs typeface="+mn-cs"/>
                        </a:rPr>
                        <a:t> </a:t>
                      </a:r>
                      <a:r>
                        <a:rPr lang="fr-FR" sz="1000" i="0" kern="1200" cap="none" baseline="0" err="1">
                          <a:solidFill>
                            <a:schemeClr val="tx1"/>
                          </a:solidFill>
                          <a:latin typeface="+mn-lt"/>
                          <a:ea typeface="+mn-ea"/>
                          <a:cs typeface="+mn-cs"/>
                        </a:rPr>
                        <a:t>Headings</a:t>
                      </a:r>
                      <a:endParaRPr lang="fr-FR" sz="1000" i="0" kern="1200" cap="none" baseline="0">
                        <a:solidFill>
                          <a:schemeClr val="tx1"/>
                        </a:solidFill>
                        <a:latin typeface="+mn-lt"/>
                        <a:ea typeface="+mn-ea"/>
                        <a:cs typeface="+mn-cs"/>
                      </a:endParaRPr>
                    </a:p>
                    <a:p>
                      <a:pPr algn="ctr"/>
                      <a:endParaRPr lang="fr-FR" sz="1000" i="0" kern="1200" cap="none" baseline="0">
                        <a:solidFill>
                          <a:schemeClr val="tx1"/>
                        </a:solidFill>
                        <a:latin typeface="+mn-lt"/>
                        <a:ea typeface="+mn-ea"/>
                        <a:cs typeface="+mn-cs"/>
                      </a:endParaRP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80 / 48 /120</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8</a:t>
                      </a:r>
                    </a:p>
                  </a:txBody>
                  <a:tcPr marL="112542" marR="112542" anchor="ctr">
                    <a:solidFill>
                      <a:schemeClr val="bg1"/>
                    </a:solidFill>
                  </a:tcPr>
                </a:tc>
                <a:tc>
                  <a:txBody>
                    <a:bodyPr/>
                    <a:lstStyle/>
                    <a:p>
                      <a:pPr algn="ctr"/>
                      <a:r>
                        <a:rPr kumimoji="0" lang="fr-FR" sz="1000" b="0" i="0" u="none" strike="noStrike" kern="1200" cap="none" spc="0" normalizeH="0" baseline="0" noProof="0">
                          <a:ln>
                            <a:noFill/>
                          </a:ln>
                          <a:solidFill>
                            <a:srgbClr val="333333"/>
                          </a:solidFill>
                          <a:effectLst/>
                          <a:uLnTx/>
                          <a:uFillTx/>
                          <a:latin typeface="+mn-lt"/>
                          <a:ea typeface="+mn-ea"/>
                          <a:cs typeface="+mn-cs"/>
                        </a:rPr>
                        <a:t>Normal</a:t>
                      </a:r>
                      <a:endParaRPr lang="fr-FR" sz="1000" i="0" kern="1200" cap="all" baseline="0">
                        <a:solidFill>
                          <a:schemeClr val="tx1"/>
                        </a:solidFill>
                        <a:latin typeface="+mn-lt"/>
                        <a:ea typeface="+mn-ea"/>
                        <a:cs typeface="+mn-cs"/>
                      </a:endParaRP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Pas d’interligne</a:t>
                      </a:r>
                    </a:p>
                  </a:txBody>
                  <a:tcPr marL="112542" marR="112542" anchor="ctr">
                    <a:solidFill>
                      <a:schemeClr val="bg1"/>
                    </a:solidFill>
                  </a:tcPr>
                </a:tc>
                <a:extLst>
                  <a:ext uri="{0D108BD9-81ED-4DB2-BD59-A6C34878D82A}">
                    <a16:rowId xmlns:a16="http://schemas.microsoft.com/office/drawing/2014/main" val="10002"/>
                  </a:ext>
                </a:extLst>
              </a:tr>
              <a:tr h="364884">
                <a:tc>
                  <a:txBody>
                    <a:bodyPr/>
                    <a:lstStyle/>
                    <a:p>
                      <a:pPr lvl="0"/>
                      <a:r>
                        <a:rPr lang="fr-FR" sz="1600" i="0" kern="1200" cap="none" baseline="0">
                          <a:solidFill>
                            <a:srgbClr val="503078"/>
                          </a:solidFill>
                          <a:latin typeface="+mn-lt"/>
                          <a:ea typeface="+mn-ea"/>
                          <a:cs typeface="+mn-cs"/>
                        </a:rPr>
                        <a:t>Niveau 1</a:t>
                      </a:r>
                    </a:p>
                  </a:txBody>
                  <a:tcPr marL="112542" marR="112542" anchor="ctr">
                    <a:solidFill>
                      <a:schemeClr val="bg1"/>
                    </a:solidFill>
                  </a:tcPr>
                </a:tc>
                <a:tc>
                  <a:txBody>
                    <a:bodyPr/>
                    <a:lstStyle/>
                    <a:p>
                      <a:pPr algn="ctr"/>
                      <a:r>
                        <a:rPr lang="fr-FR" sz="1000" i="0" kern="1200" cap="none" baseline="0" err="1">
                          <a:solidFill>
                            <a:schemeClr val="tx1"/>
                          </a:solidFill>
                          <a:latin typeface="+mn-lt"/>
                          <a:ea typeface="+mn-ea"/>
                          <a:cs typeface="+mn-cs"/>
                        </a:rPr>
                        <a:t>Tahoma</a:t>
                      </a:r>
                      <a:r>
                        <a:rPr lang="fr-FR" sz="1000" i="0" kern="1200" cap="none" baseline="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80 / 48 /120</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16</a:t>
                      </a:r>
                    </a:p>
                  </a:txBody>
                  <a:tcPr marL="112542" marR="112542" anchor="ctr">
                    <a:solidFill>
                      <a:schemeClr val="bg1"/>
                    </a:solidFill>
                  </a:tcPr>
                </a:tc>
                <a:tc>
                  <a:txBody>
                    <a:bodyPr/>
                    <a:lstStyle/>
                    <a:p>
                      <a:pPr algn="ctr"/>
                      <a:r>
                        <a:rPr kumimoji="0" lang="fr-FR" sz="1000" b="0" i="0" u="none" strike="noStrike" kern="1200" cap="none" spc="0" normalizeH="0" baseline="0" noProof="0">
                          <a:ln>
                            <a:noFill/>
                          </a:ln>
                          <a:solidFill>
                            <a:srgbClr val="333333"/>
                          </a:solidFill>
                          <a:effectLst/>
                          <a:uLnTx/>
                          <a:uFillTx/>
                          <a:latin typeface="+mn-lt"/>
                          <a:ea typeface="+mn-ea"/>
                          <a:cs typeface="+mn-cs"/>
                        </a:rPr>
                        <a:t>Normal</a:t>
                      </a:r>
                      <a:endParaRPr lang="fr-FR" sz="1000" i="0" kern="1200" cap="all" baseline="0">
                        <a:solidFill>
                          <a:schemeClr val="tx1"/>
                        </a:solidFill>
                        <a:latin typeface="+mn-lt"/>
                        <a:ea typeface="+mn-ea"/>
                        <a:cs typeface="+mn-cs"/>
                      </a:endParaRP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0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3"/>
                  </a:ext>
                </a:extLst>
              </a:tr>
              <a:tr h="364884">
                <a:tc>
                  <a:txBody>
                    <a:bodyPr/>
                    <a:lstStyle/>
                    <a:p>
                      <a:pPr marL="285750" indent="-285750">
                        <a:buClr>
                          <a:schemeClr val="bg2"/>
                        </a:buClr>
                        <a:buFont typeface="Tempus Sans ITC" panose="04020404030D07020202" pitchFamily="82" charset="0"/>
                        <a:buChar char="/"/>
                      </a:pPr>
                      <a:r>
                        <a:rPr lang="fr-FR" sz="1400" kern="1200">
                          <a:solidFill>
                            <a:schemeClr val="tx1"/>
                          </a:solidFill>
                          <a:latin typeface="+mn-lt"/>
                          <a:ea typeface="+mn-ea"/>
                          <a:cs typeface="+mn-cs"/>
                        </a:rPr>
                        <a:t>Niveau 2</a:t>
                      </a:r>
                    </a:p>
                  </a:txBody>
                  <a:tcPr marL="112542" marR="112542" anchor="ctr">
                    <a:solidFill>
                      <a:schemeClr val="bg1"/>
                    </a:solidFill>
                  </a:tcPr>
                </a:tc>
                <a:tc>
                  <a:txBody>
                    <a:bodyPr/>
                    <a:lstStyle/>
                    <a:p>
                      <a:pPr algn="ctr"/>
                      <a:r>
                        <a:rPr lang="fr-FR" sz="1000" kern="1200" err="1">
                          <a:solidFill>
                            <a:schemeClr val="tx1"/>
                          </a:solidFill>
                          <a:latin typeface="+mn-lt"/>
                          <a:ea typeface="+mn-ea"/>
                          <a:cs typeface="+mn-cs"/>
                        </a:rPr>
                        <a:t>Tahoma</a:t>
                      </a:r>
                      <a:r>
                        <a:rPr lang="fr-FR" sz="1000" kern="120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14</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00" kern="1200" cap="none" baseline="0">
                          <a:solidFill>
                            <a:schemeClr val="tx1"/>
                          </a:solidFill>
                          <a:latin typeface="+mn-lt"/>
                          <a:ea typeface="+mn-ea"/>
                          <a:cs typeface="+mn-cs"/>
                        </a:rPr>
                        <a:t>Font Tempus Sans ITC</a:t>
                      </a:r>
                      <a:br>
                        <a:rPr lang="fr-FR" sz="1000" kern="1200" cap="none" baseline="0">
                          <a:solidFill>
                            <a:schemeClr val="tx1"/>
                          </a:solidFill>
                          <a:latin typeface="+mn-lt"/>
                          <a:ea typeface="+mn-ea"/>
                          <a:cs typeface="+mn-cs"/>
                        </a:rPr>
                      </a:br>
                      <a:r>
                        <a:rPr lang="fr-FR" sz="1000" kern="1200" cap="none" baseline="0">
                          <a:solidFill>
                            <a:schemeClr val="tx1"/>
                          </a:solidFill>
                          <a:latin typeface="+mn-lt"/>
                          <a:ea typeface="+mn-ea"/>
                          <a:cs typeface="+mn-cs"/>
                        </a:rPr>
                        <a:t>code 002F</a:t>
                      </a: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1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4"/>
                  </a:ext>
                </a:extLst>
              </a:tr>
              <a:tr h="364884">
                <a:tc>
                  <a:txBody>
                    <a:bodyPr/>
                    <a:lstStyle/>
                    <a:p>
                      <a:r>
                        <a:rPr lang="fr-FR" sz="1400" kern="1200">
                          <a:solidFill>
                            <a:schemeClr val="tx1"/>
                          </a:solidFill>
                          <a:latin typeface="+mn-lt"/>
                          <a:ea typeface="+mn-ea"/>
                          <a:cs typeface="+mn-cs"/>
                        </a:rPr>
                        <a:t>Niveau 3</a:t>
                      </a:r>
                    </a:p>
                  </a:txBody>
                  <a:tcPr marL="112542" marR="112542" anchor="ctr">
                    <a:solidFill>
                      <a:schemeClr val="bg1"/>
                    </a:solidFill>
                  </a:tcPr>
                </a:tc>
                <a:tc>
                  <a:txBody>
                    <a:bodyPr/>
                    <a:lstStyle/>
                    <a:p>
                      <a:pPr algn="ctr"/>
                      <a:r>
                        <a:rPr lang="fr-FR" sz="1000" kern="1200" err="1">
                          <a:solidFill>
                            <a:schemeClr val="tx1"/>
                          </a:solidFill>
                          <a:latin typeface="+mn-lt"/>
                          <a:ea typeface="+mn-ea"/>
                          <a:cs typeface="+mn-cs"/>
                        </a:rPr>
                        <a:t>Tahoma</a:t>
                      </a:r>
                      <a:r>
                        <a:rPr lang="fr-FR" sz="1000" kern="120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14</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Normal</a:t>
                      </a:r>
                    </a:p>
                  </a:txBody>
                  <a:tcPr marL="112542" marR="112542" anchor="ctr">
                    <a:solidFill>
                      <a:schemeClr val="bg1"/>
                    </a:solidFill>
                  </a:tcPr>
                </a:tc>
                <a:tc>
                  <a:txBody>
                    <a:bodyPr/>
                    <a:lstStyle/>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1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fr-FR" sz="1200" kern="1200" cap="none" baseline="0">
                          <a:solidFill>
                            <a:schemeClr val="tx1"/>
                          </a:solidFill>
                          <a:latin typeface="+mn-lt"/>
                          <a:ea typeface="+mn-ea"/>
                          <a:cs typeface="+mn-cs"/>
                        </a:rPr>
                        <a:t>Niveau 4</a:t>
                      </a:r>
                    </a:p>
                  </a:txBody>
                  <a:tcPr marL="112542" marR="112542" anchor="ctr">
                    <a:solidFill>
                      <a:schemeClr val="bg1"/>
                    </a:solidFill>
                  </a:tcPr>
                </a:tc>
                <a:tc>
                  <a:txBody>
                    <a:bodyPr/>
                    <a:lstStyle/>
                    <a:p>
                      <a:pPr algn="ctr"/>
                      <a:r>
                        <a:rPr lang="fr-FR" sz="1000" kern="1200" cap="none" baseline="0" err="1">
                          <a:solidFill>
                            <a:schemeClr val="tx1"/>
                          </a:solidFill>
                          <a:latin typeface="+mn-lt"/>
                          <a:ea typeface="+mn-ea"/>
                          <a:cs typeface="+mn-cs"/>
                        </a:rPr>
                        <a:t>Tahoma</a:t>
                      </a:r>
                      <a:r>
                        <a:rPr lang="fr-FR" sz="1000" kern="1200" cap="none" baseline="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cap="none" baseline="0">
                          <a:solidFill>
                            <a:schemeClr val="tx1"/>
                          </a:solidFill>
                          <a:latin typeface="+mn-lt"/>
                          <a:ea typeface="+mn-ea"/>
                          <a:cs typeface="+mn-cs"/>
                        </a:rPr>
                        <a:t>12</a:t>
                      </a:r>
                    </a:p>
                  </a:txBody>
                  <a:tcPr marL="112542" marR="112542" anchor="ctr">
                    <a:solidFill>
                      <a:schemeClr val="bg1"/>
                    </a:solidFill>
                  </a:tcPr>
                </a:tc>
                <a:tc>
                  <a:txBody>
                    <a:bodyPr/>
                    <a:lstStyle/>
                    <a:p>
                      <a:pPr algn="ctr"/>
                      <a:r>
                        <a:rPr lang="fr-FR" sz="1000" kern="1200" cap="none" baseline="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fr-FR" sz="1000" kern="1200" cap="none" baseline="0">
                          <a:solidFill>
                            <a:schemeClr val="tx1"/>
                          </a:solidFill>
                          <a:latin typeface="+mn-lt"/>
                          <a:ea typeface="+mn-ea"/>
                          <a:cs typeface="+mn-cs"/>
                        </a:rPr>
                        <a:t>Font </a:t>
                      </a:r>
                      <a:r>
                        <a:rPr lang="fr-FR" sz="1000" kern="1200" cap="none" baseline="0" err="1">
                          <a:solidFill>
                            <a:schemeClr val="tx1"/>
                          </a:solidFill>
                          <a:latin typeface="+mn-lt"/>
                          <a:ea typeface="+mn-ea"/>
                          <a:cs typeface="+mn-cs"/>
                        </a:rPr>
                        <a:t>Tahoma</a:t>
                      </a:r>
                      <a:r>
                        <a:rPr lang="fr-FR" sz="1000" kern="1200" cap="none" baseline="0">
                          <a:solidFill>
                            <a:schemeClr val="tx1"/>
                          </a:solidFill>
                          <a:latin typeface="+mn-lt"/>
                          <a:ea typeface="+mn-ea"/>
                          <a:cs typeface="+mn-cs"/>
                        </a:rPr>
                        <a:t> </a:t>
                      </a:r>
                      <a:br>
                        <a:rPr lang="fr-FR" sz="1000" kern="1200" cap="none" baseline="0">
                          <a:solidFill>
                            <a:schemeClr val="tx1"/>
                          </a:solidFill>
                          <a:latin typeface="+mn-lt"/>
                          <a:ea typeface="+mn-ea"/>
                          <a:cs typeface="+mn-cs"/>
                        </a:rPr>
                      </a:br>
                      <a:r>
                        <a:rPr lang="fr-FR" sz="1000" kern="1200" cap="none" baseline="0">
                          <a:solidFill>
                            <a:schemeClr val="tx1"/>
                          </a:solidFill>
                          <a:latin typeface="+mn-lt"/>
                          <a:ea typeface="+mn-ea"/>
                          <a:cs typeface="+mn-cs"/>
                        </a:rPr>
                        <a:t>code 203A</a:t>
                      </a: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1,8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fr-FR" sz="1000" kern="1200">
                          <a:solidFill>
                            <a:schemeClr val="tx1"/>
                          </a:solidFill>
                          <a:latin typeface="+mn-lt"/>
                          <a:ea typeface="+mn-ea"/>
                          <a:cs typeface="+mn-cs"/>
                        </a:rPr>
                        <a:t>Niveau 5</a:t>
                      </a:r>
                    </a:p>
                  </a:txBody>
                  <a:tcPr marL="112542" marR="112542" anchor="ctr">
                    <a:solidFill>
                      <a:schemeClr val="bg1"/>
                    </a:solidFill>
                  </a:tcPr>
                </a:tc>
                <a:tc>
                  <a:txBody>
                    <a:bodyPr/>
                    <a:lstStyle/>
                    <a:p>
                      <a:pPr algn="ctr"/>
                      <a:r>
                        <a:rPr lang="fr-FR" sz="1000" kern="1200" err="1">
                          <a:solidFill>
                            <a:schemeClr val="tx1"/>
                          </a:solidFill>
                          <a:latin typeface="+mn-lt"/>
                          <a:ea typeface="+mn-ea"/>
                          <a:cs typeface="+mn-cs"/>
                        </a:rPr>
                        <a:t>Tahoma</a:t>
                      </a:r>
                      <a:r>
                        <a:rPr lang="fr-FR" sz="1000" kern="1200">
                          <a:solidFill>
                            <a:schemeClr val="tx1"/>
                          </a:solidFill>
                          <a:latin typeface="+mn-lt"/>
                          <a:ea typeface="+mn-ea"/>
                          <a:cs typeface="+mn-cs"/>
                        </a:rPr>
                        <a:t> body</a:t>
                      </a:r>
                    </a:p>
                  </a:txBody>
                  <a:tcPr marL="112542" marR="112542" anchor="ctr">
                    <a:solidFill>
                      <a:schemeClr val="bg1"/>
                    </a:solidFill>
                  </a:tcPr>
                </a:tc>
                <a:tc>
                  <a:txBody>
                    <a:bodyPr/>
                    <a:lstStyle/>
                    <a:p>
                      <a:pPr algn="ctr"/>
                      <a:r>
                        <a:rPr lang="fr-FR" sz="1000" i="0" kern="1200" cap="all" baseline="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10</a:t>
                      </a:r>
                    </a:p>
                  </a:txBody>
                  <a:tcPr marL="112542" marR="112542" anchor="ctr">
                    <a:solidFill>
                      <a:schemeClr val="bg1"/>
                    </a:solidFill>
                  </a:tcPr>
                </a:tc>
                <a:tc>
                  <a:txBody>
                    <a:bodyPr/>
                    <a:lstStyle/>
                    <a:p>
                      <a:pPr algn="ctr"/>
                      <a:r>
                        <a:rPr lang="fr-FR" sz="1000" kern="120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Font </a:t>
                      </a:r>
                      <a:r>
                        <a:rPr lang="fr-FR" sz="1000" kern="1200" err="1">
                          <a:solidFill>
                            <a:schemeClr val="tx1"/>
                          </a:solidFill>
                          <a:latin typeface="+mn-lt"/>
                          <a:ea typeface="+mn-ea"/>
                          <a:cs typeface="+mn-cs"/>
                        </a:rPr>
                        <a:t>Tahoma</a:t>
                      </a:r>
                      <a:br>
                        <a:rPr lang="fr-FR" sz="1000" kern="1200">
                          <a:solidFill>
                            <a:schemeClr val="tx1"/>
                          </a:solidFill>
                          <a:latin typeface="+mn-lt"/>
                          <a:ea typeface="+mn-ea"/>
                          <a:cs typeface="+mn-cs"/>
                        </a:rPr>
                      </a:br>
                      <a:r>
                        <a:rPr lang="fr-FR" sz="1000" kern="1200">
                          <a:solidFill>
                            <a:schemeClr val="tx1"/>
                          </a:solidFill>
                          <a:latin typeface="+mn-lt"/>
                          <a:ea typeface="+mn-ea"/>
                          <a:cs typeface="+mn-cs"/>
                        </a:rPr>
                        <a:t>code 00BB</a:t>
                      </a:r>
                    </a:p>
                    <a:p>
                      <a:pPr algn="ct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Retrait avant texte </a:t>
                      </a:r>
                      <a:r>
                        <a:rPr lang="fr-FR" sz="1000" kern="1200" baseline="0">
                          <a:solidFill>
                            <a:schemeClr val="tx1"/>
                          </a:solidFill>
                          <a:latin typeface="+mn-lt"/>
                          <a:ea typeface="+mn-ea"/>
                          <a:cs typeface="+mn-cs"/>
                        </a:rPr>
                        <a:t>= 2,5 cm</a:t>
                      </a:r>
                      <a:endParaRPr lang="fr-FR" sz="1000" kern="1200">
                        <a:solidFill>
                          <a:schemeClr val="tx1"/>
                        </a:solidFill>
                        <a:latin typeface="+mn-lt"/>
                        <a:ea typeface="+mn-ea"/>
                        <a:cs typeface="+mn-cs"/>
                      </a:endParaRPr>
                    </a:p>
                  </a:txBody>
                  <a:tcPr marL="112542" marR="112542" anchor="ctr">
                    <a:solidFill>
                      <a:schemeClr val="bg1"/>
                    </a:solidFill>
                  </a:tcPr>
                </a:tc>
                <a:tc>
                  <a:txBody>
                    <a:bodyPr/>
                    <a:lstStyle/>
                    <a:p>
                      <a:r>
                        <a:rPr lang="fr-FR" sz="1000" kern="120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a:solidFill>
                            <a:schemeClr val="tx1"/>
                          </a:solidFill>
                          <a:latin typeface="+mn-lt"/>
                          <a:ea typeface="+mn-ea"/>
                          <a:cs typeface="+mn-cs"/>
                        </a:rPr>
                        <a:t>interligne simple</a:t>
                      </a:r>
                    </a:p>
                  </a:txBody>
                  <a:tcPr marL="112542" marR="112542"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userDrawn="1"/>
        </p:nvSpPr>
        <p:spPr>
          <a:xfrm>
            <a:off x="5927564" y="410412"/>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fr-FR" sz="1400" b="1" noProof="0" err="1">
                <a:solidFill>
                  <a:schemeClr val="bg2"/>
                </a:solidFill>
              </a:rPr>
              <a:t>Remaining</a:t>
            </a:r>
            <a:r>
              <a:rPr lang="fr-FR" sz="1400" b="1" noProof="0">
                <a:solidFill>
                  <a:schemeClr val="bg2"/>
                </a:solidFill>
              </a:rPr>
              <a:t> bug</a:t>
            </a:r>
            <a:endParaRPr lang="fr-FR" sz="1400" noProof="0">
              <a:solidFill>
                <a:schemeClr val="bg2"/>
              </a:solidFill>
            </a:endParaRPr>
          </a:p>
          <a:p>
            <a:pPr algn="r"/>
            <a:r>
              <a:rPr lang="fr-FR" sz="1400">
                <a:solidFill>
                  <a:schemeClr val="bg2"/>
                </a:solidFill>
              </a:rPr>
              <a:t>La Police</a:t>
            </a:r>
            <a:r>
              <a:rPr lang="fr-FR" sz="1400" baseline="0">
                <a:solidFill>
                  <a:schemeClr val="bg2"/>
                </a:solidFill>
              </a:rPr>
              <a:t> </a:t>
            </a:r>
            <a:r>
              <a:rPr lang="fr-FR" sz="1400" baseline="0" err="1">
                <a:solidFill>
                  <a:schemeClr val="bg2"/>
                </a:solidFill>
              </a:rPr>
              <a:t>Tahoma</a:t>
            </a:r>
            <a:r>
              <a:rPr lang="fr-FR" sz="1400" baseline="0">
                <a:solidFill>
                  <a:schemeClr val="bg2"/>
                </a:solidFill>
              </a:rPr>
              <a:t> italique ne passe pas à l’impression depuis un document PDF généré directement par PPT. </a:t>
            </a:r>
          </a:p>
          <a:p>
            <a:pPr algn="r"/>
            <a:r>
              <a:rPr lang="fr-FR" sz="1400" b="1" baseline="0">
                <a:solidFill>
                  <a:schemeClr val="bg2"/>
                </a:solidFill>
              </a:rPr>
              <a:t>Passer par une imprimante PDF type PDF Creator.</a:t>
            </a:r>
            <a:endParaRPr lang="fr-FR" sz="1400" b="1">
              <a:solidFill>
                <a:schemeClr val="bg2"/>
              </a:solidFill>
            </a:endParaRPr>
          </a:p>
        </p:txBody>
      </p:sp>
      <p:graphicFrame>
        <p:nvGraphicFramePr>
          <p:cNvPr id="7" name="Inhaltsplatzhalter 3"/>
          <p:cNvGraphicFramePr>
            <a:graphicFrameLocks/>
          </p:cNvGraphicFramePr>
          <p:nvPr userDrawn="1">
            <p:extLst>
              <p:ext uri="{D42A27DB-BD31-4B8C-83A1-F6EECF244321}">
                <p14:modId xmlns:p14="http://schemas.microsoft.com/office/powerpoint/2010/main" val="579376127"/>
              </p:ext>
            </p:extLst>
          </p:nvPr>
        </p:nvGraphicFramePr>
        <p:xfrm>
          <a:off x="446856" y="1470716"/>
          <a:ext cx="11360135" cy="1635316"/>
        </p:xfrm>
        <a:graphic>
          <a:graphicData uri="http://schemas.openxmlformats.org/drawingml/2006/table">
            <a:tbl>
              <a:tblPr bandRow="1">
                <a:tableStyleId>{5C22544A-7EE6-4342-B048-85BDC9FD1C3A}</a:tableStyleId>
              </a:tblPr>
              <a:tblGrid>
                <a:gridCol w="1136014">
                  <a:extLst>
                    <a:ext uri="{9D8B030D-6E8A-4147-A177-3AD203B41FA5}">
                      <a16:colId xmlns:a16="http://schemas.microsoft.com/office/drawing/2014/main" val="20000"/>
                    </a:ext>
                  </a:extLst>
                </a:gridCol>
                <a:gridCol w="1136014">
                  <a:extLst>
                    <a:ext uri="{9D8B030D-6E8A-4147-A177-3AD203B41FA5}">
                      <a16:colId xmlns:a16="http://schemas.microsoft.com/office/drawing/2014/main" val="20001"/>
                    </a:ext>
                  </a:extLst>
                </a:gridCol>
                <a:gridCol w="1136014">
                  <a:extLst>
                    <a:ext uri="{9D8B030D-6E8A-4147-A177-3AD203B41FA5}">
                      <a16:colId xmlns:a16="http://schemas.microsoft.com/office/drawing/2014/main" val="20002"/>
                    </a:ext>
                  </a:extLst>
                </a:gridCol>
                <a:gridCol w="1136014">
                  <a:extLst>
                    <a:ext uri="{9D8B030D-6E8A-4147-A177-3AD203B41FA5}">
                      <a16:colId xmlns:a16="http://schemas.microsoft.com/office/drawing/2014/main" val="20003"/>
                    </a:ext>
                  </a:extLst>
                </a:gridCol>
                <a:gridCol w="1136014">
                  <a:extLst>
                    <a:ext uri="{9D8B030D-6E8A-4147-A177-3AD203B41FA5}">
                      <a16:colId xmlns:a16="http://schemas.microsoft.com/office/drawing/2014/main" val="20004"/>
                    </a:ext>
                  </a:extLst>
                </a:gridCol>
                <a:gridCol w="1136014">
                  <a:extLst>
                    <a:ext uri="{9D8B030D-6E8A-4147-A177-3AD203B41FA5}">
                      <a16:colId xmlns:a16="http://schemas.microsoft.com/office/drawing/2014/main" val="20005"/>
                    </a:ext>
                  </a:extLst>
                </a:gridCol>
                <a:gridCol w="1136014">
                  <a:extLst>
                    <a:ext uri="{9D8B030D-6E8A-4147-A177-3AD203B41FA5}">
                      <a16:colId xmlns:a16="http://schemas.microsoft.com/office/drawing/2014/main" val="20006"/>
                    </a:ext>
                  </a:extLst>
                </a:gridCol>
                <a:gridCol w="1136014">
                  <a:extLst>
                    <a:ext uri="{9D8B030D-6E8A-4147-A177-3AD203B41FA5}">
                      <a16:colId xmlns:a16="http://schemas.microsoft.com/office/drawing/2014/main" val="20007"/>
                    </a:ext>
                  </a:extLst>
                </a:gridCol>
                <a:gridCol w="1136014">
                  <a:extLst>
                    <a:ext uri="{9D8B030D-6E8A-4147-A177-3AD203B41FA5}">
                      <a16:colId xmlns:a16="http://schemas.microsoft.com/office/drawing/2014/main" val="20008"/>
                    </a:ext>
                  </a:extLst>
                </a:gridCol>
                <a:gridCol w="1136014">
                  <a:extLst>
                    <a:ext uri="{9D8B030D-6E8A-4147-A177-3AD203B41FA5}">
                      <a16:colId xmlns:a16="http://schemas.microsoft.com/office/drawing/2014/main" val="20009"/>
                    </a:ext>
                  </a:extLst>
                </a:gridCol>
              </a:tblGrid>
              <a:tr h="30668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fr-FR" sz="900" b="1" kern="1200" noProof="0" err="1">
                          <a:solidFill>
                            <a:schemeClr val="bg2"/>
                          </a:solidFill>
                          <a:latin typeface="+mn-lt"/>
                          <a:ea typeface="+mn-ea"/>
                          <a:cs typeface="+mn-cs"/>
                        </a:rPr>
                        <a:t>Color</a:t>
                      </a:r>
                      <a:r>
                        <a:rPr lang="fr-FR" sz="900" b="1" kern="1200" noProof="0">
                          <a:solidFill>
                            <a:schemeClr val="bg2"/>
                          </a:solidFill>
                          <a:latin typeface="+mn-lt"/>
                          <a:ea typeface="+mn-ea"/>
                          <a:cs typeface="+mn-cs"/>
                        </a:rPr>
                        <a:t> </a:t>
                      </a:r>
                      <a:r>
                        <a:rPr lang="fr-FR" sz="900" b="1" kern="1200" noProof="0" err="1">
                          <a:solidFill>
                            <a:schemeClr val="bg2"/>
                          </a:solidFill>
                          <a:latin typeface="+mn-lt"/>
                          <a:ea typeface="+mn-ea"/>
                          <a:cs typeface="+mn-cs"/>
                        </a:rPr>
                        <a:t>scheme</a:t>
                      </a:r>
                      <a:endParaRPr lang="fr-FR" sz="900" b="1" kern="1200" noProof="0">
                        <a:solidFill>
                          <a:schemeClr val="bg2"/>
                        </a:solidFill>
                        <a:latin typeface="+mn-lt"/>
                        <a:ea typeface="+mn-ea"/>
                        <a:cs typeface="+mn-cs"/>
                      </a:endParaRPr>
                    </a:p>
                  </a:txBody>
                  <a:tcPr marL="88615"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00647">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Background 1</a:t>
                      </a:r>
                    </a:p>
                  </a:txBody>
                  <a:tcPr marL="88615" marR="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err="1">
                          <a:solidFill>
                            <a:schemeClr val="bg2"/>
                          </a:solidFill>
                          <a:latin typeface="+mn-lt"/>
                          <a:cs typeface="Arial" pitchFamily="34" charset="0"/>
                        </a:rPr>
                        <a:t>Text</a:t>
                      </a:r>
                      <a:r>
                        <a:rPr lang="fr-FR" sz="900" b="0" i="0" u="none" noProof="0">
                          <a:solidFill>
                            <a:schemeClr val="bg2"/>
                          </a:solidFill>
                          <a:latin typeface="+mn-lt"/>
                          <a:cs typeface="Arial" pitchFamily="34" charset="0"/>
                        </a:rPr>
                        <a: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Background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err="1">
                          <a:solidFill>
                            <a:schemeClr val="bg2"/>
                          </a:solidFill>
                          <a:latin typeface="+mn-lt"/>
                          <a:cs typeface="Arial" pitchFamily="34" charset="0"/>
                        </a:rPr>
                        <a:t>Text</a:t>
                      </a:r>
                      <a:r>
                        <a:rPr lang="fr-FR" sz="900" b="0" i="0" u="none" noProof="0">
                          <a:solidFill>
                            <a:schemeClr val="bg2"/>
                          </a:solidFill>
                          <a:latin typeface="+mn-lt"/>
                          <a:cs typeface="Arial" pitchFamily="34" charset="0"/>
                        </a:rPr>
                        <a: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3</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4</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5</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6</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563945">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55552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55</a:t>
                      </a:r>
                      <a:br>
                        <a:rPr lang="fr-FR" sz="1000" i="0" u="none" noProof="0">
                          <a:solidFill>
                            <a:srgbClr val="000000"/>
                          </a:solidFill>
                          <a:latin typeface="+mn-lt"/>
                          <a:cs typeface="Arial" pitchFamily="34" charset="0"/>
                        </a:rPr>
                      </a:br>
                      <a:r>
                        <a:rPr lang="fr-FR" sz="1000" i="0" u="none" noProof="0">
                          <a:solidFill>
                            <a:srgbClr val="000000"/>
                          </a:solidFill>
                          <a:latin typeface="+mn-lt"/>
                          <a:cs typeface="Arial" pitchFamily="34" charset="0"/>
                        </a:rPr>
                        <a:t>25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5</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2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4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4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40</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4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5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9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8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2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18</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4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3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29</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3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54</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0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66</a:t>
                      </a:r>
                    </a:p>
                  </a:txBody>
                  <a:tcPr marL="88615" marR="8861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fr-FR" noProof="0"/>
              <a:t>How to use the Wavestone </a:t>
            </a:r>
            <a:r>
              <a:rPr lang="fr-FR" noProof="0" err="1"/>
              <a:t>ppt</a:t>
            </a:r>
            <a:r>
              <a:rPr lang="fr-FR" noProof="0"/>
              <a:t> </a:t>
            </a:r>
            <a:r>
              <a:rPr lang="fr-FR" noProof="0" err="1"/>
              <a:t>template</a:t>
            </a:r>
            <a:endParaRPr lang="fr-FR" noProof="0"/>
          </a:p>
        </p:txBody>
      </p:sp>
      <p:sp>
        <p:nvSpPr>
          <p:cNvPr id="9" name="Title 1"/>
          <p:cNvSpPr>
            <a:spLocks noGrp="1"/>
          </p:cNvSpPr>
          <p:nvPr>
            <p:ph type="title" hasCustomPrompt="1"/>
          </p:nvPr>
        </p:nvSpPr>
        <p:spPr>
          <a:xfrm>
            <a:off x="425354" y="404665"/>
            <a:ext cx="11342769" cy="326140"/>
          </a:xfrm>
        </p:spPr>
        <p:txBody>
          <a:bodyPr lIns="108000" tIns="36000" rIns="108000" bIns="0"/>
          <a:lstStyle>
            <a:lvl1pPr>
              <a:defRPr sz="2200" baseline="0">
                <a:solidFill>
                  <a:schemeClr val="bg2"/>
                </a:solidFill>
              </a:defRPr>
            </a:lvl1pPr>
          </a:lstStyle>
          <a:p>
            <a:r>
              <a:rPr lang="fr-FR" noProof="0" err="1"/>
              <a:t>Color</a:t>
            </a:r>
            <a:r>
              <a:rPr lang="fr-FR" noProof="0"/>
              <a:t> &amp; Font structure</a:t>
            </a:r>
          </a:p>
        </p:txBody>
      </p:sp>
      <p:grpSp>
        <p:nvGrpSpPr>
          <p:cNvPr id="3" name="Groupe 2"/>
          <p:cNvGrpSpPr/>
          <p:nvPr userDrawn="1"/>
        </p:nvGrpSpPr>
        <p:grpSpPr>
          <a:xfrm>
            <a:off x="416542" y="730806"/>
            <a:ext cx="5502208" cy="753979"/>
            <a:chOff x="338440" y="866281"/>
            <a:chExt cx="4614560" cy="753979"/>
          </a:xfrm>
        </p:grpSpPr>
        <p:sp>
          <p:nvSpPr>
            <p:cNvPr id="11" name="Rectangle 10"/>
            <p:cNvSpPr/>
            <p:nvPr userDrawn="1"/>
          </p:nvSpPr>
          <p:spPr>
            <a:xfrm>
              <a:off x="338440" y="866281"/>
              <a:ext cx="4614560"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fr-FR" sz="1600" b="1">
                  <a:solidFill>
                    <a:schemeClr val="bg2"/>
                  </a:solidFill>
                </a:rPr>
                <a:t>Raccourci</a:t>
              </a:r>
              <a:r>
                <a:rPr lang="fr-FR" sz="1600" b="1" baseline="0">
                  <a:solidFill>
                    <a:schemeClr val="bg2"/>
                  </a:solidFill>
                </a:rPr>
                <a:t> pour changer de niveau :</a:t>
              </a:r>
              <a:endParaRPr lang="fr-FR" sz="1600" b="1">
                <a:solidFill>
                  <a:schemeClr val="bg2"/>
                </a:solidFill>
              </a:endParaRPr>
            </a:p>
            <a:p>
              <a:pPr algn="r"/>
              <a:r>
                <a:rPr lang="fr-FR" sz="1600" b="0">
                  <a:solidFill>
                    <a:schemeClr val="bg2"/>
                  </a:solidFill>
                </a:rPr>
                <a:t>Shift</a:t>
              </a:r>
              <a:r>
                <a:rPr lang="fr-FR" sz="1600" b="0" baseline="0">
                  <a:solidFill>
                    <a:schemeClr val="bg2"/>
                  </a:solidFill>
                </a:rPr>
                <a:t> + Alt + Flèche droite ou gauche</a:t>
              </a:r>
              <a:endParaRPr lang="fr-FR" sz="1600" b="0">
                <a:solidFill>
                  <a:schemeClr val="bg2"/>
                </a:solidFill>
              </a:endParaRPr>
            </a:p>
          </p:txBody>
        </p:sp>
        <p:pic>
          <p:nvPicPr>
            <p:cNvPr id="12"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142" y="998628"/>
              <a:ext cx="489284" cy="489284"/>
            </a:xfrm>
            <a:prstGeom prst="rect">
              <a:avLst/>
            </a:prstGeom>
          </p:spPr>
        </p:pic>
      </p:grpSp>
    </p:spTree>
    <p:extLst>
      <p:ext uri="{BB962C8B-B14F-4D97-AF65-F5344CB8AC3E}">
        <p14:creationId xmlns:p14="http://schemas.microsoft.com/office/powerpoint/2010/main" val="21630556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 Square Pictures">
    <p:spTree>
      <p:nvGrpSpPr>
        <p:cNvPr id="1" name=""/>
        <p:cNvGrpSpPr/>
        <p:nvPr/>
      </p:nvGrpSpPr>
      <p:grpSpPr>
        <a:xfrm>
          <a:off x="0" y="0"/>
          <a:ext cx="0" cy="0"/>
          <a:chOff x="0" y="0"/>
          <a:chExt cx="0" cy="0"/>
        </a:xfrm>
      </p:grpSpPr>
      <p:sp>
        <p:nvSpPr>
          <p:cNvPr id="10" name="Espace réservé pour une image  9"/>
          <p:cNvSpPr>
            <a:spLocks noGrp="1"/>
          </p:cNvSpPr>
          <p:nvPr>
            <p:ph type="pic" sz="quarter" idx="17" hasCustomPrompt="1"/>
          </p:nvPr>
        </p:nvSpPr>
        <p:spPr>
          <a:xfrm>
            <a:off x="1136535" y="1486109"/>
            <a:ext cx="2659184" cy="2160587"/>
          </a:xfrm>
        </p:spPr>
        <p:txBody>
          <a:bodyPr/>
          <a:lstStyle>
            <a:lvl1pPr algn="ctr">
              <a:defRPr sz="1200" i="1" baseline="0">
                <a:solidFill>
                  <a:schemeClr val="bg2"/>
                </a:solidFill>
              </a:defRPr>
            </a:lvl1pPr>
          </a:lstStyle>
          <a:p>
            <a:r>
              <a:rPr lang="fr-FR"/>
              <a:t>Click to </a:t>
            </a:r>
            <a:r>
              <a:rPr lang="fr-FR" err="1"/>
              <a:t>add</a:t>
            </a:r>
            <a:br>
              <a:rPr lang="fr-FR"/>
            </a:br>
            <a:r>
              <a:rPr lang="fr-FR"/>
              <a:t>a </a:t>
            </a:r>
            <a:r>
              <a:rPr lang="fr-FR" err="1"/>
              <a:t>picture</a:t>
            </a:r>
            <a:endParaRPr lang="fr-FR"/>
          </a:p>
        </p:txBody>
      </p:sp>
      <p:sp>
        <p:nvSpPr>
          <p:cNvPr id="11" name="Espace réservé pour une image  9"/>
          <p:cNvSpPr>
            <a:spLocks noGrp="1"/>
          </p:cNvSpPr>
          <p:nvPr>
            <p:ph type="pic" sz="quarter" idx="18" hasCustomPrompt="1"/>
          </p:nvPr>
        </p:nvSpPr>
        <p:spPr>
          <a:xfrm>
            <a:off x="4766409" y="1486109"/>
            <a:ext cx="2659184" cy="2160587"/>
          </a:xfrm>
        </p:spPr>
        <p:txBody>
          <a:bodyPr/>
          <a:lstStyle>
            <a:lvl1pPr marL="0" marR="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sz="1200" i="1" baseline="0">
                <a:solidFill>
                  <a:schemeClr val="bg2"/>
                </a:solidFill>
              </a:defRPr>
            </a:lvl1pPr>
          </a:lstStyle>
          <a:p>
            <a:r>
              <a:rPr lang="fr-FR"/>
              <a:t>Click to </a:t>
            </a:r>
            <a:r>
              <a:rPr lang="fr-FR" err="1"/>
              <a:t>add</a:t>
            </a:r>
            <a:br>
              <a:rPr lang="fr-FR"/>
            </a:br>
            <a:r>
              <a:rPr lang="fr-FR"/>
              <a:t>a </a:t>
            </a:r>
            <a:r>
              <a:rPr lang="fr-FR" err="1"/>
              <a:t>picture</a:t>
            </a:r>
            <a:endParaRPr lang="fr-FR"/>
          </a:p>
        </p:txBody>
      </p:sp>
      <p:sp>
        <p:nvSpPr>
          <p:cNvPr id="12" name="Espace réservé pour une image  9"/>
          <p:cNvSpPr>
            <a:spLocks noGrp="1"/>
          </p:cNvSpPr>
          <p:nvPr>
            <p:ph type="pic" sz="quarter" idx="19" hasCustomPrompt="1"/>
          </p:nvPr>
        </p:nvSpPr>
        <p:spPr>
          <a:xfrm>
            <a:off x="8396281" y="1486109"/>
            <a:ext cx="2659184" cy="2160587"/>
          </a:xfrm>
        </p:spPr>
        <p:txBody>
          <a:bodyPr/>
          <a:lstStyle>
            <a:lvl1pPr marL="0" marR="0" indent="0" algn="ctr" defTabSz="914400" rtl="0" eaLnBrk="1" fontAlgn="auto" latinLnBrk="0" hangingPunct="1">
              <a:lnSpc>
                <a:spcPct val="100000"/>
              </a:lnSpc>
              <a:spcBef>
                <a:spcPts val="400"/>
              </a:spcBef>
              <a:spcAft>
                <a:spcPts val="0"/>
              </a:spcAft>
              <a:buClrTx/>
              <a:buSzTx/>
              <a:buFont typeface="Arial" panose="020B0604020202020204" pitchFamily="34" charset="0"/>
              <a:buNone/>
              <a:tabLst/>
              <a:defRPr sz="1200" i="1" baseline="0">
                <a:solidFill>
                  <a:schemeClr val="bg2"/>
                </a:solidFill>
              </a:defRPr>
            </a:lvl1pPr>
          </a:lstStyle>
          <a:p>
            <a:r>
              <a:rPr lang="fr-FR"/>
              <a:t>Click to </a:t>
            </a:r>
            <a:r>
              <a:rPr lang="fr-FR" err="1"/>
              <a:t>add</a:t>
            </a:r>
            <a:br>
              <a:rPr lang="fr-FR"/>
            </a:br>
            <a:r>
              <a:rPr lang="fr-FR"/>
              <a:t>a </a:t>
            </a:r>
            <a:r>
              <a:rPr lang="fr-FR" err="1"/>
              <a:t>picture</a:t>
            </a:r>
            <a:endParaRPr lang="fr-FR"/>
          </a:p>
        </p:txBody>
      </p:sp>
      <p:sp>
        <p:nvSpPr>
          <p:cNvPr id="7" name="Title 1"/>
          <p:cNvSpPr>
            <a:spLocks noGrp="1"/>
          </p:cNvSpPr>
          <p:nvPr>
            <p:ph type="title" hasCustomPrompt="1"/>
          </p:nvPr>
        </p:nvSpPr>
        <p:spPr>
          <a:xfrm>
            <a:off x="425354" y="404665"/>
            <a:ext cx="11342769" cy="863748"/>
          </a:xfrm>
        </p:spPr>
        <p:txBody>
          <a:bodyPr lIns="108000" tIns="0" rIns="108000" bIns="0"/>
          <a:lstStyle>
            <a:lvl1pPr>
              <a:defRPr sz="2200" baseline="0">
                <a:solidFill>
                  <a:schemeClr val="bg2"/>
                </a:solidFill>
              </a:defRPr>
            </a:lvl1pPr>
          </a:lstStyle>
          <a:p>
            <a:r>
              <a:rPr lang="fr-FR"/>
              <a:t>Complete </a:t>
            </a:r>
            <a:r>
              <a:rPr lang="fr-FR" err="1"/>
              <a:t>with</a:t>
            </a:r>
            <a:r>
              <a:rPr lang="fr-FR"/>
              <a:t> a </a:t>
            </a:r>
            <a:r>
              <a:rPr lang="fr-FR" err="1"/>
              <a:t>title</a:t>
            </a:r>
            <a:r>
              <a:rPr lang="fr-FR"/>
              <a:t> </a:t>
            </a:r>
            <a:r>
              <a:rPr lang="fr-FR" err="1"/>
              <a:t>here</a:t>
            </a:r>
            <a:r>
              <a:rPr lang="fr-FR"/>
              <a:t> </a:t>
            </a:r>
            <a:r>
              <a:rPr lang="fr-FR" err="1"/>
              <a:t>that</a:t>
            </a:r>
            <a:r>
              <a:rPr lang="fr-FR"/>
              <a:t> carries </a:t>
            </a:r>
            <a:r>
              <a:rPr lang="fr-FR" err="1"/>
              <a:t>your</a:t>
            </a:r>
            <a:r>
              <a:rPr lang="fr-FR"/>
              <a:t> message on </a:t>
            </a:r>
            <a:r>
              <a:rPr lang="fr-FR" err="1"/>
              <a:t>two</a:t>
            </a:r>
            <a:r>
              <a:rPr lang="fr-FR"/>
              <a:t> </a:t>
            </a:r>
            <a:r>
              <a:rPr lang="fr-FR" err="1"/>
              <a:t>lines</a:t>
            </a:r>
            <a:r>
              <a:rPr lang="fr-FR"/>
              <a:t> at </a:t>
            </a:r>
            <a:r>
              <a:rPr lang="fr-FR" err="1"/>
              <a:t>most</a:t>
            </a:r>
            <a:r>
              <a:rPr lang="fr-FR"/>
              <a:t> for more </a:t>
            </a:r>
            <a:r>
              <a:rPr lang="fr-FR" noProof="0" err="1"/>
              <a:t>readability</a:t>
            </a:r>
            <a:endParaRPr lang="fr-FR" noProof="0"/>
          </a:p>
        </p:txBody>
      </p:sp>
      <p:sp>
        <p:nvSpPr>
          <p:cNvPr id="8" name="Text Placeholder 8"/>
          <p:cNvSpPr>
            <a:spLocks noGrp="1"/>
          </p:cNvSpPr>
          <p:nvPr>
            <p:ph type="body" sz="quarter" idx="13" hasCustomPrompt="1"/>
          </p:nvPr>
        </p:nvSpPr>
        <p:spPr>
          <a:xfrm>
            <a:off x="425354" y="144314"/>
            <a:ext cx="11342769" cy="260350"/>
          </a:xfr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fr-FR" noProof="0"/>
              <a:t>Insert a top </a:t>
            </a:r>
            <a:r>
              <a:rPr lang="fr-FR" noProof="0" err="1"/>
              <a:t>title</a:t>
            </a:r>
            <a:r>
              <a:rPr lang="fr-FR" noProof="0"/>
              <a:t> </a:t>
            </a:r>
            <a:r>
              <a:rPr lang="fr-FR" noProof="0" err="1"/>
              <a:t>here</a:t>
            </a:r>
            <a:r>
              <a:rPr lang="fr-FR" noProof="0"/>
              <a:t> - must not </a:t>
            </a:r>
            <a:r>
              <a:rPr lang="fr-FR" noProof="0" err="1"/>
              <a:t>exceed</a:t>
            </a:r>
            <a:r>
              <a:rPr lang="fr-FR" noProof="0"/>
              <a:t> 1 line</a:t>
            </a:r>
          </a:p>
        </p:txBody>
      </p:sp>
    </p:spTree>
    <p:extLst>
      <p:ext uri="{BB962C8B-B14F-4D97-AF65-F5344CB8AC3E}">
        <p14:creationId xmlns:p14="http://schemas.microsoft.com/office/powerpoint/2010/main" val="23183972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Picture - 1/3 Right with text">
    <p:spTree>
      <p:nvGrpSpPr>
        <p:cNvPr id="1" name=""/>
        <p:cNvGrpSpPr/>
        <p:nvPr/>
      </p:nvGrpSpPr>
      <p:grpSpPr>
        <a:xfrm>
          <a:off x="0" y="0"/>
          <a:ext cx="0" cy="0"/>
          <a:chOff x="0" y="0"/>
          <a:chExt cx="0" cy="0"/>
        </a:xfrm>
      </p:grpSpPr>
      <p:sp>
        <p:nvSpPr>
          <p:cNvPr id="3" name="Rectangle 2"/>
          <p:cNvSpPr/>
          <p:nvPr userDrawn="1"/>
        </p:nvSpPr>
        <p:spPr>
          <a:xfrm>
            <a:off x="8567678" y="0"/>
            <a:ext cx="362432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gn="ctr"/>
            <a:endParaRPr lang="fr-FR" sz="1800" noProof="0">
              <a:solidFill>
                <a:srgbClr val="503078"/>
              </a:solidFill>
              <a:ea typeface="+mj-ea"/>
              <a:cs typeface="+mj-cs"/>
            </a:endParaRPr>
          </a:p>
        </p:txBody>
      </p:sp>
      <p:sp>
        <p:nvSpPr>
          <p:cNvPr id="7" name="Espace réservé pour une image  6"/>
          <p:cNvSpPr>
            <a:spLocks noGrp="1"/>
          </p:cNvSpPr>
          <p:nvPr>
            <p:ph type="pic" sz="quarter" idx="10" hasCustomPrompt="1"/>
          </p:nvPr>
        </p:nvSpPr>
        <p:spPr bwMode="white">
          <a:xfrm>
            <a:off x="8567678" y="0"/>
            <a:ext cx="3624321" cy="6858000"/>
          </a:xfrm>
        </p:spPr>
        <p:txBody>
          <a:bodyPr/>
          <a:lstStyle>
            <a:lvl1pPr algn="ctr">
              <a:defRPr baseline="0">
                <a:solidFill>
                  <a:schemeClr val="bg1"/>
                </a:solidFill>
              </a:defRPr>
            </a:lvl1pPr>
          </a:lstStyle>
          <a:p>
            <a:r>
              <a:rPr lang="fr-FR" noProof="0"/>
              <a:t>Insert </a:t>
            </a:r>
            <a:r>
              <a:rPr lang="fr-FR" noProof="0" err="1"/>
              <a:t>your</a:t>
            </a:r>
            <a:r>
              <a:rPr lang="fr-FR" noProof="0"/>
              <a:t> </a:t>
            </a:r>
            <a:r>
              <a:rPr lang="fr-FR" noProof="0" err="1"/>
              <a:t>picture</a:t>
            </a:r>
            <a:r>
              <a:rPr lang="fr-FR" noProof="0"/>
              <a:t> </a:t>
            </a:r>
            <a:r>
              <a:rPr lang="fr-FR" noProof="0" err="1"/>
              <a:t>here</a:t>
            </a:r>
            <a:endParaRPr lang="fr-FR" noProof="0"/>
          </a:p>
        </p:txBody>
      </p:sp>
      <p:sp>
        <p:nvSpPr>
          <p:cNvPr id="4" name="Rectangle 3"/>
          <p:cNvSpPr/>
          <p:nvPr userDrawn="1"/>
        </p:nvSpPr>
        <p:spPr>
          <a:xfrm>
            <a:off x="9398580" y="6503348"/>
            <a:ext cx="2004177" cy="230832"/>
          </a:xfrm>
          <a:prstGeom prst="rect">
            <a:avLst/>
          </a:prstGeom>
        </p:spPr>
        <p:txBody>
          <a:bodyPr wrap="square" anchor="ctr">
            <a:spAutoFit/>
          </a:bodyPr>
          <a:lstStyle/>
          <a:p>
            <a:pPr lvl="0" algn="r">
              <a:spcBef>
                <a:spcPts val="400"/>
              </a:spcBef>
              <a:buClr>
                <a:srgbClr val="660066"/>
              </a:buClr>
            </a:pPr>
            <a:r>
              <a:rPr lang="fr-FR" sz="600" noProof="0">
                <a:solidFill>
                  <a:schemeClr val="bg1"/>
                </a:solidFill>
                <a:latin typeface="Tahoma" panose="020B0604030504040204" pitchFamily="34" charset="0"/>
                <a:ea typeface="Tahoma" panose="020B0604030504040204" pitchFamily="34" charset="0"/>
                <a:cs typeface="Tahoma" panose="020B0604030504040204" pitchFamily="34" charset="0"/>
              </a:rPr>
              <a:t>confidentiel</a:t>
            </a:r>
            <a:r>
              <a:rPr lang="fr-FR" sz="900" noProof="0">
                <a:solidFill>
                  <a:schemeClr val="bg1"/>
                </a:solidFill>
                <a:latin typeface="Tahoma" panose="020B0604030504040204" pitchFamily="34" charset="0"/>
                <a:ea typeface="Tahoma" panose="020B0604030504040204" pitchFamily="34" charset="0"/>
                <a:cs typeface="Tahoma" panose="020B0604030504040204" pitchFamily="34" charset="0"/>
              </a:rPr>
              <a:t> | © WAVESTONE</a:t>
            </a:r>
          </a:p>
        </p:txBody>
      </p:sp>
      <p:sp>
        <p:nvSpPr>
          <p:cNvPr id="5" name="Textfeld 6"/>
          <p:cNvSpPr txBox="1"/>
          <p:nvPr userDrawn="1"/>
        </p:nvSpPr>
        <p:spPr bwMode="gray">
          <a:xfrm>
            <a:off x="11324889" y="6549515"/>
            <a:ext cx="443077" cy="138499"/>
          </a:xfrm>
          <a:prstGeom prst="rect">
            <a:avLst/>
          </a:prstGeom>
          <a:noFill/>
        </p:spPr>
        <p:txBody>
          <a:bodyPr wrap="square" lIns="0" tIns="0" rIns="0" bIns="0" rtlCol="0" anchor="ctr"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5152254E-7EB4-45E4-904F-3575BFE2F20B}" type="slidenum">
              <a:rPr lang="fr-FR" sz="900" noProof="0" smtClean="0">
                <a:solidFill>
                  <a:schemeClr val="bg1"/>
                </a:solidFill>
              </a:rPr>
              <a:pPr marL="0" marR="0" indent="0" algn="r" defTabSz="914400" rtl="0" eaLnBrk="1" fontAlgn="auto" latinLnBrk="0" hangingPunct="1">
                <a:lnSpc>
                  <a:spcPct val="100000"/>
                </a:lnSpc>
                <a:spcBef>
                  <a:spcPts val="0"/>
                </a:spcBef>
                <a:spcAft>
                  <a:spcPts val="0"/>
                </a:spcAft>
                <a:buClrTx/>
                <a:buSzTx/>
                <a:buFontTx/>
                <a:buNone/>
                <a:tabLst/>
                <a:defRPr/>
              </a:pPr>
              <a:t>‹N°›</a:t>
            </a:fld>
            <a:endParaRPr lang="fr-FR" sz="900" noProof="0">
              <a:solidFill>
                <a:schemeClr val="bg1"/>
              </a:solidFill>
            </a:endParaRPr>
          </a:p>
        </p:txBody>
      </p:sp>
      <p:sp>
        <p:nvSpPr>
          <p:cNvPr id="6" name="Title 1"/>
          <p:cNvSpPr>
            <a:spLocks noGrp="1"/>
          </p:cNvSpPr>
          <p:nvPr>
            <p:ph type="title" hasCustomPrompt="1"/>
          </p:nvPr>
        </p:nvSpPr>
        <p:spPr>
          <a:xfrm>
            <a:off x="425354" y="404665"/>
            <a:ext cx="7540590" cy="863748"/>
          </a:xfrm>
        </p:spPr>
        <p:txBody>
          <a:bodyPr lIns="108000" tIns="0" rIns="108000" bIns="0"/>
          <a:lstStyle>
            <a:lvl1pPr>
              <a:defRPr sz="2000" baseline="0"/>
            </a:lvl1pPr>
          </a:lstStyle>
          <a:p>
            <a:r>
              <a:rPr lang="fr-FR" noProof="0"/>
              <a:t>Complete </a:t>
            </a:r>
            <a:r>
              <a:rPr lang="fr-FR" noProof="0" err="1"/>
              <a:t>with</a:t>
            </a:r>
            <a:r>
              <a:rPr lang="fr-FR" noProof="0"/>
              <a:t> a </a:t>
            </a:r>
            <a:r>
              <a:rPr lang="fr-FR" noProof="0" err="1"/>
              <a:t>title</a:t>
            </a:r>
            <a:r>
              <a:rPr lang="fr-FR" noProof="0"/>
              <a:t> </a:t>
            </a:r>
            <a:r>
              <a:rPr lang="fr-FR" noProof="0" err="1"/>
              <a:t>here</a:t>
            </a:r>
            <a:r>
              <a:rPr lang="fr-FR" noProof="0"/>
              <a:t> </a:t>
            </a:r>
            <a:r>
              <a:rPr lang="fr-FR" noProof="0" err="1"/>
              <a:t>that</a:t>
            </a:r>
            <a:r>
              <a:rPr lang="fr-FR" noProof="0"/>
              <a:t> carries </a:t>
            </a:r>
            <a:r>
              <a:rPr lang="fr-FR" noProof="0" err="1"/>
              <a:t>your</a:t>
            </a:r>
            <a:r>
              <a:rPr lang="fr-FR" noProof="0"/>
              <a:t> message on </a:t>
            </a:r>
            <a:r>
              <a:rPr lang="fr-FR" noProof="0" err="1"/>
              <a:t>two</a:t>
            </a:r>
            <a:r>
              <a:rPr lang="fr-FR" noProof="0"/>
              <a:t> </a:t>
            </a:r>
            <a:r>
              <a:rPr lang="fr-FR" noProof="0" err="1"/>
              <a:t>lines</a:t>
            </a:r>
            <a:r>
              <a:rPr lang="fr-FR" noProof="0"/>
              <a:t> at </a:t>
            </a:r>
            <a:r>
              <a:rPr lang="fr-FR" noProof="0" err="1"/>
              <a:t>most</a:t>
            </a:r>
            <a:endParaRPr lang="fr-FR" noProof="0"/>
          </a:p>
        </p:txBody>
      </p:sp>
      <p:sp>
        <p:nvSpPr>
          <p:cNvPr id="8" name="Text Placeholder 8"/>
          <p:cNvSpPr>
            <a:spLocks noGrp="1"/>
          </p:cNvSpPr>
          <p:nvPr>
            <p:ph type="body" sz="quarter" idx="13" hasCustomPrompt="1"/>
          </p:nvPr>
        </p:nvSpPr>
        <p:spPr>
          <a:xfrm>
            <a:off x="425354" y="144314"/>
            <a:ext cx="7540590" cy="260350"/>
          </a:xfrm>
        </p:spPr>
        <p:txBody>
          <a:bodyPr lIns="108000" tIns="0" rIns="108000" bIns="0" anchor="b"/>
          <a:lstStyle>
            <a:lvl1pPr>
              <a:spcBef>
                <a:spcPts val="0"/>
              </a:spcBef>
              <a:defRPr sz="1000" i="0" cap="all" baseline="0">
                <a:solidFill>
                  <a:schemeClr val="accent4"/>
                </a:solidFill>
                <a:latin typeface="+mj-lt"/>
              </a:defRPr>
            </a:lvl1pPr>
            <a:lvl2pPr>
              <a:defRPr sz="1000"/>
            </a:lvl2pPr>
          </a:lstStyle>
          <a:p>
            <a:pPr lvl="0"/>
            <a:r>
              <a:rPr lang="fr-FR" noProof="0"/>
              <a:t>Insert a top </a:t>
            </a:r>
            <a:r>
              <a:rPr lang="fr-FR" noProof="0" err="1"/>
              <a:t>title</a:t>
            </a:r>
            <a:r>
              <a:rPr lang="fr-FR" noProof="0"/>
              <a:t> </a:t>
            </a:r>
            <a:r>
              <a:rPr lang="fr-FR" noProof="0" err="1"/>
              <a:t>here</a:t>
            </a:r>
            <a:r>
              <a:rPr lang="fr-FR" noProof="0"/>
              <a:t> - must not </a:t>
            </a:r>
            <a:r>
              <a:rPr lang="fr-FR" noProof="0" err="1"/>
              <a:t>exceed</a:t>
            </a:r>
            <a:r>
              <a:rPr lang="fr-FR" noProof="0"/>
              <a:t> 1 line</a:t>
            </a:r>
          </a:p>
        </p:txBody>
      </p:sp>
      <p:sp>
        <p:nvSpPr>
          <p:cNvPr id="9" name="Espace réservé du texte 8"/>
          <p:cNvSpPr>
            <a:spLocks noGrp="1"/>
          </p:cNvSpPr>
          <p:nvPr>
            <p:ph type="body" sz="quarter" idx="14" hasCustomPrompt="1"/>
          </p:nvPr>
        </p:nvSpPr>
        <p:spPr>
          <a:xfrm>
            <a:off x="425355" y="1484785"/>
            <a:ext cx="7540588" cy="4896543"/>
          </a:xfrm>
        </p:spPr>
        <p:txBody>
          <a:bodyPr/>
          <a:lstStyle>
            <a:lvl1pPr>
              <a:defRPr/>
            </a:lvl1pPr>
            <a:lvl2pPr>
              <a:defRPr/>
            </a:lvl2pPr>
            <a:lvl3pPr>
              <a:defRPr/>
            </a:lvl3pPr>
            <a:lvl4pPr>
              <a:defRPr/>
            </a:lvl4pPr>
            <a:lvl5pPr>
              <a:defRPr/>
            </a:lvl5pPr>
          </a:lstStyle>
          <a:p>
            <a:pPr lvl="0"/>
            <a:r>
              <a:rPr lang="fr-FR" noProof="0" err="1"/>
              <a:t>Level</a:t>
            </a:r>
            <a:r>
              <a:rPr lang="fr-FR" noProof="0"/>
              <a:t> 1</a:t>
            </a:r>
          </a:p>
          <a:p>
            <a:pPr lvl="1"/>
            <a:r>
              <a:rPr lang="fr-FR" noProof="0" err="1"/>
              <a:t>Level</a:t>
            </a:r>
            <a:r>
              <a:rPr lang="fr-FR" noProof="0"/>
              <a:t> 2</a:t>
            </a:r>
          </a:p>
          <a:p>
            <a:pPr lvl="2"/>
            <a:r>
              <a:rPr lang="fr-FR" noProof="0" err="1"/>
              <a:t>Level</a:t>
            </a:r>
            <a:r>
              <a:rPr lang="fr-FR" noProof="0"/>
              <a:t> 3</a:t>
            </a:r>
          </a:p>
          <a:p>
            <a:pPr lvl="3"/>
            <a:r>
              <a:rPr lang="fr-FR" noProof="0" err="1"/>
              <a:t>Level</a:t>
            </a:r>
            <a:r>
              <a:rPr lang="fr-FR" noProof="0"/>
              <a:t> 4</a:t>
            </a:r>
          </a:p>
          <a:p>
            <a:pPr lvl="4"/>
            <a:r>
              <a:rPr lang="fr-FR" noProof="0" err="1"/>
              <a:t>Level</a:t>
            </a:r>
            <a:r>
              <a:rPr lang="fr-FR" noProof="0"/>
              <a:t> 5</a:t>
            </a:r>
          </a:p>
        </p:txBody>
      </p:sp>
    </p:spTree>
    <p:extLst>
      <p:ext uri="{BB962C8B-B14F-4D97-AF65-F5344CB8AC3E}">
        <p14:creationId xmlns:p14="http://schemas.microsoft.com/office/powerpoint/2010/main" val="319115476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Cover White + Image">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F7BD5816-EC71-4FEA-AA51-144C2F67B5D8}"/>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 r="-63997" b="-5943"/>
          <a:stretch/>
        </p:blipFill>
        <p:spPr bwMode="auto">
          <a:xfrm>
            <a:off x="0" y="3"/>
            <a:ext cx="12192000" cy="6856413"/>
          </a:xfrm>
          <a:prstGeom prst="rect">
            <a:avLst/>
          </a:prstGeom>
          <a:solidFill>
            <a:schemeClr val="bg1"/>
          </a:solidFill>
          <a:ln>
            <a:noFill/>
          </a:ln>
          <a:effectLst/>
        </p:spPr>
      </p:pic>
      <p:sp>
        <p:nvSpPr>
          <p:cNvPr id="11" name="Espace réservé pour une image  35">
            <a:extLst>
              <a:ext uri="{FF2B5EF4-FFF2-40B4-BE49-F238E27FC236}">
                <a16:creationId xmlns:a16="http://schemas.microsoft.com/office/drawing/2014/main" id="{50CFFB3C-D539-430E-9E1E-E65D867C5EAE}"/>
              </a:ext>
            </a:extLst>
          </p:cNvPr>
          <p:cNvSpPr>
            <a:spLocks noGrp="1"/>
          </p:cNvSpPr>
          <p:nvPr>
            <p:ph type="pic" sz="quarter" idx="10" hasCustomPrompt="1"/>
          </p:nvPr>
        </p:nvSpPr>
        <p:spPr bwMode="gray">
          <a:xfrm>
            <a:off x="0" y="4"/>
            <a:ext cx="7519015" cy="6621613"/>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463"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ck here</a:t>
            </a:r>
            <a:br>
              <a:rPr lang="fr-FR" noProof="0"/>
            </a:br>
            <a:r>
              <a:rPr lang="fr-FR" noProof="0"/>
              <a:t>to insert a picture	&gt;&gt;</a:t>
            </a:r>
          </a:p>
        </p:txBody>
      </p:sp>
      <p:sp>
        <p:nvSpPr>
          <p:cNvPr id="8" name="Bildplatzhalter 3"/>
          <p:cNvSpPr>
            <a:spLocks noGrp="1"/>
          </p:cNvSpPr>
          <p:nvPr>
            <p:ph type="pic" sz="quarter" idx="14" hasCustomPrompt="1"/>
          </p:nvPr>
        </p:nvSpPr>
        <p:spPr bwMode="gray">
          <a:xfrm>
            <a:off x="9419707" y="5520421"/>
            <a:ext cx="2348308" cy="72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1200" baseline="0" dirty="0">
                <a:solidFill>
                  <a:schemeClr val="bg2"/>
                </a:solidFill>
                <a:latin typeface="+mn-lt"/>
                <a:cs typeface="+mn-cs"/>
              </a:defRPr>
            </a:lvl1pPr>
          </a:lstStyle>
          <a:p>
            <a:pPr lvl="0"/>
            <a:r>
              <a:rPr lang="fr-FR" noProof="0"/>
              <a:t>Insert client logo</a:t>
            </a:r>
          </a:p>
        </p:txBody>
      </p:sp>
      <p:sp>
        <p:nvSpPr>
          <p:cNvPr id="10" name="Titel 1"/>
          <p:cNvSpPr>
            <a:spLocks noGrp="1"/>
          </p:cNvSpPr>
          <p:nvPr>
            <p:ph type="title" hasCustomPrompt="1"/>
          </p:nvPr>
        </p:nvSpPr>
        <p:spPr bwMode="gray">
          <a:xfrm>
            <a:off x="3989420" y="3334423"/>
            <a:ext cx="7778596" cy="964800"/>
          </a:xfrm>
        </p:spPr>
        <p:txBody>
          <a:bodyPr lIns="0" rIns="0" anchor="b">
            <a:noAutofit/>
          </a:bodyPr>
          <a:lstStyle>
            <a:lvl1pPr algn="r">
              <a:defRPr sz="2800" cap="none" baseline="0">
                <a:solidFill>
                  <a:schemeClr val="bg2"/>
                </a:solidFill>
                <a:latin typeface="+mj-lt"/>
              </a:defRPr>
            </a:lvl1pPr>
          </a:lstStyle>
          <a:p>
            <a:r>
              <a:rPr lang="fr-FR" noProof="0"/>
              <a:t>Placeholder for your title</a:t>
            </a:r>
          </a:p>
        </p:txBody>
      </p:sp>
      <p:sp>
        <p:nvSpPr>
          <p:cNvPr id="14" name="Textplatzhalter 25"/>
          <p:cNvSpPr>
            <a:spLocks noGrp="1"/>
          </p:cNvSpPr>
          <p:nvPr>
            <p:ph type="body" sz="quarter" idx="15" hasCustomPrompt="1"/>
          </p:nvPr>
        </p:nvSpPr>
        <p:spPr bwMode="gray">
          <a:xfrm>
            <a:off x="3989420" y="4425489"/>
            <a:ext cx="7778596" cy="482400"/>
          </a:xfrm>
          <a:prstGeom prst="rect">
            <a:avLst/>
          </a:prstGeom>
        </p:spPr>
        <p:txBody>
          <a:bodyPr lIns="0" tIns="72000" rIns="0" bIns="72000" anchor="ctr">
            <a:noAutofit/>
          </a:bodyPr>
          <a:lstStyle>
            <a:lvl1pPr marL="0" marR="0" indent="0" algn="r" defTabSz="742950" rtl="0" eaLnBrk="1" fontAlgn="auto" latinLnBrk="0" hangingPunct="1">
              <a:lnSpc>
                <a:spcPct val="100000"/>
              </a:lnSpc>
              <a:spcBef>
                <a:spcPts val="0"/>
              </a:spcBef>
              <a:spcAft>
                <a:spcPts val="0"/>
              </a:spcAft>
              <a:buClrTx/>
              <a:buSzTx/>
              <a:buFont typeface="Arial" panose="020B0604020202020204" pitchFamily="34" charset="0"/>
              <a:buNone/>
              <a:tabLst/>
              <a:defRPr sz="2000" i="0">
                <a:solidFill>
                  <a:schemeClr val="bg2"/>
                </a:solidFill>
                <a:latin typeface="+mj-lt"/>
              </a:defRPr>
            </a:lvl1pPr>
          </a:lstStyle>
          <a:p>
            <a:pPr lvl="0"/>
            <a:r>
              <a:rPr lang="fr-FR" noProof="0"/>
              <a:t>Placeholder for your sub headline</a:t>
            </a:r>
          </a:p>
        </p:txBody>
      </p:sp>
      <p:sp>
        <p:nvSpPr>
          <p:cNvPr id="15" name="Textplatzhalter 25"/>
          <p:cNvSpPr>
            <a:spLocks noGrp="1"/>
          </p:cNvSpPr>
          <p:nvPr>
            <p:ph type="body" sz="quarter" idx="17" hasCustomPrompt="1"/>
          </p:nvPr>
        </p:nvSpPr>
        <p:spPr bwMode="gray">
          <a:xfrm>
            <a:off x="3989420" y="5034155"/>
            <a:ext cx="7778596" cy="360000"/>
          </a:xfrm>
          <a:prstGeom prst="rect">
            <a:avLst/>
          </a:prstGeom>
        </p:spPr>
        <p:txBody>
          <a:bodyPr lIns="0" tIns="72000" rIns="0" bIns="72000" anchor="ctr">
            <a:noAutofit/>
          </a:bodyPr>
          <a:lstStyle>
            <a:lvl1pPr marL="0" marR="0" indent="0" algn="r" defTabSz="742950" rtl="0" eaLnBrk="1" fontAlgn="auto" latinLnBrk="0" hangingPunct="1">
              <a:lnSpc>
                <a:spcPct val="100000"/>
              </a:lnSpc>
              <a:spcBef>
                <a:spcPts val="0"/>
              </a:spcBef>
              <a:spcAft>
                <a:spcPts val="0"/>
              </a:spcAft>
              <a:buClrTx/>
              <a:buSzTx/>
              <a:buFont typeface="Arial" panose="020B0604020202020204" pitchFamily="34" charset="0"/>
              <a:buNone/>
              <a:tabLst/>
              <a:defRPr sz="1400" i="0">
                <a:solidFill>
                  <a:schemeClr val="bg2"/>
                </a:solidFill>
                <a:latin typeface="+mj-lt"/>
              </a:defRPr>
            </a:lvl1pPr>
          </a:lstStyle>
          <a:p>
            <a:pPr lvl="0"/>
            <a:r>
              <a:rPr lang="fr-FR" noProof="0"/>
              <a:t>Date | Author | Internal</a:t>
            </a:r>
          </a:p>
        </p:txBody>
      </p:sp>
      <p:pic>
        <p:nvPicPr>
          <p:cNvPr id="13" name="Picture 8">
            <a:extLst>
              <a:ext uri="{FF2B5EF4-FFF2-40B4-BE49-F238E27FC236}">
                <a16:creationId xmlns:a16="http://schemas.microsoft.com/office/drawing/2014/main" id="{F17EF43B-4D31-400D-920A-93C5131424D6}"/>
              </a:ext>
            </a:extLst>
          </p:cNvPr>
          <p:cNvPicPr>
            <a:picLocks noChangeAspect="1"/>
          </p:cNvPicPr>
          <p:nvPr userDrawn="1"/>
        </p:nvPicPr>
        <p:blipFill>
          <a:blip r:embed="rId3"/>
          <a:stretch>
            <a:fillRect/>
          </a:stretch>
        </p:blipFill>
        <p:spPr>
          <a:xfrm>
            <a:off x="8306740" y="959838"/>
            <a:ext cx="3479769" cy="381600"/>
          </a:xfrm>
          <a:prstGeom prst="rect">
            <a:avLst/>
          </a:prstGeom>
        </p:spPr>
      </p:pic>
    </p:spTree>
    <p:extLst>
      <p:ext uri="{BB962C8B-B14F-4D97-AF65-F5344CB8AC3E}">
        <p14:creationId xmlns:p14="http://schemas.microsoft.com/office/powerpoint/2010/main" val="2244680948"/>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Purple + Image">
    <p:bg>
      <p:bgPr>
        <a:solidFill>
          <a:schemeClr val="bg2"/>
        </a:solidFill>
        <a:effectLst/>
      </p:bgPr>
    </p:bg>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7F986FF8-0FAB-4411-868C-A190BFBE611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 r="-63997" b="-5943"/>
          <a:stretch/>
        </p:blipFill>
        <p:spPr bwMode="auto">
          <a:xfrm>
            <a:off x="0" y="3"/>
            <a:ext cx="12192000" cy="6856413"/>
          </a:xfrm>
          <a:prstGeom prst="rect">
            <a:avLst/>
          </a:prstGeom>
          <a:solidFill>
            <a:schemeClr val="bg2"/>
          </a:solidFill>
          <a:ln>
            <a:noFill/>
          </a:ln>
          <a:effectLst/>
        </p:spPr>
      </p:pic>
      <p:sp>
        <p:nvSpPr>
          <p:cNvPr id="13" name="Espace réservé pour une image  35">
            <a:extLst>
              <a:ext uri="{FF2B5EF4-FFF2-40B4-BE49-F238E27FC236}">
                <a16:creationId xmlns:a16="http://schemas.microsoft.com/office/drawing/2014/main" id="{E05E0E5B-E3D1-4D83-9E73-74096393ECBE}"/>
              </a:ext>
            </a:extLst>
          </p:cNvPr>
          <p:cNvSpPr>
            <a:spLocks noGrp="1"/>
          </p:cNvSpPr>
          <p:nvPr>
            <p:ph type="pic" sz="quarter" idx="10" hasCustomPrompt="1"/>
          </p:nvPr>
        </p:nvSpPr>
        <p:spPr bwMode="gray">
          <a:xfrm>
            <a:off x="0" y="4"/>
            <a:ext cx="7519015" cy="6621613"/>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463"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ck here</a:t>
            </a:r>
            <a:br>
              <a:rPr lang="fr-FR" noProof="0"/>
            </a:br>
            <a:r>
              <a:rPr lang="fr-FR" noProof="0"/>
              <a:t>to insert a picture	&gt;&gt;</a:t>
            </a:r>
          </a:p>
        </p:txBody>
      </p:sp>
      <p:sp>
        <p:nvSpPr>
          <p:cNvPr id="11" name="Titel 1"/>
          <p:cNvSpPr>
            <a:spLocks noGrp="1"/>
          </p:cNvSpPr>
          <p:nvPr>
            <p:ph type="title" hasCustomPrompt="1"/>
          </p:nvPr>
        </p:nvSpPr>
        <p:spPr bwMode="gray">
          <a:xfrm>
            <a:off x="4492341" y="3334423"/>
            <a:ext cx="7266720" cy="964800"/>
          </a:xfrm>
        </p:spPr>
        <p:txBody>
          <a:bodyPr lIns="0" rIns="0" anchor="b">
            <a:noAutofit/>
          </a:bodyPr>
          <a:lstStyle>
            <a:lvl1pPr algn="r">
              <a:defRPr sz="2800" cap="none" baseline="0">
                <a:solidFill>
                  <a:schemeClr val="bg1"/>
                </a:solidFill>
                <a:latin typeface="+mj-lt"/>
              </a:defRPr>
            </a:lvl1pPr>
          </a:lstStyle>
          <a:p>
            <a:r>
              <a:rPr lang="fr-FR" noProof="0"/>
              <a:t>Placeholder for your title</a:t>
            </a:r>
          </a:p>
        </p:txBody>
      </p:sp>
      <p:sp>
        <p:nvSpPr>
          <p:cNvPr id="15" name="Textplatzhalter 25"/>
          <p:cNvSpPr>
            <a:spLocks noGrp="1"/>
          </p:cNvSpPr>
          <p:nvPr>
            <p:ph type="body" sz="quarter" idx="15" hasCustomPrompt="1"/>
          </p:nvPr>
        </p:nvSpPr>
        <p:spPr bwMode="gray">
          <a:xfrm>
            <a:off x="4492341" y="4425489"/>
            <a:ext cx="7266720" cy="482400"/>
          </a:xfrm>
          <a:prstGeom prst="rect">
            <a:avLst/>
          </a:prstGeom>
        </p:spPr>
        <p:txBody>
          <a:bodyPr lIns="0" tIns="72000" rIns="0" bIns="72000" anchor="ctr">
            <a:noAutofit/>
          </a:bodyPr>
          <a:lstStyle>
            <a:lvl1pPr marL="0" marR="0" indent="0" algn="r" defTabSz="742950" rtl="0" eaLnBrk="1" fontAlgn="auto" latinLnBrk="0" hangingPunct="1">
              <a:lnSpc>
                <a:spcPct val="100000"/>
              </a:lnSpc>
              <a:spcBef>
                <a:spcPts val="0"/>
              </a:spcBef>
              <a:spcAft>
                <a:spcPts val="0"/>
              </a:spcAft>
              <a:buClrTx/>
              <a:buSzTx/>
              <a:buFont typeface="Arial" panose="020B0604020202020204" pitchFamily="34" charset="0"/>
              <a:buNone/>
              <a:tabLst/>
              <a:defRPr sz="2000" i="0">
                <a:solidFill>
                  <a:schemeClr val="bg1"/>
                </a:solidFill>
                <a:latin typeface="+mj-lt"/>
              </a:defRPr>
            </a:lvl1pPr>
          </a:lstStyle>
          <a:p>
            <a:pPr lvl="0"/>
            <a:r>
              <a:rPr lang="fr-FR" noProof="0"/>
              <a:t>Placeholder for your sub headline</a:t>
            </a:r>
          </a:p>
        </p:txBody>
      </p:sp>
      <p:sp>
        <p:nvSpPr>
          <p:cNvPr id="16" name="Textplatzhalter 25"/>
          <p:cNvSpPr>
            <a:spLocks noGrp="1"/>
          </p:cNvSpPr>
          <p:nvPr>
            <p:ph type="body" sz="quarter" idx="17" hasCustomPrompt="1"/>
          </p:nvPr>
        </p:nvSpPr>
        <p:spPr bwMode="gray">
          <a:xfrm>
            <a:off x="4492341" y="5034155"/>
            <a:ext cx="7266720" cy="360000"/>
          </a:xfrm>
          <a:prstGeom prst="rect">
            <a:avLst/>
          </a:prstGeom>
        </p:spPr>
        <p:txBody>
          <a:bodyPr lIns="0" tIns="72000" rIns="0" bIns="72000" anchor="ctr">
            <a:noAutofit/>
          </a:bodyPr>
          <a:lstStyle>
            <a:lvl1pPr marL="0" marR="0" indent="0" algn="r" defTabSz="742950" rtl="0" eaLnBrk="1" fontAlgn="auto" latinLnBrk="0" hangingPunct="1">
              <a:lnSpc>
                <a:spcPct val="100000"/>
              </a:lnSpc>
              <a:spcBef>
                <a:spcPts val="0"/>
              </a:spcBef>
              <a:spcAft>
                <a:spcPts val="0"/>
              </a:spcAft>
              <a:buClrTx/>
              <a:buSzTx/>
              <a:buFont typeface="Arial" panose="020B0604020202020204" pitchFamily="34" charset="0"/>
              <a:buNone/>
              <a:tabLst/>
              <a:defRPr sz="1400" i="0">
                <a:solidFill>
                  <a:schemeClr val="bg1"/>
                </a:solidFill>
                <a:latin typeface="+mj-lt"/>
              </a:defRPr>
            </a:lvl1pPr>
          </a:lstStyle>
          <a:p>
            <a:pPr lvl="0"/>
            <a:r>
              <a:rPr lang="fr-FR" noProof="0"/>
              <a:t>Date | Author | Internal</a:t>
            </a:r>
          </a:p>
        </p:txBody>
      </p:sp>
      <p:pic>
        <p:nvPicPr>
          <p:cNvPr id="14" name="Picture 7">
            <a:extLst>
              <a:ext uri="{FF2B5EF4-FFF2-40B4-BE49-F238E27FC236}">
                <a16:creationId xmlns:a16="http://schemas.microsoft.com/office/drawing/2014/main" id="{950723E1-C653-4B9D-9298-88094754179E}"/>
              </a:ext>
            </a:extLst>
          </p:cNvPr>
          <p:cNvPicPr>
            <a:picLocks/>
          </p:cNvPicPr>
          <p:nvPr userDrawn="1"/>
        </p:nvPicPr>
        <p:blipFill>
          <a:blip r:embed="rId3"/>
          <a:stretch>
            <a:fillRect/>
          </a:stretch>
        </p:blipFill>
        <p:spPr>
          <a:xfrm>
            <a:off x="8314960" y="959838"/>
            <a:ext cx="3478154" cy="381600"/>
          </a:xfrm>
          <a:prstGeom prst="rect">
            <a:avLst/>
          </a:prstGeom>
        </p:spPr>
      </p:pic>
      <p:sp>
        <p:nvSpPr>
          <p:cNvPr id="9" name="Bildplatzhalter 3">
            <a:extLst>
              <a:ext uri="{FF2B5EF4-FFF2-40B4-BE49-F238E27FC236}">
                <a16:creationId xmlns:a16="http://schemas.microsoft.com/office/drawing/2014/main" id="{44A2A9F1-D140-498B-A52F-F9D71C9A2F6A}"/>
              </a:ext>
            </a:extLst>
          </p:cNvPr>
          <p:cNvSpPr>
            <a:spLocks noGrp="1"/>
          </p:cNvSpPr>
          <p:nvPr>
            <p:ph type="pic" sz="quarter" idx="14" hasCustomPrompt="1"/>
          </p:nvPr>
        </p:nvSpPr>
        <p:spPr bwMode="gray">
          <a:xfrm>
            <a:off x="9419707" y="5520421"/>
            <a:ext cx="2348308" cy="72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1200" baseline="0" dirty="0">
                <a:solidFill>
                  <a:schemeClr val="bg1"/>
                </a:solidFill>
                <a:latin typeface="+mn-lt"/>
                <a:cs typeface="+mn-cs"/>
              </a:defRPr>
            </a:lvl1pPr>
          </a:lstStyle>
          <a:p>
            <a:pPr lvl="0"/>
            <a:r>
              <a:rPr lang="fr-FR" noProof="0"/>
              <a:t>Insert client logo</a:t>
            </a:r>
          </a:p>
        </p:txBody>
      </p:sp>
    </p:spTree>
    <p:extLst>
      <p:ext uri="{BB962C8B-B14F-4D97-AF65-F5344CB8AC3E}">
        <p14:creationId xmlns:p14="http://schemas.microsoft.com/office/powerpoint/2010/main" val="2446720315"/>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25354" y="404666"/>
            <a:ext cx="11342769" cy="936773"/>
          </a:xfrm>
        </p:spPr>
        <p:txBody>
          <a:bodyPr lIns="108000" tIns="0" rIns="108000" bIns="0"/>
          <a:lstStyle>
            <a:lvl1pPr>
              <a:defRPr sz="2200" baseline="0">
                <a:solidFill>
                  <a:schemeClr val="bg2"/>
                </a:solidFill>
              </a:defRPr>
            </a:lvl1pPr>
          </a:lstStyle>
          <a:p>
            <a:r>
              <a:rPr lang="fr-FR" noProof="0"/>
              <a:t>Complete with a title here that carries your message on two lines at most for more readability</a:t>
            </a:r>
          </a:p>
        </p:txBody>
      </p:sp>
      <p:sp>
        <p:nvSpPr>
          <p:cNvPr id="5" name="Text Placeholder 8"/>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813"/>
            </a:lvl2pPr>
          </a:lstStyle>
          <a:p>
            <a:pPr lvl="0"/>
            <a:r>
              <a:rPr lang="fr-FR" noProof="0"/>
              <a:t>Insert a top title here - must not exceed 1 line</a:t>
            </a:r>
          </a:p>
        </p:txBody>
      </p:sp>
    </p:spTree>
    <p:extLst>
      <p:ext uri="{BB962C8B-B14F-4D97-AF65-F5344CB8AC3E}">
        <p14:creationId xmlns:p14="http://schemas.microsoft.com/office/powerpoint/2010/main" val="19143258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4" name="Espace réservé du contenu 3"/>
          <p:cNvSpPr>
            <a:spLocks noGrp="1"/>
          </p:cNvSpPr>
          <p:nvPr>
            <p:ph sz="quarter" idx="14" hasCustomPrompt="1"/>
          </p:nvPr>
        </p:nvSpPr>
        <p:spPr>
          <a:xfrm>
            <a:off x="425354" y="1341438"/>
            <a:ext cx="11342769" cy="4895850"/>
          </a:xfrm>
          <a:prstGeom prst="rect">
            <a:avLst/>
          </a:prstGeom>
        </p:spPr>
        <p:txBody>
          <a:bodyPr lIns="108000" tIns="108000" rIns="108000" bIns="108000"/>
          <a:lstStyle>
            <a:lvl2pPr>
              <a:defRPr>
                <a:solidFill>
                  <a:schemeClr val="tx1"/>
                </a:solidFill>
              </a:defRPr>
            </a:lvl2pPr>
            <a:lvl3pPr>
              <a:defRPr baseline="0">
                <a:solidFill>
                  <a:schemeClr val="tx1"/>
                </a:solidFill>
              </a:defRPr>
            </a:lvl3pPr>
            <a:lvl4pPr>
              <a:defRPr>
                <a:solidFill>
                  <a:schemeClr val="tx1"/>
                </a:solidFill>
              </a:defRPr>
            </a:lvl4pPr>
            <a:lvl5pPr>
              <a:defRPr>
                <a:solidFill>
                  <a:schemeClr val="tx1"/>
                </a:solidFill>
              </a:defRPr>
            </a:lvl5pPr>
            <a:lvl6pPr algn="just">
              <a:defRPr>
                <a:solidFill>
                  <a:schemeClr val="tx1"/>
                </a:solidFill>
              </a:defRPr>
            </a:lvl6pPr>
            <a:lvl7pPr algn="just">
              <a:defRPr>
                <a:solidFill>
                  <a:schemeClr val="tx1"/>
                </a:solidFill>
              </a:defRPr>
            </a:lvl7pPr>
            <a:lvl8pPr algn="just">
              <a:defRPr>
                <a:solidFill>
                  <a:schemeClr val="tx1"/>
                </a:solidFill>
              </a:defRPr>
            </a:lvl8pPr>
            <a:lvl9pPr algn="just">
              <a:defRPr>
                <a:solidFill>
                  <a:schemeClr val="tx1"/>
                </a:solidFill>
              </a:defRPr>
            </a:lvl9pPr>
          </a:lstStyle>
          <a:p>
            <a:pPr lvl="0"/>
            <a:r>
              <a:rPr lang="fr-FR"/>
              <a:t>Level 1 - </a:t>
            </a:r>
            <a:r>
              <a:rPr lang="fr-FR">
                <a:solidFill>
                  <a:srgbClr val="503078"/>
                </a:solidFill>
              </a:rPr>
              <a:t>To move to the next level, Alt + Shift + right arrow</a:t>
            </a:r>
            <a:endParaRPr lang="fr-FR"/>
          </a:p>
          <a:p>
            <a:pPr lvl="1"/>
            <a:r>
              <a:rPr lang="fr-FR"/>
              <a:t>Level 2</a:t>
            </a:r>
          </a:p>
          <a:p>
            <a:pPr lvl="2"/>
            <a:r>
              <a:rPr lang="fr-FR"/>
              <a:t>Level 3</a:t>
            </a:r>
          </a:p>
          <a:p>
            <a:pPr lvl="3"/>
            <a:r>
              <a:rPr lang="fr-FR"/>
              <a:t>Level 4</a:t>
            </a:r>
          </a:p>
          <a:p>
            <a:pPr lvl="4"/>
            <a:r>
              <a:rPr lang="fr-FR"/>
              <a:t>Level 5</a:t>
            </a:r>
          </a:p>
          <a:p>
            <a:pPr lvl="5"/>
            <a:r>
              <a:rPr lang="fr-FR"/>
              <a:t>Level 6</a:t>
            </a:r>
          </a:p>
          <a:p>
            <a:pPr lvl="6"/>
            <a:r>
              <a:rPr lang="fr-FR"/>
              <a:t>Level 7</a:t>
            </a:r>
          </a:p>
          <a:p>
            <a:pPr lvl="7"/>
            <a:r>
              <a:rPr lang="fr-FR" noProof="0"/>
              <a:t>Level </a:t>
            </a:r>
            <a:r>
              <a:rPr lang="fr-FR"/>
              <a:t>8</a:t>
            </a:r>
          </a:p>
          <a:p>
            <a:pPr lvl="8"/>
            <a:r>
              <a:rPr lang="fr-FR"/>
              <a:t>Level 9</a:t>
            </a:r>
          </a:p>
        </p:txBody>
      </p:sp>
      <p:sp>
        <p:nvSpPr>
          <p:cNvPr id="5" name="Title 1">
            <a:extLst>
              <a:ext uri="{FF2B5EF4-FFF2-40B4-BE49-F238E27FC236}">
                <a16:creationId xmlns:a16="http://schemas.microsoft.com/office/drawing/2014/main" id="{42C34059-D4CA-4210-8E38-CDB64C89506A}"/>
              </a:ext>
            </a:extLst>
          </p:cNvPr>
          <p:cNvSpPr>
            <a:spLocks noGrp="1"/>
          </p:cNvSpPr>
          <p:nvPr>
            <p:ph type="title" hasCustomPrompt="1"/>
          </p:nvPr>
        </p:nvSpPr>
        <p:spPr>
          <a:xfrm>
            <a:off x="425354" y="404666"/>
            <a:ext cx="11342769" cy="936773"/>
          </a:xfrm>
        </p:spPr>
        <p:txBody>
          <a:bodyPr lIns="108000" tIns="0" rIns="108000" bIns="0"/>
          <a:lstStyle>
            <a:lvl1pPr>
              <a:defRPr sz="2200" baseline="0">
                <a:solidFill>
                  <a:schemeClr val="bg2"/>
                </a:solidFill>
              </a:defRPr>
            </a:lvl1pPr>
          </a:lstStyle>
          <a:p>
            <a:r>
              <a:rPr lang="fr-FR" noProof="0"/>
              <a:t>Complete with a title here that carries your message on two lines at most for more readability</a:t>
            </a:r>
          </a:p>
        </p:txBody>
      </p:sp>
      <p:sp>
        <p:nvSpPr>
          <p:cNvPr id="6" name="Text Placeholder 8">
            <a:extLst>
              <a:ext uri="{FF2B5EF4-FFF2-40B4-BE49-F238E27FC236}">
                <a16:creationId xmlns:a16="http://schemas.microsoft.com/office/drawing/2014/main" id="{42CD65D2-F6BC-44F1-91EF-C5D6903AF840}"/>
              </a:ext>
            </a:extLst>
          </p:cNvPr>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813"/>
            </a:lvl2pPr>
          </a:lstStyle>
          <a:p>
            <a:pPr lvl="0"/>
            <a:r>
              <a:rPr lang="fr-FR" noProof="0"/>
              <a:t>Insert a top title here - must not exceed 1 line</a:t>
            </a:r>
          </a:p>
        </p:txBody>
      </p:sp>
    </p:spTree>
    <p:extLst>
      <p:ext uri="{BB962C8B-B14F-4D97-AF65-F5344CB8AC3E}">
        <p14:creationId xmlns:p14="http://schemas.microsoft.com/office/powerpoint/2010/main" val="6693096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 1 à 6 chapitres">
    <p:spTree>
      <p:nvGrpSpPr>
        <p:cNvPr id="1" name=""/>
        <p:cNvGrpSpPr/>
        <p:nvPr/>
      </p:nvGrpSpPr>
      <p:grpSpPr>
        <a:xfrm>
          <a:off x="0" y="0"/>
          <a:ext cx="0" cy="0"/>
          <a:chOff x="0" y="0"/>
          <a:chExt cx="0" cy="0"/>
        </a:xfrm>
      </p:grpSpPr>
      <p:sp>
        <p:nvSpPr>
          <p:cNvPr id="23" name="Title 1"/>
          <p:cNvSpPr txBox="1">
            <a:spLocks/>
          </p:cNvSpPr>
          <p:nvPr/>
        </p:nvSpPr>
        <p:spPr>
          <a:xfrm>
            <a:off x="416540" y="404665"/>
            <a:ext cx="11342769" cy="863748"/>
          </a:xfrm>
          <a:prstGeom prst="rect">
            <a:avLst/>
          </a:prstGeom>
          <a:noFill/>
        </p:spPr>
        <p:txBody>
          <a:bodyPr vert="horz" lIns="108000" tIns="36000" rIns="108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2200" b="1"/>
              <a:t>AGENDA</a:t>
            </a:r>
          </a:p>
        </p:txBody>
      </p:sp>
      <p:sp>
        <p:nvSpPr>
          <p:cNvPr id="5" name="Text Placeholder 8"/>
          <p:cNvSpPr>
            <a:spLocks noGrp="1"/>
          </p:cNvSpPr>
          <p:nvPr>
            <p:ph type="body" sz="quarter" idx="15" hasCustomPrompt="1"/>
          </p:nvPr>
        </p:nvSpPr>
        <p:spPr>
          <a:xfrm>
            <a:off x="2019239" y="1249572"/>
            <a:ext cx="7620832" cy="684000"/>
          </a:xfrm>
          <a:prstGeom prst="rect">
            <a:avLst/>
          </a:prstGeom>
        </p:spPr>
        <p:txBody>
          <a:bodyPr wrap="square" anchor="ctr">
            <a:noAutofit/>
          </a:bodyPr>
          <a:lstStyle>
            <a:lvl1pPr marL="0" indent="0" algn="l">
              <a:buClr>
                <a:schemeClr val="bg2"/>
              </a:buClr>
              <a:buFontTx/>
              <a:buNone/>
              <a:defRPr sz="2200" i="0" cap="none" baseline="0">
                <a:solidFill>
                  <a:schemeClr val="bg2"/>
                </a:solidFill>
              </a:defRPr>
            </a:lvl1pPr>
            <a:lvl2pPr>
              <a:defRPr sz="1000"/>
            </a:lvl2pPr>
          </a:lstStyle>
          <a:p>
            <a:pPr lvl="0"/>
            <a:r>
              <a:rPr lang="fr-FR" noProof="0"/>
              <a:t>Chapitre 1</a:t>
            </a:r>
          </a:p>
        </p:txBody>
      </p:sp>
      <p:sp>
        <p:nvSpPr>
          <p:cNvPr id="8" name="Text Placeholder 8"/>
          <p:cNvSpPr>
            <a:spLocks noGrp="1"/>
          </p:cNvSpPr>
          <p:nvPr>
            <p:ph type="body" sz="quarter" idx="17" hasCustomPrompt="1"/>
          </p:nvPr>
        </p:nvSpPr>
        <p:spPr>
          <a:xfrm>
            <a:off x="2019239" y="2052195"/>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a:t>Chapitre 2</a:t>
            </a:r>
          </a:p>
        </p:txBody>
      </p:sp>
      <p:sp>
        <p:nvSpPr>
          <p:cNvPr id="11" name="Text Placeholder 8"/>
          <p:cNvSpPr>
            <a:spLocks noGrp="1"/>
          </p:cNvSpPr>
          <p:nvPr>
            <p:ph type="body" sz="quarter" idx="19" hasCustomPrompt="1"/>
          </p:nvPr>
        </p:nvSpPr>
        <p:spPr>
          <a:xfrm>
            <a:off x="2019239" y="2854818"/>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a:t>Chapitre 3</a:t>
            </a:r>
          </a:p>
        </p:txBody>
      </p:sp>
      <p:sp>
        <p:nvSpPr>
          <p:cNvPr id="14" name="Text Placeholder 8"/>
          <p:cNvSpPr>
            <a:spLocks noGrp="1"/>
          </p:cNvSpPr>
          <p:nvPr>
            <p:ph type="body" sz="quarter" idx="21" hasCustomPrompt="1"/>
          </p:nvPr>
        </p:nvSpPr>
        <p:spPr>
          <a:xfrm>
            <a:off x="2019239" y="3657441"/>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a:t>Chapitre 4</a:t>
            </a:r>
          </a:p>
        </p:txBody>
      </p:sp>
      <p:sp>
        <p:nvSpPr>
          <p:cNvPr id="17" name="Text Placeholder 8"/>
          <p:cNvSpPr>
            <a:spLocks noGrp="1"/>
          </p:cNvSpPr>
          <p:nvPr>
            <p:ph type="body" sz="quarter" idx="23" hasCustomPrompt="1"/>
          </p:nvPr>
        </p:nvSpPr>
        <p:spPr>
          <a:xfrm>
            <a:off x="2019239" y="4460064"/>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a:t>Chapitre 5</a:t>
            </a:r>
          </a:p>
        </p:txBody>
      </p:sp>
      <p:sp>
        <p:nvSpPr>
          <p:cNvPr id="30" name="Text Placeholder 8"/>
          <p:cNvSpPr>
            <a:spLocks noGrp="1"/>
          </p:cNvSpPr>
          <p:nvPr>
            <p:ph type="body" sz="quarter" idx="25" hasCustomPrompt="1"/>
          </p:nvPr>
        </p:nvSpPr>
        <p:spPr>
          <a:xfrm>
            <a:off x="9875315" y="1249572"/>
            <a:ext cx="1700834" cy="684000"/>
          </a:xfrm>
          <a:prstGeom prst="rect">
            <a:avLst/>
          </a:prstGeom>
        </p:spPr>
        <p:txBody>
          <a:bodyPr wrap="square" anchor="ctr">
            <a:noAutofit/>
          </a:bodyPr>
          <a:lstStyle>
            <a:lvl1pPr algn="l">
              <a:defRPr sz="1000" b="0" i="0" cap="none" baseline="0">
                <a:solidFill>
                  <a:schemeClr val="bg2"/>
                </a:solidFill>
              </a:defRPr>
            </a:lvl1pPr>
            <a:lvl2pPr>
              <a:defRPr sz="1000"/>
            </a:lvl2pPr>
          </a:lstStyle>
          <a:p>
            <a:pPr lvl="0"/>
            <a:r>
              <a:rPr lang="fr-FR" noProof="0"/>
              <a:t>Page x</a:t>
            </a:r>
          </a:p>
        </p:txBody>
      </p:sp>
      <p:sp>
        <p:nvSpPr>
          <p:cNvPr id="32" name="Text Placeholder 8"/>
          <p:cNvSpPr>
            <a:spLocks noGrp="1"/>
          </p:cNvSpPr>
          <p:nvPr>
            <p:ph type="body" sz="quarter" idx="26" hasCustomPrompt="1"/>
          </p:nvPr>
        </p:nvSpPr>
        <p:spPr>
          <a:xfrm>
            <a:off x="9875315" y="4460064"/>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33" name="Text Placeholder 8"/>
          <p:cNvSpPr>
            <a:spLocks noGrp="1"/>
          </p:cNvSpPr>
          <p:nvPr>
            <p:ph type="body" sz="quarter" idx="27" hasCustomPrompt="1"/>
          </p:nvPr>
        </p:nvSpPr>
        <p:spPr>
          <a:xfrm>
            <a:off x="9875315" y="3657441"/>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34" name="Text Placeholder 8"/>
          <p:cNvSpPr>
            <a:spLocks noGrp="1"/>
          </p:cNvSpPr>
          <p:nvPr>
            <p:ph type="body" sz="quarter" idx="28" hasCustomPrompt="1"/>
          </p:nvPr>
        </p:nvSpPr>
        <p:spPr>
          <a:xfrm>
            <a:off x="9875315" y="2854818"/>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35" name="Text Placeholder 8"/>
          <p:cNvSpPr>
            <a:spLocks noGrp="1"/>
          </p:cNvSpPr>
          <p:nvPr>
            <p:ph type="body" sz="quarter" idx="29" hasCustomPrompt="1"/>
          </p:nvPr>
        </p:nvSpPr>
        <p:spPr>
          <a:xfrm>
            <a:off x="9875315" y="2052195"/>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24" name="Text Placeholder 8"/>
          <p:cNvSpPr>
            <a:spLocks noGrp="1"/>
          </p:cNvSpPr>
          <p:nvPr>
            <p:ph type="body" sz="quarter" idx="30" hasCustomPrompt="1"/>
          </p:nvPr>
        </p:nvSpPr>
        <p:spPr>
          <a:xfrm>
            <a:off x="2019239" y="5262689"/>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a:t>Chapitre 6</a:t>
            </a:r>
          </a:p>
        </p:txBody>
      </p:sp>
      <p:sp>
        <p:nvSpPr>
          <p:cNvPr id="26" name="Text Placeholder 8"/>
          <p:cNvSpPr>
            <a:spLocks noGrp="1"/>
          </p:cNvSpPr>
          <p:nvPr>
            <p:ph type="body" sz="quarter" idx="32" hasCustomPrompt="1"/>
          </p:nvPr>
        </p:nvSpPr>
        <p:spPr>
          <a:xfrm>
            <a:off x="9875315" y="5262689"/>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44" name="Text Placeholder 4"/>
          <p:cNvSpPr>
            <a:spLocks noGrp="1"/>
          </p:cNvSpPr>
          <p:nvPr>
            <p:ph type="body" sz="quarter" idx="38" hasCustomPrompt="1"/>
          </p:nvPr>
        </p:nvSpPr>
        <p:spPr>
          <a:xfrm>
            <a:off x="416540" y="1249572"/>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01</a:t>
            </a:r>
          </a:p>
        </p:txBody>
      </p:sp>
      <p:sp>
        <p:nvSpPr>
          <p:cNvPr id="45" name="Text Placeholder 4"/>
          <p:cNvSpPr>
            <a:spLocks noGrp="1"/>
          </p:cNvSpPr>
          <p:nvPr>
            <p:ph type="body" sz="quarter" idx="39" hasCustomPrompt="1"/>
          </p:nvPr>
        </p:nvSpPr>
        <p:spPr>
          <a:xfrm>
            <a:off x="416540" y="2052195"/>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02</a:t>
            </a:r>
          </a:p>
        </p:txBody>
      </p:sp>
      <p:sp>
        <p:nvSpPr>
          <p:cNvPr id="46" name="Text Placeholder 4"/>
          <p:cNvSpPr>
            <a:spLocks noGrp="1"/>
          </p:cNvSpPr>
          <p:nvPr>
            <p:ph type="body" sz="quarter" idx="40" hasCustomPrompt="1"/>
          </p:nvPr>
        </p:nvSpPr>
        <p:spPr>
          <a:xfrm>
            <a:off x="416540" y="2854818"/>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03</a:t>
            </a:r>
          </a:p>
        </p:txBody>
      </p:sp>
      <p:sp>
        <p:nvSpPr>
          <p:cNvPr id="47" name="Text Placeholder 4"/>
          <p:cNvSpPr>
            <a:spLocks noGrp="1"/>
          </p:cNvSpPr>
          <p:nvPr>
            <p:ph type="body" sz="quarter" idx="41" hasCustomPrompt="1"/>
          </p:nvPr>
        </p:nvSpPr>
        <p:spPr>
          <a:xfrm>
            <a:off x="416540" y="3657441"/>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04</a:t>
            </a:r>
          </a:p>
        </p:txBody>
      </p:sp>
      <p:sp>
        <p:nvSpPr>
          <p:cNvPr id="48" name="Text Placeholder 4"/>
          <p:cNvSpPr>
            <a:spLocks noGrp="1"/>
          </p:cNvSpPr>
          <p:nvPr>
            <p:ph type="body" sz="quarter" idx="42" hasCustomPrompt="1"/>
          </p:nvPr>
        </p:nvSpPr>
        <p:spPr>
          <a:xfrm>
            <a:off x="416540" y="4460064"/>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05</a:t>
            </a:r>
          </a:p>
        </p:txBody>
      </p:sp>
      <p:sp>
        <p:nvSpPr>
          <p:cNvPr id="49" name="Text Placeholder 4"/>
          <p:cNvSpPr>
            <a:spLocks noGrp="1"/>
          </p:cNvSpPr>
          <p:nvPr>
            <p:ph type="body" sz="quarter" idx="43" hasCustomPrompt="1"/>
          </p:nvPr>
        </p:nvSpPr>
        <p:spPr>
          <a:xfrm>
            <a:off x="416540" y="5262689"/>
            <a:ext cx="1329231" cy="684000"/>
          </a:xfrm>
          <a:prstGeom prst="rect">
            <a:avLst/>
          </a:prstGeom>
          <a:noFill/>
        </p:spPr>
        <p:txBody>
          <a:bodyPr anchor="ctr">
            <a:noAutofit/>
          </a:bodyPr>
          <a:lstStyle>
            <a:lvl1pPr marL="0" indent="-252000" algn="just">
              <a:lnSpc>
                <a:spcPct val="100000"/>
              </a:lnSpc>
              <a:spcBef>
                <a:spcPts val="400"/>
              </a:spcBef>
              <a:buClr>
                <a:schemeClr val="bg2"/>
              </a:buClr>
              <a:buFont typeface="Tempus Sans ITC" panose="04020404030D07020202" pitchFamily="82" charset="0"/>
              <a:buChar char="/"/>
              <a:defRPr sz="22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06</a:t>
            </a:r>
          </a:p>
        </p:txBody>
      </p:sp>
    </p:spTree>
    <p:extLst>
      <p:ext uri="{BB962C8B-B14F-4D97-AF65-F5344CB8AC3E}">
        <p14:creationId xmlns:p14="http://schemas.microsoft.com/office/powerpoint/2010/main" val="22690048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lat Text left + Text right">
    <p:spTree>
      <p:nvGrpSpPr>
        <p:cNvPr id="1" name=""/>
        <p:cNvGrpSpPr/>
        <p:nvPr/>
      </p:nvGrpSpPr>
      <p:grpSpPr>
        <a:xfrm>
          <a:off x="0" y="0"/>
          <a:ext cx="0" cy="0"/>
          <a:chOff x="0" y="0"/>
          <a:chExt cx="0" cy="0"/>
        </a:xfrm>
      </p:grpSpPr>
      <p:sp>
        <p:nvSpPr>
          <p:cNvPr id="6" name="Content Placeholder 4"/>
          <p:cNvSpPr>
            <a:spLocks noGrp="1"/>
          </p:cNvSpPr>
          <p:nvPr>
            <p:ph sz="quarter" idx="14" hasCustomPrompt="1"/>
          </p:nvPr>
        </p:nvSpPr>
        <p:spPr>
          <a:xfrm>
            <a:off x="425356" y="1341440"/>
            <a:ext cx="5502209" cy="4894975"/>
          </a:xfrm>
          <a:prstGeom prst="rect">
            <a:avLst/>
          </a:prstGeom>
          <a:solidFill>
            <a:schemeClr val="accent1">
              <a:lumMod val="20000"/>
              <a:lumOff val="80000"/>
            </a:schemeClr>
          </a:solidFill>
        </p:spPr>
        <p:txBody>
          <a:bodyPr lIns="108000" tIns="108000" rIns="108000" bIns="108000"/>
          <a:lstStyle>
            <a:lvl1pPr marL="0" marR="0" indent="0" algn="just" defTabSz="742950" rtl="0" eaLnBrk="1" fontAlgn="auto" latinLnBrk="0" hangingPunct="1">
              <a:lnSpc>
                <a:spcPct val="100000"/>
              </a:lnSpc>
              <a:spcBef>
                <a:spcPts val="1463"/>
              </a:spcBef>
              <a:spcAft>
                <a:spcPts val="0"/>
              </a:spcAft>
              <a:buClrTx/>
              <a:buSzTx/>
              <a:buFont typeface="Arial" panose="020B0604020202020204" pitchFamily="34" charset="0"/>
              <a:buNone/>
              <a:tabLst/>
              <a:defRPr sz="1600">
                <a:solidFill>
                  <a:schemeClr val="bg2"/>
                </a:solidFill>
              </a:defRPr>
            </a:lvl1pPr>
            <a:lvl2pPr marL="291505" marR="0" indent="-291505" algn="just" defTabSz="742950" rtl="0" eaLnBrk="1" fontAlgn="auto" latinLnBrk="0" hangingPunct="1">
              <a:lnSpc>
                <a:spcPct val="100000"/>
              </a:lnSpc>
              <a:spcBef>
                <a:spcPts val="1138"/>
              </a:spcBef>
              <a:spcAft>
                <a:spcPts val="0"/>
              </a:spcAft>
              <a:buClr>
                <a:srgbClr val="503078"/>
              </a:buClr>
              <a:buSzTx/>
              <a:buFont typeface="Tempus Sans ITC" panose="04020404030D07020202" pitchFamily="82" charset="0"/>
              <a:buChar char="/"/>
              <a:tabLst/>
              <a:defRPr sz="1100">
                <a:solidFill>
                  <a:schemeClr val="tx1"/>
                </a:solidFill>
              </a:defRPr>
            </a:lvl2pPr>
            <a:lvl3pPr marL="292500" marR="0" indent="0" algn="just" defTabSz="742950" rtl="0" eaLnBrk="1" fontAlgn="auto" latinLnBrk="0" hangingPunct="1">
              <a:lnSpc>
                <a:spcPct val="100000"/>
              </a:lnSpc>
              <a:spcBef>
                <a:spcPts val="488"/>
              </a:spcBef>
              <a:spcAft>
                <a:spcPts val="0"/>
              </a:spcAft>
              <a:buClrTx/>
              <a:buSzTx/>
              <a:buFontTx/>
              <a:buNone/>
              <a:tabLst/>
              <a:defRPr sz="1100">
                <a:solidFill>
                  <a:schemeClr val="tx1"/>
                </a:solidFill>
              </a:defRPr>
            </a:lvl3pPr>
            <a:lvl4pPr marL="526500" marR="0" indent="-234000" algn="just" defTabSz="742950" rtl="0" eaLnBrk="1" fontAlgn="auto" latinLnBrk="0" hangingPunct="1">
              <a:lnSpc>
                <a:spcPct val="100000"/>
              </a:lnSpc>
              <a:spcBef>
                <a:spcPts val="488"/>
              </a:spcBef>
              <a:spcAft>
                <a:spcPts val="0"/>
              </a:spcAft>
              <a:buClr>
                <a:srgbClr val="503078"/>
              </a:buClr>
              <a:buSzTx/>
              <a:buFont typeface="Tahoma" panose="020B0604030504040204" pitchFamily="34" charset="0"/>
              <a:buChar char="›"/>
              <a:tabLst/>
              <a:defRPr sz="900">
                <a:solidFill>
                  <a:schemeClr val="tx1"/>
                </a:solidFill>
              </a:defRPr>
            </a:lvl4pPr>
            <a:lvl5pPr marL="731250" marR="0"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sz="800">
                <a:solidFill>
                  <a:schemeClr val="tx1"/>
                </a:solidFill>
              </a:defRPr>
            </a:lvl5pPr>
            <a:lvl6pPr marL="731250" marR="0"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sz="800">
                <a:solidFill>
                  <a:schemeClr val="tx1"/>
                </a:solidFill>
              </a:defRPr>
            </a:lvl6pPr>
            <a:lvl7pPr marL="731250" marR="0"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sz="800">
                <a:solidFill>
                  <a:schemeClr val="tx1"/>
                </a:solidFill>
              </a:defRPr>
            </a:lvl7pPr>
            <a:lvl8pPr marL="731250" marR="0"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sz="800">
                <a:solidFill>
                  <a:schemeClr val="tx1"/>
                </a:solidFill>
              </a:defRPr>
            </a:lvl8pPr>
            <a:lvl9pPr marL="731250" marR="0"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sz="800">
                <a:solidFill>
                  <a:schemeClr val="tx1"/>
                </a:solidFill>
              </a:defRPr>
            </a:lvl9pPr>
          </a:lstStyle>
          <a:p>
            <a:pPr marL="0" marR="0" lvl="0" indent="0" algn="just" defTabSz="742950" rtl="0" eaLnBrk="1" fontAlgn="auto" latinLnBrk="0" hangingPunct="1">
              <a:lnSpc>
                <a:spcPct val="100000"/>
              </a:lnSpc>
              <a:spcBef>
                <a:spcPts val="1463"/>
              </a:spcBef>
              <a:spcAft>
                <a:spcPts val="0"/>
              </a:spcAft>
              <a:buClrTx/>
              <a:buSzTx/>
              <a:buFont typeface="Arial" panose="020B0604020202020204" pitchFamily="34" charset="0"/>
              <a:buNone/>
              <a:tabLst/>
              <a:defRPr/>
            </a:pPr>
            <a:r>
              <a:rPr kumimoji="0" lang="fr-FR" sz="1300" b="0" i="0" u="none" strike="noStrike" kern="1200" cap="none" spc="0" normalizeH="0" baseline="0" noProof="0">
                <a:ln>
                  <a:noFill/>
                </a:ln>
                <a:solidFill>
                  <a:srgbClr val="503078"/>
                </a:solidFill>
                <a:effectLst/>
                <a:uLnTx/>
                <a:uFillTx/>
                <a:latin typeface="+mn-lt"/>
                <a:ea typeface="+mn-ea"/>
                <a:cs typeface="+mn-cs"/>
              </a:rPr>
              <a:t>Level 1 - To move to the next level, Alt + Shift + right arrow</a:t>
            </a:r>
          </a:p>
          <a:p>
            <a:pPr marL="291505" marR="0" lvl="1" indent="-291505" algn="just" defTabSz="742950" rtl="0" eaLnBrk="1" fontAlgn="auto" latinLnBrk="0" hangingPunct="1">
              <a:lnSpc>
                <a:spcPct val="100000"/>
              </a:lnSpc>
              <a:spcBef>
                <a:spcPts val="1138"/>
              </a:spcBef>
              <a:spcAft>
                <a:spcPts val="0"/>
              </a:spcAft>
              <a:buClr>
                <a:srgbClr val="503078"/>
              </a:buClr>
              <a:buSzTx/>
              <a:buFont typeface="Tempus Sans ITC" panose="04020404030D07020202" pitchFamily="82" charset="0"/>
              <a:buChar char="/"/>
              <a:tabLst/>
              <a:defRPr/>
            </a:pPr>
            <a:r>
              <a:rPr kumimoji="0" lang="fr-FR" sz="1138" b="0" i="0" u="none" strike="noStrike" kern="1200" cap="none" spc="0" normalizeH="0" baseline="0" noProof="0">
                <a:ln>
                  <a:noFill/>
                </a:ln>
                <a:solidFill>
                  <a:srgbClr val="5F5F5F"/>
                </a:solidFill>
                <a:effectLst/>
                <a:uLnTx/>
                <a:uFillTx/>
                <a:latin typeface="+mn-lt"/>
                <a:ea typeface="+mn-ea"/>
                <a:cs typeface="+mn-cs"/>
              </a:rPr>
              <a:t>Level 2</a:t>
            </a:r>
          </a:p>
          <a:p>
            <a:pPr marL="292500" marR="0" lvl="2" indent="0" algn="just" defTabSz="742950" rtl="0" eaLnBrk="1" fontAlgn="auto" latinLnBrk="0" hangingPunct="1">
              <a:lnSpc>
                <a:spcPct val="100000"/>
              </a:lnSpc>
              <a:spcBef>
                <a:spcPts val="488"/>
              </a:spcBef>
              <a:spcAft>
                <a:spcPts val="0"/>
              </a:spcAft>
              <a:buClrTx/>
              <a:buSzTx/>
              <a:buFontTx/>
              <a:buNone/>
              <a:tabLst/>
              <a:defRPr/>
            </a:pPr>
            <a:r>
              <a:rPr kumimoji="0" lang="fr-FR" sz="1138" b="0" i="0" u="none" strike="noStrike" kern="1200" cap="none" spc="0" normalizeH="0" baseline="0" noProof="0">
                <a:ln>
                  <a:noFill/>
                </a:ln>
                <a:solidFill>
                  <a:srgbClr val="5F5F5F"/>
                </a:solidFill>
                <a:effectLst/>
                <a:uLnTx/>
                <a:uFillTx/>
                <a:latin typeface="+mn-lt"/>
                <a:ea typeface="+mn-ea"/>
                <a:cs typeface="+mn-cs"/>
              </a:rPr>
              <a:t>Level 3</a:t>
            </a:r>
          </a:p>
          <a:p>
            <a:pPr marL="526500" marR="0" lvl="3" indent="-234000" algn="just" defTabSz="742950" rtl="0" eaLnBrk="1" fontAlgn="auto" latinLnBrk="0" hangingPunct="1">
              <a:lnSpc>
                <a:spcPct val="100000"/>
              </a:lnSpc>
              <a:spcBef>
                <a:spcPts val="488"/>
              </a:spcBef>
              <a:spcAft>
                <a:spcPts val="0"/>
              </a:spcAft>
              <a:buClr>
                <a:srgbClr val="503078"/>
              </a:buClr>
              <a:buSzTx/>
              <a:buFont typeface="Tahoma" panose="020B0604030504040204" pitchFamily="34" charset="0"/>
              <a:buChar char="›"/>
              <a:tabLst/>
              <a:defRPr/>
            </a:pPr>
            <a:r>
              <a:rPr kumimoji="0" lang="fr-FR" sz="975" b="0" i="0" u="none" strike="noStrike" kern="1200" cap="none" spc="0" normalizeH="0" baseline="0" noProof="0">
                <a:ln>
                  <a:noFill/>
                </a:ln>
                <a:solidFill>
                  <a:srgbClr val="5F5F5F"/>
                </a:solidFill>
                <a:effectLst/>
                <a:uLnTx/>
                <a:uFillTx/>
                <a:latin typeface="+mn-lt"/>
                <a:ea typeface="+mn-ea"/>
                <a:cs typeface="+mn-cs"/>
              </a:rPr>
              <a:t>Level 4</a:t>
            </a:r>
          </a:p>
          <a:p>
            <a:pPr marL="731250" marR="0" lvl="4"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a:pPr>
            <a:r>
              <a:rPr kumimoji="0" lang="fr-FR" sz="813" b="0" i="0" u="none" strike="noStrike" kern="1200" cap="none" spc="0" normalizeH="0" baseline="0" noProof="0">
                <a:ln>
                  <a:noFill/>
                </a:ln>
                <a:solidFill>
                  <a:srgbClr val="5F5F5F"/>
                </a:solidFill>
                <a:effectLst/>
                <a:uLnTx/>
                <a:uFillTx/>
                <a:latin typeface="+mn-lt"/>
                <a:ea typeface="+mn-ea"/>
                <a:cs typeface="+mn-cs"/>
              </a:rPr>
              <a:t>Level 5</a:t>
            </a:r>
          </a:p>
          <a:p>
            <a:pPr marL="731250" marR="0" lvl="5"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a:pPr>
            <a:r>
              <a:rPr kumimoji="0" lang="fr-FR" sz="813" b="0" i="0" u="none" strike="noStrike" kern="1200" cap="none" spc="0" normalizeH="0" baseline="0" noProof="0">
                <a:ln>
                  <a:noFill/>
                </a:ln>
                <a:solidFill>
                  <a:srgbClr val="5F5F5F"/>
                </a:solidFill>
                <a:effectLst/>
                <a:uLnTx/>
                <a:uFillTx/>
                <a:latin typeface="+mn-lt"/>
                <a:ea typeface="+mn-ea"/>
                <a:cs typeface="+mn-cs"/>
              </a:rPr>
              <a:t>Level 6</a:t>
            </a:r>
          </a:p>
          <a:p>
            <a:pPr marL="731250" marR="0" lvl="6"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a:pPr>
            <a:r>
              <a:rPr kumimoji="0" lang="fr-FR" sz="813" b="0" i="0" u="none" strike="noStrike" kern="1200" cap="none" spc="0" normalizeH="0" baseline="0" noProof="0">
                <a:ln>
                  <a:noFill/>
                </a:ln>
                <a:solidFill>
                  <a:srgbClr val="5F5F5F"/>
                </a:solidFill>
                <a:effectLst/>
                <a:uLnTx/>
                <a:uFillTx/>
                <a:latin typeface="+mn-lt"/>
                <a:ea typeface="+mn-ea"/>
                <a:cs typeface="+mn-cs"/>
              </a:rPr>
              <a:t>Level 7</a:t>
            </a:r>
          </a:p>
          <a:p>
            <a:pPr marL="731250" marR="0" lvl="7"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a:pPr>
            <a:r>
              <a:rPr kumimoji="0" lang="fr-FR" sz="813" b="0" i="0" u="none" strike="noStrike" kern="1200" cap="none" spc="0" normalizeH="0" baseline="0" noProof="0">
                <a:ln>
                  <a:noFill/>
                </a:ln>
                <a:solidFill>
                  <a:srgbClr val="5F5F5F"/>
                </a:solidFill>
                <a:effectLst/>
                <a:uLnTx/>
                <a:uFillTx/>
                <a:latin typeface="+mn-lt"/>
                <a:ea typeface="+mn-ea"/>
                <a:cs typeface="+mn-cs"/>
              </a:rPr>
              <a:t>Level 8</a:t>
            </a:r>
          </a:p>
          <a:p>
            <a:pPr marL="731250" marR="0" lvl="8"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a:pPr>
            <a:r>
              <a:rPr kumimoji="0" lang="fr-FR" sz="813" b="0" i="0" u="none" strike="noStrike" kern="1200" cap="none" spc="0" normalizeH="0" baseline="0" noProof="0">
                <a:ln>
                  <a:noFill/>
                </a:ln>
                <a:solidFill>
                  <a:srgbClr val="5F5F5F"/>
                </a:solidFill>
                <a:effectLst/>
                <a:uLnTx/>
                <a:uFillTx/>
                <a:latin typeface="+mn-lt"/>
                <a:ea typeface="+mn-ea"/>
                <a:cs typeface="+mn-cs"/>
              </a:rPr>
              <a:t>Level 9</a:t>
            </a:r>
          </a:p>
        </p:txBody>
      </p:sp>
      <p:sp>
        <p:nvSpPr>
          <p:cNvPr id="9" name="Content Placeholder 4"/>
          <p:cNvSpPr>
            <a:spLocks noGrp="1"/>
          </p:cNvSpPr>
          <p:nvPr>
            <p:ph sz="quarter" idx="15" hasCustomPrompt="1"/>
          </p:nvPr>
        </p:nvSpPr>
        <p:spPr>
          <a:xfrm>
            <a:off x="6265809" y="1341440"/>
            <a:ext cx="5502209" cy="4894975"/>
          </a:xfrm>
          <a:prstGeom prst="rect">
            <a:avLst/>
          </a:prstGeom>
        </p:spPr>
        <p:txBody>
          <a:bodyPr lIns="108000" tIns="108000" rIns="108000" bIns="108000"/>
          <a:lstStyle>
            <a:lvl1pPr marL="0" marR="0" indent="0" algn="just" defTabSz="742950" rtl="0" eaLnBrk="1" fontAlgn="auto" latinLnBrk="0" hangingPunct="1">
              <a:lnSpc>
                <a:spcPct val="100000"/>
              </a:lnSpc>
              <a:spcBef>
                <a:spcPts val="1463"/>
              </a:spcBef>
              <a:spcAft>
                <a:spcPts val="0"/>
              </a:spcAft>
              <a:buClrTx/>
              <a:buSzTx/>
              <a:buFont typeface="Arial" panose="020B0604020202020204" pitchFamily="34" charset="0"/>
              <a:buNone/>
              <a:tabLst/>
              <a:defRPr>
                <a:solidFill>
                  <a:schemeClr val="bg2"/>
                </a:solidFill>
              </a:defRPr>
            </a:lvl1pPr>
            <a:lvl2pPr marL="291505" marR="0" indent="-291505" algn="just" defTabSz="742950" rtl="0" eaLnBrk="1" fontAlgn="auto" latinLnBrk="0" hangingPunct="1">
              <a:lnSpc>
                <a:spcPct val="100000"/>
              </a:lnSpc>
              <a:spcBef>
                <a:spcPts val="1138"/>
              </a:spcBef>
              <a:spcAft>
                <a:spcPts val="0"/>
              </a:spcAft>
              <a:buClr>
                <a:srgbClr val="503078"/>
              </a:buClr>
              <a:buSzTx/>
              <a:buFont typeface="Tempus Sans ITC" panose="04020404030D07020202" pitchFamily="82" charset="0"/>
              <a:buChar char="/"/>
              <a:tabLst/>
              <a:defRPr>
                <a:solidFill>
                  <a:schemeClr val="tx1"/>
                </a:solidFill>
              </a:defRPr>
            </a:lvl2pPr>
            <a:lvl3pPr marL="292500" marR="0" indent="0" algn="just" defTabSz="742950" rtl="0" eaLnBrk="1" fontAlgn="auto" latinLnBrk="0" hangingPunct="1">
              <a:lnSpc>
                <a:spcPct val="100000"/>
              </a:lnSpc>
              <a:spcBef>
                <a:spcPts val="488"/>
              </a:spcBef>
              <a:spcAft>
                <a:spcPts val="0"/>
              </a:spcAft>
              <a:buClrTx/>
              <a:buSzTx/>
              <a:buFontTx/>
              <a:buNone/>
              <a:tabLst/>
              <a:defRPr>
                <a:solidFill>
                  <a:schemeClr val="tx1"/>
                </a:solidFill>
              </a:defRPr>
            </a:lvl3pPr>
            <a:lvl4pPr marL="526500" marR="0" indent="-234000" algn="just" defTabSz="742950" rtl="0" eaLnBrk="1" fontAlgn="auto" latinLnBrk="0" hangingPunct="1">
              <a:lnSpc>
                <a:spcPct val="100000"/>
              </a:lnSpc>
              <a:spcBef>
                <a:spcPts val="488"/>
              </a:spcBef>
              <a:spcAft>
                <a:spcPts val="0"/>
              </a:spcAft>
              <a:buClr>
                <a:srgbClr val="503078"/>
              </a:buClr>
              <a:buSzTx/>
              <a:buFont typeface="Tahoma" panose="020B0604030504040204" pitchFamily="34" charset="0"/>
              <a:buChar char="›"/>
              <a:tabLst/>
              <a:defRPr>
                <a:solidFill>
                  <a:schemeClr val="tx1"/>
                </a:solidFill>
              </a:defRPr>
            </a:lvl4pPr>
            <a:lvl5pPr marL="731250" marR="0"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a:solidFill>
                  <a:schemeClr val="tx1"/>
                </a:solidFill>
              </a:defRPr>
            </a:lvl5pPr>
            <a:lvl6pPr marL="731250" marR="0"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a:solidFill>
                  <a:schemeClr val="tx1"/>
                </a:solidFill>
              </a:defRPr>
            </a:lvl6pPr>
            <a:lvl7pPr marL="731250" marR="0"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a:solidFill>
                  <a:schemeClr val="tx1"/>
                </a:solidFill>
              </a:defRPr>
            </a:lvl7pPr>
            <a:lvl8pPr marL="731250" marR="0"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a:solidFill>
                  <a:schemeClr val="tx1"/>
                </a:solidFill>
              </a:defRPr>
            </a:lvl8pPr>
            <a:lvl9pPr marL="731250" marR="0"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742950" rtl="0" eaLnBrk="1" fontAlgn="auto" latinLnBrk="0" hangingPunct="1">
              <a:lnSpc>
                <a:spcPct val="100000"/>
              </a:lnSpc>
              <a:spcBef>
                <a:spcPts val="1463"/>
              </a:spcBef>
              <a:spcAft>
                <a:spcPts val="0"/>
              </a:spcAft>
              <a:buClrTx/>
              <a:buSzTx/>
              <a:buFont typeface="Arial" panose="020B0604020202020204" pitchFamily="34" charset="0"/>
              <a:buNone/>
              <a:tabLst/>
              <a:defRPr/>
            </a:pPr>
            <a:r>
              <a:rPr kumimoji="0" lang="fr-FR" sz="1300" b="0" i="0" u="none" strike="noStrike" kern="1200" cap="none" spc="0" normalizeH="0" baseline="0" noProof="0">
                <a:ln>
                  <a:noFill/>
                </a:ln>
                <a:solidFill>
                  <a:srgbClr val="503078"/>
                </a:solidFill>
                <a:effectLst/>
                <a:uLnTx/>
                <a:uFillTx/>
                <a:latin typeface="+mn-lt"/>
                <a:ea typeface="+mn-ea"/>
                <a:cs typeface="+mn-cs"/>
              </a:rPr>
              <a:t>Level 1 - To move to the next level, Alt + Shift + right arrow</a:t>
            </a:r>
          </a:p>
          <a:p>
            <a:pPr marL="291505" marR="0" lvl="1" indent="-291505" algn="just" defTabSz="742950" rtl="0" eaLnBrk="1" fontAlgn="auto" latinLnBrk="0" hangingPunct="1">
              <a:lnSpc>
                <a:spcPct val="100000"/>
              </a:lnSpc>
              <a:spcBef>
                <a:spcPts val="1138"/>
              </a:spcBef>
              <a:spcAft>
                <a:spcPts val="0"/>
              </a:spcAft>
              <a:buClr>
                <a:srgbClr val="503078"/>
              </a:buClr>
              <a:buSzTx/>
              <a:buFont typeface="Tempus Sans ITC" panose="04020404030D07020202" pitchFamily="82" charset="0"/>
              <a:buChar char="/"/>
              <a:tabLst/>
              <a:defRPr/>
            </a:pPr>
            <a:r>
              <a:rPr kumimoji="0" lang="fr-FR" sz="1138" b="0" i="0" u="none" strike="noStrike" kern="1200" cap="none" spc="0" normalizeH="0" baseline="0" noProof="0">
                <a:ln>
                  <a:noFill/>
                </a:ln>
                <a:solidFill>
                  <a:srgbClr val="5F5F5F"/>
                </a:solidFill>
                <a:effectLst/>
                <a:uLnTx/>
                <a:uFillTx/>
                <a:latin typeface="+mn-lt"/>
                <a:ea typeface="+mn-ea"/>
                <a:cs typeface="+mn-cs"/>
              </a:rPr>
              <a:t>Level 2</a:t>
            </a:r>
          </a:p>
          <a:p>
            <a:pPr marL="292500" marR="0" lvl="2" indent="0" algn="just" defTabSz="742950" rtl="0" eaLnBrk="1" fontAlgn="auto" latinLnBrk="0" hangingPunct="1">
              <a:lnSpc>
                <a:spcPct val="100000"/>
              </a:lnSpc>
              <a:spcBef>
                <a:spcPts val="488"/>
              </a:spcBef>
              <a:spcAft>
                <a:spcPts val="0"/>
              </a:spcAft>
              <a:buClrTx/>
              <a:buSzTx/>
              <a:buFontTx/>
              <a:buNone/>
              <a:tabLst/>
              <a:defRPr/>
            </a:pPr>
            <a:r>
              <a:rPr kumimoji="0" lang="fr-FR" sz="1138" b="0" i="0" u="none" strike="noStrike" kern="1200" cap="none" spc="0" normalizeH="0" baseline="0" noProof="0">
                <a:ln>
                  <a:noFill/>
                </a:ln>
                <a:solidFill>
                  <a:srgbClr val="5F5F5F"/>
                </a:solidFill>
                <a:effectLst/>
                <a:uLnTx/>
                <a:uFillTx/>
                <a:latin typeface="+mn-lt"/>
                <a:ea typeface="+mn-ea"/>
                <a:cs typeface="+mn-cs"/>
              </a:rPr>
              <a:t>Level 3</a:t>
            </a:r>
          </a:p>
          <a:p>
            <a:pPr marL="526500" marR="0" lvl="3" indent="-234000" algn="just" defTabSz="742950" rtl="0" eaLnBrk="1" fontAlgn="auto" latinLnBrk="0" hangingPunct="1">
              <a:lnSpc>
                <a:spcPct val="100000"/>
              </a:lnSpc>
              <a:spcBef>
                <a:spcPts val="488"/>
              </a:spcBef>
              <a:spcAft>
                <a:spcPts val="0"/>
              </a:spcAft>
              <a:buClr>
                <a:srgbClr val="503078"/>
              </a:buClr>
              <a:buSzTx/>
              <a:buFont typeface="Tahoma" panose="020B0604030504040204" pitchFamily="34" charset="0"/>
              <a:buChar char="›"/>
              <a:tabLst/>
              <a:defRPr/>
            </a:pPr>
            <a:r>
              <a:rPr kumimoji="0" lang="fr-FR" sz="975" b="0" i="0" u="none" strike="noStrike" kern="1200" cap="none" spc="0" normalizeH="0" baseline="0" noProof="0">
                <a:ln>
                  <a:noFill/>
                </a:ln>
                <a:solidFill>
                  <a:srgbClr val="5F5F5F"/>
                </a:solidFill>
                <a:effectLst/>
                <a:uLnTx/>
                <a:uFillTx/>
                <a:latin typeface="+mn-lt"/>
                <a:ea typeface="+mn-ea"/>
                <a:cs typeface="+mn-cs"/>
              </a:rPr>
              <a:t>Level 4</a:t>
            </a:r>
          </a:p>
          <a:p>
            <a:pPr marL="731250" marR="0" lvl="4"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a:pPr>
            <a:r>
              <a:rPr kumimoji="0" lang="fr-FR" sz="813" b="0" i="0" u="none" strike="noStrike" kern="1200" cap="none" spc="0" normalizeH="0" baseline="0" noProof="0">
                <a:ln>
                  <a:noFill/>
                </a:ln>
                <a:solidFill>
                  <a:srgbClr val="5F5F5F"/>
                </a:solidFill>
                <a:effectLst/>
                <a:uLnTx/>
                <a:uFillTx/>
                <a:latin typeface="+mn-lt"/>
                <a:ea typeface="+mn-ea"/>
                <a:cs typeface="+mn-cs"/>
              </a:rPr>
              <a:t>Level 5</a:t>
            </a:r>
          </a:p>
          <a:p>
            <a:pPr marL="731250" marR="0" lvl="5"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a:pPr>
            <a:r>
              <a:rPr kumimoji="0" lang="fr-FR" sz="813" b="0" i="0" u="none" strike="noStrike" kern="1200" cap="none" spc="0" normalizeH="0" baseline="0" noProof="0">
                <a:ln>
                  <a:noFill/>
                </a:ln>
                <a:solidFill>
                  <a:srgbClr val="5F5F5F"/>
                </a:solidFill>
                <a:effectLst/>
                <a:uLnTx/>
                <a:uFillTx/>
                <a:latin typeface="+mn-lt"/>
                <a:ea typeface="+mn-ea"/>
                <a:cs typeface="+mn-cs"/>
              </a:rPr>
              <a:t>Level 6</a:t>
            </a:r>
          </a:p>
          <a:p>
            <a:pPr marL="731250" marR="0" lvl="6"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a:pPr>
            <a:r>
              <a:rPr kumimoji="0" lang="fr-FR" sz="813" b="0" i="0" u="none" strike="noStrike" kern="1200" cap="none" spc="0" normalizeH="0" baseline="0" noProof="0">
                <a:ln>
                  <a:noFill/>
                </a:ln>
                <a:solidFill>
                  <a:srgbClr val="5F5F5F"/>
                </a:solidFill>
                <a:effectLst/>
                <a:uLnTx/>
                <a:uFillTx/>
                <a:latin typeface="+mn-lt"/>
                <a:ea typeface="+mn-ea"/>
                <a:cs typeface="+mn-cs"/>
              </a:rPr>
              <a:t>Level 7</a:t>
            </a:r>
          </a:p>
          <a:p>
            <a:pPr marL="731250" marR="0" lvl="7"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a:pPr>
            <a:r>
              <a:rPr kumimoji="0" lang="fr-FR" sz="813" b="0" i="0" u="none" strike="noStrike" kern="1200" cap="none" spc="0" normalizeH="0" baseline="0" noProof="0">
                <a:ln>
                  <a:noFill/>
                </a:ln>
                <a:solidFill>
                  <a:srgbClr val="5F5F5F"/>
                </a:solidFill>
                <a:effectLst/>
                <a:uLnTx/>
                <a:uFillTx/>
                <a:latin typeface="+mn-lt"/>
                <a:ea typeface="+mn-ea"/>
                <a:cs typeface="+mn-cs"/>
              </a:rPr>
              <a:t>Level 8</a:t>
            </a:r>
          </a:p>
          <a:p>
            <a:pPr marL="731250" marR="0" lvl="8" indent="-204750" algn="just" defTabSz="742950" rtl="0" eaLnBrk="1" fontAlgn="auto" latinLnBrk="0" hangingPunct="1">
              <a:lnSpc>
                <a:spcPct val="100000"/>
              </a:lnSpc>
              <a:spcBef>
                <a:spcPts val="406"/>
              </a:spcBef>
              <a:spcAft>
                <a:spcPts val="0"/>
              </a:spcAft>
              <a:buClr>
                <a:srgbClr val="503078"/>
              </a:buClr>
              <a:buSzTx/>
              <a:buFont typeface="Tahoma" panose="020B0604030504040204" pitchFamily="34" charset="0"/>
              <a:buChar char="»"/>
              <a:tabLst/>
              <a:defRPr/>
            </a:pPr>
            <a:r>
              <a:rPr kumimoji="0" lang="fr-FR" sz="813" b="0" i="0" u="none" strike="noStrike" kern="1200" cap="none" spc="0" normalizeH="0" baseline="0" noProof="0">
                <a:ln>
                  <a:noFill/>
                </a:ln>
                <a:solidFill>
                  <a:srgbClr val="5F5F5F"/>
                </a:solidFill>
                <a:effectLst/>
                <a:uLnTx/>
                <a:uFillTx/>
                <a:latin typeface="+mn-lt"/>
                <a:ea typeface="+mn-ea"/>
                <a:cs typeface="+mn-cs"/>
              </a:rPr>
              <a:t>Level 9</a:t>
            </a:r>
          </a:p>
        </p:txBody>
      </p:sp>
      <p:sp>
        <p:nvSpPr>
          <p:cNvPr id="7" name="Title 1">
            <a:extLst>
              <a:ext uri="{FF2B5EF4-FFF2-40B4-BE49-F238E27FC236}">
                <a16:creationId xmlns:a16="http://schemas.microsoft.com/office/drawing/2014/main" id="{90117083-C0BD-4AA9-A20D-5D62C33BB6A4}"/>
              </a:ext>
            </a:extLst>
          </p:cNvPr>
          <p:cNvSpPr>
            <a:spLocks noGrp="1"/>
          </p:cNvSpPr>
          <p:nvPr>
            <p:ph type="title" hasCustomPrompt="1"/>
          </p:nvPr>
        </p:nvSpPr>
        <p:spPr>
          <a:xfrm>
            <a:off x="425354" y="404666"/>
            <a:ext cx="11342769" cy="936773"/>
          </a:xfrm>
        </p:spPr>
        <p:txBody>
          <a:bodyPr lIns="108000" tIns="0" rIns="108000" bIns="0"/>
          <a:lstStyle>
            <a:lvl1pPr>
              <a:defRPr sz="2200" baseline="0">
                <a:solidFill>
                  <a:schemeClr val="bg2"/>
                </a:solidFill>
              </a:defRPr>
            </a:lvl1pPr>
          </a:lstStyle>
          <a:p>
            <a:r>
              <a:rPr lang="fr-FR" noProof="0"/>
              <a:t>Complete with a title here that carries your message on two lines at most for more readability</a:t>
            </a:r>
          </a:p>
        </p:txBody>
      </p:sp>
      <p:sp>
        <p:nvSpPr>
          <p:cNvPr id="8" name="Text Placeholder 8">
            <a:extLst>
              <a:ext uri="{FF2B5EF4-FFF2-40B4-BE49-F238E27FC236}">
                <a16:creationId xmlns:a16="http://schemas.microsoft.com/office/drawing/2014/main" id="{3AE3D882-56E0-4F4A-A1B4-088E6D2D6400}"/>
              </a:ext>
            </a:extLst>
          </p:cNvPr>
          <p:cNvSpPr>
            <a:spLocks noGrp="1"/>
          </p:cNvSpPr>
          <p:nvPr>
            <p:ph type="body" sz="quarter" idx="13" hasCustomPrompt="1"/>
          </p:nvPr>
        </p:nvSpPr>
        <p:spPr>
          <a:xfrm>
            <a:off x="425354" y="144314"/>
            <a:ext cx="11342769" cy="260350"/>
          </a:xfrm>
          <a:prstGeom prst="rect">
            <a:avLst/>
          </a:prstGeom>
        </p:spPr>
        <p:txBody>
          <a:bodyPr lIns="108000" tIns="0" rIns="108000" bIns="0" anchor="b"/>
          <a:lstStyle>
            <a:lvl1pPr>
              <a:spcBef>
                <a:spcPts val="0"/>
              </a:spcBef>
              <a:defRPr sz="1000" i="0" cap="all" baseline="0">
                <a:solidFill>
                  <a:schemeClr val="accent4"/>
                </a:solidFill>
                <a:latin typeface="+mj-lt"/>
              </a:defRPr>
            </a:lvl1pPr>
            <a:lvl2pPr>
              <a:defRPr sz="813"/>
            </a:lvl2pPr>
          </a:lstStyle>
          <a:p>
            <a:pPr lvl="0"/>
            <a:r>
              <a:rPr lang="fr-FR" noProof="0"/>
              <a:t>Insert a top title here - must not exceed 1 line</a:t>
            </a:r>
          </a:p>
        </p:txBody>
      </p:sp>
    </p:spTree>
    <p:extLst>
      <p:ext uri="{BB962C8B-B14F-4D97-AF65-F5344CB8AC3E}">
        <p14:creationId xmlns:p14="http://schemas.microsoft.com/office/powerpoint/2010/main" val="17482761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 1 to 6 chapter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2019239" y="1351401"/>
            <a:ext cx="7620832" cy="684000"/>
          </a:xfrm>
          <a:prstGeom prst="rect">
            <a:avLst/>
          </a:prstGeom>
        </p:spPr>
        <p:txBody>
          <a:bodyPr wrap="square" anchor="ctr">
            <a:noAutofit/>
          </a:bodyPr>
          <a:lstStyle>
            <a:lvl1pPr marL="0" indent="0" algn="l">
              <a:buClr>
                <a:schemeClr val="bg2"/>
              </a:buClr>
              <a:buFontTx/>
              <a:buNone/>
              <a:defRPr sz="2200" i="0" cap="none" baseline="0">
                <a:solidFill>
                  <a:schemeClr val="bg2"/>
                </a:solidFill>
              </a:defRPr>
            </a:lvl1pPr>
            <a:lvl2pPr>
              <a:defRPr sz="813"/>
            </a:lvl2pPr>
          </a:lstStyle>
          <a:p>
            <a:pPr lvl="0"/>
            <a:r>
              <a:rPr lang="fr-FR" noProof="0"/>
              <a:t>Chapter 1</a:t>
            </a:r>
          </a:p>
        </p:txBody>
      </p:sp>
      <p:sp>
        <p:nvSpPr>
          <p:cNvPr id="8" name="Text Placeholder 8"/>
          <p:cNvSpPr>
            <a:spLocks noGrp="1"/>
          </p:cNvSpPr>
          <p:nvPr>
            <p:ph type="body" sz="quarter" idx="17" hasCustomPrompt="1"/>
          </p:nvPr>
        </p:nvSpPr>
        <p:spPr>
          <a:xfrm>
            <a:off x="2019239" y="2154024"/>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a:t>Chapter 2</a:t>
            </a:r>
          </a:p>
        </p:txBody>
      </p:sp>
      <p:sp>
        <p:nvSpPr>
          <p:cNvPr id="11" name="Text Placeholder 8"/>
          <p:cNvSpPr>
            <a:spLocks noGrp="1"/>
          </p:cNvSpPr>
          <p:nvPr>
            <p:ph type="body" sz="quarter" idx="19" hasCustomPrompt="1"/>
          </p:nvPr>
        </p:nvSpPr>
        <p:spPr>
          <a:xfrm>
            <a:off x="2019239" y="2956647"/>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a:t>Chapter 3</a:t>
            </a:r>
          </a:p>
        </p:txBody>
      </p:sp>
      <p:sp>
        <p:nvSpPr>
          <p:cNvPr id="14" name="Text Placeholder 8"/>
          <p:cNvSpPr>
            <a:spLocks noGrp="1"/>
          </p:cNvSpPr>
          <p:nvPr>
            <p:ph type="body" sz="quarter" idx="21" hasCustomPrompt="1"/>
          </p:nvPr>
        </p:nvSpPr>
        <p:spPr>
          <a:xfrm>
            <a:off x="2019239" y="3759270"/>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a:t>Chapter 4</a:t>
            </a:r>
          </a:p>
        </p:txBody>
      </p:sp>
      <p:sp>
        <p:nvSpPr>
          <p:cNvPr id="17" name="Text Placeholder 8"/>
          <p:cNvSpPr>
            <a:spLocks noGrp="1"/>
          </p:cNvSpPr>
          <p:nvPr>
            <p:ph type="body" sz="quarter" idx="23" hasCustomPrompt="1"/>
          </p:nvPr>
        </p:nvSpPr>
        <p:spPr>
          <a:xfrm>
            <a:off x="2019239" y="4561893"/>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a:t>Chapter 5</a:t>
            </a:r>
          </a:p>
        </p:txBody>
      </p:sp>
      <p:sp>
        <p:nvSpPr>
          <p:cNvPr id="30" name="Text Placeholder 8"/>
          <p:cNvSpPr>
            <a:spLocks noGrp="1"/>
          </p:cNvSpPr>
          <p:nvPr>
            <p:ph type="body" sz="quarter" idx="25" hasCustomPrompt="1"/>
          </p:nvPr>
        </p:nvSpPr>
        <p:spPr>
          <a:xfrm>
            <a:off x="10036400" y="1351401"/>
            <a:ext cx="1700834" cy="684000"/>
          </a:xfrm>
          <a:prstGeom prst="rect">
            <a:avLst/>
          </a:prstGeom>
        </p:spPr>
        <p:txBody>
          <a:bodyPr wrap="square" anchor="ctr">
            <a:noAutofit/>
          </a:bodyPr>
          <a:lstStyle>
            <a:lvl1pPr algn="l">
              <a:defRPr sz="1000" b="0" i="0" cap="none" baseline="0">
                <a:solidFill>
                  <a:schemeClr val="bg2"/>
                </a:solidFill>
              </a:defRPr>
            </a:lvl1pPr>
            <a:lvl2pPr>
              <a:defRPr sz="813"/>
            </a:lvl2pPr>
          </a:lstStyle>
          <a:p>
            <a:pPr lvl="0"/>
            <a:r>
              <a:rPr lang="fr-FR" noProof="0"/>
              <a:t>Page x</a:t>
            </a:r>
          </a:p>
        </p:txBody>
      </p:sp>
      <p:sp>
        <p:nvSpPr>
          <p:cNvPr id="32" name="Text Placeholder 8"/>
          <p:cNvSpPr>
            <a:spLocks noGrp="1"/>
          </p:cNvSpPr>
          <p:nvPr>
            <p:ph type="body" sz="quarter" idx="26" hasCustomPrompt="1"/>
          </p:nvPr>
        </p:nvSpPr>
        <p:spPr>
          <a:xfrm>
            <a:off x="10036400" y="4561893"/>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33" name="Text Placeholder 8"/>
          <p:cNvSpPr>
            <a:spLocks noGrp="1"/>
          </p:cNvSpPr>
          <p:nvPr>
            <p:ph type="body" sz="quarter" idx="27" hasCustomPrompt="1"/>
          </p:nvPr>
        </p:nvSpPr>
        <p:spPr>
          <a:xfrm>
            <a:off x="10036400" y="3759270"/>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34" name="Text Placeholder 8"/>
          <p:cNvSpPr>
            <a:spLocks noGrp="1"/>
          </p:cNvSpPr>
          <p:nvPr>
            <p:ph type="body" sz="quarter" idx="28" hasCustomPrompt="1"/>
          </p:nvPr>
        </p:nvSpPr>
        <p:spPr>
          <a:xfrm>
            <a:off x="10036400" y="2956647"/>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35" name="Text Placeholder 8"/>
          <p:cNvSpPr>
            <a:spLocks noGrp="1"/>
          </p:cNvSpPr>
          <p:nvPr>
            <p:ph type="body" sz="quarter" idx="29" hasCustomPrompt="1"/>
          </p:nvPr>
        </p:nvSpPr>
        <p:spPr>
          <a:xfrm>
            <a:off x="10036400" y="2154024"/>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24" name="Text Placeholder 8"/>
          <p:cNvSpPr>
            <a:spLocks noGrp="1"/>
          </p:cNvSpPr>
          <p:nvPr>
            <p:ph type="body" sz="quarter" idx="30" hasCustomPrompt="1"/>
          </p:nvPr>
        </p:nvSpPr>
        <p:spPr>
          <a:xfrm>
            <a:off x="2019239" y="5364518"/>
            <a:ext cx="7620832" cy="684000"/>
          </a:xfrm>
          <a:prstGeom prst="rect">
            <a:avLst/>
          </a:prstGeom>
        </p:spPr>
        <p:txBody>
          <a:bodyPr vert="horz" wrap="square" lIns="108000" tIns="108000" rIns="108000" bIns="108000" rtlCol="0" anchor="ctr">
            <a:noAutofit/>
          </a:bodyPr>
          <a:lstStyle>
            <a:lvl1pPr algn="l">
              <a:defRPr lang="fr-FR" sz="2200" i="0" cap="none" noProof="0" dirty="0">
                <a:solidFill>
                  <a:schemeClr val="bg2"/>
                </a:solidFill>
              </a:defRPr>
            </a:lvl1pPr>
          </a:lstStyle>
          <a:p>
            <a:pPr lvl="0">
              <a:buClr>
                <a:schemeClr val="bg2"/>
              </a:buClr>
            </a:pPr>
            <a:r>
              <a:rPr lang="fr-FR" noProof="0"/>
              <a:t>Chapter 6</a:t>
            </a:r>
          </a:p>
        </p:txBody>
      </p:sp>
      <p:sp>
        <p:nvSpPr>
          <p:cNvPr id="26" name="Text Placeholder 8"/>
          <p:cNvSpPr>
            <a:spLocks noGrp="1"/>
          </p:cNvSpPr>
          <p:nvPr>
            <p:ph type="body" sz="quarter" idx="32" hasCustomPrompt="1"/>
          </p:nvPr>
        </p:nvSpPr>
        <p:spPr>
          <a:xfrm>
            <a:off x="10036400" y="5364518"/>
            <a:ext cx="1700834" cy="684000"/>
          </a:xfrm>
          <a:prstGeom prst="rect">
            <a:avLst/>
          </a:prstGeom>
        </p:spPr>
        <p:txBody>
          <a:bodyPr vert="horz" wrap="square" lIns="108000" tIns="108000" rIns="108000" bIns="108000" rtlCol="0" anchor="ctr">
            <a:noAutofit/>
          </a:bodyPr>
          <a:lstStyle>
            <a:lvl1pPr algn="l">
              <a:defRPr lang="fr-FR" sz="1000" b="0" i="0" cap="none" noProof="0" dirty="0">
                <a:solidFill>
                  <a:schemeClr val="bg2"/>
                </a:solidFill>
              </a:defRPr>
            </a:lvl1pPr>
          </a:lstStyle>
          <a:p>
            <a:pPr lvl="0"/>
            <a:r>
              <a:rPr lang="fr-FR" noProof="0"/>
              <a:t>Page x</a:t>
            </a:r>
          </a:p>
        </p:txBody>
      </p:sp>
      <p:sp>
        <p:nvSpPr>
          <p:cNvPr id="44" name="Text Placeholder 4"/>
          <p:cNvSpPr>
            <a:spLocks noGrp="1"/>
          </p:cNvSpPr>
          <p:nvPr>
            <p:ph type="body" sz="quarter" idx="38" hasCustomPrompt="1"/>
          </p:nvPr>
        </p:nvSpPr>
        <p:spPr>
          <a:xfrm>
            <a:off x="454765" y="1351401"/>
            <a:ext cx="1329231" cy="684000"/>
          </a:xfrm>
          <a:prstGeom prst="rect">
            <a:avLst/>
          </a:prstGeom>
          <a:noFill/>
        </p:spPr>
        <p:txBody>
          <a:bodyPr anchor="ctr">
            <a:noAutofit/>
          </a:bodyPr>
          <a:lstStyle>
            <a:lvl1pPr marL="0" indent="-204750" algn="just">
              <a:lnSpc>
                <a:spcPct val="100000"/>
              </a:lnSpc>
              <a:spcBef>
                <a:spcPts val="325"/>
              </a:spcBef>
              <a:buClr>
                <a:schemeClr val="bg2"/>
              </a:buClr>
              <a:buFont typeface="Tempus Sans ITC" panose="04020404030D07020202" pitchFamily="82" charset="0"/>
              <a:buChar char="/"/>
              <a:defRPr sz="2200" b="1" i="0">
                <a:solidFill>
                  <a:schemeClr val="accent1"/>
                </a:solidFill>
              </a:defRPr>
            </a:lvl1pPr>
            <a:lvl2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2pPr>
            <a:lvl3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3pPr>
            <a:lvl4pPr marL="0" indent="-204750" algn="just">
              <a:lnSpc>
                <a:spcPct val="100000"/>
              </a:lnSpc>
              <a:spcBef>
                <a:spcPts val="325"/>
              </a:spcBef>
              <a:buClr>
                <a:schemeClr val="accent1"/>
              </a:buClr>
              <a:buFont typeface="Tahoma" panose="020B0604030504040204" pitchFamily="34" charset="0"/>
              <a:buChar char="⁄"/>
              <a:defRPr sz="1625" b="1" i="0" cap="none" baseline="0">
                <a:solidFill>
                  <a:schemeClr val="bg2"/>
                </a:solidFill>
              </a:defRPr>
            </a:lvl4pPr>
            <a:lvl5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5pPr>
            <a:lvl6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6pPr>
            <a:lvl7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7pPr>
            <a:lvl8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8pPr>
            <a:lvl9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9pPr>
          </a:lstStyle>
          <a:p>
            <a:pPr lvl="0"/>
            <a:r>
              <a:rPr lang="fr-FR" noProof="0"/>
              <a:t>01</a:t>
            </a:r>
          </a:p>
        </p:txBody>
      </p:sp>
      <p:sp>
        <p:nvSpPr>
          <p:cNvPr id="45" name="Text Placeholder 4"/>
          <p:cNvSpPr>
            <a:spLocks noGrp="1"/>
          </p:cNvSpPr>
          <p:nvPr>
            <p:ph type="body" sz="quarter" idx="39" hasCustomPrompt="1"/>
          </p:nvPr>
        </p:nvSpPr>
        <p:spPr>
          <a:xfrm>
            <a:off x="454765" y="2154024"/>
            <a:ext cx="1329231" cy="684000"/>
          </a:xfrm>
          <a:prstGeom prst="rect">
            <a:avLst/>
          </a:prstGeom>
          <a:noFill/>
        </p:spPr>
        <p:txBody>
          <a:bodyPr anchor="ctr">
            <a:noAutofit/>
          </a:bodyPr>
          <a:lstStyle>
            <a:lvl1pPr marL="0" indent="-204750" algn="just">
              <a:lnSpc>
                <a:spcPct val="100000"/>
              </a:lnSpc>
              <a:spcBef>
                <a:spcPts val="325"/>
              </a:spcBef>
              <a:buClr>
                <a:schemeClr val="bg2"/>
              </a:buClr>
              <a:buFont typeface="Tempus Sans ITC" panose="04020404030D07020202" pitchFamily="82" charset="0"/>
              <a:buChar char="/"/>
              <a:defRPr sz="2200" b="1" i="0">
                <a:solidFill>
                  <a:schemeClr val="accent1"/>
                </a:solidFill>
              </a:defRPr>
            </a:lvl1pPr>
            <a:lvl2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2pPr>
            <a:lvl3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3pPr>
            <a:lvl4pPr marL="0" indent="-204750" algn="just">
              <a:lnSpc>
                <a:spcPct val="100000"/>
              </a:lnSpc>
              <a:spcBef>
                <a:spcPts val="325"/>
              </a:spcBef>
              <a:buClr>
                <a:schemeClr val="accent1"/>
              </a:buClr>
              <a:buFont typeface="Tahoma" panose="020B0604030504040204" pitchFamily="34" charset="0"/>
              <a:buChar char="⁄"/>
              <a:defRPr sz="1625" b="1" i="0" cap="none" baseline="0">
                <a:solidFill>
                  <a:schemeClr val="bg2"/>
                </a:solidFill>
              </a:defRPr>
            </a:lvl4pPr>
            <a:lvl5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5pPr>
            <a:lvl6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6pPr>
            <a:lvl7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7pPr>
            <a:lvl8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8pPr>
            <a:lvl9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9pPr>
          </a:lstStyle>
          <a:p>
            <a:pPr lvl="0"/>
            <a:r>
              <a:rPr lang="fr-FR" noProof="0"/>
              <a:t>02</a:t>
            </a:r>
          </a:p>
        </p:txBody>
      </p:sp>
      <p:sp>
        <p:nvSpPr>
          <p:cNvPr id="46" name="Text Placeholder 4"/>
          <p:cNvSpPr>
            <a:spLocks noGrp="1"/>
          </p:cNvSpPr>
          <p:nvPr>
            <p:ph type="body" sz="quarter" idx="40" hasCustomPrompt="1"/>
          </p:nvPr>
        </p:nvSpPr>
        <p:spPr>
          <a:xfrm>
            <a:off x="454765" y="2956647"/>
            <a:ext cx="1329231" cy="684000"/>
          </a:xfrm>
          <a:prstGeom prst="rect">
            <a:avLst/>
          </a:prstGeom>
          <a:noFill/>
        </p:spPr>
        <p:txBody>
          <a:bodyPr anchor="ctr">
            <a:noAutofit/>
          </a:bodyPr>
          <a:lstStyle>
            <a:lvl1pPr marL="0" indent="-204750" algn="just">
              <a:lnSpc>
                <a:spcPct val="100000"/>
              </a:lnSpc>
              <a:spcBef>
                <a:spcPts val="325"/>
              </a:spcBef>
              <a:buClr>
                <a:schemeClr val="bg2"/>
              </a:buClr>
              <a:buFont typeface="Tempus Sans ITC" panose="04020404030D07020202" pitchFamily="82" charset="0"/>
              <a:buChar char="/"/>
              <a:defRPr sz="2200" b="1" i="0">
                <a:solidFill>
                  <a:schemeClr val="accent1"/>
                </a:solidFill>
              </a:defRPr>
            </a:lvl1pPr>
            <a:lvl2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2pPr>
            <a:lvl3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3pPr>
            <a:lvl4pPr marL="0" indent="-204750" algn="just">
              <a:lnSpc>
                <a:spcPct val="100000"/>
              </a:lnSpc>
              <a:spcBef>
                <a:spcPts val="325"/>
              </a:spcBef>
              <a:buClr>
                <a:schemeClr val="accent1"/>
              </a:buClr>
              <a:buFont typeface="Tahoma" panose="020B0604030504040204" pitchFamily="34" charset="0"/>
              <a:buChar char="⁄"/>
              <a:defRPr sz="1625" b="1" i="0" cap="none" baseline="0">
                <a:solidFill>
                  <a:schemeClr val="bg2"/>
                </a:solidFill>
              </a:defRPr>
            </a:lvl4pPr>
            <a:lvl5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5pPr>
            <a:lvl6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6pPr>
            <a:lvl7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7pPr>
            <a:lvl8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8pPr>
            <a:lvl9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9pPr>
          </a:lstStyle>
          <a:p>
            <a:pPr lvl="0"/>
            <a:r>
              <a:rPr lang="fr-FR" noProof="0"/>
              <a:t>03</a:t>
            </a:r>
          </a:p>
        </p:txBody>
      </p:sp>
      <p:sp>
        <p:nvSpPr>
          <p:cNvPr id="47" name="Text Placeholder 4"/>
          <p:cNvSpPr>
            <a:spLocks noGrp="1"/>
          </p:cNvSpPr>
          <p:nvPr>
            <p:ph type="body" sz="quarter" idx="41" hasCustomPrompt="1"/>
          </p:nvPr>
        </p:nvSpPr>
        <p:spPr>
          <a:xfrm>
            <a:off x="454765" y="3759270"/>
            <a:ext cx="1329231" cy="684000"/>
          </a:xfrm>
          <a:prstGeom prst="rect">
            <a:avLst/>
          </a:prstGeom>
          <a:noFill/>
        </p:spPr>
        <p:txBody>
          <a:bodyPr anchor="ctr">
            <a:noAutofit/>
          </a:bodyPr>
          <a:lstStyle>
            <a:lvl1pPr marL="0" indent="-204750" algn="just">
              <a:lnSpc>
                <a:spcPct val="100000"/>
              </a:lnSpc>
              <a:spcBef>
                <a:spcPts val="325"/>
              </a:spcBef>
              <a:buClr>
                <a:schemeClr val="bg2"/>
              </a:buClr>
              <a:buFont typeface="Tempus Sans ITC" panose="04020404030D07020202" pitchFamily="82" charset="0"/>
              <a:buChar char="/"/>
              <a:defRPr sz="2200" b="1" i="0">
                <a:solidFill>
                  <a:schemeClr val="accent1"/>
                </a:solidFill>
              </a:defRPr>
            </a:lvl1pPr>
            <a:lvl2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2pPr>
            <a:lvl3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3pPr>
            <a:lvl4pPr marL="0" indent="-204750" algn="just">
              <a:lnSpc>
                <a:spcPct val="100000"/>
              </a:lnSpc>
              <a:spcBef>
                <a:spcPts val="325"/>
              </a:spcBef>
              <a:buClr>
                <a:schemeClr val="accent1"/>
              </a:buClr>
              <a:buFont typeface="Tahoma" panose="020B0604030504040204" pitchFamily="34" charset="0"/>
              <a:buChar char="⁄"/>
              <a:defRPr sz="1625" b="1" i="0" cap="none" baseline="0">
                <a:solidFill>
                  <a:schemeClr val="bg2"/>
                </a:solidFill>
              </a:defRPr>
            </a:lvl4pPr>
            <a:lvl5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5pPr>
            <a:lvl6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6pPr>
            <a:lvl7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7pPr>
            <a:lvl8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8pPr>
            <a:lvl9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9pPr>
          </a:lstStyle>
          <a:p>
            <a:pPr lvl="0"/>
            <a:r>
              <a:rPr lang="fr-FR" noProof="0"/>
              <a:t>04</a:t>
            </a:r>
          </a:p>
        </p:txBody>
      </p:sp>
      <p:sp>
        <p:nvSpPr>
          <p:cNvPr id="48" name="Text Placeholder 4"/>
          <p:cNvSpPr>
            <a:spLocks noGrp="1"/>
          </p:cNvSpPr>
          <p:nvPr>
            <p:ph type="body" sz="quarter" idx="42" hasCustomPrompt="1"/>
          </p:nvPr>
        </p:nvSpPr>
        <p:spPr>
          <a:xfrm>
            <a:off x="454765" y="4561893"/>
            <a:ext cx="1329231" cy="684000"/>
          </a:xfrm>
          <a:prstGeom prst="rect">
            <a:avLst/>
          </a:prstGeom>
          <a:noFill/>
        </p:spPr>
        <p:txBody>
          <a:bodyPr anchor="ctr">
            <a:noAutofit/>
          </a:bodyPr>
          <a:lstStyle>
            <a:lvl1pPr marL="0" indent="-204750" algn="just">
              <a:lnSpc>
                <a:spcPct val="100000"/>
              </a:lnSpc>
              <a:spcBef>
                <a:spcPts val="325"/>
              </a:spcBef>
              <a:buClr>
                <a:schemeClr val="bg2"/>
              </a:buClr>
              <a:buFont typeface="Tempus Sans ITC" panose="04020404030D07020202" pitchFamily="82" charset="0"/>
              <a:buChar char="/"/>
              <a:defRPr sz="2200" b="1" i="0">
                <a:solidFill>
                  <a:schemeClr val="accent1"/>
                </a:solidFill>
              </a:defRPr>
            </a:lvl1pPr>
            <a:lvl2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2pPr>
            <a:lvl3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3pPr>
            <a:lvl4pPr marL="0" indent="-204750" algn="just">
              <a:lnSpc>
                <a:spcPct val="100000"/>
              </a:lnSpc>
              <a:spcBef>
                <a:spcPts val="325"/>
              </a:spcBef>
              <a:buClr>
                <a:schemeClr val="accent1"/>
              </a:buClr>
              <a:buFont typeface="Tahoma" panose="020B0604030504040204" pitchFamily="34" charset="0"/>
              <a:buChar char="⁄"/>
              <a:defRPr sz="1625" b="1" i="0" cap="none" baseline="0">
                <a:solidFill>
                  <a:schemeClr val="bg2"/>
                </a:solidFill>
              </a:defRPr>
            </a:lvl4pPr>
            <a:lvl5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5pPr>
            <a:lvl6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6pPr>
            <a:lvl7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7pPr>
            <a:lvl8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8pPr>
            <a:lvl9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9pPr>
          </a:lstStyle>
          <a:p>
            <a:pPr lvl="0"/>
            <a:r>
              <a:rPr lang="fr-FR" noProof="0"/>
              <a:t>05</a:t>
            </a:r>
          </a:p>
        </p:txBody>
      </p:sp>
      <p:sp>
        <p:nvSpPr>
          <p:cNvPr id="49" name="Text Placeholder 4"/>
          <p:cNvSpPr>
            <a:spLocks noGrp="1"/>
          </p:cNvSpPr>
          <p:nvPr>
            <p:ph type="body" sz="quarter" idx="43" hasCustomPrompt="1"/>
          </p:nvPr>
        </p:nvSpPr>
        <p:spPr>
          <a:xfrm>
            <a:off x="454765" y="5364518"/>
            <a:ext cx="1329231" cy="684000"/>
          </a:xfrm>
          <a:prstGeom prst="rect">
            <a:avLst/>
          </a:prstGeom>
          <a:noFill/>
        </p:spPr>
        <p:txBody>
          <a:bodyPr anchor="ctr">
            <a:noAutofit/>
          </a:bodyPr>
          <a:lstStyle>
            <a:lvl1pPr marL="0" indent="-204750" algn="just">
              <a:lnSpc>
                <a:spcPct val="100000"/>
              </a:lnSpc>
              <a:spcBef>
                <a:spcPts val="325"/>
              </a:spcBef>
              <a:buClr>
                <a:schemeClr val="bg2"/>
              </a:buClr>
              <a:buFont typeface="Tempus Sans ITC" panose="04020404030D07020202" pitchFamily="82" charset="0"/>
              <a:buChar char="/"/>
              <a:defRPr sz="2200" b="1" i="0">
                <a:solidFill>
                  <a:schemeClr val="accent1"/>
                </a:solidFill>
              </a:defRPr>
            </a:lvl1pPr>
            <a:lvl2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2pPr>
            <a:lvl3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3pPr>
            <a:lvl4pPr marL="0" indent="-204750" algn="just">
              <a:lnSpc>
                <a:spcPct val="100000"/>
              </a:lnSpc>
              <a:spcBef>
                <a:spcPts val="325"/>
              </a:spcBef>
              <a:buClr>
                <a:schemeClr val="accent1"/>
              </a:buClr>
              <a:buFont typeface="Tahoma" panose="020B0604030504040204" pitchFamily="34" charset="0"/>
              <a:buChar char="⁄"/>
              <a:defRPr sz="1625" b="1" i="0" cap="none" baseline="0">
                <a:solidFill>
                  <a:schemeClr val="bg2"/>
                </a:solidFill>
              </a:defRPr>
            </a:lvl4pPr>
            <a:lvl5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5pPr>
            <a:lvl6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6pPr>
            <a:lvl7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7pPr>
            <a:lvl8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8pPr>
            <a:lvl9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9pPr>
          </a:lstStyle>
          <a:p>
            <a:pPr lvl="0"/>
            <a:r>
              <a:rPr lang="fr-FR" noProof="0"/>
              <a:t>06</a:t>
            </a:r>
          </a:p>
        </p:txBody>
      </p:sp>
      <p:sp>
        <p:nvSpPr>
          <p:cNvPr id="21" name="Title 1">
            <a:extLst>
              <a:ext uri="{FF2B5EF4-FFF2-40B4-BE49-F238E27FC236}">
                <a16:creationId xmlns:a16="http://schemas.microsoft.com/office/drawing/2014/main" id="{912893E4-CA8B-43CB-930D-F5A78D0FB847}"/>
              </a:ext>
            </a:extLst>
          </p:cNvPr>
          <p:cNvSpPr txBox="1">
            <a:spLocks/>
          </p:cNvSpPr>
          <p:nvPr userDrawn="1"/>
        </p:nvSpPr>
        <p:spPr>
          <a:xfrm>
            <a:off x="416540" y="404665"/>
            <a:ext cx="11342769" cy="863748"/>
          </a:xfrm>
          <a:prstGeom prst="rect">
            <a:avLst/>
          </a:prstGeom>
          <a:noFill/>
        </p:spPr>
        <p:txBody>
          <a:bodyPr vert="horz" lIns="108000" tIns="36000" rIns="108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2200" b="1" noProof="0"/>
              <a:t>AGENDA</a:t>
            </a:r>
          </a:p>
        </p:txBody>
      </p:sp>
    </p:spTree>
    <p:extLst>
      <p:ext uri="{BB962C8B-B14F-4D97-AF65-F5344CB8AC3E}">
        <p14:creationId xmlns:p14="http://schemas.microsoft.com/office/powerpoint/2010/main" val="3352664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 1 to 10 chapter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2019239" y="1353824"/>
            <a:ext cx="7921930" cy="414000"/>
          </a:xfrm>
          <a:prstGeom prst="rect">
            <a:avLst/>
          </a:prstGeom>
        </p:spPr>
        <p:txBody>
          <a:bodyPr wrap="square" tIns="0" bIns="0" anchor="ctr">
            <a:noAutofit/>
          </a:bodyPr>
          <a:lstStyle>
            <a:lvl1pPr marL="0" indent="0" algn="l">
              <a:buClr>
                <a:schemeClr val="bg2"/>
              </a:buClr>
              <a:buFontTx/>
              <a:buNone/>
              <a:defRPr sz="2000" i="0" cap="none" baseline="0">
                <a:solidFill>
                  <a:schemeClr val="bg2"/>
                </a:solidFill>
              </a:defRPr>
            </a:lvl1pPr>
            <a:lvl2pPr>
              <a:defRPr sz="813"/>
            </a:lvl2pPr>
          </a:lstStyle>
          <a:p>
            <a:pPr lvl="0"/>
            <a:r>
              <a:rPr lang="fr-FR" noProof="0"/>
              <a:t>Chapter 1</a:t>
            </a:r>
          </a:p>
        </p:txBody>
      </p:sp>
      <p:sp>
        <p:nvSpPr>
          <p:cNvPr id="8" name="Text Placeholder 8"/>
          <p:cNvSpPr>
            <a:spLocks noGrp="1"/>
          </p:cNvSpPr>
          <p:nvPr>
            <p:ph type="body" sz="quarter" idx="17" hasCustomPrompt="1"/>
          </p:nvPr>
        </p:nvSpPr>
        <p:spPr>
          <a:xfrm>
            <a:off x="2019239" y="1829365"/>
            <a:ext cx="7921930"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ter 2</a:t>
            </a:r>
          </a:p>
        </p:txBody>
      </p:sp>
      <p:sp>
        <p:nvSpPr>
          <p:cNvPr id="11" name="Text Placeholder 8"/>
          <p:cNvSpPr>
            <a:spLocks noGrp="1"/>
          </p:cNvSpPr>
          <p:nvPr>
            <p:ph type="body" sz="quarter" idx="19" hasCustomPrompt="1"/>
          </p:nvPr>
        </p:nvSpPr>
        <p:spPr>
          <a:xfrm>
            <a:off x="2019239" y="2304906"/>
            <a:ext cx="7921930"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ter 3</a:t>
            </a:r>
          </a:p>
        </p:txBody>
      </p:sp>
      <p:sp>
        <p:nvSpPr>
          <p:cNvPr id="14" name="Text Placeholder 8"/>
          <p:cNvSpPr>
            <a:spLocks noGrp="1"/>
          </p:cNvSpPr>
          <p:nvPr>
            <p:ph type="body" sz="quarter" idx="21" hasCustomPrompt="1"/>
          </p:nvPr>
        </p:nvSpPr>
        <p:spPr>
          <a:xfrm>
            <a:off x="2019239" y="2780447"/>
            <a:ext cx="7921930"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ter 4</a:t>
            </a:r>
          </a:p>
        </p:txBody>
      </p:sp>
      <p:sp>
        <p:nvSpPr>
          <p:cNvPr id="17" name="Text Placeholder 8"/>
          <p:cNvSpPr>
            <a:spLocks noGrp="1"/>
          </p:cNvSpPr>
          <p:nvPr>
            <p:ph type="body" sz="quarter" idx="23" hasCustomPrompt="1"/>
          </p:nvPr>
        </p:nvSpPr>
        <p:spPr>
          <a:xfrm>
            <a:off x="2019239" y="5633695"/>
            <a:ext cx="7921930"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ter 10</a:t>
            </a:r>
          </a:p>
        </p:txBody>
      </p:sp>
      <p:sp>
        <p:nvSpPr>
          <p:cNvPr id="30" name="Text Placeholder 8"/>
          <p:cNvSpPr>
            <a:spLocks noGrp="1"/>
          </p:cNvSpPr>
          <p:nvPr>
            <p:ph type="body" sz="quarter" idx="25" hasCustomPrompt="1"/>
          </p:nvPr>
        </p:nvSpPr>
        <p:spPr>
          <a:xfrm>
            <a:off x="10217860" y="1353824"/>
            <a:ext cx="1546213" cy="414000"/>
          </a:xfrm>
          <a:prstGeom prst="rect">
            <a:avLst/>
          </a:prstGeom>
        </p:spPr>
        <p:txBody>
          <a:bodyPr wrap="square" tIns="0" bIns="0" anchor="ctr">
            <a:noAutofit/>
          </a:bodyPr>
          <a:lstStyle>
            <a:lvl1pPr algn="l">
              <a:defRPr sz="1000" b="0" i="0" cap="none" baseline="0">
                <a:solidFill>
                  <a:schemeClr val="bg2"/>
                </a:solidFill>
              </a:defRPr>
            </a:lvl1pPr>
            <a:lvl2pPr>
              <a:defRPr sz="813"/>
            </a:lvl2pPr>
          </a:lstStyle>
          <a:p>
            <a:pPr lvl="0"/>
            <a:r>
              <a:rPr lang="fr-FR" noProof="0"/>
              <a:t>Page x</a:t>
            </a:r>
          </a:p>
        </p:txBody>
      </p:sp>
      <p:sp>
        <p:nvSpPr>
          <p:cNvPr id="32" name="Text Placeholder 8"/>
          <p:cNvSpPr>
            <a:spLocks noGrp="1"/>
          </p:cNvSpPr>
          <p:nvPr>
            <p:ph type="body" sz="quarter" idx="26" hasCustomPrompt="1"/>
          </p:nvPr>
        </p:nvSpPr>
        <p:spPr>
          <a:xfrm>
            <a:off x="10217860" y="5633695"/>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33" name="Text Placeholder 8"/>
          <p:cNvSpPr>
            <a:spLocks noGrp="1"/>
          </p:cNvSpPr>
          <p:nvPr>
            <p:ph type="body" sz="quarter" idx="27" hasCustomPrompt="1"/>
          </p:nvPr>
        </p:nvSpPr>
        <p:spPr>
          <a:xfrm>
            <a:off x="10217860" y="2780447"/>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34" name="Text Placeholder 8"/>
          <p:cNvSpPr>
            <a:spLocks noGrp="1"/>
          </p:cNvSpPr>
          <p:nvPr>
            <p:ph type="body" sz="quarter" idx="28" hasCustomPrompt="1"/>
          </p:nvPr>
        </p:nvSpPr>
        <p:spPr>
          <a:xfrm>
            <a:off x="10217860" y="2304906"/>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35" name="Text Placeholder 8"/>
          <p:cNvSpPr>
            <a:spLocks noGrp="1"/>
          </p:cNvSpPr>
          <p:nvPr>
            <p:ph type="body" sz="quarter" idx="29" hasCustomPrompt="1"/>
          </p:nvPr>
        </p:nvSpPr>
        <p:spPr>
          <a:xfrm>
            <a:off x="10217860" y="1829365"/>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22" name="Text Placeholder 8"/>
          <p:cNvSpPr>
            <a:spLocks noGrp="1"/>
          </p:cNvSpPr>
          <p:nvPr>
            <p:ph type="body" sz="quarter" idx="30" hasCustomPrompt="1"/>
          </p:nvPr>
        </p:nvSpPr>
        <p:spPr>
          <a:xfrm>
            <a:off x="2019239" y="3255988"/>
            <a:ext cx="7921930"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ter 5</a:t>
            </a:r>
          </a:p>
        </p:txBody>
      </p:sp>
      <p:sp>
        <p:nvSpPr>
          <p:cNvPr id="24" name="Text Placeholder 8"/>
          <p:cNvSpPr>
            <a:spLocks noGrp="1"/>
          </p:cNvSpPr>
          <p:nvPr>
            <p:ph type="body" sz="quarter" idx="32" hasCustomPrompt="1"/>
          </p:nvPr>
        </p:nvSpPr>
        <p:spPr>
          <a:xfrm>
            <a:off x="10217860" y="3255988"/>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25" name="Text Placeholder 8"/>
          <p:cNvSpPr>
            <a:spLocks noGrp="1"/>
          </p:cNvSpPr>
          <p:nvPr>
            <p:ph type="body" sz="quarter" idx="33" hasCustomPrompt="1"/>
          </p:nvPr>
        </p:nvSpPr>
        <p:spPr>
          <a:xfrm>
            <a:off x="2019239" y="3731529"/>
            <a:ext cx="7921930"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ter 6</a:t>
            </a:r>
          </a:p>
        </p:txBody>
      </p:sp>
      <p:sp>
        <p:nvSpPr>
          <p:cNvPr id="27" name="Text Placeholder 8"/>
          <p:cNvSpPr>
            <a:spLocks noGrp="1"/>
          </p:cNvSpPr>
          <p:nvPr>
            <p:ph type="body" sz="quarter" idx="35" hasCustomPrompt="1"/>
          </p:nvPr>
        </p:nvSpPr>
        <p:spPr>
          <a:xfrm>
            <a:off x="2019239" y="4207070"/>
            <a:ext cx="7921930"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ter 7</a:t>
            </a:r>
          </a:p>
        </p:txBody>
      </p:sp>
      <p:sp>
        <p:nvSpPr>
          <p:cNvPr id="29" name="Text Placeholder 8"/>
          <p:cNvSpPr>
            <a:spLocks noGrp="1"/>
          </p:cNvSpPr>
          <p:nvPr>
            <p:ph type="body" sz="quarter" idx="37" hasCustomPrompt="1"/>
          </p:nvPr>
        </p:nvSpPr>
        <p:spPr>
          <a:xfrm>
            <a:off x="10217860" y="4207070"/>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31" name="Text Placeholder 8"/>
          <p:cNvSpPr>
            <a:spLocks noGrp="1"/>
          </p:cNvSpPr>
          <p:nvPr>
            <p:ph type="body" sz="quarter" idx="38" hasCustomPrompt="1"/>
          </p:nvPr>
        </p:nvSpPr>
        <p:spPr>
          <a:xfrm>
            <a:off x="10217860" y="3731529"/>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39" name="Text Placeholder 8"/>
          <p:cNvSpPr>
            <a:spLocks noGrp="1"/>
          </p:cNvSpPr>
          <p:nvPr>
            <p:ph type="body" sz="quarter" idx="39" hasCustomPrompt="1"/>
          </p:nvPr>
        </p:nvSpPr>
        <p:spPr>
          <a:xfrm>
            <a:off x="2019239" y="4682611"/>
            <a:ext cx="7921930"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ter 8</a:t>
            </a:r>
          </a:p>
        </p:txBody>
      </p:sp>
      <p:sp>
        <p:nvSpPr>
          <p:cNvPr id="41" name="Text Placeholder 8"/>
          <p:cNvSpPr>
            <a:spLocks noGrp="1"/>
          </p:cNvSpPr>
          <p:nvPr>
            <p:ph type="body" sz="quarter" idx="41" hasCustomPrompt="1"/>
          </p:nvPr>
        </p:nvSpPr>
        <p:spPr>
          <a:xfrm>
            <a:off x="10217860" y="4682611"/>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42" name="Text Placeholder 8"/>
          <p:cNvSpPr>
            <a:spLocks noGrp="1"/>
          </p:cNvSpPr>
          <p:nvPr>
            <p:ph type="body" sz="quarter" idx="42" hasCustomPrompt="1"/>
          </p:nvPr>
        </p:nvSpPr>
        <p:spPr>
          <a:xfrm>
            <a:off x="2019239" y="5158152"/>
            <a:ext cx="7921930"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ter 9</a:t>
            </a:r>
          </a:p>
        </p:txBody>
      </p:sp>
      <p:sp>
        <p:nvSpPr>
          <p:cNvPr id="44" name="Text Placeholder 8"/>
          <p:cNvSpPr>
            <a:spLocks noGrp="1"/>
          </p:cNvSpPr>
          <p:nvPr>
            <p:ph type="body" sz="quarter" idx="44" hasCustomPrompt="1"/>
          </p:nvPr>
        </p:nvSpPr>
        <p:spPr>
          <a:xfrm>
            <a:off x="10217860" y="5158152"/>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40" name="Text Placeholder 4"/>
          <p:cNvSpPr>
            <a:spLocks noGrp="1"/>
          </p:cNvSpPr>
          <p:nvPr>
            <p:ph type="body" sz="quarter" idx="56" hasCustomPrompt="1"/>
          </p:nvPr>
        </p:nvSpPr>
        <p:spPr>
          <a:xfrm>
            <a:off x="423985" y="1353824"/>
            <a:ext cx="1329231" cy="414000"/>
          </a:xfrm>
          <a:prstGeom prst="rect">
            <a:avLst/>
          </a:prstGeom>
          <a:noFill/>
        </p:spPr>
        <p:txBody>
          <a:bodyPr tIns="0" bIns="0" anchor="ctr">
            <a:noAutofit/>
          </a:bodyPr>
          <a:lstStyle>
            <a:lvl1pPr marL="0" indent="-204750" algn="just">
              <a:lnSpc>
                <a:spcPct val="100000"/>
              </a:lnSpc>
              <a:spcBef>
                <a:spcPts val="325"/>
              </a:spcBef>
              <a:buClr>
                <a:schemeClr val="bg2"/>
              </a:buClr>
              <a:buFont typeface="Tempus Sans ITC" panose="04020404030D07020202" pitchFamily="82" charset="0"/>
              <a:buChar char="/"/>
              <a:defRPr sz="2000" b="1" i="0">
                <a:solidFill>
                  <a:schemeClr val="accent1"/>
                </a:solidFill>
              </a:defRPr>
            </a:lvl1pPr>
            <a:lvl2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2pPr>
            <a:lvl3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3pPr>
            <a:lvl4pPr marL="0" indent="-204750" algn="just">
              <a:lnSpc>
                <a:spcPct val="100000"/>
              </a:lnSpc>
              <a:spcBef>
                <a:spcPts val="325"/>
              </a:spcBef>
              <a:buClr>
                <a:schemeClr val="accent1"/>
              </a:buClr>
              <a:buFont typeface="Tahoma" panose="020B0604030504040204" pitchFamily="34" charset="0"/>
              <a:buChar char="⁄"/>
              <a:defRPr sz="1625" b="1" i="0" cap="none" baseline="0">
                <a:solidFill>
                  <a:schemeClr val="bg2"/>
                </a:solidFill>
              </a:defRPr>
            </a:lvl4pPr>
            <a:lvl5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5pPr>
            <a:lvl6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6pPr>
            <a:lvl7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7pPr>
            <a:lvl8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8pPr>
            <a:lvl9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9pPr>
          </a:lstStyle>
          <a:p>
            <a:pPr lvl="0"/>
            <a:r>
              <a:rPr lang="fr-FR" noProof="0"/>
              <a:t>01</a:t>
            </a:r>
          </a:p>
        </p:txBody>
      </p:sp>
      <p:sp>
        <p:nvSpPr>
          <p:cNvPr id="43" name="Text Placeholder 4"/>
          <p:cNvSpPr>
            <a:spLocks noGrp="1"/>
          </p:cNvSpPr>
          <p:nvPr>
            <p:ph type="body" sz="quarter" idx="57" hasCustomPrompt="1"/>
          </p:nvPr>
        </p:nvSpPr>
        <p:spPr>
          <a:xfrm>
            <a:off x="423985" y="1829365"/>
            <a:ext cx="1329231" cy="414000"/>
          </a:xfrm>
          <a:prstGeom prst="rect">
            <a:avLst/>
          </a:prstGeom>
          <a:noFill/>
        </p:spPr>
        <p:txBody>
          <a:bodyPr tIns="0" bIns="0" anchor="ctr">
            <a:noAutofit/>
          </a:bodyPr>
          <a:lstStyle>
            <a:lvl1pPr marL="0" indent="-204750" algn="just">
              <a:lnSpc>
                <a:spcPct val="100000"/>
              </a:lnSpc>
              <a:spcBef>
                <a:spcPts val="325"/>
              </a:spcBef>
              <a:buClr>
                <a:schemeClr val="bg2"/>
              </a:buClr>
              <a:buFont typeface="Tempus Sans ITC" panose="04020404030D07020202" pitchFamily="82" charset="0"/>
              <a:buChar char="/"/>
              <a:defRPr sz="2000" b="1" i="0">
                <a:solidFill>
                  <a:schemeClr val="accent1"/>
                </a:solidFill>
              </a:defRPr>
            </a:lvl1pPr>
            <a:lvl2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2pPr>
            <a:lvl3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3pPr>
            <a:lvl4pPr marL="0" indent="-204750" algn="just">
              <a:lnSpc>
                <a:spcPct val="100000"/>
              </a:lnSpc>
              <a:spcBef>
                <a:spcPts val="325"/>
              </a:spcBef>
              <a:buClr>
                <a:schemeClr val="accent1"/>
              </a:buClr>
              <a:buFont typeface="Tahoma" panose="020B0604030504040204" pitchFamily="34" charset="0"/>
              <a:buChar char="⁄"/>
              <a:defRPr sz="1625" b="1" i="0" cap="none" baseline="0">
                <a:solidFill>
                  <a:schemeClr val="bg2"/>
                </a:solidFill>
              </a:defRPr>
            </a:lvl4pPr>
            <a:lvl5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5pPr>
            <a:lvl6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6pPr>
            <a:lvl7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7pPr>
            <a:lvl8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8pPr>
            <a:lvl9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9pPr>
          </a:lstStyle>
          <a:p>
            <a:pPr lvl="0"/>
            <a:r>
              <a:rPr lang="fr-FR" noProof="0"/>
              <a:t>02</a:t>
            </a:r>
          </a:p>
        </p:txBody>
      </p:sp>
      <p:sp>
        <p:nvSpPr>
          <p:cNvPr id="48" name="Text Placeholder 4"/>
          <p:cNvSpPr>
            <a:spLocks noGrp="1"/>
          </p:cNvSpPr>
          <p:nvPr>
            <p:ph type="body" sz="quarter" idx="58" hasCustomPrompt="1"/>
          </p:nvPr>
        </p:nvSpPr>
        <p:spPr>
          <a:xfrm>
            <a:off x="423985" y="2304906"/>
            <a:ext cx="1329231" cy="414000"/>
          </a:xfrm>
          <a:prstGeom prst="rect">
            <a:avLst/>
          </a:prstGeom>
          <a:noFill/>
        </p:spPr>
        <p:txBody>
          <a:bodyPr tIns="0" bIns="0" anchor="ctr">
            <a:noAutofit/>
          </a:bodyPr>
          <a:lstStyle>
            <a:lvl1pPr marL="0" indent="-204750" algn="just">
              <a:lnSpc>
                <a:spcPct val="100000"/>
              </a:lnSpc>
              <a:spcBef>
                <a:spcPts val="325"/>
              </a:spcBef>
              <a:buClr>
                <a:schemeClr val="bg2"/>
              </a:buClr>
              <a:buFont typeface="Tempus Sans ITC" panose="04020404030D07020202" pitchFamily="82" charset="0"/>
              <a:buChar char="/"/>
              <a:defRPr sz="2000" b="1" i="0">
                <a:solidFill>
                  <a:schemeClr val="accent1"/>
                </a:solidFill>
              </a:defRPr>
            </a:lvl1pPr>
            <a:lvl2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2pPr>
            <a:lvl3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3pPr>
            <a:lvl4pPr marL="0" indent="-204750" algn="just">
              <a:lnSpc>
                <a:spcPct val="100000"/>
              </a:lnSpc>
              <a:spcBef>
                <a:spcPts val="325"/>
              </a:spcBef>
              <a:buClr>
                <a:schemeClr val="accent1"/>
              </a:buClr>
              <a:buFont typeface="Tahoma" panose="020B0604030504040204" pitchFamily="34" charset="0"/>
              <a:buChar char="⁄"/>
              <a:defRPr sz="1625" b="1" i="0" cap="none" baseline="0">
                <a:solidFill>
                  <a:schemeClr val="bg2"/>
                </a:solidFill>
              </a:defRPr>
            </a:lvl4pPr>
            <a:lvl5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5pPr>
            <a:lvl6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6pPr>
            <a:lvl7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7pPr>
            <a:lvl8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8pPr>
            <a:lvl9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9pPr>
          </a:lstStyle>
          <a:p>
            <a:pPr lvl="0"/>
            <a:r>
              <a:rPr lang="fr-FR" noProof="0"/>
              <a:t>03</a:t>
            </a:r>
          </a:p>
        </p:txBody>
      </p:sp>
      <p:sp>
        <p:nvSpPr>
          <p:cNvPr id="59" name="Text Placeholder 4"/>
          <p:cNvSpPr>
            <a:spLocks noGrp="1"/>
          </p:cNvSpPr>
          <p:nvPr>
            <p:ph type="body" sz="quarter" idx="59" hasCustomPrompt="1"/>
          </p:nvPr>
        </p:nvSpPr>
        <p:spPr>
          <a:xfrm>
            <a:off x="423985" y="2780447"/>
            <a:ext cx="1329231" cy="414000"/>
          </a:xfrm>
          <a:prstGeom prst="rect">
            <a:avLst/>
          </a:prstGeom>
          <a:noFill/>
        </p:spPr>
        <p:txBody>
          <a:bodyPr tIns="0" bIns="0" anchor="ctr">
            <a:noAutofit/>
          </a:bodyPr>
          <a:lstStyle>
            <a:lvl1pPr marL="0" indent="-204750" algn="just">
              <a:lnSpc>
                <a:spcPct val="100000"/>
              </a:lnSpc>
              <a:spcBef>
                <a:spcPts val="325"/>
              </a:spcBef>
              <a:buClr>
                <a:schemeClr val="bg2"/>
              </a:buClr>
              <a:buFont typeface="Tempus Sans ITC" panose="04020404030D07020202" pitchFamily="82" charset="0"/>
              <a:buChar char="/"/>
              <a:defRPr sz="2000" b="1" i="0">
                <a:solidFill>
                  <a:schemeClr val="accent1"/>
                </a:solidFill>
              </a:defRPr>
            </a:lvl1pPr>
            <a:lvl2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2pPr>
            <a:lvl3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3pPr>
            <a:lvl4pPr marL="0" indent="-204750" algn="just">
              <a:lnSpc>
                <a:spcPct val="100000"/>
              </a:lnSpc>
              <a:spcBef>
                <a:spcPts val="325"/>
              </a:spcBef>
              <a:buClr>
                <a:schemeClr val="accent1"/>
              </a:buClr>
              <a:buFont typeface="Tahoma" panose="020B0604030504040204" pitchFamily="34" charset="0"/>
              <a:buChar char="⁄"/>
              <a:defRPr sz="1625" b="1" i="0" cap="none" baseline="0">
                <a:solidFill>
                  <a:schemeClr val="bg2"/>
                </a:solidFill>
              </a:defRPr>
            </a:lvl4pPr>
            <a:lvl5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5pPr>
            <a:lvl6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6pPr>
            <a:lvl7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7pPr>
            <a:lvl8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8pPr>
            <a:lvl9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9pPr>
          </a:lstStyle>
          <a:p>
            <a:pPr lvl="0"/>
            <a:r>
              <a:rPr lang="fr-FR" noProof="0"/>
              <a:t>04</a:t>
            </a:r>
          </a:p>
        </p:txBody>
      </p:sp>
      <p:sp>
        <p:nvSpPr>
          <p:cNvPr id="60" name="Text Placeholder 4"/>
          <p:cNvSpPr>
            <a:spLocks noGrp="1"/>
          </p:cNvSpPr>
          <p:nvPr>
            <p:ph type="body" sz="quarter" idx="60" hasCustomPrompt="1"/>
          </p:nvPr>
        </p:nvSpPr>
        <p:spPr>
          <a:xfrm>
            <a:off x="423985" y="3255988"/>
            <a:ext cx="1329231" cy="414000"/>
          </a:xfrm>
          <a:prstGeom prst="rect">
            <a:avLst/>
          </a:prstGeom>
          <a:noFill/>
        </p:spPr>
        <p:txBody>
          <a:bodyPr tIns="0" bIns="0" anchor="ctr">
            <a:noAutofit/>
          </a:bodyPr>
          <a:lstStyle>
            <a:lvl1pPr marL="0" indent="-204750" algn="just">
              <a:lnSpc>
                <a:spcPct val="100000"/>
              </a:lnSpc>
              <a:spcBef>
                <a:spcPts val="325"/>
              </a:spcBef>
              <a:buClr>
                <a:schemeClr val="bg2"/>
              </a:buClr>
              <a:buFont typeface="Tempus Sans ITC" panose="04020404030D07020202" pitchFamily="82" charset="0"/>
              <a:buChar char="/"/>
              <a:defRPr sz="2000" b="1" i="0">
                <a:solidFill>
                  <a:schemeClr val="accent1"/>
                </a:solidFill>
              </a:defRPr>
            </a:lvl1pPr>
            <a:lvl2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2pPr>
            <a:lvl3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3pPr>
            <a:lvl4pPr marL="0" indent="-204750" algn="just">
              <a:lnSpc>
                <a:spcPct val="100000"/>
              </a:lnSpc>
              <a:spcBef>
                <a:spcPts val="325"/>
              </a:spcBef>
              <a:buClr>
                <a:schemeClr val="accent1"/>
              </a:buClr>
              <a:buFont typeface="Tahoma" panose="020B0604030504040204" pitchFamily="34" charset="0"/>
              <a:buChar char="⁄"/>
              <a:defRPr sz="1625" b="1" i="0" cap="none" baseline="0">
                <a:solidFill>
                  <a:schemeClr val="bg2"/>
                </a:solidFill>
              </a:defRPr>
            </a:lvl4pPr>
            <a:lvl5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5pPr>
            <a:lvl6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6pPr>
            <a:lvl7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7pPr>
            <a:lvl8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8pPr>
            <a:lvl9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9pPr>
          </a:lstStyle>
          <a:p>
            <a:pPr lvl="0"/>
            <a:r>
              <a:rPr lang="fr-FR" noProof="0"/>
              <a:t>05</a:t>
            </a:r>
          </a:p>
        </p:txBody>
      </p:sp>
      <p:sp>
        <p:nvSpPr>
          <p:cNvPr id="61" name="Text Placeholder 4"/>
          <p:cNvSpPr>
            <a:spLocks noGrp="1"/>
          </p:cNvSpPr>
          <p:nvPr>
            <p:ph type="body" sz="quarter" idx="61" hasCustomPrompt="1"/>
          </p:nvPr>
        </p:nvSpPr>
        <p:spPr>
          <a:xfrm>
            <a:off x="423985" y="3731529"/>
            <a:ext cx="1329231" cy="414000"/>
          </a:xfrm>
          <a:prstGeom prst="rect">
            <a:avLst/>
          </a:prstGeom>
          <a:noFill/>
        </p:spPr>
        <p:txBody>
          <a:bodyPr tIns="0" bIns="0" anchor="ctr">
            <a:noAutofit/>
          </a:bodyPr>
          <a:lstStyle>
            <a:lvl1pPr marL="0" indent="-204750" algn="just">
              <a:lnSpc>
                <a:spcPct val="100000"/>
              </a:lnSpc>
              <a:spcBef>
                <a:spcPts val="325"/>
              </a:spcBef>
              <a:buClr>
                <a:schemeClr val="bg2"/>
              </a:buClr>
              <a:buFont typeface="Tempus Sans ITC" panose="04020404030D07020202" pitchFamily="82" charset="0"/>
              <a:buChar char="/"/>
              <a:defRPr sz="2000" b="1" i="0">
                <a:solidFill>
                  <a:schemeClr val="accent1"/>
                </a:solidFill>
              </a:defRPr>
            </a:lvl1pPr>
            <a:lvl2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2pPr>
            <a:lvl3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3pPr>
            <a:lvl4pPr marL="0" indent="-204750" algn="just">
              <a:lnSpc>
                <a:spcPct val="100000"/>
              </a:lnSpc>
              <a:spcBef>
                <a:spcPts val="325"/>
              </a:spcBef>
              <a:buClr>
                <a:schemeClr val="accent1"/>
              </a:buClr>
              <a:buFont typeface="Tahoma" panose="020B0604030504040204" pitchFamily="34" charset="0"/>
              <a:buChar char="⁄"/>
              <a:defRPr sz="1625" b="1" i="0" cap="none" baseline="0">
                <a:solidFill>
                  <a:schemeClr val="bg2"/>
                </a:solidFill>
              </a:defRPr>
            </a:lvl4pPr>
            <a:lvl5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5pPr>
            <a:lvl6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6pPr>
            <a:lvl7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7pPr>
            <a:lvl8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8pPr>
            <a:lvl9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9pPr>
          </a:lstStyle>
          <a:p>
            <a:pPr lvl="0"/>
            <a:r>
              <a:rPr lang="fr-FR" noProof="0"/>
              <a:t>06</a:t>
            </a:r>
          </a:p>
        </p:txBody>
      </p:sp>
      <p:sp>
        <p:nvSpPr>
          <p:cNvPr id="62" name="Text Placeholder 4"/>
          <p:cNvSpPr>
            <a:spLocks noGrp="1"/>
          </p:cNvSpPr>
          <p:nvPr>
            <p:ph type="body" sz="quarter" idx="62" hasCustomPrompt="1"/>
          </p:nvPr>
        </p:nvSpPr>
        <p:spPr>
          <a:xfrm>
            <a:off x="423985" y="4207070"/>
            <a:ext cx="1329231" cy="414000"/>
          </a:xfrm>
          <a:prstGeom prst="rect">
            <a:avLst/>
          </a:prstGeom>
          <a:noFill/>
        </p:spPr>
        <p:txBody>
          <a:bodyPr tIns="0" bIns="0" anchor="ctr">
            <a:noAutofit/>
          </a:bodyPr>
          <a:lstStyle>
            <a:lvl1pPr marL="0" indent="-204750" algn="just">
              <a:lnSpc>
                <a:spcPct val="100000"/>
              </a:lnSpc>
              <a:spcBef>
                <a:spcPts val="325"/>
              </a:spcBef>
              <a:buClr>
                <a:schemeClr val="bg2"/>
              </a:buClr>
              <a:buFont typeface="Tempus Sans ITC" panose="04020404030D07020202" pitchFamily="82" charset="0"/>
              <a:buChar char="/"/>
              <a:defRPr sz="2000" b="1" i="0">
                <a:solidFill>
                  <a:schemeClr val="accent1"/>
                </a:solidFill>
              </a:defRPr>
            </a:lvl1pPr>
            <a:lvl2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2pPr>
            <a:lvl3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3pPr>
            <a:lvl4pPr marL="0" indent="-204750" algn="just">
              <a:lnSpc>
                <a:spcPct val="100000"/>
              </a:lnSpc>
              <a:spcBef>
                <a:spcPts val="325"/>
              </a:spcBef>
              <a:buClr>
                <a:schemeClr val="accent1"/>
              </a:buClr>
              <a:buFont typeface="Tahoma" panose="020B0604030504040204" pitchFamily="34" charset="0"/>
              <a:buChar char="⁄"/>
              <a:defRPr sz="1625" b="1" i="0" cap="none" baseline="0">
                <a:solidFill>
                  <a:schemeClr val="bg2"/>
                </a:solidFill>
              </a:defRPr>
            </a:lvl4pPr>
            <a:lvl5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5pPr>
            <a:lvl6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6pPr>
            <a:lvl7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7pPr>
            <a:lvl8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8pPr>
            <a:lvl9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9pPr>
          </a:lstStyle>
          <a:p>
            <a:pPr lvl="0"/>
            <a:r>
              <a:rPr lang="fr-FR" noProof="0"/>
              <a:t>07</a:t>
            </a:r>
          </a:p>
        </p:txBody>
      </p:sp>
      <p:sp>
        <p:nvSpPr>
          <p:cNvPr id="63" name="Text Placeholder 4"/>
          <p:cNvSpPr>
            <a:spLocks noGrp="1"/>
          </p:cNvSpPr>
          <p:nvPr>
            <p:ph type="body" sz="quarter" idx="63" hasCustomPrompt="1"/>
          </p:nvPr>
        </p:nvSpPr>
        <p:spPr>
          <a:xfrm>
            <a:off x="423985" y="4682611"/>
            <a:ext cx="1329231" cy="414000"/>
          </a:xfrm>
          <a:prstGeom prst="rect">
            <a:avLst/>
          </a:prstGeom>
          <a:noFill/>
        </p:spPr>
        <p:txBody>
          <a:bodyPr tIns="0" bIns="0" anchor="ctr">
            <a:noAutofit/>
          </a:bodyPr>
          <a:lstStyle>
            <a:lvl1pPr marL="0" indent="-204750" algn="just">
              <a:lnSpc>
                <a:spcPct val="100000"/>
              </a:lnSpc>
              <a:spcBef>
                <a:spcPts val="325"/>
              </a:spcBef>
              <a:buClr>
                <a:schemeClr val="bg2"/>
              </a:buClr>
              <a:buFont typeface="Tempus Sans ITC" panose="04020404030D07020202" pitchFamily="82" charset="0"/>
              <a:buChar char="/"/>
              <a:defRPr sz="2000" b="1" i="0">
                <a:solidFill>
                  <a:schemeClr val="accent1"/>
                </a:solidFill>
              </a:defRPr>
            </a:lvl1pPr>
            <a:lvl2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2pPr>
            <a:lvl3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3pPr>
            <a:lvl4pPr marL="0" indent="-204750" algn="just">
              <a:lnSpc>
                <a:spcPct val="100000"/>
              </a:lnSpc>
              <a:spcBef>
                <a:spcPts val="325"/>
              </a:spcBef>
              <a:buClr>
                <a:schemeClr val="accent1"/>
              </a:buClr>
              <a:buFont typeface="Tahoma" panose="020B0604030504040204" pitchFamily="34" charset="0"/>
              <a:buChar char="⁄"/>
              <a:defRPr sz="1625" b="1" i="0" cap="none" baseline="0">
                <a:solidFill>
                  <a:schemeClr val="bg2"/>
                </a:solidFill>
              </a:defRPr>
            </a:lvl4pPr>
            <a:lvl5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5pPr>
            <a:lvl6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6pPr>
            <a:lvl7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7pPr>
            <a:lvl8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8pPr>
            <a:lvl9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9pPr>
          </a:lstStyle>
          <a:p>
            <a:pPr lvl="0"/>
            <a:r>
              <a:rPr lang="fr-FR" noProof="0"/>
              <a:t>08</a:t>
            </a:r>
          </a:p>
        </p:txBody>
      </p:sp>
      <p:sp>
        <p:nvSpPr>
          <p:cNvPr id="64" name="Text Placeholder 4"/>
          <p:cNvSpPr>
            <a:spLocks noGrp="1"/>
          </p:cNvSpPr>
          <p:nvPr>
            <p:ph type="body" sz="quarter" idx="64" hasCustomPrompt="1"/>
          </p:nvPr>
        </p:nvSpPr>
        <p:spPr>
          <a:xfrm>
            <a:off x="423985" y="5158152"/>
            <a:ext cx="1329231" cy="414000"/>
          </a:xfrm>
          <a:prstGeom prst="rect">
            <a:avLst/>
          </a:prstGeom>
          <a:noFill/>
        </p:spPr>
        <p:txBody>
          <a:bodyPr tIns="0" bIns="0" anchor="ctr">
            <a:noAutofit/>
          </a:bodyPr>
          <a:lstStyle>
            <a:lvl1pPr marL="0" indent="-204750" algn="just">
              <a:lnSpc>
                <a:spcPct val="100000"/>
              </a:lnSpc>
              <a:spcBef>
                <a:spcPts val="325"/>
              </a:spcBef>
              <a:buClr>
                <a:schemeClr val="bg2"/>
              </a:buClr>
              <a:buFont typeface="Tempus Sans ITC" panose="04020404030D07020202" pitchFamily="82" charset="0"/>
              <a:buChar char="/"/>
              <a:defRPr sz="2000" b="1" i="0">
                <a:solidFill>
                  <a:schemeClr val="accent1"/>
                </a:solidFill>
              </a:defRPr>
            </a:lvl1pPr>
            <a:lvl2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2pPr>
            <a:lvl3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3pPr>
            <a:lvl4pPr marL="0" indent="-204750" algn="just">
              <a:lnSpc>
                <a:spcPct val="100000"/>
              </a:lnSpc>
              <a:spcBef>
                <a:spcPts val="325"/>
              </a:spcBef>
              <a:buClr>
                <a:schemeClr val="accent1"/>
              </a:buClr>
              <a:buFont typeface="Tahoma" panose="020B0604030504040204" pitchFamily="34" charset="0"/>
              <a:buChar char="⁄"/>
              <a:defRPr sz="1625" b="1" i="0" cap="none" baseline="0">
                <a:solidFill>
                  <a:schemeClr val="bg2"/>
                </a:solidFill>
              </a:defRPr>
            </a:lvl4pPr>
            <a:lvl5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5pPr>
            <a:lvl6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6pPr>
            <a:lvl7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7pPr>
            <a:lvl8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8pPr>
            <a:lvl9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9pPr>
          </a:lstStyle>
          <a:p>
            <a:pPr lvl="0"/>
            <a:r>
              <a:rPr lang="fr-FR" noProof="0"/>
              <a:t>09</a:t>
            </a:r>
          </a:p>
        </p:txBody>
      </p:sp>
      <p:sp>
        <p:nvSpPr>
          <p:cNvPr id="65" name="Text Placeholder 4"/>
          <p:cNvSpPr>
            <a:spLocks noGrp="1"/>
          </p:cNvSpPr>
          <p:nvPr>
            <p:ph type="body" sz="quarter" idx="65" hasCustomPrompt="1"/>
          </p:nvPr>
        </p:nvSpPr>
        <p:spPr>
          <a:xfrm>
            <a:off x="423985" y="5633695"/>
            <a:ext cx="1329231" cy="414000"/>
          </a:xfrm>
          <a:prstGeom prst="rect">
            <a:avLst/>
          </a:prstGeom>
          <a:noFill/>
        </p:spPr>
        <p:txBody>
          <a:bodyPr tIns="0" bIns="0" anchor="ctr">
            <a:noAutofit/>
          </a:bodyPr>
          <a:lstStyle>
            <a:lvl1pPr marL="0" indent="-204750" algn="just">
              <a:lnSpc>
                <a:spcPct val="100000"/>
              </a:lnSpc>
              <a:spcBef>
                <a:spcPts val="325"/>
              </a:spcBef>
              <a:buClr>
                <a:schemeClr val="bg2"/>
              </a:buClr>
              <a:buFont typeface="Tempus Sans ITC" panose="04020404030D07020202" pitchFamily="82" charset="0"/>
              <a:buChar char="/"/>
              <a:defRPr sz="2000" b="1" i="0">
                <a:solidFill>
                  <a:schemeClr val="accent1"/>
                </a:solidFill>
              </a:defRPr>
            </a:lvl1pPr>
            <a:lvl2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2pPr>
            <a:lvl3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3pPr>
            <a:lvl4pPr marL="0" indent="-204750" algn="just">
              <a:lnSpc>
                <a:spcPct val="100000"/>
              </a:lnSpc>
              <a:spcBef>
                <a:spcPts val="325"/>
              </a:spcBef>
              <a:buClr>
                <a:schemeClr val="accent1"/>
              </a:buClr>
              <a:buFont typeface="Tahoma" panose="020B0604030504040204" pitchFamily="34" charset="0"/>
              <a:buChar char="⁄"/>
              <a:defRPr sz="1625" b="1" i="0" cap="none" baseline="0">
                <a:solidFill>
                  <a:schemeClr val="bg2"/>
                </a:solidFill>
              </a:defRPr>
            </a:lvl4pPr>
            <a:lvl5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5pPr>
            <a:lvl6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6pPr>
            <a:lvl7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7pPr>
            <a:lvl8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8pPr>
            <a:lvl9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9pPr>
          </a:lstStyle>
          <a:p>
            <a:pPr lvl="0"/>
            <a:r>
              <a:rPr lang="fr-FR" noProof="0"/>
              <a:t>10</a:t>
            </a:r>
          </a:p>
        </p:txBody>
      </p:sp>
      <p:sp>
        <p:nvSpPr>
          <p:cNvPr id="37" name="Title 1">
            <a:extLst>
              <a:ext uri="{FF2B5EF4-FFF2-40B4-BE49-F238E27FC236}">
                <a16:creationId xmlns:a16="http://schemas.microsoft.com/office/drawing/2014/main" id="{ABF9AB1F-B1A5-4CA3-89F2-C1FE70B60031}"/>
              </a:ext>
            </a:extLst>
          </p:cNvPr>
          <p:cNvSpPr txBox="1">
            <a:spLocks/>
          </p:cNvSpPr>
          <p:nvPr userDrawn="1"/>
        </p:nvSpPr>
        <p:spPr>
          <a:xfrm>
            <a:off x="416540" y="404665"/>
            <a:ext cx="11342769" cy="863748"/>
          </a:xfrm>
          <a:prstGeom prst="rect">
            <a:avLst/>
          </a:prstGeom>
          <a:noFill/>
        </p:spPr>
        <p:txBody>
          <a:bodyPr vert="horz" lIns="108000" tIns="36000" rIns="108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2200" b="1" noProof="0"/>
              <a:t>AGENDA</a:t>
            </a:r>
          </a:p>
        </p:txBody>
      </p:sp>
    </p:spTree>
    <p:extLst>
      <p:ext uri="{BB962C8B-B14F-4D97-AF65-F5344CB8AC3E}">
        <p14:creationId xmlns:p14="http://schemas.microsoft.com/office/powerpoint/2010/main" val="16705720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Chapter White">
    <p:spTree>
      <p:nvGrpSpPr>
        <p:cNvPr id="1" name=""/>
        <p:cNvGrpSpPr/>
        <p:nvPr/>
      </p:nvGrpSpPr>
      <p:grpSpPr>
        <a:xfrm>
          <a:off x="0" y="0"/>
          <a:ext cx="0" cy="0"/>
          <a:chOff x="0" y="0"/>
          <a:chExt cx="0" cy="0"/>
        </a:xfrm>
      </p:grpSpPr>
      <p:pic>
        <p:nvPicPr>
          <p:cNvPr id="7" name="Image 11">
            <a:extLst>
              <a:ext uri="{FF2B5EF4-FFF2-40B4-BE49-F238E27FC236}">
                <a16:creationId xmlns:a16="http://schemas.microsoft.com/office/drawing/2014/main" id="{9958CAEC-A3F3-48C9-B375-FDD78D365AE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 y="0"/>
            <a:ext cx="4289072" cy="4725900"/>
          </a:xfrm>
          <a:prstGeom prst="rect">
            <a:avLst/>
          </a:prstGeom>
        </p:spPr>
      </p:pic>
      <p:sp>
        <p:nvSpPr>
          <p:cNvPr id="9" name="Espace réservé pour une image  35">
            <a:extLst>
              <a:ext uri="{FF2B5EF4-FFF2-40B4-BE49-F238E27FC236}">
                <a16:creationId xmlns:a16="http://schemas.microsoft.com/office/drawing/2014/main" id="{7619CF03-338D-4AB0-A9F3-F670B4C169B0}"/>
              </a:ext>
            </a:extLst>
          </p:cNvPr>
          <p:cNvSpPr>
            <a:spLocks noGrp="1"/>
          </p:cNvSpPr>
          <p:nvPr>
            <p:ph type="pic" sz="quarter" idx="10" hasCustomPrompt="1"/>
          </p:nvPr>
        </p:nvSpPr>
        <p:spPr>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463"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ck here</a:t>
            </a:r>
            <a:br>
              <a:rPr lang="fr-FR" noProof="0"/>
            </a:br>
            <a:r>
              <a:rPr lang="fr-FR" noProof="0"/>
              <a:t>to insert a picture	&gt;&gt;</a:t>
            </a:r>
          </a:p>
        </p:txBody>
      </p:sp>
      <p:sp>
        <p:nvSpPr>
          <p:cNvPr id="10" name="Text Placeholder 4"/>
          <p:cNvSpPr>
            <a:spLocks noGrp="1"/>
          </p:cNvSpPr>
          <p:nvPr>
            <p:ph type="body" sz="quarter" idx="38" hasCustomPrompt="1"/>
          </p:nvPr>
        </p:nvSpPr>
        <p:spPr bwMode="gray">
          <a:xfrm>
            <a:off x="2787386" y="3334423"/>
            <a:ext cx="1050092" cy="964800"/>
          </a:xfrm>
          <a:prstGeom prst="rect">
            <a:avLst/>
          </a:prstGeom>
          <a:noFill/>
        </p:spPr>
        <p:txBody>
          <a:bodyPr lIns="0" rIns="0" anchor="t">
            <a:noAutofit/>
          </a:bodyPr>
          <a:lstStyle>
            <a:lvl1pPr marL="0" indent="-204750" algn="just">
              <a:lnSpc>
                <a:spcPct val="100000"/>
              </a:lnSpc>
              <a:spcBef>
                <a:spcPts val="325"/>
              </a:spcBef>
              <a:buClr>
                <a:schemeClr val="bg2"/>
              </a:buClr>
              <a:buFont typeface="Tempus Sans ITC" panose="04020404030D07020202" pitchFamily="82" charset="0"/>
              <a:buChar char="/"/>
              <a:defRPr sz="2400" b="1" i="0">
                <a:solidFill>
                  <a:schemeClr val="bg2"/>
                </a:solidFill>
                <a:latin typeface="+mj-lt"/>
              </a:defRPr>
            </a:lvl1pPr>
            <a:lvl2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2pPr>
            <a:lvl3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3pPr>
            <a:lvl4pPr marL="0" indent="-204750" algn="just">
              <a:lnSpc>
                <a:spcPct val="100000"/>
              </a:lnSpc>
              <a:spcBef>
                <a:spcPts val="325"/>
              </a:spcBef>
              <a:buClr>
                <a:schemeClr val="accent1"/>
              </a:buClr>
              <a:buFont typeface="Tahoma" panose="020B0604030504040204" pitchFamily="34" charset="0"/>
              <a:buChar char="⁄"/>
              <a:defRPr sz="1625" b="1" i="0" cap="none" baseline="0">
                <a:solidFill>
                  <a:schemeClr val="bg2"/>
                </a:solidFill>
              </a:defRPr>
            </a:lvl4pPr>
            <a:lvl5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5pPr>
            <a:lvl6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6pPr>
            <a:lvl7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7pPr>
            <a:lvl8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8pPr>
            <a:lvl9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9pPr>
          </a:lstStyle>
          <a:p>
            <a:pPr lvl="0"/>
            <a:r>
              <a:rPr lang="fr-FR" noProof="0"/>
              <a:t>01</a:t>
            </a:r>
          </a:p>
        </p:txBody>
      </p:sp>
      <p:sp>
        <p:nvSpPr>
          <p:cNvPr id="12" name="Titel 1"/>
          <p:cNvSpPr>
            <a:spLocks noGrp="1"/>
          </p:cNvSpPr>
          <p:nvPr>
            <p:ph type="title" hasCustomPrompt="1"/>
          </p:nvPr>
        </p:nvSpPr>
        <p:spPr bwMode="gray">
          <a:xfrm>
            <a:off x="4014169" y="3334423"/>
            <a:ext cx="7753846" cy="964800"/>
          </a:xfrm>
        </p:spPr>
        <p:txBody>
          <a:bodyPr lIns="108000" tIns="108000" rIns="0" anchor="t">
            <a:noAutofit/>
          </a:bodyPr>
          <a:lstStyle>
            <a:lvl1pPr algn="r">
              <a:defRPr sz="2400" cap="none" baseline="0">
                <a:solidFill>
                  <a:schemeClr val="bg2"/>
                </a:solidFill>
                <a:latin typeface="+mj-lt"/>
              </a:defRPr>
            </a:lvl1pPr>
          </a:lstStyle>
          <a:p>
            <a:r>
              <a:rPr lang="fr-FR" noProof="0"/>
              <a:t>Chapter slide headline</a:t>
            </a:r>
          </a:p>
        </p:txBody>
      </p:sp>
    </p:spTree>
    <p:extLst>
      <p:ext uri="{BB962C8B-B14F-4D97-AF65-F5344CB8AC3E}">
        <p14:creationId xmlns:p14="http://schemas.microsoft.com/office/powerpoint/2010/main" val="4060245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hapter Blue Grey light">
    <p:bg>
      <p:bgPr>
        <a:solidFill>
          <a:schemeClr val="accent1">
            <a:lumMod val="40000"/>
            <a:lumOff val="60000"/>
          </a:schemeClr>
        </a:solidFill>
        <a:effectLst/>
      </p:bgPr>
    </p:bg>
    <p:spTree>
      <p:nvGrpSpPr>
        <p:cNvPr id="1" name=""/>
        <p:cNvGrpSpPr/>
        <p:nvPr/>
      </p:nvGrpSpPr>
      <p:grpSpPr>
        <a:xfrm>
          <a:off x="0" y="0"/>
          <a:ext cx="0" cy="0"/>
          <a:chOff x="0" y="0"/>
          <a:chExt cx="0" cy="0"/>
        </a:xfrm>
      </p:grpSpPr>
      <p:pic>
        <p:nvPicPr>
          <p:cNvPr id="11" name="Image 11">
            <a:extLst>
              <a:ext uri="{FF2B5EF4-FFF2-40B4-BE49-F238E27FC236}">
                <a16:creationId xmlns:a16="http://schemas.microsoft.com/office/drawing/2014/main" id="{876A8560-9D71-40E3-B01C-AEB2F337D63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9566"/>
            <a:ext cx="4289072" cy="4725900"/>
          </a:xfrm>
          <a:prstGeom prst="rect">
            <a:avLst/>
          </a:prstGeom>
        </p:spPr>
      </p:pic>
      <p:sp>
        <p:nvSpPr>
          <p:cNvPr id="5" name="Text Placeholder 4"/>
          <p:cNvSpPr>
            <a:spLocks noGrp="1"/>
          </p:cNvSpPr>
          <p:nvPr>
            <p:ph type="body" sz="quarter" idx="38" hasCustomPrompt="1"/>
          </p:nvPr>
        </p:nvSpPr>
        <p:spPr bwMode="gray">
          <a:xfrm>
            <a:off x="2787386" y="3334423"/>
            <a:ext cx="1050092" cy="964800"/>
          </a:xfrm>
          <a:prstGeom prst="rect">
            <a:avLst/>
          </a:prstGeom>
          <a:noFill/>
        </p:spPr>
        <p:txBody>
          <a:bodyPr lIns="0" rIns="0" anchor="t">
            <a:noAutofit/>
          </a:bodyPr>
          <a:lstStyle>
            <a:lvl1pPr marL="0" indent="-204750" algn="just">
              <a:lnSpc>
                <a:spcPct val="100000"/>
              </a:lnSpc>
              <a:spcBef>
                <a:spcPts val="325"/>
              </a:spcBef>
              <a:buClr>
                <a:schemeClr val="bg2"/>
              </a:buClr>
              <a:buFont typeface="Tempus Sans ITC" panose="04020404030D07020202" pitchFamily="82" charset="0"/>
              <a:buChar char="/"/>
              <a:defRPr sz="2400" b="1" i="0">
                <a:solidFill>
                  <a:schemeClr val="bg2"/>
                </a:solidFill>
                <a:latin typeface="+mj-lt"/>
              </a:defRPr>
            </a:lvl1pPr>
            <a:lvl2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2pPr>
            <a:lvl3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3pPr>
            <a:lvl4pPr marL="0" indent="-204750" algn="just">
              <a:lnSpc>
                <a:spcPct val="100000"/>
              </a:lnSpc>
              <a:spcBef>
                <a:spcPts val="325"/>
              </a:spcBef>
              <a:buClr>
                <a:schemeClr val="accent1"/>
              </a:buClr>
              <a:buFont typeface="Tahoma" panose="020B0604030504040204" pitchFamily="34" charset="0"/>
              <a:buChar char="⁄"/>
              <a:defRPr sz="1625" b="1" i="0" cap="none" baseline="0">
                <a:solidFill>
                  <a:schemeClr val="bg2"/>
                </a:solidFill>
              </a:defRPr>
            </a:lvl4pPr>
            <a:lvl5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5pPr>
            <a:lvl6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6pPr>
            <a:lvl7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7pPr>
            <a:lvl8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8pPr>
            <a:lvl9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9pPr>
          </a:lstStyle>
          <a:p>
            <a:pPr lvl="0"/>
            <a:r>
              <a:rPr lang="fr-FR" noProof="0"/>
              <a:t>01</a:t>
            </a:r>
          </a:p>
        </p:txBody>
      </p:sp>
      <p:sp>
        <p:nvSpPr>
          <p:cNvPr id="9" name="Titel 1"/>
          <p:cNvSpPr>
            <a:spLocks noGrp="1"/>
          </p:cNvSpPr>
          <p:nvPr>
            <p:ph type="title" hasCustomPrompt="1"/>
          </p:nvPr>
        </p:nvSpPr>
        <p:spPr bwMode="gray">
          <a:xfrm>
            <a:off x="4014169" y="3334423"/>
            <a:ext cx="7753846" cy="964800"/>
          </a:xfrm>
        </p:spPr>
        <p:txBody>
          <a:bodyPr lIns="108000" tIns="108000" rIns="0" anchor="t">
            <a:noAutofit/>
          </a:bodyPr>
          <a:lstStyle>
            <a:lvl1pPr algn="r">
              <a:defRPr sz="2400" cap="none" baseline="0">
                <a:solidFill>
                  <a:schemeClr val="bg2"/>
                </a:solidFill>
                <a:latin typeface="+mj-lt"/>
              </a:defRPr>
            </a:lvl1pPr>
          </a:lstStyle>
          <a:p>
            <a:r>
              <a:rPr lang="fr-FR" noProof="0"/>
              <a:t>Chapter slide headline</a:t>
            </a:r>
          </a:p>
        </p:txBody>
      </p:sp>
      <p:sp>
        <p:nvSpPr>
          <p:cNvPr id="10" name="Espace réservé pour une image  35">
            <a:extLst>
              <a:ext uri="{FF2B5EF4-FFF2-40B4-BE49-F238E27FC236}">
                <a16:creationId xmlns:a16="http://schemas.microsoft.com/office/drawing/2014/main" id="{420EEE7C-A570-4C11-B267-7E56E4E0F622}"/>
              </a:ext>
            </a:extLst>
          </p:cNvPr>
          <p:cNvSpPr>
            <a:spLocks noGrp="1"/>
          </p:cNvSpPr>
          <p:nvPr>
            <p:ph type="pic" sz="quarter" idx="10" hasCustomPrompt="1"/>
          </p:nvPr>
        </p:nvSpPr>
        <p:spPr bwMode="gray">
          <a:xfrm>
            <a:off x="0" y="0"/>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463"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ck here</a:t>
            </a:r>
            <a:br>
              <a:rPr lang="fr-FR" noProof="0"/>
            </a:br>
            <a:r>
              <a:rPr lang="fr-FR" noProof="0"/>
              <a:t>to insert a picture	&gt;&gt;</a:t>
            </a:r>
          </a:p>
        </p:txBody>
      </p:sp>
    </p:spTree>
    <p:extLst>
      <p:ext uri="{BB962C8B-B14F-4D97-AF65-F5344CB8AC3E}">
        <p14:creationId xmlns:p14="http://schemas.microsoft.com/office/powerpoint/2010/main" val="195085357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Chapter Blue grey">
    <p:bg>
      <p:bgPr>
        <a:solidFill>
          <a:schemeClr val="accent1"/>
        </a:solidFill>
        <a:effectLst/>
      </p:bgPr>
    </p:bg>
    <p:spTree>
      <p:nvGrpSpPr>
        <p:cNvPr id="1" name=""/>
        <p:cNvGrpSpPr/>
        <p:nvPr/>
      </p:nvGrpSpPr>
      <p:grpSpPr>
        <a:xfrm>
          <a:off x="0" y="0"/>
          <a:ext cx="0" cy="0"/>
          <a:chOff x="0" y="0"/>
          <a:chExt cx="0" cy="0"/>
        </a:xfrm>
      </p:grpSpPr>
      <p:sp>
        <p:nvSpPr>
          <p:cNvPr id="10" name="Espace réservé pour une image  35">
            <a:extLst>
              <a:ext uri="{FF2B5EF4-FFF2-40B4-BE49-F238E27FC236}">
                <a16:creationId xmlns:a16="http://schemas.microsoft.com/office/drawing/2014/main" id="{B0581D80-6DF0-46C1-B8B4-9AEB044D6A96}"/>
              </a:ext>
            </a:extLst>
          </p:cNvPr>
          <p:cNvSpPr>
            <a:spLocks noGrp="1"/>
          </p:cNvSpPr>
          <p:nvPr>
            <p:ph type="pic" sz="quarter" idx="10" hasCustomPrompt="1"/>
          </p:nvPr>
        </p:nvSpPr>
        <p:spPr bwMode="gray">
          <a:xfrm>
            <a:off x="0" y="9566"/>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463"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ck here</a:t>
            </a:r>
            <a:br>
              <a:rPr lang="fr-FR" noProof="0"/>
            </a:br>
            <a:r>
              <a:rPr lang="fr-FR" noProof="0"/>
              <a:t>to insert a picture	&gt;&gt;</a:t>
            </a:r>
          </a:p>
        </p:txBody>
      </p:sp>
      <p:sp>
        <p:nvSpPr>
          <p:cNvPr id="5" name="Text Placeholder 4"/>
          <p:cNvSpPr>
            <a:spLocks noGrp="1"/>
          </p:cNvSpPr>
          <p:nvPr>
            <p:ph type="body" sz="quarter" idx="38" hasCustomPrompt="1"/>
          </p:nvPr>
        </p:nvSpPr>
        <p:spPr bwMode="gray">
          <a:xfrm>
            <a:off x="2787386" y="3334423"/>
            <a:ext cx="1050092" cy="964800"/>
          </a:xfrm>
          <a:prstGeom prst="rect">
            <a:avLst/>
          </a:prstGeom>
          <a:noFill/>
        </p:spPr>
        <p:txBody>
          <a:bodyPr lIns="0" rIns="0" bIns="108000" anchor="t">
            <a:noAutofit/>
          </a:bodyPr>
          <a:lstStyle>
            <a:lvl1pPr marL="0" indent="-204750" algn="just">
              <a:lnSpc>
                <a:spcPct val="100000"/>
              </a:lnSpc>
              <a:spcBef>
                <a:spcPts val="325"/>
              </a:spcBef>
              <a:buClr>
                <a:schemeClr val="bg1"/>
              </a:buClr>
              <a:buFont typeface="Tempus Sans ITC" panose="04020404030D07020202" pitchFamily="82" charset="0"/>
              <a:buChar char="/"/>
              <a:defRPr sz="2400" b="1" i="0">
                <a:solidFill>
                  <a:schemeClr val="bg1"/>
                </a:solidFill>
                <a:latin typeface="+mj-lt"/>
              </a:defRPr>
            </a:lvl1pPr>
            <a:lvl2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2pPr>
            <a:lvl3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3pPr>
            <a:lvl4pPr marL="0" indent="-204750" algn="just">
              <a:lnSpc>
                <a:spcPct val="100000"/>
              </a:lnSpc>
              <a:spcBef>
                <a:spcPts val="325"/>
              </a:spcBef>
              <a:buClr>
                <a:schemeClr val="accent1"/>
              </a:buClr>
              <a:buFont typeface="Tahoma" panose="020B0604030504040204" pitchFamily="34" charset="0"/>
              <a:buChar char="⁄"/>
              <a:defRPr sz="1625" b="1" i="0" cap="none" baseline="0">
                <a:solidFill>
                  <a:schemeClr val="bg2"/>
                </a:solidFill>
              </a:defRPr>
            </a:lvl4pPr>
            <a:lvl5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5pPr>
            <a:lvl6pPr marL="0" indent="-204750" algn="just">
              <a:lnSpc>
                <a:spcPct val="100000"/>
              </a:lnSpc>
              <a:spcBef>
                <a:spcPts val="325"/>
              </a:spcBef>
              <a:buClr>
                <a:schemeClr val="accent1"/>
              </a:buClr>
              <a:buFont typeface="Tahoma" panose="020B0604030504040204" pitchFamily="34" charset="0"/>
              <a:buChar char="⁄"/>
              <a:defRPr sz="1625" b="1" i="0">
                <a:solidFill>
                  <a:schemeClr val="bg2"/>
                </a:solidFill>
              </a:defRPr>
            </a:lvl6pPr>
            <a:lvl7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7pPr>
            <a:lvl8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8pPr>
            <a:lvl9pPr marL="0" indent="-204750" algn="just">
              <a:lnSpc>
                <a:spcPct val="100000"/>
              </a:lnSpc>
              <a:spcBef>
                <a:spcPts val="325"/>
              </a:spcBef>
              <a:buClr>
                <a:schemeClr val="accent1"/>
              </a:buClr>
              <a:buFont typeface="Tahoma" panose="020B0604030504040204" pitchFamily="34" charset="0"/>
              <a:buChar char="⁄"/>
              <a:defRPr sz="1625" b="1" i="0" baseline="0">
                <a:solidFill>
                  <a:schemeClr val="bg2"/>
                </a:solidFill>
              </a:defRPr>
            </a:lvl9pPr>
          </a:lstStyle>
          <a:p>
            <a:pPr lvl="0"/>
            <a:r>
              <a:rPr lang="fr-FR" noProof="0"/>
              <a:t>01</a:t>
            </a:r>
          </a:p>
        </p:txBody>
      </p:sp>
      <p:sp>
        <p:nvSpPr>
          <p:cNvPr id="9" name="Titel 1"/>
          <p:cNvSpPr>
            <a:spLocks noGrp="1"/>
          </p:cNvSpPr>
          <p:nvPr>
            <p:ph type="title" hasCustomPrompt="1"/>
          </p:nvPr>
        </p:nvSpPr>
        <p:spPr bwMode="gray">
          <a:xfrm>
            <a:off x="4014169" y="3334423"/>
            <a:ext cx="7753846" cy="964800"/>
          </a:xfrm>
        </p:spPr>
        <p:txBody>
          <a:bodyPr lIns="108000" tIns="108000" rIns="0" anchor="t">
            <a:noAutofit/>
          </a:bodyPr>
          <a:lstStyle>
            <a:lvl1pPr algn="r">
              <a:defRPr sz="2400" cap="none" baseline="0">
                <a:solidFill>
                  <a:schemeClr val="bg1"/>
                </a:solidFill>
                <a:latin typeface="+mj-lt"/>
              </a:defRPr>
            </a:lvl1pPr>
          </a:lstStyle>
          <a:p>
            <a:r>
              <a:rPr lang="fr-FR" noProof="0"/>
              <a:t>Chapter slide headline</a:t>
            </a:r>
          </a:p>
        </p:txBody>
      </p:sp>
      <p:pic>
        <p:nvPicPr>
          <p:cNvPr id="8" name="Image 11">
            <a:extLst>
              <a:ext uri="{FF2B5EF4-FFF2-40B4-BE49-F238E27FC236}">
                <a16:creationId xmlns:a16="http://schemas.microsoft.com/office/drawing/2014/main" id="{43547D91-58CE-4E4A-A770-D00C92D4DC3B}"/>
              </a:ext>
            </a:extLst>
          </p:cNvPr>
          <p:cNvPicPr>
            <a:picLocks noChangeAspect="1"/>
          </p:cNvPicPr>
          <p:nvPr userDrawn="1"/>
        </p:nvPicPr>
        <p:blipFill rotWithShape="1">
          <a:blip r:embed="rId2" cstate="print">
            <a:lum bright="70000" contrast="-70000"/>
            <a:extLst>
              <a:ext uri="{28A0092B-C50C-407E-A947-70E740481C1C}">
                <a14:useLocalDpi xmlns:a14="http://schemas.microsoft.com/office/drawing/2010/main"/>
              </a:ext>
            </a:extLst>
          </a:blip>
          <a:srcRect/>
          <a:stretch/>
        </p:blipFill>
        <p:spPr>
          <a:xfrm>
            <a:off x="1" y="9566"/>
            <a:ext cx="4289072" cy="4725900"/>
          </a:xfrm>
          <a:prstGeom prst="rect">
            <a:avLst/>
          </a:prstGeom>
        </p:spPr>
      </p:pic>
    </p:spTree>
    <p:extLst>
      <p:ext uri="{BB962C8B-B14F-4D97-AF65-F5344CB8AC3E}">
        <p14:creationId xmlns:p14="http://schemas.microsoft.com/office/powerpoint/2010/main" val="3774675060"/>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6080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Contacts">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9" name="Image 11">
            <a:extLst>
              <a:ext uri="{FF2B5EF4-FFF2-40B4-BE49-F238E27FC236}">
                <a16:creationId xmlns:a16="http://schemas.microsoft.com/office/drawing/2014/main" id="{2C560B03-64B1-49BD-AB9A-F49BC9A0613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4289072" cy="4725900"/>
          </a:xfrm>
          <a:prstGeom prst="rect">
            <a:avLst/>
          </a:prstGeom>
        </p:spPr>
      </p:pic>
      <p:pic>
        <p:nvPicPr>
          <p:cNvPr id="3" name="Image 2">
            <a:extLst>
              <a:ext uri="{FF2B5EF4-FFF2-40B4-BE49-F238E27FC236}">
                <a16:creationId xmlns:a16="http://schemas.microsoft.com/office/drawing/2014/main" id="{22B96C81-DBE8-42B4-8B98-27519B9B5F4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47077" y="548681"/>
            <a:ext cx="4075439" cy="1087651"/>
          </a:xfrm>
          <a:prstGeom prst="rect">
            <a:avLst/>
          </a:prstGeom>
        </p:spPr>
      </p:pic>
    </p:spTree>
    <p:extLst>
      <p:ext uri="{BB962C8B-B14F-4D97-AF65-F5344CB8AC3E}">
        <p14:creationId xmlns:p14="http://schemas.microsoft.com/office/powerpoint/2010/main" val="39204389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End page">
    <p:bg>
      <p:bgPr>
        <a:solidFill>
          <a:schemeClr val="bg2"/>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75B3632E-DD50-4ECF-A35B-3308B06BC0A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61202" t="-96964" r="-161202" b="-96964"/>
          <a:stretch/>
        </p:blipFill>
        <p:spPr>
          <a:xfrm>
            <a:off x="0" y="0"/>
            <a:ext cx="12192000" cy="6858000"/>
          </a:xfrm>
          <a:prstGeom prst="rect">
            <a:avLst/>
          </a:prstGeom>
        </p:spPr>
      </p:pic>
    </p:spTree>
    <p:extLst>
      <p:ext uri="{BB962C8B-B14F-4D97-AF65-F5344CB8AC3E}">
        <p14:creationId xmlns:p14="http://schemas.microsoft.com/office/powerpoint/2010/main" val="17298682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Guidelin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5355" y="404665"/>
            <a:ext cx="5310606" cy="326140"/>
          </a:xfrm>
        </p:spPr>
        <p:txBody>
          <a:bodyPr lIns="108000" tIns="36000" rIns="108000" bIns="0"/>
          <a:lstStyle>
            <a:lvl1pPr>
              <a:defRPr sz="1788" baseline="0">
                <a:solidFill>
                  <a:schemeClr val="bg2"/>
                </a:solidFill>
              </a:defRPr>
            </a:lvl1pPr>
          </a:lstStyle>
          <a:p>
            <a:r>
              <a:rPr lang="fr-FR" noProof="0"/>
              <a:t>Colour &amp; Font structure</a:t>
            </a:r>
          </a:p>
        </p:txBody>
      </p:sp>
      <p:sp>
        <p:nvSpPr>
          <p:cNvPr id="6" name="Rectangle 5"/>
          <p:cNvSpPr/>
          <p:nvPr/>
        </p:nvSpPr>
        <p:spPr>
          <a:xfrm>
            <a:off x="5918750" y="404666"/>
            <a:ext cx="5840560" cy="108011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r"/>
            <a:r>
              <a:rPr lang="fr-FR" sz="1138" b="1" noProof="0">
                <a:solidFill>
                  <a:schemeClr val="bg2"/>
                </a:solidFill>
              </a:rPr>
              <a:t>Remaining bug</a:t>
            </a:r>
            <a:endParaRPr lang="fr-FR" sz="1138" noProof="0">
              <a:solidFill>
                <a:schemeClr val="bg2"/>
              </a:solidFill>
            </a:endParaRPr>
          </a:p>
          <a:p>
            <a:pPr algn="r"/>
            <a:r>
              <a:rPr lang="fr-FR" sz="1138" noProof="0">
                <a:solidFill>
                  <a:schemeClr val="bg2"/>
                </a:solidFill>
              </a:rPr>
              <a:t>Print issue is reported with Font </a:t>
            </a:r>
            <a:r>
              <a:rPr lang="fr-FR" sz="1138" baseline="0" noProof="0">
                <a:solidFill>
                  <a:schemeClr val="bg2"/>
                </a:solidFill>
              </a:rPr>
              <a:t> Tahoma in italic when the document is save as a PDF with MS PPT. </a:t>
            </a:r>
          </a:p>
          <a:p>
            <a:pPr algn="r"/>
            <a:r>
              <a:rPr lang="fr-FR" sz="1138" b="1" baseline="0" noProof="0">
                <a:solidFill>
                  <a:schemeClr val="bg2"/>
                </a:solidFill>
              </a:rPr>
              <a:t>Work around solution: generate with Pdf Creator.</a:t>
            </a:r>
            <a:endParaRPr lang="fr-FR" sz="1138" b="1" noProof="0">
              <a:solidFill>
                <a:schemeClr val="bg2"/>
              </a:solidFill>
            </a:endParaRPr>
          </a:p>
        </p:txBody>
      </p:sp>
      <p:sp>
        <p:nvSpPr>
          <p:cNvPr id="10" name="Text Placeholder 8"/>
          <p:cNvSpPr>
            <a:spLocks noGrp="1"/>
          </p:cNvSpPr>
          <p:nvPr>
            <p:ph type="body" sz="quarter" idx="13" hasCustomPrompt="1"/>
          </p:nvPr>
        </p:nvSpPr>
        <p:spPr>
          <a:xfrm>
            <a:off x="425354" y="144314"/>
            <a:ext cx="11342769" cy="260350"/>
          </a:xfrm>
          <a:prstGeom prst="rect">
            <a:avLst/>
          </a:prstGeom>
          <a:ln>
            <a:noFill/>
          </a:ln>
        </p:spPr>
        <p:txBody>
          <a:bodyPr lIns="108000" tIns="0" rIns="108000" bIns="0" anchor="b"/>
          <a:lstStyle>
            <a:lvl1pPr>
              <a:spcBef>
                <a:spcPts val="0"/>
              </a:spcBef>
              <a:defRPr sz="1000" i="0" cap="all" baseline="0">
                <a:solidFill>
                  <a:schemeClr val="accent4"/>
                </a:solidFill>
                <a:latin typeface="+mj-lt"/>
              </a:defRPr>
            </a:lvl1pPr>
            <a:lvl2pPr>
              <a:defRPr sz="813"/>
            </a:lvl2pPr>
          </a:lstStyle>
          <a:p>
            <a:pPr lvl="0"/>
            <a:r>
              <a:rPr lang="fr-FR" noProof="0"/>
              <a:t>How to use the Wavestone ppt template</a:t>
            </a:r>
          </a:p>
        </p:txBody>
      </p:sp>
      <p:sp>
        <p:nvSpPr>
          <p:cNvPr id="11" name="Rectangle 10"/>
          <p:cNvSpPr/>
          <p:nvPr/>
        </p:nvSpPr>
        <p:spPr>
          <a:xfrm>
            <a:off x="416542" y="730808"/>
            <a:ext cx="5502208"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fr-FR" sz="1300" b="1" noProof="0">
                <a:solidFill>
                  <a:schemeClr val="bg2"/>
                </a:solidFill>
              </a:rPr>
              <a:t>Shortcut to switch</a:t>
            </a:r>
            <a:r>
              <a:rPr lang="fr-FR" sz="1300" b="1" baseline="0" noProof="0">
                <a:solidFill>
                  <a:schemeClr val="bg2"/>
                </a:solidFill>
              </a:rPr>
              <a:t> text level :</a:t>
            </a:r>
            <a:endParaRPr lang="fr-FR" sz="1300" b="1" noProof="0">
              <a:solidFill>
                <a:schemeClr val="bg2"/>
              </a:solidFill>
            </a:endParaRPr>
          </a:p>
          <a:p>
            <a:pPr algn="r"/>
            <a:r>
              <a:rPr lang="fr-FR" sz="1300" b="0" noProof="0">
                <a:solidFill>
                  <a:schemeClr val="bg2"/>
                </a:solidFill>
              </a:rPr>
              <a:t>Shift</a:t>
            </a:r>
            <a:r>
              <a:rPr lang="fr-FR" sz="1300" b="0" baseline="0" noProof="0">
                <a:solidFill>
                  <a:schemeClr val="bg2"/>
                </a:solidFill>
              </a:rPr>
              <a:t> + Alt + Right/Left arrow</a:t>
            </a:r>
            <a:endParaRPr lang="fr-FR" sz="1300" b="0" noProof="0">
              <a:solidFill>
                <a:schemeClr val="bg2"/>
              </a:solidFill>
            </a:endParaRPr>
          </a:p>
        </p:txBody>
      </p:sp>
      <p:graphicFrame>
        <p:nvGraphicFramePr>
          <p:cNvPr id="13" name="Table 4">
            <a:extLst>
              <a:ext uri="{FF2B5EF4-FFF2-40B4-BE49-F238E27FC236}">
                <a16:creationId xmlns:a16="http://schemas.microsoft.com/office/drawing/2014/main" id="{194F6D0A-3D2F-47A0-A857-DCDD4D882B83}"/>
              </a:ext>
            </a:extLst>
          </p:cNvPr>
          <p:cNvGraphicFramePr>
            <a:graphicFrameLocks noGrp="1"/>
          </p:cNvGraphicFramePr>
          <p:nvPr userDrawn="1">
            <p:extLst>
              <p:ext uri="{D42A27DB-BD31-4B8C-83A1-F6EECF244321}">
                <p14:modId xmlns:p14="http://schemas.microsoft.com/office/powerpoint/2010/main" val="2165720839"/>
              </p:ext>
            </p:extLst>
          </p:nvPr>
        </p:nvGraphicFramePr>
        <p:xfrm>
          <a:off x="486065" y="3212976"/>
          <a:ext cx="11561351" cy="3596640"/>
        </p:xfrm>
        <a:graphic>
          <a:graphicData uri="http://schemas.openxmlformats.org/drawingml/2006/table">
            <a:tbl>
              <a:tblPr firstRow="1" bandRow="1">
                <a:tableStyleId>{0E3FDE45-AF77-4B5C-9715-49D594BDF05E}</a:tableStyleId>
              </a:tblPr>
              <a:tblGrid>
                <a:gridCol w="1489456">
                  <a:extLst>
                    <a:ext uri="{9D8B030D-6E8A-4147-A177-3AD203B41FA5}">
                      <a16:colId xmlns:a16="http://schemas.microsoft.com/office/drawing/2014/main" val="20000"/>
                    </a:ext>
                  </a:extLst>
                </a:gridCol>
                <a:gridCol w="1394753">
                  <a:extLst>
                    <a:ext uri="{9D8B030D-6E8A-4147-A177-3AD203B41FA5}">
                      <a16:colId xmlns:a16="http://schemas.microsoft.com/office/drawing/2014/main" val="20001"/>
                    </a:ext>
                  </a:extLst>
                </a:gridCol>
                <a:gridCol w="1439484">
                  <a:extLst>
                    <a:ext uri="{9D8B030D-6E8A-4147-A177-3AD203B41FA5}">
                      <a16:colId xmlns:a16="http://schemas.microsoft.com/office/drawing/2014/main" val="20002"/>
                    </a:ext>
                  </a:extLst>
                </a:gridCol>
                <a:gridCol w="665865">
                  <a:extLst>
                    <a:ext uri="{9D8B030D-6E8A-4147-A177-3AD203B41FA5}">
                      <a16:colId xmlns:a16="http://schemas.microsoft.com/office/drawing/2014/main" val="20003"/>
                    </a:ext>
                  </a:extLst>
                </a:gridCol>
                <a:gridCol w="1100777">
                  <a:extLst>
                    <a:ext uri="{9D8B030D-6E8A-4147-A177-3AD203B41FA5}">
                      <a16:colId xmlns:a16="http://schemas.microsoft.com/office/drawing/2014/main" val="20004"/>
                    </a:ext>
                  </a:extLst>
                </a:gridCol>
                <a:gridCol w="1151588">
                  <a:extLst>
                    <a:ext uri="{9D8B030D-6E8A-4147-A177-3AD203B41FA5}">
                      <a16:colId xmlns:a16="http://schemas.microsoft.com/office/drawing/2014/main" val="20005"/>
                    </a:ext>
                  </a:extLst>
                </a:gridCol>
                <a:gridCol w="2533398">
                  <a:extLst>
                    <a:ext uri="{9D8B030D-6E8A-4147-A177-3AD203B41FA5}">
                      <a16:colId xmlns:a16="http://schemas.microsoft.com/office/drawing/2014/main" val="20006"/>
                    </a:ext>
                  </a:extLst>
                </a:gridCol>
                <a:gridCol w="1786031">
                  <a:extLst>
                    <a:ext uri="{9D8B030D-6E8A-4147-A177-3AD203B41FA5}">
                      <a16:colId xmlns:a16="http://schemas.microsoft.com/office/drawing/2014/main" val="20007"/>
                    </a:ext>
                  </a:extLst>
                </a:gridCol>
              </a:tblGrid>
              <a:tr h="364884">
                <a:tc>
                  <a:txBody>
                    <a:bodyPr/>
                    <a:lstStyle/>
                    <a:p>
                      <a:r>
                        <a:rPr lang="fr-FR" sz="900" b="1" noProof="0"/>
                        <a:t>Level</a:t>
                      </a:r>
                    </a:p>
                  </a:txBody>
                  <a:tcPr marL="112542" marR="112542">
                    <a:solidFill>
                      <a:schemeClr val="bg1">
                        <a:lumMod val="95000"/>
                      </a:schemeClr>
                    </a:solidFill>
                  </a:tcPr>
                </a:tc>
                <a:tc>
                  <a:txBody>
                    <a:bodyPr/>
                    <a:lstStyle/>
                    <a:p>
                      <a:pPr algn="ctr"/>
                      <a:r>
                        <a:rPr lang="fr-FR" sz="900" b="1" kern="1200" noProof="0">
                          <a:solidFill>
                            <a:schemeClr val="tx1"/>
                          </a:solidFill>
                          <a:latin typeface="+mn-lt"/>
                          <a:ea typeface="+mn-ea"/>
                          <a:cs typeface="+mn-cs"/>
                        </a:rPr>
                        <a:t>Font</a:t>
                      </a:r>
                    </a:p>
                  </a:txBody>
                  <a:tcPr marL="112542" marR="112542">
                    <a:solidFill>
                      <a:schemeClr val="bg1">
                        <a:lumMod val="95000"/>
                      </a:schemeClr>
                    </a:solidFill>
                  </a:tcPr>
                </a:tc>
                <a:tc>
                  <a:txBody>
                    <a:bodyPr/>
                    <a:lstStyle/>
                    <a:p>
                      <a:pPr algn="ctr"/>
                      <a:r>
                        <a:rPr lang="fr-FR" sz="900" b="1" kern="1200" noProof="0">
                          <a:solidFill>
                            <a:schemeClr val="tx1"/>
                          </a:solidFill>
                          <a:latin typeface="+mn-lt"/>
                          <a:ea typeface="+mn-ea"/>
                          <a:cs typeface="+mn-cs"/>
                        </a:rPr>
                        <a:t>Color</a:t>
                      </a:r>
                    </a:p>
                  </a:txBody>
                  <a:tcPr marL="112542" marR="112542">
                    <a:solidFill>
                      <a:schemeClr val="bg1">
                        <a:lumMod val="95000"/>
                      </a:schemeClr>
                    </a:solidFill>
                  </a:tcPr>
                </a:tc>
                <a:tc>
                  <a:txBody>
                    <a:bodyPr/>
                    <a:lstStyle/>
                    <a:p>
                      <a:pPr algn="ctr"/>
                      <a:r>
                        <a:rPr lang="fr-FR" sz="900" b="1" kern="1200" noProof="0">
                          <a:solidFill>
                            <a:schemeClr val="tx1"/>
                          </a:solidFill>
                          <a:latin typeface="+mn-lt"/>
                          <a:ea typeface="+mn-ea"/>
                          <a:cs typeface="+mn-cs"/>
                        </a:rPr>
                        <a:t>Font size</a:t>
                      </a:r>
                    </a:p>
                  </a:txBody>
                  <a:tcPr marL="112542" marR="112542">
                    <a:solidFill>
                      <a:schemeClr val="bg1">
                        <a:lumMod val="95000"/>
                      </a:schemeClr>
                    </a:solidFill>
                  </a:tcPr>
                </a:tc>
                <a:tc>
                  <a:txBody>
                    <a:bodyPr/>
                    <a:lstStyle/>
                    <a:p>
                      <a:pPr algn="ctr"/>
                      <a:r>
                        <a:rPr lang="fr-FR" sz="900" b="1" kern="1200" noProof="0">
                          <a:solidFill>
                            <a:schemeClr val="tx1"/>
                          </a:solidFill>
                          <a:latin typeface="+mn-lt"/>
                          <a:ea typeface="+mn-ea"/>
                          <a:cs typeface="+mn-cs"/>
                        </a:rPr>
                        <a:t>Effect</a:t>
                      </a:r>
                    </a:p>
                  </a:txBody>
                  <a:tcPr marL="112542" marR="112542">
                    <a:solidFill>
                      <a:schemeClr val="bg1">
                        <a:lumMod val="95000"/>
                      </a:schemeClr>
                    </a:solidFill>
                  </a:tcPr>
                </a:tc>
                <a:tc>
                  <a:txBody>
                    <a:bodyPr/>
                    <a:lstStyle/>
                    <a:p>
                      <a:pPr algn="ctr"/>
                      <a:r>
                        <a:rPr lang="fr-FR" sz="900" b="1" kern="1200" noProof="0">
                          <a:solidFill>
                            <a:schemeClr val="tx1"/>
                          </a:solidFill>
                          <a:latin typeface="+mn-lt"/>
                          <a:ea typeface="+mn-ea"/>
                          <a:cs typeface="+mn-cs"/>
                        </a:rPr>
                        <a:t>Bullet </a:t>
                      </a:r>
                    </a:p>
                  </a:txBody>
                  <a:tcPr marL="112542" marR="112542">
                    <a:solidFill>
                      <a:schemeClr val="bg1">
                        <a:lumMod val="95000"/>
                      </a:schemeClr>
                    </a:solidFill>
                  </a:tcPr>
                </a:tc>
                <a:tc>
                  <a:txBody>
                    <a:bodyPr/>
                    <a:lstStyle/>
                    <a:p>
                      <a:r>
                        <a:rPr lang="fr-FR" sz="900" b="1" kern="1200" noProof="0">
                          <a:solidFill>
                            <a:schemeClr val="tx1"/>
                          </a:solidFill>
                          <a:latin typeface="+mn-lt"/>
                          <a:ea typeface="+mn-ea"/>
                          <a:cs typeface="+mn-cs"/>
                        </a:rPr>
                        <a:t>Paragraph </a:t>
                      </a:r>
                      <a:r>
                        <a:rPr lang="fr-FR" sz="900" b="1" kern="1200" baseline="0" noProof="0">
                          <a:solidFill>
                            <a:schemeClr val="tx1"/>
                          </a:solidFill>
                          <a:latin typeface="+mn-lt"/>
                          <a:ea typeface="+mn-ea"/>
                          <a:cs typeface="+mn-cs"/>
                        </a:rPr>
                        <a:t>indentation</a:t>
                      </a:r>
                      <a:endParaRPr lang="fr-FR" sz="900" b="1" kern="1200" noProof="0">
                        <a:solidFill>
                          <a:schemeClr val="tx1"/>
                        </a:solidFill>
                        <a:latin typeface="+mn-lt"/>
                        <a:ea typeface="+mn-ea"/>
                        <a:cs typeface="+mn-cs"/>
                      </a:endParaRPr>
                    </a:p>
                  </a:txBody>
                  <a:tcPr marL="112542" marR="112542">
                    <a:solidFill>
                      <a:schemeClr val="bg1">
                        <a:lumMod val="95000"/>
                      </a:schemeClr>
                    </a:solidFill>
                  </a:tcPr>
                </a:tc>
                <a:tc>
                  <a:txBody>
                    <a:bodyPr/>
                    <a:lstStyle/>
                    <a:p>
                      <a:r>
                        <a:rPr lang="fr-FR" sz="900" b="1" kern="1200" noProof="0">
                          <a:solidFill>
                            <a:schemeClr val="tx1"/>
                          </a:solidFill>
                          <a:latin typeface="+mn-lt"/>
                          <a:ea typeface="+mn-ea"/>
                          <a:cs typeface="+mn-cs"/>
                        </a:rPr>
                        <a:t>Paragraph spacing</a:t>
                      </a:r>
                    </a:p>
                  </a:txBody>
                  <a:tcPr marL="112542" marR="112542">
                    <a:solidFill>
                      <a:schemeClr val="bg1">
                        <a:lumMod val="95000"/>
                      </a:schemeClr>
                    </a:solidFill>
                  </a:tcPr>
                </a:tc>
                <a:extLst>
                  <a:ext uri="{0D108BD9-81ED-4DB2-BD59-A6C34878D82A}">
                    <a16:rowId xmlns:a16="http://schemas.microsoft.com/office/drawing/2014/main" val="10000"/>
                  </a:ext>
                </a:extLst>
              </a:tr>
              <a:tr h="327643">
                <a:tc>
                  <a:txBody>
                    <a:bodyPr/>
                    <a:lstStyle/>
                    <a:p>
                      <a:r>
                        <a:rPr lang="fr-FR" sz="1000" i="0" kern="1200" cap="all" baseline="0" noProof="0">
                          <a:solidFill>
                            <a:schemeClr val="accent4"/>
                          </a:solidFill>
                          <a:latin typeface="+mj-lt"/>
                          <a:ea typeface="+mn-ea"/>
                          <a:cs typeface="+mn-cs"/>
                        </a:rPr>
                        <a:t>TOP TITLE</a:t>
                      </a:r>
                    </a:p>
                  </a:txBody>
                  <a:tcPr marL="112542" marR="112542" anchor="ctr">
                    <a:solidFill>
                      <a:schemeClr val="bg1"/>
                    </a:solidFill>
                  </a:tcPr>
                </a:tc>
                <a:tc>
                  <a:txBody>
                    <a:bodyPr/>
                    <a:lstStyle/>
                    <a:p>
                      <a:pPr algn="ctr"/>
                      <a:r>
                        <a:rPr lang="fr-FR" sz="1000" i="0" kern="1200" cap="none" baseline="0" noProof="0">
                          <a:solidFill>
                            <a:schemeClr val="tx1"/>
                          </a:solidFill>
                          <a:latin typeface="+mn-lt"/>
                          <a:ea typeface="+mn-ea"/>
                          <a:cs typeface="+mn-cs"/>
                        </a:rPr>
                        <a:t>Tahoma Headings</a:t>
                      </a:r>
                    </a:p>
                  </a:txBody>
                  <a:tcPr marL="112542" marR="112542" anchor="ctr">
                    <a:solidFill>
                      <a:schemeClr val="bg1"/>
                    </a:solidFill>
                  </a:tcPr>
                </a:tc>
                <a:tc>
                  <a:txBody>
                    <a:bodyPr/>
                    <a:lstStyle/>
                    <a:p>
                      <a:pPr algn="ctr"/>
                      <a:r>
                        <a:rPr lang="fr-FR" sz="1000" i="0" kern="1200" cap="all" baseline="0" noProof="0">
                          <a:solidFill>
                            <a:schemeClr val="tx1"/>
                          </a:solidFill>
                          <a:latin typeface="+mn-lt"/>
                          <a:ea typeface="+mn-ea"/>
                          <a:cs typeface="+mn-cs"/>
                        </a:rPr>
                        <a:t>147 / 132 / 129</a:t>
                      </a:r>
                    </a:p>
                  </a:txBody>
                  <a:tcPr marL="112542" marR="112542" anchor="ctr">
                    <a:solidFill>
                      <a:schemeClr val="bg1"/>
                    </a:solidFill>
                  </a:tcPr>
                </a:tc>
                <a:tc>
                  <a:txBody>
                    <a:bodyPr/>
                    <a:lstStyle/>
                    <a:p>
                      <a:pPr algn="ctr"/>
                      <a:r>
                        <a:rPr lang="fr-FR" sz="1000" i="0" kern="1200" cap="all" baseline="0" noProof="0">
                          <a:solidFill>
                            <a:schemeClr val="tx1"/>
                          </a:solidFill>
                          <a:latin typeface="+mn-lt"/>
                          <a:ea typeface="+mn-ea"/>
                          <a:cs typeface="+mn-cs"/>
                        </a:rPr>
                        <a:t>10</a:t>
                      </a:r>
                    </a:p>
                  </a:txBody>
                  <a:tcPr marL="112542" marR="112542" anchor="ctr">
                    <a:solidFill>
                      <a:schemeClr val="bg1"/>
                    </a:solidFill>
                  </a:tcPr>
                </a:tc>
                <a:tc>
                  <a:txBody>
                    <a:bodyPr/>
                    <a:lstStyle/>
                    <a:p>
                      <a:pPr algn="ctr"/>
                      <a:r>
                        <a:rPr lang="fr-FR" sz="1000" i="0" kern="1200" cap="all" baseline="0" noProof="0">
                          <a:solidFill>
                            <a:schemeClr val="tx1"/>
                          </a:solidFill>
                          <a:latin typeface="+mn-lt"/>
                          <a:ea typeface="+mn-ea"/>
                          <a:cs typeface="+mn-cs"/>
                        </a:rPr>
                        <a:t>ALL CAPS</a:t>
                      </a:r>
                    </a:p>
                  </a:txBody>
                  <a:tcPr marL="112542" marR="112542" anchor="ctr">
                    <a:solidFill>
                      <a:schemeClr val="bg1"/>
                    </a:solidFill>
                  </a:tcPr>
                </a:tc>
                <a:tc>
                  <a:txBody>
                    <a:bodyPr/>
                    <a:lstStyle/>
                    <a:p>
                      <a:pPr algn="ctr"/>
                      <a:endParaRPr lang="fr-FR" sz="1000" kern="1200" noProof="0">
                        <a:solidFill>
                          <a:schemeClr val="tx1"/>
                        </a:solidFill>
                        <a:latin typeface="+mn-lt"/>
                        <a:ea typeface="+mn-ea"/>
                        <a:cs typeface="+mn-cs"/>
                      </a:endParaRPr>
                    </a:p>
                  </a:txBody>
                  <a:tcPr marL="112542" marR="112542" anchor="ctr">
                    <a:solidFill>
                      <a:schemeClr val="bg1"/>
                    </a:solidFill>
                  </a:tcPr>
                </a:tc>
                <a:tc>
                  <a:txBody>
                    <a:bodyPr/>
                    <a:lstStyle/>
                    <a:p>
                      <a:r>
                        <a:rPr lang="fr-FR" sz="1000" kern="1200" noProof="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noProof="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noProof="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1"/>
                  </a:ext>
                </a:extLst>
              </a:tr>
              <a:tr h="192471">
                <a:tc>
                  <a:txBody>
                    <a:bodyPr/>
                    <a:lstStyle/>
                    <a:p>
                      <a:r>
                        <a:rPr lang="fr-FR" sz="2200" kern="1200" baseline="0" noProof="0">
                          <a:solidFill>
                            <a:schemeClr val="bg2"/>
                          </a:solidFill>
                          <a:latin typeface="+mj-lt"/>
                          <a:ea typeface="+mj-ea"/>
                          <a:cs typeface="+mj-cs"/>
                        </a:rPr>
                        <a:t>Title</a:t>
                      </a:r>
                    </a:p>
                  </a:txBody>
                  <a:tcPr marL="112542" marR="112542" anchor="ctr">
                    <a:solidFill>
                      <a:schemeClr val="bg1"/>
                    </a:solidFill>
                  </a:tcPr>
                </a:tc>
                <a:tc>
                  <a:txBody>
                    <a:bodyPr/>
                    <a:lstStyle/>
                    <a:p>
                      <a:pPr algn="ctr"/>
                      <a:r>
                        <a:rPr lang="fr-FR" sz="1000" i="0" kern="1200" cap="none" baseline="0" noProof="0">
                          <a:solidFill>
                            <a:schemeClr val="tx1"/>
                          </a:solidFill>
                          <a:latin typeface="+mn-lt"/>
                          <a:ea typeface="+mn-ea"/>
                          <a:cs typeface="+mn-cs"/>
                        </a:rPr>
                        <a:t>Tahoma Headings</a:t>
                      </a:r>
                    </a:p>
                    <a:p>
                      <a:pPr algn="ctr"/>
                      <a:endParaRPr lang="fr-FR" sz="1000" i="0" kern="1200" cap="none" baseline="0" noProof="0">
                        <a:solidFill>
                          <a:schemeClr val="tx1"/>
                        </a:solidFill>
                        <a:latin typeface="+mn-lt"/>
                        <a:ea typeface="+mn-ea"/>
                        <a:cs typeface="+mn-cs"/>
                      </a:endParaRPr>
                    </a:p>
                  </a:txBody>
                  <a:tcPr marL="112542" marR="112542" anchor="ctr">
                    <a:solidFill>
                      <a:schemeClr val="bg1"/>
                    </a:solidFill>
                  </a:tcPr>
                </a:tc>
                <a:tc>
                  <a:txBody>
                    <a:bodyPr/>
                    <a:lstStyle/>
                    <a:p>
                      <a:pPr algn="ctr"/>
                      <a:r>
                        <a:rPr lang="fr-FR" sz="1000" i="0" kern="1200" cap="all" baseline="0" noProof="0">
                          <a:solidFill>
                            <a:schemeClr val="tx1"/>
                          </a:solidFill>
                          <a:latin typeface="+mn-lt"/>
                          <a:ea typeface="+mn-ea"/>
                          <a:cs typeface="+mn-cs"/>
                        </a:rPr>
                        <a:t>80 / 48 /120</a:t>
                      </a:r>
                    </a:p>
                  </a:txBody>
                  <a:tcPr marL="112542" marR="112542" anchor="ctr">
                    <a:solidFill>
                      <a:schemeClr val="bg1"/>
                    </a:solidFill>
                  </a:tcPr>
                </a:tc>
                <a:tc>
                  <a:txBody>
                    <a:bodyPr/>
                    <a:lstStyle/>
                    <a:p>
                      <a:pPr algn="ctr"/>
                      <a:r>
                        <a:rPr lang="fr-FR" sz="1000" i="0" kern="1200" cap="all" baseline="0" noProof="0">
                          <a:solidFill>
                            <a:schemeClr val="tx1"/>
                          </a:solidFill>
                          <a:latin typeface="+mn-lt"/>
                          <a:ea typeface="+mn-ea"/>
                          <a:cs typeface="+mn-cs"/>
                        </a:rPr>
                        <a:t>22</a:t>
                      </a:r>
                    </a:p>
                  </a:txBody>
                  <a:tcPr marL="112542" marR="112542" anchor="ctr">
                    <a:solidFill>
                      <a:schemeClr val="bg1"/>
                    </a:solidFill>
                  </a:tcPr>
                </a:tc>
                <a:tc>
                  <a:txBody>
                    <a:bodyPr/>
                    <a:lstStyle/>
                    <a:p>
                      <a:pPr algn="ctr"/>
                      <a:r>
                        <a:rPr kumimoji="0" lang="fr-FR" sz="1000" b="0" i="0" u="none" strike="noStrike" kern="1200" cap="none" spc="0" normalizeH="0" baseline="0" noProof="0">
                          <a:ln>
                            <a:noFill/>
                          </a:ln>
                          <a:solidFill>
                            <a:schemeClr val="tx1"/>
                          </a:solidFill>
                          <a:effectLst/>
                          <a:uLnTx/>
                          <a:uFillTx/>
                          <a:latin typeface="+mn-lt"/>
                          <a:ea typeface="+mn-ea"/>
                          <a:cs typeface="+mn-cs"/>
                        </a:rPr>
                        <a:t>Normal</a:t>
                      </a:r>
                      <a:endParaRPr lang="fr-FR" sz="1000" i="0" kern="1200" cap="all" baseline="0" noProof="0">
                        <a:solidFill>
                          <a:schemeClr val="tx1"/>
                        </a:solidFill>
                        <a:latin typeface="+mn-lt"/>
                        <a:ea typeface="+mn-ea"/>
                        <a:cs typeface="+mn-cs"/>
                      </a:endParaRPr>
                    </a:p>
                  </a:txBody>
                  <a:tcPr marL="112542" marR="112542" anchor="ctr">
                    <a:solidFill>
                      <a:schemeClr val="bg1"/>
                    </a:solidFill>
                  </a:tcPr>
                </a:tc>
                <a:tc>
                  <a:txBody>
                    <a:bodyPr/>
                    <a:lstStyle/>
                    <a:p>
                      <a:pPr algn="ctr"/>
                      <a:endParaRPr lang="fr-FR" sz="1000" kern="1200" noProof="0">
                        <a:solidFill>
                          <a:schemeClr val="tx1"/>
                        </a:solidFill>
                        <a:latin typeface="+mn-lt"/>
                        <a:ea typeface="+mn-ea"/>
                        <a:cs typeface="+mn-cs"/>
                      </a:endParaRPr>
                    </a:p>
                  </a:txBody>
                  <a:tcPr marL="112542" marR="112542" anchor="ctr">
                    <a:solidFill>
                      <a:schemeClr val="bg1"/>
                    </a:solidFill>
                  </a:tcPr>
                </a:tc>
                <a:tc>
                  <a:txBody>
                    <a:bodyPr/>
                    <a:lstStyle/>
                    <a:p>
                      <a:r>
                        <a:rPr lang="fr-FR" sz="1000" kern="1200" noProof="0">
                          <a:solidFill>
                            <a:schemeClr val="tx1"/>
                          </a:solidFill>
                          <a:latin typeface="+mn-lt"/>
                          <a:ea typeface="+mn-ea"/>
                          <a:cs typeface="+mn-cs"/>
                        </a:rPr>
                        <a:t>Before text = 0 cm</a:t>
                      </a:r>
                    </a:p>
                  </a:txBody>
                  <a:tcPr marL="112542" marR="112542"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noProof="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noProof="0">
                          <a:solidFill>
                            <a:schemeClr val="tx1"/>
                          </a:solidFill>
                          <a:latin typeface="+mn-lt"/>
                          <a:ea typeface="+mn-ea"/>
                          <a:cs typeface="+mn-cs"/>
                        </a:rPr>
                        <a:t>No line spacing</a:t>
                      </a:r>
                    </a:p>
                  </a:txBody>
                  <a:tcPr marL="112542" marR="112542" anchor="ctr">
                    <a:solidFill>
                      <a:schemeClr val="bg1"/>
                    </a:solidFill>
                  </a:tcPr>
                </a:tc>
                <a:extLst>
                  <a:ext uri="{0D108BD9-81ED-4DB2-BD59-A6C34878D82A}">
                    <a16:rowId xmlns:a16="http://schemas.microsoft.com/office/drawing/2014/main" val="10002"/>
                  </a:ext>
                </a:extLst>
              </a:tr>
              <a:tr h="364884">
                <a:tc>
                  <a:txBody>
                    <a:bodyPr/>
                    <a:lstStyle/>
                    <a:p>
                      <a:pPr lvl="0"/>
                      <a:r>
                        <a:rPr lang="fr-FR" sz="1600" i="0" kern="1200" cap="none" baseline="0" noProof="0">
                          <a:solidFill>
                            <a:srgbClr val="503078"/>
                          </a:solidFill>
                          <a:latin typeface="+mn-lt"/>
                          <a:ea typeface="+mn-ea"/>
                          <a:cs typeface="+mn-cs"/>
                        </a:rPr>
                        <a:t>Level 1</a:t>
                      </a:r>
                    </a:p>
                  </a:txBody>
                  <a:tcPr marL="112542" marR="112542" anchor="ctr">
                    <a:solidFill>
                      <a:schemeClr val="bg1"/>
                    </a:solidFill>
                  </a:tcPr>
                </a:tc>
                <a:tc>
                  <a:txBody>
                    <a:bodyPr/>
                    <a:lstStyle/>
                    <a:p>
                      <a:pPr algn="ctr"/>
                      <a:r>
                        <a:rPr lang="fr-FR" sz="1000" i="0" kern="1200" cap="none" baseline="0" noProof="0">
                          <a:solidFill>
                            <a:schemeClr val="tx1"/>
                          </a:solidFill>
                          <a:latin typeface="+mn-lt"/>
                          <a:ea typeface="+mn-ea"/>
                          <a:cs typeface="+mn-cs"/>
                        </a:rPr>
                        <a:t>Tahoma body</a:t>
                      </a:r>
                    </a:p>
                  </a:txBody>
                  <a:tcPr marL="112542" marR="112542" anchor="ctr">
                    <a:solidFill>
                      <a:schemeClr val="bg1"/>
                    </a:solidFill>
                  </a:tcPr>
                </a:tc>
                <a:tc>
                  <a:txBody>
                    <a:bodyPr/>
                    <a:lstStyle/>
                    <a:p>
                      <a:pPr algn="ctr"/>
                      <a:r>
                        <a:rPr lang="fr-FR" sz="1000" i="0" kern="1200" cap="all" baseline="0" noProof="0">
                          <a:solidFill>
                            <a:schemeClr val="tx1"/>
                          </a:solidFill>
                          <a:latin typeface="+mn-lt"/>
                          <a:ea typeface="+mn-ea"/>
                          <a:cs typeface="+mn-cs"/>
                        </a:rPr>
                        <a:t>80 / 48 /120</a:t>
                      </a:r>
                    </a:p>
                  </a:txBody>
                  <a:tcPr marL="112542" marR="112542" anchor="ctr">
                    <a:solidFill>
                      <a:schemeClr val="bg1"/>
                    </a:solidFill>
                  </a:tcPr>
                </a:tc>
                <a:tc>
                  <a:txBody>
                    <a:bodyPr/>
                    <a:lstStyle/>
                    <a:p>
                      <a:pPr algn="ctr"/>
                      <a:r>
                        <a:rPr lang="fr-FR" sz="1000" i="0" kern="1200" cap="all" baseline="0" noProof="0">
                          <a:solidFill>
                            <a:schemeClr val="tx1"/>
                          </a:solidFill>
                          <a:latin typeface="+mn-lt"/>
                          <a:ea typeface="+mn-ea"/>
                          <a:cs typeface="+mn-cs"/>
                        </a:rPr>
                        <a:t>16</a:t>
                      </a:r>
                    </a:p>
                  </a:txBody>
                  <a:tcPr marL="112542" marR="112542" anchor="ctr">
                    <a:solidFill>
                      <a:schemeClr val="bg1"/>
                    </a:solidFill>
                  </a:tcPr>
                </a:tc>
                <a:tc>
                  <a:txBody>
                    <a:bodyPr/>
                    <a:lstStyle/>
                    <a:p>
                      <a:pPr algn="ctr"/>
                      <a:r>
                        <a:rPr kumimoji="0" lang="fr-FR" sz="1000" b="0" i="0" u="none" strike="noStrike" kern="1200" cap="none" spc="0" normalizeH="0" baseline="0" noProof="0">
                          <a:ln>
                            <a:noFill/>
                          </a:ln>
                          <a:solidFill>
                            <a:schemeClr val="tx1"/>
                          </a:solidFill>
                          <a:effectLst/>
                          <a:uLnTx/>
                          <a:uFillTx/>
                          <a:latin typeface="+mn-lt"/>
                          <a:ea typeface="+mn-ea"/>
                          <a:cs typeface="+mn-cs"/>
                        </a:rPr>
                        <a:t>Normal</a:t>
                      </a:r>
                      <a:endParaRPr lang="fr-FR" sz="1000" i="0" kern="1200" cap="all" baseline="0" noProof="0">
                        <a:solidFill>
                          <a:schemeClr val="tx1"/>
                        </a:solidFill>
                        <a:latin typeface="+mn-lt"/>
                        <a:ea typeface="+mn-ea"/>
                        <a:cs typeface="+mn-cs"/>
                      </a:endParaRPr>
                    </a:p>
                  </a:txBody>
                  <a:tcPr marL="112542" marR="112542" anchor="ctr">
                    <a:solidFill>
                      <a:schemeClr val="bg1"/>
                    </a:solidFill>
                  </a:tcPr>
                </a:tc>
                <a:tc>
                  <a:txBody>
                    <a:bodyPr/>
                    <a:lstStyle/>
                    <a:p>
                      <a:pPr algn="ctr"/>
                      <a:endParaRPr lang="fr-FR" sz="1000" kern="1200" noProof="0">
                        <a:solidFill>
                          <a:schemeClr val="tx1"/>
                        </a:solidFill>
                        <a:latin typeface="+mn-lt"/>
                        <a:ea typeface="+mn-ea"/>
                        <a:cs typeface="+mn-cs"/>
                      </a:endParaRPr>
                    </a:p>
                  </a:txBody>
                  <a:tcPr marL="112542" marR="112542" anchor="ctr">
                    <a:solidFill>
                      <a:schemeClr val="bg1"/>
                    </a:solidFill>
                  </a:tcPr>
                </a:tc>
                <a:tc>
                  <a:txBody>
                    <a:bodyPr/>
                    <a:lstStyle/>
                    <a:p>
                      <a:r>
                        <a:rPr lang="fr-FR" sz="1000" kern="1200" noProof="0">
                          <a:solidFill>
                            <a:schemeClr val="tx1"/>
                          </a:solidFill>
                          <a:latin typeface="+mn-lt"/>
                          <a:ea typeface="+mn-ea"/>
                          <a:cs typeface="+mn-cs"/>
                        </a:rPr>
                        <a:t>Before text </a:t>
                      </a:r>
                      <a:r>
                        <a:rPr lang="fr-FR" sz="1000" kern="1200" baseline="0" noProof="0">
                          <a:solidFill>
                            <a:schemeClr val="tx1"/>
                          </a:solidFill>
                          <a:latin typeface="+mn-lt"/>
                          <a:ea typeface="+mn-ea"/>
                          <a:cs typeface="+mn-cs"/>
                        </a:rPr>
                        <a:t>= 0 cm</a:t>
                      </a:r>
                      <a:endParaRPr lang="fr-FR" sz="1000" kern="1200" noProof="0">
                        <a:solidFill>
                          <a:schemeClr val="tx1"/>
                        </a:solidFill>
                        <a:latin typeface="+mn-lt"/>
                        <a:ea typeface="+mn-ea"/>
                        <a:cs typeface="+mn-cs"/>
                      </a:endParaRPr>
                    </a:p>
                  </a:txBody>
                  <a:tcPr marL="112542" marR="112542" anchor="ctr">
                    <a:solidFill>
                      <a:schemeClr val="bg1"/>
                    </a:solidFill>
                  </a:tcPr>
                </a:tc>
                <a:tc>
                  <a:txBody>
                    <a:bodyPr/>
                    <a:lstStyle/>
                    <a:p>
                      <a:r>
                        <a:rPr lang="fr-FR" sz="1000" kern="1200" noProof="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noProof="0">
                          <a:solidFill>
                            <a:schemeClr val="tx1"/>
                          </a:solidFill>
                          <a:latin typeface="+mn-lt"/>
                          <a:ea typeface="+mn-ea"/>
                          <a:cs typeface="+mn-cs"/>
                        </a:rPr>
                        <a:t>Single line spacing</a:t>
                      </a:r>
                    </a:p>
                  </a:txBody>
                  <a:tcPr marL="112542" marR="112542" anchor="ctr">
                    <a:solidFill>
                      <a:schemeClr val="bg1"/>
                    </a:solidFill>
                  </a:tcPr>
                </a:tc>
                <a:extLst>
                  <a:ext uri="{0D108BD9-81ED-4DB2-BD59-A6C34878D82A}">
                    <a16:rowId xmlns:a16="http://schemas.microsoft.com/office/drawing/2014/main" val="10003"/>
                  </a:ext>
                </a:extLst>
              </a:tr>
              <a:tr h="364884">
                <a:tc>
                  <a:txBody>
                    <a:bodyPr/>
                    <a:lstStyle/>
                    <a:p>
                      <a:pPr marL="285750" indent="-285750">
                        <a:buClr>
                          <a:schemeClr val="bg2"/>
                        </a:buClr>
                        <a:buFont typeface="Tempus Sans ITC" panose="04020404030D07020202" pitchFamily="82" charset="0"/>
                        <a:buChar char="/"/>
                      </a:pPr>
                      <a:r>
                        <a:rPr lang="fr-FR" sz="1400" kern="1200" noProof="0">
                          <a:solidFill>
                            <a:schemeClr val="tx1"/>
                          </a:solidFill>
                          <a:latin typeface="+mn-lt"/>
                          <a:ea typeface="+mn-ea"/>
                          <a:cs typeface="+mn-cs"/>
                        </a:rPr>
                        <a:t>Level 2</a:t>
                      </a:r>
                    </a:p>
                  </a:txBody>
                  <a:tcPr marL="112542" marR="112542" anchor="ctr">
                    <a:solidFill>
                      <a:schemeClr val="bg1"/>
                    </a:solidFill>
                  </a:tcPr>
                </a:tc>
                <a:tc>
                  <a:txBody>
                    <a:bodyPr/>
                    <a:lstStyle/>
                    <a:p>
                      <a:pPr algn="ctr"/>
                      <a:r>
                        <a:rPr lang="fr-FR" sz="1000" kern="1200" noProof="0">
                          <a:solidFill>
                            <a:schemeClr val="tx1"/>
                          </a:solidFill>
                          <a:latin typeface="+mn-lt"/>
                          <a:ea typeface="+mn-ea"/>
                          <a:cs typeface="+mn-cs"/>
                        </a:rPr>
                        <a:t>Tahoma body</a:t>
                      </a:r>
                    </a:p>
                  </a:txBody>
                  <a:tcPr marL="112542" marR="112542" anchor="ctr">
                    <a:solidFill>
                      <a:schemeClr val="bg1"/>
                    </a:solidFill>
                  </a:tcPr>
                </a:tc>
                <a:tc>
                  <a:txBody>
                    <a:bodyPr/>
                    <a:lstStyle/>
                    <a:p>
                      <a:pPr algn="ctr"/>
                      <a:r>
                        <a:rPr lang="fr-FR" sz="1000" i="0" kern="1200" cap="all" baseline="0" noProof="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noProof="0">
                          <a:solidFill>
                            <a:schemeClr val="tx1"/>
                          </a:solidFill>
                          <a:latin typeface="+mn-lt"/>
                          <a:ea typeface="+mn-ea"/>
                          <a:cs typeface="+mn-cs"/>
                        </a:rPr>
                        <a:t>14</a:t>
                      </a:r>
                    </a:p>
                  </a:txBody>
                  <a:tcPr marL="112542" marR="112542" anchor="ctr">
                    <a:solidFill>
                      <a:schemeClr val="bg1"/>
                    </a:solidFill>
                  </a:tcPr>
                </a:tc>
                <a:tc>
                  <a:txBody>
                    <a:bodyPr/>
                    <a:lstStyle/>
                    <a:p>
                      <a:pPr algn="ctr"/>
                      <a:r>
                        <a:rPr lang="fr-FR" sz="1000" kern="1200" noProof="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00" kern="1200" cap="none" baseline="0" noProof="0">
                          <a:solidFill>
                            <a:schemeClr val="tx1"/>
                          </a:solidFill>
                          <a:latin typeface="+mn-lt"/>
                          <a:ea typeface="+mn-ea"/>
                          <a:cs typeface="+mn-cs"/>
                        </a:rPr>
                        <a:t>Font Tempus Sans ITC</a:t>
                      </a:r>
                      <a:br>
                        <a:rPr lang="fr-FR" sz="1000" kern="1200" cap="none" baseline="0" noProof="0">
                          <a:solidFill>
                            <a:schemeClr val="tx1"/>
                          </a:solidFill>
                          <a:latin typeface="+mn-lt"/>
                          <a:ea typeface="+mn-ea"/>
                          <a:cs typeface="+mn-cs"/>
                        </a:rPr>
                      </a:br>
                      <a:r>
                        <a:rPr lang="fr-FR" sz="1000" kern="1200" cap="none" baseline="0" noProof="0">
                          <a:solidFill>
                            <a:schemeClr val="tx1"/>
                          </a:solidFill>
                          <a:latin typeface="+mn-lt"/>
                          <a:ea typeface="+mn-ea"/>
                          <a:cs typeface="+mn-cs"/>
                        </a:rPr>
                        <a:t>code 002F</a:t>
                      </a:r>
                    </a:p>
                  </a:txBody>
                  <a:tcPr marL="112542" marR="112542" anchor="ctr">
                    <a:solidFill>
                      <a:schemeClr val="bg1"/>
                    </a:solidFill>
                  </a:tcPr>
                </a:tc>
                <a:tc>
                  <a:txBody>
                    <a:bodyPr/>
                    <a:lstStyle/>
                    <a:p>
                      <a:r>
                        <a:rPr lang="fr-FR" sz="1000" kern="1200" noProof="0">
                          <a:solidFill>
                            <a:schemeClr val="tx1"/>
                          </a:solidFill>
                          <a:latin typeface="+mn-lt"/>
                          <a:ea typeface="+mn-ea"/>
                          <a:cs typeface="+mn-cs"/>
                        </a:rPr>
                        <a:t>Before text </a:t>
                      </a:r>
                      <a:r>
                        <a:rPr lang="fr-FR" sz="1000" kern="1200" baseline="0" noProof="0">
                          <a:solidFill>
                            <a:schemeClr val="tx1"/>
                          </a:solidFill>
                          <a:latin typeface="+mn-lt"/>
                          <a:ea typeface="+mn-ea"/>
                          <a:cs typeface="+mn-cs"/>
                        </a:rPr>
                        <a:t>= 1 cm</a:t>
                      </a:r>
                      <a:endParaRPr lang="fr-FR" sz="1000" kern="1200" noProof="0">
                        <a:solidFill>
                          <a:schemeClr val="tx1"/>
                        </a:solidFill>
                        <a:latin typeface="+mn-lt"/>
                        <a:ea typeface="+mn-ea"/>
                        <a:cs typeface="+mn-cs"/>
                      </a:endParaRPr>
                    </a:p>
                  </a:txBody>
                  <a:tcPr marL="112542" marR="112542" anchor="ctr">
                    <a:solidFill>
                      <a:schemeClr val="bg1"/>
                    </a:solidFill>
                  </a:tcPr>
                </a:tc>
                <a:tc>
                  <a:txBody>
                    <a:bodyPr/>
                    <a:lstStyle/>
                    <a:p>
                      <a:r>
                        <a:rPr lang="fr-FR" sz="1000" kern="1200" noProof="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noProof="0">
                          <a:solidFill>
                            <a:schemeClr val="tx1"/>
                          </a:solidFill>
                          <a:latin typeface="+mn-lt"/>
                          <a:ea typeface="+mn-ea"/>
                          <a:cs typeface="+mn-cs"/>
                        </a:rPr>
                        <a:t>Single line spacing</a:t>
                      </a:r>
                    </a:p>
                  </a:txBody>
                  <a:tcPr marL="112542" marR="112542" anchor="ctr">
                    <a:solidFill>
                      <a:schemeClr val="bg1"/>
                    </a:solidFill>
                  </a:tcPr>
                </a:tc>
                <a:extLst>
                  <a:ext uri="{0D108BD9-81ED-4DB2-BD59-A6C34878D82A}">
                    <a16:rowId xmlns:a16="http://schemas.microsoft.com/office/drawing/2014/main" val="10004"/>
                  </a:ext>
                </a:extLst>
              </a:tr>
              <a:tr h="364884">
                <a:tc>
                  <a:txBody>
                    <a:bodyPr/>
                    <a:lstStyle/>
                    <a:p>
                      <a:r>
                        <a:rPr lang="fr-FR" sz="1400" kern="1200" noProof="0">
                          <a:solidFill>
                            <a:schemeClr val="tx1"/>
                          </a:solidFill>
                          <a:latin typeface="+mn-lt"/>
                          <a:ea typeface="+mn-ea"/>
                          <a:cs typeface="+mn-cs"/>
                        </a:rPr>
                        <a:t>Level 3</a:t>
                      </a:r>
                    </a:p>
                  </a:txBody>
                  <a:tcPr marL="112542" marR="112542" anchor="ctr">
                    <a:solidFill>
                      <a:schemeClr val="bg1"/>
                    </a:solidFill>
                  </a:tcPr>
                </a:tc>
                <a:tc>
                  <a:txBody>
                    <a:bodyPr/>
                    <a:lstStyle/>
                    <a:p>
                      <a:pPr algn="ctr"/>
                      <a:r>
                        <a:rPr lang="fr-FR" sz="1000" kern="1200" noProof="0">
                          <a:solidFill>
                            <a:schemeClr val="tx1"/>
                          </a:solidFill>
                          <a:latin typeface="+mn-lt"/>
                          <a:ea typeface="+mn-ea"/>
                          <a:cs typeface="+mn-cs"/>
                        </a:rPr>
                        <a:t>Tahoma body</a:t>
                      </a:r>
                    </a:p>
                  </a:txBody>
                  <a:tcPr marL="112542" marR="112542" anchor="ctr">
                    <a:solidFill>
                      <a:schemeClr val="bg1"/>
                    </a:solidFill>
                  </a:tcPr>
                </a:tc>
                <a:tc>
                  <a:txBody>
                    <a:bodyPr/>
                    <a:lstStyle/>
                    <a:p>
                      <a:pPr algn="ctr"/>
                      <a:r>
                        <a:rPr lang="fr-FR" sz="1000" i="0" kern="1200" cap="all" baseline="0" noProof="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noProof="0">
                          <a:solidFill>
                            <a:schemeClr val="tx1"/>
                          </a:solidFill>
                          <a:latin typeface="+mn-lt"/>
                          <a:ea typeface="+mn-ea"/>
                          <a:cs typeface="+mn-cs"/>
                        </a:rPr>
                        <a:t>14</a:t>
                      </a:r>
                    </a:p>
                  </a:txBody>
                  <a:tcPr marL="112542" marR="112542" anchor="ctr">
                    <a:solidFill>
                      <a:schemeClr val="bg1"/>
                    </a:solidFill>
                  </a:tcPr>
                </a:tc>
                <a:tc>
                  <a:txBody>
                    <a:bodyPr/>
                    <a:lstStyle/>
                    <a:p>
                      <a:pPr algn="ctr"/>
                      <a:r>
                        <a:rPr lang="fr-FR" sz="1000" kern="1200" noProof="0">
                          <a:solidFill>
                            <a:schemeClr val="tx1"/>
                          </a:solidFill>
                          <a:latin typeface="+mn-lt"/>
                          <a:ea typeface="+mn-ea"/>
                          <a:cs typeface="+mn-cs"/>
                        </a:rPr>
                        <a:t>Normal</a:t>
                      </a:r>
                    </a:p>
                  </a:txBody>
                  <a:tcPr marL="112542" marR="112542" anchor="ctr">
                    <a:solidFill>
                      <a:schemeClr val="bg1"/>
                    </a:solidFill>
                  </a:tcPr>
                </a:tc>
                <a:tc>
                  <a:txBody>
                    <a:bodyPr/>
                    <a:lstStyle/>
                    <a:p>
                      <a:pPr algn="ctr"/>
                      <a:endParaRPr lang="fr-FR" sz="1000" kern="1200" noProof="0">
                        <a:solidFill>
                          <a:schemeClr val="tx1"/>
                        </a:solidFill>
                        <a:latin typeface="+mn-lt"/>
                        <a:ea typeface="+mn-ea"/>
                        <a:cs typeface="+mn-cs"/>
                      </a:endParaRPr>
                    </a:p>
                  </a:txBody>
                  <a:tcPr marL="112542" marR="112542" anchor="ctr">
                    <a:solidFill>
                      <a:schemeClr val="bg1"/>
                    </a:solidFill>
                  </a:tcPr>
                </a:tc>
                <a:tc>
                  <a:txBody>
                    <a:bodyPr/>
                    <a:lstStyle/>
                    <a:p>
                      <a:r>
                        <a:rPr lang="fr-FR" sz="1000" kern="1200" noProof="0">
                          <a:solidFill>
                            <a:schemeClr val="tx1"/>
                          </a:solidFill>
                          <a:latin typeface="+mn-lt"/>
                          <a:ea typeface="+mn-ea"/>
                          <a:cs typeface="+mn-cs"/>
                        </a:rPr>
                        <a:t>Before text </a:t>
                      </a:r>
                      <a:r>
                        <a:rPr lang="fr-FR" sz="1000" kern="1200" baseline="0" noProof="0">
                          <a:solidFill>
                            <a:schemeClr val="tx1"/>
                          </a:solidFill>
                          <a:latin typeface="+mn-lt"/>
                          <a:ea typeface="+mn-ea"/>
                          <a:cs typeface="+mn-cs"/>
                        </a:rPr>
                        <a:t>= 1 cm</a:t>
                      </a:r>
                      <a:endParaRPr lang="fr-FR" sz="1000" kern="1200" noProof="0">
                        <a:solidFill>
                          <a:schemeClr val="tx1"/>
                        </a:solidFill>
                        <a:latin typeface="+mn-lt"/>
                        <a:ea typeface="+mn-ea"/>
                        <a:cs typeface="+mn-cs"/>
                      </a:endParaRPr>
                    </a:p>
                  </a:txBody>
                  <a:tcPr marL="112542" marR="112542" anchor="ctr">
                    <a:solidFill>
                      <a:schemeClr val="bg1"/>
                    </a:solidFill>
                  </a:tcPr>
                </a:tc>
                <a:tc>
                  <a:txBody>
                    <a:bodyPr/>
                    <a:lstStyle/>
                    <a:p>
                      <a:r>
                        <a:rPr lang="fr-FR" sz="1000" kern="1200" noProof="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noProof="0">
                          <a:solidFill>
                            <a:schemeClr val="tx1"/>
                          </a:solidFill>
                          <a:latin typeface="+mn-lt"/>
                          <a:ea typeface="+mn-ea"/>
                          <a:cs typeface="+mn-cs"/>
                        </a:rPr>
                        <a:t>Single line spacing</a:t>
                      </a:r>
                    </a:p>
                  </a:txBody>
                  <a:tcPr marL="112542" marR="112542" anchor="ctr">
                    <a:solidFill>
                      <a:schemeClr val="bg1"/>
                    </a:solidFill>
                  </a:tcPr>
                </a:tc>
                <a:extLst>
                  <a:ext uri="{0D108BD9-81ED-4DB2-BD59-A6C34878D82A}">
                    <a16:rowId xmlns:a16="http://schemas.microsoft.com/office/drawing/2014/main" val="10005"/>
                  </a:ext>
                </a:extLst>
              </a:tr>
              <a:tr h="364884">
                <a:tc>
                  <a:txBody>
                    <a:bodyPr/>
                    <a:lstStyle/>
                    <a:p>
                      <a:pPr marL="171450" indent="-171450">
                        <a:buClr>
                          <a:schemeClr val="bg2"/>
                        </a:buClr>
                        <a:buFont typeface="Tahoma" panose="020B0604030504040204" pitchFamily="34" charset="0"/>
                        <a:buChar char="›"/>
                      </a:pPr>
                      <a:r>
                        <a:rPr lang="fr-FR" sz="1200" kern="1200" cap="none" baseline="0" noProof="0">
                          <a:solidFill>
                            <a:schemeClr val="tx1"/>
                          </a:solidFill>
                          <a:latin typeface="+mn-lt"/>
                          <a:ea typeface="+mn-ea"/>
                          <a:cs typeface="+mn-cs"/>
                        </a:rPr>
                        <a:t>Level 4</a:t>
                      </a:r>
                    </a:p>
                  </a:txBody>
                  <a:tcPr marL="112542" marR="112542" anchor="ctr">
                    <a:solidFill>
                      <a:schemeClr val="bg1"/>
                    </a:solidFill>
                  </a:tcPr>
                </a:tc>
                <a:tc>
                  <a:txBody>
                    <a:bodyPr/>
                    <a:lstStyle/>
                    <a:p>
                      <a:pPr algn="ctr"/>
                      <a:r>
                        <a:rPr lang="fr-FR" sz="1000" kern="1200" cap="none" baseline="0" noProof="0">
                          <a:solidFill>
                            <a:schemeClr val="tx1"/>
                          </a:solidFill>
                          <a:latin typeface="+mn-lt"/>
                          <a:ea typeface="+mn-ea"/>
                          <a:cs typeface="+mn-cs"/>
                        </a:rPr>
                        <a:t>Tahoma body</a:t>
                      </a:r>
                    </a:p>
                  </a:txBody>
                  <a:tcPr marL="112542" marR="112542" anchor="ctr">
                    <a:solidFill>
                      <a:schemeClr val="bg1"/>
                    </a:solidFill>
                  </a:tcPr>
                </a:tc>
                <a:tc>
                  <a:txBody>
                    <a:bodyPr/>
                    <a:lstStyle/>
                    <a:p>
                      <a:pPr algn="ctr"/>
                      <a:r>
                        <a:rPr lang="fr-FR" sz="1000" i="0" kern="1200" cap="all" baseline="0" noProof="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cap="none" baseline="0" noProof="0">
                          <a:solidFill>
                            <a:schemeClr val="tx1"/>
                          </a:solidFill>
                          <a:latin typeface="+mn-lt"/>
                          <a:ea typeface="+mn-ea"/>
                          <a:cs typeface="+mn-cs"/>
                        </a:rPr>
                        <a:t>12</a:t>
                      </a:r>
                    </a:p>
                  </a:txBody>
                  <a:tcPr marL="112542" marR="112542" anchor="ctr">
                    <a:solidFill>
                      <a:schemeClr val="bg1"/>
                    </a:solidFill>
                  </a:tcPr>
                </a:tc>
                <a:tc>
                  <a:txBody>
                    <a:bodyPr/>
                    <a:lstStyle/>
                    <a:p>
                      <a:pPr algn="ctr"/>
                      <a:r>
                        <a:rPr lang="fr-FR" sz="1000" kern="1200" cap="none" baseline="0" noProof="0">
                          <a:solidFill>
                            <a:schemeClr val="tx1"/>
                          </a:solidFill>
                          <a:latin typeface="+mn-lt"/>
                          <a:ea typeface="+mn-ea"/>
                          <a:cs typeface="+mn-cs"/>
                        </a:rPr>
                        <a:t>Normal</a:t>
                      </a:r>
                    </a:p>
                  </a:txBody>
                  <a:tcPr marL="112542" marR="112542" anchor="ctr">
                    <a:solidFill>
                      <a:schemeClr val="bg1"/>
                    </a:solidFill>
                  </a:tcPr>
                </a:tc>
                <a:tc>
                  <a:txBody>
                    <a:bodyPr/>
                    <a:lstStyle/>
                    <a:p>
                      <a:pPr marL="0" indent="0" algn="ctr">
                        <a:buFont typeface="Tahoma" panose="020B0604030504040204" pitchFamily="34" charset="0"/>
                        <a:buNone/>
                      </a:pPr>
                      <a:r>
                        <a:rPr lang="fr-FR" sz="1000" kern="1200" cap="none" baseline="0" noProof="0">
                          <a:solidFill>
                            <a:schemeClr val="tx1"/>
                          </a:solidFill>
                          <a:latin typeface="+mn-lt"/>
                          <a:ea typeface="+mn-ea"/>
                          <a:cs typeface="+mn-cs"/>
                        </a:rPr>
                        <a:t>Font Tahoma </a:t>
                      </a:r>
                      <a:br>
                        <a:rPr lang="fr-FR" sz="1000" kern="1200" cap="none" baseline="0" noProof="0">
                          <a:solidFill>
                            <a:schemeClr val="tx1"/>
                          </a:solidFill>
                          <a:latin typeface="+mn-lt"/>
                          <a:ea typeface="+mn-ea"/>
                          <a:cs typeface="+mn-cs"/>
                        </a:rPr>
                      </a:br>
                      <a:r>
                        <a:rPr lang="fr-FR" sz="1000" kern="1200" cap="none" baseline="0" noProof="0">
                          <a:solidFill>
                            <a:schemeClr val="tx1"/>
                          </a:solidFill>
                          <a:latin typeface="+mn-lt"/>
                          <a:ea typeface="+mn-ea"/>
                          <a:cs typeface="+mn-cs"/>
                        </a:rPr>
                        <a:t>code 203A</a:t>
                      </a:r>
                    </a:p>
                  </a:txBody>
                  <a:tcPr marL="112542" marR="112542" anchor="ctr">
                    <a:solidFill>
                      <a:schemeClr val="bg1"/>
                    </a:solidFill>
                  </a:tcPr>
                </a:tc>
                <a:tc>
                  <a:txBody>
                    <a:bodyPr/>
                    <a:lstStyle/>
                    <a:p>
                      <a:r>
                        <a:rPr lang="fr-FR" sz="1000" kern="1200" noProof="0">
                          <a:solidFill>
                            <a:schemeClr val="tx1"/>
                          </a:solidFill>
                          <a:latin typeface="+mn-lt"/>
                          <a:ea typeface="+mn-ea"/>
                          <a:cs typeface="+mn-cs"/>
                        </a:rPr>
                        <a:t>Before text </a:t>
                      </a:r>
                      <a:r>
                        <a:rPr lang="fr-FR" sz="1000" kern="1200" baseline="0" noProof="0">
                          <a:solidFill>
                            <a:schemeClr val="tx1"/>
                          </a:solidFill>
                          <a:latin typeface="+mn-lt"/>
                          <a:ea typeface="+mn-ea"/>
                          <a:cs typeface="+mn-cs"/>
                        </a:rPr>
                        <a:t>= 1,8 cm</a:t>
                      </a:r>
                      <a:endParaRPr lang="fr-FR" sz="1000" kern="1200" noProof="0">
                        <a:solidFill>
                          <a:schemeClr val="tx1"/>
                        </a:solidFill>
                        <a:latin typeface="+mn-lt"/>
                        <a:ea typeface="+mn-ea"/>
                        <a:cs typeface="+mn-cs"/>
                      </a:endParaRPr>
                    </a:p>
                  </a:txBody>
                  <a:tcPr marL="112542" marR="112542" anchor="ctr">
                    <a:solidFill>
                      <a:schemeClr val="bg1"/>
                    </a:solidFill>
                  </a:tcPr>
                </a:tc>
                <a:tc>
                  <a:txBody>
                    <a:bodyPr/>
                    <a:lstStyle/>
                    <a:p>
                      <a:r>
                        <a:rPr lang="fr-FR" sz="1000" kern="1200" noProof="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noProof="0">
                          <a:solidFill>
                            <a:schemeClr val="tx1"/>
                          </a:solidFill>
                          <a:latin typeface="+mn-lt"/>
                          <a:ea typeface="+mn-ea"/>
                          <a:cs typeface="+mn-cs"/>
                        </a:rPr>
                        <a:t>Single line spacing</a:t>
                      </a:r>
                    </a:p>
                  </a:txBody>
                  <a:tcPr marL="112542" marR="112542" anchor="ctr">
                    <a:solidFill>
                      <a:schemeClr val="bg1"/>
                    </a:solidFill>
                  </a:tcPr>
                </a:tc>
                <a:extLst>
                  <a:ext uri="{0D108BD9-81ED-4DB2-BD59-A6C34878D82A}">
                    <a16:rowId xmlns:a16="http://schemas.microsoft.com/office/drawing/2014/main" val="10006"/>
                  </a:ext>
                </a:extLst>
              </a:tr>
              <a:tr h="364884">
                <a:tc>
                  <a:txBody>
                    <a:bodyPr/>
                    <a:lstStyle/>
                    <a:p>
                      <a:pPr marL="171450" indent="-171450">
                        <a:buClr>
                          <a:schemeClr val="bg2"/>
                        </a:buClr>
                        <a:buFont typeface="Tahoma" panose="020B0604030504040204" pitchFamily="34" charset="0"/>
                        <a:buChar char="»"/>
                      </a:pPr>
                      <a:r>
                        <a:rPr lang="fr-FR" sz="1000" kern="1200" noProof="0">
                          <a:solidFill>
                            <a:schemeClr val="tx1"/>
                          </a:solidFill>
                          <a:latin typeface="+mn-lt"/>
                          <a:ea typeface="+mn-ea"/>
                          <a:cs typeface="+mn-cs"/>
                        </a:rPr>
                        <a:t>Level 5</a:t>
                      </a:r>
                    </a:p>
                  </a:txBody>
                  <a:tcPr marL="112542" marR="112542" anchor="ctr">
                    <a:solidFill>
                      <a:schemeClr val="bg1"/>
                    </a:solidFill>
                  </a:tcPr>
                </a:tc>
                <a:tc>
                  <a:txBody>
                    <a:bodyPr/>
                    <a:lstStyle/>
                    <a:p>
                      <a:pPr algn="ctr"/>
                      <a:r>
                        <a:rPr lang="fr-FR" sz="1000" kern="1200" noProof="0">
                          <a:solidFill>
                            <a:schemeClr val="tx1"/>
                          </a:solidFill>
                          <a:latin typeface="+mn-lt"/>
                          <a:ea typeface="+mn-ea"/>
                          <a:cs typeface="+mn-cs"/>
                        </a:rPr>
                        <a:t>Tahoma body</a:t>
                      </a:r>
                    </a:p>
                  </a:txBody>
                  <a:tcPr marL="112542" marR="112542" anchor="ctr">
                    <a:solidFill>
                      <a:schemeClr val="bg1"/>
                    </a:solidFill>
                  </a:tcPr>
                </a:tc>
                <a:tc>
                  <a:txBody>
                    <a:bodyPr/>
                    <a:lstStyle/>
                    <a:p>
                      <a:pPr algn="ctr"/>
                      <a:r>
                        <a:rPr lang="fr-FR" sz="1000" i="0" kern="1200" cap="all" baseline="0" noProof="0">
                          <a:solidFill>
                            <a:schemeClr val="tx1"/>
                          </a:solidFill>
                          <a:latin typeface="+mn-lt"/>
                          <a:ea typeface="+mn-ea"/>
                          <a:cs typeface="+mn-cs"/>
                        </a:rPr>
                        <a:t>95 / 95 / 95</a:t>
                      </a:r>
                    </a:p>
                  </a:txBody>
                  <a:tcPr marL="112542" marR="112542" anchor="ctr">
                    <a:solidFill>
                      <a:schemeClr val="bg1"/>
                    </a:solidFill>
                  </a:tcPr>
                </a:tc>
                <a:tc>
                  <a:txBody>
                    <a:bodyPr/>
                    <a:lstStyle/>
                    <a:p>
                      <a:pPr algn="ctr"/>
                      <a:r>
                        <a:rPr lang="fr-FR" sz="1000" kern="1200" noProof="0">
                          <a:solidFill>
                            <a:schemeClr val="tx1"/>
                          </a:solidFill>
                          <a:latin typeface="+mn-lt"/>
                          <a:ea typeface="+mn-ea"/>
                          <a:cs typeface="+mn-cs"/>
                        </a:rPr>
                        <a:t>10</a:t>
                      </a:r>
                    </a:p>
                  </a:txBody>
                  <a:tcPr marL="112542" marR="112542" anchor="ctr">
                    <a:solidFill>
                      <a:schemeClr val="bg1"/>
                    </a:solidFill>
                  </a:tcPr>
                </a:tc>
                <a:tc>
                  <a:txBody>
                    <a:bodyPr/>
                    <a:lstStyle/>
                    <a:p>
                      <a:pPr algn="ctr"/>
                      <a:r>
                        <a:rPr lang="fr-FR" sz="1000" kern="1200" noProof="0">
                          <a:solidFill>
                            <a:schemeClr val="tx1"/>
                          </a:solidFill>
                          <a:latin typeface="+mn-lt"/>
                          <a:ea typeface="+mn-ea"/>
                          <a:cs typeface="+mn-cs"/>
                        </a:rPr>
                        <a:t>Normal</a:t>
                      </a:r>
                    </a:p>
                  </a:txBody>
                  <a:tcPr marL="112542" marR="112542"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000" kern="1200" noProof="0">
                          <a:solidFill>
                            <a:schemeClr val="tx1"/>
                          </a:solidFill>
                          <a:latin typeface="+mn-lt"/>
                          <a:ea typeface="+mn-ea"/>
                          <a:cs typeface="+mn-cs"/>
                        </a:rPr>
                        <a:t>Font Tahoma</a:t>
                      </a:r>
                      <a:br>
                        <a:rPr lang="fr-FR" sz="1000" kern="1200" noProof="0">
                          <a:solidFill>
                            <a:schemeClr val="tx1"/>
                          </a:solidFill>
                          <a:latin typeface="+mn-lt"/>
                          <a:ea typeface="+mn-ea"/>
                          <a:cs typeface="+mn-cs"/>
                        </a:rPr>
                      </a:br>
                      <a:r>
                        <a:rPr lang="fr-FR" sz="1000" kern="1200" noProof="0">
                          <a:solidFill>
                            <a:schemeClr val="tx1"/>
                          </a:solidFill>
                          <a:latin typeface="+mn-lt"/>
                          <a:ea typeface="+mn-ea"/>
                          <a:cs typeface="+mn-cs"/>
                        </a:rPr>
                        <a:t>code 00BB</a:t>
                      </a:r>
                    </a:p>
                    <a:p>
                      <a:pPr algn="ctr"/>
                      <a:endParaRPr lang="fr-FR" sz="1000" kern="1200" noProof="0">
                        <a:solidFill>
                          <a:schemeClr val="tx1"/>
                        </a:solidFill>
                        <a:latin typeface="+mn-lt"/>
                        <a:ea typeface="+mn-ea"/>
                        <a:cs typeface="+mn-cs"/>
                      </a:endParaRPr>
                    </a:p>
                  </a:txBody>
                  <a:tcPr marL="112542" marR="112542" anchor="ctr">
                    <a:solidFill>
                      <a:schemeClr val="bg1"/>
                    </a:solidFill>
                  </a:tcPr>
                </a:tc>
                <a:tc>
                  <a:txBody>
                    <a:bodyPr/>
                    <a:lstStyle/>
                    <a:p>
                      <a:r>
                        <a:rPr lang="fr-FR" sz="1000" kern="1200" noProof="0">
                          <a:solidFill>
                            <a:schemeClr val="tx1"/>
                          </a:solidFill>
                          <a:latin typeface="+mn-lt"/>
                          <a:ea typeface="+mn-ea"/>
                          <a:cs typeface="+mn-cs"/>
                        </a:rPr>
                        <a:t>Before text </a:t>
                      </a:r>
                      <a:r>
                        <a:rPr lang="fr-FR" sz="1000" kern="1200" baseline="0" noProof="0">
                          <a:solidFill>
                            <a:schemeClr val="tx1"/>
                          </a:solidFill>
                          <a:latin typeface="+mn-lt"/>
                          <a:ea typeface="+mn-ea"/>
                          <a:cs typeface="+mn-cs"/>
                        </a:rPr>
                        <a:t>= 2,5 cm</a:t>
                      </a:r>
                      <a:endParaRPr lang="fr-FR" sz="1000" kern="1200" noProof="0">
                        <a:solidFill>
                          <a:schemeClr val="tx1"/>
                        </a:solidFill>
                        <a:latin typeface="+mn-lt"/>
                        <a:ea typeface="+mn-ea"/>
                        <a:cs typeface="+mn-cs"/>
                      </a:endParaRPr>
                    </a:p>
                  </a:txBody>
                  <a:tcPr marL="112542" marR="112542" anchor="ctr">
                    <a:solidFill>
                      <a:schemeClr val="bg1"/>
                    </a:solidFill>
                  </a:tcPr>
                </a:tc>
                <a:tc>
                  <a:txBody>
                    <a:bodyPr/>
                    <a:lstStyle/>
                    <a:p>
                      <a:r>
                        <a:rPr lang="fr-FR" sz="1000" kern="1200" noProof="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fr-FR" sz="1000" kern="1200" noProof="0">
                          <a:solidFill>
                            <a:schemeClr val="tx1"/>
                          </a:solidFill>
                          <a:latin typeface="+mn-lt"/>
                          <a:ea typeface="+mn-ea"/>
                          <a:cs typeface="+mn-cs"/>
                        </a:rPr>
                        <a:t>Single line spacing</a:t>
                      </a:r>
                    </a:p>
                  </a:txBody>
                  <a:tcPr marL="112542" marR="112542" anchor="ctr">
                    <a:solidFill>
                      <a:schemeClr val="bg1"/>
                    </a:solidFill>
                  </a:tcPr>
                </a:tc>
                <a:extLst>
                  <a:ext uri="{0D108BD9-81ED-4DB2-BD59-A6C34878D82A}">
                    <a16:rowId xmlns:a16="http://schemas.microsoft.com/office/drawing/2014/main" val="10007"/>
                  </a:ext>
                </a:extLst>
              </a:tr>
            </a:tbl>
          </a:graphicData>
        </a:graphic>
      </p:graphicFrame>
      <p:graphicFrame>
        <p:nvGraphicFramePr>
          <p:cNvPr id="15" name="Inhaltsplatzhalter 3">
            <a:extLst>
              <a:ext uri="{FF2B5EF4-FFF2-40B4-BE49-F238E27FC236}">
                <a16:creationId xmlns:a16="http://schemas.microsoft.com/office/drawing/2014/main" id="{73231693-0D51-4F7C-AC74-C0D2CA99BFCD}"/>
              </a:ext>
            </a:extLst>
          </p:cNvPr>
          <p:cNvGraphicFramePr>
            <a:graphicFrameLocks/>
          </p:cNvGraphicFramePr>
          <p:nvPr userDrawn="1">
            <p:extLst>
              <p:ext uri="{D42A27DB-BD31-4B8C-83A1-F6EECF244321}">
                <p14:modId xmlns:p14="http://schemas.microsoft.com/office/powerpoint/2010/main" val="1317967390"/>
              </p:ext>
            </p:extLst>
          </p:nvPr>
        </p:nvGraphicFramePr>
        <p:xfrm>
          <a:off x="446856" y="1460083"/>
          <a:ext cx="11360135" cy="1635316"/>
        </p:xfrm>
        <a:graphic>
          <a:graphicData uri="http://schemas.openxmlformats.org/drawingml/2006/table">
            <a:tbl>
              <a:tblPr bandRow="1">
                <a:tableStyleId>{5C22544A-7EE6-4342-B048-85BDC9FD1C3A}</a:tableStyleId>
              </a:tblPr>
              <a:tblGrid>
                <a:gridCol w="1136014">
                  <a:extLst>
                    <a:ext uri="{9D8B030D-6E8A-4147-A177-3AD203B41FA5}">
                      <a16:colId xmlns:a16="http://schemas.microsoft.com/office/drawing/2014/main" val="20000"/>
                    </a:ext>
                  </a:extLst>
                </a:gridCol>
                <a:gridCol w="1136014">
                  <a:extLst>
                    <a:ext uri="{9D8B030D-6E8A-4147-A177-3AD203B41FA5}">
                      <a16:colId xmlns:a16="http://schemas.microsoft.com/office/drawing/2014/main" val="20001"/>
                    </a:ext>
                  </a:extLst>
                </a:gridCol>
                <a:gridCol w="1136014">
                  <a:extLst>
                    <a:ext uri="{9D8B030D-6E8A-4147-A177-3AD203B41FA5}">
                      <a16:colId xmlns:a16="http://schemas.microsoft.com/office/drawing/2014/main" val="20002"/>
                    </a:ext>
                  </a:extLst>
                </a:gridCol>
                <a:gridCol w="1136014">
                  <a:extLst>
                    <a:ext uri="{9D8B030D-6E8A-4147-A177-3AD203B41FA5}">
                      <a16:colId xmlns:a16="http://schemas.microsoft.com/office/drawing/2014/main" val="20003"/>
                    </a:ext>
                  </a:extLst>
                </a:gridCol>
                <a:gridCol w="1136014">
                  <a:extLst>
                    <a:ext uri="{9D8B030D-6E8A-4147-A177-3AD203B41FA5}">
                      <a16:colId xmlns:a16="http://schemas.microsoft.com/office/drawing/2014/main" val="20004"/>
                    </a:ext>
                  </a:extLst>
                </a:gridCol>
                <a:gridCol w="1136014">
                  <a:extLst>
                    <a:ext uri="{9D8B030D-6E8A-4147-A177-3AD203B41FA5}">
                      <a16:colId xmlns:a16="http://schemas.microsoft.com/office/drawing/2014/main" val="20005"/>
                    </a:ext>
                  </a:extLst>
                </a:gridCol>
                <a:gridCol w="1136014">
                  <a:extLst>
                    <a:ext uri="{9D8B030D-6E8A-4147-A177-3AD203B41FA5}">
                      <a16:colId xmlns:a16="http://schemas.microsoft.com/office/drawing/2014/main" val="20006"/>
                    </a:ext>
                  </a:extLst>
                </a:gridCol>
                <a:gridCol w="1136014">
                  <a:extLst>
                    <a:ext uri="{9D8B030D-6E8A-4147-A177-3AD203B41FA5}">
                      <a16:colId xmlns:a16="http://schemas.microsoft.com/office/drawing/2014/main" val="20007"/>
                    </a:ext>
                  </a:extLst>
                </a:gridCol>
                <a:gridCol w="1136014">
                  <a:extLst>
                    <a:ext uri="{9D8B030D-6E8A-4147-A177-3AD203B41FA5}">
                      <a16:colId xmlns:a16="http://schemas.microsoft.com/office/drawing/2014/main" val="20008"/>
                    </a:ext>
                  </a:extLst>
                </a:gridCol>
                <a:gridCol w="1136014">
                  <a:extLst>
                    <a:ext uri="{9D8B030D-6E8A-4147-A177-3AD203B41FA5}">
                      <a16:colId xmlns:a16="http://schemas.microsoft.com/office/drawing/2014/main" val="20009"/>
                    </a:ext>
                  </a:extLst>
                </a:gridCol>
              </a:tblGrid>
              <a:tr h="30668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fr-FR" sz="900" b="1" kern="1200" noProof="0" err="1">
                          <a:solidFill>
                            <a:schemeClr val="bg2"/>
                          </a:solidFill>
                          <a:latin typeface="+mn-lt"/>
                          <a:ea typeface="+mn-ea"/>
                          <a:cs typeface="+mn-cs"/>
                        </a:rPr>
                        <a:t>Color</a:t>
                      </a:r>
                      <a:r>
                        <a:rPr lang="fr-FR" sz="900" b="1" kern="1200" noProof="0">
                          <a:solidFill>
                            <a:schemeClr val="bg2"/>
                          </a:solidFill>
                          <a:latin typeface="+mn-lt"/>
                          <a:ea typeface="+mn-ea"/>
                          <a:cs typeface="+mn-cs"/>
                        </a:rPr>
                        <a:t> </a:t>
                      </a:r>
                      <a:r>
                        <a:rPr lang="fr-FR" sz="900" b="1" kern="1200" noProof="0" err="1">
                          <a:solidFill>
                            <a:schemeClr val="bg2"/>
                          </a:solidFill>
                          <a:latin typeface="+mn-lt"/>
                          <a:ea typeface="+mn-ea"/>
                          <a:cs typeface="+mn-cs"/>
                        </a:rPr>
                        <a:t>scheme</a:t>
                      </a:r>
                      <a:endParaRPr lang="fr-FR" sz="900" b="1" kern="1200" noProof="0">
                        <a:solidFill>
                          <a:schemeClr val="bg2"/>
                        </a:solidFill>
                        <a:latin typeface="+mn-lt"/>
                        <a:ea typeface="+mn-ea"/>
                        <a:cs typeface="+mn-cs"/>
                      </a:endParaRPr>
                    </a:p>
                  </a:txBody>
                  <a:tcPr marL="88615" marR="0" marT="72000" marB="72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00647">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Background 1</a:t>
                      </a:r>
                    </a:p>
                  </a:txBody>
                  <a:tcPr marL="88615" marR="0"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Tex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Background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Tex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1</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2</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3</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4</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5</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900" b="0" i="0" u="none" noProof="0">
                          <a:solidFill>
                            <a:schemeClr val="bg2"/>
                          </a:solidFill>
                          <a:latin typeface="+mn-lt"/>
                          <a:cs typeface="Arial" pitchFamily="34" charset="0"/>
                        </a:rPr>
                        <a:t>Accent 6</a:t>
                      </a:r>
                    </a:p>
                  </a:txBody>
                  <a:tcPr marL="88615" marR="132923"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563945">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0"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1000" i="1" u="none" noProof="0">
                        <a:solidFill>
                          <a:schemeClr val="tx1"/>
                        </a:solidFill>
                        <a:latin typeface="+mn-lt"/>
                        <a:cs typeface="Arial" pitchFamily="34" charset="0"/>
                      </a:endParaRPr>
                    </a:p>
                  </a:txBody>
                  <a:tcPr marL="88615" marR="132923" marT="72000" marB="72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55552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R 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V 255</a:t>
                      </a:r>
                      <a:br>
                        <a:rPr lang="fr-FR" sz="1000" i="0" u="none" noProof="0">
                          <a:solidFill>
                            <a:srgbClr val="000000"/>
                          </a:solidFill>
                          <a:latin typeface="+mn-lt"/>
                          <a:cs typeface="Arial" pitchFamily="34" charset="0"/>
                        </a:rPr>
                      </a:br>
                      <a:r>
                        <a:rPr lang="fr-FR" sz="1000" i="0" u="none" noProof="0">
                          <a:solidFill>
                            <a:srgbClr val="000000"/>
                          </a:solidFill>
                          <a:latin typeface="+mn-lt"/>
                          <a:cs typeface="Arial" pitchFamily="34" charset="0"/>
                        </a:rPr>
                        <a:t>B 255</a:t>
                      </a:r>
                    </a:p>
                  </a:txBody>
                  <a:tcPr marL="109065" marR="10906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5</a:t>
                      </a:r>
                    </a:p>
                  </a:txBody>
                  <a:tcPr marL="109065" marR="10906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20</a:t>
                      </a:r>
                    </a:p>
                  </a:txBody>
                  <a:tcPr marL="109065" marR="10906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46</a:t>
                      </a:r>
                    </a:p>
                  </a:txBody>
                  <a:tcPr marL="109065" marR="10906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8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0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40</a:t>
                      </a:r>
                    </a:p>
                  </a:txBody>
                  <a:tcPr marL="109065" marR="10906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7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04</a:t>
                      </a:r>
                    </a:p>
                  </a:txBody>
                  <a:tcPr marL="109065" marR="10906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0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99</a:t>
                      </a:r>
                    </a:p>
                  </a:txBody>
                  <a:tcPr marL="109065" marR="10906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7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7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05</a:t>
                      </a:r>
                    </a:p>
                  </a:txBody>
                  <a:tcPr marL="109065" marR="10906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99</a:t>
                      </a:r>
                    </a:p>
                  </a:txBody>
                  <a:tcPr marL="109065" marR="10906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3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6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1000" i="0" u="none" noProof="0">
                          <a:solidFill>
                            <a:srgbClr val="000000"/>
                          </a:solidFill>
                          <a:latin typeface="+mn-lt"/>
                          <a:cs typeface="Arial" pitchFamily="34" charset="0"/>
                        </a:rPr>
                        <a:t>166</a:t>
                      </a:r>
                    </a:p>
                  </a:txBody>
                  <a:tcPr marL="109065" marR="109065" marT="36000" marB="36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pic>
        <p:nvPicPr>
          <p:cNvPr id="18" name="Picture 7">
            <a:extLst>
              <a:ext uri="{FF2B5EF4-FFF2-40B4-BE49-F238E27FC236}">
                <a16:creationId xmlns:a16="http://schemas.microsoft.com/office/drawing/2014/main" id="{A455E743-C0D9-41D7-9915-6CED3343A5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66581" y="863152"/>
            <a:ext cx="583402" cy="489284"/>
          </a:xfrm>
          <a:prstGeom prst="rect">
            <a:avLst/>
          </a:prstGeom>
        </p:spPr>
      </p:pic>
    </p:spTree>
    <p:extLst>
      <p:ext uri="{BB962C8B-B14F-4D97-AF65-F5344CB8AC3E}">
        <p14:creationId xmlns:p14="http://schemas.microsoft.com/office/powerpoint/2010/main" val="1754094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 1 à 10 chapitre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2019239" y="1268760"/>
            <a:ext cx="7459579" cy="414000"/>
          </a:xfrm>
          <a:prstGeom prst="rect">
            <a:avLst/>
          </a:prstGeom>
        </p:spPr>
        <p:txBody>
          <a:bodyPr wrap="square" tIns="0" bIns="0" anchor="ctr">
            <a:noAutofit/>
          </a:bodyPr>
          <a:lstStyle>
            <a:lvl1pPr marL="0" indent="0" algn="l">
              <a:buClr>
                <a:schemeClr val="bg2"/>
              </a:buClr>
              <a:buFontTx/>
              <a:buNone/>
              <a:defRPr sz="2000" i="0" cap="none" baseline="0">
                <a:solidFill>
                  <a:schemeClr val="bg2"/>
                </a:solidFill>
              </a:defRPr>
            </a:lvl1pPr>
            <a:lvl2pPr>
              <a:defRPr sz="1000"/>
            </a:lvl2pPr>
          </a:lstStyle>
          <a:p>
            <a:pPr lvl="0"/>
            <a:r>
              <a:rPr lang="fr-FR" noProof="0"/>
              <a:t>Chapitre 1</a:t>
            </a:r>
          </a:p>
        </p:txBody>
      </p:sp>
      <p:sp>
        <p:nvSpPr>
          <p:cNvPr id="8" name="Text Placeholder 8"/>
          <p:cNvSpPr>
            <a:spLocks noGrp="1"/>
          </p:cNvSpPr>
          <p:nvPr>
            <p:ph type="body" sz="quarter" idx="17" hasCustomPrompt="1"/>
          </p:nvPr>
        </p:nvSpPr>
        <p:spPr>
          <a:xfrm>
            <a:off x="2019239" y="1744301"/>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itre 2</a:t>
            </a:r>
          </a:p>
        </p:txBody>
      </p:sp>
      <p:sp>
        <p:nvSpPr>
          <p:cNvPr id="11" name="Text Placeholder 8"/>
          <p:cNvSpPr>
            <a:spLocks noGrp="1"/>
          </p:cNvSpPr>
          <p:nvPr>
            <p:ph type="body" sz="quarter" idx="19" hasCustomPrompt="1"/>
          </p:nvPr>
        </p:nvSpPr>
        <p:spPr>
          <a:xfrm>
            <a:off x="2019239" y="2219842"/>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itre 3</a:t>
            </a:r>
          </a:p>
        </p:txBody>
      </p:sp>
      <p:sp>
        <p:nvSpPr>
          <p:cNvPr id="14" name="Text Placeholder 8"/>
          <p:cNvSpPr>
            <a:spLocks noGrp="1"/>
          </p:cNvSpPr>
          <p:nvPr>
            <p:ph type="body" sz="quarter" idx="21" hasCustomPrompt="1"/>
          </p:nvPr>
        </p:nvSpPr>
        <p:spPr>
          <a:xfrm>
            <a:off x="2019239" y="2695383"/>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itre 4</a:t>
            </a:r>
          </a:p>
        </p:txBody>
      </p:sp>
      <p:sp>
        <p:nvSpPr>
          <p:cNvPr id="17" name="Text Placeholder 8"/>
          <p:cNvSpPr>
            <a:spLocks noGrp="1"/>
          </p:cNvSpPr>
          <p:nvPr>
            <p:ph type="body" sz="quarter" idx="23" hasCustomPrompt="1"/>
          </p:nvPr>
        </p:nvSpPr>
        <p:spPr>
          <a:xfrm>
            <a:off x="2019239" y="5548631"/>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itre 10</a:t>
            </a:r>
          </a:p>
        </p:txBody>
      </p:sp>
      <p:sp>
        <p:nvSpPr>
          <p:cNvPr id="30" name="Text Placeholder 8"/>
          <p:cNvSpPr>
            <a:spLocks noGrp="1"/>
          </p:cNvSpPr>
          <p:nvPr>
            <p:ph type="body" sz="quarter" idx="25" hasCustomPrompt="1"/>
          </p:nvPr>
        </p:nvSpPr>
        <p:spPr>
          <a:xfrm>
            <a:off x="9877001" y="1268760"/>
            <a:ext cx="1546213" cy="414000"/>
          </a:xfrm>
          <a:prstGeom prst="rect">
            <a:avLst/>
          </a:prstGeom>
        </p:spPr>
        <p:txBody>
          <a:bodyPr wrap="square" tIns="0" bIns="0" anchor="ctr">
            <a:noAutofit/>
          </a:bodyPr>
          <a:lstStyle>
            <a:lvl1pPr algn="l">
              <a:defRPr sz="1000" b="0" i="0" cap="none" baseline="0">
                <a:solidFill>
                  <a:schemeClr val="bg2"/>
                </a:solidFill>
              </a:defRPr>
            </a:lvl1pPr>
            <a:lvl2pPr>
              <a:defRPr sz="1000"/>
            </a:lvl2pPr>
          </a:lstStyle>
          <a:p>
            <a:pPr lvl="0"/>
            <a:r>
              <a:rPr lang="fr-FR" noProof="0"/>
              <a:t>Page x</a:t>
            </a:r>
          </a:p>
        </p:txBody>
      </p:sp>
      <p:sp>
        <p:nvSpPr>
          <p:cNvPr id="32" name="Text Placeholder 8"/>
          <p:cNvSpPr>
            <a:spLocks noGrp="1"/>
          </p:cNvSpPr>
          <p:nvPr>
            <p:ph type="body" sz="quarter" idx="26" hasCustomPrompt="1"/>
          </p:nvPr>
        </p:nvSpPr>
        <p:spPr>
          <a:xfrm>
            <a:off x="9877001" y="5548631"/>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33" name="Text Placeholder 8"/>
          <p:cNvSpPr>
            <a:spLocks noGrp="1"/>
          </p:cNvSpPr>
          <p:nvPr>
            <p:ph type="body" sz="quarter" idx="27" hasCustomPrompt="1"/>
          </p:nvPr>
        </p:nvSpPr>
        <p:spPr>
          <a:xfrm>
            <a:off x="9877001" y="2695383"/>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34" name="Text Placeholder 8"/>
          <p:cNvSpPr>
            <a:spLocks noGrp="1"/>
          </p:cNvSpPr>
          <p:nvPr>
            <p:ph type="body" sz="quarter" idx="28" hasCustomPrompt="1"/>
          </p:nvPr>
        </p:nvSpPr>
        <p:spPr>
          <a:xfrm>
            <a:off x="9877001" y="2219842"/>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35" name="Text Placeholder 8"/>
          <p:cNvSpPr>
            <a:spLocks noGrp="1"/>
          </p:cNvSpPr>
          <p:nvPr>
            <p:ph type="body" sz="quarter" idx="29" hasCustomPrompt="1"/>
          </p:nvPr>
        </p:nvSpPr>
        <p:spPr>
          <a:xfrm>
            <a:off x="9877001" y="1744301"/>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22" name="Text Placeholder 8"/>
          <p:cNvSpPr>
            <a:spLocks noGrp="1"/>
          </p:cNvSpPr>
          <p:nvPr>
            <p:ph type="body" sz="quarter" idx="30" hasCustomPrompt="1"/>
          </p:nvPr>
        </p:nvSpPr>
        <p:spPr>
          <a:xfrm>
            <a:off x="2019239" y="3170924"/>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itre 5</a:t>
            </a:r>
          </a:p>
        </p:txBody>
      </p:sp>
      <p:sp>
        <p:nvSpPr>
          <p:cNvPr id="24" name="Text Placeholder 8"/>
          <p:cNvSpPr>
            <a:spLocks noGrp="1"/>
          </p:cNvSpPr>
          <p:nvPr>
            <p:ph type="body" sz="quarter" idx="32" hasCustomPrompt="1"/>
          </p:nvPr>
        </p:nvSpPr>
        <p:spPr>
          <a:xfrm>
            <a:off x="9877001" y="3170924"/>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25" name="Text Placeholder 8"/>
          <p:cNvSpPr>
            <a:spLocks noGrp="1"/>
          </p:cNvSpPr>
          <p:nvPr>
            <p:ph type="body" sz="quarter" idx="33" hasCustomPrompt="1"/>
          </p:nvPr>
        </p:nvSpPr>
        <p:spPr>
          <a:xfrm>
            <a:off x="2019239" y="3646465"/>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itre 6</a:t>
            </a:r>
          </a:p>
        </p:txBody>
      </p:sp>
      <p:sp>
        <p:nvSpPr>
          <p:cNvPr id="27" name="Text Placeholder 8"/>
          <p:cNvSpPr>
            <a:spLocks noGrp="1"/>
          </p:cNvSpPr>
          <p:nvPr>
            <p:ph type="body" sz="quarter" idx="35" hasCustomPrompt="1"/>
          </p:nvPr>
        </p:nvSpPr>
        <p:spPr>
          <a:xfrm>
            <a:off x="2019239" y="4122006"/>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itre 7</a:t>
            </a:r>
          </a:p>
        </p:txBody>
      </p:sp>
      <p:sp>
        <p:nvSpPr>
          <p:cNvPr id="29" name="Text Placeholder 8"/>
          <p:cNvSpPr>
            <a:spLocks noGrp="1"/>
          </p:cNvSpPr>
          <p:nvPr>
            <p:ph type="body" sz="quarter" idx="37" hasCustomPrompt="1"/>
          </p:nvPr>
        </p:nvSpPr>
        <p:spPr>
          <a:xfrm>
            <a:off x="9877001" y="4122006"/>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31" name="Text Placeholder 8"/>
          <p:cNvSpPr>
            <a:spLocks noGrp="1"/>
          </p:cNvSpPr>
          <p:nvPr>
            <p:ph type="body" sz="quarter" idx="38" hasCustomPrompt="1"/>
          </p:nvPr>
        </p:nvSpPr>
        <p:spPr>
          <a:xfrm>
            <a:off x="9877001" y="3646465"/>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39" name="Text Placeholder 8"/>
          <p:cNvSpPr>
            <a:spLocks noGrp="1"/>
          </p:cNvSpPr>
          <p:nvPr>
            <p:ph type="body" sz="quarter" idx="39" hasCustomPrompt="1"/>
          </p:nvPr>
        </p:nvSpPr>
        <p:spPr>
          <a:xfrm>
            <a:off x="2019239" y="4597547"/>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itre 8</a:t>
            </a:r>
          </a:p>
        </p:txBody>
      </p:sp>
      <p:sp>
        <p:nvSpPr>
          <p:cNvPr id="41" name="Text Placeholder 8"/>
          <p:cNvSpPr>
            <a:spLocks noGrp="1"/>
          </p:cNvSpPr>
          <p:nvPr>
            <p:ph type="body" sz="quarter" idx="41" hasCustomPrompt="1"/>
          </p:nvPr>
        </p:nvSpPr>
        <p:spPr>
          <a:xfrm>
            <a:off x="9877001" y="4597547"/>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42" name="Text Placeholder 8"/>
          <p:cNvSpPr>
            <a:spLocks noGrp="1"/>
          </p:cNvSpPr>
          <p:nvPr>
            <p:ph type="body" sz="quarter" idx="42" hasCustomPrompt="1"/>
          </p:nvPr>
        </p:nvSpPr>
        <p:spPr>
          <a:xfrm>
            <a:off x="2019239" y="5073088"/>
            <a:ext cx="7459579" cy="414000"/>
          </a:xfrm>
          <a:prstGeom prst="rect">
            <a:avLst/>
          </a:prstGeom>
        </p:spPr>
        <p:txBody>
          <a:bodyPr vert="horz" wrap="square" lIns="108000" tIns="0" rIns="108000" bIns="0" rtlCol="0" anchor="ctr">
            <a:noAutofit/>
          </a:bodyPr>
          <a:lstStyle>
            <a:lvl1pPr algn="l">
              <a:defRPr lang="fr-FR" sz="2000" i="0" cap="none" noProof="0" dirty="0">
                <a:solidFill>
                  <a:schemeClr val="bg2"/>
                </a:solidFill>
              </a:defRPr>
            </a:lvl1pPr>
          </a:lstStyle>
          <a:p>
            <a:pPr lvl="0">
              <a:buClr>
                <a:schemeClr val="bg2"/>
              </a:buClr>
            </a:pPr>
            <a:r>
              <a:rPr lang="fr-FR" noProof="0"/>
              <a:t>Chapitre 9</a:t>
            </a:r>
          </a:p>
        </p:txBody>
      </p:sp>
      <p:sp>
        <p:nvSpPr>
          <p:cNvPr id="44" name="Text Placeholder 8"/>
          <p:cNvSpPr>
            <a:spLocks noGrp="1"/>
          </p:cNvSpPr>
          <p:nvPr>
            <p:ph type="body" sz="quarter" idx="44" hasCustomPrompt="1"/>
          </p:nvPr>
        </p:nvSpPr>
        <p:spPr>
          <a:xfrm>
            <a:off x="9877001" y="5073088"/>
            <a:ext cx="1546213" cy="414000"/>
          </a:xfrm>
          <a:prstGeom prst="rect">
            <a:avLst/>
          </a:prstGeom>
        </p:spPr>
        <p:txBody>
          <a:bodyPr vert="horz" wrap="square" lIns="108000" tIns="0" rIns="108000" bIns="0" rtlCol="0" anchor="ctr">
            <a:noAutofit/>
          </a:bodyPr>
          <a:lstStyle>
            <a:lvl1pPr algn="l">
              <a:defRPr lang="fr-FR" sz="1000" b="0" i="0" cap="none" noProof="0" dirty="0">
                <a:solidFill>
                  <a:schemeClr val="bg2"/>
                </a:solidFill>
              </a:defRPr>
            </a:lvl1pPr>
          </a:lstStyle>
          <a:p>
            <a:pPr lvl="0"/>
            <a:r>
              <a:rPr lang="fr-FR" noProof="0"/>
              <a:t>Page x</a:t>
            </a:r>
          </a:p>
        </p:txBody>
      </p:sp>
      <p:sp>
        <p:nvSpPr>
          <p:cNvPr id="40" name="Text Placeholder 4"/>
          <p:cNvSpPr>
            <a:spLocks noGrp="1"/>
          </p:cNvSpPr>
          <p:nvPr>
            <p:ph type="body" sz="quarter" idx="56" hasCustomPrompt="1"/>
          </p:nvPr>
        </p:nvSpPr>
        <p:spPr>
          <a:xfrm>
            <a:off x="423985" y="1268760"/>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01</a:t>
            </a:r>
          </a:p>
        </p:txBody>
      </p:sp>
      <p:sp>
        <p:nvSpPr>
          <p:cNvPr id="43" name="Text Placeholder 4"/>
          <p:cNvSpPr>
            <a:spLocks noGrp="1"/>
          </p:cNvSpPr>
          <p:nvPr>
            <p:ph type="body" sz="quarter" idx="57" hasCustomPrompt="1"/>
          </p:nvPr>
        </p:nvSpPr>
        <p:spPr>
          <a:xfrm>
            <a:off x="423985" y="1744301"/>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02</a:t>
            </a:r>
          </a:p>
        </p:txBody>
      </p:sp>
      <p:sp>
        <p:nvSpPr>
          <p:cNvPr id="48" name="Text Placeholder 4"/>
          <p:cNvSpPr>
            <a:spLocks noGrp="1"/>
          </p:cNvSpPr>
          <p:nvPr>
            <p:ph type="body" sz="quarter" idx="58" hasCustomPrompt="1"/>
          </p:nvPr>
        </p:nvSpPr>
        <p:spPr>
          <a:xfrm>
            <a:off x="423985" y="2219842"/>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03</a:t>
            </a:r>
          </a:p>
        </p:txBody>
      </p:sp>
      <p:sp>
        <p:nvSpPr>
          <p:cNvPr id="59" name="Text Placeholder 4"/>
          <p:cNvSpPr>
            <a:spLocks noGrp="1"/>
          </p:cNvSpPr>
          <p:nvPr>
            <p:ph type="body" sz="quarter" idx="59" hasCustomPrompt="1"/>
          </p:nvPr>
        </p:nvSpPr>
        <p:spPr>
          <a:xfrm>
            <a:off x="423985" y="2695383"/>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04</a:t>
            </a:r>
          </a:p>
        </p:txBody>
      </p:sp>
      <p:sp>
        <p:nvSpPr>
          <p:cNvPr id="60" name="Text Placeholder 4"/>
          <p:cNvSpPr>
            <a:spLocks noGrp="1"/>
          </p:cNvSpPr>
          <p:nvPr>
            <p:ph type="body" sz="quarter" idx="60" hasCustomPrompt="1"/>
          </p:nvPr>
        </p:nvSpPr>
        <p:spPr>
          <a:xfrm>
            <a:off x="423985" y="3170924"/>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05</a:t>
            </a:r>
          </a:p>
        </p:txBody>
      </p:sp>
      <p:sp>
        <p:nvSpPr>
          <p:cNvPr id="61" name="Text Placeholder 4"/>
          <p:cNvSpPr>
            <a:spLocks noGrp="1"/>
          </p:cNvSpPr>
          <p:nvPr>
            <p:ph type="body" sz="quarter" idx="61" hasCustomPrompt="1"/>
          </p:nvPr>
        </p:nvSpPr>
        <p:spPr>
          <a:xfrm>
            <a:off x="423985" y="3646465"/>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06</a:t>
            </a:r>
          </a:p>
        </p:txBody>
      </p:sp>
      <p:sp>
        <p:nvSpPr>
          <p:cNvPr id="62" name="Text Placeholder 4"/>
          <p:cNvSpPr>
            <a:spLocks noGrp="1"/>
          </p:cNvSpPr>
          <p:nvPr>
            <p:ph type="body" sz="quarter" idx="62" hasCustomPrompt="1"/>
          </p:nvPr>
        </p:nvSpPr>
        <p:spPr>
          <a:xfrm>
            <a:off x="423985" y="4122006"/>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07</a:t>
            </a:r>
          </a:p>
        </p:txBody>
      </p:sp>
      <p:sp>
        <p:nvSpPr>
          <p:cNvPr id="63" name="Text Placeholder 4"/>
          <p:cNvSpPr>
            <a:spLocks noGrp="1"/>
          </p:cNvSpPr>
          <p:nvPr>
            <p:ph type="body" sz="quarter" idx="63" hasCustomPrompt="1"/>
          </p:nvPr>
        </p:nvSpPr>
        <p:spPr>
          <a:xfrm>
            <a:off x="423985" y="4597547"/>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08</a:t>
            </a:r>
          </a:p>
        </p:txBody>
      </p:sp>
      <p:sp>
        <p:nvSpPr>
          <p:cNvPr id="64" name="Text Placeholder 4"/>
          <p:cNvSpPr>
            <a:spLocks noGrp="1"/>
          </p:cNvSpPr>
          <p:nvPr>
            <p:ph type="body" sz="quarter" idx="64" hasCustomPrompt="1"/>
          </p:nvPr>
        </p:nvSpPr>
        <p:spPr>
          <a:xfrm>
            <a:off x="423985" y="5073088"/>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09</a:t>
            </a:r>
          </a:p>
        </p:txBody>
      </p:sp>
      <p:sp>
        <p:nvSpPr>
          <p:cNvPr id="65" name="Text Placeholder 4"/>
          <p:cNvSpPr>
            <a:spLocks noGrp="1"/>
          </p:cNvSpPr>
          <p:nvPr>
            <p:ph type="body" sz="quarter" idx="65" hasCustomPrompt="1"/>
          </p:nvPr>
        </p:nvSpPr>
        <p:spPr>
          <a:xfrm>
            <a:off x="423985" y="5548631"/>
            <a:ext cx="1329231" cy="414000"/>
          </a:xfrm>
          <a:prstGeom prst="rect">
            <a:avLst/>
          </a:prstGeom>
          <a:noFill/>
        </p:spPr>
        <p:txBody>
          <a:bodyPr tIns="0" bIns="0" anchor="ctr">
            <a:noAutofit/>
          </a:bodyPr>
          <a:lstStyle>
            <a:lvl1pPr marL="0" indent="-252000" algn="just">
              <a:lnSpc>
                <a:spcPct val="100000"/>
              </a:lnSpc>
              <a:spcBef>
                <a:spcPts val="400"/>
              </a:spcBef>
              <a:buClr>
                <a:schemeClr val="bg2"/>
              </a:buClr>
              <a:buFont typeface="Tempus Sans ITC" panose="04020404030D07020202" pitchFamily="82" charset="0"/>
              <a:buChar char="/"/>
              <a:defRPr sz="2000" b="1" i="0">
                <a:solidFill>
                  <a:schemeClr val="accent1"/>
                </a:solidFill>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10</a:t>
            </a:r>
          </a:p>
        </p:txBody>
      </p:sp>
      <p:sp>
        <p:nvSpPr>
          <p:cNvPr id="36" name="Title 1"/>
          <p:cNvSpPr txBox="1">
            <a:spLocks/>
          </p:cNvSpPr>
          <p:nvPr/>
        </p:nvSpPr>
        <p:spPr>
          <a:xfrm>
            <a:off x="416540" y="404665"/>
            <a:ext cx="11342769" cy="863748"/>
          </a:xfrm>
          <a:prstGeom prst="rect">
            <a:avLst/>
          </a:prstGeom>
          <a:noFill/>
        </p:spPr>
        <p:txBody>
          <a:bodyPr vert="horz" lIns="108000" tIns="36000" rIns="108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2200" b="1"/>
              <a:t>AGENDA</a:t>
            </a:r>
          </a:p>
        </p:txBody>
      </p:sp>
    </p:spTree>
    <p:extLst>
      <p:ext uri="{BB962C8B-B14F-4D97-AF65-F5344CB8AC3E}">
        <p14:creationId xmlns:p14="http://schemas.microsoft.com/office/powerpoint/2010/main" val="186469019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E591E704-3F17-404C-B460-AD92F7BC6294}"/>
              </a:ext>
            </a:extLst>
          </p:cNvPr>
          <p:cNvSpPr txBox="1">
            <a:spLocks/>
          </p:cNvSpPr>
          <p:nvPr userDrawn="1"/>
        </p:nvSpPr>
        <p:spPr>
          <a:xfrm>
            <a:off x="479999" y="531693"/>
            <a:ext cx="11280202" cy="664615"/>
          </a:xfrm>
          <a:prstGeom prst="rect">
            <a:avLst/>
          </a:prstGeom>
          <a:noFill/>
        </p:spPr>
        <p:txBody>
          <a:bodyPr vert="horz" lIns="99692" tIns="33231" rIns="99692"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2031" b="1" noProof="0"/>
              <a:t>AGENDA</a:t>
            </a:r>
          </a:p>
        </p:txBody>
      </p:sp>
      <p:grpSp>
        <p:nvGrpSpPr>
          <p:cNvPr id="45" name="SP Agenda Section" hidden="1">
            <a:extLst>
              <a:ext uri="{FF2B5EF4-FFF2-40B4-BE49-F238E27FC236}">
                <a16:creationId xmlns:a16="http://schemas.microsoft.com/office/drawing/2014/main" id="{F2857B72-76E8-416F-990A-0E465F5B54C7}"/>
              </a:ext>
            </a:extLst>
          </p:cNvPr>
          <p:cNvGrpSpPr>
            <a:grpSpLocks/>
          </p:cNvGrpSpPr>
          <p:nvPr userDrawn="1"/>
        </p:nvGrpSpPr>
        <p:grpSpPr>
          <a:xfrm>
            <a:off x="466609" y="1295400"/>
            <a:ext cx="11258782" cy="552002"/>
            <a:chOff x="350973" y="1196307"/>
            <a:chExt cx="6173651" cy="552002"/>
          </a:xfrm>
        </p:grpSpPr>
        <p:sp>
          <p:nvSpPr>
            <p:cNvPr id="52" name="Rectangle 51" hidden="1">
              <a:extLst>
                <a:ext uri="{FF2B5EF4-FFF2-40B4-BE49-F238E27FC236}">
                  <a16:creationId xmlns:a16="http://schemas.microsoft.com/office/drawing/2014/main" id="{F1FB3B8E-CCCB-4799-86AC-E6E1C7DEB80B}"/>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fr-FR" sz="1662" b="1" i="0" kern="1200" cap="none" baseline="0" noProof="0">
                  <a:solidFill>
                    <a:schemeClr val="accent1"/>
                  </a:solidFill>
                  <a:latin typeface="+mn-lt"/>
                  <a:ea typeface="+mn-ea"/>
                  <a:cs typeface="+mn-cs"/>
                </a:rPr>
                <a:t>&lt;N&gt;</a:t>
              </a:r>
            </a:p>
          </p:txBody>
        </p:sp>
        <p:sp>
          <p:nvSpPr>
            <p:cNvPr id="53" name="Rectangle 52" hidden="1">
              <a:extLst>
                <a:ext uri="{FF2B5EF4-FFF2-40B4-BE49-F238E27FC236}">
                  <a16:creationId xmlns:a16="http://schemas.microsoft.com/office/drawing/2014/main" id="{59B50CB9-7FA6-4B89-BE45-50C8B85C7E72}"/>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fr-FR" sz="1662" i="0" kern="1200" cap="none" baseline="0" noProof="0">
                  <a:solidFill>
                    <a:schemeClr val="bg2"/>
                  </a:solidFill>
                  <a:latin typeface="+mn-lt"/>
                  <a:ea typeface="+mn-ea"/>
                  <a:cs typeface="+mn-cs"/>
                </a:rPr>
                <a:t>&lt;TEXT&gt;</a:t>
              </a:r>
            </a:p>
          </p:txBody>
        </p:sp>
        <p:sp>
          <p:nvSpPr>
            <p:cNvPr id="54" name="Rectangle 53" hidden="1">
              <a:extLst>
                <a:ext uri="{FF2B5EF4-FFF2-40B4-BE49-F238E27FC236}">
                  <a16:creationId xmlns:a16="http://schemas.microsoft.com/office/drawing/2014/main" id="{114E5980-B6EF-4F21-8788-F077C72B0FF0}"/>
                </a:ext>
              </a:extLst>
            </p:cNvPr>
            <p:cNvSpPr>
              <a:spLocks/>
            </p:cNvSpPr>
            <p:nvPr userDrawn="1"/>
          </p:nvSpPr>
          <p:spPr>
            <a:xfrm>
              <a:off x="6009095" y="1196308"/>
              <a:ext cx="515529"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fr-FR" sz="923" b="0" i="0" kern="1200" cap="none" baseline="0" noProof="0">
                  <a:solidFill>
                    <a:schemeClr val="bg2"/>
                  </a:solidFill>
                  <a:latin typeface="+mn-lt"/>
                  <a:ea typeface="+mn-ea"/>
                  <a:cs typeface="+mn-cs"/>
                </a:rPr>
                <a:t>Page &lt;P&gt;</a:t>
              </a:r>
            </a:p>
          </p:txBody>
        </p:sp>
      </p:grpSp>
      <p:grpSp>
        <p:nvGrpSpPr>
          <p:cNvPr id="55" name="SP Agenda Section Highlight" hidden="1">
            <a:extLst>
              <a:ext uri="{FF2B5EF4-FFF2-40B4-BE49-F238E27FC236}">
                <a16:creationId xmlns:a16="http://schemas.microsoft.com/office/drawing/2014/main" id="{AF096DB6-BE40-42C7-B292-AB2B0E3628DC}"/>
              </a:ext>
            </a:extLst>
          </p:cNvPr>
          <p:cNvGrpSpPr>
            <a:grpSpLocks/>
          </p:cNvGrpSpPr>
          <p:nvPr userDrawn="1"/>
        </p:nvGrpSpPr>
        <p:grpSpPr>
          <a:xfrm>
            <a:off x="466610" y="1828800"/>
            <a:ext cx="11258783" cy="552002"/>
            <a:chOff x="350973" y="1196307"/>
            <a:chExt cx="6173652" cy="552002"/>
          </a:xfrm>
        </p:grpSpPr>
        <p:sp>
          <p:nvSpPr>
            <p:cNvPr id="56" name="Rectangle 55" hidden="1">
              <a:extLst>
                <a:ext uri="{FF2B5EF4-FFF2-40B4-BE49-F238E27FC236}">
                  <a16:creationId xmlns:a16="http://schemas.microsoft.com/office/drawing/2014/main" id="{588DDC6B-5ECF-498B-8DBA-366E2A3A0B1D}"/>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fr-FR" sz="1662" b="1" i="0" kern="1200" cap="none" baseline="0" noProof="0">
                  <a:solidFill>
                    <a:schemeClr val="accent1"/>
                  </a:solidFill>
                  <a:latin typeface="+mn-lt"/>
                  <a:ea typeface="+mn-ea"/>
                  <a:cs typeface="+mn-cs"/>
                </a:rPr>
                <a:t>&lt;N&gt;</a:t>
              </a:r>
            </a:p>
          </p:txBody>
        </p:sp>
        <p:sp>
          <p:nvSpPr>
            <p:cNvPr id="57" name="Rectangle 56" hidden="1">
              <a:extLst>
                <a:ext uri="{FF2B5EF4-FFF2-40B4-BE49-F238E27FC236}">
                  <a16:creationId xmlns:a16="http://schemas.microsoft.com/office/drawing/2014/main" id="{4CCAC344-1E2F-48B9-95CE-33982A7D3EFB}"/>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fr-FR" sz="1662" b="1" i="0" kern="1200" cap="none" baseline="0" noProof="0">
                  <a:solidFill>
                    <a:schemeClr val="bg2"/>
                  </a:solidFill>
                  <a:latin typeface="+mn-lt"/>
                  <a:ea typeface="+mn-ea"/>
                  <a:cs typeface="+mn-cs"/>
                </a:rPr>
                <a:t>&lt;TEXT&gt;</a:t>
              </a:r>
            </a:p>
          </p:txBody>
        </p:sp>
        <p:sp>
          <p:nvSpPr>
            <p:cNvPr id="58" name="Rectangle 57" hidden="1">
              <a:extLst>
                <a:ext uri="{FF2B5EF4-FFF2-40B4-BE49-F238E27FC236}">
                  <a16:creationId xmlns:a16="http://schemas.microsoft.com/office/drawing/2014/main" id="{6A7C46F4-B4A6-461C-AAB6-CCDBCD1DCB81}"/>
                </a:ext>
              </a:extLst>
            </p:cNvPr>
            <p:cNvSpPr>
              <a:spLocks/>
            </p:cNvSpPr>
            <p:nvPr userDrawn="1"/>
          </p:nvSpPr>
          <p:spPr>
            <a:xfrm>
              <a:off x="6009095" y="1196308"/>
              <a:ext cx="51553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fr-FR" sz="923" b="0" i="0" kern="1200" cap="none" baseline="0" noProof="0">
                  <a:solidFill>
                    <a:schemeClr val="bg2"/>
                  </a:solidFill>
                  <a:latin typeface="+mn-lt"/>
                  <a:ea typeface="+mn-ea"/>
                  <a:cs typeface="+mn-cs"/>
                </a:rPr>
                <a:t>Page &lt;P&gt;</a:t>
              </a:r>
            </a:p>
          </p:txBody>
        </p:sp>
      </p:grpSp>
      <p:grpSp>
        <p:nvGrpSpPr>
          <p:cNvPr id="59" name="SP Agenda Subsection" hidden="1">
            <a:extLst>
              <a:ext uri="{FF2B5EF4-FFF2-40B4-BE49-F238E27FC236}">
                <a16:creationId xmlns:a16="http://schemas.microsoft.com/office/drawing/2014/main" id="{A68D29B9-A522-4D76-9EEA-80D6DB90932E}"/>
              </a:ext>
            </a:extLst>
          </p:cNvPr>
          <p:cNvGrpSpPr>
            <a:grpSpLocks/>
          </p:cNvGrpSpPr>
          <p:nvPr userDrawn="1"/>
        </p:nvGrpSpPr>
        <p:grpSpPr>
          <a:xfrm>
            <a:off x="466610" y="2356260"/>
            <a:ext cx="11258783" cy="552002"/>
            <a:chOff x="350973" y="1196307"/>
            <a:chExt cx="6173652" cy="552002"/>
          </a:xfrm>
        </p:grpSpPr>
        <p:sp>
          <p:nvSpPr>
            <p:cNvPr id="60" name="Rectangle 59" hidden="1">
              <a:extLst>
                <a:ext uri="{FF2B5EF4-FFF2-40B4-BE49-F238E27FC236}">
                  <a16:creationId xmlns:a16="http://schemas.microsoft.com/office/drawing/2014/main" id="{9B4CD365-D4A9-4D87-8F1A-E7CBEE002C65}"/>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fr-FR" sz="1662" b="1" i="0" kern="1200" cap="none" baseline="0" noProof="0">
                  <a:solidFill>
                    <a:schemeClr val="accent1"/>
                  </a:solidFill>
                  <a:latin typeface="+mn-lt"/>
                  <a:ea typeface="+mn-ea"/>
                  <a:cs typeface="+mn-cs"/>
                </a:rPr>
                <a:t>&lt;N&gt;</a:t>
              </a:r>
            </a:p>
          </p:txBody>
        </p:sp>
        <p:sp>
          <p:nvSpPr>
            <p:cNvPr id="61" name="Rectangle 60" hidden="1">
              <a:extLst>
                <a:ext uri="{FF2B5EF4-FFF2-40B4-BE49-F238E27FC236}">
                  <a16:creationId xmlns:a16="http://schemas.microsoft.com/office/drawing/2014/main" id="{259E57C0-7D15-4D42-99B0-388B0AD38040}"/>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fr-FR" sz="1662" i="0" kern="1200" cap="none" baseline="0" noProof="0">
                  <a:solidFill>
                    <a:schemeClr val="bg2"/>
                  </a:solidFill>
                  <a:latin typeface="+mn-lt"/>
                  <a:ea typeface="+mn-ea"/>
                  <a:cs typeface="+mn-cs"/>
                </a:rPr>
                <a:t>&lt;TEXT&gt;</a:t>
              </a:r>
            </a:p>
          </p:txBody>
        </p:sp>
        <p:sp>
          <p:nvSpPr>
            <p:cNvPr id="62" name="Rectangle 61" hidden="1">
              <a:extLst>
                <a:ext uri="{FF2B5EF4-FFF2-40B4-BE49-F238E27FC236}">
                  <a16:creationId xmlns:a16="http://schemas.microsoft.com/office/drawing/2014/main" id="{890BE66A-B31C-40B5-8209-60FA2F2E0D99}"/>
                </a:ext>
              </a:extLst>
            </p:cNvPr>
            <p:cNvSpPr>
              <a:spLocks/>
            </p:cNvSpPr>
            <p:nvPr userDrawn="1"/>
          </p:nvSpPr>
          <p:spPr>
            <a:xfrm>
              <a:off x="6009094" y="1196308"/>
              <a:ext cx="51553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fr-FR" sz="923" b="0" i="0" kern="1200" cap="none" baseline="0" noProof="0">
                  <a:solidFill>
                    <a:schemeClr val="bg2"/>
                  </a:solidFill>
                  <a:latin typeface="+mn-lt"/>
                  <a:ea typeface="+mn-ea"/>
                  <a:cs typeface="+mn-cs"/>
                </a:rPr>
                <a:t>Page &lt;P&gt;</a:t>
              </a:r>
            </a:p>
          </p:txBody>
        </p:sp>
      </p:grpSp>
      <p:grpSp>
        <p:nvGrpSpPr>
          <p:cNvPr id="63" name="SP Agenda Subsection Highlight" hidden="1">
            <a:extLst>
              <a:ext uri="{FF2B5EF4-FFF2-40B4-BE49-F238E27FC236}">
                <a16:creationId xmlns:a16="http://schemas.microsoft.com/office/drawing/2014/main" id="{0AC8024E-800F-4D27-81F5-31D2DEC50AB7}"/>
              </a:ext>
            </a:extLst>
          </p:cNvPr>
          <p:cNvGrpSpPr>
            <a:grpSpLocks/>
          </p:cNvGrpSpPr>
          <p:nvPr userDrawn="1"/>
        </p:nvGrpSpPr>
        <p:grpSpPr>
          <a:xfrm>
            <a:off x="466610" y="2908261"/>
            <a:ext cx="11258783" cy="552002"/>
            <a:chOff x="350973" y="1196307"/>
            <a:chExt cx="6173652" cy="552002"/>
          </a:xfrm>
        </p:grpSpPr>
        <p:sp>
          <p:nvSpPr>
            <p:cNvPr id="64" name="Rectangle 63" hidden="1">
              <a:extLst>
                <a:ext uri="{FF2B5EF4-FFF2-40B4-BE49-F238E27FC236}">
                  <a16:creationId xmlns:a16="http://schemas.microsoft.com/office/drawing/2014/main" id="{60B5CDE7-2CF2-495E-81C2-BBB8131B9DBC}"/>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fr-FR" sz="1662" b="1" i="0" kern="1200" cap="none" baseline="0" noProof="0">
                  <a:solidFill>
                    <a:schemeClr val="accent1"/>
                  </a:solidFill>
                  <a:latin typeface="+mn-lt"/>
                  <a:ea typeface="+mn-ea"/>
                  <a:cs typeface="+mn-cs"/>
                </a:rPr>
                <a:t>&lt;N&gt;</a:t>
              </a:r>
            </a:p>
          </p:txBody>
        </p:sp>
        <p:sp>
          <p:nvSpPr>
            <p:cNvPr id="65" name="Rectangle 64" hidden="1">
              <a:extLst>
                <a:ext uri="{FF2B5EF4-FFF2-40B4-BE49-F238E27FC236}">
                  <a16:creationId xmlns:a16="http://schemas.microsoft.com/office/drawing/2014/main" id="{927B3B1A-DD17-4FB3-8083-0E50D87656B3}"/>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fr-FR" sz="1662" b="1" i="0" kern="1200" cap="none" baseline="0" noProof="0">
                  <a:solidFill>
                    <a:schemeClr val="bg2"/>
                  </a:solidFill>
                  <a:latin typeface="+mn-lt"/>
                  <a:ea typeface="+mn-ea"/>
                  <a:cs typeface="+mn-cs"/>
                </a:rPr>
                <a:t>&lt;TEXT&gt;</a:t>
              </a:r>
            </a:p>
          </p:txBody>
        </p:sp>
        <p:sp>
          <p:nvSpPr>
            <p:cNvPr id="66" name="Rectangle 65" hidden="1">
              <a:extLst>
                <a:ext uri="{FF2B5EF4-FFF2-40B4-BE49-F238E27FC236}">
                  <a16:creationId xmlns:a16="http://schemas.microsoft.com/office/drawing/2014/main" id="{C8399873-18C4-49BB-9AC4-3A8655D4B77C}"/>
                </a:ext>
              </a:extLst>
            </p:cNvPr>
            <p:cNvSpPr>
              <a:spLocks/>
            </p:cNvSpPr>
            <p:nvPr userDrawn="1"/>
          </p:nvSpPr>
          <p:spPr>
            <a:xfrm>
              <a:off x="6009093" y="1196308"/>
              <a:ext cx="515532"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fr-FR" sz="923" b="0" i="0" kern="1200" cap="none" baseline="0" noProof="0">
                  <a:solidFill>
                    <a:schemeClr val="bg2"/>
                  </a:solidFill>
                  <a:latin typeface="+mn-lt"/>
                  <a:ea typeface="+mn-ea"/>
                  <a:cs typeface="+mn-cs"/>
                </a:rPr>
                <a:t>Page &lt;P&gt;</a:t>
              </a:r>
            </a:p>
          </p:txBody>
        </p:sp>
      </p:grpSp>
    </p:spTree>
    <p:extLst>
      <p:ext uri="{BB962C8B-B14F-4D97-AF65-F5344CB8AC3E}">
        <p14:creationId xmlns:p14="http://schemas.microsoft.com/office/powerpoint/2010/main" val="785749687"/>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P Divider">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E591E704-3F17-404C-B460-AD92F7BC6294}"/>
              </a:ext>
            </a:extLst>
          </p:cNvPr>
          <p:cNvSpPr txBox="1">
            <a:spLocks/>
          </p:cNvSpPr>
          <p:nvPr userDrawn="1"/>
        </p:nvSpPr>
        <p:spPr>
          <a:xfrm>
            <a:off x="479999" y="531693"/>
            <a:ext cx="11280202" cy="664615"/>
          </a:xfrm>
          <a:prstGeom prst="rect">
            <a:avLst/>
          </a:prstGeom>
          <a:noFill/>
        </p:spPr>
        <p:txBody>
          <a:bodyPr vert="horz" lIns="99692" tIns="33231" rIns="99692"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2031" b="1" noProof="0"/>
              <a:t>AGENDA</a:t>
            </a:r>
          </a:p>
        </p:txBody>
      </p:sp>
      <p:grpSp>
        <p:nvGrpSpPr>
          <p:cNvPr id="45" name="SP Agenda Section" hidden="1">
            <a:extLst>
              <a:ext uri="{FF2B5EF4-FFF2-40B4-BE49-F238E27FC236}">
                <a16:creationId xmlns:a16="http://schemas.microsoft.com/office/drawing/2014/main" id="{F2857B72-76E8-416F-990A-0E465F5B54C7}"/>
              </a:ext>
            </a:extLst>
          </p:cNvPr>
          <p:cNvGrpSpPr>
            <a:grpSpLocks/>
          </p:cNvGrpSpPr>
          <p:nvPr userDrawn="1"/>
        </p:nvGrpSpPr>
        <p:grpSpPr>
          <a:xfrm>
            <a:off x="466609" y="1295400"/>
            <a:ext cx="11258782" cy="552002"/>
            <a:chOff x="350973" y="1196307"/>
            <a:chExt cx="6173651" cy="552002"/>
          </a:xfrm>
        </p:grpSpPr>
        <p:sp>
          <p:nvSpPr>
            <p:cNvPr id="52" name="Rectangle 51" hidden="1">
              <a:extLst>
                <a:ext uri="{FF2B5EF4-FFF2-40B4-BE49-F238E27FC236}">
                  <a16:creationId xmlns:a16="http://schemas.microsoft.com/office/drawing/2014/main" id="{F1FB3B8E-CCCB-4799-86AC-E6E1C7DEB80B}"/>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fr-FR" sz="1662" b="1" i="0" kern="1200" cap="none" baseline="0" noProof="0">
                  <a:solidFill>
                    <a:schemeClr val="accent1"/>
                  </a:solidFill>
                  <a:latin typeface="+mn-lt"/>
                  <a:ea typeface="+mn-ea"/>
                  <a:cs typeface="+mn-cs"/>
                </a:rPr>
                <a:t>&lt;N&gt;</a:t>
              </a:r>
            </a:p>
          </p:txBody>
        </p:sp>
        <p:sp>
          <p:nvSpPr>
            <p:cNvPr id="53" name="Rectangle 52" hidden="1">
              <a:extLst>
                <a:ext uri="{FF2B5EF4-FFF2-40B4-BE49-F238E27FC236}">
                  <a16:creationId xmlns:a16="http://schemas.microsoft.com/office/drawing/2014/main" id="{59B50CB9-7FA6-4B89-BE45-50C8B85C7E72}"/>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fr-FR" sz="1662" i="0" kern="1200" cap="none" baseline="0" noProof="0">
                  <a:solidFill>
                    <a:schemeClr val="bg2"/>
                  </a:solidFill>
                  <a:latin typeface="+mn-lt"/>
                  <a:ea typeface="+mn-ea"/>
                  <a:cs typeface="+mn-cs"/>
                </a:rPr>
                <a:t>&lt;TEXT&gt;</a:t>
              </a:r>
            </a:p>
          </p:txBody>
        </p:sp>
        <p:sp>
          <p:nvSpPr>
            <p:cNvPr id="54" name="Rectangle 53" hidden="1">
              <a:extLst>
                <a:ext uri="{FF2B5EF4-FFF2-40B4-BE49-F238E27FC236}">
                  <a16:creationId xmlns:a16="http://schemas.microsoft.com/office/drawing/2014/main" id="{114E5980-B6EF-4F21-8788-F077C72B0FF0}"/>
                </a:ext>
              </a:extLst>
            </p:cNvPr>
            <p:cNvSpPr>
              <a:spLocks/>
            </p:cNvSpPr>
            <p:nvPr userDrawn="1"/>
          </p:nvSpPr>
          <p:spPr>
            <a:xfrm>
              <a:off x="6009095" y="1196308"/>
              <a:ext cx="515529"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fr-FR" sz="923" b="0" i="0" kern="1200" cap="none" baseline="0" noProof="0">
                  <a:solidFill>
                    <a:schemeClr val="bg2"/>
                  </a:solidFill>
                  <a:latin typeface="+mn-lt"/>
                  <a:ea typeface="+mn-ea"/>
                  <a:cs typeface="+mn-cs"/>
                </a:rPr>
                <a:t>Page &lt;P&gt;</a:t>
              </a:r>
            </a:p>
          </p:txBody>
        </p:sp>
      </p:grpSp>
      <p:grpSp>
        <p:nvGrpSpPr>
          <p:cNvPr id="55" name="SP Agenda Section Highlight" hidden="1">
            <a:extLst>
              <a:ext uri="{FF2B5EF4-FFF2-40B4-BE49-F238E27FC236}">
                <a16:creationId xmlns:a16="http://schemas.microsoft.com/office/drawing/2014/main" id="{AF096DB6-BE40-42C7-B292-AB2B0E3628DC}"/>
              </a:ext>
            </a:extLst>
          </p:cNvPr>
          <p:cNvGrpSpPr>
            <a:grpSpLocks/>
          </p:cNvGrpSpPr>
          <p:nvPr userDrawn="1"/>
        </p:nvGrpSpPr>
        <p:grpSpPr>
          <a:xfrm>
            <a:off x="466610" y="1828800"/>
            <a:ext cx="11258783" cy="552002"/>
            <a:chOff x="350973" y="1196307"/>
            <a:chExt cx="6173652" cy="552002"/>
          </a:xfrm>
        </p:grpSpPr>
        <p:sp>
          <p:nvSpPr>
            <p:cNvPr id="56" name="Rectangle 55" hidden="1">
              <a:extLst>
                <a:ext uri="{FF2B5EF4-FFF2-40B4-BE49-F238E27FC236}">
                  <a16:creationId xmlns:a16="http://schemas.microsoft.com/office/drawing/2014/main" id="{588DDC6B-5ECF-498B-8DBA-366E2A3A0B1D}"/>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fr-FR" sz="1662" b="1" i="0" kern="1200" cap="none" baseline="0" noProof="0">
                  <a:solidFill>
                    <a:schemeClr val="accent1"/>
                  </a:solidFill>
                  <a:latin typeface="+mn-lt"/>
                  <a:ea typeface="+mn-ea"/>
                  <a:cs typeface="+mn-cs"/>
                </a:rPr>
                <a:t>&lt;N&gt;</a:t>
              </a:r>
            </a:p>
          </p:txBody>
        </p:sp>
        <p:sp>
          <p:nvSpPr>
            <p:cNvPr id="57" name="Rectangle 56" hidden="1">
              <a:extLst>
                <a:ext uri="{FF2B5EF4-FFF2-40B4-BE49-F238E27FC236}">
                  <a16:creationId xmlns:a16="http://schemas.microsoft.com/office/drawing/2014/main" id="{4CCAC344-1E2F-48B9-95CE-33982A7D3EFB}"/>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fr-FR" sz="1662" b="1" i="0" kern="1200" cap="none" baseline="0" noProof="0">
                  <a:solidFill>
                    <a:schemeClr val="bg2"/>
                  </a:solidFill>
                  <a:latin typeface="+mn-lt"/>
                  <a:ea typeface="+mn-ea"/>
                  <a:cs typeface="+mn-cs"/>
                </a:rPr>
                <a:t>&lt;TEXT&gt;</a:t>
              </a:r>
            </a:p>
          </p:txBody>
        </p:sp>
        <p:sp>
          <p:nvSpPr>
            <p:cNvPr id="58" name="Rectangle 57" hidden="1">
              <a:extLst>
                <a:ext uri="{FF2B5EF4-FFF2-40B4-BE49-F238E27FC236}">
                  <a16:creationId xmlns:a16="http://schemas.microsoft.com/office/drawing/2014/main" id="{6A7C46F4-B4A6-461C-AAB6-CCDBCD1DCB81}"/>
                </a:ext>
              </a:extLst>
            </p:cNvPr>
            <p:cNvSpPr>
              <a:spLocks/>
            </p:cNvSpPr>
            <p:nvPr userDrawn="1"/>
          </p:nvSpPr>
          <p:spPr>
            <a:xfrm>
              <a:off x="6009095" y="1196308"/>
              <a:ext cx="51553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fr-FR" sz="923" b="0" i="0" kern="1200" cap="none" baseline="0" noProof="0">
                  <a:solidFill>
                    <a:schemeClr val="bg2"/>
                  </a:solidFill>
                  <a:latin typeface="+mn-lt"/>
                  <a:ea typeface="+mn-ea"/>
                  <a:cs typeface="+mn-cs"/>
                </a:rPr>
                <a:t>Page &lt;P&gt;</a:t>
              </a:r>
            </a:p>
          </p:txBody>
        </p:sp>
      </p:grpSp>
      <p:grpSp>
        <p:nvGrpSpPr>
          <p:cNvPr id="59" name="SP Agenda Subsection" hidden="1">
            <a:extLst>
              <a:ext uri="{FF2B5EF4-FFF2-40B4-BE49-F238E27FC236}">
                <a16:creationId xmlns:a16="http://schemas.microsoft.com/office/drawing/2014/main" id="{A68D29B9-A522-4D76-9EEA-80D6DB90932E}"/>
              </a:ext>
            </a:extLst>
          </p:cNvPr>
          <p:cNvGrpSpPr>
            <a:grpSpLocks/>
          </p:cNvGrpSpPr>
          <p:nvPr userDrawn="1"/>
        </p:nvGrpSpPr>
        <p:grpSpPr>
          <a:xfrm>
            <a:off x="466610" y="2356260"/>
            <a:ext cx="11258783" cy="552002"/>
            <a:chOff x="350973" y="1196307"/>
            <a:chExt cx="6173652" cy="552002"/>
          </a:xfrm>
        </p:grpSpPr>
        <p:sp>
          <p:nvSpPr>
            <p:cNvPr id="60" name="Rectangle 59" hidden="1">
              <a:extLst>
                <a:ext uri="{FF2B5EF4-FFF2-40B4-BE49-F238E27FC236}">
                  <a16:creationId xmlns:a16="http://schemas.microsoft.com/office/drawing/2014/main" id="{9B4CD365-D4A9-4D87-8F1A-E7CBEE002C65}"/>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fr-FR" sz="1662" b="1" i="0" kern="1200" cap="none" baseline="0" noProof="0">
                  <a:solidFill>
                    <a:schemeClr val="accent1"/>
                  </a:solidFill>
                  <a:latin typeface="+mn-lt"/>
                  <a:ea typeface="+mn-ea"/>
                  <a:cs typeface="+mn-cs"/>
                </a:rPr>
                <a:t>&lt;N&gt;</a:t>
              </a:r>
            </a:p>
          </p:txBody>
        </p:sp>
        <p:sp>
          <p:nvSpPr>
            <p:cNvPr id="61" name="Rectangle 60" hidden="1">
              <a:extLst>
                <a:ext uri="{FF2B5EF4-FFF2-40B4-BE49-F238E27FC236}">
                  <a16:creationId xmlns:a16="http://schemas.microsoft.com/office/drawing/2014/main" id="{259E57C0-7D15-4D42-99B0-388B0AD38040}"/>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fr-FR" sz="1662" i="0" kern="1200" cap="none" baseline="0" noProof="0">
                  <a:solidFill>
                    <a:schemeClr val="bg2"/>
                  </a:solidFill>
                  <a:latin typeface="+mn-lt"/>
                  <a:ea typeface="+mn-ea"/>
                  <a:cs typeface="+mn-cs"/>
                </a:rPr>
                <a:t>&lt;TEXT&gt;</a:t>
              </a:r>
            </a:p>
          </p:txBody>
        </p:sp>
        <p:sp>
          <p:nvSpPr>
            <p:cNvPr id="62" name="Rectangle 61" hidden="1">
              <a:extLst>
                <a:ext uri="{FF2B5EF4-FFF2-40B4-BE49-F238E27FC236}">
                  <a16:creationId xmlns:a16="http://schemas.microsoft.com/office/drawing/2014/main" id="{890BE66A-B31C-40B5-8209-60FA2F2E0D99}"/>
                </a:ext>
              </a:extLst>
            </p:cNvPr>
            <p:cNvSpPr>
              <a:spLocks/>
            </p:cNvSpPr>
            <p:nvPr userDrawn="1"/>
          </p:nvSpPr>
          <p:spPr>
            <a:xfrm>
              <a:off x="6009094" y="1196308"/>
              <a:ext cx="51553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fr-FR" sz="923" b="0" i="0" kern="1200" cap="none" baseline="0" noProof="0">
                  <a:solidFill>
                    <a:schemeClr val="bg2"/>
                  </a:solidFill>
                  <a:latin typeface="+mn-lt"/>
                  <a:ea typeface="+mn-ea"/>
                  <a:cs typeface="+mn-cs"/>
                </a:rPr>
                <a:t>Page &lt;P&gt;</a:t>
              </a:r>
            </a:p>
          </p:txBody>
        </p:sp>
      </p:grpSp>
      <p:grpSp>
        <p:nvGrpSpPr>
          <p:cNvPr id="63" name="SP Agenda Subsection Highlight" hidden="1">
            <a:extLst>
              <a:ext uri="{FF2B5EF4-FFF2-40B4-BE49-F238E27FC236}">
                <a16:creationId xmlns:a16="http://schemas.microsoft.com/office/drawing/2014/main" id="{0AC8024E-800F-4D27-81F5-31D2DEC50AB7}"/>
              </a:ext>
            </a:extLst>
          </p:cNvPr>
          <p:cNvGrpSpPr>
            <a:grpSpLocks/>
          </p:cNvGrpSpPr>
          <p:nvPr userDrawn="1"/>
        </p:nvGrpSpPr>
        <p:grpSpPr>
          <a:xfrm>
            <a:off x="466610" y="2908261"/>
            <a:ext cx="11258783" cy="552002"/>
            <a:chOff x="350973" y="1196307"/>
            <a:chExt cx="6173652" cy="552002"/>
          </a:xfrm>
        </p:grpSpPr>
        <p:sp>
          <p:nvSpPr>
            <p:cNvPr id="64" name="Rectangle 63" hidden="1">
              <a:extLst>
                <a:ext uri="{FF2B5EF4-FFF2-40B4-BE49-F238E27FC236}">
                  <a16:creationId xmlns:a16="http://schemas.microsoft.com/office/drawing/2014/main" id="{60B5CDE7-2CF2-495E-81C2-BBB8131B9DBC}"/>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232621"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Char char="/"/>
                <a:tabLst/>
                <a:defRPr/>
              </a:pPr>
              <a:r>
                <a:rPr lang="fr-FR" sz="1662" b="1" i="0" kern="1200" cap="none" baseline="0" noProof="0">
                  <a:solidFill>
                    <a:schemeClr val="accent1"/>
                  </a:solidFill>
                  <a:latin typeface="+mn-lt"/>
                  <a:ea typeface="+mn-ea"/>
                  <a:cs typeface="+mn-cs"/>
                </a:rPr>
                <a:t>&lt;N&gt;</a:t>
              </a:r>
            </a:p>
          </p:txBody>
        </p:sp>
        <p:sp>
          <p:nvSpPr>
            <p:cNvPr id="65" name="Rectangle 64" hidden="1">
              <a:extLst>
                <a:ext uri="{FF2B5EF4-FFF2-40B4-BE49-F238E27FC236}">
                  <a16:creationId xmlns:a16="http://schemas.microsoft.com/office/drawing/2014/main" id="{927B3B1A-DD17-4FB3-8083-0E50D87656B3}"/>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fr-FR" sz="1662" b="1" i="0" kern="1200" cap="none" baseline="0" noProof="0">
                  <a:solidFill>
                    <a:schemeClr val="bg2"/>
                  </a:solidFill>
                  <a:latin typeface="+mn-lt"/>
                  <a:ea typeface="+mn-ea"/>
                  <a:cs typeface="+mn-cs"/>
                </a:rPr>
                <a:t>&lt;TEXT&gt;</a:t>
              </a:r>
            </a:p>
          </p:txBody>
        </p:sp>
        <p:sp>
          <p:nvSpPr>
            <p:cNvPr id="66" name="Rectangle 65" hidden="1">
              <a:extLst>
                <a:ext uri="{FF2B5EF4-FFF2-40B4-BE49-F238E27FC236}">
                  <a16:creationId xmlns:a16="http://schemas.microsoft.com/office/drawing/2014/main" id="{C8399873-18C4-49BB-9AC4-3A8655D4B77C}"/>
                </a:ext>
              </a:extLst>
            </p:cNvPr>
            <p:cNvSpPr>
              <a:spLocks/>
            </p:cNvSpPr>
            <p:nvPr userDrawn="1"/>
          </p:nvSpPr>
          <p:spPr>
            <a:xfrm>
              <a:off x="6009093" y="1196308"/>
              <a:ext cx="515532"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514350" rtl="0" eaLnBrk="1" fontAlgn="auto" latinLnBrk="0" hangingPunct="1">
                <a:lnSpc>
                  <a:spcPct val="100000"/>
                </a:lnSpc>
                <a:spcBef>
                  <a:spcPts val="369"/>
                </a:spcBef>
                <a:spcAft>
                  <a:spcPts val="0"/>
                </a:spcAft>
                <a:buClr>
                  <a:schemeClr val="bg2"/>
                </a:buClr>
                <a:buSzTx/>
                <a:buFont typeface="Tempus Sans ITC" panose="04020404030D07020202" pitchFamily="82" charset="0"/>
                <a:buNone/>
                <a:tabLst/>
                <a:defRPr/>
              </a:pPr>
              <a:r>
                <a:rPr lang="fr-FR" sz="923" b="0" i="0" kern="1200" cap="none" baseline="0" noProof="0">
                  <a:solidFill>
                    <a:schemeClr val="bg2"/>
                  </a:solidFill>
                  <a:latin typeface="+mn-lt"/>
                  <a:ea typeface="+mn-ea"/>
                  <a:cs typeface="+mn-cs"/>
                </a:rPr>
                <a:t>Page &lt;P&gt;</a:t>
              </a:r>
            </a:p>
          </p:txBody>
        </p:sp>
      </p:grpSp>
    </p:spTree>
    <p:extLst>
      <p:ext uri="{BB962C8B-B14F-4D97-AF65-F5344CB8AC3E}">
        <p14:creationId xmlns:p14="http://schemas.microsoft.com/office/powerpoint/2010/main" val="3962914787"/>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fr-FR"/>
              <a:t>Modifiez le style du titr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Date Placeholder 3"/>
          <p:cNvSpPr>
            <a:spLocks noGrp="1"/>
          </p:cNvSpPr>
          <p:nvPr>
            <p:ph type="dt" sz="half" idx="10"/>
          </p:nvPr>
        </p:nvSpPr>
        <p:spPr/>
        <p:txBody>
          <a:bodyPr/>
          <a:lstStyle/>
          <a:p>
            <a:fld id="{AF7E3CD7-A3C1-4A1E-9615-BA654794441E}" type="datetimeFigureOut">
              <a:rPr lang="fr-FR" smtClean="0"/>
              <a:t>05/10/2022</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E127AE43-724D-4DED-BED0-6F19B2FF8D8C}" type="slidenum">
              <a:rPr lang="fr-FR" smtClean="0"/>
              <a:t>‹N°›</a:t>
            </a:fld>
            <a:endParaRPr lang="fr-FR"/>
          </a:p>
        </p:txBody>
      </p:sp>
    </p:spTree>
    <p:extLst>
      <p:ext uri="{BB962C8B-B14F-4D97-AF65-F5344CB8AC3E}">
        <p14:creationId xmlns:p14="http://schemas.microsoft.com/office/powerpoint/2010/main" val="379866277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p>
        </p:txBody>
      </p:sp>
      <p:sp>
        <p:nvSpPr>
          <p:cNvPr id="3" name="Content Placeholder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Date Placeholder 3"/>
          <p:cNvSpPr>
            <a:spLocks noGrp="1"/>
          </p:cNvSpPr>
          <p:nvPr>
            <p:ph type="dt" sz="half" idx="10"/>
          </p:nvPr>
        </p:nvSpPr>
        <p:spPr/>
        <p:txBody>
          <a:bodyPr/>
          <a:lstStyle/>
          <a:p>
            <a:fld id="{AF7E3CD7-A3C1-4A1E-9615-BA654794441E}" type="datetimeFigureOut">
              <a:rPr lang="fr-FR" smtClean="0"/>
              <a:t>05/10/2022</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E127AE43-724D-4DED-BED0-6F19B2FF8D8C}" type="slidenum">
              <a:rPr lang="fr-FR" smtClean="0"/>
              <a:t>‹N°›</a:t>
            </a:fld>
            <a:endParaRPr lang="fr-FR"/>
          </a:p>
        </p:txBody>
      </p:sp>
    </p:spTree>
    <p:extLst>
      <p:ext uri="{BB962C8B-B14F-4D97-AF65-F5344CB8AC3E}">
        <p14:creationId xmlns:p14="http://schemas.microsoft.com/office/powerpoint/2010/main" val="395884770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831852" y="1709741"/>
            <a:ext cx="10515600" cy="2852737"/>
          </a:xfrm>
        </p:spPr>
        <p:txBody>
          <a:bodyPr anchor="b"/>
          <a:lstStyle>
            <a:lvl1pPr>
              <a:defRPr sz="6000"/>
            </a:lvl1pPr>
          </a:lstStyle>
          <a:p>
            <a:r>
              <a:rPr lang="fr-FR"/>
              <a:t>Modifiez le style du titre</a:t>
            </a:r>
          </a:p>
        </p:txBody>
      </p:sp>
      <p:sp>
        <p:nvSpPr>
          <p:cNvPr id="3" name="Text Placeholder 2"/>
          <p:cNvSpPr>
            <a:spLocks noGrp="1"/>
          </p:cNvSpPr>
          <p:nvPr>
            <p:ph type="body" idx="1"/>
          </p:nvPr>
        </p:nvSpPr>
        <p:spPr>
          <a:xfrm>
            <a:off x="831852" y="4589466"/>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AF7E3CD7-A3C1-4A1E-9615-BA654794441E}" type="datetimeFigureOut">
              <a:rPr lang="fr-FR" smtClean="0"/>
              <a:t>05/10/2022</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E127AE43-724D-4DED-BED0-6F19B2FF8D8C}" type="slidenum">
              <a:rPr lang="fr-FR" smtClean="0"/>
              <a:t>‹N°›</a:t>
            </a:fld>
            <a:endParaRPr lang="fr-FR"/>
          </a:p>
        </p:txBody>
      </p:sp>
    </p:spTree>
    <p:extLst>
      <p:ext uri="{BB962C8B-B14F-4D97-AF65-F5344CB8AC3E}">
        <p14:creationId xmlns:p14="http://schemas.microsoft.com/office/powerpoint/2010/main" val="33095330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p>
        </p:txBody>
      </p:sp>
      <p:sp>
        <p:nvSpPr>
          <p:cNvPr id="3" name="Content Placeholder 2"/>
          <p:cNvSpPr>
            <a:spLocks noGrp="1"/>
          </p:cNvSpPr>
          <p:nvPr>
            <p:ph sz="half" idx="1"/>
          </p:nvPr>
        </p:nvSpPr>
        <p:spPr>
          <a:xfrm>
            <a:off x="838201"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Content Placeholder 3"/>
          <p:cNvSpPr>
            <a:spLocks noGrp="1"/>
          </p:cNvSpPr>
          <p:nvPr>
            <p:ph sz="half" idx="2"/>
          </p:nvPr>
        </p:nvSpPr>
        <p:spPr>
          <a:xfrm>
            <a:off x="6172201"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Date Placeholder 4"/>
          <p:cNvSpPr>
            <a:spLocks noGrp="1"/>
          </p:cNvSpPr>
          <p:nvPr>
            <p:ph type="dt" sz="half" idx="10"/>
          </p:nvPr>
        </p:nvSpPr>
        <p:spPr/>
        <p:txBody>
          <a:bodyPr/>
          <a:lstStyle/>
          <a:p>
            <a:fld id="{AF7E3CD7-A3C1-4A1E-9615-BA654794441E}" type="datetimeFigureOut">
              <a:rPr lang="fr-FR" smtClean="0"/>
              <a:t>05/10/2022</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E127AE43-724D-4DED-BED0-6F19B2FF8D8C}" type="slidenum">
              <a:rPr lang="fr-FR" smtClean="0"/>
              <a:t>‹N°›</a:t>
            </a:fld>
            <a:endParaRPr lang="fr-FR"/>
          </a:p>
        </p:txBody>
      </p:sp>
    </p:spTree>
    <p:extLst>
      <p:ext uri="{BB962C8B-B14F-4D97-AF65-F5344CB8AC3E}">
        <p14:creationId xmlns:p14="http://schemas.microsoft.com/office/powerpoint/2010/main" val="13625042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8"/>
            <a:ext cx="10515600" cy="1325563"/>
          </a:xfrm>
        </p:spPr>
        <p:txBody>
          <a:bodyPr/>
          <a:lstStyle/>
          <a:p>
            <a:r>
              <a:rPr lang="fr-FR"/>
              <a:t>Modifiez le style du titre</a:t>
            </a:r>
          </a:p>
        </p:txBody>
      </p:sp>
      <p:sp>
        <p:nvSpPr>
          <p:cNvPr id="3" name="Text Placeholder 2"/>
          <p:cNvSpPr>
            <a:spLocks noGrp="1"/>
          </p:cNvSpPr>
          <p:nvPr>
            <p:ph type="body" idx="1"/>
          </p:nvPr>
        </p:nvSpPr>
        <p:spPr>
          <a:xfrm>
            <a:off x="839790"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Content Placeholder 3"/>
          <p:cNvSpPr>
            <a:spLocks noGrp="1"/>
          </p:cNvSpPr>
          <p:nvPr>
            <p:ph sz="half" idx="2"/>
          </p:nvPr>
        </p:nvSpPr>
        <p:spPr>
          <a:xfrm>
            <a:off x="839790"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Content Placeholder 5"/>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Date Placeholder 6"/>
          <p:cNvSpPr>
            <a:spLocks noGrp="1"/>
          </p:cNvSpPr>
          <p:nvPr>
            <p:ph type="dt" sz="half" idx="10"/>
          </p:nvPr>
        </p:nvSpPr>
        <p:spPr/>
        <p:txBody>
          <a:bodyPr/>
          <a:lstStyle/>
          <a:p>
            <a:fld id="{AF7E3CD7-A3C1-4A1E-9615-BA654794441E}" type="datetimeFigureOut">
              <a:rPr lang="fr-FR" smtClean="0"/>
              <a:t>05/10/2022</a:t>
            </a:fld>
            <a:endParaRPr lang="fr-FR"/>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E127AE43-724D-4DED-BED0-6F19B2FF8D8C}" type="slidenum">
              <a:rPr lang="fr-FR" smtClean="0"/>
              <a:t>‹N°›</a:t>
            </a:fld>
            <a:endParaRPr lang="fr-FR"/>
          </a:p>
        </p:txBody>
      </p:sp>
    </p:spTree>
    <p:extLst>
      <p:ext uri="{BB962C8B-B14F-4D97-AF65-F5344CB8AC3E}">
        <p14:creationId xmlns:p14="http://schemas.microsoft.com/office/powerpoint/2010/main" val="95532399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p>
        </p:txBody>
      </p:sp>
      <p:sp>
        <p:nvSpPr>
          <p:cNvPr id="3" name="Date Placeholder 2"/>
          <p:cNvSpPr>
            <a:spLocks noGrp="1"/>
          </p:cNvSpPr>
          <p:nvPr>
            <p:ph type="dt" sz="half" idx="10"/>
          </p:nvPr>
        </p:nvSpPr>
        <p:spPr/>
        <p:txBody>
          <a:bodyPr/>
          <a:lstStyle/>
          <a:p>
            <a:fld id="{AF7E3CD7-A3C1-4A1E-9615-BA654794441E}" type="datetimeFigureOut">
              <a:rPr lang="fr-FR" smtClean="0"/>
              <a:t>05/10/2022</a:t>
            </a:fld>
            <a:endParaRPr lang="fr-FR"/>
          </a:p>
        </p:txBody>
      </p:sp>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E127AE43-724D-4DED-BED0-6F19B2FF8D8C}" type="slidenum">
              <a:rPr lang="fr-FR" smtClean="0"/>
              <a:t>‹N°›</a:t>
            </a:fld>
            <a:endParaRPr lang="fr-FR"/>
          </a:p>
        </p:txBody>
      </p:sp>
    </p:spTree>
    <p:extLst>
      <p:ext uri="{BB962C8B-B14F-4D97-AF65-F5344CB8AC3E}">
        <p14:creationId xmlns:p14="http://schemas.microsoft.com/office/powerpoint/2010/main" val="349484867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F7E3CD7-A3C1-4A1E-9615-BA654794441E}" type="datetimeFigureOut">
              <a:rPr lang="fr-FR" smtClean="0"/>
              <a:t>05/10/2022</a:t>
            </a:fld>
            <a:endParaRPr lang="fr-F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E127AE43-724D-4DED-BED0-6F19B2FF8D8C}" type="slidenum">
              <a:rPr lang="fr-FR" smtClean="0"/>
              <a:t>‹N°›</a:t>
            </a:fld>
            <a:endParaRPr lang="fr-FR"/>
          </a:p>
        </p:txBody>
      </p:sp>
    </p:spTree>
    <p:extLst>
      <p:ext uri="{BB962C8B-B14F-4D97-AF65-F5344CB8AC3E}">
        <p14:creationId xmlns:p14="http://schemas.microsoft.com/office/powerpoint/2010/main" val="8463680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8" cy="1600200"/>
          </a:xfrm>
        </p:spPr>
        <p:txBody>
          <a:bodyPr anchor="b"/>
          <a:lstStyle>
            <a:lvl1pPr>
              <a:defRPr sz="3200"/>
            </a:lvl1pPr>
          </a:lstStyle>
          <a:p>
            <a:r>
              <a:rPr lang="fr-FR"/>
              <a:t>Modifiez le style du titre</a:t>
            </a:r>
          </a:p>
        </p:txBody>
      </p:sp>
      <p:sp>
        <p:nvSpPr>
          <p:cNvPr id="3" name="Content Placeholder 2"/>
          <p:cNvSpPr>
            <a:spLocks noGrp="1"/>
          </p:cNvSpPr>
          <p:nvPr>
            <p:ph idx="1"/>
          </p:nvPr>
        </p:nvSpPr>
        <p:spPr>
          <a:xfrm>
            <a:off x="5183188" y="987428"/>
            <a:ext cx="6172201"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Text Placeholder 3"/>
          <p:cNvSpPr>
            <a:spLocks noGrp="1"/>
          </p:cNvSpPr>
          <p:nvPr>
            <p:ph type="body" sz="half" idx="2"/>
          </p:nvPr>
        </p:nvSpPr>
        <p:spPr>
          <a:xfrm>
            <a:off x="839789" y="2057400"/>
            <a:ext cx="393223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fld id="{AF7E3CD7-A3C1-4A1E-9615-BA654794441E}" type="datetimeFigureOut">
              <a:rPr lang="fr-FR" smtClean="0"/>
              <a:t>05/10/2022</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E127AE43-724D-4DED-BED0-6F19B2FF8D8C}" type="slidenum">
              <a:rPr lang="fr-FR" smtClean="0"/>
              <a:t>‹N°›</a:t>
            </a:fld>
            <a:endParaRPr lang="fr-FR"/>
          </a:p>
        </p:txBody>
      </p:sp>
    </p:spTree>
    <p:extLst>
      <p:ext uri="{BB962C8B-B14F-4D97-AF65-F5344CB8AC3E}">
        <p14:creationId xmlns:p14="http://schemas.microsoft.com/office/powerpoint/2010/main" val="38612043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hapter White">
    <p:spTree>
      <p:nvGrpSpPr>
        <p:cNvPr id="1" name=""/>
        <p:cNvGrpSpPr/>
        <p:nvPr/>
      </p:nvGrpSpPr>
      <p:grpSpPr>
        <a:xfrm>
          <a:off x="0" y="0"/>
          <a:ext cx="0" cy="0"/>
          <a:chOff x="0" y="0"/>
          <a:chExt cx="0" cy="0"/>
        </a:xfrm>
      </p:grpSpPr>
      <p:pic>
        <p:nvPicPr>
          <p:cNvPr id="6" name="Image 11"/>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0"/>
            <a:ext cx="4289072" cy="4725900"/>
          </a:xfrm>
          <a:prstGeom prst="rect">
            <a:avLst/>
          </a:prstGeom>
        </p:spPr>
      </p:pic>
      <p:sp>
        <p:nvSpPr>
          <p:cNvPr id="8" name="Espace réservé pour une image  35"/>
          <p:cNvSpPr>
            <a:spLocks noGrp="1"/>
          </p:cNvSpPr>
          <p:nvPr>
            <p:ph type="pic" sz="quarter" idx="10" hasCustomPrompt="1"/>
          </p:nvPr>
        </p:nvSpPr>
        <p:spPr>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a:t>Cliquer ici   &gt;&gt;</a:t>
            </a:r>
            <a:br>
              <a:rPr lang="fr-FR"/>
            </a:br>
            <a:r>
              <a:rPr lang="fr-FR"/>
              <a:t>pour insérer votre photo</a:t>
            </a:r>
          </a:p>
        </p:txBody>
      </p:sp>
      <p:sp>
        <p:nvSpPr>
          <p:cNvPr id="9" name="Title 1"/>
          <p:cNvSpPr>
            <a:spLocks noGrp="1"/>
          </p:cNvSpPr>
          <p:nvPr>
            <p:ph type="title" hasCustomPrompt="1"/>
          </p:nvPr>
        </p:nvSpPr>
        <p:spPr bwMode="gray">
          <a:xfrm>
            <a:off x="4214575" y="3342167"/>
            <a:ext cx="7375641" cy="986946"/>
          </a:xfrm>
          <a:noFill/>
        </p:spPr>
        <p:txBody>
          <a:bodyPr tIns="108000" rIns="0" anchor="t"/>
          <a:lstStyle>
            <a:lvl1pPr algn="r">
              <a:buClr>
                <a:schemeClr val="bg2"/>
              </a:buClr>
              <a:defRPr sz="2400">
                <a:solidFill>
                  <a:schemeClr val="bg2"/>
                </a:solidFill>
                <a:latin typeface="+mj-lt"/>
              </a:defRPr>
            </a:lvl1pPr>
          </a:lstStyle>
          <a:p>
            <a:r>
              <a:rPr lang="fr-FR" noProof="0"/>
              <a:t>Titre de chapitre</a:t>
            </a:r>
          </a:p>
        </p:txBody>
      </p:sp>
      <p:sp>
        <p:nvSpPr>
          <p:cNvPr id="10" name="Text Placeholder 4"/>
          <p:cNvSpPr>
            <a:spLocks noGrp="1"/>
          </p:cNvSpPr>
          <p:nvPr>
            <p:ph type="body" sz="quarter" idx="38" hasCustomPrompt="1"/>
          </p:nvPr>
        </p:nvSpPr>
        <p:spPr bwMode="gray">
          <a:xfrm>
            <a:off x="2787386" y="3342167"/>
            <a:ext cx="1329231" cy="986400"/>
          </a:xfrm>
          <a:prstGeom prst="rect">
            <a:avLst/>
          </a:prstGeom>
          <a:noFill/>
        </p:spPr>
        <p:txBody>
          <a:bodyPr anchor="t">
            <a:noAutofit/>
          </a:bodyPr>
          <a:lstStyle>
            <a:lvl1pPr marL="0" indent="-252000" algn="just">
              <a:lnSpc>
                <a:spcPct val="100000"/>
              </a:lnSpc>
              <a:spcBef>
                <a:spcPts val="400"/>
              </a:spcBef>
              <a:buClr>
                <a:schemeClr val="bg2"/>
              </a:buClr>
              <a:buFont typeface="Tempus Sans ITC" panose="04020404030D07020202" pitchFamily="82" charset="0"/>
              <a:buChar char="/"/>
              <a:defRPr sz="2400" b="1" i="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01</a:t>
            </a:r>
          </a:p>
        </p:txBody>
      </p:sp>
    </p:spTree>
    <p:extLst>
      <p:ext uri="{BB962C8B-B14F-4D97-AF65-F5344CB8AC3E}">
        <p14:creationId xmlns:p14="http://schemas.microsoft.com/office/powerpoint/2010/main" val="30143293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8" cy="1600200"/>
          </a:xfrm>
        </p:spPr>
        <p:txBody>
          <a:bodyPr anchor="b"/>
          <a:lstStyle>
            <a:lvl1pPr>
              <a:defRPr sz="3200"/>
            </a:lvl1pPr>
          </a:lstStyle>
          <a:p>
            <a:r>
              <a:rPr lang="fr-FR"/>
              <a:t>Modifiez le style du titre</a:t>
            </a:r>
          </a:p>
        </p:txBody>
      </p:sp>
      <p:sp>
        <p:nvSpPr>
          <p:cNvPr id="3" name="Picture Placeholder 2"/>
          <p:cNvSpPr>
            <a:spLocks noGrp="1" noChangeAspect="1"/>
          </p:cNvSpPr>
          <p:nvPr>
            <p:ph type="pic" idx="1"/>
          </p:nvPr>
        </p:nvSpPr>
        <p:spPr>
          <a:xfrm>
            <a:off x="5183188" y="987428"/>
            <a:ext cx="6172201"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4" name="Text Placeholder 3"/>
          <p:cNvSpPr>
            <a:spLocks noGrp="1"/>
          </p:cNvSpPr>
          <p:nvPr>
            <p:ph type="body" sz="half" idx="2"/>
          </p:nvPr>
        </p:nvSpPr>
        <p:spPr>
          <a:xfrm>
            <a:off x="839789" y="2057400"/>
            <a:ext cx="393223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fld id="{AF7E3CD7-A3C1-4A1E-9615-BA654794441E}" type="datetimeFigureOut">
              <a:rPr lang="fr-FR" smtClean="0"/>
              <a:t>05/10/2022</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E127AE43-724D-4DED-BED0-6F19B2FF8D8C}" type="slidenum">
              <a:rPr lang="fr-FR" smtClean="0"/>
              <a:t>‹N°›</a:t>
            </a:fld>
            <a:endParaRPr lang="fr-FR"/>
          </a:p>
        </p:txBody>
      </p:sp>
    </p:spTree>
    <p:extLst>
      <p:ext uri="{BB962C8B-B14F-4D97-AF65-F5344CB8AC3E}">
        <p14:creationId xmlns:p14="http://schemas.microsoft.com/office/powerpoint/2010/main" val="6670080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p>
        </p:txBody>
      </p:sp>
      <p:sp>
        <p:nvSpPr>
          <p:cNvPr id="3" name="Vertical Text Placeholder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Date Placeholder 3"/>
          <p:cNvSpPr>
            <a:spLocks noGrp="1"/>
          </p:cNvSpPr>
          <p:nvPr>
            <p:ph type="dt" sz="half" idx="10"/>
          </p:nvPr>
        </p:nvSpPr>
        <p:spPr/>
        <p:txBody>
          <a:bodyPr/>
          <a:lstStyle/>
          <a:p>
            <a:fld id="{AF7E3CD7-A3C1-4A1E-9615-BA654794441E}" type="datetimeFigureOut">
              <a:rPr lang="fr-FR" smtClean="0"/>
              <a:t>05/10/2022</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E127AE43-724D-4DED-BED0-6F19B2FF8D8C}" type="slidenum">
              <a:rPr lang="fr-FR" smtClean="0"/>
              <a:t>‹N°›</a:t>
            </a:fld>
            <a:endParaRPr lang="fr-FR"/>
          </a:p>
        </p:txBody>
      </p:sp>
    </p:spTree>
    <p:extLst>
      <p:ext uri="{BB962C8B-B14F-4D97-AF65-F5344CB8AC3E}">
        <p14:creationId xmlns:p14="http://schemas.microsoft.com/office/powerpoint/2010/main" val="1773385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fr-FR"/>
              <a:t>Modifiez le style du titr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Date Placeholder 3"/>
          <p:cNvSpPr>
            <a:spLocks noGrp="1"/>
          </p:cNvSpPr>
          <p:nvPr>
            <p:ph type="dt" sz="half" idx="10"/>
          </p:nvPr>
        </p:nvSpPr>
        <p:spPr/>
        <p:txBody>
          <a:bodyPr/>
          <a:lstStyle/>
          <a:p>
            <a:fld id="{AF7E3CD7-A3C1-4A1E-9615-BA654794441E}" type="datetimeFigureOut">
              <a:rPr lang="fr-FR" smtClean="0"/>
              <a:t>05/10/2022</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E127AE43-724D-4DED-BED0-6F19B2FF8D8C}" type="slidenum">
              <a:rPr lang="fr-FR" smtClean="0"/>
              <a:t>‹N°›</a:t>
            </a:fld>
            <a:endParaRPr lang="fr-FR"/>
          </a:p>
        </p:txBody>
      </p:sp>
    </p:spTree>
    <p:extLst>
      <p:ext uri="{BB962C8B-B14F-4D97-AF65-F5344CB8AC3E}">
        <p14:creationId xmlns:p14="http://schemas.microsoft.com/office/powerpoint/2010/main" val="12142393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Genera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5355" y="404665"/>
            <a:ext cx="11342769" cy="863748"/>
          </a:xfrm>
        </p:spPr>
        <p:txBody>
          <a:bodyPr lIns="108000" tIns="0" rIns="108000" bIns="0"/>
          <a:lstStyle>
            <a:lvl1pPr>
              <a:defRPr sz="1650" baseline="0">
                <a:solidFill>
                  <a:schemeClr val="bg2"/>
                </a:solidFill>
              </a:defRPr>
            </a:lvl1pPr>
          </a:lstStyle>
          <a:p>
            <a:r>
              <a:rPr lang="fr-FR"/>
              <a:t>Complete with a title here that carries your message on two lines at most for more </a:t>
            </a:r>
            <a:r>
              <a:rPr lang="fr-FR" noProof="0"/>
              <a:t>readability</a:t>
            </a:r>
          </a:p>
        </p:txBody>
      </p:sp>
      <p:sp>
        <p:nvSpPr>
          <p:cNvPr id="9" name="Text Placeholder 8"/>
          <p:cNvSpPr>
            <a:spLocks noGrp="1"/>
          </p:cNvSpPr>
          <p:nvPr>
            <p:ph type="body" sz="quarter" idx="13" hasCustomPrompt="1"/>
          </p:nvPr>
        </p:nvSpPr>
        <p:spPr>
          <a:xfrm>
            <a:off x="425355" y="144314"/>
            <a:ext cx="11342769" cy="260350"/>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a:t>Insert a top title here - must not exceed 1 line</a:t>
            </a:r>
          </a:p>
        </p:txBody>
      </p:sp>
      <p:sp>
        <p:nvSpPr>
          <p:cNvPr id="4" name="Espace réservé du contenu 3"/>
          <p:cNvSpPr>
            <a:spLocks noGrp="1"/>
          </p:cNvSpPr>
          <p:nvPr>
            <p:ph sz="quarter" idx="14" hasCustomPrompt="1"/>
          </p:nvPr>
        </p:nvSpPr>
        <p:spPr>
          <a:xfrm>
            <a:off x="425355" y="1268417"/>
            <a:ext cx="11342769" cy="4968875"/>
          </a:xfrm>
          <a:prstGeom prst="rect">
            <a:avLst/>
          </a:prstGeom>
        </p:spPr>
        <p:txBody>
          <a:bodyPr lIns="108000" tIns="108000" rIns="108000" bIns="108000"/>
          <a:lstStyle>
            <a:lvl2pPr>
              <a:defRPr>
                <a:solidFill>
                  <a:schemeClr val="tx1"/>
                </a:solidFill>
              </a:defRPr>
            </a:lvl2pPr>
            <a:lvl3pPr>
              <a:defRPr baseline="0">
                <a:solidFill>
                  <a:schemeClr val="tx1"/>
                </a:solidFill>
              </a:defRPr>
            </a:lvl3pPr>
            <a:lvl4pPr>
              <a:defRPr>
                <a:solidFill>
                  <a:schemeClr val="tx1"/>
                </a:solidFill>
              </a:defRPr>
            </a:lvl4pPr>
            <a:lvl5pPr>
              <a:defRPr>
                <a:solidFill>
                  <a:schemeClr val="tx1"/>
                </a:solidFill>
              </a:defRPr>
            </a:lvl5pPr>
            <a:lvl6pPr algn="just">
              <a:defRPr>
                <a:solidFill>
                  <a:schemeClr val="tx1"/>
                </a:solidFill>
              </a:defRPr>
            </a:lvl6pPr>
            <a:lvl7pPr algn="just">
              <a:defRPr>
                <a:solidFill>
                  <a:schemeClr val="tx1"/>
                </a:solidFill>
              </a:defRPr>
            </a:lvl7pPr>
            <a:lvl8pPr algn="just">
              <a:defRPr>
                <a:solidFill>
                  <a:schemeClr val="tx1"/>
                </a:solidFill>
              </a:defRPr>
            </a:lvl8pPr>
            <a:lvl9pPr algn="just">
              <a:defRPr>
                <a:solidFill>
                  <a:schemeClr val="tx1"/>
                </a:solidFill>
              </a:defRPr>
            </a:lvl9pPr>
          </a:lstStyle>
          <a:p>
            <a:pPr lvl="0"/>
            <a:r>
              <a:rPr lang="fr-FR"/>
              <a:t>Level 1 - </a:t>
            </a:r>
            <a:r>
              <a:rPr lang="fr-FR">
                <a:solidFill>
                  <a:srgbClr val="503078"/>
                </a:solidFill>
              </a:rPr>
              <a:t>To move to the next level, Alt + Shift + right arrow</a:t>
            </a:r>
            <a:endParaRPr lang="fr-FR"/>
          </a:p>
          <a:p>
            <a:pPr lvl="1"/>
            <a:r>
              <a:rPr lang="fr-FR"/>
              <a:t>Level 2</a:t>
            </a:r>
          </a:p>
          <a:p>
            <a:pPr lvl="2"/>
            <a:r>
              <a:rPr lang="fr-FR"/>
              <a:t>Level 3</a:t>
            </a:r>
          </a:p>
          <a:p>
            <a:pPr lvl="3"/>
            <a:r>
              <a:rPr lang="fr-FR"/>
              <a:t>Level 4</a:t>
            </a:r>
          </a:p>
          <a:p>
            <a:pPr lvl="4"/>
            <a:r>
              <a:rPr lang="fr-FR"/>
              <a:t>Level 5</a:t>
            </a:r>
          </a:p>
          <a:p>
            <a:pPr lvl="5"/>
            <a:r>
              <a:rPr lang="fr-FR"/>
              <a:t>Level 6</a:t>
            </a:r>
          </a:p>
          <a:p>
            <a:pPr lvl="6"/>
            <a:r>
              <a:rPr lang="fr-FR"/>
              <a:t>Level 7</a:t>
            </a:r>
          </a:p>
          <a:p>
            <a:pPr lvl="7"/>
            <a:r>
              <a:rPr lang="fr-FR" noProof="0"/>
              <a:t>Level </a:t>
            </a:r>
            <a:r>
              <a:rPr lang="fr-FR"/>
              <a:t>8</a:t>
            </a:r>
          </a:p>
          <a:p>
            <a:pPr lvl="8"/>
            <a:r>
              <a:rPr lang="fr-FR"/>
              <a:t>Level 9</a:t>
            </a:r>
          </a:p>
        </p:txBody>
      </p:sp>
    </p:spTree>
    <p:extLst>
      <p:ext uri="{BB962C8B-B14F-4D97-AF65-F5344CB8AC3E}">
        <p14:creationId xmlns:p14="http://schemas.microsoft.com/office/powerpoint/2010/main" val="33418073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hapter Silver Grey light">
    <p:bg>
      <p:bgPr>
        <a:solidFill>
          <a:schemeClr val="tx2"/>
        </a:solidFill>
        <a:effectLst/>
      </p:bgPr>
    </p:bg>
    <p:spTree>
      <p:nvGrpSpPr>
        <p:cNvPr id="1" name=""/>
        <p:cNvGrpSpPr/>
        <p:nvPr/>
      </p:nvGrpSpPr>
      <p:grpSpPr>
        <a:xfrm>
          <a:off x="0" y="0"/>
          <a:ext cx="0" cy="0"/>
          <a:chOff x="0" y="0"/>
          <a:chExt cx="0" cy="0"/>
        </a:xfrm>
      </p:grpSpPr>
      <p:pic>
        <p:nvPicPr>
          <p:cNvPr id="7" name="Image 11"/>
          <p:cNvPicPr>
            <a:picLocks noChangeAspect="1"/>
          </p:cNvPicPr>
          <p:nvPr/>
        </p:nvPicPr>
        <p:blipFill rotWithShape="1">
          <a:blip r:embed="rId2" cstate="print">
            <a:extLst>
              <a:ext uri="{28A0092B-C50C-407E-A947-70E740481C1C}">
                <a14:useLocalDpi xmlns:a14="http://schemas.microsoft.com/office/drawing/2010/main"/>
              </a:ext>
            </a:extLst>
          </a:blip>
          <a:srcRect l="-1" t="1" r="-184259" b="-45082"/>
          <a:stretch/>
        </p:blipFill>
        <p:spPr>
          <a:xfrm>
            <a:off x="0" y="-1"/>
            <a:ext cx="12192000" cy="6856413"/>
          </a:xfrm>
          <a:prstGeom prst="rect">
            <a:avLst/>
          </a:prstGeom>
          <a:solidFill>
            <a:schemeClr val="tx2"/>
          </a:solidFill>
        </p:spPr>
      </p:pic>
      <p:sp>
        <p:nvSpPr>
          <p:cNvPr id="6" name="Title 1"/>
          <p:cNvSpPr>
            <a:spLocks noGrp="1"/>
          </p:cNvSpPr>
          <p:nvPr>
            <p:ph type="title" hasCustomPrompt="1"/>
          </p:nvPr>
        </p:nvSpPr>
        <p:spPr bwMode="gray">
          <a:xfrm>
            <a:off x="4214575" y="3342167"/>
            <a:ext cx="7375641" cy="986946"/>
          </a:xfrm>
          <a:noFill/>
        </p:spPr>
        <p:txBody>
          <a:bodyPr tIns="108000" rIns="0" anchor="t"/>
          <a:lstStyle>
            <a:lvl1pPr algn="r">
              <a:buClr>
                <a:schemeClr val="bg2"/>
              </a:buClr>
              <a:defRPr sz="2400">
                <a:solidFill>
                  <a:schemeClr val="bg2"/>
                </a:solidFill>
                <a:latin typeface="+mj-lt"/>
              </a:defRPr>
            </a:lvl1pPr>
          </a:lstStyle>
          <a:p>
            <a:r>
              <a:rPr lang="fr-FR" noProof="0"/>
              <a:t>Titre de chapitre</a:t>
            </a:r>
          </a:p>
        </p:txBody>
      </p:sp>
      <p:sp>
        <p:nvSpPr>
          <p:cNvPr id="5" name="Text Placeholder 4"/>
          <p:cNvSpPr>
            <a:spLocks noGrp="1"/>
          </p:cNvSpPr>
          <p:nvPr>
            <p:ph type="body" sz="quarter" idx="38" hasCustomPrompt="1"/>
          </p:nvPr>
        </p:nvSpPr>
        <p:spPr bwMode="gray">
          <a:xfrm>
            <a:off x="2787386" y="3342167"/>
            <a:ext cx="1329231" cy="986400"/>
          </a:xfrm>
          <a:prstGeom prst="rect">
            <a:avLst/>
          </a:prstGeom>
          <a:noFill/>
        </p:spPr>
        <p:txBody>
          <a:bodyPr anchor="t">
            <a:noAutofit/>
          </a:bodyPr>
          <a:lstStyle>
            <a:lvl1pPr marL="0" indent="-252000" algn="just">
              <a:lnSpc>
                <a:spcPct val="100000"/>
              </a:lnSpc>
              <a:spcBef>
                <a:spcPts val="400"/>
              </a:spcBef>
              <a:buClr>
                <a:schemeClr val="bg2"/>
              </a:buClr>
              <a:buFont typeface="Tempus Sans ITC" panose="04020404030D07020202" pitchFamily="82" charset="0"/>
              <a:buChar char="/"/>
              <a:defRPr sz="2400" b="1" i="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sz="2000" b="1" i="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7pPr>
            <a:lvl8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9pPr>
          </a:lstStyle>
          <a:p>
            <a:pPr lvl="0"/>
            <a:r>
              <a:rPr lang="fr-FR"/>
              <a:t>01</a:t>
            </a:r>
          </a:p>
        </p:txBody>
      </p:sp>
      <p:sp>
        <p:nvSpPr>
          <p:cNvPr id="8" name="Espace réservé pour une image  35"/>
          <p:cNvSpPr>
            <a:spLocks noGrp="1"/>
          </p:cNvSpPr>
          <p:nvPr>
            <p:ph type="pic" sz="quarter" idx="10" hasCustomPrompt="1"/>
          </p:nvPr>
        </p:nvSpPr>
        <p:spPr bwMode="gray">
          <a:xfrm>
            <a:off x="0" y="2"/>
            <a:ext cx="6347941" cy="5590308"/>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80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a:t>Cliquer ici   &gt;&gt;</a:t>
            </a:r>
            <a:br>
              <a:rPr lang="fr-FR"/>
            </a:br>
            <a:r>
              <a:rPr lang="fr-FR"/>
              <a:t>pour insérer votre photo</a:t>
            </a:r>
          </a:p>
        </p:txBody>
      </p:sp>
    </p:spTree>
    <p:extLst>
      <p:ext uri="{BB962C8B-B14F-4D97-AF65-F5344CB8AC3E}">
        <p14:creationId xmlns:p14="http://schemas.microsoft.com/office/powerpoint/2010/main" val="241880769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8.xml"/><Relationship Id="rId39" Type="http://schemas.openxmlformats.org/officeDocument/2006/relationships/tags" Target="../tags/tag21.xml"/><Relationship Id="rId3" Type="http://schemas.openxmlformats.org/officeDocument/2006/relationships/slideLayout" Target="../slideLayouts/slideLayout3.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tags" Target="../tags/tag11.xml"/><Relationship Id="rId41" Type="http://schemas.openxmlformats.org/officeDocument/2006/relationships/tags" Target="../tags/tag2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 Id="rId10" Type="http://schemas.openxmlformats.org/officeDocument/2006/relationships/slideLayout" Target="../slideLayouts/slideLayout10.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image" Target="../media/image1.png"/><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tags" Target="../tags/tag37.xml"/><Relationship Id="rId39" Type="http://schemas.openxmlformats.org/officeDocument/2006/relationships/tags" Target="../tags/tag50.xml"/><Relationship Id="rId21" Type="http://schemas.openxmlformats.org/officeDocument/2006/relationships/tags" Target="../tags/tag32.xml"/><Relationship Id="rId34" Type="http://schemas.openxmlformats.org/officeDocument/2006/relationships/tags" Target="../tags/tag45.xml"/><Relationship Id="rId42" Type="http://schemas.openxmlformats.org/officeDocument/2006/relationships/tags" Target="../tags/tag53.xml"/><Relationship Id="rId47" Type="http://schemas.openxmlformats.org/officeDocument/2006/relationships/tags" Target="../tags/tag58.xml"/><Relationship Id="rId50" Type="http://schemas.openxmlformats.org/officeDocument/2006/relationships/tags" Target="../tags/tag61.xml"/><Relationship Id="rId55" Type="http://schemas.openxmlformats.org/officeDocument/2006/relationships/tags" Target="../tags/tag66.xml"/><Relationship Id="rId63" Type="http://schemas.openxmlformats.org/officeDocument/2006/relationships/tags" Target="../tags/tag74.xml"/><Relationship Id="rId68" Type="http://schemas.openxmlformats.org/officeDocument/2006/relationships/tags" Target="../tags/tag79.xml"/><Relationship Id="rId76" Type="http://schemas.openxmlformats.org/officeDocument/2006/relationships/tags" Target="../tags/tag87.xml"/><Relationship Id="rId84" Type="http://schemas.openxmlformats.org/officeDocument/2006/relationships/tags" Target="../tags/tag95.xml"/><Relationship Id="rId89" Type="http://schemas.openxmlformats.org/officeDocument/2006/relationships/tags" Target="../tags/tag100.xml"/><Relationship Id="rId7" Type="http://schemas.openxmlformats.org/officeDocument/2006/relationships/slideLayout" Target="../slideLayouts/slideLayout43.xml"/><Relationship Id="rId71" Type="http://schemas.openxmlformats.org/officeDocument/2006/relationships/tags" Target="../tags/tag82.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9" Type="http://schemas.openxmlformats.org/officeDocument/2006/relationships/tags" Target="../tags/tag40.xml"/><Relationship Id="rId11" Type="http://schemas.openxmlformats.org/officeDocument/2006/relationships/slideLayout" Target="../slideLayouts/slideLayout47.xml"/><Relationship Id="rId24" Type="http://schemas.openxmlformats.org/officeDocument/2006/relationships/tags" Target="../tags/tag35.xml"/><Relationship Id="rId32" Type="http://schemas.openxmlformats.org/officeDocument/2006/relationships/tags" Target="../tags/tag43.xml"/><Relationship Id="rId37" Type="http://schemas.openxmlformats.org/officeDocument/2006/relationships/tags" Target="../tags/tag48.xml"/><Relationship Id="rId40" Type="http://schemas.openxmlformats.org/officeDocument/2006/relationships/tags" Target="../tags/tag51.xml"/><Relationship Id="rId45" Type="http://schemas.openxmlformats.org/officeDocument/2006/relationships/tags" Target="../tags/tag56.xml"/><Relationship Id="rId53" Type="http://schemas.openxmlformats.org/officeDocument/2006/relationships/tags" Target="../tags/tag64.xml"/><Relationship Id="rId58" Type="http://schemas.openxmlformats.org/officeDocument/2006/relationships/tags" Target="../tags/tag69.xml"/><Relationship Id="rId66" Type="http://schemas.openxmlformats.org/officeDocument/2006/relationships/tags" Target="../tags/tag77.xml"/><Relationship Id="rId74" Type="http://schemas.openxmlformats.org/officeDocument/2006/relationships/tags" Target="../tags/tag85.xml"/><Relationship Id="rId79" Type="http://schemas.openxmlformats.org/officeDocument/2006/relationships/tags" Target="../tags/tag90.xml"/><Relationship Id="rId87" Type="http://schemas.openxmlformats.org/officeDocument/2006/relationships/tags" Target="../tags/tag98.xml"/><Relationship Id="rId5" Type="http://schemas.openxmlformats.org/officeDocument/2006/relationships/slideLayout" Target="../slideLayouts/slideLayout41.xml"/><Relationship Id="rId61" Type="http://schemas.openxmlformats.org/officeDocument/2006/relationships/tags" Target="../tags/tag72.xml"/><Relationship Id="rId82" Type="http://schemas.openxmlformats.org/officeDocument/2006/relationships/tags" Target="../tags/tag93.xml"/><Relationship Id="rId90" Type="http://schemas.openxmlformats.org/officeDocument/2006/relationships/tags" Target="../tags/tag101.xml"/><Relationship Id="rId19" Type="http://schemas.openxmlformats.org/officeDocument/2006/relationships/slideLayout" Target="../slideLayouts/slideLayout55.xml"/><Relationship Id="rId14" Type="http://schemas.openxmlformats.org/officeDocument/2006/relationships/slideLayout" Target="../slideLayouts/slideLayout50.xml"/><Relationship Id="rId22" Type="http://schemas.openxmlformats.org/officeDocument/2006/relationships/tags" Target="../tags/tag33.xml"/><Relationship Id="rId27" Type="http://schemas.openxmlformats.org/officeDocument/2006/relationships/tags" Target="../tags/tag38.xml"/><Relationship Id="rId30" Type="http://schemas.openxmlformats.org/officeDocument/2006/relationships/tags" Target="../tags/tag41.xml"/><Relationship Id="rId35" Type="http://schemas.openxmlformats.org/officeDocument/2006/relationships/tags" Target="../tags/tag46.xml"/><Relationship Id="rId43" Type="http://schemas.openxmlformats.org/officeDocument/2006/relationships/tags" Target="../tags/tag54.xml"/><Relationship Id="rId48" Type="http://schemas.openxmlformats.org/officeDocument/2006/relationships/tags" Target="../tags/tag59.xml"/><Relationship Id="rId56" Type="http://schemas.openxmlformats.org/officeDocument/2006/relationships/tags" Target="../tags/tag67.xml"/><Relationship Id="rId64" Type="http://schemas.openxmlformats.org/officeDocument/2006/relationships/tags" Target="../tags/tag75.xml"/><Relationship Id="rId69" Type="http://schemas.openxmlformats.org/officeDocument/2006/relationships/tags" Target="../tags/tag80.xml"/><Relationship Id="rId77" Type="http://schemas.openxmlformats.org/officeDocument/2006/relationships/tags" Target="../tags/tag88.xml"/><Relationship Id="rId8" Type="http://schemas.openxmlformats.org/officeDocument/2006/relationships/slideLayout" Target="../slideLayouts/slideLayout44.xml"/><Relationship Id="rId51" Type="http://schemas.openxmlformats.org/officeDocument/2006/relationships/tags" Target="../tags/tag62.xml"/><Relationship Id="rId72" Type="http://schemas.openxmlformats.org/officeDocument/2006/relationships/tags" Target="../tags/tag83.xml"/><Relationship Id="rId80" Type="http://schemas.openxmlformats.org/officeDocument/2006/relationships/tags" Target="../tags/tag91.xml"/><Relationship Id="rId85" Type="http://schemas.openxmlformats.org/officeDocument/2006/relationships/tags" Target="../tags/tag96.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tags" Target="../tags/tag36.xml"/><Relationship Id="rId33" Type="http://schemas.openxmlformats.org/officeDocument/2006/relationships/tags" Target="../tags/tag44.xml"/><Relationship Id="rId38" Type="http://schemas.openxmlformats.org/officeDocument/2006/relationships/tags" Target="../tags/tag49.xml"/><Relationship Id="rId46" Type="http://schemas.openxmlformats.org/officeDocument/2006/relationships/tags" Target="../tags/tag57.xml"/><Relationship Id="rId59" Type="http://schemas.openxmlformats.org/officeDocument/2006/relationships/tags" Target="../tags/tag70.xml"/><Relationship Id="rId67" Type="http://schemas.openxmlformats.org/officeDocument/2006/relationships/tags" Target="../tags/tag78.xml"/><Relationship Id="rId20" Type="http://schemas.openxmlformats.org/officeDocument/2006/relationships/theme" Target="../theme/theme3.xml"/><Relationship Id="rId41" Type="http://schemas.openxmlformats.org/officeDocument/2006/relationships/tags" Target="../tags/tag52.xml"/><Relationship Id="rId54" Type="http://schemas.openxmlformats.org/officeDocument/2006/relationships/tags" Target="../tags/tag65.xml"/><Relationship Id="rId62" Type="http://schemas.openxmlformats.org/officeDocument/2006/relationships/tags" Target="../tags/tag73.xml"/><Relationship Id="rId70" Type="http://schemas.openxmlformats.org/officeDocument/2006/relationships/tags" Target="../tags/tag81.xml"/><Relationship Id="rId75" Type="http://schemas.openxmlformats.org/officeDocument/2006/relationships/tags" Target="../tags/tag86.xml"/><Relationship Id="rId83" Type="http://schemas.openxmlformats.org/officeDocument/2006/relationships/tags" Target="../tags/tag94.xml"/><Relationship Id="rId88" Type="http://schemas.openxmlformats.org/officeDocument/2006/relationships/tags" Target="../tags/tag99.xml"/><Relationship Id="rId91" Type="http://schemas.openxmlformats.org/officeDocument/2006/relationships/image" Target="../media/image1.png"/><Relationship Id="rId1" Type="http://schemas.openxmlformats.org/officeDocument/2006/relationships/slideLayout" Target="../slideLayouts/slideLayout37.xml"/><Relationship Id="rId6" Type="http://schemas.openxmlformats.org/officeDocument/2006/relationships/slideLayout" Target="../slideLayouts/slideLayout42.xml"/><Relationship Id="rId15" Type="http://schemas.openxmlformats.org/officeDocument/2006/relationships/slideLayout" Target="../slideLayouts/slideLayout51.xml"/><Relationship Id="rId23" Type="http://schemas.openxmlformats.org/officeDocument/2006/relationships/tags" Target="../tags/tag34.xml"/><Relationship Id="rId28" Type="http://schemas.openxmlformats.org/officeDocument/2006/relationships/tags" Target="../tags/tag39.xml"/><Relationship Id="rId36" Type="http://schemas.openxmlformats.org/officeDocument/2006/relationships/tags" Target="../tags/tag47.xml"/><Relationship Id="rId49" Type="http://schemas.openxmlformats.org/officeDocument/2006/relationships/tags" Target="../tags/tag60.xml"/><Relationship Id="rId57" Type="http://schemas.openxmlformats.org/officeDocument/2006/relationships/tags" Target="../tags/tag68.xml"/><Relationship Id="rId10" Type="http://schemas.openxmlformats.org/officeDocument/2006/relationships/slideLayout" Target="../slideLayouts/slideLayout46.xml"/><Relationship Id="rId31" Type="http://schemas.openxmlformats.org/officeDocument/2006/relationships/tags" Target="../tags/tag42.xml"/><Relationship Id="rId44" Type="http://schemas.openxmlformats.org/officeDocument/2006/relationships/tags" Target="../tags/tag55.xml"/><Relationship Id="rId52" Type="http://schemas.openxmlformats.org/officeDocument/2006/relationships/tags" Target="../tags/tag63.xml"/><Relationship Id="rId60" Type="http://schemas.openxmlformats.org/officeDocument/2006/relationships/tags" Target="../tags/tag71.xml"/><Relationship Id="rId65" Type="http://schemas.openxmlformats.org/officeDocument/2006/relationships/tags" Target="../tags/tag76.xml"/><Relationship Id="rId73" Type="http://schemas.openxmlformats.org/officeDocument/2006/relationships/tags" Target="../tags/tag84.xml"/><Relationship Id="rId78" Type="http://schemas.openxmlformats.org/officeDocument/2006/relationships/tags" Target="../tags/tag89.xml"/><Relationship Id="rId81" Type="http://schemas.openxmlformats.org/officeDocument/2006/relationships/tags" Target="../tags/tag92.xml"/><Relationship Id="rId86" Type="http://schemas.openxmlformats.org/officeDocument/2006/relationships/tags" Target="../tags/tag97.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tags" Target="../tags/tag102.xml"/><Relationship Id="rId26" Type="http://schemas.openxmlformats.org/officeDocument/2006/relationships/tags" Target="../tags/tag110.xml"/><Relationship Id="rId39" Type="http://schemas.openxmlformats.org/officeDocument/2006/relationships/image" Target="../media/image1.png"/><Relationship Id="rId3" Type="http://schemas.openxmlformats.org/officeDocument/2006/relationships/slideLayout" Target="../slideLayouts/slideLayout58.xml"/><Relationship Id="rId21" Type="http://schemas.openxmlformats.org/officeDocument/2006/relationships/tags" Target="../tags/tag105.xml"/><Relationship Id="rId34" Type="http://schemas.openxmlformats.org/officeDocument/2006/relationships/tags" Target="../tags/tag11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4.xml"/><Relationship Id="rId25" Type="http://schemas.openxmlformats.org/officeDocument/2006/relationships/tags" Target="../tags/tag109.xml"/><Relationship Id="rId33" Type="http://schemas.openxmlformats.org/officeDocument/2006/relationships/tags" Target="../tags/tag117.xml"/><Relationship Id="rId38" Type="http://schemas.openxmlformats.org/officeDocument/2006/relationships/tags" Target="../tags/tag12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tags" Target="../tags/tag104.xml"/><Relationship Id="rId29" Type="http://schemas.openxmlformats.org/officeDocument/2006/relationships/tags" Target="../tags/tag113.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tags" Target="../tags/tag108.xml"/><Relationship Id="rId32" Type="http://schemas.openxmlformats.org/officeDocument/2006/relationships/tags" Target="../tags/tag116.xml"/><Relationship Id="rId37" Type="http://schemas.openxmlformats.org/officeDocument/2006/relationships/tags" Target="../tags/tag121.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tags" Target="../tags/tag107.xml"/><Relationship Id="rId28" Type="http://schemas.openxmlformats.org/officeDocument/2006/relationships/tags" Target="../tags/tag112.xml"/><Relationship Id="rId36" Type="http://schemas.openxmlformats.org/officeDocument/2006/relationships/tags" Target="../tags/tag120.xml"/><Relationship Id="rId10" Type="http://schemas.openxmlformats.org/officeDocument/2006/relationships/slideLayout" Target="../slideLayouts/slideLayout65.xml"/><Relationship Id="rId19" Type="http://schemas.openxmlformats.org/officeDocument/2006/relationships/tags" Target="../tags/tag103.xml"/><Relationship Id="rId31" Type="http://schemas.openxmlformats.org/officeDocument/2006/relationships/tags" Target="../tags/tag11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tags" Target="../tags/tag106.xml"/><Relationship Id="rId27" Type="http://schemas.openxmlformats.org/officeDocument/2006/relationships/tags" Target="../tags/tag111.xml"/><Relationship Id="rId30" Type="http://schemas.openxmlformats.org/officeDocument/2006/relationships/tags" Target="../tags/tag114.xml"/><Relationship Id="rId35" Type="http://schemas.openxmlformats.org/officeDocument/2006/relationships/tags" Target="../tags/tag11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theme" Target="../theme/theme5.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3984" y="404665"/>
            <a:ext cx="11342769" cy="863749"/>
          </a:xfrm>
          <a:prstGeom prst="rect">
            <a:avLst/>
          </a:prstGeom>
          <a:noFill/>
        </p:spPr>
        <p:txBody>
          <a:bodyPr vert="horz" lIns="108000" tIns="0" rIns="108000" bIns="0" rtlCol="0" anchor="t">
            <a:noAutofit/>
          </a:bodyPr>
          <a:lstStyle/>
          <a:p>
            <a:r>
              <a:rPr lang="fr-FR"/>
              <a:t>Compléter avec un titre ici qui porte votre message sur deux lignes au maximum pour des raisons de lisibilité</a:t>
            </a:r>
            <a:endParaRPr lang="fr-FR" noProof="0"/>
          </a:p>
        </p:txBody>
      </p:sp>
      <p:sp>
        <p:nvSpPr>
          <p:cNvPr id="34" name="Rectangle 33"/>
          <p:cNvSpPr/>
          <p:nvPr/>
        </p:nvSpPr>
        <p:spPr>
          <a:xfrm>
            <a:off x="9286508" y="6503348"/>
            <a:ext cx="2004177" cy="230832"/>
          </a:xfrm>
          <a:prstGeom prst="rect">
            <a:avLst/>
          </a:prstGeom>
        </p:spPr>
        <p:txBody>
          <a:bodyPr wrap="square" anchor="ctr">
            <a:spAutoFit/>
          </a:bodyPr>
          <a:lstStyle/>
          <a:p>
            <a:pPr lvl="0" algn="r">
              <a:spcBef>
                <a:spcPts val="400"/>
              </a:spcBef>
              <a:buClr>
                <a:srgbClr val="660066"/>
              </a:buClr>
            </a:pPr>
            <a:r>
              <a:rPr lang="fr-FR" sz="600" noProof="0">
                <a:solidFill>
                  <a:schemeClr val="tx1"/>
                </a:solidFill>
                <a:latin typeface="Tahoma" panose="020B0604030504040204" pitchFamily="34" charset="0"/>
                <a:ea typeface="Tahoma" panose="020B0604030504040204" pitchFamily="34" charset="0"/>
                <a:cs typeface="Tahoma" panose="020B0604030504040204" pitchFamily="34" charset="0"/>
              </a:rPr>
              <a:t>confidentiel</a:t>
            </a:r>
            <a:r>
              <a:rPr lang="fr-FR" sz="900" noProof="0">
                <a:solidFill>
                  <a:schemeClr val="tx1"/>
                </a:solidFill>
                <a:latin typeface="Tahoma" panose="020B0604030504040204" pitchFamily="34" charset="0"/>
                <a:ea typeface="Tahoma" panose="020B0604030504040204" pitchFamily="34" charset="0"/>
                <a:cs typeface="Tahoma" panose="020B0604030504040204" pitchFamily="34" charset="0"/>
              </a:rPr>
              <a:t> </a:t>
            </a:r>
            <a:r>
              <a:rPr lang="fr-FR" sz="900" noProof="0">
                <a:solidFill>
                  <a:schemeClr val="bg2"/>
                </a:solidFill>
                <a:latin typeface="Tahoma" panose="020B0604030504040204" pitchFamily="34" charset="0"/>
                <a:ea typeface="Tahoma" panose="020B0604030504040204" pitchFamily="34" charset="0"/>
                <a:cs typeface="Tahoma" panose="020B0604030504040204" pitchFamily="34" charset="0"/>
              </a:rPr>
              <a:t>| © WAVESTONE</a:t>
            </a:r>
          </a:p>
        </p:txBody>
      </p:sp>
      <p:sp>
        <p:nvSpPr>
          <p:cNvPr id="98" name="Textfeld 6"/>
          <p:cNvSpPr txBox="1"/>
          <p:nvPr/>
        </p:nvSpPr>
        <p:spPr bwMode="gray">
          <a:xfrm>
            <a:off x="11324889" y="6549515"/>
            <a:ext cx="443077" cy="138499"/>
          </a:xfrm>
          <a:prstGeom prst="rect">
            <a:avLst/>
          </a:prstGeom>
          <a:noFill/>
        </p:spPr>
        <p:txBody>
          <a:bodyPr wrap="square" lIns="0" tIns="0" rIns="0" bIns="0" rtlCol="0" anchor="ctr"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5152254E-7EB4-45E4-904F-3575BFE2F20B}" type="slidenum">
              <a:rPr lang="fr-FR" sz="900" noProof="0" smtClean="0">
                <a:solidFill>
                  <a:schemeClr val="bg2"/>
                </a:solidFill>
              </a:rPr>
              <a:pPr marL="0" marR="0" indent="0" algn="r" defTabSz="914400" rtl="0" eaLnBrk="1" fontAlgn="auto" latinLnBrk="0" hangingPunct="1">
                <a:lnSpc>
                  <a:spcPct val="100000"/>
                </a:lnSpc>
                <a:spcBef>
                  <a:spcPts val="0"/>
                </a:spcBef>
                <a:spcAft>
                  <a:spcPts val="0"/>
                </a:spcAft>
                <a:buClrTx/>
                <a:buSzTx/>
                <a:buFontTx/>
                <a:buNone/>
                <a:tabLst/>
                <a:defRPr/>
              </a:pPr>
              <a:t>‹N°›</a:t>
            </a:fld>
            <a:endParaRPr lang="fr-FR" sz="900" noProof="0">
              <a:solidFill>
                <a:schemeClr val="bg2"/>
              </a:solidFill>
            </a:endParaRPr>
          </a:p>
        </p:txBody>
      </p:sp>
      <p:sp>
        <p:nvSpPr>
          <p:cNvPr id="4" name="Espace réservé du texte 3"/>
          <p:cNvSpPr>
            <a:spLocks noGrp="1"/>
          </p:cNvSpPr>
          <p:nvPr>
            <p:ph type="body" idx="1"/>
          </p:nvPr>
        </p:nvSpPr>
        <p:spPr>
          <a:xfrm>
            <a:off x="424832" y="1268414"/>
            <a:ext cx="11342769" cy="4968000"/>
          </a:xfrm>
          <a:prstGeom prst="rect">
            <a:avLst/>
          </a:prstGeom>
        </p:spPr>
        <p:txBody>
          <a:bodyPr vert="horz" lIns="108000" tIns="108000" rIns="108000" bIns="108000" rtlCol="0">
            <a:normAutofit/>
          </a:bodyPr>
          <a:lstStyle/>
          <a:p>
            <a:pPr lvl="0"/>
            <a:r>
              <a:rPr lang="fr-FR"/>
              <a:t>Niveau 1 - </a:t>
            </a:r>
            <a:r>
              <a:rPr lang="fr-FR">
                <a:solidFill>
                  <a:srgbClr val="503078"/>
                </a:solidFill>
              </a:rPr>
              <a:t>Pour passer au niveau suivant, faire Shift + Alt + flèche droite </a:t>
            </a:r>
            <a:endParaRPr lang="fr-FR"/>
          </a:p>
          <a:p>
            <a:pPr lvl="1"/>
            <a:r>
              <a:rPr lang="fr-FR"/>
              <a:t>Niveau 2</a:t>
            </a:r>
          </a:p>
          <a:p>
            <a:pPr lvl="2"/>
            <a:r>
              <a:rPr lang="fr-FR"/>
              <a:t>Niveau 3</a:t>
            </a:r>
          </a:p>
          <a:p>
            <a:pPr lvl="3"/>
            <a:r>
              <a:rPr lang="fr-FR"/>
              <a:t>Niveau 4</a:t>
            </a:r>
          </a:p>
          <a:p>
            <a:pPr lvl="4"/>
            <a:r>
              <a:rPr lang="fr-FR"/>
              <a:t>Niveau 5</a:t>
            </a:r>
          </a:p>
          <a:p>
            <a:pPr lvl="5"/>
            <a:r>
              <a:rPr lang="fr-FR"/>
              <a:t>Niveau 6</a:t>
            </a:r>
          </a:p>
          <a:p>
            <a:pPr lvl="6"/>
            <a:r>
              <a:rPr lang="fr-FR"/>
              <a:t>Niveau 7</a:t>
            </a:r>
          </a:p>
          <a:p>
            <a:pPr lvl="7"/>
            <a:r>
              <a:rPr lang="fr-FR" noProof="0"/>
              <a:t>Nive</a:t>
            </a:r>
            <a:r>
              <a:rPr lang="fr-FR"/>
              <a:t>au 8</a:t>
            </a:r>
          </a:p>
          <a:p>
            <a:pPr lvl="8"/>
            <a:r>
              <a:rPr lang="fr-FR"/>
              <a:t>Niveau 9</a:t>
            </a:r>
          </a:p>
        </p:txBody>
      </p:sp>
      <p:pic>
        <p:nvPicPr>
          <p:cNvPr id="7" name="Image 6"/>
          <p:cNvPicPr>
            <a:picLocks noChangeAspect="1"/>
          </p:cNvPicPr>
          <p:nvPr/>
        </p:nvPicPr>
        <p:blipFill rotWithShape="1">
          <a:blip r:embed="rId50" cstate="print">
            <a:extLst>
              <a:ext uri="{28A0092B-C50C-407E-A947-70E740481C1C}">
                <a14:useLocalDpi xmlns:a14="http://schemas.microsoft.com/office/drawing/2010/main" val="0"/>
              </a:ext>
            </a:extLst>
          </a:blip>
          <a:srcRect l="8505" t="8117" b="17461"/>
          <a:stretch/>
        </p:blipFill>
        <p:spPr>
          <a:xfrm>
            <a:off x="11248763" y="5935042"/>
            <a:ext cx="1139628" cy="926732"/>
          </a:xfrm>
          <a:prstGeom prst="rect">
            <a:avLst/>
          </a:prstGeom>
        </p:spPr>
      </p:pic>
      <p:grpSp>
        <p:nvGrpSpPr>
          <p:cNvPr id="8" name="Purple number with Left arrow" hidden="1">
            <a:extLst>
              <a:ext uri="{FF2B5EF4-FFF2-40B4-BE49-F238E27FC236}">
                <a16:creationId xmlns:a16="http://schemas.microsoft.com/office/drawing/2014/main" id="{696B09FE-B173-4E9A-B674-4AE548E9852D}"/>
              </a:ext>
            </a:extLst>
          </p:cNvPr>
          <p:cNvGrpSpPr>
            <a:grpSpLocks noChangeAspect="1"/>
          </p:cNvGrpSpPr>
          <p:nvPr userDrawn="1">
            <p:custDataLst>
              <p:tags r:id="rId19"/>
            </p:custDataLst>
          </p:nvPr>
        </p:nvGrpSpPr>
        <p:grpSpPr>
          <a:xfrm>
            <a:off x="12348308" y="0"/>
            <a:ext cx="564615" cy="396000"/>
            <a:chOff x="1601579" y="2969498"/>
            <a:chExt cx="458750" cy="396000"/>
          </a:xfrm>
        </p:grpSpPr>
        <p:sp>
          <p:nvSpPr>
            <p:cNvPr id="9" name="Isosceles Triangle 140 [0] [0]" hidden="1">
              <a:extLst>
                <a:ext uri="{FF2B5EF4-FFF2-40B4-BE49-F238E27FC236}">
                  <a16:creationId xmlns:a16="http://schemas.microsoft.com/office/drawing/2014/main" id="{FE189C1B-6279-4437-AC91-D371D90027E6}"/>
                </a:ext>
              </a:extLst>
            </p:cNvPr>
            <p:cNvSpPr>
              <a:spLocks/>
            </p:cNvSpPr>
            <p:nvPr>
              <p:custDataLst>
                <p:tags r:id="rId20"/>
              </p:custDataLst>
            </p:nvPr>
          </p:nvSpPr>
          <p:spPr>
            <a:xfrm rot="15982429">
              <a:off x="1543633" y="3122115"/>
              <a:ext cx="230938" cy="11504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10" name="Oval 141 [0] [0]" hidden="1">
              <a:extLst>
                <a:ext uri="{FF2B5EF4-FFF2-40B4-BE49-F238E27FC236}">
                  <a16:creationId xmlns:a16="http://schemas.microsoft.com/office/drawing/2014/main" id="{FF8C748E-DB7D-414A-AE2E-BAA9977267DA}"/>
                </a:ext>
              </a:extLst>
            </p:cNvPr>
            <p:cNvSpPr>
              <a:spLocks/>
            </p:cNvSpPr>
            <p:nvPr>
              <p:custDataLst>
                <p:tags r:id="rId21"/>
              </p:custDataLst>
            </p:nvPr>
          </p:nvSpPr>
          <p:spPr>
            <a:xfrm>
              <a:off x="1664329" y="2969498"/>
              <a:ext cx="396000" cy="396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11" name="Oval 142 [0] [0]" hidden="1">
              <a:extLst>
                <a:ext uri="{FF2B5EF4-FFF2-40B4-BE49-F238E27FC236}">
                  <a16:creationId xmlns:a16="http://schemas.microsoft.com/office/drawing/2014/main" id="{4BCDBAB4-E938-4114-9327-9E5C9749A557}"/>
                </a:ext>
              </a:extLst>
            </p:cNvPr>
            <p:cNvSpPr>
              <a:spLocks/>
            </p:cNvSpPr>
            <p:nvPr>
              <p:custDataLst>
                <p:tags r:id="rId22"/>
              </p:custDataLst>
            </p:nvPr>
          </p:nvSpPr>
          <p:spPr>
            <a:xfrm>
              <a:off x="1700016" y="3007142"/>
              <a:ext cx="324000" cy="32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fr-FR" sz="1050">
                  <a:solidFill>
                    <a:schemeClr val="tx1"/>
                  </a:solidFill>
                  <a:ea typeface="+mj-ea"/>
                  <a:cs typeface="+mj-cs"/>
                </a:rPr>
                <a:t>1</a:t>
              </a:r>
            </a:p>
          </p:txBody>
        </p:sp>
        <p:sp>
          <p:nvSpPr>
            <p:cNvPr id="12" name="Isosceles Triangle 140 [0] [1]" hidden="1">
              <a:extLst>
                <a:ext uri="{FF2B5EF4-FFF2-40B4-BE49-F238E27FC236}">
                  <a16:creationId xmlns:a16="http://schemas.microsoft.com/office/drawing/2014/main" id="{6AED6EEE-D856-4A6D-A46D-1F36D729CDCF}"/>
                </a:ext>
              </a:extLst>
            </p:cNvPr>
            <p:cNvSpPr>
              <a:spLocks/>
            </p:cNvSpPr>
            <p:nvPr>
              <p:custDataLst>
                <p:tags r:id="rId23"/>
              </p:custDataLst>
            </p:nvPr>
          </p:nvSpPr>
          <p:spPr>
            <a:xfrm rot="15982429">
              <a:off x="1543633" y="3122115"/>
              <a:ext cx="230938" cy="11504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13" name="Oval 141 [0] [1]" hidden="1">
              <a:extLst>
                <a:ext uri="{FF2B5EF4-FFF2-40B4-BE49-F238E27FC236}">
                  <a16:creationId xmlns:a16="http://schemas.microsoft.com/office/drawing/2014/main" id="{1620700E-5B2E-423F-B36C-B414B948153E}"/>
                </a:ext>
              </a:extLst>
            </p:cNvPr>
            <p:cNvSpPr>
              <a:spLocks/>
            </p:cNvSpPr>
            <p:nvPr>
              <p:custDataLst>
                <p:tags r:id="rId24"/>
              </p:custDataLst>
            </p:nvPr>
          </p:nvSpPr>
          <p:spPr>
            <a:xfrm>
              <a:off x="1664329" y="2969498"/>
              <a:ext cx="396000" cy="396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14" name="Oval 142 [0] [1]" hidden="1">
              <a:extLst>
                <a:ext uri="{FF2B5EF4-FFF2-40B4-BE49-F238E27FC236}">
                  <a16:creationId xmlns:a16="http://schemas.microsoft.com/office/drawing/2014/main" id="{81A1736F-F4CA-43DB-B694-D6B92412DDB9}"/>
                </a:ext>
              </a:extLst>
            </p:cNvPr>
            <p:cNvSpPr>
              <a:spLocks/>
            </p:cNvSpPr>
            <p:nvPr>
              <p:custDataLst>
                <p:tags r:id="rId25"/>
              </p:custDataLst>
            </p:nvPr>
          </p:nvSpPr>
          <p:spPr>
            <a:xfrm>
              <a:off x="1700016" y="3007142"/>
              <a:ext cx="324000" cy="32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fr-FR" sz="1050">
                  <a:solidFill>
                    <a:schemeClr val="tx1"/>
                  </a:solidFill>
                  <a:ea typeface="+mj-ea"/>
                  <a:cs typeface="+mj-cs"/>
                </a:rPr>
                <a:t>2</a:t>
              </a:r>
            </a:p>
          </p:txBody>
        </p:sp>
        <p:sp>
          <p:nvSpPr>
            <p:cNvPr id="15" name="Isosceles Triangle 140 [0] [2]" hidden="1">
              <a:extLst>
                <a:ext uri="{FF2B5EF4-FFF2-40B4-BE49-F238E27FC236}">
                  <a16:creationId xmlns:a16="http://schemas.microsoft.com/office/drawing/2014/main" id="{3C4856D9-879C-4F6D-BF5B-D00585AAFB3F}"/>
                </a:ext>
              </a:extLst>
            </p:cNvPr>
            <p:cNvSpPr>
              <a:spLocks/>
            </p:cNvSpPr>
            <p:nvPr>
              <p:custDataLst>
                <p:tags r:id="rId26"/>
              </p:custDataLst>
            </p:nvPr>
          </p:nvSpPr>
          <p:spPr>
            <a:xfrm rot="15982429">
              <a:off x="1543633" y="3122115"/>
              <a:ext cx="230938" cy="11504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16" name="Oval 141 [0] [2]" hidden="1">
              <a:extLst>
                <a:ext uri="{FF2B5EF4-FFF2-40B4-BE49-F238E27FC236}">
                  <a16:creationId xmlns:a16="http://schemas.microsoft.com/office/drawing/2014/main" id="{48A02300-CF03-4683-A460-B4B805BA091F}"/>
                </a:ext>
              </a:extLst>
            </p:cNvPr>
            <p:cNvSpPr>
              <a:spLocks/>
            </p:cNvSpPr>
            <p:nvPr>
              <p:custDataLst>
                <p:tags r:id="rId27"/>
              </p:custDataLst>
            </p:nvPr>
          </p:nvSpPr>
          <p:spPr>
            <a:xfrm>
              <a:off x="1664329" y="2969498"/>
              <a:ext cx="396000" cy="396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17" name="Oval 142 [0] [2]" hidden="1">
              <a:extLst>
                <a:ext uri="{FF2B5EF4-FFF2-40B4-BE49-F238E27FC236}">
                  <a16:creationId xmlns:a16="http://schemas.microsoft.com/office/drawing/2014/main" id="{DA259A5B-B3B1-4E36-85EE-54CB5490A918}"/>
                </a:ext>
              </a:extLst>
            </p:cNvPr>
            <p:cNvSpPr>
              <a:spLocks/>
            </p:cNvSpPr>
            <p:nvPr>
              <p:custDataLst>
                <p:tags r:id="rId28"/>
              </p:custDataLst>
            </p:nvPr>
          </p:nvSpPr>
          <p:spPr>
            <a:xfrm>
              <a:off x="1700016" y="3007142"/>
              <a:ext cx="324000" cy="32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fr-FR" sz="1050">
                  <a:solidFill>
                    <a:schemeClr val="tx1"/>
                  </a:solidFill>
                  <a:ea typeface="+mj-ea"/>
                  <a:cs typeface="+mj-cs"/>
                </a:rPr>
                <a:t>3</a:t>
              </a:r>
            </a:p>
          </p:txBody>
        </p:sp>
        <p:sp>
          <p:nvSpPr>
            <p:cNvPr id="18" name="Isosceles Triangle 140 [0] [3]" hidden="1">
              <a:extLst>
                <a:ext uri="{FF2B5EF4-FFF2-40B4-BE49-F238E27FC236}">
                  <a16:creationId xmlns:a16="http://schemas.microsoft.com/office/drawing/2014/main" id="{CCD1630D-7952-470A-AB00-94F8D4AD93D1}"/>
                </a:ext>
              </a:extLst>
            </p:cNvPr>
            <p:cNvSpPr>
              <a:spLocks/>
            </p:cNvSpPr>
            <p:nvPr>
              <p:custDataLst>
                <p:tags r:id="rId29"/>
              </p:custDataLst>
            </p:nvPr>
          </p:nvSpPr>
          <p:spPr>
            <a:xfrm rot="15982429">
              <a:off x="1543633" y="3122115"/>
              <a:ext cx="230938" cy="11504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19" name="Oval 141 [0] [3]" hidden="1">
              <a:extLst>
                <a:ext uri="{FF2B5EF4-FFF2-40B4-BE49-F238E27FC236}">
                  <a16:creationId xmlns:a16="http://schemas.microsoft.com/office/drawing/2014/main" id="{E5822BD2-7830-4DD4-A1E5-1FB15B628761}"/>
                </a:ext>
              </a:extLst>
            </p:cNvPr>
            <p:cNvSpPr>
              <a:spLocks/>
            </p:cNvSpPr>
            <p:nvPr>
              <p:custDataLst>
                <p:tags r:id="rId30"/>
              </p:custDataLst>
            </p:nvPr>
          </p:nvSpPr>
          <p:spPr>
            <a:xfrm>
              <a:off x="1664329" y="2969498"/>
              <a:ext cx="396000" cy="396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20" name="Oval 142 [0] [3]" hidden="1">
              <a:extLst>
                <a:ext uri="{FF2B5EF4-FFF2-40B4-BE49-F238E27FC236}">
                  <a16:creationId xmlns:a16="http://schemas.microsoft.com/office/drawing/2014/main" id="{C22A829A-F369-473E-AEF3-6CF2BF359719}"/>
                </a:ext>
              </a:extLst>
            </p:cNvPr>
            <p:cNvSpPr>
              <a:spLocks/>
            </p:cNvSpPr>
            <p:nvPr>
              <p:custDataLst>
                <p:tags r:id="rId31"/>
              </p:custDataLst>
            </p:nvPr>
          </p:nvSpPr>
          <p:spPr>
            <a:xfrm>
              <a:off x="1700016" y="3007142"/>
              <a:ext cx="324000" cy="32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fr-FR" sz="1050">
                  <a:solidFill>
                    <a:schemeClr val="tx1"/>
                  </a:solidFill>
                  <a:ea typeface="+mj-ea"/>
                  <a:cs typeface="+mj-cs"/>
                </a:rPr>
                <a:t>4</a:t>
              </a:r>
            </a:p>
          </p:txBody>
        </p:sp>
        <p:sp>
          <p:nvSpPr>
            <p:cNvPr id="21" name="Isosceles Triangle 140 [0] [4]" hidden="1">
              <a:extLst>
                <a:ext uri="{FF2B5EF4-FFF2-40B4-BE49-F238E27FC236}">
                  <a16:creationId xmlns:a16="http://schemas.microsoft.com/office/drawing/2014/main" id="{077FBA36-B89C-4A99-8E96-A44BF762C4D3}"/>
                </a:ext>
              </a:extLst>
            </p:cNvPr>
            <p:cNvSpPr>
              <a:spLocks/>
            </p:cNvSpPr>
            <p:nvPr>
              <p:custDataLst>
                <p:tags r:id="rId32"/>
              </p:custDataLst>
            </p:nvPr>
          </p:nvSpPr>
          <p:spPr>
            <a:xfrm rot="15982429">
              <a:off x="1543633" y="3122115"/>
              <a:ext cx="230938" cy="11504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22" name="Oval 141 [0] [4]" hidden="1">
              <a:extLst>
                <a:ext uri="{FF2B5EF4-FFF2-40B4-BE49-F238E27FC236}">
                  <a16:creationId xmlns:a16="http://schemas.microsoft.com/office/drawing/2014/main" id="{97D935A6-EDD2-49D2-991F-C6A4FF2922FF}"/>
                </a:ext>
              </a:extLst>
            </p:cNvPr>
            <p:cNvSpPr>
              <a:spLocks/>
            </p:cNvSpPr>
            <p:nvPr>
              <p:custDataLst>
                <p:tags r:id="rId33"/>
              </p:custDataLst>
            </p:nvPr>
          </p:nvSpPr>
          <p:spPr>
            <a:xfrm>
              <a:off x="1664329" y="2969498"/>
              <a:ext cx="396000" cy="396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23" name="Oval 142 [0] [4]" hidden="1">
              <a:extLst>
                <a:ext uri="{FF2B5EF4-FFF2-40B4-BE49-F238E27FC236}">
                  <a16:creationId xmlns:a16="http://schemas.microsoft.com/office/drawing/2014/main" id="{303F364C-8756-4114-B971-5713F83C3D86}"/>
                </a:ext>
              </a:extLst>
            </p:cNvPr>
            <p:cNvSpPr>
              <a:spLocks/>
            </p:cNvSpPr>
            <p:nvPr>
              <p:custDataLst>
                <p:tags r:id="rId34"/>
              </p:custDataLst>
            </p:nvPr>
          </p:nvSpPr>
          <p:spPr>
            <a:xfrm>
              <a:off x="1700016" y="3007142"/>
              <a:ext cx="324000" cy="32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fr-FR" sz="1050">
                  <a:solidFill>
                    <a:schemeClr val="tx1"/>
                  </a:solidFill>
                  <a:ea typeface="+mj-ea"/>
                  <a:cs typeface="+mj-cs"/>
                </a:rPr>
                <a:t>5</a:t>
              </a:r>
            </a:p>
          </p:txBody>
        </p:sp>
        <p:sp>
          <p:nvSpPr>
            <p:cNvPr id="24" name="Isosceles Triangle 140 [0] [5]" hidden="1">
              <a:extLst>
                <a:ext uri="{FF2B5EF4-FFF2-40B4-BE49-F238E27FC236}">
                  <a16:creationId xmlns:a16="http://schemas.microsoft.com/office/drawing/2014/main" id="{0F138E03-458A-4095-8BF8-4FC5B13F2819}"/>
                </a:ext>
              </a:extLst>
            </p:cNvPr>
            <p:cNvSpPr>
              <a:spLocks/>
            </p:cNvSpPr>
            <p:nvPr>
              <p:custDataLst>
                <p:tags r:id="rId35"/>
              </p:custDataLst>
            </p:nvPr>
          </p:nvSpPr>
          <p:spPr>
            <a:xfrm rot="15982429">
              <a:off x="1543633" y="3122115"/>
              <a:ext cx="230938" cy="11504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25" name="Oval 141 [0] [5]" hidden="1">
              <a:extLst>
                <a:ext uri="{FF2B5EF4-FFF2-40B4-BE49-F238E27FC236}">
                  <a16:creationId xmlns:a16="http://schemas.microsoft.com/office/drawing/2014/main" id="{66DA0C60-6022-4D1B-B365-7E09886EBF7E}"/>
                </a:ext>
              </a:extLst>
            </p:cNvPr>
            <p:cNvSpPr>
              <a:spLocks/>
            </p:cNvSpPr>
            <p:nvPr>
              <p:custDataLst>
                <p:tags r:id="rId36"/>
              </p:custDataLst>
            </p:nvPr>
          </p:nvSpPr>
          <p:spPr>
            <a:xfrm>
              <a:off x="1664329" y="2969498"/>
              <a:ext cx="396000" cy="396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26" name="Oval 142 [0] [5]" hidden="1">
              <a:extLst>
                <a:ext uri="{FF2B5EF4-FFF2-40B4-BE49-F238E27FC236}">
                  <a16:creationId xmlns:a16="http://schemas.microsoft.com/office/drawing/2014/main" id="{837172BB-D4AF-4682-9E49-9095F2AD64A1}"/>
                </a:ext>
              </a:extLst>
            </p:cNvPr>
            <p:cNvSpPr>
              <a:spLocks/>
            </p:cNvSpPr>
            <p:nvPr>
              <p:custDataLst>
                <p:tags r:id="rId37"/>
              </p:custDataLst>
            </p:nvPr>
          </p:nvSpPr>
          <p:spPr>
            <a:xfrm>
              <a:off x="1700016" y="3007142"/>
              <a:ext cx="324000" cy="32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fr-FR" sz="1050">
                  <a:solidFill>
                    <a:schemeClr val="tx1"/>
                  </a:solidFill>
                  <a:ea typeface="+mj-ea"/>
                  <a:cs typeface="+mj-cs"/>
                </a:rPr>
                <a:t>6</a:t>
              </a:r>
            </a:p>
          </p:txBody>
        </p:sp>
        <p:sp>
          <p:nvSpPr>
            <p:cNvPr id="27" name="Isosceles Triangle 140 [0] [6]" hidden="1">
              <a:extLst>
                <a:ext uri="{FF2B5EF4-FFF2-40B4-BE49-F238E27FC236}">
                  <a16:creationId xmlns:a16="http://schemas.microsoft.com/office/drawing/2014/main" id="{88D26942-D519-4ECF-B46B-316015064725}"/>
                </a:ext>
              </a:extLst>
            </p:cNvPr>
            <p:cNvSpPr>
              <a:spLocks/>
            </p:cNvSpPr>
            <p:nvPr>
              <p:custDataLst>
                <p:tags r:id="rId38"/>
              </p:custDataLst>
            </p:nvPr>
          </p:nvSpPr>
          <p:spPr>
            <a:xfrm rot="15982429">
              <a:off x="1543633" y="3122115"/>
              <a:ext cx="230938" cy="11504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28" name="Oval 141 [0] [6]" hidden="1">
              <a:extLst>
                <a:ext uri="{FF2B5EF4-FFF2-40B4-BE49-F238E27FC236}">
                  <a16:creationId xmlns:a16="http://schemas.microsoft.com/office/drawing/2014/main" id="{180DF58F-E83D-4AB6-872E-68E3F455A7AD}"/>
                </a:ext>
              </a:extLst>
            </p:cNvPr>
            <p:cNvSpPr>
              <a:spLocks/>
            </p:cNvSpPr>
            <p:nvPr>
              <p:custDataLst>
                <p:tags r:id="rId39"/>
              </p:custDataLst>
            </p:nvPr>
          </p:nvSpPr>
          <p:spPr>
            <a:xfrm>
              <a:off x="1664329" y="2969498"/>
              <a:ext cx="396000" cy="396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29" name="Oval 142 [0] [6]" hidden="1">
              <a:extLst>
                <a:ext uri="{FF2B5EF4-FFF2-40B4-BE49-F238E27FC236}">
                  <a16:creationId xmlns:a16="http://schemas.microsoft.com/office/drawing/2014/main" id="{1C226A1F-A975-4DE7-99CC-595FC8CD675C}"/>
                </a:ext>
              </a:extLst>
            </p:cNvPr>
            <p:cNvSpPr>
              <a:spLocks/>
            </p:cNvSpPr>
            <p:nvPr>
              <p:custDataLst>
                <p:tags r:id="rId40"/>
              </p:custDataLst>
            </p:nvPr>
          </p:nvSpPr>
          <p:spPr>
            <a:xfrm>
              <a:off x="1700016" y="3007142"/>
              <a:ext cx="324000" cy="32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fr-FR" sz="1050">
                  <a:solidFill>
                    <a:schemeClr val="tx1"/>
                  </a:solidFill>
                  <a:ea typeface="+mj-ea"/>
                  <a:cs typeface="+mj-cs"/>
                </a:rPr>
                <a:t>7</a:t>
              </a:r>
            </a:p>
          </p:txBody>
        </p:sp>
        <p:sp>
          <p:nvSpPr>
            <p:cNvPr id="30" name="Isosceles Triangle 140 [0] [7]" hidden="1">
              <a:extLst>
                <a:ext uri="{FF2B5EF4-FFF2-40B4-BE49-F238E27FC236}">
                  <a16:creationId xmlns:a16="http://schemas.microsoft.com/office/drawing/2014/main" id="{B42E73ED-DC3B-400E-9844-6A6F0D3BA027}"/>
                </a:ext>
              </a:extLst>
            </p:cNvPr>
            <p:cNvSpPr>
              <a:spLocks/>
            </p:cNvSpPr>
            <p:nvPr>
              <p:custDataLst>
                <p:tags r:id="rId41"/>
              </p:custDataLst>
            </p:nvPr>
          </p:nvSpPr>
          <p:spPr>
            <a:xfrm rot="15982429">
              <a:off x="1543633" y="3122115"/>
              <a:ext cx="230938" cy="11504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31" name="Oval 141 [0] [7]" hidden="1">
              <a:extLst>
                <a:ext uri="{FF2B5EF4-FFF2-40B4-BE49-F238E27FC236}">
                  <a16:creationId xmlns:a16="http://schemas.microsoft.com/office/drawing/2014/main" id="{5549BF3A-BA3D-41AF-8048-BAE829C45367}"/>
                </a:ext>
              </a:extLst>
            </p:cNvPr>
            <p:cNvSpPr>
              <a:spLocks/>
            </p:cNvSpPr>
            <p:nvPr>
              <p:custDataLst>
                <p:tags r:id="rId42"/>
              </p:custDataLst>
            </p:nvPr>
          </p:nvSpPr>
          <p:spPr>
            <a:xfrm>
              <a:off x="1664329" y="2969498"/>
              <a:ext cx="396000" cy="396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32" name="Oval 142 [0] [7]" hidden="1">
              <a:extLst>
                <a:ext uri="{FF2B5EF4-FFF2-40B4-BE49-F238E27FC236}">
                  <a16:creationId xmlns:a16="http://schemas.microsoft.com/office/drawing/2014/main" id="{7B20C398-4FD7-4F4A-8BFC-392807FADAD9}"/>
                </a:ext>
              </a:extLst>
            </p:cNvPr>
            <p:cNvSpPr>
              <a:spLocks/>
            </p:cNvSpPr>
            <p:nvPr>
              <p:custDataLst>
                <p:tags r:id="rId43"/>
              </p:custDataLst>
            </p:nvPr>
          </p:nvSpPr>
          <p:spPr>
            <a:xfrm>
              <a:off x="1700016" y="3007142"/>
              <a:ext cx="324000" cy="32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fr-FR" sz="1050">
                  <a:solidFill>
                    <a:schemeClr val="tx1"/>
                  </a:solidFill>
                  <a:ea typeface="+mj-ea"/>
                  <a:cs typeface="+mj-cs"/>
                </a:rPr>
                <a:t>8</a:t>
              </a:r>
            </a:p>
          </p:txBody>
        </p:sp>
        <p:sp>
          <p:nvSpPr>
            <p:cNvPr id="33" name="Isosceles Triangle 140 [0] [8]" hidden="1">
              <a:extLst>
                <a:ext uri="{FF2B5EF4-FFF2-40B4-BE49-F238E27FC236}">
                  <a16:creationId xmlns:a16="http://schemas.microsoft.com/office/drawing/2014/main" id="{4272D45A-B83B-4EBE-BA48-6EFD9B178E3F}"/>
                </a:ext>
              </a:extLst>
            </p:cNvPr>
            <p:cNvSpPr>
              <a:spLocks/>
            </p:cNvSpPr>
            <p:nvPr>
              <p:custDataLst>
                <p:tags r:id="rId44"/>
              </p:custDataLst>
            </p:nvPr>
          </p:nvSpPr>
          <p:spPr>
            <a:xfrm rot="15982429">
              <a:off x="1543633" y="3122115"/>
              <a:ext cx="230938" cy="11504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35" name="Oval 141 [0] [8]" hidden="1">
              <a:extLst>
                <a:ext uri="{FF2B5EF4-FFF2-40B4-BE49-F238E27FC236}">
                  <a16:creationId xmlns:a16="http://schemas.microsoft.com/office/drawing/2014/main" id="{CD230DC3-173D-4A86-9397-DCB2859C0E1F}"/>
                </a:ext>
              </a:extLst>
            </p:cNvPr>
            <p:cNvSpPr>
              <a:spLocks/>
            </p:cNvSpPr>
            <p:nvPr>
              <p:custDataLst>
                <p:tags r:id="rId45"/>
              </p:custDataLst>
            </p:nvPr>
          </p:nvSpPr>
          <p:spPr>
            <a:xfrm>
              <a:off x="1664329" y="2969498"/>
              <a:ext cx="396000" cy="396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36" name="Oval 142 [0] [8]" hidden="1">
              <a:extLst>
                <a:ext uri="{FF2B5EF4-FFF2-40B4-BE49-F238E27FC236}">
                  <a16:creationId xmlns:a16="http://schemas.microsoft.com/office/drawing/2014/main" id="{D223C19F-8F88-4730-A58D-5D4BC9C6765F}"/>
                </a:ext>
              </a:extLst>
            </p:cNvPr>
            <p:cNvSpPr>
              <a:spLocks/>
            </p:cNvSpPr>
            <p:nvPr>
              <p:custDataLst>
                <p:tags r:id="rId46"/>
              </p:custDataLst>
            </p:nvPr>
          </p:nvSpPr>
          <p:spPr>
            <a:xfrm>
              <a:off x="1700016" y="3007142"/>
              <a:ext cx="324000" cy="32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fr-FR" sz="1050">
                  <a:solidFill>
                    <a:schemeClr val="tx1"/>
                  </a:solidFill>
                  <a:ea typeface="+mj-ea"/>
                  <a:cs typeface="+mj-cs"/>
                </a:rPr>
                <a:t>9</a:t>
              </a:r>
            </a:p>
          </p:txBody>
        </p:sp>
        <p:sp>
          <p:nvSpPr>
            <p:cNvPr id="37" name="Isosceles Triangle 140 [0] [9]" hidden="1">
              <a:extLst>
                <a:ext uri="{FF2B5EF4-FFF2-40B4-BE49-F238E27FC236}">
                  <a16:creationId xmlns:a16="http://schemas.microsoft.com/office/drawing/2014/main" id="{B0E370D1-CDA3-43E0-94B2-36C9F429C2A1}"/>
                </a:ext>
              </a:extLst>
            </p:cNvPr>
            <p:cNvSpPr>
              <a:spLocks/>
            </p:cNvSpPr>
            <p:nvPr>
              <p:custDataLst>
                <p:tags r:id="rId47"/>
              </p:custDataLst>
            </p:nvPr>
          </p:nvSpPr>
          <p:spPr>
            <a:xfrm rot="15982429">
              <a:off x="1543633" y="3122115"/>
              <a:ext cx="230938" cy="11504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38" name="Oval 141 [0] [9]" hidden="1">
              <a:extLst>
                <a:ext uri="{FF2B5EF4-FFF2-40B4-BE49-F238E27FC236}">
                  <a16:creationId xmlns:a16="http://schemas.microsoft.com/office/drawing/2014/main" id="{67CA97F4-C8F5-42B1-BAA4-9A03CB2A3508}"/>
                </a:ext>
              </a:extLst>
            </p:cNvPr>
            <p:cNvSpPr>
              <a:spLocks/>
            </p:cNvSpPr>
            <p:nvPr>
              <p:custDataLst>
                <p:tags r:id="rId48"/>
              </p:custDataLst>
            </p:nvPr>
          </p:nvSpPr>
          <p:spPr>
            <a:xfrm>
              <a:off x="1664329" y="2969498"/>
              <a:ext cx="396000" cy="396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800">
                <a:solidFill>
                  <a:schemeClr val="bg2"/>
                </a:solidFill>
                <a:ea typeface="+mj-ea"/>
                <a:cs typeface="+mj-cs"/>
              </a:endParaRPr>
            </a:p>
          </p:txBody>
        </p:sp>
        <p:sp>
          <p:nvSpPr>
            <p:cNvPr id="39" name="Oval 142 [0] [9]" hidden="1">
              <a:extLst>
                <a:ext uri="{FF2B5EF4-FFF2-40B4-BE49-F238E27FC236}">
                  <a16:creationId xmlns:a16="http://schemas.microsoft.com/office/drawing/2014/main" id="{F75BA54F-DEA1-4DCD-85AA-DE4D538868D9}"/>
                </a:ext>
              </a:extLst>
            </p:cNvPr>
            <p:cNvSpPr>
              <a:spLocks/>
            </p:cNvSpPr>
            <p:nvPr>
              <p:custDataLst>
                <p:tags r:id="rId49"/>
              </p:custDataLst>
            </p:nvPr>
          </p:nvSpPr>
          <p:spPr>
            <a:xfrm>
              <a:off x="1700016" y="3007142"/>
              <a:ext cx="324000" cy="32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050">
                  <a:solidFill>
                    <a:schemeClr val="tx1"/>
                  </a:solidFill>
                  <a:ea typeface="+mj-ea"/>
                  <a:cs typeface="+mj-cs"/>
                </a:rPr>
                <a:t>10</a:t>
              </a:r>
            </a:p>
          </p:txBody>
        </p:sp>
      </p:grpSp>
      <p:sp>
        <p:nvSpPr>
          <p:cNvPr id="3" name="MSIPCMContentMarking" descr="{&quot;HashCode&quot;:967973103,&quot;Placement&quot;:&quot;Footer&quot;,&quot;Top&quot;:519.343,&quot;Left&quot;:0.0,&quot;SlideWidth&quot;:960,&quot;SlideHeight&quot;:540}">
            <a:extLst>
              <a:ext uri="{FF2B5EF4-FFF2-40B4-BE49-F238E27FC236}">
                <a16:creationId xmlns:a16="http://schemas.microsoft.com/office/drawing/2014/main" id="{26E85982-7F79-4997-A66E-2E9C46C790A5}"/>
              </a:ext>
            </a:extLst>
          </p:cNvPr>
          <p:cNvSpPr txBox="1"/>
          <p:nvPr userDrawn="1"/>
        </p:nvSpPr>
        <p:spPr>
          <a:xfrm>
            <a:off x="0" y="6595656"/>
            <a:ext cx="650765" cy="262344"/>
          </a:xfrm>
          <a:prstGeom prst="rect">
            <a:avLst/>
          </a:prstGeom>
          <a:noFill/>
        </p:spPr>
        <p:txBody>
          <a:bodyPr vert="horz" wrap="square" lIns="0" tIns="0" rIns="0" bIns="0" rtlCol="0" anchor="ctr" anchorCtr="1">
            <a:spAutoFit/>
          </a:bodyPr>
          <a:lstStyle/>
          <a:p>
            <a:pPr algn="l">
              <a:spcBef>
                <a:spcPts val="0"/>
              </a:spcBef>
              <a:spcAft>
                <a:spcPts val="0"/>
              </a:spcAft>
            </a:pPr>
            <a:r>
              <a:rPr lang="fr-FR" sz="1000">
                <a:solidFill>
                  <a:srgbClr val="A80000"/>
                </a:solidFill>
                <a:latin typeface="Calibri" panose="020F0502020204030204" pitchFamily="34" charset="0"/>
              </a:rPr>
              <a:t>Interne</a:t>
            </a:r>
            <a:endParaRPr lang="fr-FR" sz="1000" dirty="0">
              <a:solidFill>
                <a:srgbClr val="A80000"/>
              </a:solidFill>
              <a:latin typeface="Calibri" panose="020F0502020204030204" pitchFamily="34" charset="0"/>
            </a:endParaRPr>
          </a:p>
        </p:txBody>
      </p:sp>
    </p:spTree>
    <p:extLst>
      <p:ext uri="{BB962C8B-B14F-4D97-AF65-F5344CB8AC3E}">
        <p14:creationId xmlns:p14="http://schemas.microsoft.com/office/powerpoint/2010/main" val="272828599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p:titleStyle>
    <p:body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guide id="3" pos="217">
          <p15:clr>
            <a:srgbClr val="F26B43"/>
          </p15:clr>
        </p15:guide>
        <p15:guide id="4" pos="6023">
          <p15:clr>
            <a:srgbClr val="F26B43"/>
          </p15:clr>
        </p15:guide>
        <p15:guide id="6" orient="horz" pos="232">
          <p15:clr>
            <a:srgbClr val="F26B43"/>
          </p15:clr>
        </p15:guide>
        <p15:guide id="8" orient="horz" pos="4088">
          <p15:clr>
            <a:srgbClr val="F26B43"/>
          </p15:clr>
        </p15:guide>
        <p15:guide id="9" orient="horz" pos="2228">
          <p15:clr>
            <a:srgbClr val="F26B43"/>
          </p15:clr>
        </p15:guide>
        <p15:guide id="10" orient="horz" pos="2092">
          <p15:clr>
            <a:srgbClr val="F26B43"/>
          </p15:clr>
        </p15:guide>
        <p15:guide id="11" pos="3188">
          <p15:clr>
            <a:srgbClr val="F26B43"/>
          </p15:clr>
        </p15:guide>
        <p15:guide id="12" pos="3052">
          <p15:clr>
            <a:srgbClr val="F26B43"/>
          </p15:clr>
        </p15:guide>
        <p15:guide id="13" pos="6130">
          <p15:clr>
            <a:srgbClr val="F26B43"/>
          </p15:clr>
        </p15:guide>
        <p15:guide id="14" pos="5910">
          <p15:clr>
            <a:srgbClr val="F26B43"/>
          </p15:clr>
        </p15:guide>
        <p15:guide id="15" orient="horz" pos="4201">
          <p15:clr>
            <a:srgbClr val="F26B43"/>
          </p15:clr>
        </p15:guide>
        <p15:guide id="16" orient="horz" pos="346">
          <p15:clr>
            <a:srgbClr val="F26B43"/>
          </p15:clr>
        </p15:guide>
        <p15:guide id="17" orient="horz" pos="845">
          <p15:clr>
            <a:srgbClr val="F26B43"/>
          </p15:clr>
        </p15:guide>
        <p15:guide id="18" orient="horz" pos="414">
          <p15:clr>
            <a:srgbClr val="F26B43"/>
          </p15:clr>
        </p15:guide>
        <p15:guide id="19" orient="horz" pos="1003">
          <p15:clr>
            <a:srgbClr val="F26B43"/>
          </p15:clr>
        </p15:guide>
        <p15:guide id="20" orient="horz" pos="3974">
          <p15:clr>
            <a:srgbClr val="F26B43"/>
          </p15:clr>
        </p15:guide>
        <p15:guide id="21" pos="1805">
          <p15:clr>
            <a:srgbClr val="F26B43"/>
          </p15:clr>
        </p15:guide>
        <p15:guide id="22" pos="2099">
          <p15:clr>
            <a:srgbClr val="F26B43"/>
          </p15:clr>
        </p15:guide>
        <p15:guide id="23" pos="3914">
          <p15:clr>
            <a:srgbClr val="F26B43"/>
          </p15:clr>
        </p15:guide>
        <p15:guide id="24" pos="3982">
          <p15:clr>
            <a:srgbClr val="F26B43"/>
          </p15:clr>
        </p15:guide>
        <p15:guide id="25" orient="horz" pos="1706">
          <p15:clr>
            <a:srgbClr val="F26B43"/>
          </p15:clr>
        </p15:guide>
        <p15:guide id="26" orient="horz" pos="1820">
          <p15:clr>
            <a:srgbClr val="F26B43"/>
          </p15:clr>
        </p15:guide>
        <p15:guide id="27" orient="horz" pos="2727">
          <p15:clr>
            <a:srgbClr val="F26B43"/>
          </p15:clr>
        </p15:guide>
        <p15:guide id="28" orient="horz" pos="2840">
          <p15:clr>
            <a:srgbClr val="F26B43"/>
          </p15:clr>
        </p15:guide>
        <p15:guide id="29" pos="2213">
          <p15:clr>
            <a:srgbClr val="F26B43"/>
          </p15:clr>
        </p15:guide>
        <p15:guide id="30" orient="horz" pos="3680">
          <p15:clr>
            <a:srgbClr val="F26B43"/>
          </p15:clr>
        </p15:guide>
        <p15:guide id="31" orient="horz" pos="3748">
          <p15:clr>
            <a:srgbClr val="F26B43"/>
          </p15:clr>
        </p15:guide>
        <p15:guide id="32" pos="187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3984" y="404665"/>
            <a:ext cx="11342769" cy="863749"/>
          </a:xfrm>
          <a:prstGeom prst="rect">
            <a:avLst/>
          </a:prstGeom>
          <a:noFill/>
        </p:spPr>
        <p:txBody>
          <a:bodyPr vert="horz" lIns="108000" tIns="0" rIns="108000" bIns="0" rtlCol="0" anchor="t">
            <a:noAutofit/>
          </a:bodyPr>
          <a:lstStyle/>
          <a:p>
            <a:r>
              <a:rPr lang="fr-FR"/>
              <a:t>Complete </a:t>
            </a:r>
            <a:r>
              <a:rPr lang="fr-FR" err="1"/>
              <a:t>with</a:t>
            </a:r>
            <a:r>
              <a:rPr lang="fr-FR"/>
              <a:t> a </a:t>
            </a:r>
            <a:r>
              <a:rPr lang="fr-FR" err="1"/>
              <a:t>title</a:t>
            </a:r>
            <a:r>
              <a:rPr lang="fr-FR"/>
              <a:t> </a:t>
            </a:r>
            <a:r>
              <a:rPr lang="fr-FR" err="1"/>
              <a:t>here</a:t>
            </a:r>
            <a:r>
              <a:rPr lang="fr-FR"/>
              <a:t> </a:t>
            </a:r>
            <a:r>
              <a:rPr lang="fr-FR" err="1"/>
              <a:t>that</a:t>
            </a:r>
            <a:r>
              <a:rPr lang="fr-FR"/>
              <a:t> carries </a:t>
            </a:r>
            <a:r>
              <a:rPr lang="fr-FR" err="1"/>
              <a:t>your</a:t>
            </a:r>
            <a:r>
              <a:rPr lang="fr-FR"/>
              <a:t> message on </a:t>
            </a:r>
            <a:r>
              <a:rPr lang="fr-FR" err="1"/>
              <a:t>two</a:t>
            </a:r>
            <a:r>
              <a:rPr lang="fr-FR"/>
              <a:t> </a:t>
            </a:r>
            <a:r>
              <a:rPr lang="fr-FR" err="1"/>
              <a:t>lines</a:t>
            </a:r>
            <a:r>
              <a:rPr lang="fr-FR"/>
              <a:t> at </a:t>
            </a:r>
            <a:r>
              <a:rPr lang="fr-FR" err="1"/>
              <a:t>most</a:t>
            </a:r>
            <a:r>
              <a:rPr lang="fr-FR"/>
              <a:t> for more </a:t>
            </a:r>
            <a:r>
              <a:rPr lang="fr-FR" noProof="0" err="1"/>
              <a:t>readability</a:t>
            </a:r>
            <a:endParaRPr lang="fr-FR" noProof="0"/>
          </a:p>
        </p:txBody>
      </p:sp>
      <p:sp>
        <p:nvSpPr>
          <p:cNvPr id="34" name="Rectangle 33"/>
          <p:cNvSpPr/>
          <p:nvPr/>
        </p:nvSpPr>
        <p:spPr>
          <a:xfrm>
            <a:off x="9286508" y="6503348"/>
            <a:ext cx="2004177" cy="230832"/>
          </a:xfrm>
          <a:prstGeom prst="rect">
            <a:avLst/>
          </a:prstGeom>
        </p:spPr>
        <p:txBody>
          <a:bodyPr wrap="square" anchor="ctr">
            <a:spAutoFit/>
          </a:bodyPr>
          <a:lstStyle/>
          <a:p>
            <a:pPr lvl="0" algn="r">
              <a:spcBef>
                <a:spcPts val="400"/>
              </a:spcBef>
              <a:buClr>
                <a:srgbClr val="660066"/>
              </a:buClr>
            </a:pPr>
            <a:r>
              <a:rPr lang="fr-FR" sz="600" noProof="0" err="1">
                <a:solidFill>
                  <a:schemeClr val="tx1"/>
                </a:solidFill>
                <a:latin typeface="Tahoma" panose="020B0604030504040204" pitchFamily="34" charset="0"/>
                <a:ea typeface="Tahoma" panose="020B0604030504040204" pitchFamily="34" charset="0"/>
                <a:cs typeface="Tahoma" panose="020B0604030504040204" pitchFamily="34" charset="0"/>
              </a:rPr>
              <a:t>confidential</a:t>
            </a:r>
            <a:r>
              <a:rPr lang="fr-FR" sz="600" noProof="0">
                <a:solidFill>
                  <a:schemeClr val="tx1"/>
                </a:solidFill>
                <a:latin typeface="Tahoma" panose="020B0604030504040204" pitchFamily="34" charset="0"/>
                <a:ea typeface="Tahoma" panose="020B0604030504040204" pitchFamily="34" charset="0"/>
                <a:cs typeface="Tahoma" panose="020B0604030504040204" pitchFamily="34" charset="0"/>
              </a:rPr>
              <a:t> </a:t>
            </a:r>
            <a:r>
              <a:rPr lang="fr-FR" sz="900" noProof="0">
                <a:solidFill>
                  <a:schemeClr val="bg2"/>
                </a:solidFill>
                <a:latin typeface="Tahoma" panose="020B0604030504040204" pitchFamily="34" charset="0"/>
                <a:ea typeface="Tahoma" panose="020B0604030504040204" pitchFamily="34" charset="0"/>
                <a:cs typeface="Tahoma" panose="020B0604030504040204" pitchFamily="34" charset="0"/>
              </a:rPr>
              <a:t>| © WAVESTONE</a:t>
            </a:r>
          </a:p>
        </p:txBody>
      </p:sp>
      <p:sp>
        <p:nvSpPr>
          <p:cNvPr id="98" name="Textfeld 6"/>
          <p:cNvSpPr txBox="1"/>
          <p:nvPr/>
        </p:nvSpPr>
        <p:spPr bwMode="gray">
          <a:xfrm>
            <a:off x="11324889" y="6549299"/>
            <a:ext cx="443077" cy="138499"/>
          </a:xfrm>
          <a:prstGeom prst="rect">
            <a:avLst/>
          </a:prstGeom>
          <a:noFill/>
        </p:spPr>
        <p:txBody>
          <a:bodyPr wrap="square" lIns="0" tIns="0" rIns="0" bIns="0" rtlCol="0" anchor="ctr"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5152254E-7EB4-45E4-904F-3575BFE2F20B}" type="slidenum">
              <a:rPr lang="fr-FR" sz="900" noProof="0" smtClean="0">
                <a:solidFill>
                  <a:schemeClr val="bg2"/>
                </a:solidFill>
              </a:rPr>
              <a:pPr marL="0" marR="0" indent="0" algn="r" defTabSz="914400" rtl="0" eaLnBrk="1" fontAlgn="auto" latinLnBrk="0" hangingPunct="1">
                <a:lnSpc>
                  <a:spcPct val="100000"/>
                </a:lnSpc>
                <a:spcBef>
                  <a:spcPts val="0"/>
                </a:spcBef>
                <a:spcAft>
                  <a:spcPts val="0"/>
                </a:spcAft>
                <a:buClrTx/>
                <a:buSzTx/>
                <a:buFontTx/>
                <a:buNone/>
                <a:tabLst/>
                <a:defRPr/>
              </a:pPr>
              <a:t>‹N°›</a:t>
            </a:fld>
            <a:endParaRPr lang="fr-FR" sz="900" noProof="0">
              <a:solidFill>
                <a:schemeClr val="bg2"/>
              </a:solidFill>
            </a:endParaRPr>
          </a:p>
        </p:txBody>
      </p:sp>
      <p:sp>
        <p:nvSpPr>
          <p:cNvPr id="4" name="Espace réservé du texte 3"/>
          <p:cNvSpPr>
            <a:spLocks noGrp="1"/>
          </p:cNvSpPr>
          <p:nvPr>
            <p:ph type="body" idx="1"/>
          </p:nvPr>
        </p:nvSpPr>
        <p:spPr>
          <a:xfrm>
            <a:off x="423984" y="1268414"/>
            <a:ext cx="11342769" cy="4968000"/>
          </a:xfrm>
          <a:prstGeom prst="rect">
            <a:avLst/>
          </a:prstGeom>
        </p:spPr>
        <p:txBody>
          <a:bodyPr vert="horz" lIns="108000" tIns="108000" rIns="108000" bIns="108000" rtlCol="0">
            <a:noAutofit/>
          </a:bodyPr>
          <a:lstStyle/>
          <a:p>
            <a:pPr lvl="0"/>
            <a:r>
              <a:rPr lang="fr-FR" err="1"/>
              <a:t>Level</a:t>
            </a:r>
            <a:r>
              <a:rPr lang="fr-FR"/>
              <a:t> 1 - </a:t>
            </a:r>
            <a:r>
              <a:rPr lang="fr-FR">
                <a:solidFill>
                  <a:srgbClr val="503078"/>
                </a:solidFill>
              </a:rPr>
              <a:t>To move to the </a:t>
            </a:r>
            <a:r>
              <a:rPr lang="fr-FR" err="1">
                <a:solidFill>
                  <a:srgbClr val="503078"/>
                </a:solidFill>
              </a:rPr>
              <a:t>next</a:t>
            </a:r>
            <a:r>
              <a:rPr lang="fr-FR">
                <a:solidFill>
                  <a:srgbClr val="503078"/>
                </a:solidFill>
              </a:rPr>
              <a:t> </a:t>
            </a:r>
            <a:r>
              <a:rPr lang="fr-FR" err="1">
                <a:solidFill>
                  <a:srgbClr val="503078"/>
                </a:solidFill>
              </a:rPr>
              <a:t>level</a:t>
            </a:r>
            <a:r>
              <a:rPr lang="fr-FR">
                <a:solidFill>
                  <a:srgbClr val="503078"/>
                </a:solidFill>
              </a:rPr>
              <a:t>, Alt + Shift + right </a:t>
            </a:r>
            <a:r>
              <a:rPr lang="fr-FR" err="1">
                <a:solidFill>
                  <a:srgbClr val="503078"/>
                </a:solidFill>
              </a:rPr>
              <a:t>arrow</a:t>
            </a:r>
            <a:endParaRPr lang="fr-FR"/>
          </a:p>
          <a:p>
            <a:pPr lvl="1"/>
            <a:r>
              <a:rPr lang="fr-FR" err="1"/>
              <a:t>Level</a:t>
            </a:r>
            <a:r>
              <a:rPr lang="fr-FR"/>
              <a:t> 2</a:t>
            </a:r>
          </a:p>
          <a:p>
            <a:pPr lvl="2"/>
            <a:r>
              <a:rPr lang="fr-FR" err="1"/>
              <a:t>Level</a:t>
            </a:r>
            <a:r>
              <a:rPr lang="fr-FR"/>
              <a:t> 3</a:t>
            </a:r>
          </a:p>
          <a:p>
            <a:pPr lvl="3"/>
            <a:r>
              <a:rPr lang="fr-FR" err="1"/>
              <a:t>Level</a:t>
            </a:r>
            <a:r>
              <a:rPr lang="fr-FR"/>
              <a:t> 4</a:t>
            </a:r>
          </a:p>
          <a:p>
            <a:pPr lvl="4"/>
            <a:r>
              <a:rPr lang="fr-FR" err="1"/>
              <a:t>Level</a:t>
            </a:r>
            <a:r>
              <a:rPr lang="fr-FR"/>
              <a:t> 5</a:t>
            </a:r>
          </a:p>
          <a:p>
            <a:pPr lvl="5"/>
            <a:r>
              <a:rPr lang="fr-FR" err="1"/>
              <a:t>Level</a:t>
            </a:r>
            <a:r>
              <a:rPr lang="fr-FR"/>
              <a:t> 6</a:t>
            </a:r>
          </a:p>
          <a:p>
            <a:pPr lvl="6"/>
            <a:r>
              <a:rPr lang="fr-FR" err="1"/>
              <a:t>Level</a:t>
            </a:r>
            <a:r>
              <a:rPr lang="fr-FR"/>
              <a:t> 7</a:t>
            </a:r>
          </a:p>
          <a:p>
            <a:pPr lvl="7"/>
            <a:r>
              <a:rPr lang="fr-FR" noProof="0" err="1"/>
              <a:t>Level</a:t>
            </a:r>
            <a:r>
              <a:rPr lang="fr-FR" noProof="0"/>
              <a:t> </a:t>
            </a:r>
            <a:r>
              <a:rPr lang="fr-FR"/>
              <a:t>8</a:t>
            </a:r>
          </a:p>
          <a:p>
            <a:pPr lvl="8"/>
            <a:r>
              <a:rPr lang="fr-FR" err="1"/>
              <a:t>Level</a:t>
            </a:r>
            <a:r>
              <a:rPr lang="fr-FR"/>
              <a:t> 9</a:t>
            </a:r>
          </a:p>
        </p:txBody>
      </p:sp>
      <p:pic>
        <p:nvPicPr>
          <p:cNvPr id="7" name="Image 6"/>
          <p:cNvPicPr>
            <a:picLocks noChangeAspect="1"/>
          </p:cNvPicPr>
          <p:nvPr/>
        </p:nvPicPr>
        <p:blipFill rotWithShape="1">
          <a:blip r:embed="rId21" cstate="print">
            <a:extLst>
              <a:ext uri="{28A0092B-C50C-407E-A947-70E740481C1C}">
                <a14:useLocalDpi xmlns:a14="http://schemas.microsoft.com/office/drawing/2010/main" val="0"/>
              </a:ext>
            </a:extLst>
          </a:blip>
          <a:srcRect l="8505" t="8117" b="17461"/>
          <a:stretch/>
        </p:blipFill>
        <p:spPr>
          <a:xfrm>
            <a:off x="11248763" y="5935042"/>
            <a:ext cx="1139628" cy="926732"/>
          </a:xfrm>
          <a:prstGeom prst="rect">
            <a:avLst/>
          </a:prstGeom>
        </p:spPr>
      </p:pic>
      <p:sp>
        <p:nvSpPr>
          <p:cNvPr id="3" name="MSIPCMContentMarking" descr="{&quot;HashCode&quot;:967973103,&quot;Placement&quot;:&quot;Footer&quot;,&quot;Top&quot;:519.343,&quot;Left&quot;:0.0,&quot;SlideWidth&quot;:960,&quot;SlideHeight&quot;:540}">
            <a:extLst>
              <a:ext uri="{FF2B5EF4-FFF2-40B4-BE49-F238E27FC236}">
                <a16:creationId xmlns:a16="http://schemas.microsoft.com/office/drawing/2014/main" id="{C85948E3-EEF2-44AB-BFD8-2983E12A1659}"/>
              </a:ext>
            </a:extLst>
          </p:cNvPr>
          <p:cNvSpPr txBox="1"/>
          <p:nvPr userDrawn="1"/>
        </p:nvSpPr>
        <p:spPr>
          <a:xfrm>
            <a:off x="0" y="6595656"/>
            <a:ext cx="650765" cy="262344"/>
          </a:xfrm>
          <a:prstGeom prst="rect">
            <a:avLst/>
          </a:prstGeom>
          <a:noFill/>
        </p:spPr>
        <p:txBody>
          <a:bodyPr vert="horz" wrap="square" lIns="0" tIns="0" rIns="0" bIns="0" rtlCol="0" anchor="ctr" anchorCtr="1">
            <a:spAutoFit/>
          </a:bodyPr>
          <a:lstStyle/>
          <a:p>
            <a:pPr algn="l">
              <a:spcBef>
                <a:spcPts val="0"/>
              </a:spcBef>
              <a:spcAft>
                <a:spcPts val="0"/>
              </a:spcAft>
            </a:pPr>
            <a:r>
              <a:rPr lang="fr-FR" sz="1000">
                <a:solidFill>
                  <a:srgbClr val="A80000"/>
                </a:solidFill>
                <a:latin typeface="Calibri" panose="020F0502020204030204" pitchFamily="34" charset="0"/>
              </a:rPr>
              <a:t>Interne</a:t>
            </a:r>
            <a:endParaRPr lang="fr-FR" sz="1000" dirty="0">
              <a:solidFill>
                <a:srgbClr val="A80000"/>
              </a:solidFill>
              <a:latin typeface="Calibri" panose="020F0502020204030204" pitchFamily="34" charset="0"/>
            </a:endParaRPr>
          </a:p>
        </p:txBody>
      </p:sp>
    </p:spTree>
    <p:extLst>
      <p:ext uri="{BB962C8B-B14F-4D97-AF65-F5344CB8AC3E}">
        <p14:creationId xmlns:p14="http://schemas.microsoft.com/office/powerpoint/2010/main" val="16227390"/>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Lst>
  <p:hf hdr="0" ftr="0" dt="0"/>
  <p:txStyles>
    <p:title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p:titleStyle>
    <p:body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guide id="3" pos="217">
          <p15:clr>
            <a:srgbClr val="F26B43"/>
          </p15:clr>
        </p15:guide>
        <p15:guide id="4" pos="6023">
          <p15:clr>
            <a:srgbClr val="F26B43"/>
          </p15:clr>
        </p15:guide>
        <p15:guide id="6" orient="horz" pos="232">
          <p15:clr>
            <a:srgbClr val="F26B43"/>
          </p15:clr>
        </p15:guide>
        <p15:guide id="9" orient="horz" pos="2228">
          <p15:clr>
            <a:srgbClr val="F26B43"/>
          </p15:clr>
        </p15:guide>
        <p15:guide id="10" orient="horz" pos="2092">
          <p15:clr>
            <a:srgbClr val="F26B43"/>
          </p15:clr>
        </p15:guide>
        <p15:guide id="11" pos="3188">
          <p15:clr>
            <a:srgbClr val="F26B43"/>
          </p15:clr>
        </p15:guide>
        <p15:guide id="12" pos="3052">
          <p15:clr>
            <a:srgbClr val="F26B43"/>
          </p15:clr>
        </p15:guide>
        <p15:guide id="17" orient="horz" pos="799">
          <p15:clr>
            <a:srgbClr val="F26B43"/>
          </p15:clr>
        </p15:guide>
        <p15:guide id="20" orient="horz" pos="392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3984" y="404664"/>
            <a:ext cx="11342769" cy="935750"/>
          </a:xfrm>
          <a:prstGeom prst="rect">
            <a:avLst/>
          </a:prstGeom>
          <a:noFill/>
        </p:spPr>
        <p:txBody>
          <a:bodyPr vert="horz" lIns="108000" tIns="0" rIns="108000" bIns="0" rtlCol="0" anchor="t">
            <a:noAutofit/>
          </a:bodyPr>
          <a:lstStyle/>
          <a:p>
            <a:r>
              <a:rPr lang="fr-FR"/>
              <a:t>Compléter avec un titre ici qui porte votre message sur deux lignes au maximum pour des raisons de lisibilité</a:t>
            </a:r>
            <a:endParaRPr lang="fr-FR" noProof="0"/>
          </a:p>
        </p:txBody>
      </p:sp>
      <p:sp>
        <p:nvSpPr>
          <p:cNvPr id="4" name="Espace réservé du texte 3"/>
          <p:cNvSpPr>
            <a:spLocks noGrp="1"/>
          </p:cNvSpPr>
          <p:nvPr>
            <p:ph type="body" idx="1"/>
          </p:nvPr>
        </p:nvSpPr>
        <p:spPr>
          <a:xfrm>
            <a:off x="423984" y="1341438"/>
            <a:ext cx="11342769" cy="4894976"/>
          </a:xfrm>
          <a:prstGeom prst="rect">
            <a:avLst/>
          </a:prstGeom>
        </p:spPr>
        <p:txBody>
          <a:bodyPr vert="horz" lIns="108000" tIns="108000" rIns="108000" bIns="108000" rtlCol="0">
            <a:noAutofit/>
          </a:bodyPr>
          <a:lstStyle/>
          <a:p>
            <a:pPr lvl="0"/>
            <a:r>
              <a:rPr lang="fr-FR"/>
              <a:t>Niveau 1 - </a:t>
            </a:r>
            <a:r>
              <a:rPr lang="fr-FR">
                <a:solidFill>
                  <a:srgbClr val="503078"/>
                </a:solidFill>
              </a:rPr>
              <a:t>Pour passer au niveau suivant, faire Shift + Alt + flèche droite </a:t>
            </a:r>
            <a:endParaRPr lang="fr-FR"/>
          </a:p>
          <a:p>
            <a:pPr lvl="1"/>
            <a:r>
              <a:rPr lang="fr-FR"/>
              <a:t>Niveau 2</a:t>
            </a:r>
          </a:p>
          <a:p>
            <a:pPr lvl="2"/>
            <a:r>
              <a:rPr lang="fr-FR"/>
              <a:t>Niveau 3</a:t>
            </a:r>
          </a:p>
          <a:p>
            <a:pPr lvl="3"/>
            <a:r>
              <a:rPr lang="fr-FR"/>
              <a:t>Niveau 4</a:t>
            </a:r>
          </a:p>
          <a:p>
            <a:pPr lvl="4"/>
            <a:r>
              <a:rPr lang="fr-FR"/>
              <a:t>Niveau 5</a:t>
            </a:r>
          </a:p>
          <a:p>
            <a:pPr lvl="5"/>
            <a:r>
              <a:rPr lang="fr-FR"/>
              <a:t>Niveau 6</a:t>
            </a:r>
          </a:p>
          <a:p>
            <a:pPr lvl="6"/>
            <a:r>
              <a:rPr lang="fr-FR"/>
              <a:t>Niveau 7</a:t>
            </a:r>
          </a:p>
          <a:p>
            <a:pPr lvl="7"/>
            <a:r>
              <a:rPr lang="fr-FR" noProof="0"/>
              <a:t>Nive</a:t>
            </a:r>
            <a:r>
              <a:rPr lang="fr-FR"/>
              <a:t>au 8</a:t>
            </a:r>
          </a:p>
          <a:p>
            <a:pPr lvl="8"/>
            <a:r>
              <a:rPr lang="fr-FR"/>
              <a:t>Niveau 9</a:t>
            </a:r>
          </a:p>
        </p:txBody>
      </p:sp>
      <p:pic>
        <p:nvPicPr>
          <p:cNvPr id="7" name="Image 6"/>
          <p:cNvPicPr>
            <a:picLocks noChangeAspect="1"/>
          </p:cNvPicPr>
          <p:nvPr userDrawn="1"/>
        </p:nvPicPr>
        <p:blipFill rotWithShape="1">
          <a:blip r:embed="rId91" cstate="print">
            <a:extLst>
              <a:ext uri="{28A0092B-C50C-407E-A947-70E740481C1C}">
                <a14:useLocalDpi xmlns:a14="http://schemas.microsoft.com/office/drawing/2010/main" val="0"/>
              </a:ext>
            </a:extLst>
          </a:blip>
          <a:srcRect l="8505" t="8117" b="17461"/>
          <a:stretch/>
        </p:blipFill>
        <p:spPr>
          <a:xfrm>
            <a:off x="11248763" y="5935042"/>
            <a:ext cx="1139628" cy="926732"/>
          </a:xfrm>
          <a:prstGeom prst="rect">
            <a:avLst/>
          </a:prstGeom>
        </p:spPr>
      </p:pic>
      <p:sp>
        <p:nvSpPr>
          <p:cNvPr id="8" name="Rectangle 7">
            <a:extLst>
              <a:ext uri="{FF2B5EF4-FFF2-40B4-BE49-F238E27FC236}">
                <a16:creationId xmlns:a16="http://schemas.microsoft.com/office/drawing/2014/main" id="{C58BAC12-E130-4DCA-82BA-549733B4FB0F}"/>
              </a:ext>
            </a:extLst>
          </p:cNvPr>
          <p:cNvSpPr>
            <a:spLocks/>
          </p:cNvSpPr>
          <p:nvPr userDrawn="1"/>
        </p:nvSpPr>
        <p:spPr>
          <a:xfrm>
            <a:off x="10172761" y="6612746"/>
            <a:ext cx="974879" cy="246706"/>
          </a:xfrm>
          <a:prstGeom prst="rect">
            <a:avLst/>
          </a:prstGeom>
        </p:spPr>
        <p:txBody>
          <a:bodyPr wrap="square" lIns="0" tIns="0" rIns="0" bIns="122400" anchor="t">
            <a:spAutoFit/>
          </a:bodyPr>
          <a:lstStyle/>
          <a:p>
            <a:pPr lvl="0" algn="r">
              <a:spcBef>
                <a:spcPts val="400"/>
              </a:spcBef>
              <a:buClr>
                <a:srgbClr val="660066"/>
              </a:buClr>
            </a:pPr>
            <a:r>
              <a:rPr lang="fr-FR" sz="800" noProof="0">
                <a:solidFill>
                  <a:schemeClr val="bg2"/>
                </a:solidFill>
                <a:latin typeface="Tahoma" panose="020B0604030504040204" pitchFamily="34" charset="0"/>
                <a:ea typeface="Tahoma" panose="020B0604030504040204" pitchFamily="34" charset="0"/>
                <a:cs typeface="Tahoma" panose="020B0604030504040204" pitchFamily="34" charset="0"/>
              </a:rPr>
              <a:t>© WAVESTONE</a:t>
            </a:r>
          </a:p>
        </p:txBody>
      </p:sp>
      <p:sp>
        <p:nvSpPr>
          <p:cNvPr id="9" name="Textfeld 6">
            <a:extLst>
              <a:ext uri="{FF2B5EF4-FFF2-40B4-BE49-F238E27FC236}">
                <a16:creationId xmlns:a16="http://schemas.microsoft.com/office/drawing/2014/main" id="{A7CAD2F5-4D12-40D1-89B0-2FF5AC641A97}"/>
              </a:ext>
            </a:extLst>
          </p:cNvPr>
          <p:cNvSpPr txBox="1">
            <a:spLocks/>
          </p:cNvSpPr>
          <p:nvPr userDrawn="1"/>
        </p:nvSpPr>
        <p:spPr bwMode="gray">
          <a:xfrm>
            <a:off x="11324889" y="6612746"/>
            <a:ext cx="443077" cy="246706"/>
          </a:xfrm>
          <a:prstGeom prst="rect">
            <a:avLst/>
          </a:prstGeom>
          <a:noFill/>
        </p:spPr>
        <p:txBody>
          <a:bodyPr wrap="square" lIns="0" tIns="0" rIns="0" bIns="122400" rtlCol="0" anchor="ctr"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5152254E-7EB4-45E4-904F-3575BFE2F20B}" type="slidenum">
              <a:rPr lang="fr-FR" sz="800" noProof="0" smtClean="0">
                <a:solidFill>
                  <a:schemeClr val="bg2"/>
                </a:solidFill>
              </a:rPr>
              <a:pPr marL="0" marR="0" indent="0" algn="r" defTabSz="914400" rtl="0" eaLnBrk="1" fontAlgn="auto" latinLnBrk="0" hangingPunct="1">
                <a:lnSpc>
                  <a:spcPct val="100000"/>
                </a:lnSpc>
                <a:spcBef>
                  <a:spcPts val="0"/>
                </a:spcBef>
                <a:spcAft>
                  <a:spcPts val="0"/>
                </a:spcAft>
                <a:buClrTx/>
                <a:buSzTx/>
                <a:buFontTx/>
                <a:buNone/>
                <a:tabLst/>
                <a:defRPr/>
              </a:pPr>
              <a:t>‹N°›</a:t>
            </a:fld>
            <a:endParaRPr lang="fr-FR" sz="800" noProof="0">
              <a:solidFill>
                <a:schemeClr val="bg2"/>
              </a:solidFill>
            </a:endParaRPr>
          </a:p>
        </p:txBody>
      </p:sp>
      <p:grpSp>
        <p:nvGrpSpPr>
          <p:cNvPr id="18" name="Thermometer 5" hidden="1">
            <a:extLst>
              <a:ext uri="{FF2B5EF4-FFF2-40B4-BE49-F238E27FC236}">
                <a16:creationId xmlns:a16="http://schemas.microsoft.com/office/drawing/2014/main" id="{74A73F46-0605-489B-ABF7-EA8EBB8DE093}"/>
              </a:ext>
            </a:extLst>
          </p:cNvPr>
          <p:cNvGrpSpPr>
            <a:grpSpLocks noChangeAspect="1"/>
          </p:cNvGrpSpPr>
          <p:nvPr userDrawn="1">
            <p:custDataLst>
              <p:tags r:id="rId21"/>
            </p:custDataLst>
          </p:nvPr>
        </p:nvGrpSpPr>
        <p:grpSpPr>
          <a:xfrm>
            <a:off x="12348308" y="1"/>
            <a:ext cx="135564" cy="376335"/>
            <a:chOff x="4362239" y="1252458"/>
            <a:chExt cx="110146" cy="376335"/>
          </a:xfrm>
        </p:grpSpPr>
        <p:sp>
          <p:nvSpPr>
            <p:cNvPr id="19" name="Bg [-1+]" hidden="1">
              <a:extLst>
                <a:ext uri="{FF2B5EF4-FFF2-40B4-BE49-F238E27FC236}">
                  <a16:creationId xmlns:a16="http://schemas.microsoft.com/office/drawing/2014/main" id="{F7866C2C-A427-46A6-B413-D52119A6526E}"/>
                </a:ext>
              </a:extLst>
            </p:cNvPr>
            <p:cNvSpPr>
              <a:spLocks noChangeAspect="1"/>
            </p:cNvSpPr>
            <p:nvPr>
              <p:custDataLst>
                <p:tags r:id="rId84"/>
              </p:custDataLst>
            </p:nvPr>
          </p:nvSpPr>
          <p:spPr>
            <a:xfrm>
              <a:off x="4362239" y="1252458"/>
              <a:ext cx="110146" cy="376335"/>
            </a:xfrm>
            <a:custGeom>
              <a:avLst/>
              <a:gdLst>
                <a:gd name="connsiteX0" fmla="*/ 27537 w 110146"/>
                <a:gd name="connsiteY0" fmla="*/ 0 h 376335"/>
                <a:gd name="connsiteX1" fmla="*/ 82610 w 110146"/>
                <a:gd name="connsiteY1" fmla="*/ 0 h 376335"/>
                <a:gd name="connsiteX2" fmla="*/ 82610 w 110146"/>
                <a:gd name="connsiteY2" fmla="*/ 274320 h 376335"/>
                <a:gd name="connsiteX3" fmla="*/ 74703 w 110146"/>
                <a:gd name="connsiteY3" fmla="*/ 274320 h 376335"/>
                <a:gd name="connsiteX4" fmla="*/ 94016 w 110146"/>
                <a:gd name="connsiteY4" fmla="*/ 282320 h 376335"/>
                <a:gd name="connsiteX5" fmla="*/ 110146 w 110146"/>
                <a:gd name="connsiteY5" fmla="*/ 321262 h 376335"/>
                <a:gd name="connsiteX6" fmla="*/ 55073 w 110146"/>
                <a:gd name="connsiteY6" fmla="*/ 376335 h 376335"/>
                <a:gd name="connsiteX7" fmla="*/ 0 w 110146"/>
                <a:gd name="connsiteY7" fmla="*/ 321262 h 376335"/>
                <a:gd name="connsiteX8" fmla="*/ 16130 w 110146"/>
                <a:gd name="connsiteY8" fmla="*/ 282320 h 376335"/>
                <a:gd name="connsiteX9" fmla="*/ 35443 w 110146"/>
                <a:gd name="connsiteY9" fmla="*/ 274320 h 376335"/>
                <a:gd name="connsiteX10" fmla="*/ 27537 w 110146"/>
                <a:gd name="connsiteY10" fmla="*/ 274320 h 37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146" h="376335">
                  <a:moveTo>
                    <a:pt x="27537" y="0"/>
                  </a:moveTo>
                  <a:lnTo>
                    <a:pt x="82610" y="0"/>
                  </a:lnTo>
                  <a:lnTo>
                    <a:pt x="82610" y="274320"/>
                  </a:lnTo>
                  <a:lnTo>
                    <a:pt x="74703" y="274320"/>
                  </a:lnTo>
                  <a:lnTo>
                    <a:pt x="94016" y="282320"/>
                  </a:lnTo>
                  <a:cubicBezTo>
                    <a:pt x="103982" y="292286"/>
                    <a:pt x="110146" y="306054"/>
                    <a:pt x="110146" y="321262"/>
                  </a:cubicBezTo>
                  <a:cubicBezTo>
                    <a:pt x="110146" y="351678"/>
                    <a:pt x="85489" y="376335"/>
                    <a:pt x="55073" y="376335"/>
                  </a:cubicBezTo>
                  <a:cubicBezTo>
                    <a:pt x="24657" y="376335"/>
                    <a:pt x="0" y="351678"/>
                    <a:pt x="0" y="321262"/>
                  </a:cubicBezTo>
                  <a:cubicBezTo>
                    <a:pt x="0" y="306054"/>
                    <a:pt x="6164" y="292286"/>
                    <a:pt x="16130" y="282320"/>
                  </a:cubicBezTo>
                  <a:lnTo>
                    <a:pt x="35443" y="274320"/>
                  </a:lnTo>
                  <a:lnTo>
                    <a:pt x="27537" y="274320"/>
                  </a:lnTo>
                  <a:close/>
                </a:path>
              </a:pathLst>
            </a:custGeom>
            <a:solidFill>
              <a:srgbClr val="D9D9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0/5 [0]" hidden="1">
              <a:extLst>
                <a:ext uri="{FF2B5EF4-FFF2-40B4-BE49-F238E27FC236}">
                  <a16:creationId xmlns:a16="http://schemas.microsoft.com/office/drawing/2014/main" id="{00FA60A3-035E-4C67-B5F1-731480727292}"/>
                </a:ext>
              </a:extLst>
            </p:cNvPr>
            <p:cNvSpPr>
              <a:spLocks noChangeAspect="1"/>
            </p:cNvSpPr>
            <p:nvPr>
              <p:custDataLst>
                <p:tags r:id="rId85"/>
              </p:custDataLst>
            </p:nvPr>
          </p:nvSpPr>
          <p:spPr>
            <a:xfrm>
              <a:off x="4362239" y="1523222"/>
              <a:ext cx="110146" cy="105571"/>
            </a:xfrm>
            <a:custGeom>
              <a:avLst/>
              <a:gdLst>
                <a:gd name="connsiteX0" fmla="*/ 27536 w 110146"/>
                <a:gd name="connsiteY0" fmla="*/ 0 h 105571"/>
                <a:gd name="connsiteX1" fmla="*/ 82609 w 110146"/>
                <a:gd name="connsiteY1" fmla="*/ 0 h 105571"/>
                <a:gd name="connsiteX2" fmla="*/ 82609 w 110146"/>
                <a:gd name="connsiteY2" fmla="*/ 3556 h 105571"/>
                <a:gd name="connsiteX3" fmla="*/ 74703 w 110146"/>
                <a:gd name="connsiteY3" fmla="*/ 3556 h 105571"/>
                <a:gd name="connsiteX4" fmla="*/ 94016 w 110146"/>
                <a:gd name="connsiteY4" fmla="*/ 11556 h 105571"/>
                <a:gd name="connsiteX5" fmla="*/ 110146 w 110146"/>
                <a:gd name="connsiteY5" fmla="*/ 50498 h 105571"/>
                <a:gd name="connsiteX6" fmla="*/ 55073 w 110146"/>
                <a:gd name="connsiteY6" fmla="*/ 105571 h 105571"/>
                <a:gd name="connsiteX7" fmla="*/ 0 w 110146"/>
                <a:gd name="connsiteY7" fmla="*/ 50498 h 105571"/>
                <a:gd name="connsiteX8" fmla="*/ 16130 w 110146"/>
                <a:gd name="connsiteY8" fmla="*/ 11556 h 105571"/>
                <a:gd name="connsiteX9" fmla="*/ 35443 w 110146"/>
                <a:gd name="connsiteY9" fmla="*/ 3556 h 105571"/>
                <a:gd name="connsiteX10" fmla="*/ 27536 w 110146"/>
                <a:gd name="connsiteY10" fmla="*/ 3556 h 10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146" h="105571">
                  <a:moveTo>
                    <a:pt x="27536" y="0"/>
                  </a:moveTo>
                  <a:lnTo>
                    <a:pt x="82609" y="0"/>
                  </a:lnTo>
                  <a:lnTo>
                    <a:pt x="82609" y="3556"/>
                  </a:lnTo>
                  <a:lnTo>
                    <a:pt x="74703" y="3556"/>
                  </a:lnTo>
                  <a:lnTo>
                    <a:pt x="94016" y="11556"/>
                  </a:lnTo>
                  <a:cubicBezTo>
                    <a:pt x="103982" y="21522"/>
                    <a:pt x="110146" y="35290"/>
                    <a:pt x="110146" y="50498"/>
                  </a:cubicBezTo>
                  <a:cubicBezTo>
                    <a:pt x="110146" y="80914"/>
                    <a:pt x="85489" y="105571"/>
                    <a:pt x="55073" y="105571"/>
                  </a:cubicBezTo>
                  <a:cubicBezTo>
                    <a:pt x="24657" y="105571"/>
                    <a:pt x="0" y="80914"/>
                    <a:pt x="0" y="50498"/>
                  </a:cubicBezTo>
                  <a:cubicBezTo>
                    <a:pt x="0" y="35290"/>
                    <a:pt x="6164" y="21522"/>
                    <a:pt x="16130" y="11556"/>
                  </a:cubicBezTo>
                  <a:lnTo>
                    <a:pt x="35443" y="3556"/>
                  </a:lnTo>
                  <a:lnTo>
                    <a:pt x="27536" y="3556"/>
                  </a:lnTo>
                  <a:close/>
                </a:path>
              </a:pathLst>
            </a:custGeom>
            <a:solidFill>
              <a:srgbClr val="D6553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1/5 [1]" hidden="1">
              <a:extLst>
                <a:ext uri="{FF2B5EF4-FFF2-40B4-BE49-F238E27FC236}">
                  <a16:creationId xmlns:a16="http://schemas.microsoft.com/office/drawing/2014/main" id="{100EC17E-F08C-4349-B3B5-908F0D607699}"/>
                </a:ext>
              </a:extLst>
            </p:cNvPr>
            <p:cNvSpPr>
              <a:spLocks noChangeAspect="1"/>
            </p:cNvSpPr>
            <p:nvPr>
              <p:custDataLst>
                <p:tags r:id="rId86"/>
              </p:custDataLst>
            </p:nvPr>
          </p:nvSpPr>
          <p:spPr>
            <a:xfrm>
              <a:off x="4362239" y="1468358"/>
              <a:ext cx="110146" cy="160435"/>
            </a:xfrm>
            <a:custGeom>
              <a:avLst/>
              <a:gdLst>
                <a:gd name="connsiteX0" fmla="*/ 27536 w 110146"/>
                <a:gd name="connsiteY0" fmla="*/ 0 h 160435"/>
                <a:gd name="connsiteX1" fmla="*/ 82609 w 110146"/>
                <a:gd name="connsiteY1" fmla="*/ 0 h 160435"/>
                <a:gd name="connsiteX2" fmla="*/ 82609 w 110146"/>
                <a:gd name="connsiteY2" fmla="*/ 58420 h 160435"/>
                <a:gd name="connsiteX3" fmla="*/ 74703 w 110146"/>
                <a:gd name="connsiteY3" fmla="*/ 58420 h 160435"/>
                <a:gd name="connsiteX4" fmla="*/ 94016 w 110146"/>
                <a:gd name="connsiteY4" fmla="*/ 66420 h 160435"/>
                <a:gd name="connsiteX5" fmla="*/ 110146 w 110146"/>
                <a:gd name="connsiteY5" fmla="*/ 105362 h 160435"/>
                <a:gd name="connsiteX6" fmla="*/ 55073 w 110146"/>
                <a:gd name="connsiteY6" fmla="*/ 160435 h 160435"/>
                <a:gd name="connsiteX7" fmla="*/ 0 w 110146"/>
                <a:gd name="connsiteY7" fmla="*/ 105362 h 160435"/>
                <a:gd name="connsiteX8" fmla="*/ 16130 w 110146"/>
                <a:gd name="connsiteY8" fmla="*/ 66420 h 160435"/>
                <a:gd name="connsiteX9" fmla="*/ 35443 w 110146"/>
                <a:gd name="connsiteY9" fmla="*/ 58420 h 160435"/>
                <a:gd name="connsiteX10" fmla="*/ 27536 w 110146"/>
                <a:gd name="connsiteY10" fmla="*/ 58420 h 16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146" h="160435">
                  <a:moveTo>
                    <a:pt x="27536" y="0"/>
                  </a:moveTo>
                  <a:lnTo>
                    <a:pt x="82609" y="0"/>
                  </a:lnTo>
                  <a:lnTo>
                    <a:pt x="82609" y="58420"/>
                  </a:lnTo>
                  <a:lnTo>
                    <a:pt x="74703" y="58420"/>
                  </a:lnTo>
                  <a:lnTo>
                    <a:pt x="94016" y="66420"/>
                  </a:lnTo>
                  <a:cubicBezTo>
                    <a:pt x="103982" y="76386"/>
                    <a:pt x="110146" y="90154"/>
                    <a:pt x="110146" y="105362"/>
                  </a:cubicBezTo>
                  <a:cubicBezTo>
                    <a:pt x="110146" y="135778"/>
                    <a:pt x="85489" y="160435"/>
                    <a:pt x="55073" y="160435"/>
                  </a:cubicBezTo>
                  <a:cubicBezTo>
                    <a:pt x="24657" y="160435"/>
                    <a:pt x="0" y="135778"/>
                    <a:pt x="0" y="105362"/>
                  </a:cubicBezTo>
                  <a:cubicBezTo>
                    <a:pt x="0" y="90154"/>
                    <a:pt x="6164" y="76386"/>
                    <a:pt x="16130" y="66420"/>
                  </a:cubicBezTo>
                  <a:lnTo>
                    <a:pt x="35443" y="58420"/>
                  </a:lnTo>
                  <a:lnTo>
                    <a:pt x="27536" y="58420"/>
                  </a:lnTo>
                  <a:close/>
                </a:path>
              </a:pathLst>
            </a:custGeom>
            <a:solidFill>
              <a:srgbClr val="D6553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2/5 [2]" hidden="1">
              <a:extLst>
                <a:ext uri="{FF2B5EF4-FFF2-40B4-BE49-F238E27FC236}">
                  <a16:creationId xmlns:a16="http://schemas.microsoft.com/office/drawing/2014/main" id="{8FDF1C55-F4AC-4ABA-B84D-5ABEEB89CB84}"/>
                </a:ext>
              </a:extLst>
            </p:cNvPr>
            <p:cNvSpPr>
              <a:spLocks noChangeAspect="1"/>
            </p:cNvSpPr>
            <p:nvPr>
              <p:custDataLst>
                <p:tags r:id="rId87"/>
              </p:custDataLst>
            </p:nvPr>
          </p:nvSpPr>
          <p:spPr>
            <a:xfrm>
              <a:off x="4362239" y="1413494"/>
              <a:ext cx="110146" cy="215299"/>
            </a:xfrm>
            <a:custGeom>
              <a:avLst/>
              <a:gdLst>
                <a:gd name="connsiteX0" fmla="*/ 27536 w 110146"/>
                <a:gd name="connsiteY0" fmla="*/ 0 h 215299"/>
                <a:gd name="connsiteX1" fmla="*/ 82609 w 110146"/>
                <a:gd name="connsiteY1" fmla="*/ 0 h 215299"/>
                <a:gd name="connsiteX2" fmla="*/ 82609 w 110146"/>
                <a:gd name="connsiteY2" fmla="*/ 113284 h 215299"/>
                <a:gd name="connsiteX3" fmla="*/ 74703 w 110146"/>
                <a:gd name="connsiteY3" fmla="*/ 113284 h 215299"/>
                <a:gd name="connsiteX4" fmla="*/ 94016 w 110146"/>
                <a:gd name="connsiteY4" fmla="*/ 121284 h 215299"/>
                <a:gd name="connsiteX5" fmla="*/ 110146 w 110146"/>
                <a:gd name="connsiteY5" fmla="*/ 160226 h 215299"/>
                <a:gd name="connsiteX6" fmla="*/ 55073 w 110146"/>
                <a:gd name="connsiteY6" fmla="*/ 215299 h 215299"/>
                <a:gd name="connsiteX7" fmla="*/ 0 w 110146"/>
                <a:gd name="connsiteY7" fmla="*/ 160226 h 215299"/>
                <a:gd name="connsiteX8" fmla="*/ 16130 w 110146"/>
                <a:gd name="connsiteY8" fmla="*/ 121284 h 215299"/>
                <a:gd name="connsiteX9" fmla="*/ 35443 w 110146"/>
                <a:gd name="connsiteY9" fmla="*/ 113284 h 215299"/>
                <a:gd name="connsiteX10" fmla="*/ 27536 w 110146"/>
                <a:gd name="connsiteY10" fmla="*/ 113284 h 21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146" h="215299">
                  <a:moveTo>
                    <a:pt x="27536" y="0"/>
                  </a:moveTo>
                  <a:lnTo>
                    <a:pt x="82609" y="0"/>
                  </a:lnTo>
                  <a:lnTo>
                    <a:pt x="82609" y="113284"/>
                  </a:lnTo>
                  <a:lnTo>
                    <a:pt x="74703" y="113284"/>
                  </a:lnTo>
                  <a:lnTo>
                    <a:pt x="94016" y="121284"/>
                  </a:lnTo>
                  <a:cubicBezTo>
                    <a:pt x="103982" y="131250"/>
                    <a:pt x="110146" y="145018"/>
                    <a:pt x="110146" y="160226"/>
                  </a:cubicBezTo>
                  <a:cubicBezTo>
                    <a:pt x="110146" y="190642"/>
                    <a:pt x="85489" y="215299"/>
                    <a:pt x="55073" y="215299"/>
                  </a:cubicBezTo>
                  <a:cubicBezTo>
                    <a:pt x="24657" y="215299"/>
                    <a:pt x="0" y="190642"/>
                    <a:pt x="0" y="160226"/>
                  </a:cubicBezTo>
                  <a:cubicBezTo>
                    <a:pt x="0" y="145018"/>
                    <a:pt x="6164" y="131250"/>
                    <a:pt x="16130" y="121284"/>
                  </a:cubicBezTo>
                  <a:lnTo>
                    <a:pt x="35443" y="113284"/>
                  </a:lnTo>
                  <a:lnTo>
                    <a:pt x="27536" y="113284"/>
                  </a:lnTo>
                  <a:close/>
                </a:path>
              </a:pathLst>
            </a:custGeom>
            <a:solidFill>
              <a:srgbClr val="D6553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3/5 [3]" hidden="1">
              <a:extLst>
                <a:ext uri="{FF2B5EF4-FFF2-40B4-BE49-F238E27FC236}">
                  <a16:creationId xmlns:a16="http://schemas.microsoft.com/office/drawing/2014/main" id="{D566296E-2D0C-4F07-B41C-6910A58E5166}"/>
                </a:ext>
              </a:extLst>
            </p:cNvPr>
            <p:cNvSpPr>
              <a:spLocks noChangeAspect="1" noChangeArrowheads="1"/>
            </p:cNvSpPr>
            <p:nvPr>
              <p:custDataLst>
                <p:tags r:id="rId88"/>
              </p:custDataLst>
            </p:nvPr>
          </p:nvSpPr>
          <p:spPr bwMode="auto">
            <a:xfrm>
              <a:off x="4362239" y="1358630"/>
              <a:ext cx="110146" cy="270163"/>
            </a:xfrm>
            <a:custGeom>
              <a:avLst/>
              <a:gdLst>
                <a:gd name="connsiteX0" fmla="*/ 27536 w 110146"/>
                <a:gd name="connsiteY0" fmla="*/ 0 h 270163"/>
                <a:gd name="connsiteX1" fmla="*/ 82609 w 110146"/>
                <a:gd name="connsiteY1" fmla="*/ 0 h 270163"/>
                <a:gd name="connsiteX2" fmla="*/ 82609 w 110146"/>
                <a:gd name="connsiteY2" fmla="*/ 168148 h 270163"/>
                <a:gd name="connsiteX3" fmla="*/ 74703 w 110146"/>
                <a:gd name="connsiteY3" fmla="*/ 168148 h 270163"/>
                <a:gd name="connsiteX4" fmla="*/ 94016 w 110146"/>
                <a:gd name="connsiteY4" fmla="*/ 176148 h 270163"/>
                <a:gd name="connsiteX5" fmla="*/ 110146 w 110146"/>
                <a:gd name="connsiteY5" fmla="*/ 215090 h 270163"/>
                <a:gd name="connsiteX6" fmla="*/ 55073 w 110146"/>
                <a:gd name="connsiteY6" fmla="*/ 270163 h 270163"/>
                <a:gd name="connsiteX7" fmla="*/ 0 w 110146"/>
                <a:gd name="connsiteY7" fmla="*/ 215090 h 270163"/>
                <a:gd name="connsiteX8" fmla="*/ 16131 w 110146"/>
                <a:gd name="connsiteY8" fmla="*/ 176148 h 270163"/>
                <a:gd name="connsiteX9" fmla="*/ 35443 w 110146"/>
                <a:gd name="connsiteY9" fmla="*/ 168148 h 270163"/>
                <a:gd name="connsiteX10" fmla="*/ 27536 w 110146"/>
                <a:gd name="connsiteY10" fmla="*/ 168148 h 270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146" h="270163">
                  <a:moveTo>
                    <a:pt x="27536" y="0"/>
                  </a:moveTo>
                  <a:lnTo>
                    <a:pt x="82609" y="0"/>
                  </a:lnTo>
                  <a:lnTo>
                    <a:pt x="82609" y="168148"/>
                  </a:lnTo>
                  <a:lnTo>
                    <a:pt x="74703" y="168148"/>
                  </a:lnTo>
                  <a:lnTo>
                    <a:pt x="94016" y="176148"/>
                  </a:lnTo>
                  <a:cubicBezTo>
                    <a:pt x="103982" y="186114"/>
                    <a:pt x="110146" y="199882"/>
                    <a:pt x="110146" y="215090"/>
                  </a:cubicBezTo>
                  <a:cubicBezTo>
                    <a:pt x="110146" y="245506"/>
                    <a:pt x="85489" y="270163"/>
                    <a:pt x="55073" y="270163"/>
                  </a:cubicBezTo>
                  <a:cubicBezTo>
                    <a:pt x="24657" y="270163"/>
                    <a:pt x="0" y="245506"/>
                    <a:pt x="0" y="215090"/>
                  </a:cubicBezTo>
                  <a:cubicBezTo>
                    <a:pt x="0" y="199882"/>
                    <a:pt x="6165" y="186114"/>
                    <a:pt x="16131" y="176148"/>
                  </a:cubicBezTo>
                  <a:lnTo>
                    <a:pt x="35443" y="168148"/>
                  </a:lnTo>
                  <a:lnTo>
                    <a:pt x="27536" y="168148"/>
                  </a:lnTo>
                  <a:close/>
                </a:path>
              </a:pathLst>
            </a:custGeom>
            <a:solidFill>
              <a:srgbClr val="D65532"/>
            </a:solidFill>
            <a:ln w="19050">
              <a:noFill/>
              <a:round/>
              <a:headEnd/>
              <a:tailEnd/>
            </a:ln>
            <a:effectLst/>
          </p:spPr>
          <p:txBody>
            <a:bodyPr wrap="square" lIns="0" tIns="0" rIns="0" bIns="0" anchor="ctr">
              <a:noAutofit/>
            </a:bodyPr>
            <a:lstStyle/>
            <a:p>
              <a:pPr algn="ctr"/>
              <a:endParaRPr lang="en-US" sz="1800"/>
            </a:p>
          </p:txBody>
        </p:sp>
        <p:sp>
          <p:nvSpPr>
            <p:cNvPr id="24" name="4/5 [4]" hidden="1">
              <a:extLst>
                <a:ext uri="{FF2B5EF4-FFF2-40B4-BE49-F238E27FC236}">
                  <a16:creationId xmlns:a16="http://schemas.microsoft.com/office/drawing/2014/main" id="{0D7CADA9-96CB-4646-9681-9F6236F69EF4}"/>
                </a:ext>
              </a:extLst>
            </p:cNvPr>
            <p:cNvSpPr>
              <a:spLocks noChangeAspect="1" noChangeArrowheads="1"/>
            </p:cNvSpPr>
            <p:nvPr>
              <p:custDataLst>
                <p:tags r:id="rId89"/>
              </p:custDataLst>
            </p:nvPr>
          </p:nvSpPr>
          <p:spPr bwMode="auto">
            <a:xfrm>
              <a:off x="4362239" y="1303766"/>
              <a:ext cx="110146" cy="325027"/>
            </a:xfrm>
            <a:custGeom>
              <a:avLst/>
              <a:gdLst>
                <a:gd name="connsiteX0" fmla="*/ 27536 w 110146"/>
                <a:gd name="connsiteY0" fmla="*/ 0 h 325027"/>
                <a:gd name="connsiteX1" fmla="*/ 82609 w 110146"/>
                <a:gd name="connsiteY1" fmla="*/ 0 h 325027"/>
                <a:gd name="connsiteX2" fmla="*/ 82609 w 110146"/>
                <a:gd name="connsiteY2" fmla="*/ 223012 h 325027"/>
                <a:gd name="connsiteX3" fmla="*/ 74703 w 110146"/>
                <a:gd name="connsiteY3" fmla="*/ 223012 h 325027"/>
                <a:gd name="connsiteX4" fmla="*/ 94016 w 110146"/>
                <a:gd name="connsiteY4" fmla="*/ 231012 h 325027"/>
                <a:gd name="connsiteX5" fmla="*/ 110146 w 110146"/>
                <a:gd name="connsiteY5" fmla="*/ 269954 h 325027"/>
                <a:gd name="connsiteX6" fmla="*/ 55073 w 110146"/>
                <a:gd name="connsiteY6" fmla="*/ 325027 h 325027"/>
                <a:gd name="connsiteX7" fmla="*/ 0 w 110146"/>
                <a:gd name="connsiteY7" fmla="*/ 269954 h 325027"/>
                <a:gd name="connsiteX8" fmla="*/ 16131 w 110146"/>
                <a:gd name="connsiteY8" fmla="*/ 231012 h 325027"/>
                <a:gd name="connsiteX9" fmla="*/ 35443 w 110146"/>
                <a:gd name="connsiteY9" fmla="*/ 223012 h 325027"/>
                <a:gd name="connsiteX10" fmla="*/ 27536 w 110146"/>
                <a:gd name="connsiteY10" fmla="*/ 223012 h 32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146" h="325027">
                  <a:moveTo>
                    <a:pt x="27536" y="0"/>
                  </a:moveTo>
                  <a:lnTo>
                    <a:pt x="82609" y="0"/>
                  </a:lnTo>
                  <a:lnTo>
                    <a:pt x="82609" y="223012"/>
                  </a:lnTo>
                  <a:lnTo>
                    <a:pt x="74703" y="223012"/>
                  </a:lnTo>
                  <a:lnTo>
                    <a:pt x="94016" y="231012"/>
                  </a:lnTo>
                  <a:cubicBezTo>
                    <a:pt x="103982" y="240978"/>
                    <a:pt x="110146" y="254746"/>
                    <a:pt x="110146" y="269954"/>
                  </a:cubicBezTo>
                  <a:cubicBezTo>
                    <a:pt x="110146" y="300370"/>
                    <a:pt x="85489" y="325027"/>
                    <a:pt x="55073" y="325027"/>
                  </a:cubicBezTo>
                  <a:cubicBezTo>
                    <a:pt x="24657" y="325027"/>
                    <a:pt x="0" y="300370"/>
                    <a:pt x="0" y="269954"/>
                  </a:cubicBezTo>
                  <a:cubicBezTo>
                    <a:pt x="0" y="254746"/>
                    <a:pt x="6165" y="240978"/>
                    <a:pt x="16131" y="231012"/>
                  </a:cubicBezTo>
                  <a:lnTo>
                    <a:pt x="35443" y="223012"/>
                  </a:lnTo>
                  <a:lnTo>
                    <a:pt x="27536" y="223012"/>
                  </a:lnTo>
                  <a:close/>
                </a:path>
              </a:pathLst>
            </a:custGeom>
            <a:solidFill>
              <a:srgbClr val="D65532"/>
            </a:solidFill>
            <a:ln w="19050">
              <a:noFill/>
              <a:round/>
              <a:headEnd/>
              <a:tailEnd/>
            </a:ln>
            <a:effectLst/>
          </p:spPr>
          <p:txBody>
            <a:bodyPr wrap="square" lIns="0" tIns="0" rIns="0" bIns="0" anchor="ctr">
              <a:noAutofit/>
            </a:bodyPr>
            <a:lstStyle/>
            <a:p>
              <a:pPr algn="ctr"/>
              <a:endParaRPr lang="en-US" sz="1800"/>
            </a:p>
          </p:txBody>
        </p:sp>
        <p:sp>
          <p:nvSpPr>
            <p:cNvPr id="25" name="5/5 [5]" hidden="1">
              <a:extLst>
                <a:ext uri="{FF2B5EF4-FFF2-40B4-BE49-F238E27FC236}">
                  <a16:creationId xmlns:a16="http://schemas.microsoft.com/office/drawing/2014/main" id="{397FD107-9AD7-4F48-AA69-4842B77C2FA2}"/>
                </a:ext>
              </a:extLst>
            </p:cNvPr>
            <p:cNvSpPr>
              <a:spLocks noChangeAspect="1" noChangeArrowheads="1"/>
            </p:cNvSpPr>
            <p:nvPr>
              <p:custDataLst>
                <p:tags r:id="rId90"/>
              </p:custDataLst>
            </p:nvPr>
          </p:nvSpPr>
          <p:spPr bwMode="auto">
            <a:xfrm>
              <a:off x="4362239" y="1252458"/>
              <a:ext cx="110146" cy="376335"/>
            </a:xfrm>
            <a:custGeom>
              <a:avLst/>
              <a:gdLst>
                <a:gd name="connsiteX0" fmla="*/ 27536 w 110146"/>
                <a:gd name="connsiteY0" fmla="*/ 0 h 376335"/>
                <a:gd name="connsiteX1" fmla="*/ 82609 w 110146"/>
                <a:gd name="connsiteY1" fmla="*/ 0 h 376335"/>
                <a:gd name="connsiteX2" fmla="*/ 82609 w 110146"/>
                <a:gd name="connsiteY2" fmla="*/ 274320 h 376335"/>
                <a:gd name="connsiteX3" fmla="*/ 74703 w 110146"/>
                <a:gd name="connsiteY3" fmla="*/ 274320 h 376335"/>
                <a:gd name="connsiteX4" fmla="*/ 94016 w 110146"/>
                <a:gd name="connsiteY4" fmla="*/ 282320 h 376335"/>
                <a:gd name="connsiteX5" fmla="*/ 110146 w 110146"/>
                <a:gd name="connsiteY5" fmla="*/ 321262 h 376335"/>
                <a:gd name="connsiteX6" fmla="*/ 55073 w 110146"/>
                <a:gd name="connsiteY6" fmla="*/ 376335 h 376335"/>
                <a:gd name="connsiteX7" fmla="*/ 0 w 110146"/>
                <a:gd name="connsiteY7" fmla="*/ 321262 h 376335"/>
                <a:gd name="connsiteX8" fmla="*/ 16131 w 110146"/>
                <a:gd name="connsiteY8" fmla="*/ 282320 h 376335"/>
                <a:gd name="connsiteX9" fmla="*/ 35443 w 110146"/>
                <a:gd name="connsiteY9" fmla="*/ 274320 h 376335"/>
                <a:gd name="connsiteX10" fmla="*/ 27536 w 110146"/>
                <a:gd name="connsiteY10" fmla="*/ 274320 h 37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146" h="376335">
                  <a:moveTo>
                    <a:pt x="27536" y="0"/>
                  </a:moveTo>
                  <a:lnTo>
                    <a:pt x="82609" y="0"/>
                  </a:lnTo>
                  <a:lnTo>
                    <a:pt x="82609" y="274320"/>
                  </a:lnTo>
                  <a:lnTo>
                    <a:pt x="74703" y="274320"/>
                  </a:lnTo>
                  <a:lnTo>
                    <a:pt x="94016" y="282320"/>
                  </a:lnTo>
                  <a:cubicBezTo>
                    <a:pt x="103982" y="292286"/>
                    <a:pt x="110146" y="306054"/>
                    <a:pt x="110146" y="321262"/>
                  </a:cubicBezTo>
                  <a:cubicBezTo>
                    <a:pt x="110146" y="351678"/>
                    <a:pt x="85489" y="376335"/>
                    <a:pt x="55073" y="376335"/>
                  </a:cubicBezTo>
                  <a:cubicBezTo>
                    <a:pt x="24657" y="376335"/>
                    <a:pt x="0" y="351678"/>
                    <a:pt x="0" y="321262"/>
                  </a:cubicBezTo>
                  <a:cubicBezTo>
                    <a:pt x="0" y="306054"/>
                    <a:pt x="6165" y="292286"/>
                    <a:pt x="16131" y="282320"/>
                  </a:cubicBezTo>
                  <a:lnTo>
                    <a:pt x="35443" y="274320"/>
                  </a:lnTo>
                  <a:lnTo>
                    <a:pt x="27536" y="274320"/>
                  </a:lnTo>
                  <a:close/>
                </a:path>
              </a:pathLst>
            </a:custGeom>
            <a:solidFill>
              <a:srgbClr val="D65532"/>
            </a:solidFill>
            <a:ln w="19050">
              <a:noFill/>
              <a:round/>
              <a:headEnd/>
              <a:tailEnd/>
            </a:ln>
            <a:effectLst/>
          </p:spPr>
          <p:txBody>
            <a:bodyPr wrap="square" lIns="0" tIns="0" rIns="0" bIns="0" anchor="ctr">
              <a:noAutofit/>
            </a:bodyPr>
            <a:lstStyle/>
            <a:p>
              <a:pPr algn="ctr"/>
              <a:endParaRPr lang="en-US" sz="1800"/>
            </a:p>
          </p:txBody>
        </p:sp>
      </p:grpSp>
      <p:grpSp>
        <p:nvGrpSpPr>
          <p:cNvPr id="15" name="Weather" hidden="1">
            <a:extLst>
              <a:ext uri="{FF2B5EF4-FFF2-40B4-BE49-F238E27FC236}">
                <a16:creationId xmlns:a16="http://schemas.microsoft.com/office/drawing/2014/main" id="{44C5A126-9E4B-454C-BB1E-9828F2E22F9D}"/>
              </a:ext>
            </a:extLst>
          </p:cNvPr>
          <p:cNvGrpSpPr>
            <a:grpSpLocks noChangeAspect="1"/>
          </p:cNvGrpSpPr>
          <p:nvPr userDrawn="1">
            <p:custDataLst>
              <p:tags r:id="rId22"/>
            </p:custDataLst>
          </p:nvPr>
        </p:nvGrpSpPr>
        <p:grpSpPr>
          <a:xfrm>
            <a:off x="12348308" y="0"/>
            <a:ext cx="513414" cy="486230"/>
            <a:chOff x="5691392" y="1986127"/>
            <a:chExt cx="417149" cy="486230"/>
          </a:xfrm>
        </p:grpSpPr>
        <p:sp>
          <p:nvSpPr>
            <p:cNvPr id="16" name="Weather [0]" hidden="1">
              <a:extLst>
                <a:ext uri="{FF2B5EF4-FFF2-40B4-BE49-F238E27FC236}">
                  <a16:creationId xmlns:a16="http://schemas.microsoft.com/office/drawing/2014/main" id="{3000FB45-0C76-47A6-9FF3-CB5A6482416A}"/>
                </a:ext>
              </a:extLst>
            </p:cNvPr>
            <p:cNvSpPr>
              <a:spLocks noChangeArrowheads="1"/>
            </p:cNvSpPr>
            <p:nvPr>
              <p:custDataLst>
                <p:tags r:id="rId65"/>
              </p:custDataLst>
            </p:nvPr>
          </p:nvSpPr>
          <p:spPr bwMode="gray">
            <a:xfrm>
              <a:off x="5805209" y="2092994"/>
              <a:ext cx="191067" cy="196463"/>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17" name="Weather [0]" hidden="1">
              <a:extLst>
                <a:ext uri="{FF2B5EF4-FFF2-40B4-BE49-F238E27FC236}">
                  <a16:creationId xmlns:a16="http://schemas.microsoft.com/office/drawing/2014/main" id="{0F078E41-76B8-4274-B987-09E2141EC145}"/>
                </a:ext>
              </a:extLst>
            </p:cNvPr>
            <p:cNvSpPr>
              <a:spLocks/>
            </p:cNvSpPr>
            <p:nvPr>
              <p:custDataLst>
                <p:tags r:id="rId66"/>
              </p:custDataLst>
            </p:nvPr>
          </p:nvSpPr>
          <p:spPr bwMode="gray">
            <a:xfrm>
              <a:off x="5878613" y="1986127"/>
              <a:ext cx="43179" cy="88516"/>
            </a:xfrm>
            <a:custGeom>
              <a:avLst/>
              <a:gdLst>
                <a:gd name="T0" fmla="*/ 16 w 17"/>
                <a:gd name="T1" fmla="*/ 22 h 35"/>
                <a:gd name="T2" fmla="*/ 16 w 17"/>
                <a:gd name="T3" fmla="*/ 22 h 35"/>
                <a:gd name="T4" fmla="*/ 17 w 17"/>
                <a:gd name="T5" fmla="*/ 0 h 35"/>
                <a:gd name="T6" fmla="*/ 0 w 17"/>
                <a:gd name="T7" fmla="*/ 26 h 35"/>
                <a:gd name="T8" fmla="*/ 9 w 17"/>
                <a:gd name="T9" fmla="*/ 35 h 35"/>
                <a:gd name="T10" fmla="*/ 17 w 17"/>
                <a:gd name="T11" fmla="*/ 26 h 35"/>
                <a:gd name="T12" fmla="*/ 16 w 17"/>
                <a:gd name="T13" fmla="*/ 22 h 35"/>
              </a:gdLst>
              <a:ahLst/>
              <a:cxnLst>
                <a:cxn ang="0">
                  <a:pos x="T0" y="T1"/>
                </a:cxn>
                <a:cxn ang="0">
                  <a:pos x="T2" y="T3"/>
                </a:cxn>
                <a:cxn ang="0">
                  <a:pos x="T4" y="T5"/>
                </a:cxn>
                <a:cxn ang="0">
                  <a:pos x="T6" y="T7"/>
                </a:cxn>
                <a:cxn ang="0">
                  <a:pos x="T8" y="T9"/>
                </a:cxn>
                <a:cxn ang="0">
                  <a:pos x="T10" y="T11"/>
                </a:cxn>
                <a:cxn ang="0">
                  <a:pos x="T12" y="T13"/>
                </a:cxn>
              </a:cxnLst>
              <a:rect l="0" t="0" r="r" b="b"/>
              <a:pathLst>
                <a:path w="17" h="35">
                  <a:moveTo>
                    <a:pt x="16" y="22"/>
                  </a:moveTo>
                  <a:cubicBezTo>
                    <a:pt x="16" y="22"/>
                    <a:pt x="16" y="22"/>
                    <a:pt x="16" y="22"/>
                  </a:cubicBezTo>
                  <a:cubicBezTo>
                    <a:pt x="11" y="11"/>
                    <a:pt x="17" y="0"/>
                    <a:pt x="17" y="0"/>
                  </a:cubicBezTo>
                  <a:cubicBezTo>
                    <a:pt x="1" y="14"/>
                    <a:pt x="0" y="22"/>
                    <a:pt x="0" y="26"/>
                  </a:cubicBezTo>
                  <a:cubicBezTo>
                    <a:pt x="0" y="31"/>
                    <a:pt x="4" y="35"/>
                    <a:pt x="9" y="35"/>
                  </a:cubicBezTo>
                  <a:cubicBezTo>
                    <a:pt x="13" y="35"/>
                    <a:pt x="17" y="31"/>
                    <a:pt x="17" y="26"/>
                  </a:cubicBezTo>
                  <a:cubicBezTo>
                    <a:pt x="17" y="25"/>
                    <a:pt x="17" y="23"/>
                    <a:pt x="16" y="22"/>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26" name="Weather [0]" hidden="1">
              <a:extLst>
                <a:ext uri="{FF2B5EF4-FFF2-40B4-BE49-F238E27FC236}">
                  <a16:creationId xmlns:a16="http://schemas.microsoft.com/office/drawing/2014/main" id="{7B122252-387F-4947-B521-83CAE493BC5F}"/>
                </a:ext>
              </a:extLst>
            </p:cNvPr>
            <p:cNvSpPr>
              <a:spLocks/>
            </p:cNvSpPr>
            <p:nvPr>
              <p:custDataLst>
                <p:tags r:id="rId67"/>
              </p:custDataLst>
            </p:nvPr>
          </p:nvSpPr>
          <p:spPr bwMode="gray">
            <a:xfrm>
              <a:off x="5799812" y="1995842"/>
              <a:ext cx="53974" cy="93914"/>
            </a:xfrm>
            <a:custGeom>
              <a:avLst/>
              <a:gdLst>
                <a:gd name="T0" fmla="*/ 17 w 21"/>
                <a:gd name="T1" fmla="*/ 21 h 37"/>
                <a:gd name="T2" fmla="*/ 17 w 21"/>
                <a:gd name="T3" fmla="*/ 21 h 37"/>
                <a:gd name="T4" fmla="*/ 9 w 21"/>
                <a:gd name="T5" fmla="*/ 0 h 37"/>
                <a:gd name="T6" fmla="*/ 4 w 21"/>
                <a:gd name="T7" fmla="*/ 31 h 37"/>
                <a:gd name="T8" fmla="*/ 15 w 21"/>
                <a:gd name="T9" fmla="*/ 35 h 37"/>
                <a:gd name="T10" fmla="*/ 19 w 21"/>
                <a:gd name="T11" fmla="*/ 24 h 37"/>
                <a:gd name="T12" fmla="*/ 17 w 21"/>
                <a:gd name="T13" fmla="*/ 21 h 37"/>
              </a:gdLst>
              <a:ahLst/>
              <a:cxnLst>
                <a:cxn ang="0">
                  <a:pos x="T0" y="T1"/>
                </a:cxn>
                <a:cxn ang="0">
                  <a:pos x="T2" y="T3"/>
                </a:cxn>
                <a:cxn ang="0">
                  <a:pos x="T4" y="T5"/>
                </a:cxn>
                <a:cxn ang="0">
                  <a:pos x="T6" y="T7"/>
                </a:cxn>
                <a:cxn ang="0">
                  <a:pos x="T8" y="T9"/>
                </a:cxn>
                <a:cxn ang="0">
                  <a:pos x="T10" y="T11"/>
                </a:cxn>
                <a:cxn ang="0">
                  <a:pos x="T12" y="T13"/>
                </a:cxn>
              </a:cxnLst>
              <a:rect l="0" t="0" r="r" b="b"/>
              <a:pathLst>
                <a:path w="21" h="37">
                  <a:moveTo>
                    <a:pt x="17" y="21"/>
                  </a:moveTo>
                  <a:cubicBezTo>
                    <a:pt x="17" y="21"/>
                    <a:pt x="17" y="21"/>
                    <a:pt x="17" y="21"/>
                  </a:cubicBezTo>
                  <a:cubicBezTo>
                    <a:pt x="8" y="12"/>
                    <a:pt x="9" y="0"/>
                    <a:pt x="9" y="0"/>
                  </a:cubicBezTo>
                  <a:cubicBezTo>
                    <a:pt x="0" y="19"/>
                    <a:pt x="2" y="27"/>
                    <a:pt x="4" y="31"/>
                  </a:cubicBezTo>
                  <a:cubicBezTo>
                    <a:pt x="6" y="35"/>
                    <a:pt x="10" y="37"/>
                    <a:pt x="15" y="35"/>
                  </a:cubicBezTo>
                  <a:cubicBezTo>
                    <a:pt x="19" y="33"/>
                    <a:pt x="21" y="28"/>
                    <a:pt x="19" y="24"/>
                  </a:cubicBezTo>
                  <a:cubicBezTo>
                    <a:pt x="19" y="23"/>
                    <a:pt x="18" y="21"/>
                    <a:pt x="17" y="21"/>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27" name="Weather [0]" hidden="1">
              <a:extLst>
                <a:ext uri="{FF2B5EF4-FFF2-40B4-BE49-F238E27FC236}">
                  <a16:creationId xmlns:a16="http://schemas.microsoft.com/office/drawing/2014/main" id="{45BB7329-839E-4945-8CDA-393B9588ABE8}"/>
                </a:ext>
              </a:extLst>
            </p:cNvPr>
            <p:cNvSpPr>
              <a:spLocks/>
            </p:cNvSpPr>
            <p:nvPr>
              <p:custDataLst>
                <p:tags r:id="rId68"/>
              </p:custDataLst>
            </p:nvPr>
          </p:nvSpPr>
          <p:spPr bwMode="gray">
            <a:xfrm>
              <a:off x="5733964" y="2061690"/>
              <a:ext cx="65848" cy="82040"/>
            </a:xfrm>
            <a:custGeom>
              <a:avLst/>
              <a:gdLst>
                <a:gd name="T0" fmla="*/ 18 w 26"/>
                <a:gd name="T1" fmla="*/ 14 h 32"/>
                <a:gd name="T2" fmla="*/ 18 w 26"/>
                <a:gd name="T3" fmla="*/ 14 h 32"/>
                <a:gd name="T4" fmla="*/ 0 w 26"/>
                <a:gd name="T5" fmla="*/ 0 h 32"/>
                <a:gd name="T6" fmla="*/ 12 w 26"/>
                <a:gd name="T7" fmla="*/ 29 h 32"/>
                <a:gd name="T8" fmla="*/ 24 w 26"/>
                <a:gd name="T9" fmla="*/ 27 h 32"/>
                <a:gd name="T10" fmla="*/ 22 w 26"/>
                <a:gd name="T11" fmla="*/ 15 h 32"/>
                <a:gd name="T12" fmla="*/ 18 w 26"/>
                <a:gd name="T13" fmla="*/ 14 h 32"/>
              </a:gdLst>
              <a:ahLst/>
              <a:cxnLst>
                <a:cxn ang="0">
                  <a:pos x="T0" y="T1"/>
                </a:cxn>
                <a:cxn ang="0">
                  <a:pos x="T2" y="T3"/>
                </a:cxn>
                <a:cxn ang="0">
                  <a:pos x="T4" y="T5"/>
                </a:cxn>
                <a:cxn ang="0">
                  <a:pos x="T6" y="T7"/>
                </a:cxn>
                <a:cxn ang="0">
                  <a:pos x="T8" y="T9"/>
                </a:cxn>
                <a:cxn ang="0">
                  <a:pos x="T10" y="T11"/>
                </a:cxn>
                <a:cxn ang="0">
                  <a:pos x="T12" y="T13"/>
                </a:cxn>
              </a:cxnLst>
              <a:rect l="0" t="0" r="r" b="b"/>
              <a:pathLst>
                <a:path w="26" h="32">
                  <a:moveTo>
                    <a:pt x="18" y="14"/>
                  </a:moveTo>
                  <a:cubicBezTo>
                    <a:pt x="18" y="14"/>
                    <a:pt x="18" y="14"/>
                    <a:pt x="18" y="14"/>
                  </a:cubicBezTo>
                  <a:cubicBezTo>
                    <a:pt x="5" y="11"/>
                    <a:pt x="0" y="0"/>
                    <a:pt x="0" y="0"/>
                  </a:cubicBezTo>
                  <a:cubicBezTo>
                    <a:pt x="3" y="21"/>
                    <a:pt x="8" y="27"/>
                    <a:pt x="12" y="29"/>
                  </a:cubicBezTo>
                  <a:cubicBezTo>
                    <a:pt x="15" y="32"/>
                    <a:pt x="21" y="31"/>
                    <a:pt x="24" y="27"/>
                  </a:cubicBezTo>
                  <a:cubicBezTo>
                    <a:pt x="26" y="23"/>
                    <a:pt x="25" y="18"/>
                    <a:pt x="22" y="15"/>
                  </a:cubicBezTo>
                  <a:cubicBezTo>
                    <a:pt x="20" y="14"/>
                    <a:pt x="19" y="14"/>
                    <a:pt x="18" y="1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28" name="Weather [0]" hidden="1">
              <a:extLst>
                <a:ext uri="{FF2B5EF4-FFF2-40B4-BE49-F238E27FC236}">
                  <a16:creationId xmlns:a16="http://schemas.microsoft.com/office/drawing/2014/main" id="{B9F53529-A429-4450-91C9-435E00D12C54}"/>
                </a:ext>
              </a:extLst>
            </p:cNvPr>
            <p:cNvSpPr>
              <a:spLocks/>
            </p:cNvSpPr>
            <p:nvPr>
              <p:custDataLst>
                <p:tags r:id="rId69"/>
              </p:custDataLst>
            </p:nvPr>
          </p:nvSpPr>
          <p:spPr bwMode="gray">
            <a:xfrm>
              <a:off x="5692944" y="2166398"/>
              <a:ext cx="86358" cy="48576"/>
            </a:xfrm>
            <a:custGeom>
              <a:avLst/>
              <a:gdLst>
                <a:gd name="T0" fmla="*/ 21 w 34"/>
                <a:gd name="T1" fmla="*/ 3 h 19"/>
                <a:gd name="T2" fmla="*/ 21 w 34"/>
                <a:gd name="T3" fmla="*/ 3 h 19"/>
                <a:gd name="T4" fmla="*/ 0 w 34"/>
                <a:gd name="T5" fmla="*/ 0 h 19"/>
                <a:gd name="T6" fmla="*/ 24 w 34"/>
                <a:gd name="T7" fmla="*/ 19 h 19"/>
                <a:gd name="T8" fmla="*/ 33 w 34"/>
                <a:gd name="T9" fmla="*/ 11 h 19"/>
                <a:gd name="T10" fmla="*/ 26 w 34"/>
                <a:gd name="T11" fmla="*/ 2 h 19"/>
                <a:gd name="T12" fmla="*/ 21 w 34"/>
                <a:gd name="T13" fmla="*/ 3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21" y="3"/>
                  </a:moveTo>
                  <a:cubicBezTo>
                    <a:pt x="21" y="3"/>
                    <a:pt x="21" y="3"/>
                    <a:pt x="21" y="3"/>
                  </a:cubicBezTo>
                  <a:cubicBezTo>
                    <a:pt x="10" y="7"/>
                    <a:pt x="0" y="0"/>
                    <a:pt x="0" y="0"/>
                  </a:cubicBezTo>
                  <a:cubicBezTo>
                    <a:pt x="13" y="17"/>
                    <a:pt x="20" y="18"/>
                    <a:pt x="24" y="19"/>
                  </a:cubicBezTo>
                  <a:cubicBezTo>
                    <a:pt x="29" y="19"/>
                    <a:pt x="33" y="16"/>
                    <a:pt x="33" y="11"/>
                  </a:cubicBezTo>
                  <a:cubicBezTo>
                    <a:pt x="34" y="6"/>
                    <a:pt x="30" y="2"/>
                    <a:pt x="26" y="2"/>
                  </a:cubicBezTo>
                  <a:cubicBezTo>
                    <a:pt x="24" y="2"/>
                    <a:pt x="23" y="2"/>
                    <a:pt x="21" y="3"/>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29" name="Weather [0]" hidden="1">
              <a:extLst>
                <a:ext uri="{FF2B5EF4-FFF2-40B4-BE49-F238E27FC236}">
                  <a16:creationId xmlns:a16="http://schemas.microsoft.com/office/drawing/2014/main" id="{9AEE5E19-6844-4A96-8F19-B6D95A533AFC}"/>
                </a:ext>
              </a:extLst>
            </p:cNvPr>
            <p:cNvSpPr>
              <a:spLocks/>
            </p:cNvSpPr>
            <p:nvPr>
              <p:custDataLst>
                <p:tags r:id="rId70"/>
              </p:custDataLst>
            </p:nvPr>
          </p:nvSpPr>
          <p:spPr bwMode="gray">
            <a:xfrm>
              <a:off x="5708057" y="2240882"/>
              <a:ext cx="91755" cy="56132"/>
            </a:xfrm>
            <a:custGeom>
              <a:avLst/>
              <a:gdLst>
                <a:gd name="T0" fmla="*/ 20 w 36"/>
                <a:gd name="T1" fmla="*/ 5 h 22"/>
                <a:gd name="T2" fmla="*/ 20 w 36"/>
                <a:gd name="T3" fmla="*/ 5 h 22"/>
                <a:gd name="T4" fmla="*/ 0 w 36"/>
                <a:gd name="T5" fmla="*/ 13 h 22"/>
                <a:gd name="T6" fmla="*/ 30 w 36"/>
                <a:gd name="T7" fmla="*/ 18 h 22"/>
                <a:gd name="T8" fmla="*/ 34 w 36"/>
                <a:gd name="T9" fmla="*/ 7 h 22"/>
                <a:gd name="T10" fmla="*/ 23 w 36"/>
                <a:gd name="T11" fmla="*/ 2 h 22"/>
                <a:gd name="T12" fmla="*/ 20 w 36"/>
                <a:gd name="T13" fmla="*/ 5 h 22"/>
              </a:gdLst>
              <a:ahLst/>
              <a:cxnLst>
                <a:cxn ang="0">
                  <a:pos x="T0" y="T1"/>
                </a:cxn>
                <a:cxn ang="0">
                  <a:pos x="T2" y="T3"/>
                </a:cxn>
                <a:cxn ang="0">
                  <a:pos x="T4" y="T5"/>
                </a:cxn>
                <a:cxn ang="0">
                  <a:pos x="T6" y="T7"/>
                </a:cxn>
                <a:cxn ang="0">
                  <a:pos x="T8" y="T9"/>
                </a:cxn>
                <a:cxn ang="0">
                  <a:pos x="T10" y="T11"/>
                </a:cxn>
                <a:cxn ang="0">
                  <a:pos x="T12" y="T13"/>
                </a:cxn>
              </a:cxnLst>
              <a:rect l="0" t="0" r="r" b="b"/>
              <a:pathLst>
                <a:path w="36" h="22">
                  <a:moveTo>
                    <a:pt x="20" y="5"/>
                  </a:moveTo>
                  <a:cubicBezTo>
                    <a:pt x="20" y="5"/>
                    <a:pt x="20" y="5"/>
                    <a:pt x="20" y="5"/>
                  </a:cubicBezTo>
                  <a:cubicBezTo>
                    <a:pt x="12" y="14"/>
                    <a:pt x="0" y="13"/>
                    <a:pt x="0" y="13"/>
                  </a:cubicBezTo>
                  <a:cubicBezTo>
                    <a:pt x="19" y="22"/>
                    <a:pt x="27" y="20"/>
                    <a:pt x="30" y="18"/>
                  </a:cubicBezTo>
                  <a:cubicBezTo>
                    <a:pt x="34" y="16"/>
                    <a:pt x="36" y="11"/>
                    <a:pt x="34" y="7"/>
                  </a:cubicBezTo>
                  <a:cubicBezTo>
                    <a:pt x="32" y="2"/>
                    <a:pt x="27" y="0"/>
                    <a:pt x="23" y="2"/>
                  </a:cubicBezTo>
                  <a:cubicBezTo>
                    <a:pt x="22" y="3"/>
                    <a:pt x="21" y="4"/>
                    <a:pt x="20" y="5"/>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30" name="Weather [0]" hidden="1">
              <a:extLst>
                <a:ext uri="{FF2B5EF4-FFF2-40B4-BE49-F238E27FC236}">
                  <a16:creationId xmlns:a16="http://schemas.microsoft.com/office/drawing/2014/main" id="{9CA6222E-B160-44B6-A24C-6280F46F53DC}"/>
                </a:ext>
              </a:extLst>
            </p:cNvPr>
            <p:cNvSpPr>
              <a:spLocks/>
            </p:cNvSpPr>
            <p:nvPr>
              <p:custDataLst>
                <p:tags r:id="rId71"/>
              </p:custDataLst>
            </p:nvPr>
          </p:nvSpPr>
          <p:spPr bwMode="gray">
            <a:xfrm>
              <a:off x="5773905" y="2293775"/>
              <a:ext cx="82040" cy="66927"/>
            </a:xfrm>
            <a:custGeom>
              <a:avLst/>
              <a:gdLst>
                <a:gd name="T0" fmla="*/ 14 w 32"/>
                <a:gd name="T1" fmla="*/ 8 h 26"/>
                <a:gd name="T2" fmla="*/ 14 w 32"/>
                <a:gd name="T3" fmla="*/ 8 h 26"/>
                <a:gd name="T4" fmla="*/ 0 w 32"/>
                <a:gd name="T5" fmla="*/ 26 h 26"/>
                <a:gd name="T6" fmla="*/ 29 w 32"/>
                <a:gd name="T7" fmla="*/ 14 h 26"/>
                <a:gd name="T8" fmla="*/ 27 w 32"/>
                <a:gd name="T9" fmla="*/ 2 h 26"/>
                <a:gd name="T10" fmla="*/ 15 w 32"/>
                <a:gd name="T11" fmla="*/ 4 h 26"/>
                <a:gd name="T12" fmla="*/ 14 w 32"/>
                <a:gd name="T13" fmla="*/ 8 h 26"/>
              </a:gdLst>
              <a:ahLst/>
              <a:cxnLst>
                <a:cxn ang="0">
                  <a:pos x="T0" y="T1"/>
                </a:cxn>
                <a:cxn ang="0">
                  <a:pos x="T2" y="T3"/>
                </a:cxn>
                <a:cxn ang="0">
                  <a:pos x="T4" y="T5"/>
                </a:cxn>
                <a:cxn ang="0">
                  <a:pos x="T6" y="T7"/>
                </a:cxn>
                <a:cxn ang="0">
                  <a:pos x="T8" y="T9"/>
                </a:cxn>
                <a:cxn ang="0">
                  <a:pos x="T10" y="T11"/>
                </a:cxn>
                <a:cxn ang="0">
                  <a:pos x="T12" y="T13"/>
                </a:cxn>
              </a:cxnLst>
              <a:rect l="0" t="0" r="r" b="b"/>
              <a:pathLst>
                <a:path w="32" h="26">
                  <a:moveTo>
                    <a:pt x="14" y="8"/>
                  </a:moveTo>
                  <a:cubicBezTo>
                    <a:pt x="14" y="8"/>
                    <a:pt x="14" y="8"/>
                    <a:pt x="14" y="8"/>
                  </a:cubicBezTo>
                  <a:cubicBezTo>
                    <a:pt x="11" y="20"/>
                    <a:pt x="0" y="26"/>
                    <a:pt x="0" y="26"/>
                  </a:cubicBezTo>
                  <a:cubicBezTo>
                    <a:pt x="21" y="23"/>
                    <a:pt x="27" y="17"/>
                    <a:pt x="29" y="14"/>
                  </a:cubicBezTo>
                  <a:cubicBezTo>
                    <a:pt x="32" y="10"/>
                    <a:pt x="31" y="5"/>
                    <a:pt x="27" y="2"/>
                  </a:cubicBezTo>
                  <a:cubicBezTo>
                    <a:pt x="23" y="0"/>
                    <a:pt x="18" y="1"/>
                    <a:pt x="15" y="4"/>
                  </a:cubicBezTo>
                  <a:cubicBezTo>
                    <a:pt x="14" y="6"/>
                    <a:pt x="14" y="7"/>
                    <a:pt x="14" y="8"/>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31" name="Weather [0]" hidden="1">
              <a:extLst>
                <a:ext uri="{FF2B5EF4-FFF2-40B4-BE49-F238E27FC236}">
                  <a16:creationId xmlns:a16="http://schemas.microsoft.com/office/drawing/2014/main" id="{7E952D62-90D4-4208-8A69-34160ACDFF30}"/>
                </a:ext>
              </a:extLst>
            </p:cNvPr>
            <p:cNvSpPr>
              <a:spLocks/>
            </p:cNvSpPr>
            <p:nvPr>
              <p:custDataLst>
                <p:tags r:id="rId72"/>
              </p:custDataLst>
            </p:nvPr>
          </p:nvSpPr>
          <p:spPr bwMode="gray">
            <a:xfrm>
              <a:off x="5876454" y="2312127"/>
              <a:ext cx="48577" cy="86357"/>
            </a:xfrm>
            <a:custGeom>
              <a:avLst/>
              <a:gdLst>
                <a:gd name="T0" fmla="*/ 3 w 19"/>
                <a:gd name="T1" fmla="*/ 12 h 34"/>
                <a:gd name="T2" fmla="*/ 3 w 19"/>
                <a:gd name="T3" fmla="*/ 12 h 34"/>
                <a:gd name="T4" fmla="*/ 0 w 19"/>
                <a:gd name="T5" fmla="*/ 34 h 34"/>
                <a:gd name="T6" fmla="*/ 19 w 19"/>
                <a:gd name="T7" fmla="*/ 10 h 34"/>
                <a:gd name="T8" fmla="*/ 11 w 19"/>
                <a:gd name="T9" fmla="*/ 0 h 34"/>
                <a:gd name="T10" fmla="*/ 2 w 19"/>
                <a:gd name="T11" fmla="*/ 8 h 34"/>
                <a:gd name="T12" fmla="*/ 3 w 19"/>
                <a:gd name="T13" fmla="*/ 12 h 34"/>
              </a:gdLst>
              <a:ahLst/>
              <a:cxnLst>
                <a:cxn ang="0">
                  <a:pos x="T0" y="T1"/>
                </a:cxn>
                <a:cxn ang="0">
                  <a:pos x="T2" y="T3"/>
                </a:cxn>
                <a:cxn ang="0">
                  <a:pos x="T4" y="T5"/>
                </a:cxn>
                <a:cxn ang="0">
                  <a:pos x="T6" y="T7"/>
                </a:cxn>
                <a:cxn ang="0">
                  <a:pos x="T8" y="T9"/>
                </a:cxn>
                <a:cxn ang="0">
                  <a:pos x="T10" y="T11"/>
                </a:cxn>
                <a:cxn ang="0">
                  <a:pos x="T12" y="T13"/>
                </a:cxn>
              </a:cxnLst>
              <a:rect l="0" t="0" r="r" b="b"/>
              <a:pathLst>
                <a:path w="19" h="34">
                  <a:moveTo>
                    <a:pt x="3" y="12"/>
                  </a:moveTo>
                  <a:cubicBezTo>
                    <a:pt x="3" y="12"/>
                    <a:pt x="3" y="12"/>
                    <a:pt x="3" y="12"/>
                  </a:cubicBezTo>
                  <a:cubicBezTo>
                    <a:pt x="7" y="24"/>
                    <a:pt x="0" y="34"/>
                    <a:pt x="0" y="34"/>
                  </a:cubicBezTo>
                  <a:cubicBezTo>
                    <a:pt x="17" y="21"/>
                    <a:pt x="19" y="14"/>
                    <a:pt x="19" y="10"/>
                  </a:cubicBezTo>
                  <a:cubicBezTo>
                    <a:pt x="19" y="5"/>
                    <a:pt x="16" y="0"/>
                    <a:pt x="11" y="0"/>
                  </a:cubicBezTo>
                  <a:cubicBezTo>
                    <a:pt x="6" y="0"/>
                    <a:pt x="2" y="3"/>
                    <a:pt x="2" y="8"/>
                  </a:cubicBezTo>
                  <a:cubicBezTo>
                    <a:pt x="2" y="10"/>
                    <a:pt x="2" y="11"/>
                    <a:pt x="3" y="12"/>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32" name="Weather [0]" hidden="1">
              <a:extLst>
                <a:ext uri="{FF2B5EF4-FFF2-40B4-BE49-F238E27FC236}">
                  <a16:creationId xmlns:a16="http://schemas.microsoft.com/office/drawing/2014/main" id="{20A501D5-ACA6-4F81-BE46-DA16220038D5}"/>
                </a:ext>
              </a:extLst>
            </p:cNvPr>
            <p:cNvSpPr>
              <a:spLocks/>
            </p:cNvSpPr>
            <p:nvPr>
              <p:custDataLst>
                <p:tags r:id="rId73"/>
              </p:custDataLst>
            </p:nvPr>
          </p:nvSpPr>
          <p:spPr bwMode="gray">
            <a:xfrm>
              <a:off x="5953097" y="2293775"/>
              <a:ext cx="52894" cy="94993"/>
            </a:xfrm>
            <a:custGeom>
              <a:avLst/>
              <a:gdLst>
                <a:gd name="T0" fmla="*/ 4 w 21"/>
                <a:gd name="T1" fmla="*/ 17 h 37"/>
                <a:gd name="T2" fmla="*/ 4 w 21"/>
                <a:gd name="T3" fmla="*/ 17 h 37"/>
                <a:gd name="T4" fmla="*/ 12 w 21"/>
                <a:gd name="T5" fmla="*/ 37 h 37"/>
                <a:gd name="T6" fmla="*/ 17 w 21"/>
                <a:gd name="T7" fmla="*/ 6 h 37"/>
                <a:gd name="T8" fmla="*/ 6 w 21"/>
                <a:gd name="T9" fmla="*/ 2 h 37"/>
                <a:gd name="T10" fmla="*/ 1 w 21"/>
                <a:gd name="T11" fmla="*/ 13 h 37"/>
                <a:gd name="T12" fmla="*/ 4 w 21"/>
                <a:gd name="T13" fmla="*/ 17 h 37"/>
              </a:gdLst>
              <a:ahLst/>
              <a:cxnLst>
                <a:cxn ang="0">
                  <a:pos x="T0" y="T1"/>
                </a:cxn>
                <a:cxn ang="0">
                  <a:pos x="T2" y="T3"/>
                </a:cxn>
                <a:cxn ang="0">
                  <a:pos x="T4" y="T5"/>
                </a:cxn>
                <a:cxn ang="0">
                  <a:pos x="T6" y="T7"/>
                </a:cxn>
                <a:cxn ang="0">
                  <a:pos x="T8" y="T9"/>
                </a:cxn>
                <a:cxn ang="0">
                  <a:pos x="T10" y="T11"/>
                </a:cxn>
                <a:cxn ang="0">
                  <a:pos x="T12" y="T13"/>
                </a:cxn>
              </a:cxnLst>
              <a:rect l="0" t="0" r="r" b="b"/>
              <a:pathLst>
                <a:path w="21" h="37">
                  <a:moveTo>
                    <a:pt x="4" y="17"/>
                  </a:moveTo>
                  <a:cubicBezTo>
                    <a:pt x="4" y="17"/>
                    <a:pt x="4" y="17"/>
                    <a:pt x="4" y="17"/>
                  </a:cubicBezTo>
                  <a:cubicBezTo>
                    <a:pt x="13" y="25"/>
                    <a:pt x="12" y="37"/>
                    <a:pt x="12" y="37"/>
                  </a:cubicBezTo>
                  <a:cubicBezTo>
                    <a:pt x="21" y="17"/>
                    <a:pt x="18" y="10"/>
                    <a:pt x="17" y="6"/>
                  </a:cubicBezTo>
                  <a:cubicBezTo>
                    <a:pt x="15" y="2"/>
                    <a:pt x="10" y="0"/>
                    <a:pt x="6" y="2"/>
                  </a:cubicBezTo>
                  <a:cubicBezTo>
                    <a:pt x="1" y="4"/>
                    <a:pt x="0" y="9"/>
                    <a:pt x="1" y="13"/>
                  </a:cubicBezTo>
                  <a:cubicBezTo>
                    <a:pt x="2" y="15"/>
                    <a:pt x="3" y="16"/>
                    <a:pt x="4" y="17"/>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33" name="Weather [0]" hidden="1">
              <a:extLst>
                <a:ext uri="{FF2B5EF4-FFF2-40B4-BE49-F238E27FC236}">
                  <a16:creationId xmlns:a16="http://schemas.microsoft.com/office/drawing/2014/main" id="{7EDFB0C9-C3ED-486A-8EC8-DCAB2E52C0AF}"/>
                </a:ext>
              </a:extLst>
            </p:cNvPr>
            <p:cNvSpPr>
              <a:spLocks/>
            </p:cNvSpPr>
            <p:nvPr>
              <p:custDataLst>
                <p:tags r:id="rId74"/>
              </p:custDataLst>
            </p:nvPr>
          </p:nvSpPr>
          <p:spPr bwMode="gray">
            <a:xfrm>
              <a:off x="6001673" y="2237643"/>
              <a:ext cx="69086" cy="84199"/>
            </a:xfrm>
            <a:custGeom>
              <a:avLst/>
              <a:gdLst>
                <a:gd name="T0" fmla="*/ 9 w 27"/>
                <a:gd name="T1" fmla="*/ 19 h 33"/>
                <a:gd name="T2" fmla="*/ 9 w 27"/>
                <a:gd name="T3" fmla="*/ 19 h 33"/>
                <a:gd name="T4" fmla="*/ 27 w 27"/>
                <a:gd name="T5" fmla="*/ 33 h 33"/>
                <a:gd name="T6" fmla="*/ 15 w 27"/>
                <a:gd name="T7" fmla="*/ 4 h 33"/>
                <a:gd name="T8" fmla="*/ 3 w 27"/>
                <a:gd name="T9" fmla="*/ 6 h 33"/>
                <a:gd name="T10" fmla="*/ 5 w 27"/>
                <a:gd name="T11" fmla="*/ 18 h 33"/>
                <a:gd name="T12" fmla="*/ 9 w 27"/>
                <a:gd name="T13" fmla="*/ 19 h 33"/>
              </a:gdLst>
              <a:ahLst/>
              <a:cxnLst>
                <a:cxn ang="0">
                  <a:pos x="T0" y="T1"/>
                </a:cxn>
                <a:cxn ang="0">
                  <a:pos x="T2" y="T3"/>
                </a:cxn>
                <a:cxn ang="0">
                  <a:pos x="T4" y="T5"/>
                </a:cxn>
                <a:cxn ang="0">
                  <a:pos x="T6" y="T7"/>
                </a:cxn>
                <a:cxn ang="0">
                  <a:pos x="T8" y="T9"/>
                </a:cxn>
                <a:cxn ang="0">
                  <a:pos x="T10" y="T11"/>
                </a:cxn>
                <a:cxn ang="0">
                  <a:pos x="T12" y="T13"/>
                </a:cxn>
              </a:cxnLst>
              <a:rect l="0" t="0" r="r" b="b"/>
              <a:pathLst>
                <a:path w="27" h="33">
                  <a:moveTo>
                    <a:pt x="9" y="19"/>
                  </a:moveTo>
                  <a:cubicBezTo>
                    <a:pt x="9" y="19"/>
                    <a:pt x="9" y="19"/>
                    <a:pt x="9" y="19"/>
                  </a:cubicBezTo>
                  <a:cubicBezTo>
                    <a:pt x="22" y="21"/>
                    <a:pt x="27" y="33"/>
                    <a:pt x="27" y="33"/>
                  </a:cubicBezTo>
                  <a:cubicBezTo>
                    <a:pt x="25" y="11"/>
                    <a:pt x="19" y="6"/>
                    <a:pt x="15" y="4"/>
                  </a:cubicBezTo>
                  <a:cubicBezTo>
                    <a:pt x="11" y="0"/>
                    <a:pt x="6" y="2"/>
                    <a:pt x="3" y="6"/>
                  </a:cubicBezTo>
                  <a:cubicBezTo>
                    <a:pt x="0" y="9"/>
                    <a:pt x="1" y="15"/>
                    <a:pt x="5" y="18"/>
                  </a:cubicBezTo>
                  <a:cubicBezTo>
                    <a:pt x="7" y="19"/>
                    <a:pt x="8" y="19"/>
                    <a:pt x="9" y="19"/>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34" name="Weather [0]" hidden="1">
              <a:extLst>
                <a:ext uri="{FF2B5EF4-FFF2-40B4-BE49-F238E27FC236}">
                  <a16:creationId xmlns:a16="http://schemas.microsoft.com/office/drawing/2014/main" id="{BFA53844-C4AA-49A2-806B-C57138303870}"/>
                </a:ext>
              </a:extLst>
            </p:cNvPr>
            <p:cNvSpPr>
              <a:spLocks/>
            </p:cNvSpPr>
            <p:nvPr>
              <p:custDataLst>
                <p:tags r:id="rId75"/>
              </p:custDataLst>
            </p:nvPr>
          </p:nvSpPr>
          <p:spPr bwMode="gray">
            <a:xfrm>
              <a:off x="6018944" y="2169637"/>
              <a:ext cx="89597" cy="43179"/>
            </a:xfrm>
            <a:custGeom>
              <a:avLst/>
              <a:gdLst>
                <a:gd name="T0" fmla="*/ 13 w 35"/>
                <a:gd name="T1" fmla="*/ 16 h 17"/>
                <a:gd name="T2" fmla="*/ 13 w 35"/>
                <a:gd name="T3" fmla="*/ 16 h 17"/>
                <a:gd name="T4" fmla="*/ 35 w 35"/>
                <a:gd name="T5" fmla="*/ 17 h 17"/>
                <a:gd name="T6" fmla="*/ 9 w 35"/>
                <a:gd name="T7" fmla="*/ 0 h 17"/>
                <a:gd name="T8" fmla="*/ 0 w 35"/>
                <a:gd name="T9" fmla="*/ 8 h 17"/>
                <a:gd name="T10" fmla="*/ 9 w 35"/>
                <a:gd name="T11" fmla="*/ 17 h 17"/>
                <a:gd name="T12" fmla="*/ 13 w 35"/>
                <a:gd name="T13" fmla="*/ 16 h 17"/>
              </a:gdLst>
              <a:ahLst/>
              <a:cxnLst>
                <a:cxn ang="0">
                  <a:pos x="T0" y="T1"/>
                </a:cxn>
                <a:cxn ang="0">
                  <a:pos x="T2" y="T3"/>
                </a:cxn>
                <a:cxn ang="0">
                  <a:pos x="T4" y="T5"/>
                </a:cxn>
                <a:cxn ang="0">
                  <a:pos x="T6" y="T7"/>
                </a:cxn>
                <a:cxn ang="0">
                  <a:pos x="T8" y="T9"/>
                </a:cxn>
                <a:cxn ang="0">
                  <a:pos x="T10" y="T11"/>
                </a:cxn>
                <a:cxn ang="0">
                  <a:pos x="T12" y="T13"/>
                </a:cxn>
              </a:cxnLst>
              <a:rect l="0" t="0" r="r" b="b"/>
              <a:pathLst>
                <a:path w="35" h="17">
                  <a:moveTo>
                    <a:pt x="13" y="16"/>
                  </a:moveTo>
                  <a:cubicBezTo>
                    <a:pt x="13" y="16"/>
                    <a:pt x="13" y="16"/>
                    <a:pt x="13" y="16"/>
                  </a:cubicBezTo>
                  <a:cubicBezTo>
                    <a:pt x="24" y="11"/>
                    <a:pt x="35" y="17"/>
                    <a:pt x="35" y="17"/>
                  </a:cubicBezTo>
                  <a:cubicBezTo>
                    <a:pt x="21" y="1"/>
                    <a:pt x="13" y="0"/>
                    <a:pt x="9" y="0"/>
                  </a:cubicBezTo>
                  <a:cubicBezTo>
                    <a:pt x="4" y="0"/>
                    <a:pt x="0" y="4"/>
                    <a:pt x="0" y="8"/>
                  </a:cubicBezTo>
                  <a:cubicBezTo>
                    <a:pt x="0" y="13"/>
                    <a:pt x="4" y="17"/>
                    <a:pt x="9" y="17"/>
                  </a:cubicBezTo>
                  <a:cubicBezTo>
                    <a:pt x="10" y="17"/>
                    <a:pt x="12" y="17"/>
                    <a:pt x="13" y="16"/>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35" name="Weather [0]" hidden="1">
              <a:extLst>
                <a:ext uri="{FF2B5EF4-FFF2-40B4-BE49-F238E27FC236}">
                  <a16:creationId xmlns:a16="http://schemas.microsoft.com/office/drawing/2014/main" id="{59DBA3F9-561C-4B73-B0AA-28996C6243BA}"/>
                </a:ext>
              </a:extLst>
            </p:cNvPr>
            <p:cNvSpPr>
              <a:spLocks/>
            </p:cNvSpPr>
            <p:nvPr>
              <p:custDataLst>
                <p:tags r:id="rId76"/>
              </p:custDataLst>
            </p:nvPr>
          </p:nvSpPr>
          <p:spPr bwMode="gray">
            <a:xfrm>
              <a:off x="6001673" y="2087597"/>
              <a:ext cx="93914" cy="58291"/>
            </a:xfrm>
            <a:custGeom>
              <a:avLst/>
              <a:gdLst>
                <a:gd name="T0" fmla="*/ 18 w 37"/>
                <a:gd name="T1" fmla="*/ 18 h 23"/>
                <a:gd name="T2" fmla="*/ 18 w 37"/>
                <a:gd name="T3" fmla="*/ 18 h 23"/>
                <a:gd name="T4" fmla="*/ 37 w 37"/>
                <a:gd name="T5" fmla="*/ 8 h 23"/>
                <a:gd name="T6" fmla="*/ 6 w 37"/>
                <a:gd name="T7" fmla="*/ 6 h 23"/>
                <a:gd name="T8" fmla="*/ 3 w 37"/>
                <a:gd name="T9" fmla="*/ 17 h 23"/>
                <a:gd name="T10" fmla="*/ 15 w 37"/>
                <a:gd name="T11" fmla="*/ 21 h 23"/>
                <a:gd name="T12" fmla="*/ 18 w 37"/>
                <a:gd name="T13" fmla="*/ 18 h 23"/>
              </a:gdLst>
              <a:ahLst/>
              <a:cxnLst>
                <a:cxn ang="0">
                  <a:pos x="T0" y="T1"/>
                </a:cxn>
                <a:cxn ang="0">
                  <a:pos x="T2" y="T3"/>
                </a:cxn>
                <a:cxn ang="0">
                  <a:pos x="T4" y="T5"/>
                </a:cxn>
                <a:cxn ang="0">
                  <a:pos x="T6" y="T7"/>
                </a:cxn>
                <a:cxn ang="0">
                  <a:pos x="T8" y="T9"/>
                </a:cxn>
                <a:cxn ang="0">
                  <a:pos x="T10" y="T11"/>
                </a:cxn>
                <a:cxn ang="0">
                  <a:pos x="T12" y="T13"/>
                </a:cxn>
              </a:cxnLst>
              <a:rect l="0" t="0" r="r" b="b"/>
              <a:pathLst>
                <a:path w="37" h="23">
                  <a:moveTo>
                    <a:pt x="18" y="18"/>
                  </a:moveTo>
                  <a:cubicBezTo>
                    <a:pt x="18" y="18"/>
                    <a:pt x="18" y="18"/>
                    <a:pt x="18" y="18"/>
                  </a:cubicBezTo>
                  <a:cubicBezTo>
                    <a:pt x="25" y="7"/>
                    <a:pt x="37" y="8"/>
                    <a:pt x="37" y="8"/>
                  </a:cubicBezTo>
                  <a:cubicBezTo>
                    <a:pt x="17" y="0"/>
                    <a:pt x="10" y="4"/>
                    <a:pt x="6" y="6"/>
                  </a:cubicBezTo>
                  <a:cubicBezTo>
                    <a:pt x="2" y="8"/>
                    <a:pt x="0" y="13"/>
                    <a:pt x="3" y="17"/>
                  </a:cubicBezTo>
                  <a:cubicBezTo>
                    <a:pt x="5" y="21"/>
                    <a:pt x="10" y="23"/>
                    <a:pt x="15" y="21"/>
                  </a:cubicBezTo>
                  <a:cubicBezTo>
                    <a:pt x="16" y="20"/>
                    <a:pt x="17" y="19"/>
                    <a:pt x="18" y="18"/>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36" name="Weather [0]" hidden="1">
              <a:extLst>
                <a:ext uri="{FF2B5EF4-FFF2-40B4-BE49-F238E27FC236}">
                  <a16:creationId xmlns:a16="http://schemas.microsoft.com/office/drawing/2014/main" id="{10775A78-9549-498E-B8AA-9AE90CEBAB77}"/>
                </a:ext>
              </a:extLst>
            </p:cNvPr>
            <p:cNvSpPr>
              <a:spLocks/>
            </p:cNvSpPr>
            <p:nvPr>
              <p:custDataLst>
                <p:tags r:id="rId77"/>
              </p:custDataLst>
            </p:nvPr>
          </p:nvSpPr>
          <p:spPr bwMode="gray">
            <a:xfrm>
              <a:off x="5947699" y="2023908"/>
              <a:ext cx="76643" cy="69086"/>
            </a:xfrm>
            <a:custGeom>
              <a:avLst/>
              <a:gdLst>
                <a:gd name="T0" fmla="*/ 19 w 30"/>
                <a:gd name="T1" fmla="*/ 18 h 27"/>
                <a:gd name="T2" fmla="*/ 19 w 30"/>
                <a:gd name="T3" fmla="*/ 18 h 27"/>
                <a:gd name="T4" fmla="*/ 30 w 30"/>
                <a:gd name="T5" fmla="*/ 0 h 27"/>
                <a:gd name="T6" fmla="*/ 3 w 30"/>
                <a:gd name="T7" fmla="*/ 13 h 27"/>
                <a:gd name="T8" fmla="*/ 6 w 30"/>
                <a:gd name="T9" fmla="*/ 25 h 27"/>
                <a:gd name="T10" fmla="*/ 17 w 30"/>
                <a:gd name="T11" fmla="*/ 22 h 27"/>
                <a:gd name="T12" fmla="*/ 19 w 30"/>
                <a:gd name="T13" fmla="*/ 18 h 27"/>
              </a:gdLst>
              <a:ahLst/>
              <a:cxnLst>
                <a:cxn ang="0">
                  <a:pos x="T0" y="T1"/>
                </a:cxn>
                <a:cxn ang="0">
                  <a:pos x="T2" y="T3"/>
                </a:cxn>
                <a:cxn ang="0">
                  <a:pos x="T4" y="T5"/>
                </a:cxn>
                <a:cxn ang="0">
                  <a:pos x="T6" y="T7"/>
                </a:cxn>
                <a:cxn ang="0">
                  <a:pos x="T8" y="T9"/>
                </a:cxn>
                <a:cxn ang="0">
                  <a:pos x="T10" y="T11"/>
                </a:cxn>
                <a:cxn ang="0">
                  <a:pos x="T12" y="T13"/>
                </a:cxn>
              </a:cxnLst>
              <a:rect l="0" t="0" r="r" b="b"/>
              <a:pathLst>
                <a:path w="30" h="27">
                  <a:moveTo>
                    <a:pt x="19" y="18"/>
                  </a:moveTo>
                  <a:cubicBezTo>
                    <a:pt x="19" y="18"/>
                    <a:pt x="19" y="18"/>
                    <a:pt x="19" y="18"/>
                  </a:cubicBezTo>
                  <a:cubicBezTo>
                    <a:pt x="20" y="6"/>
                    <a:pt x="30" y="0"/>
                    <a:pt x="30" y="0"/>
                  </a:cubicBezTo>
                  <a:cubicBezTo>
                    <a:pt x="10" y="4"/>
                    <a:pt x="5" y="10"/>
                    <a:pt x="3" y="13"/>
                  </a:cubicBezTo>
                  <a:cubicBezTo>
                    <a:pt x="0" y="17"/>
                    <a:pt x="2" y="23"/>
                    <a:pt x="6" y="25"/>
                  </a:cubicBezTo>
                  <a:cubicBezTo>
                    <a:pt x="10" y="27"/>
                    <a:pt x="15" y="26"/>
                    <a:pt x="17" y="22"/>
                  </a:cubicBezTo>
                  <a:cubicBezTo>
                    <a:pt x="18" y="21"/>
                    <a:pt x="19" y="19"/>
                    <a:pt x="19" y="18"/>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37" name="Weather [1]" hidden="1">
              <a:extLst>
                <a:ext uri="{FF2B5EF4-FFF2-40B4-BE49-F238E27FC236}">
                  <a16:creationId xmlns:a16="http://schemas.microsoft.com/office/drawing/2014/main" id="{3C148410-5380-46F8-A8FD-863DB4B253DB}"/>
                </a:ext>
              </a:extLst>
            </p:cNvPr>
            <p:cNvSpPr>
              <a:spLocks noEditPoints="1"/>
            </p:cNvSpPr>
            <p:nvPr>
              <p:custDataLst>
                <p:tags r:id="rId78"/>
              </p:custDataLst>
            </p:nvPr>
          </p:nvSpPr>
          <p:spPr bwMode="gray">
            <a:xfrm>
              <a:off x="5691392" y="2059773"/>
              <a:ext cx="405764" cy="281688"/>
            </a:xfrm>
            <a:custGeom>
              <a:avLst/>
              <a:gdLst>
                <a:gd name="T0" fmla="*/ 104 w 140"/>
                <a:gd name="T1" fmla="*/ 21 h 107"/>
                <a:gd name="T2" fmla="*/ 74 w 140"/>
                <a:gd name="T3" fmla="*/ 1 h 107"/>
                <a:gd name="T4" fmla="*/ 45 w 140"/>
                <a:gd name="T5" fmla="*/ 21 h 107"/>
                <a:gd name="T6" fmla="*/ 4 w 140"/>
                <a:gd name="T7" fmla="*/ 47 h 107"/>
                <a:gd name="T8" fmla="*/ 20 w 140"/>
                <a:gd name="T9" fmla="*/ 73 h 107"/>
                <a:gd name="T10" fmla="*/ 35 w 140"/>
                <a:gd name="T11" fmla="*/ 89 h 107"/>
                <a:gd name="T12" fmla="*/ 66 w 140"/>
                <a:gd name="T13" fmla="*/ 88 h 107"/>
                <a:gd name="T14" fmla="*/ 96 w 140"/>
                <a:gd name="T15" fmla="*/ 96 h 107"/>
                <a:gd name="T16" fmla="*/ 121 w 140"/>
                <a:gd name="T17" fmla="*/ 70 h 107"/>
                <a:gd name="T18" fmla="*/ 138 w 140"/>
                <a:gd name="T19" fmla="*/ 42 h 107"/>
                <a:gd name="T20" fmla="*/ 104 w 140"/>
                <a:gd name="T21" fmla="*/ 21 h 107"/>
                <a:gd name="T22" fmla="*/ 102 w 140"/>
                <a:gd name="T23" fmla="*/ 69 h 107"/>
                <a:gd name="T24" fmla="*/ 111 w 140"/>
                <a:gd name="T25" fmla="*/ 70 h 107"/>
                <a:gd name="T26" fmla="*/ 66 w 140"/>
                <a:gd name="T27" fmla="*/ 80 h 107"/>
                <a:gd name="T28" fmla="*/ 22 w 140"/>
                <a:gd name="T29" fmla="*/ 56 h 107"/>
                <a:gd name="T30" fmla="*/ 19 w 140"/>
                <a:gd name="T31" fmla="*/ 66 h 107"/>
                <a:gd name="T32" fmla="*/ 15 w 140"/>
                <a:gd name="T33" fmla="*/ 42 h 107"/>
                <a:gd name="T34" fmla="*/ 60 w 140"/>
                <a:gd name="T35" fmla="*/ 33 h 107"/>
                <a:gd name="T36" fmla="*/ 53 w 140"/>
                <a:gd name="T37" fmla="*/ 23 h 107"/>
                <a:gd name="T38" fmla="*/ 73 w 140"/>
                <a:gd name="T39" fmla="*/ 13 h 107"/>
                <a:gd name="T40" fmla="*/ 105 w 140"/>
                <a:gd name="T41" fmla="*/ 31 h 107"/>
                <a:gd name="T42" fmla="*/ 105 w 140"/>
                <a:gd name="T43" fmla="*/ 26 h 107"/>
                <a:gd name="T44" fmla="*/ 131 w 140"/>
                <a:gd name="T45" fmla="*/ 45 h 107"/>
                <a:gd name="T46" fmla="*/ 102 w 140"/>
                <a:gd name="T47" fmla="*/ 6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0" h="107">
                  <a:moveTo>
                    <a:pt x="104" y="21"/>
                  </a:moveTo>
                  <a:cubicBezTo>
                    <a:pt x="104" y="21"/>
                    <a:pt x="93" y="1"/>
                    <a:pt x="74" y="1"/>
                  </a:cubicBezTo>
                  <a:cubicBezTo>
                    <a:pt x="55" y="0"/>
                    <a:pt x="45" y="21"/>
                    <a:pt x="45" y="21"/>
                  </a:cubicBezTo>
                  <a:cubicBezTo>
                    <a:pt x="19" y="21"/>
                    <a:pt x="8" y="29"/>
                    <a:pt x="4" y="47"/>
                  </a:cubicBezTo>
                  <a:cubicBezTo>
                    <a:pt x="0" y="64"/>
                    <a:pt x="20" y="73"/>
                    <a:pt x="20" y="73"/>
                  </a:cubicBezTo>
                  <a:cubicBezTo>
                    <a:pt x="20" y="73"/>
                    <a:pt x="21" y="78"/>
                    <a:pt x="35" y="89"/>
                  </a:cubicBezTo>
                  <a:cubicBezTo>
                    <a:pt x="50" y="101"/>
                    <a:pt x="66" y="88"/>
                    <a:pt x="66" y="88"/>
                  </a:cubicBezTo>
                  <a:cubicBezTo>
                    <a:pt x="66" y="88"/>
                    <a:pt x="74" y="98"/>
                    <a:pt x="96" y="96"/>
                  </a:cubicBezTo>
                  <a:cubicBezTo>
                    <a:pt x="117" y="94"/>
                    <a:pt x="121" y="70"/>
                    <a:pt x="121" y="70"/>
                  </a:cubicBezTo>
                  <a:cubicBezTo>
                    <a:pt x="121" y="70"/>
                    <a:pt x="140" y="64"/>
                    <a:pt x="138" y="42"/>
                  </a:cubicBezTo>
                  <a:cubicBezTo>
                    <a:pt x="136" y="20"/>
                    <a:pt x="104" y="21"/>
                    <a:pt x="104" y="21"/>
                  </a:cubicBezTo>
                  <a:close/>
                  <a:moveTo>
                    <a:pt x="102" y="69"/>
                  </a:moveTo>
                  <a:cubicBezTo>
                    <a:pt x="111" y="70"/>
                    <a:pt x="111" y="70"/>
                    <a:pt x="111" y="70"/>
                  </a:cubicBezTo>
                  <a:cubicBezTo>
                    <a:pt x="91" y="107"/>
                    <a:pt x="66" y="80"/>
                    <a:pt x="66" y="80"/>
                  </a:cubicBezTo>
                  <a:cubicBezTo>
                    <a:pt x="29" y="96"/>
                    <a:pt x="22" y="56"/>
                    <a:pt x="22" y="56"/>
                  </a:cubicBezTo>
                  <a:cubicBezTo>
                    <a:pt x="19" y="66"/>
                    <a:pt x="19" y="66"/>
                    <a:pt x="19" y="66"/>
                  </a:cubicBezTo>
                  <a:cubicBezTo>
                    <a:pt x="19" y="66"/>
                    <a:pt x="7" y="60"/>
                    <a:pt x="15" y="42"/>
                  </a:cubicBezTo>
                  <a:cubicBezTo>
                    <a:pt x="28" y="18"/>
                    <a:pt x="60" y="33"/>
                    <a:pt x="60" y="33"/>
                  </a:cubicBezTo>
                  <a:cubicBezTo>
                    <a:pt x="53" y="23"/>
                    <a:pt x="53" y="23"/>
                    <a:pt x="53" y="23"/>
                  </a:cubicBezTo>
                  <a:cubicBezTo>
                    <a:pt x="53" y="23"/>
                    <a:pt x="56" y="16"/>
                    <a:pt x="73" y="13"/>
                  </a:cubicBezTo>
                  <a:cubicBezTo>
                    <a:pt x="91" y="9"/>
                    <a:pt x="105" y="31"/>
                    <a:pt x="105" y="31"/>
                  </a:cubicBezTo>
                  <a:cubicBezTo>
                    <a:pt x="105" y="26"/>
                    <a:pt x="105" y="26"/>
                    <a:pt x="105" y="26"/>
                  </a:cubicBezTo>
                  <a:cubicBezTo>
                    <a:pt x="105" y="26"/>
                    <a:pt x="128" y="28"/>
                    <a:pt x="131" y="45"/>
                  </a:cubicBezTo>
                  <a:cubicBezTo>
                    <a:pt x="134" y="64"/>
                    <a:pt x="102" y="69"/>
                    <a:pt x="102" y="69"/>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38" name="Weather [2]" hidden="1">
              <a:extLst>
                <a:ext uri="{FF2B5EF4-FFF2-40B4-BE49-F238E27FC236}">
                  <a16:creationId xmlns:a16="http://schemas.microsoft.com/office/drawing/2014/main" id="{A111F06A-94A7-4CFF-8A5C-7773F6D8670F}"/>
                </a:ext>
              </a:extLst>
            </p:cNvPr>
            <p:cNvSpPr>
              <a:spLocks/>
            </p:cNvSpPr>
            <p:nvPr>
              <p:custDataLst>
                <p:tags r:id="rId79"/>
              </p:custDataLst>
            </p:nvPr>
          </p:nvSpPr>
          <p:spPr bwMode="gray">
            <a:xfrm>
              <a:off x="5904433" y="2340791"/>
              <a:ext cx="52872" cy="76235"/>
            </a:xfrm>
            <a:custGeom>
              <a:avLst/>
              <a:gdLst>
                <a:gd name="T0" fmla="*/ 18 w 18"/>
                <a:gd name="T1" fmla="*/ 17 h 26"/>
                <a:gd name="T2" fmla="*/ 9 w 18"/>
                <a:gd name="T3" fmla="*/ 26 h 26"/>
                <a:gd name="T4" fmla="*/ 0 w 18"/>
                <a:gd name="T5" fmla="*/ 17 h 26"/>
                <a:gd name="T6" fmla="*/ 13 w 18"/>
                <a:gd name="T7" fmla="*/ 0 h 26"/>
                <a:gd name="T8" fmla="*/ 18 w 18"/>
                <a:gd name="T9" fmla="*/ 17 h 26"/>
              </a:gdLst>
              <a:ahLst/>
              <a:cxnLst>
                <a:cxn ang="0">
                  <a:pos x="T0" y="T1"/>
                </a:cxn>
                <a:cxn ang="0">
                  <a:pos x="T2" y="T3"/>
                </a:cxn>
                <a:cxn ang="0">
                  <a:pos x="T4" y="T5"/>
                </a:cxn>
                <a:cxn ang="0">
                  <a:pos x="T6" y="T7"/>
                </a:cxn>
                <a:cxn ang="0">
                  <a:pos x="T8" y="T9"/>
                </a:cxn>
              </a:cxnLst>
              <a:rect l="0" t="0" r="r" b="b"/>
              <a:pathLst>
                <a:path w="18" h="26">
                  <a:moveTo>
                    <a:pt x="18" y="17"/>
                  </a:moveTo>
                  <a:cubicBezTo>
                    <a:pt x="18" y="22"/>
                    <a:pt x="14" y="26"/>
                    <a:pt x="9" y="26"/>
                  </a:cubicBezTo>
                  <a:cubicBezTo>
                    <a:pt x="5" y="26"/>
                    <a:pt x="0" y="22"/>
                    <a:pt x="0" y="17"/>
                  </a:cubicBezTo>
                  <a:cubicBezTo>
                    <a:pt x="0" y="13"/>
                    <a:pt x="13" y="0"/>
                    <a:pt x="13" y="0"/>
                  </a:cubicBezTo>
                  <a:cubicBezTo>
                    <a:pt x="13" y="0"/>
                    <a:pt x="18" y="13"/>
                    <a:pt x="18" y="17"/>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39" name="Weather [2]" hidden="1">
              <a:extLst>
                <a:ext uri="{FF2B5EF4-FFF2-40B4-BE49-F238E27FC236}">
                  <a16:creationId xmlns:a16="http://schemas.microsoft.com/office/drawing/2014/main" id="{73B4FD9E-A158-4C54-AA54-7F2C43553AA1}"/>
                </a:ext>
              </a:extLst>
            </p:cNvPr>
            <p:cNvSpPr>
              <a:spLocks/>
            </p:cNvSpPr>
            <p:nvPr>
              <p:custDataLst>
                <p:tags r:id="rId80"/>
              </p:custDataLst>
            </p:nvPr>
          </p:nvSpPr>
          <p:spPr bwMode="gray">
            <a:xfrm>
              <a:off x="5785163" y="2350628"/>
              <a:ext cx="40576" cy="60250"/>
            </a:xfrm>
            <a:custGeom>
              <a:avLst/>
              <a:gdLst>
                <a:gd name="T0" fmla="*/ 14 w 14"/>
                <a:gd name="T1" fmla="*/ 14 h 21"/>
                <a:gd name="T2" fmla="*/ 7 w 14"/>
                <a:gd name="T3" fmla="*/ 21 h 21"/>
                <a:gd name="T4" fmla="*/ 0 w 14"/>
                <a:gd name="T5" fmla="*/ 14 h 21"/>
                <a:gd name="T6" fmla="*/ 11 w 14"/>
                <a:gd name="T7" fmla="*/ 0 h 21"/>
                <a:gd name="T8" fmla="*/ 14 w 14"/>
                <a:gd name="T9" fmla="*/ 14 h 21"/>
              </a:gdLst>
              <a:ahLst/>
              <a:cxnLst>
                <a:cxn ang="0">
                  <a:pos x="T0" y="T1"/>
                </a:cxn>
                <a:cxn ang="0">
                  <a:pos x="T2" y="T3"/>
                </a:cxn>
                <a:cxn ang="0">
                  <a:pos x="T4" y="T5"/>
                </a:cxn>
                <a:cxn ang="0">
                  <a:pos x="T6" y="T7"/>
                </a:cxn>
                <a:cxn ang="0">
                  <a:pos x="T8" y="T9"/>
                </a:cxn>
              </a:cxnLst>
              <a:rect l="0" t="0" r="r" b="b"/>
              <a:pathLst>
                <a:path w="14" h="21">
                  <a:moveTo>
                    <a:pt x="14" y="14"/>
                  </a:moveTo>
                  <a:cubicBezTo>
                    <a:pt x="14" y="18"/>
                    <a:pt x="11" y="21"/>
                    <a:pt x="7" y="21"/>
                  </a:cubicBezTo>
                  <a:cubicBezTo>
                    <a:pt x="3" y="21"/>
                    <a:pt x="0" y="18"/>
                    <a:pt x="0" y="14"/>
                  </a:cubicBezTo>
                  <a:cubicBezTo>
                    <a:pt x="0" y="10"/>
                    <a:pt x="11" y="0"/>
                    <a:pt x="11" y="0"/>
                  </a:cubicBezTo>
                  <a:cubicBezTo>
                    <a:pt x="11" y="0"/>
                    <a:pt x="14" y="10"/>
                    <a:pt x="14" y="1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40" name="Weather [2]" hidden="1">
              <a:extLst>
                <a:ext uri="{FF2B5EF4-FFF2-40B4-BE49-F238E27FC236}">
                  <a16:creationId xmlns:a16="http://schemas.microsoft.com/office/drawing/2014/main" id="{AA21EDF1-D996-4D22-9856-18B061996167}"/>
                </a:ext>
              </a:extLst>
            </p:cNvPr>
            <p:cNvSpPr>
              <a:spLocks/>
            </p:cNvSpPr>
            <p:nvPr>
              <p:custDataLst>
                <p:tags r:id="rId81"/>
              </p:custDataLst>
            </p:nvPr>
          </p:nvSpPr>
          <p:spPr bwMode="gray">
            <a:xfrm>
              <a:off x="5834346" y="2417026"/>
              <a:ext cx="40576" cy="55331"/>
            </a:xfrm>
            <a:custGeom>
              <a:avLst/>
              <a:gdLst>
                <a:gd name="T0" fmla="*/ 14 w 14"/>
                <a:gd name="T1" fmla="*/ 13 h 19"/>
                <a:gd name="T2" fmla="*/ 8 w 14"/>
                <a:gd name="T3" fmla="*/ 19 h 19"/>
                <a:gd name="T4" fmla="*/ 0 w 14"/>
                <a:gd name="T5" fmla="*/ 13 h 19"/>
                <a:gd name="T6" fmla="*/ 11 w 14"/>
                <a:gd name="T7" fmla="*/ 0 h 19"/>
                <a:gd name="T8" fmla="*/ 14 w 14"/>
                <a:gd name="T9" fmla="*/ 13 h 19"/>
              </a:gdLst>
              <a:ahLst/>
              <a:cxnLst>
                <a:cxn ang="0">
                  <a:pos x="T0" y="T1"/>
                </a:cxn>
                <a:cxn ang="0">
                  <a:pos x="T2" y="T3"/>
                </a:cxn>
                <a:cxn ang="0">
                  <a:pos x="T4" y="T5"/>
                </a:cxn>
                <a:cxn ang="0">
                  <a:pos x="T6" y="T7"/>
                </a:cxn>
                <a:cxn ang="0">
                  <a:pos x="T8" y="T9"/>
                </a:cxn>
              </a:cxnLst>
              <a:rect l="0" t="0" r="r" b="b"/>
              <a:pathLst>
                <a:path w="14" h="19">
                  <a:moveTo>
                    <a:pt x="14" y="13"/>
                  </a:moveTo>
                  <a:cubicBezTo>
                    <a:pt x="14" y="16"/>
                    <a:pt x="11" y="19"/>
                    <a:pt x="8" y="19"/>
                  </a:cubicBezTo>
                  <a:cubicBezTo>
                    <a:pt x="3" y="19"/>
                    <a:pt x="0" y="16"/>
                    <a:pt x="0" y="13"/>
                  </a:cubicBezTo>
                  <a:cubicBezTo>
                    <a:pt x="0" y="9"/>
                    <a:pt x="11" y="0"/>
                    <a:pt x="11" y="0"/>
                  </a:cubicBezTo>
                  <a:cubicBezTo>
                    <a:pt x="11" y="0"/>
                    <a:pt x="14" y="9"/>
                    <a:pt x="14" y="13"/>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41" name="Weather [2]" hidden="1">
              <a:extLst>
                <a:ext uri="{FF2B5EF4-FFF2-40B4-BE49-F238E27FC236}">
                  <a16:creationId xmlns:a16="http://schemas.microsoft.com/office/drawing/2014/main" id="{BB2F935B-F364-4F59-9FAB-6A8F6F4C7940}"/>
                </a:ext>
              </a:extLst>
            </p:cNvPr>
            <p:cNvSpPr>
              <a:spLocks noEditPoints="1"/>
            </p:cNvSpPr>
            <p:nvPr>
              <p:custDataLst>
                <p:tags r:id="rId82"/>
              </p:custDataLst>
            </p:nvPr>
          </p:nvSpPr>
          <p:spPr bwMode="gray">
            <a:xfrm>
              <a:off x="5692944" y="2045689"/>
              <a:ext cx="405764" cy="309857"/>
            </a:xfrm>
            <a:custGeom>
              <a:avLst/>
              <a:gdLst>
                <a:gd name="T0" fmla="*/ 104 w 140"/>
                <a:gd name="T1" fmla="*/ 21 h 107"/>
                <a:gd name="T2" fmla="*/ 74 w 140"/>
                <a:gd name="T3" fmla="*/ 1 h 107"/>
                <a:gd name="T4" fmla="*/ 45 w 140"/>
                <a:gd name="T5" fmla="*/ 21 h 107"/>
                <a:gd name="T6" fmla="*/ 4 w 140"/>
                <a:gd name="T7" fmla="*/ 47 h 107"/>
                <a:gd name="T8" fmla="*/ 20 w 140"/>
                <a:gd name="T9" fmla="*/ 73 h 107"/>
                <a:gd name="T10" fmla="*/ 35 w 140"/>
                <a:gd name="T11" fmla="*/ 89 h 107"/>
                <a:gd name="T12" fmla="*/ 66 w 140"/>
                <a:gd name="T13" fmla="*/ 88 h 107"/>
                <a:gd name="T14" fmla="*/ 96 w 140"/>
                <a:gd name="T15" fmla="*/ 96 h 107"/>
                <a:gd name="T16" fmla="*/ 121 w 140"/>
                <a:gd name="T17" fmla="*/ 70 h 107"/>
                <a:gd name="T18" fmla="*/ 138 w 140"/>
                <a:gd name="T19" fmla="*/ 42 h 107"/>
                <a:gd name="T20" fmla="*/ 104 w 140"/>
                <a:gd name="T21" fmla="*/ 21 h 107"/>
                <a:gd name="T22" fmla="*/ 102 w 140"/>
                <a:gd name="T23" fmla="*/ 69 h 107"/>
                <a:gd name="T24" fmla="*/ 111 w 140"/>
                <a:gd name="T25" fmla="*/ 70 h 107"/>
                <a:gd name="T26" fmla="*/ 66 w 140"/>
                <a:gd name="T27" fmla="*/ 80 h 107"/>
                <a:gd name="T28" fmla="*/ 22 w 140"/>
                <a:gd name="T29" fmla="*/ 56 h 107"/>
                <a:gd name="T30" fmla="*/ 19 w 140"/>
                <a:gd name="T31" fmla="*/ 66 h 107"/>
                <a:gd name="T32" fmla="*/ 15 w 140"/>
                <a:gd name="T33" fmla="*/ 42 h 107"/>
                <a:gd name="T34" fmla="*/ 60 w 140"/>
                <a:gd name="T35" fmla="*/ 33 h 107"/>
                <a:gd name="T36" fmla="*/ 53 w 140"/>
                <a:gd name="T37" fmla="*/ 23 h 107"/>
                <a:gd name="T38" fmla="*/ 73 w 140"/>
                <a:gd name="T39" fmla="*/ 13 h 107"/>
                <a:gd name="T40" fmla="*/ 105 w 140"/>
                <a:gd name="T41" fmla="*/ 31 h 107"/>
                <a:gd name="T42" fmla="*/ 105 w 140"/>
                <a:gd name="T43" fmla="*/ 26 h 107"/>
                <a:gd name="T44" fmla="*/ 131 w 140"/>
                <a:gd name="T45" fmla="*/ 45 h 107"/>
                <a:gd name="T46" fmla="*/ 102 w 140"/>
                <a:gd name="T47" fmla="*/ 6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0" h="107">
                  <a:moveTo>
                    <a:pt x="104" y="21"/>
                  </a:moveTo>
                  <a:cubicBezTo>
                    <a:pt x="104" y="21"/>
                    <a:pt x="93" y="1"/>
                    <a:pt x="74" y="1"/>
                  </a:cubicBezTo>
                  <a:cubicBezTo>
                    <a:pt x="55" y="0"/>
                    <a:pt x="45" y="21"/>
                    <a:pt x="45" y="21"/>
                  </a:cubicBezTo>
                  <a:cubicBezTo>
                    <a:pt x="19" y="21"/>
                    <a:pt x="8" y="29"/>
                    <a:pt x="4" y="47"/>
                  </a:cubicBezTo>
                  <a:cubicBezTo>
                    <a:pt x="0" y="64"/>
                    <a:pt x="20" y="73"/>
                    <a:pt x="20" y="73"/>
                  </a:cubicBezTo>
                  <a:cubicBezTo>
                    <a:pt x="20" y="73"/>
                    <a:pt x="21" y="78"/>
                    <a:pt x="35" y="89"/>
                  </a:cubicBezTo>
                  <a:cubicBezTo>
                    <a:pt x="50" y="101"/>
                    <a:pt x="66" y="88"/>
                    <a:pt x="66" y="88"/>
                  </a:cubicBezTo>
                  <a:cubicBezTo>
                    <a:pt x="66" y="88"/>
                    <a:pt x="74" y="98"/>
                    <a:pt x="96" y="96"/>
                  </a:cubicBezTo>
                  <a:cubicBezTo>
                    <a:pt x="117" y="94"/>
                    <a:pt x="121" y="70"/>
                    <a:pt x="121" y="70"/>
                  </a:cubicBezTo>
                  <a:cubicBezTo>
                    <a:pt x="121" y="70"/>
                    <a:pt x="140" y="64"/>
                    <a:pt x="138" y="42"/>
                  </a:cubicBezTo>
                  <a:cubicBezTo>
                    <a:pt x="136" y="20"/>
                    <a:pt x="104" y="21"/>
                    <a:pt x="104" y="21"/>
                  </a:cubicBezTo>
                  <a:close/>
                  <a:moveTo>
                    <a:pt x="102" y="69"/>
                  </a:moveTo>
                  <a:cubicBezTo>
                    <a:pt x="111" y="70"/>
                    <a:pt x="111" y="70"/>
                    <a:pt x="111" y="70"/>
                  </a:cubicBezTo>
                  <a:cubicBezTo>
                    <a:pt x="91" y="107"/>
                    <a:pt x="66" y="80"/>
                    <a:pt x="66" y="80"/>
                  </a:cubicBezTo>
                  <a:cubicBezTo>
                    <a:pt x="29" y="96"/>
                    <a:pt x="22" y="56"/>
                    <a:pt x="22" y="56"/>
                  </a:cubicBezTo>
                  <a:cubicBezTo>
                    <a:pt x="19" y="66"/>
                    <a:pt x="19" y="66"/>
                    <a:pt x="19" y="66"/>
                  </a:cubicBezTo>
                  <a:cubicBezTo>
                    <a:pt x="19" y="66"/>
                    <a:pt x="7" y="60"/>
                    <a:pt x="15" y="42"/>
                  </a:cubicBezTo>
                  <a:cubicBezTo>
                    <a:pt x="28" y="18"/>
                    <a:pt x="60" y="33"/>
                    <a:pt x="60" y="33"/>
                  </a:cubicBezTo>
                  <a:cubicBezTo>
                    <a:pt x="53" y="23"/>
                    <a:pt x="53" y="23"/>
                    <a:pt x="53" y="23"/>
                  </a:cubicBezTo>
                  <a:cubicBezTo>
                    <a:pt x="53" y="23"/>
                    <a:pt x="56" y="16"/>
                    <a:pt x="73" y="13"/>
                  </a:cubicBezTo>
                  <a:cubicBezTo>
                    <a:pt x="91" y="9"/>
                    <a:pt x="105" y="31"/>
                    <a:pt x="105" y="31"/>
                  </a:cubicBezTo>
                  <a:cubicBezTo>
                    <a:pt x="105" y="26"/>
                    <a:pt x="105" y="26"/>
                    <a:pt x="105" y="26"/>
                  </a:cubicBezTo>
                  <a:cubicBezTo>
                    <a:pt x="105" y="26"/>
                    <a:pt x="128" y="28"/>
                    <a:pt x="131" y="45"/>
                  </a:cubicBezTo>
                  <a:cubicBezTo>
                    <a:pt x="134" y="64"/>
                    <a:pt x="102" y="69"/>
                    <a:pt x="102" y="69"/>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sp>
          <p:nvSpPr>
            <p:cNvPr id="42" name="Weather [3]" hidden="1">
              <a:extLst>
                <a:ext uri="{FF2B5EF4-FFF2-40B4-BE49-F238E27FC236}">
                  <a16:creationId xmlns:a16="http://schemas.microsoft.com/office/drawing/2014/main" id="{B7BB1952-3F57-41BF-9F99-87288B4E5894}"/>
                </a:ext>
              </a:extLst>
            </p:cNvPr>
            <p:cNvSpPr>
              <a:spLocks/>
            </p:cNvSpPr>
            <p:nvPr>
              <p:custDataLst>
                <p:tags r:id="rId83"/>
              </p:custDataLst>
            </p:nvPr>
          </p:nvSpPr>
          <p:spPr bwMode="gray">
            <a:xfrm>
              <a:off x="5830391" y="2087597"/>
              <a:ext cx="200955" cy="347873"/>
            </a:xfrm>
            <a:custGeom>
              <a:avLst/>
              <a:gdLst>
                <a:gd name="T0" fmla="*/ 111 w 238"/>
                <a:gd name="T1" fmla="*/ 0 h 412"/>
                <a:gd name="T2" fmla="*/ 238 w 238"/>
                <a:gd name="T3" fmla="*/ 0 h 412"/>
                <a:gd name="T4" fmla="*/ 125 w 238"/>
                <a:gd name="T5" fmla="*/ 159 h 412"/>
                <a:gd name="T6" fmla="*/ 236 w 238"/>
                <a:gd name="T7" fmla="*/ 159 h 412"/>
                <a:gd name="T8" fmla="*/ 35 w 238"/>
                <a:gd name="T9" fmla="*/ 412 h 412"/>
                <a:gd name="T10" fmla="*/ 120 w 238"/>
                <a:gd name="T11" fmla="*/ 239 h 412"/>
                <a:gd name="T12" fmla="*/ 0 w 238"/>
                <a:gd name="T13" fmla="*/ 239 h 412"/>
                <a:gd name="T14" fmla="*/ 111 w 238"/>
                <a:gd name="T15" fmla="*/ 0 h 412"/>
                <a:gd name="T16" fmla="*/ 111 w 238"/>
                <a:gd name="T1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412">
                  <a:moveTo>
                    <a:pt x="111" y="0"/>
                  </a:moveTo>
                  <a:lnTo>
                    <a:pt x="238" y="0"/>
                  </a:lnTo>
                  <a:lnTo>
                    <a:pt x="125" y="159"/>
                  </a:lnTo>
                  <a:lnTo>
                    <a:pt x="236" y="159"/>
                  </a:lnTo>
                  <a:lnTo>
                    <a:pt x="35" y="412"/>
                  </a:lnTo>
                  <a:lnTo>
                    <a:pt x="120" y="239"/>
                  </a:lnTo>
                  <a:lnTo>
                    <a:pt x="0" y="239"/>
                  </a:lnTo>
                  <a:lnTo>
                    <a:pt x="111" y="0"/>
                  </a:lnTo>
                  <a:lnTo>
                    <a:pt x="111"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p>
          </p:txBody>
        </p:sp>
      </p:grpSp>
      <p:grpSp>
        <p:nvGrpSpPr>
          <p:cNvPr id="43" name="Stars 5 levels" hidden="1">
            <a:extLst>
              <a:ext uri="{FF2B5EF4-FFF2-40B4-BE49-F238E27FC236}">
                <a16:creationId xmlns:a16="http://schemas.microsoft.com/office/drawing/2014/main" id="{8885C4E1-497B-4D58-99F2-944C3B5714A9}"/>
              </a:ext>
            </a:extLst>
          </p:cNvPr>
          <p:cNvGrpSpPr>
            <a:grpSpLocks noChangeAspect="1"/>
          </p:cNvGrpSpPr>
          <p:nvPr userDrawn="1">
            <p:custDataLst>
              <p:tags r:id="rId23"/>
            </p:custDataLst>
          </p:nvPr>
        </p:nvGrpSpPr>
        <p:grpSpPr>
          <a:xfrm>
            <a:off x="12348308" y="1"/>
            <a:ext cx="1056917" cy="147367"/>
            <a:chOff x="4135869" y="5636233"/>
            <a:chExt cx="858745" cy="147367"/>
          </a:xfrm>
        </p:grpSpPr>
        <p:sp>
          <p:nvSpPr>
            <p:cNvPr id="44" name="0/5 [0+]" hidden="1">
              <a:extLst>
                <a:ext uri="{FF2B5EF4-FFF2-40B4-BE49-F238E27FC236}">
                  <a16:creationId xmlns:a16="http://schemas.microsoft.com/office/drawing/2014/main" id="{72C724DE-7DA7-491C-84D3-8F11170B4DC3}"/>
                </a:ext>
              </a:extLst>
            </p:cNvPr>
            <p:cNvSpPr>
              <a:spLocks noChangeAspect="1"/>
            </p:cNvSpPr>
            <p:nvPr>
              <p:custDataLst>
                <p:tags r:id="rId55"/>
              </p:custDataLst>
            </p:nvPr>
          </p:nvSpPr>
          <p:spPr>
            <a:xfrm flipH="1">
              <a:off x="4135869" y="5636234"/>
              <a:ext cx="157349" cy="147366"/>
            </a:xfrm>
            <a:prstGeom prst="star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5" name="1/5 [1+]" hidden="1">
              <a:extLst>
                <a:ext uri="{FF2B5EF4-FFF2-40B4-BE49-F238E27FC236}">
                  <a16:creationId xmlns:a16="http://schemas.microsoft.com/office/drawing/2014/main" id="{771450B8-091F-4FD9-A974-34A2F7E316E6}"/>
                </a:ext>
              </a:extLst>
            </p:cNvPr>
            <p:cNvSpPr>
              <a:spLocks noChangeAspect="1"/>
            </p:cNvSpPr>
            <p:nvPr>
              <p:custDataLst>
                <p:tags r:id="rId56"/>
              </p:custDataLst>
            </p:nvPr>
          </p:nvSpPr>
          <p:spPr>
            <a:xfrm flipH="1">
              <a:off x="4135869" y="5636233"/>
              <a:ext cx="157349" cy="147366"/>
            </a:xfrm>
            <a:prstGeom prst="star5">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6" name="0/5 [0+]" hidden="1">
              <a:extLst>
                <a:ext uri="{FF2B5EF4-FFF2-40B4-BE49-F238E27FC236}">
                  <a16:creationId xmlns:a16="http://schemas.microsoft.com/office/drawing/2014/main" id="{DC526885-D43E-42F8-98FA-E4500978FD93}"/>
                </a:ext>
              </a:extLst>
            </p:cNvPr>
            <p:cNvSpPr>
              <a:spLocks noChangeAspect="1"/>
            </p:cNvSpPr>
            <p:nvPr>
              <p:custDataLst>
                <p:tags r:id="rId57"/>
              </p:custDataLst>
            </p:nvPr>
          </p:nvSpPr>
          <p:spPr>
            <a:xfrm flipH="1">
              <a:off x="4311218" y="5636233"/>
              <a:ext cx="157349" cy="147366"/>
            </a:xfrm>
            <a:prstGeom prst="star5">
              <a:avLst/>
            </a:prstGeom>
            <a:solidFill>
              <a:srgbClr val="D9D9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7" name="2/5 [2+]" hidden="1">
              <a:extLst>
                <a:ext uri="{FF2B5EF4-FFF2-40B4-BE49-F238E27FC236}">
                  <a16:creationId xmlns:a16="http://schemas.microsoft.com/office/drawing/2014/main" id="{366E4663-CEBB-43CF-8C25-470F75AF2D66}"/>
                </a:ext>
              </a:extLst>
            </p:cNvPr>
            <p:cNvSpPr>
              <a:spLocks noChangeAspect="1"/>
            </p:cNvSpPr>
            <p:nvPr>
              <p:custDataLst>
                <p:tags r:id="rId58"/>
              </p:custDataLst>
            </p:nvPr>
          </p:nvSpPr>
          <p:spPr>
            <a:xfrm flipH="1">
              <a:off x="4311218" y="5636233"/>
              <a:ext cx="157349" cy="147366"/>
            </a:xfrm>
            <a:prstGeom prst="star5">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8" name="0/5 [0+]" hidden="1">
              <a:extLst>
                <a:ext uri="{FF2B5EF4-FFF2-40B4-BE49-F238E27FC236}">
                  <a16:creationId xmlns:a16="http://schemas.microsoft.com/office/drawing/2014/main" id="{FFBB5686-0662-4D13-8874-C46E84E98423}"/>
                </a:ext>
              </a:extLst>
            </p:cNvPr>
            <p:cNvSpPr>
              <a:spLocks noChangeAspect="1"/>
            </p:cNvSpPr>
            <p:nvPr>
              <p:custDataLst>
                <p:tags r:id="rId59"/>
              </p:custDataLst>
            </p:nvPr>
          </p:nvSpPr>
          <p:spPr>
            <a:xfrm flipH="1">
              <a:off x="4486567" y="5636233"/>
              <a:ext cx="157349" cy="147366"/>
            </a:xfrm>
            <a:prstGeom prst="star5">
              <a:avLst/>
            </a:prstGeom>
            <a:solidFill>
              <a:srgbClr val="D9D9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9" name="3/5 [3+]" hidden="1">
              <a:extLst>
                <a:ext uri="{FF2B5EF4-FFF2-40B4-BE49-F238E27FC236}">
                  <a16:creationId xmlns:a16="http://schemas.microsoft.com/office/drawing/2014/main" id="{515ECC8E-E4E5-4EDE-A45A-62C2E02D0E71}"/>
                </a:ext>
              </a:extLst>
            </p:cNvPr>
            <p:cNvSpPr>
              <a:spLocks noChangeAspect="1"/>
            </p:cNvSpPr>
            <p:nvPr>
              <p:custDataLst>
                <p:tags r:id="rId60"/>
              </p:custDataLst>
            </p:nvPr>
          </p:nvSpPr>
          <p:spPr>
            <a:xfrm flipH="1">
              <a:off x="4486567" y="5636233"/>
              <a:ext cx="157349" cy="147366"/>
            </a:xfrm>
            <a:prstGeom prst="star5">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0" name="0/5 [0+]" hidden="1">
              <a:extLst>
                <a:ext uri="{FF2B5EF4-FFF2-40B4-BE49-F238E27FC236}">
                  <a16:creationId xmlns:a16="http://schemas.microsoft.com/office/drawing/2014/main" id="{C81F4058-99A2-4D5B-8F1D-282E5EFBAA97}"/>
                </a:ext>
              </a:extLst>
            </p:cNvPr>
            <p:cNvSpPr>
              <a:spLocks noChangeAspect="1"/>
            </p:cNvSpPr>
            <p:nvPr>
              <p:custDataLst>
                <p:tags r:id="rId61"/>
              </p:custDataLst>
            </p:nvPr>
          </p:nvSpPr>
          <p:spPr>
            <a:xfrm flipH="1">
              <a:off x="4661916" y="5636233"/>
              <a:ext cx="157349" cy="147366"/>
            </a:xfrm>
            <a:prstGeom prst="star5">
              <a:avLst/>
            </a:prstGeom>
            <a:solidFill>
              <a:srgbClr val="D9D9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1" name="4/5 [4+]" hidden="1">
              <a:extLst>
                <a:ext uri="{FF2B5EF4-FFF2-40B4-BE49-F238E27FC236}">
                  <a16:creationId xmlns:a16="http://schemas.microsoft.com/office/drawing/2014/main" id="{D4E30DF6-87DE-439A-84D4-26C88F69A57A}"/>
                </a:ext>
              </a:extLst>
            </p:cNvPr>
            <p:cNvSpPr>
              <a:spLocks noChangeAspect="1"/>
            </p:cNvSpPr>
            <p:nvPr>
              <p:custDataLst>
                <p:tags r:id="rId62"/>
              </p:custDataLst>
            </p:nvPr>
          </p:nvSpPr>
          <p:spPr>
            <a:xfrm flipH="1">
              <a:off x="4661916" y="5636233"/>
              <a:ext cx="157349" cy="147366"/>
            </a:xfrm>
            <a:prstGeom prst="star5">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2" name="0/5 [0+]" hidden="1">
              <a:extLst>
                <a:ext uri="{FF2B5EF4-FFF2-40B4-BE49-F238E27FC236}">
                  <a16:creationId xmlns:a16="http://schemas.microsoft.com/office/drawing/2014/main" id="{6EBE269C-5B1A-42ED-9942-8EBD95B79670}"/>
                </a:ext>
              </a:extLst>
            </p:cNvPr>
            <p:cNvSpPr>
              <a:spLocks noChangeAspect="1"/>
            </p:cNvSpPr>
            <p:nvPr>
              <p:custDataLst>
                <p:tags r:id="rId63"/>
              </p:custDataLst>
            </p:nvPr>
          </p:nvSpPr>
          <p:spPr>
            <a:xfrm flipH="1">
              <a:off x="4837265" y="5636233"/>
              <a:ext cx="157349" cy="147366"/>
            </a:xfrm>
            <a:prstGeom prst="star5">
              <a:avLst/>
            </a:prstGeom>
            <a:solidFill>
              <a:schemeClr val="accent4">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3" name="5/5 [5+]" hidden="1">
              <a:extLst>
                <a:ext uri="{FF2B5EF4-FFF2-40B4-BE49-F238E27FC236}">
                  <a16:creationId xmlns:a16="http://schemas.microsoft.com/office/drawing/2014/main" id="{81497301-6364-4BA2-B203-C08052534F33}"/>
                </a:ext>
              </a:extLst>
            </p:cNvPr>
            <p:cNvSpPr>
              <a:spLocks noChangeAspect="1"/>
            </p:cNvSpPr>
            <p:nvPr>
              <p:custDataLst>
                <p:tags r:id="rId64"/>
              </p:custDataLst>
            </p:nvPr>
          </p:nvSpPr>
          <p:spPr>
            <a:xfrm flipH="1">
              <a:off x="4837265" y="5636233"/>
              <a:ext cx="157349" cy="147366"/>
            </a:xfrm>
            <a:prstGeom prst="star5">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grpSp>
        <p:nvGrpSpPr>
          <p:cNvPr id="54" name="Process 5 levels" hidden="1">
            <a:extLst>
              <a:ext uri="{FF2B5EF4-FFF2-40B4-BE49-F238E27FC236}">
                <a16:creationId xmlns:a16="http://schemas.microsoft.com/office/drawing/2014/main" id="{2457A7E2-DC8F-4498-886F-5CFDB8CE382B}"/>
              </a:ext>
            </a:extLst>
          </p:cNvPr>
          <p:cNvGrpSpPr>
            <a:grpSpLocks noChangeAspect="1"/>
          </p:cNvGrpSpPr>
          <p:nvPr userDrawn="1">
            <p:custDataLst>
              <p:tags r:id="rId24"/>
            </p:custDataLst>
          </p:nvPr>
        </p:nvGrpSpPr>
        <p:grpSpPr>
          <a:xfrm>
            <a:off x="12348308" y="1"/>
            <a:ext cx="1056917" cy="132473"/>
            <a:chOff x="5395333" y="5886483"/>
            <a:chExt cx="800265" cy="132473"/>
          </a:xfrm>
        </p:grpSpPr>
        <p:sp>
          <p:nvSpPr>
            <p:cNvPr id="55" name="0/5 [0+]" hidden="1">
              <a:extLst>
                <a:ext uri="{FF2B5EF4-FFF2-40B4-BE49-F238E27FC236}">
                  <a16:creationId xmlns:a16="http://schemas.microsoft.com/office/drawing/2014/main" id="{CA306ED3-8288-4C91-B7A4-C2EB45AA73C5}"/>
                </a:ext>
              </a:extLst>
            </p:cNvPr>
            <p:cNvSpPr>
              <a:spLocks noChangeAspect="1"/>
            </p:cNvSpPr>
            <p:nvPr>
              <p:custDataLst>
                <p:tags r:id="rId45"/>
              </p:custDataLst>
            </p:nvPr>
          </p:nvSpPr>
          <p:spPr>
            <a:xfrm>
              <a:off x="5395333" y="5886483"/>
              <a:ext cx="174452" cy="132473"/>
            </a:xfrm>
            <a:prstGeom prst="homePlate">
              <a:avLst>
                <a:gd name="adj" fmla="val 35062"/>
              </a:avLst>
            </a:prstGeom>
            <a:solidFill>
              <a:schemeClr val="bg1">
                <a:lumMod val="85000"/>
              </a:schemeClr>
            </a:solidFill>
            <a:ln w="19050" cmpd="sng">
              <a:noFill/>
            </a:ln>
          </p:spPr>
          <p:txBody>
            <a:bodyPr wrap="square" rtlCol="0" anchor="ctr">
              <a:noAutofit/>
            </a:bodyPr>
            <a:lstStyle/>
            <a:p>
              <a:pPr algn="ctr" eaLnBrk="1" fontAlgn="auto" hangingPunct="1">
                <a:spcBef>
                  <a:spcPts val="0"/>
                </a:spcBef>
                <a:spcAft>
                  <a:spcPts val="0"/>
                </a:spcAft>
              </a:pPr>
              <a:endParaRPr lang="en-US" sz="1600">
                <a:latin typeface="+mn-lt"/>
                <a:ea typeface="Open Sans" pitchFamily="34" charset="0"/>
                <a:cs typeface="Open Sans" pitchFamily="34" charset="0"/>
                <a:sym typeface="Wingdings" panose="05000000000000000000" pitchFamily="2" charset="2"/>
              </a:endParaRPr>
            </a:p>
          </p:txBody>
        </p:sp>
        <p:sp>
          <p:nvSpPr>
            <p:cNvPr id="56" name="1/5 [1]" hidden="1">
              <a:extLst>
                <a:ext uri="{FF2B5EF4-FFF2-40B4-BE49-F238E27FC236}">
                  <a16:creationId xmlns:a16="http://schemas.microsoft.com/office/drawing/2014/main" id="{9E26CFB9-3103-434D-82BA-804A6C58C4C1}"/>
                </a:ext>
              </a:extLst>
            </p:cNvPr>
            <p:cNvSpPr>
              <a:spLocks noChangeAspect="1"/>
            </p:cNvSpPr>
            <p:nvPr>
              <p:custDataLst>
                <p:tags r:id="rId46"/>
              </p:custDataLst>
            </p:nvPr>
          </p:nvSpPr>
          <p:spPr>
            <a:xfrm>
              <a:off x="5395333" y="5886483"/>
              <a:ext cx="174453" cy="132473"/>
            </a:xfrm>
            <a:prstGeom prst="homePlate">
              <a:avLst>
                <a:gd name="adj" fmla="val 35062"/>
              </a:avLst>
            </a:prstGeom>
            <a:solidFill>
              <a:schemeClr val="bg2"/>
            </a:solidFill>
            <a:ln w="19050" cmpd="sng">
              <a:noFill/>
            </a:ln>
          </p:spPr>
          <p:txBody>
            <a:bodyPr wrap="square" rtlCol="0" anchor="ctr">
              <a:noAutofit/>
            </a:bodyPr>
            <a:lstStyle/>
            <a:p>
              <a:pPr algn="ctr" eaLnBrk="1" fontAlgn="auto" hangingPunct="1">
                <a:spcBef>
                  <a:spcPts val="0"/>
                </a:spcBef>
                <a:spcAft>
                  <a:spcPts val="0"/>
                </a:spcAft>
              </a:pPr>
              <a:endParaRPr lang="en-US" sz="1600">
                <a:latin typeface="+mn-lt"/>
                <a:ea typeface="Open Sans" pitchFamily="34" charset="0"/>
                <a:cs typeface="Open Sans" pitchFamily="34" charset="0"/>
                <a:sym typeface="Wingdings" panose="05000000000000000000" pitchFamily="2" charset="2"/>
              </a:endParaRPr>
            </a:p>
          </p:txBody>
        </p:sp>
        <p:sp>
          <p:nvSpPr>
            <p:cNvPr id="57" name="0/5 [0+]" hidden="1">
              <a:extLst>
                <a:ext uri="{FF2B5EF4-FFF2-40B4-BE49-F238E27FC236}">
                  <a16:creationId xmlns:a16="http://schemas.microsoft.com/office/drawing/2014/main" id="{5AF31FF7-3F92-4BE6-A3F0-24F5F2399074}"/>
                </a:ext>
              </a:extLst>
            </p:cNvPr>
            <p:cNvSpPr>
              <a:spLocks noChangeAspect="1"/>
            </p:cNvSpPr>
            <p:nvPr>
              <p:custDataLst>
                <p:tags r:id="rId47"/>
              </p:custDataLst>
            </p:nvPr>
          </p:nvSpPr>
          <p:spPr>
            <a:xfrm>
              <a:off x="5551786" y="5886483"/>
              <a:ext cx="174452" cy="132473"/>
            </a:xfrm>
            <a:prstGeom prst="chevron">
              <a:avLst>
                <a:gd name="adj" fmla="val 35062"/>
              </a:avLst>
            </a:prstGeom>
            <a:solidFill>
              <a:schemeClr val="bg1">
                <a:lumMod val="85000"/>
              </a:schemeClr>
            </a:solidFill>
            <a:ln w="19050" cmpd="sng">
              <a:noFill/>
            </a:ln>
          </p:spPr>
          <p:txBody>
            <a:bodyPr wrap="square" rtlCol="0" anchor="ctr">
              <a:noAutofit/>
            </a:bodyPr>
            <a:lstStyle/>
            <a:p>
              <a:pPr algn="ctr" eaLnBrk="1" fontAlgn="auto" hangingPunct="1">
                <a:spcBef>
                  <a:spcPts val="0"/>
                </a:spcBef>
                <a:spcAft>
                  <a:spcPts val="0"/>
                </a:spcAft>
              </a:pPr>
              <a:endParaRPr lang="en-US" sz="1600">
                <a:latin typeface="+mn-lt"/>
                <a:ea typeface="Open Sans" pitchFamily="34" charset="0"/>
                <a:cs typeface="Open Sans" pitchFamily="34" charset="0"/>
                <a:sym typeface="Wingdings" panose="05000000000000000000" pitchFamily="2" charset="2"/>
              </a:endParaRPr>
            </a:p>
          </p:txBody>
        </p:sp>
        <p:sp>
          <p:nvSpPr>
            <p:cNvPr id="58" name="2/5 [2]" hidden="1">
              <a:extLst>
                <a:ext uri="{FF2B5EF4-FFF2-40B4-BE49-F238E27FC236}">
                  <a16:creationId xmlns:a16="http://schemas.microsoft.com/office/drawing/2014/main" id="{378A024B-AF6A-41A9-A5E4-706642D97D40}"/>
                </a:ext>
              </a:extLst>
            </p:cNvPr>
            <p:cNvSpPr>
              <a:spLocks noChangeAspect="1"/>
            </p:cNvSpPr>
            <p:nvPr>
              <p:custDataLst>
                <p:tags r:id="rId48"/>
              </p:custDataLst>
            </p:nvPr>
          </p:nvSpPr>
          <p:spPr>
            <a:xfrm>
              <a:off x="5551787" y="5886483"/>
              <a:ext cx="174453" cy="132473"/>
            </a:xfrm>
            <a:prstGeom prst="chevron">
              <a:avLst>
                <a:gd name="adj" fmla="val 35062"/>
              </a:avLst>
            </a:prstGeom>
            <a:solidFill>
              <a:schemeClr val="bg2"/>
            </a:solidFill>
            <a:ln w="19050" cmpd="sng">
              <a:noFill/>
            </a:ln>
          </p:spPr>
          <p:txBody>
            <a:bodyPr wrap="square" rtlCol="0" anchor="ctr">
              <a:noAutofit/>
            </a:bodyPr>
            <a:lstStyle/>
            <a:p>
              <a:pPr algn="ctr" eaLnBrk="1" fontAlgn="auto" hangingPunct="1">
                <a:spcBef>
                  <a:spcPts val="0"/>
                </a:spcBef>
                <a:spcAft>
                  <a:spcPts val="0"/>
                </a:spcAft>
              </a:pPr>
              <a:endParaRPr lang="en-US" sz="1600">
                <a:latin typeface="+mn-lt"/>
                <a:ea typeface="Open Sans" pitchFamily="34" charset="0"/>
                <a:cs typeface="Open Sans" pitchFamily="34" charset="0"/>
                <a:sym typeface="Wingdings" panose="05000000000000000000" pitchFamily="2" charset="2"/>
              </a:endParaRPr>
            </a:p>
          </p:txBody>
        </p:sp>
        <p:sp>
          <p:nvSpPr>
            <p:cNvPr id="59" name="0/5 [0+]" hidden="1">
              <a:extLst>
                <a:ext uri="{FF2B5EF4-FFF2-40B4-BE49-F238E27FC236}">
                  <a16:creationId xmlns:a16="http://schemas.microsoft.com/office/drawing/2014/main" id="{894468F6-A872-409E-9157-BEE4C3CC8107}"/>
                </a:ext>
              </a:extLst>
            </p:cNvPr>
            <p:cNvSpPr>
              <a:spLocks noChangeAspect="1"/>
            </p:cNvSpPr>
            <p:nvPr>
              <p:custDataLst>
                <p:tags r:id="rId49"/>
              </p:custDataLst>
            </p:nvPr>
          </p:nvSpPr>
          <p:spPr>
            <a:xfrm>
              <a:off x="5708240" y="5886483"/>
              <a:ext cx="174452" cy="132473"/>
            </a:xfrm>
            <a:prstGeom prst="chevron">
              <a:avLst>
                <a:gd name="adj" fmla="val 35062"/>
              </a:avLst>
            </a:prstGeom>
            <a:solidFill>
              <a:schemeClr val="bg1">
                <a:lumMod val="85000"/>
              </a:schemeClr>
            </a:solidFill>
            <a:ln w="19050" cmpd="sng">
              <a:noFill/>
            </a:ln>
          </p:spPr>
          <p:txBody>
            <a:bodyPr wrap="square" rtlCol="0" anchor="ctr">
              <a:noAutofit/>
            </a:bodyPr>
            <a:lstStyle/>
            <a:p>
              <a:pPr algn="ctr" eaLnBrk="1" fontAlgn="auto" hangingPunct="1">
                <a:spcBef>
                  <a:spcPts val="0"/>
                </a:spcBef>
                <a:spcAft>
                  <a:spcPts val="0"/>
                </a:spcAft>
              </a:pPr>
              <a:endParaRPr lang="en-US" sz="1600">
                <a:latin typeface="+mn-lt"/>
                <a:ea typeface="Open Sans" pitchFamily="34" charset="0"/>
                <a:cs typeface="Open Sans" pitchFamily="34" charset="0"/>
                <a:sym typeface="Wingdings" panose="05000000000000000000" pitchFamily="2" charset="2"/>
              </a:endParaRPr>
            </a:p>
          </p:txBody>
        </p:sp>
        <p:sp>
          <p:nvSpPr>
            <p:cNvPr id="60" name="3/5 [3]" hidden="1">
              <a:extLst>
                <a:ext uri="{FF2B5EF4-FFF2-40B4-BE49-F238E27FC236}">
                  <a16:creationId xmlns:a16="http://schemas.microsoft.com/office/drawing/2014/main" id="{0F7AD621-D645-4C5D-A79F-5A849BCFD634}"/>
                </a:ext>
              </a:extLst>
            </p:cNvPr>
            <p:cNvSpPr>
              <a:spLocks noChangeAspect="1"/>
            </p:cNvSpPr>
            <p:nvPr>
              <p:custDataLst>
                <p:tags r:id="rId50"/>
              </p:custDataLst>
            </p:nvPr>
          </p:nvSpPr>
          <p:spPr>
            <a:xfrm>
              <a:off x="5708240" y="5886483"/>
              <a:ext cx="174452" cy="132473"/>
            </a:xfrm>
            <a:prstGeom prst="chevron">
              <a:avLst>
                <a:gd name="adj" fmla="val 35062"/>
              </a:avLst>
            </a:prstGeom>
            <a:solidFill>
              <a:srgbClr val="002060"/>
            </a:solidFill>
            <a:ln w="19050" cmpd="sng">
              <a:noFill/>
            </a:ln>
          </p:spPr>
          <p:txBody>
            <a:bodyPr wrap="square" rtlCol="0" anchor="ctr">
              <a:noAutofit/>
            </a:bodyPr>
            <a:lstStyle/>
            <a:p>
              <a:pPr algn="ctr" eaLnBrk="1" fontAlgn="auto" hangingPunct="1">
                <a:spcBef>
                  <a:spcPts val="0"/>
                </a:spcBef>
                <a:spcAft>
                  <a:spcPts val="0"/>
                </a:spcAft>
              </a:pPr>
              <a:endParaRPr lang="en-US" sz="1600">
                <a:latin typeface="+mn-lt"/>
                <a:ea typeface="Open Sans" pitchFamily="34" charset="0"/>
                <a:cs typeface="Open Sans" pitchFamily="34" charset="0"/>
                <a:sym typeface="Wingdings" panose="05000000000000000000" pitchFamily="2" charset="2"/>
              </a:endParaRPr>
            </a:p>
          </p:txBody>
        </p:sp>
        <p:sp>
          <p:nvSpPr>
            <p:cNvPr id="61" name="0/5 [0+]" hidden="1">
              <a:extLst>
                <a:ext uri="{FF2B5EF4-FFF2-40B4-BE49-F238E27FC236}">
                  <a16:creationId xmlns:a16="http://schemas.microsoft.com/office/drawing/2014/main" id="{63131E32-CD3D-44E1-A4C7-CA1C14C86A44}"/>
                </a:ext>
              </a:extLst>
            </p:cNvPr>
            <p:cNvSpPr>
              <a:spLocks noChangeAspect="1"/>
            </p:cNvSpPr>
            <p:nvPr>
              <p:custDataLst>
                <p:tags r:id="rId51"/>
              </p:custDataLst>
            </p:nvPr>
          </p:nvSpPr>
          <p:spPr>
            <a:xfrm>
              <a:off x="5864692" y="5886483"/>
              <a:ext cx="174452" cy="132473"/>
            </a:xfrm>
            <a:prstGeom prst="chevron">
              <a:avLst>
                <a:gd name="adj" fmla="val 35062"/>
              </a:avLst>
            </a:prstGeom>
            <a:solidFill>
              <a:schemeClr val="bg1">
                <a:lumMod val="85000"/>
              </a:schemeClr>
            </a:solidFill>
            <a:ln w="19050" cmpd="sng">
              <a:noFill/>
            </a:ln>
          </p:spPr>
          <p:txBody>
            <a:bodyPr wrap="square" rtlCol="0" anchor="ctr">
              <a:noAutofit/>
            </a:bodyPr>
            <a:lstStyle/>
            <a:p>
              <a:pPr algn="ctr" eaLnBrk="1" fontAlgn="auto" hangingPunct="1">
                <a:spcBef>
                  <a:spcPts val="0"/>
                </a:spcBef>
                <a:spcAft>
                  <a:spcPts val="0"/>
                </a:spcAft>
              </a:pPr>
              <a:endParaRPr lang="en-US" sz="1600">
                <a:latin typeface="+mn-lt"/>
                <a:ea typeface="Open Sans" pitchFamily="34" charset="0"/>
                <a:cs typeface="Open Sans" pitchFamily="34" charset="0"/>
                <a:sym typeface="Wingdings" panose="05000000000000000000" pitchFamily="2" charset="2"/>
              </a:endParaRPr>
            </a:p>
          </p:txBody>
        </p:sp>
        <p:sp>
          <p:nvSpPr>
            <p:cNvPr id="62" name="4/5 [4]" hidden="1">
              <a:extLst>
                <a:ext uri="{FF2B5EF4-FFF2-40B4-BE49-F238E27FC236}">
                  <a16:creationId xmlns:a16="http://schemas.microsoft.com/office/drawing/2014/main" id="{22C4F8F2-7586-43E8-A2D8-5BB35F572D4D}"/>
                </a:ext>
              </a:extLst>
            </p:cNvPr>
            <p:cNvSpPr>
              <a:spLocks noChangeAspect="1"/>
            </p:cNvSpPr>
            <p:nvPr>
              <p:custDataLst>
                <p:tags r:id="rId52"/>
              </p:custDataLst>
            </p:nvPr>
          </p:nvSpPr>
          <p:spPr>
            <a:xfrm>
              <a:off x="5864693" y="5886483"/>
              <a:ext cx="174453" cy="132473"/>
            </a:xfrm>
            <a:prstGeom prst="chevron">
              <a:avLst>
                <a:gd name="adj" fmla="val 35062"/>
              </a:avLst>
            </a:prstGeom>
            <a:solidFill>
              <a:srgbClr val="002060"/>
            </a:solidFill>
            <a:ln w="19050" cmpd="sng">
              <a:noFill/>
            </a:ln>
          </p:spPr>
          <p:txBody>
            <a:bodyPr wrap="square" rtlCol="0" anchor="ctr">
              <a:noAutofit/>
            </a:bodyPr>
            <a:lstStyle/>
            <a:p>
              <a:pPr algn="ctr" eaLnBrk="1" fontAlgn="auto" hangingPunct="1">
                <a:spcBef>
                  <a:spcPts val="0"/>
                </a:spcBef>
                <a:spcAft>
                  <a:spcPts val="0"/>
                </a:spcAft>
              </a:pPr>
              <a:endParaRPr lang="en-US" sz="1600">
                <a:latin typeface="+mn-lt"/>
                <a:ea typeface="Open Sans" pitchFamily="34" charset="0"/>
                <a:cs typeface="Open Sans" pitchFamily="34" charset="0"/>
                <a:sym typeface="Wingdings" panose="05000000000000000000" pitchFamily="2" charset="2"/>
              </a:endParaRPr>
            </a:p>
          </p:txBody>
        </p:sp>
        <p:sp>
          <p:nvSpPr>
            <p:cNvPr id="63" name="0/5 [0+]" hidden="1">
              <a:extLst>
                <a:ext uri="{FF2B5EF4-FFF2-40B4-BE49-F238E27FC236}">
                  <a16:creationId xmlns:a16="http://schemas.microsoft.com/office/drawing/2014/main" id="{9E05FA5D-7BA4-4BA0-8B9C-AC4EFE1AF8B5}"/>
                </a:ext>
              </a:extLst>
            </p:cNvPr>
            <p:cNvSpPr>
              <a:spLocks noChangeAspect="1"/>
            </p:cNvSpPr>
            <p:nvPr>
              <p:custDataLst>
                <p:tags r:id="rId53"/>
              </p:custDataLst>
            </p:nvPr>
          </p:nvSpPr>
          <p:spPr>
            <a:xfrm>
              <a:off x="6021146" y="5886483"/>
              <a:ext cx="174452" cy="132473"/>
            </a:xfrm>
            <a:prstGeom prst="chevron">
              <a:avLst>
                <a:gd name="adj" fmla="val 35062"/>
              </a:avLst>
            </a:prstGeom>
            <a:solidFill>
              <a:schemeClr val="bg1">
                <a:lumMod val="85000"/>
              </a:schemeClr>
            </a:solidFill>
            <a:ln w="19050" cmpd="sng">
              <a:noFill/>
            </a:ln>
          </p:spPr>
          <p:txBody>
            <a:bodyPr wrap="square" rtlCol="0" anchor="ctr">
              <a:noAutofit/>
            </a:bodyPr>
            <a:lstStyle/>
            <a:p>
              <a:pPr algn="ctr" eaLnBrk="1" fontAlgn="auto" hangingPunct="1">
                <a:spcBef>
                  <a:spcPts val="0"/>
                </a:spcBef>
                <a:spcAft>
                  <a:spcPts val="0"/>
                </a:spcAft>
              </a:pPr>
              <a:endParaRPr lang="en-US" sz="1600">
                <a:latin typeface="+mn-lt"/>
                <a:ea typeface="Open Sans" pitchFamily="34" charset="0"/>
                <a:cs typeface="Open Sans" pitchFamily="34" charset="0"/>
                <a:sym typeface="Wingdings" panose="05000000000000000000" pitchFamily="2" charset="2"/>
              </a:endParaRPr>
            </a:p>
          </p:txBody>
        </p:sp>
        <p:sp>
          <p:nvSpPr>
            <p:cNvPr id="64" name="5/5 [5]" hidden="1">
              <a:extLst>
                <a:ext uri="{FF2B5EF4-FFF2-40B4-BE49-F238E27FC236}">
                  <a16:creationId xmlns:a16="http://schemas.microsoft.com/office/drawing/2014/main" id="{ABBE7AB6-20DD-4C20-A502-F0A610387AAD}"/>
                </a:ext>
              </a:extLst>
            </p:cNvPr>
            <p:cNvSpPr>
              <a:spLocks noChangeAspect="1"/>
            </p:cNvSpPr>
            <p:nvPr>
              <p:custDataLst>
                <p:tags r:id="rId54"/>
              </p:custDataLst>
            </p:nvPr>
          </p:nvSpPr>
          <p:spPr>
            <a:xfrm>
              <a:off x="6021146" y="5886483"/>
              <a:ext cx="174452" cy="132473"/>
            </a:xfrm>
            <a:prstGeom prst="chevron">
              <a:avLst>
                <a:gd name="adj" fmla="val 35062"/>
              </a:avLst>
            </a:prstGeom>
            <a:solidFill>
              <a:srgbClr val="002060"/>
            </a:solidFill>
            <a:ln w="19050" cmpd="sng">
              <a:noFill/>
            </a:ln>
          </p:spPr>
          <p:txBody>
            <a:bodyPr wrap="square" rtlCol="0" anchor="ctr">
              <a:noAutofit/>
            </a:bodyPr>
            <a:lstStyle/>
            <a:p>
              <a:pPr algn="ctr" eaLnBrk="1" fontAlgn="auto" hangingPunct="1">
                <a:spcBef>
                  <a:spcPts val="0"/>
                </a:spcBef>
                <a:spcAft>
                  <a:spcPts val="0"/>
                </a:spcAft>
              </a:pPr>
              <a:endParaRPr lang="en-US" sz="1600">
                <a:latin typeface="+mn-lt"/>
                <a:ea typeface="Open Sans" pitchFamily="34" charset="0"/>
                <a:cs typeface="Open Sans" pitchFamily="34" charset="0"/>
                <a:sym typeface="Wingdings" panose="05000000000000000000" pitchFamily="2" charset="2"/>
              </a:endParaRPr>
            </a:p>
          </p:txBody>
        </p:sp>
      </p:grpSp>
      <p:grpSp>
        <p:nvGrpSpPr>
          <p:cNvPr id="65" name="Arrow" hidden="1">
            <a:extLst>
              <a:ext uri="{FF2B5EF4-FFF2-40B4-BE49-F238E27FC236}">
                <a16:creationId xmlns:a16="http://schemas.microsoft.com/office/drawing/2014/main" id="{FBB3F0BE-6E34-4F0E-8AFF-E79C08B812E5}"/>
              </a:ext>
            </a:extLst>
          </p:cNvPr>
          <p:cNvGrpSpPr>
            <a:grpSpLocks noChangeAspect="1"/>
          </p:cNvGrpSpPr>
          <p:nvPr userDrawn="1">
            <p:custDataLst>
              <p:tags r:id="rId25"/>
            </p:custDataLst>
          </p:nvPr>
        </p:nvGrpSpPr>
        <p:grpSpPr>
          <a:xfrm>
            <a:off x="12348308" y="1"/>
            <a:ext cx="372292" cy="316149"/>
            <a:chOff x="2721031" y="5485235"/>
            <a:chExt cx="302487" cy="316149"/>
          </a:xfrm>
        </p:grpSpPr>
        <p:sp>
          <p:nvSpPr>
            <p:cNvPr id="66" name="Arrow [0]" hidden="1">
              <a:extLst>
                <a:ext uri="{FF2B5EF4-FFF2-40B4-BE49-F238E27FC236}">
                  <a16:creationId xmlns:a16="http://schemas.microsoft.com/office/drawing/2014/main" id="{2B13724E-B0AB-4F74-9195-0ED12615FDBF}"/>
                </a:ext>
              </a:extLst>
            </p:cNvPr>
            <p:cNvSpPr>
              <a:spLocks noChangeAspect="1"/>
            </p:cNvSpPr>
            <p:nvPr>
              <p:custDataLst>
                <p:tags r:id="rId37"/>
              </p:custDataLst>
            </p:nvPr>
          </p:nvSpPr>
          <p:spPr bwMode="gray">
            <a:xfrm>
              <a:off x="2781220" y="5491238"/>
              <a:ext cx="206967" cy="277630"/>
            </a:xfrm>
            <a:custGeom>
              <a:avLst/>
              <a:gdLst>
                <a:gd name="T0" fmla="*/ 225 w 227"/>
                <a:gd name="T1" fmla="*/ 117 h 304"/>
                <a:gd name="T2" fmla="*/ 115 w 227"/>
                <a:gd name="T3" fmla="*/ 2 h 304"/>
                <a:gd name="T4" fmla="*/ 112 w 227"/>
                <a:gd name="T5" fmla="*/ 2 h 304"/>
                <a:gd name="T6" fmla="*/ 0 w 227"/>
                <a:gd name="T7" fmla="*/ 145 h 304"/>
                <a:gd name="T8" fmla="*/ 47 w 227"/>
                <a:gd name="T9" fmla="*/ 153 h 304"/>
                <a:gd name="T10" fmla="*/ 88 w 227"/>
                <a:gd name="T11" fmla="*/ 112 h 304"/>
                <a:gd name="T12" fmla="*/ 79 w 227"/>
                <a:gd name="T13" fmla="*/ 298 h 304"/>
                <a:gd name="T14" fmla="*/ 124 w 227"/>
                <a:gd name="T15" fmla="*/ 291 h 304"/>
                <a:gd name="T16" fmla="*/ 135 w 227"/>
                <a:gd name="T17" fmla="*/ 105 h 304"/>
                <a:gd name="T18" fmla="*/ 193 w 227"/>
                <a:gd name="T19" fmla="*/ 156 h 304"/>
                <a:gd name="T20" fmla="*/ 221 w 227"/>
                <a:gd name="T21" fmla="*/ 127 h 304"/>
                <a:gd name="T22" fmla="*/ 225 w 227"/>
                <a:gd name="T23" fmla="*/ 11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304">
                  <a:moveTo>
                    <a:pt x="225" y="117"/>
                  </a:moveTo>
                  <a:cubicBezTo>
                    <a:pt x="156" y="77"/>
                    <a:pt x="123" y="13"/>
                    <a:pt x="115" y="2"/>
                  </a:cubicBezTo>
                  <a:cubicBezTo>
                    <a:pt x="114" y="0"/>
                    <a:pt x="112" y="2"/>
                    <a:pt x="112" y="2"/>
                  </a:cubicBezTo>
                  <a:cubicBezTo>
                    <a:pt x="80" y="56"/>
                    <a:pt x="43" y="101"/>
                    <a:pt x="0" y="145"/>
                  </a:cubicBezTo>
                  <a:cubicBezTo>
                    <a:pt x="18" y="154"/>
                    <a:pt x="35" y="155"/>
                    <a:pt x="47" y="153"/>
                  </a:cubicBezTo>
                  <a:cubicBezTo>
                    <a:pt x="63" y="139"/>
                    <a:pt x="77" y="125"/>
                    <a:pt x="88" y="112"/>
                  </a:cubicBezTo>
                  <a:cubicBezTo>
                    <a:pt x="84" y="173"/>
                    <a:pt x="74" y="295"/>
                    <a:pt x="79" y="298"/>
                  </a:cubicBezTo>
                  <a:cubicBezTo>
                    <a:pt x="87" y="304"/>
                    <a:pt x="124" y="297"/>
                    <a:pt x="124" y="291"/>
                  </a:cubicBezTo>
                  <a:cubicBezTo>
                    <a:pt x="120" y="269"/>
                    <a:pt x="133" y="160"/>
                    <a:pt x="135" y="105"/>
                  </a:cubicBezTo>
                  <a:cubicBezTo>
                    <a:pt x="153" y="128"/>
                    <a:pt x="172" y="148"/>
                    <a:pt x="193" y="156"/>
                  </a:cubicBezTo>
                  <a:cubicBezTo>
                    <a:pt x="200" y="159"/>
                    <a:pt x="221" y="127"/>
                    <a:pt x="221" y="127"/>
                  </a:cubicBezTo>
                  <a:cubicBezTo>
                    <a:pt x="221" y="127"/>
                    <a:pt x="227" y="119"/>
                    <a:pt x="225" y="11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a:p>
          </p:txBody>
        </p:sp>
        <p:sp>
          <p:nvSpPr>
            <p:cNvPr id="67" name="Arrow [1]" hidden="1">
              <a:extLst>
                <a:ext uri="{FF2B5EF4-FFF2-40B4-BE49-F238E27FC236}">
                  <a16:creationId xmlns:a16="http://schemas.microsoft.com/office/drawing/2014/main" id="{66AE8B5E-E3B8-42D8-B502-B22CC52702F4}"/>
                </a:ext>
              </a:extLst>
            </p:cNvPr>
            <p:cNvSpPr>
              <a:spLocks noChangeAspect="1"/>
            </p:cNvSpPr>
            <p:nvPr>
              <p:custDataLst>
                <p:tags r:id="rId38"/>
              </p:custDataLst>
            </p:nvPr>
          </p:nvSpPr>
          <p:spPr bwMode="gray">
            <a:xfrm rot="2700000">
              <a:off x="2781219" y="5491238"/>
              <a:ext cx="206967" cy="277630"/>
            </a:xfrm>
            <a:custGeom>
              <a:avLst/>
              <a:gdLst>
                <a:gd name="T0" fmla="*/ 225 w 227"/>
                <a:gd name="T1" fmla="*/ 117 h 304"/>
                <a:gd name="T2" fmla="*/ 115 w 227"/>
                <a:gd name="T3" fmla="*/ 2 h 304"/>
                <a:gd name="T4" fmla="*/ 112 w 227"/>
                <a:gd name="T5" fmla="*/ 2 h 304"/>
                <a:gd name="T6" fmla="*/ 0 w 227"/>
                <a:gd name="T7" fmla="*/ 145 h 304"/>
                <a:gd name="T8" fmla="*/ 47 w 227"/>
                <a:gd name="T9" fmla="*/ 153 h 304"/>
                <a:gd name="T10" fmla="*/ 88 w 227"/>
                <a:gd name="T11" fmla="*/ 112 h 304"/>
                <a:gd name="T12" fmla="*/ 79 w 227"/>
                <a:gd name="T13" fmla="*/ 298 h 304"/>
                <a:gd name="T14" fmla="*/ 124 w 227"/>
                <a:gd name="T15" fmla="*/ 291 h 304"/>
                <a:gd name="T16" fmla="*/ 135 w 227"/>
                <a:gd name="T17" fmla="*/ 105 h 304"/>
                <a:gd name="T18" fmla="*/ 193 w 227"/>
                <a:gd name="T19" fmla="*/ 156 h 304"/>
                <a:gd name="T20" fmla="*/ 221 w 227"/>
                <a:gd name="T21" fmla="*/ 127 h 304"/>
                <a:gd name="T22" fmla="*/ 225 w 227"/>
                <a:gd name="T23" fmla="*/ 11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304">
                  <a:moveTo>
                    <a:pt x="225" y="117"/>
                  </a:moveTo>
                  <a:cubicBezTo>
                    <a:pt x="156" y="77"/>
                    <a:pt x="123" y="13"/>
                    <a:pt x="115" y="2"/>
                  </a:cubicBezTo>
                  <a:cubicBezTo>
                    <a:pt x="114" y="0"/>
                    <a:pt x="112" y="2"/>
                    <a:pt x="112" y="2"/>
                  </a:cubicBezTo>
                  <a:cubicBezTo>
                    <a:pt x="80" y="56"/>
                    <a:pt x="43" y="101"/>
                    <a:pt x="0" y="145"/>
                  </a:cubicBezTo>
                  <a:cubicBezTo>
                    <a:pt x="18" y="154"/>
                    <a:pt x="35" y="155"/>
                    <a:pt x="47" y="153"/>
                  </a:cubicBezTo>
                  <a:cubicBezTo>
                    <a:pt x="63" y="139"/>
                    <a:pt x="77" y="125"/>
                    <a:pt x="88" y="112"/>
                  </a:cubicBezTo>
                  <a:cubicBezTo>
                    <a:pt x="84" y="173"/>
                    <a:pt x="74" y="295"/>
                    <a:pt x="79" y="298"/>
                  </a:cubicBezTo>
                  <a:cubicBezTo>
                    <a:pt x="87" y="304"/>
                    <a:pt x="124" y="297"/>
                    <a:pt x="124" y="291"/>
                  </a:cubicBezTo>
                  <a:cubicBezTo>
                    <a:pt x="120" y="269"/>
                    <a:pt x="133" y="160"/>
                    <a:pt x="135" y="105"/>
                  </a:cubicBezTo>
                  <a:cubicBezTo>
                    <a:pt x="153" y="128"/>
                    <a:pt x="172" y="148"/>
                    <a:pt x="193" y="156"/>
                  </a:cubicBezTo>
                  <a:cubicBezTo>
                    <a:pt x="200" y="159"/>
                    <a:pt x="221" y="127"/>
                    <a:pt x="221" y="127"/>
                  </a:cubicBezTo>
                  <a:cubicBezTo>
                    <a:pt x="221" y="127"/>
                    <a:pt x="227" y="119"/>
                    <a:pt x="225" y="11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a:p>
          </p:txBody>
        </p:sp>
        <p:sp>
          <p:nvSpPr>
            <p:cNvPr id="68" name="Arrow [2]" hidden="1">
              <a:extLst>
                <a:ext uri="{FF2B5EF4-FFF2-40B4-BE49-F238E27FC236}">
                  <a16:creationId xmlns:a16="http://schemas.microsoft.com/office/drawing/2014/main" id="{3FE08F67-845E-430D-AE30-5B775C6908B6}"/>
                </a:ext>
              </a:extLst>
            </p:cNvPr>
            <p:cNvSpPr>
              <a:spLocks noChangeAspect="1"/>
            </p:cNvSpPr>
            <p:nvPr>
              <p:custDataLst>
                <p:tags r:id="rId39"/>
              </p:custDataLst>
            </p:nvPr>
          </p:nvSpPr>
          <p:spPr bwMode="gray">
            <a:xfrm rot="5400000">
              <a:off x="2781218" y="5491238"/>
              <a:ext cx="206967" cy="277630"/>
            </a:xfrm>
            <a:custGeom>
              <a:avLst/>
              <a:gdLst>
                <a:gd name="T0" fmla="*/ 225 w 227"/>
                <a:gd name="T1" fmla="*/ 117 h 304"/>
                <a:gd name="T2" fmla="*/ 115 w 227"/>
                <a:gd name="T3" fmla="*/ 2 h 304"/>
                <a:gd name="T4" fmla="*/ 112 w 227"/>
                <a:gd name="T5" fmla="*/ 2 h 304"/>
                <a:gd name="T6" fmla="*/ 0 w 227"/>
                <a:gd name="T7" fmla="*/ 145 h 304"/>
                <a:gd name="T8" fmla="*/ 47 w 227"/>
                <a:gd name="T9" fmla="*/ 153 h 304"/>
                <a:gd name="T10" fmla="*/ 88 w 227"/>
                <a:gd name="T11" fmla="*/ 112 h 304"/>
                <a:gd name="T12" fmla="*/ 79 w 227"/>
                <a:gd name="T13" fmla="*/ 298 h 304"/>
                <a:gd name="T14" fmla="*/ 124 w 227"/>
                <a:gd name="T15" fmla="*/ 291 h 304"/>
                <a:gd name="T16" fmla="*/ 135 w 227"/>
                <a:gd name="T17" fmla="*/ 105 h 304"/>
                <a:gd name="T18" fmla="*/ 193 w 227"/>
                <a:gd name="T19" fmla="*/ 156 h 304"/>
                <a:gd name="T20" fmla="*/ 221 w 227"/>
                <a:gd name="T21" fmla="*/ 127 h 304"/>
                <a:gd name="T22" fmla="*/ 225 w 227"/>
                <a:gd name="T23" fmla="*/ 11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304">
                  <a:moveTo>
                    <a:pt x="225" y="117"/>
                  </a:moveTo>
                  <a:cubicBezTo>
                    <a:pt x="156" y="77"/>
                    <a:pt x="123" y="13"/>
                    <a:pt x="115" y="2"/>
                  </a:cubicBezTo>
                  <a:cubicBezTo>
                    <a:pt x="114" y="0"/>
                    <a:pt x="112" y="2"/>
                    <a:pt x="112" y="2"/>
                  </a:cubicBezTo>
                  <a:cubicBezTo>
                    <a:pt x="80" y="56"/>
                    <a:pt x="43" y="101"/>
                    <a:pt x="0" y="145"/>
                  </a:cubicBezTo>
                  <a:cubicBezTo>
                    <a:pt x="18" y="154"/>
                    <a:pt x="35" y="155"/>
                    <a:pt x="47" y="153"/>
                  </a:cubicBezTo>
                  <a:cubicBezTo>
                    <a:pt x="63" y="139"/>
                    <a:pt x="77" y="125"/>
                    <a:pt x="88" y="112"/>
                  </a:cubicBezTo>
                  <a:cubicBezTo>
                    <a:pt x="84" y="173"/>
                    <a:pt x="74" y="295"/>
                    <a:pt x="79" y="298"/>
                  </a:cubicBezTo>
                  <a:cubicBezTo>
                    <a:pt x="87" y="304"/>
                    <a:pt x="124" y="297"/>
                    <a:pt x="124" y="291"/>
                  </a:cubicBezTo>
                  <a:cubicBezTo>
                    <a:pt x="120" y="269"/>
                    <a:pt x="133" y="160"/>
                    <a:pt x="135" y="105"/>
                  </a:cubicBezTo>
                  <a:cubicBezTo>
                    <a:pt x="153" y="128"/>
                    <a:pt x="172" y="148"/>
                    <a:pt x="193" y="156"/>
                  </a:cubicBezTo>
                  <a:cubicBezTo>
                    <a:pt x="200" y="159"/>
                    <a:pt x="221" y="127"/>
                    <a:pt x="221" y="127"/>
                  </a:cubicBezTo>
                  <a:cubicBezTo>
                    <a:pt x="221" y="127"/>
                    <a:pt x="227" y="119"/>
                    <a:pt x="225" y="11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a:p>
          </p:txBody>
        </p:sp>
        <p:sp>
          <p:nvSpPr>
            <p:cNvPr id="69" name="Arrow [3]" hidden="1">
              <a:extLst>
                <a:ext uri="{FF2B5EF4-FFF2-40B4-BE49-F238E27FC236}">
                  <a16:creationId xmlns:a16="http://schemas.microsoft.com/office/drawing/2014/main" id="{7859ED26-D6F0-4F4E-8B4A-C90742E68DB4}"/>
                </a:ext>
              </a:extLst>
            </p:cNvPr>
            <p:cNvSpPr>
              <a:spLocks noChangeAspect="1"/>
            </p:cNvSpPr>
            <p:nvPr>
              <p:custDataLst>
                <p:tags r:id="rId40"/>
              </p:custDataLst>
            </p:nvPr>
          </p:nvSpPr>
          <p:spPr bwMode="gray">
            <a:xfrm rot="8100000">
              <a:off x="2806075" y="5485235"/>
              <a:ext cx="206967" cy="277630"/>
            </a:xfrm>
            <a:custGeom>
              <a:avLst/>
              <a:gdLst>
                <a:gd name="T0" fmla="*/ 225 w 227"/>
                <a:gd name="T1" fmla="*/ 117 h 304"/>
                <a:gd name="T2" fmla="*/ 115 w 227"/>
                <a:gd name="T3" fmla="*/ 2 h 304"/>
                <a:gd name="T4" fmla="*/ 112 w 227"/>
                <a:gd name="T5" fmla="*/ 2 h 304"/>
                <a:gd name="T6" fmla="*/ 0 w 227"/>
                <a:gd name="T7" fmla="*/ 145 h 304"/>
                <a:gd name="T8" fmla="*/ 47 w 227"/>
                <a:gd name="T9" fmla="*/ 153 h 304"/>
                <a:gd name="T10" fmla="*/ 88 w 227"/>
                <a:gd name="T11" fmla="*/ 112 h 304"/>
                <a:gd name="T12" fmla="*/ 79 w 227"/>
                <a:gd name="T13" fmla="*/ 298 h 304"/>
                <a:gd name="T14" fmla="*/ 124 w 227"/>
                <a:gd name="T15" fmla="*/ 291 h 304"/>
                <a:gd name="T16" fmla="*/ 135 w 227"/>
                <a:gd name="T17" fmla="*/ 105 h 304"/>
                <a:gd name="T18" fmla="*/ 193 w 227"/>
                <a:gd name="T19" fmla="*/ 156 h 304"/>
                <a:gd name="T20" fmla="*/ 221 w 227"/>
                <a:gd name="T21" fmla="*/ 127 h 304"/>
                <a:gd name="T22" fmla="*/ 225 w 227"/>
                <a:gd name="T23" fmla="*/ 11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304">
                  <a:moveTo>
                    <a:pt x="225" y="117"/>
                  </a:moveTo>
                  <a:cubicBezTo>
                    <a:pt x="156" y="77"/>
                    <a:pt x="123" y="13"/>
                    <a:pt x="115" y="2"/>
                  </a:cubicBezTo>
                  <a:cubicBezTo>
                    <a:pt x="114" y="0"/>
                    <a:pt x="112" y="2"/>
                    <a:pt x="112" y="2"/>
                  </a:cubicBezTo>
                  <a:cubicBezTo>
                    <a:pt x="80" y="56"/>
                    <a:pt x="43" y="101"/>
                    <a:pt x="0" y="145"/>
                  </a:cubicBezTo>
                  <a:cubicBezTo>
                    <a:pt x="18" y="154"/>
                    <a:pt x="35" y="155"/>
                    <a:pt x="47" y="153"/>
                  </a:cubicBezTo>
                  <a:cubicBezTo>
                    <a:pt x="63" y="139"/>
                    <a:pt x="77" y="125"/>
                    <a:pt x="88" y="112"/>
                  </a:cubicBezTo>
                  <a:cubicBezTo>
                    <a:pt x="84" y="173"/>
                    <a:pt x="74" y="295"/>
                    <a:pt x="79" y="298"/>
                  </a:cubicBezTo>
                  <a:cubicBezTo>
                    <a:pt x="87" y="304"/>
                    <a:pt x="124" y="297"/>
                    <a:pt x="124" y="291"/>
                  </a:cubicBezTo>
                  <a:cubicBezTo>
                    <a:pt x="120" y="269"/>
                    <a:pt x="133" y="160"/>
                    <a:pt x="135" y="105"/>
                  </a:cubicBezTo>
                  <a:cubicBezTo>
                    <a:pt x="153" y="128"/>
                    <a:pt x="172" y="148"/>
                    <a:pt x="193" y="156"/>
                  </a:cubicBezTo>
                  <a:cubicBezTo>
                    <a:pt x="200" y="159"/>
                    <a:pt x="221" y="127"/>
                    <a:pt x="221" y="127"/>
                  </a:cubicBezTo>
                  <a:cubicBezTo>
                    <a:pt x="221" y="127"/>
                    <a:pt x="227" y="119"/>
                    <a:pt x="225" y="11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a:p>
          </p:txBody>
        </p:sp>
        <p:sp>
          <p:nvSpPr>
            <p:cNvPr id="70" name="Arrow [4]" hidden="1">
              <a:extLst>
                <a:ext uri="{FF2B5EF4-FFF2-40B4-BE49-F238E27FC236}">
                  <a16:creationId xmlns:a16="http://schemas.microsoft.com/office/drawing/2014/main" id="{4D200633-F8B6-4F8C-837D-0FB9E733A6A5}"/>
                </a:ext>
              </a:extLst>
            </p:cNvPr>
            <p:cNvSpPr>
              <a:spLocks noChangeAspect="1"/>
            </p:cNvSpPr>
            <p:nvPr>
              <p:custDataLst>
                <p:tags r:id="rId41"/>
              </p:custDataLst>
            </p:nvPr>
          </p:nvSpPr>
          <p:spPr bwMode="gray">
            <a:xfrm rot="10800000">
              <a:off x="2763337" y="5523754"/>
              <a:ext cx="206967" cy="277630"/>
            </a:xfrm>
            <a:custGeom>
              <a:avLst/>
              <a:gdLst>
                <a:gd name="T0" fmla="*/ 225 w 227"/>
                <a:gd name="T1" fmla="*/ 117 h 304"/>
                <a:gd name="T2" fmla="*/ 115 w 227"/>
                <a:gd name="T3" fmla="*/ 2 h 304"/>
                <a:gd name="T4" fmla="*/ 112 w 227"/>
                <a:gd name="T5" fmla="*/ 2 h 304"/>
                <a:gd name="T6" fmla="*/ 0 w 227"/>
                <a:gd name="T7" fmla="*/ 145 h 304"/>
                <a:gd name="T8" fmla="*/ 47 w 227"/>
                <a:gd name="T9" fmla="*/ 153 h 304"/>
                <a:gd name="T10" fmla="*/ 88 w 227"/>
                <a:gd name="T11" fmla="*/ 112 h 304"/>
                <a:gd name="T12" fmla="*/ 79 w 227"/>
                <a:gd name="T13" fmla="*/ 298 h 304"/>
                <a:gd name="T14" fmla="*/ 124 w 227"/>
                <a:gd name="T15" fmla="*/ 291 h 304"/>
                <a:gd name="T16" fmla="*/ 135 w 227"/>
                <a:gd name="T17" fmla="*/ 105 h 304"/>
                <a:gd name="T18" fmla="*/ 193 w 227"/>
                <a:gd name="T19" fmla="*/ 156 h 304"/>
                <a:gd name="T20" fmla="*/ 221 w 227"/>
                <a:gd name="T21" fmla="*/ 127 h 304"/>
                <a:gd name="T22" fmla="*/ 225 w 227"/>
                <a:gd name="T23" fmla="*/ 11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304">
                  <a:moveTo>
                    <a:pt x="225" y="117"/>
                  </a:moveTo>
                  <a:cubicBezTo>
                    <a:pt x="156" y="77"/>
                    <a:pt x="123" y="13"/>
                    <a:pt x="115" y="2"/>
                  </a:cubicBezTo>
                  <a:cubicBezTo>
                    <a:pt x="114" y="0"/>
                    <a:pt x="112" y="2"/>
                    <a:pt x="112" y="2"/>
                  </a:cubicBezTo>
                  <a:cubicBezTo>
                    <a:pt x="80" y="56"/>
                    <a:pt x="43" y="101"/>
                    <a:pt x="0" y="145"/>
                  </a:cubicBezTo>
                  <a:cubicBezTo>
                    <a:pt x="18" y="154"/>
                    <a:pt x="35" y="155"/>
                    <a:pt x="47" y="153"/>
                  </a:cubicBezTo>
                  <a:cubicBezTo>
                    <a:pt x="63" y="139"/>
                    <a:pt x="77" y="125"/>
                    <a:pt x="88" y="112"/>
                  </a:cubicBezTo>
                  <a:cubicBezTo>
                    <a:pt x="84" y="173"/>
                    <a:pt x="74" y="295"/>
                    <a:pt x="79" y="298"/>
                  </a:cubicBezTo>
                  <a:cubicBezTo>
                    <a:pt x="87" y="304"/>
                    <a:pt x="124" y="297"/>
                    <a:pt x="124" y="291"/>
                  </a:cubicBezTo>
                  <a:cubicBezTo>
                    <a:pt x="120" y="269"/>
                    <a:pt x="133" y="160"/>
                    <a:pt x="135" y="105"/>
                  </a:cubicBezTo>
                  <a:cubicBezTo>
                    <a:pt x="153" y="128"/>
                    <a:pt x="172" y="148"/>
                    <a:pt x="193" y="156"/>
                  </a:cubicBezTo>
                  <a:cubicBezTo>
                    <a:pt x="200" y="159"/>
                    <a:pt x="221" y="127"/>
                    <a:pt x="221" y="127"/>
                  </a:cubicBezTo>
                  <a:cubicBezTo>
                    <a:pt x="221" y="127"/>
                    <a:pt x="227" y="119"/>
                    <a:pt x="225" y="11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a:p>
          </p:txBody>
        </p:sp>
        <p:sp>
          <p:nvSpPr>
            <p:cNvPr id="71" name="Arrow [5]" hidden="1">
              <a:extLst>
                <a:ext uri="{FF2B5EF4-FFF2-40B4-BE49-F238E27FC236}">
                  <a16:creationId xmlns:a16="http://schemas.microsoft.com/office/drawing/2014/main" id="{ED673821-C8CF-4E46-809D-CB2D3A7ECF30}"/>
                </a:ext>
              </a:extLst>
            </p:cNvPr>
            <p:cNvSpPr>
              <a:spLocks noChangeAspect="1"/>
            </p:cNvSpPr>
            <p:nvPr>
              <p:custDataLst>
                <p:tags r:id="rId42"/>
              </p:custDataLst>
            </p:nvPr>
          </p:nvSpPr>
          <p:spPr bwMode="gray">
            <a:xfrm rot="13242641">
              <a:off x="2790310" y="5496395"/>
              <a:ext cx="206967" cy="277630"/>
            </a:xfrm>
            <a:custGeom>
              <a:avLst/>
              <a:gdLst>
                <a:gd name="T0" fmla="*/ 225 w 227"/>
                <a:gd name="T1" fmla="*/ 117 h 304"/>
                <a:gd name="T2" fmla="*/ 115 w 227"/>
                <a:gd name="T3" fmla="*/ 2 h 304"/>
                <a:gd name="T4" fmla="*/ 112 w 227"/>
                <a:gd name="T5" fmla="*/ 2 h 304"/>
                <a:gd name="T6" fmla="*/ 0 w 227"/>
                <a:gd name="T7" fmla="*/ 145 h 304"/>
                <a:gd name="T8" fmla="*/ 47 w 227"/>
                <a:gd name="T9" fmla="*/ 153 h 304"/>
                <a:gd name="T10" fmla="*/ 88 w 227"/>
                <a:gd name="T11" fmla="*/ 112 h 304"/>
                <a:gd name="T12" fmla="*/ 79 w 227"/>
                <a:gd name="T13" fmla="*/ 298 h 304"/>
                <a:gd name="T14" fmla="*/ 124 w 227"/>
                <a:gd name="T15" fmla="*/ 291 h 304"/>
                <a:gd name="T16" fmla="*/ 135 w 227"/>
                <a:gd name="T17" fmla="*/ 105 h 304"/>
                <a:gd name="T18" fmla="*/ 193 w 227"/>
                <a:gd name="T19" fmla="*/ 156 h 304"/>
                <a:gd name="T20" fmla="*/ 221 w 227"/>
                <a:gd name="T21" fmla="*/ 127 h 304"/>
                <a:gd name="T22" fmla="*/ 225 w 227"/>
                <a:gd name="T23" fmla="*/ 11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304">
                  <a:moveTo>
                    <a:pt x="225" y="117"/>
                  </a:moveTo>
                  <a:cubicBezTo>
                    <a:pt x="156" y="77"/>
                    <a:pt x="123" y="13"/>
                    <a:pt x="115" y="2"/>
                  </a:cubicBezTo>
                  <a:cubicBezTo>
                    <a:pt x="114" y="0"/>
                    <a:pt x="112" y="2"/>
                    <a:pt x="112" y="2"/>
                  </a:cubicBezTo>
                  <a:cubicBezTo>
                    <a:pt x="80" y="56"/>
                    <a:pt x="43" y="101"/>
                    <a:pt x="0" y="145"/>
                  </a:cubicBezTo>
                  <a:cubicBezTo>
                    <a:pt x="18" y="154"/>
                    <a:pt x="35" y="155"/>
                    <a:pt x="47" y="153"/>
                  </a:cubicBezTo>
                  <a:cubicBezTo>
                    <a:pt x="63" y="139"/>
                    <a:pt x="77" y="125"/>
                    <a:pt x="88" y="112"/>
                  </a:cubicBezTo>
                  <a:cubicBezTo>
                    <a:pt x="84" y="173"/>
                    <a:pt x="74" y="295"/>
                    <a:pt x="79" y="298"/>
                  </a:cubicBezTo>
                  <a:cubicBezTo>
                    <a:pt x="87" y="304"/>
                    <a:pt x="124" y="297"/>
                    <a:pt x="124" y="291"/>
                  </a:cubicBezTo>
                  <a:cubicBezTo>
                    <a:pt x="120" y="269"/>
                    <a:pt x="133" y="160"/>
                    <a:pt x="135" y="105"/>
                  </a:cubicBezTo>
                  <a:cubicBezTo>
                    <a:pt x="153" y="128"/>
                    <a:pt x="172" y="148"/>
                    <a:pt x="193" y="156"/>
                  </a:cubicBezTo>
                  <a:cubicBezTo>
                    <a:pt x="200" y="159"/>
                    <a:pt x="221" y="127"/>
                    <a:pt x="221" y="127"/>
                  </a:cubicBezTo>
                  <a:cubicBezTo>
                    <a:pt x="221" y="127"/>
                    <a:pt x="227" y="119"/>
                    <a:pt x="225" y="11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a:p>
          </p:txBody>
        </p:sp>
        <p:sp>
          <p:nvSpPr>
            <p:cNvPr id="72" name="Arrow [6]" hidden="1">
              <a:extLst>
                <a:ext uri="{FF2B5EF4-FFF2-40B4-BE49-F238E27FC236}">
                  <a16:creationId xmlns:a16="http://schemas.microsoft.com/office/drawing/2014/main" id="{6AE13097-00B0-4C5B-8B37-911A980BCC90}"/>
                </a:ext>
              </a:extLst>
            </p:cNvPr>
            <p:cNvSpPr>
              <a:spLocks noChangeAspect="1"/>
            </p:cNvSpPr>
            <p:nvPr>
              <p:custDataLst>
                <p:tags r:id="rId43"/>
              </p:custDataLst>
            </p:nvPr>
          </p:nvSpPr>
          <p:spPr bwMode="gray">
            <a:xfrm rot="16200000">
              <a:off x="2756362" y="5516154"/>
              <a:ext cx="206967" cy="277630"/>
            </a:xfrm>
            <a:custGeom>
              <a:avLst/>
              <a:gdLst>
                <a:gd name="T0" fmla="*/ 225 w 227"/>
                <a:gd name="T1" fmla="*/ 117 h 304"/>
                <a:gd name="T2" fmla="*/ 115 w 227"/>
                <a:gd name="T3" fmla="*/ 2 h 304"/>
                <a:gd name="T4" fmla="*/ 112 w 227"/>
                <a:gd name="T5" fmla="*/ 2 h 304"/>
                <a:gd name="T6" fmla="*/ 0 w 227"/>
                <a:gd name="T7" fmla="*/ 145 h 304"/>
                <a:gd name="T8" fmla="*/ 47 w 227"/>
                <a:gd name="T9" fmla="*/ 153 h 304"/>
                <a:gd name="T10" fmla="*/ 88 w 227"/>
                <a:gd name="T11" fmla="*/ 112 h 304"/>
                <a:gd name="T12" fmla="*/ 79 w 227"/>
                <a:gd name="T13" fmla="*/ 298 h 304"/>
                <a:gd name="T14" fmla="*/ 124 w 227"/>
                <a:gd name="T15" fmla="*/ 291 h 304"/>
                <a:gd name="T16" fmla="*/ 135 w 227"/>
                <a:gd name="T17" fmla="*/ 105 h 304"/>
                <a:gd name="T18" fmla="*/ 193 w 227"/>
                <a:gd name="T19" fmla="*/ 156 h 304"/>
                <a:gd name="T20" fmla="*/ 221 w 227"/>
                <a:gd name="T21" fmla="*/ 127 h 304"/>
                <a:gd name="T22" fmla="*/ 225 w 227"/>
                <a:gd name="T23" fmla="*/ 11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304">
                  <a:moveTo>
                    <a:pt x="225" y="117"/>
                  </a:moveTo>
                  <a:cubicBezTo>
                    <a:pt x="156" y="77"/>
                    <a:pt x="123" y="13"/>
                    <a:pt x="115" y="2"/>
                  </a:cubicBezTo>
                  <a:cubicBezTo>
                    <a:pt x="114" y="0"/>
                    <a:pt x="112" y="2"/>
                    <a:pt x="112" y="2"/>
                  </a:cubicBezTo>
                  <a:cubicBezTo>
                    <a:pt x="80" y="56"/>
                    <a:pt x="43" y="101"/>
                    <a:pt x="0" y="145"/>
                  </a:cubicBezTo>
                  <a:cubicBezTo>
                    <a:pt x="18" y="154"/>
                    <a:pt x="35" y="155"/>
                    <a:pt x="47" y="153"/>
                  </a:cubicBezTo>
                  <a:cubicBezTo>
                    <a:pt x="63" y="139"/>
                    <a:pt x="77" y="125"/>
                    <a:pt x="88" y="112"/>
                  </a:cubicBezTo>
                  <a:cubicBezTo>
                    <a:pt x="84" y="173"/>
                    <a:pt x="74" y="295"/>
                    <a:pt x="79" y="298"/>
                  </a:cubicBezTo>
                  <a:cubicBezTo>
                    <a:pt x="87" y="304"/>
                    <a:pt x="124" y="297"/>
                    <a:pt x="124" y="291"/>
                  </a:cubicBezTo>
                  <a:cubicBezTo>
                    <a:pt x="120" y="269"/>
                    <a:pt x="133" y="160"/>
                    <a:pt x="135" y="105"/>
                  </a:cubicBezTo>
                  <a:cubicBezTo>
                    <a:pt x="153" y="128"/>
                    <a:pt x="172" y="148"/>
                    <a:pt x="193" y="156"/>
                  </a:cubicBezTo>
                  <a:cubicBezTo>
                    <a:pt x="200" y="159"/>
                    <a:pt x="221" y="127"/>
                    <a:pt x="221" y="127"/>
                  </a:cubicBezTo>
                  <a:cubicBezTo>
                    <a:pt x="221" y="127"/>
                    <a:pt x="227" y="119"/>
                    <a:pt x="225" y="11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a:p>
          </p:txBody>
        </p:sp>
        <p:sp>
          <p:nvSpPr>
            <p:cNvPr id="73" name="Arrow [7]" hidden="1">
              <a:extLst>
                <a:ext uri="{FF2B5EF4-FFF2-40B4-BE49-F238E27FC236}">
                  <a16:creationId xmlns:a16="http://schemas.microsoft.com/office/drawing/2014/main" id="{2278A579-FC23-4282-A077-C3F6689FB3C3}"/>
                </a:ext>
              </a:extLst>
            </p:cNvPr>
            <p:cNvSpPr>
              <a:spLocks noChangeAspect="1"/>
            </p:cNvSpPr>
            <p:nvPr>
              <p:custDataLst>
                <p:tags r:id="rId44"/>
              </p:custDataLst>
            </p:nvPr>
          </p:nvSpPr>
          <p:spPr bwMode="gray">
            <a:xfrm rot="18522693">
              <a:off x="2758070" y="5491239"/>
              <a:ext cx="206967" cy="277630"/>
            </a:xfrm>
            <a:custGeom>
              <a:avLst/>
              <a:gdLst>
                <a:gd name="T0" fmla="*/ 225 w 227"/>
                <a:gd name="T1" fmla="*/ 117 h 304"/>
                <a:gd name="T2" fmla="*/ 115 w 227"/>
                <a:gd name="T3" fmla="*/ 2 h 304"/>
                <a:gd name="T4" fmla="*/ 112 w 227"/>
                <a:gd name="T5" fmla="*/ 2 h 304"/>
                <a:gd name="T6" fmla="*/ 0 w 227"/>
                <a:gd name="T7" fmla="*/ 145 h 304"/>
                <a:gd name="T8" fmla="*/ 47 w 227"/>
                <a:gd name="T9" fmla="*/ 153 h 304"/>
                <a:gd name="T10" fmla="*/ 88 w 227"/>
                <a:gd name="T11" fmla="*/ 112 h 304"/>
                <a:gd name="T12" fmla="*/ 79 w 227"/>
                <a:gd name="T13" fmla="*/ 298 h 304"/>
                <a:gd name="T14" fmla="*/ 124 w 227"/>
                <a:gd name="T15" fmla="*/ 291 h 304"/>
                <a:gd name="T16" fmla="*/ 135 w 227"/>
                <a:gd name="T17" fmla="*/ 105 h 304"/>
                <a:gd name="T18" fmla="*/ 193 w 227"/>
                <a:gd name="T19" fmla="*/ 156 h 304"/>
                <a:gd name="T20" fmla="*/ 221 w 227"/>
                <a:gd name="T21" fmla="*/ 127 h 304"/>
                <a:gd name="T22" fmla="*/ 225 w 227"/>
                <a:gd name="T23" fmla="*/ 11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304">
                  <a:moveTo>
                    <a:pt x="225" y="117"/>
                  </a:moveTo>
                  <a:cubicBezTo>
                    <a:pt x="156" y="77"/>
                    <a:pt x="123" y="13"/>
                    <a:pt x="115" y="2"/>
                  </a:cubicBezTo>
                  <a:cubicBezTo>
                    <a:pt x="114" y="0"/>
                    <a:pt x="112" y="2"/>
                    <a:pt x="112" y="2"/>
                  </a:cubicBezTo>
                  <a:cubicBezTo>
                    <a:pt x="80" y="56"/>
                    <a:pt x="43" y="101"/>
                    <a:pt x="0" y="145"/>
                  </a:cubicBezTo>
                  <a:cubicBezTo>
                    <a:pt x="18" y="154"/>
                    <a:pt x="35" y="155"/>
                    <a:pt x="47" y="153"/>
                  </a:cubicBezTo>
                  <a:cubicBezTo>
                    <a:pt x="63" y="139"/>
                    <a:pt x="77" y="125"/>
                    <a:pt x="88" y="112"/>
                  </a:cubicBezTo>
                  <a:cubicBezTo>
                    <a:pt x="84" y="173"/>
                    <a:pt x="74" y="295"/>
                    <a:pt x="79" y="298"/>
                  </a:cubicBezTo>
                  <a:cubicBezTo>
                    <a:pt x="87" y="304"/>
                    <a:pt x="124" y="297"/>
                    <a:pt x="124" y="291"/>
                  </a:cubicBezTo>
                  <a:cubicBezTo>
                    <a:pt x="120" y="269"/>
                    <a:pt x="133" y="160"/>
                    <a:pt x="135" y="105"/>
                  </a:cubicBezTo>
                  <a:cubicBezTo>
                    <a:pt x="153" y="128"/>
                    <a:pt x="172" y="148"/>
                    <a:pt x="193" y="156"/>
                  </a:cubicBezTo>
                  <a:cubicBezTo>
                    <a:pt x="200" y="159"/>
                    <a:pt x="221" y="127"/>
                    <a:pt x="221" y="127"/>
                  </a:cubicBezTo>
                  <a:cubicBezTo>
                    <a:pt x="221" y="127"/>
                    <a:pt x="227" y="119"/>
                    <a:pt x="225" y="117"/>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a:p>
          </p:txBody>
        </p:sp>
      </p:grpSp>
      <p:grpSp>
        <p:nvGrpSpPr>
          <p:cNvPr id="74" name="Turquoise Circle" hidden="1">
            <a:extLst>
              <a:ext uri="{FF2B5EF4-FFF2-40B4-BE49-F238E27FC236}">
                <a16:creationId xmlns:a16="http://schemas.microsoft.com/office/drawing/2014/main" id="{0E11392A-D0C9-472F-8925-1A4EB8412DF3}"/>
              </a:ext>
            </a:extLst>
          </p:cNvPr>
          <p:cNvGrpSpPr>
            <a:grpSpLocks noChangeAspect="1"/>
          </p:cNvGrpSpPr>
          <p:nvPr userDrawn="1">
            <p:custDataLst>
              <p:tags r:id="rId26"/>
            </p:custDataLst>
          </p:nvPr>
        </p:nvGrpSpPr>
        <p:grpSpPr>
          <a:xfrm>
            <a:off x="12348308" y="0"/>
            <a:ext cx="443077" cy="360000"/>
            <a:chOff x="1987723" y="2996952"/>
            <a:chExt cx="360000" cy="360000"/>
          </a:xfrm>
        </p:grpSpPr>
        <p:sp>
          <p:nvSpPr>
            <p:cNvPr id="75" name="Oval 4 [0]" hidden="1">
              <a:extLst>
                <a:ext uri="{FF2B5EF4-FFF2-40B4-BE49-F238E27FC236}">
                  <a16:creationId xmlns:a16="http://schemas.microsoft.com/office/drawing/2014/main" id="{54384BDB-F969-4AF3-A789-95CE3F7EAEB3}"/>
                </a:ext>
              </a:extLst>
            </p:cNvPr>
            <p:cNvSpPr/>
            <p:nvPr>
              <p:custDataLst>
                <p:tags r:id="rId27"/>
              </p:custDataLst>
            </p:nvPr>
          </p:nvSpPr>
          <p:spPr>
            <a:xfrm>
              <a:off x="1987723" y="2996952"/>
              <a:ext cx="360000" cy="360000"/>
            </a:xfrm>
            <a:prstGeom prst="ellipse">
              <a:avLst/>
            </a:prstGeom>
            <a:solidFill>
              <a:schemeClr val="accent5"/>
            </a:soli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200" b="1">
                  <a:solidFill>
                    <a:schemeClr val="bg1"/>
                  </a:solidFill>
                  <a:ea typeface="+mj-ea"/>
                  <a:cs typeface="+mj-cs"/>
                </a:rPr>
                <a:t>1</a:t>
              </a:r>
            </a:p>
          </p:txBody>
        </p:sp>
        <p:sp>
          <p:nvSpPr>
            <p:cNvPr id="76" name="Oval 5 [1]" hidden="1">
              <a:extLst>
                <a:ext uri="{FF2B5EF4-FFF2-40B4-BE49-F238E27FC236}">
                  <a16:creationId xmlns:a16="http://schemas.microsoft.com/office/drawing/2014/main" id="{02E067B5-6185-4B28-9CD2-4CAF525445AA}"/>
                </a:ext>
              </a:extLst>
            </p:cNvPr>
            <p:cNvSpPr/>
            <p:nvPr>
              <p:custDataLst>
                <p:tags r:id="rId28"/>
              </p:custDataLst>
            </p:nvPr>
          </p:nvSpPr>
          <p:spPr>
            <a:xfrm>
              <a:off x="1987723" y="2996952"/>
              <a:ext cx="360000" cy="360000"/>
            </a:xfrm>
            <a:prstGeom prst="ellipse">
              <a:avLst/>
            </a:prstGeom>
            <a:solidFill>
              <a:schemeClr val="accent5"/>
            </a:soli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200" b="1">
                  <a:solidFill>
                    <a:schemeClr val="bg1"/>
                  </a:solidFill>
                  <a:ea typeface="+mj-ea"/>
                  <a:cs typeface="+mj-cs"/>
                </a:rPr>
                <a:t>2</a:t>
              </a:r>
            </a:p>
          </p:txBody>
        </p:sp>
        <p:sp>
          <p:nvSpPr>
            <p:cNvPr id="77" name="Oval 6 [2]" hidden="1">
              <a:extLst>
                <a:ext uri="{FF2B5EF4-FFF2-40B4-BE49-F238E27FC236}">
                  <a16:creationId xmlns:a16="http://schemas.microsoft.com/office/drawing/2014/main" id="{92591BC2-7573-4A3B-8997-14603156B506}"/>
                </a:ext>
              </a:extLst>
            </p:cNvPr>
            <p:cNvSpPr/>
            <p:nvPr>
              <p:custDataLst>
                <p:tags r:id="rId29"/>
              </p:custDataLst>
            </p:nvPr>
          </p:nvSpPr>
          <p:spPr>
            <a:xfrm>
              <a:off x="1987723" y="2996952"/>
              <a:ext cx="360000" cy="360000"/>
            </a:xfrm>
            <a:prstGeom prst="ellipse">
              <a:avLst/>
            </a:prstGeom>
            <a:solidFill>
              <a:schemeClr val="accent5"/>
            </a:soli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200" b="1">
                  <a:solidFill>
                    <a:schemeClr val="bg1"/>
                  </a:solidFill>
                  <a:ea typeface="+mj-ea"/>
                  <a:cs typeface="+mj-cs"/>
                </a:rPr>
                <a:t>3</a:t>
              </a:r>
            </a:p>
          </p:txBody>
        </p:sp>
        <p:sp>
          <p:nvSpPr>
            <p:cNvPr id="78" name="Oval 7 [3]" hidden="1">
              <a:extLst>
                <a:ext uri="{FF2B5EF4-FFF2-40B4-BE49-F238E27FC236}">
                  <a16:creationId xmlns:a16="http://schemas.microsoft.com/office/drawing/2014/main" id="{3B4D4159-BA4E-419A-BF06-A5D597335373}"/>
                </a:ext>
              </a:extLst>
            </p:cNvPr>
            <p:cNvSpPr/>
            <p:nvPr>
              <p:custDataLst>
                <p:tags r:id="rId30"/>
              </p:custDataLst>
            </p:nvPr>
          </p:nvSpPr>
          <p:spPr>
            <a:xfrm>
              <a:off x="1987723" y="2996952"/>
              <a:ext cx="360000" cy="360000"/>
            </a:xfrm>
            <a:prstGeom prst="ellipse">
              <a:avLst/>
            </a:prstGeom>
            <a:solidFill>
              <a:schemeClr val="accent5"/>
            </a:soli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200" b="1">
                  <a:solidFill>
                    <a:schemeClr val="bg1"/>
                  </a:solidFill>
                  <a:ea typeface="+mj-ea"/>
                  <a:cs typeface="+mj-cs"/>
                </a:rPr>
                <a:t>4</a:t>
              </a:r>
            </a:p>
          </p:txBody>
        </p:sp>
        <p:sp>
          <p:nvSpPr>
            <p:cNvPr id="79" name="Oval 8 [4]" hidden="1">
              <a:extLst>
                <a:ext uri="{FF2B5EF4-FFF2-40B4-BE49-F238E27FC236}">
                  <a16:creationId xmlns:a16="http://schemas.microsoft.com/office/drawing/2014/main" id="{956A8155-C262-420F-B19F-4100D80065E1}"/>
                </a:ext>
              </a:extLst>
            </p:cNvPr>
            <p:cNvSpPr/>
            <p:nvPr>
              <p:custDataLst>
                <p:tags r:id="rId31"/>
              </p:custDataLst>
            </p:nvPr>
          </p:nvSpPr>
          <p:spPr>
            <a:xfrm>
              <a:off x="1987723" y="2996952"/>
              <a:ext cx="360000" cy="360000"/>
            </a:xfrm>
            <a:prstGeom prst="ellipse">
              <a:avLst/>
            </a:prstGeom>
            <a:solidFill>
              <a:schemeClr val="accent5"/>
            </a:soli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200" b="1">
                  <a:solidFill>
                    <a:schemeClr val="bg1"/>
                  </a:solidFill>
                  <a:ea typeface="+mj-ea"/>
                  <a:cs typeface="+mj-cs"/>
                </a:rPr>
                <a:t>5</a:t>
              </a:r>
            </a:p>
          </p:txBody>
        </p:sp>
        <p:sp>
          <p:nvSpPr>
            <p:cNvPr id="80" name="Oval 10 [5]" hidden="1">
              <a:extLst>
                <a:ext uri="{FF2B5EF4-FFF2-40B4-BE49-F238E27FC236}">
                  <a16:creationId xmlns:a16="http://schemas.microsoft.com/office/drawing/2014/main" id="{7547E0C6-3492-448A-BAF2-8318DF03D507}"/>
                </a:ext>
              </a:extLst>
            </p:cNvPr>
            <p:cNvSpPr/>
            <p:nvPr>
              <p:custDataLst>
                <p:tags r:id="rId32"/>
              </p:custDataLst>
            </p:nvPr>
          </p:nvSpPr>
          <p:spPr>
            <a:xfrm>
              <a:off x="1987723" y="2996952"/>
              <a:ext cx="360000" cy="360000"/>
            </a:xfrm>
            <a:prstGeom prst="ellipse">
              <a:avLst/>
            </a:prstGeom>
            <a:solidFill>
              <a:schemeClr val="accent5"/>
            </a:soli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200" b="1">
                  <a:solidFill>
                    <a:schemeClr val="bg1"/>
                  </a:solidFill>
                  <a:ea typeface="+mj-ea"/>
                  <a:cs typeface="+mj-cs"/>
                </a:rPr>
                <a:t>6</a:t>
              </a:r>
            </a:p>
          </p:txBody>
        </p:sp>
        <p:sp>
          <p:nvSpPr>
            <p:cNvPr id="81" name="Oval 11 [6]" hidden="1">
              <a:extLst>
                <a:ext uri="{FF2B5EF4-FFF2-40B4-BE49-F238E27FC236}">
                  <a16:creationId xmlns:a16="http://schemas.microsoft.com/office/drawing/2014/main" id="{192B622D-EC8B-4B98-9EFF-6F13D4C4CBD3}"/>
                </a:ext>
              </a:extLst>
            </p:cNvPr>
            <p:cNvSpPr/>
            <p:nvPr>
              <p:custDataLst>
                <p:tags r:id="rId33"/>
              </p:custDataLst>
            </p:nvPr>
          </p:nvSpPr>
          <p:spPr>
            <a:xfrm>
              <a:off x="1987723" y="2996952"/>
              <a:ext cx="360000" cy="360000"/>
            </a:xfrm>
            <a:prstGeom prst="ellipse">
              <a:avLst/>
            </a:prstGeom>
            <a:solidFill>
              <a:schemeClr val="accent5"/>
            </a:soli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200" b="1">
                  <a:solidFill>
                    <a:schemeClr val="bg1"/>
                  </a:solidFill>
                  <a:ea typeface="+mj-ea"/>
                  <a:cs typeface="+mj-cs"/>
                </a:rPr>
                <a:t>7</a:t>
              </a:r>
            </a:p>
          </p:txBody>
        </p:sp>
        <p:sp>
          <p:nvSpPr>
            <p:cNvPr id="82" name="Oval 12 [7]" hidden="1">
              <a:extLst>
                <a:ext uri="{FF2B5EF4-FFF2-40B4-BE49-F238E27FC236}">
                  <a16:creationId xmlns:a16="http://schemas.microsoft.com/office/drawing/2014/main" id="{E1FE2A93-01BB-4AC7-AD06-833F7DA6B5B5}"/>
                </a:ext>
              </a:extLst>
            </p:cNvPr>
            <p:cNvSpPr/>
            <p:nvPr>
              <p:custDataLst>
                <p:tags r:id="rId34"/>
              </p:custDataLst>
            </p:nvPr>
          </p:nvSpPr>
          <p:spPr>
            <a:xfrm>
              <a:off x="1987723" y="2996952"/>
              <a:ext cx="360000" cy="360000"/>
            </a:xfrm>
            <a:prstGeom prst="ellipse">
              <a:avLst/>
            </a:prstGeom>
            <a:solidFill>
              <a:schemeClr val="accent5"/>
            </a:soli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200" b="1">
                  <a:solidFill>
                    <a:schemeClr val="bg1"/>
                  </a:solidFill>
                  <a:ea typeface="+mj-ea"/>
                  <a:cs typeface="+mj-cs"/>
                </a:rPr>
                <a:t>8</a:t>
              </a:r>
            </a:p>
          </p:txBody>
        </p:sp>
        <p:sp>
          <p:nvSpPr>
            <p:cNvPr id="83" name="Oval 13 [8]" hidden="1">
              <a:extLst>
                <a:ext uri="{FF2B5EF4-FFF2-40B4-BE49-F238E27FC236}">
                  <a16:creationId xmlns:a16="http://schemas.microsoft.com/office/drawing/2014/main" id="{5B323DDA-C2E7-48DD-9B3B-09AC8A0EB88F}"/>
                </a:ext>
              </a:extLst>
            </p:cNvPr>
            <p:cNvSpPr/>
            <p:nvPr>
              <p:custDataLst>
                <p:tags r:id="rId35"/>
              </p:custDataLst>
            </p:nvPr>
          </p:nvSpPr>
          <p:spPr>
            <a:xfrm>
              <a:off x="1987723" y="2996952"/>
              <a:ext cx="360000" cy="360000"/>
            </a:xfrm>
            <a:prstGeom prst="ellipse">
              <a:avLst/>
            </a:prstGeom>
            <a:solidFill>
              <a:schemeClr val="accent5"/>
            </a:soli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200" b="1">
                  <a:solidFill>
                    <a:schemeClr val="bg1"/>
                  </a:solidFill>
                  <a:ea typeface="+mj-ea"/>
                  <a:cs typeface="+mj-cs"/>
                </a:rPr>
                <a:t>9</a:t>
              </a:r>
            </a:p>
          </p:txBody>
        </p:sp>
        <p:sp>
          <p:nvSpPr>
            <p:cNvPr id="84" name="Oval 14 [9]" hidden="1">
              <a:extLst>
                <a:ext uri="{FF2B5EF4-FFF2-40B4-BE49-F238E27FC236}">
                  <a16:creationId xmlns:a16="http://schemas.microsoft.com/office/drawing/2014/main" id="{14DFEFA5-42D1-4915-BC9F-F21793FFA1C4}"/>
                </a:ext>
              </a:extLst>
            </p:cNvPr>
            <p:cNvSpPr/>
            <p:nvPr>
              <p:custDataLst>
                <p:tags r:id="rId36"/>
              </p:custDataLst>
            </p:nvPr>
          </p:nvSpPr>
          <p:spPr>
            <a:xfrm>
              <a:off x="1987723" y="2996952"/>
              <a:ext cx="360000" cy="360000"/>
            </a:xfrm>
            <a:prstGeom prst="ellipse">
              <a:avLst/>
            </a:prstGeom>
            <a:solidFill>
              <a:schemeClr val="accent5"/>
            </a:soli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FR" sz="1200" b="1">
                  <a:solidFill>
                    <a:schemeClr val="bg1"/>
                  </a:solidFill>
                  <a:ea typeface="+mj-ea"/>
                  <a:cs typeface="+mj-cs"/>
                </a:rPr>
                <a:t>10</a:t>
              </a:r>
            </a:p>
          </p:txBody>
        </p:sp>
      </p:grpSp>
      <p:sp>
        <p:nvSpPr>
          <p:cNvPr id="3" name="MSIPCMContentMarking" descr="{&quot;HashCode&quot;:967973103,&quot;Placement&quot;:&quot;Footer&quot;,&quot;Top&quot;:519.343,&quot;Left&quot;:0.0,&quot;SlideWidth&quot;:960,&quot;SlideHeight&quot;:540}">
            <a:extLst>
              <a:ext uri="{FF2B5EF4-FFF2-40B4-BE49-F238E27FC236}">
                <a16:creationId xmlns:a16="http://schemas.microsoft.com/office/drawing/2014/main" id="{E22FDB1F-2F33-4E3B-8ACF-0E2C88DD0706}"/>
              </a:ext>
            </a:extLst>
          </p:cNvPr>
          <p:cNvSpPr txBox="1"/>
          <p:nvPr userDrawn="1"/>
        </p:nvSpPr>
        <p:spPr>
          <a:xfrm>
            <a:off x="0" y="6595656"/>
            <a:ext cx="650765" cy="262344"/>
          </a:xfrm>
          <a:prstGeom prst="rect">
            <a:avLst/>
          </a:prstGeom>
          <a:noFill/>
        </p:spPr>
        <p:txBody>
          <a:bodyPr vert="horz" wrap="square" lIns="0" tIns="0" rIns="0" bIns="0" rtlCol="0" anchor="ctr" anchorCtr="1">
            <a:spAutoFit/>
          </a:bodyPr>
          <a:lstStyle/>
          <a:p>
            <a:pPr algn="l">
              <a:spcBef>
                <a:spcPts val="0"/>
              </a:spcBef>
              <a:spcAft>
                <a:spcPts val="0"/>
              </a:spcAft>
            </a:pPr>
            <a:r>
              <a:rPr lang="fr-FR" sz="1000">
                <a:solidFill>
                  <a:srgbClr val="A80000"/>
                </a:solidFill>
                <a:latin typeface="Calibri" panose="020F0502020204030204" pitchFamily="34" charset="0"/>
              </a:rPr>
              <a:t>Interne</a:t>
            </a:r>
            <a:endParaRPr lang="fr-FR" sz="1000" dirty="0">
              <a:solidFill>
                <a:srgbClr val="A80000"/>
              </a:solidFill>
              <a:latin typeface="Calibri" panose="020F0502020204030204" pitchFamily="34" charset="0"/>
            </a:endParaRPr>
          </a:p>
        </p:txBody>
      </p:sp>
    </p:spTree>
    <p:extLst>
      <p:ext uri="{BB962C8B-B14F-4D97-AF65-F5344CB8AC3E}">
        <p14:creationId xmlns:p14="http://schemas.microsoft.com/office/powerpoint/2010/main" val="696585156"/>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Lst>
  <p:hf hdr="0" ftr="0" dt="0"/>
  <p:txStyles>
    <p:title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p:titleStyle>
    <p:body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87">
          <p15:clr>
            <a:srgbClr val="F26B43"/>
          </p15:clr>
        </p15:guide>
        <p15:guide id="2" pos="3120">
          <p15:clr>
            <a:srgbClr val="F26B43"/>
          </p15:clr>
        </p15:guide>
        <p15:guide id="3" pos="217">
          <p15:clr>
            <a:srgbClr val="F26B43"/>
          </p15:clr>
        </p15:guide>
        <p15:guide id="4" pos="6023">
          <p15:clr>
            <a:srgbClr val="F26B43"/>
          </p15:clr>
        </p15:guide>
        <p15:guide id="6" orient="horz" pos="255">
          <p15:clr>
            <a:srgbClr val="F26B43"/>
          </p15:clr>
        </p15:guide>
        <p15:guide id="17" orient="horz" pos="845">
          <p15:clr>
            <a:srgbClr val="F26B43"/>
          </p15:clr>
        </p15:guide>
        <p15:guide id="20" orient="horz" pos="392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3984" y="404664"/>
            <a:ext cx="11342769" cy="936774"/>
          </a:xfrm>
          <a:prstGeom prst="rect">
            <a:avLst/>
          </a:prstGeom>
          <a:noFill/>
        </p:spPr>
        <p:txBody>
          <a:bodyPr vert="horz" lIns="108000" tIns="0" rIns="108000" bIns="0" rtlCol="0" anchor="t">
            <a:noAutofit/>
          </a:bodyPr>
          <a:lstStyle/>
          <a:p>
            <a:r>
              <a:rPr lang="fr-FR"/>
              <a:t>Complete with a title here that carries your message on two lines at most for more </a:t>
            </a:r>
            <a:r>
              <a:rPr lang="fr-FR" noProof="0"/>
              <a:t>readability</a:t>
            </a:r>
          </a:p>
        </p:txBody>
      </p:sp>
      <p:sp>
        <p:nvSpPr>
          <p:cNvPr id="4" name="Espace réservé du texte 3"/>
          <p:cNvSpPr>
            <a:spLocks noGrp="1"/>
          </p:cNvSpPr>
          <p:nvPr>
            <p:ph type="body" idx="1"/>
          </p:nvPr>
        </p:nvSpPr>
        <p:spPr>
          <a:xfrm>
            <a:off x="423984" y="1341438"/>
            <a:ext cx="11342769" cy="4894976"/>
          </a:xfrm>
          <a:prstGeom prst="rect">
            <a:avLst/>
          </a:prstGeom>
        </p:spPr>
        <p:txBody>
          <a:bodyPr vert="horz" lIns="108000" tIns="108000" rIns="108000" bIns="108000" rtlCol="0">
            <a:noAutofit/>
          </a:bodyPr>
          <a:lstStyle/>
          <a:p>
            <a:pPr lvl="0"/>
            <a:r>
              <a:rPr lang="fr-FR"/>
              <a:t>Level 1 - </a:t>
            </a:r>
            <a:r>
              <a:rPr lang="fr-FR">
                <a:solidFill>
                  <a:srgbClr val="503078"/>
                </a:solidFill>
              </a:rPr>
              <a:t>To move to the next level, Alt + Shift + right arrow</a:t>
            </a:r>
            <a:endParaRPr lang="fr-FR"/>
          </a:p>
          <a:p>
            <a:pPr lvl="1"/>
            <a:r>
              <a:rPr lang="fr-FR"/>
              <a:t>Level 2</a:t>
            </a:r>
          </a:p>
          <a:p>
            <a:pPr lvl="2"/>
            <a:r>
              <a:rPr lang="fr-FR"/>
              <a:t>Level 3</a:t>
            </a:r>
          </a:p>
          <a:p>
            <a:pPr marL="648000" lvl="3" indent="-288000" algn="just" defTabSz="914400" rtl="0" eaLnBrk="1" latinLnBrk="0" hangingPunct="1">
              <a:lnSpc>
                <a:spcPct val="100000"/>
              </a:lnSpc>
              <a:spcBef>
                <a:spcPts val="600"/>
              </a:spcBef>
              <a:buClr>
                <a:schemeClr val="bg2"/>
              </a:buClr>
              <a:buFont typeface="Tahoma" panose="020B0604030504040204" pitchFamily="34" charset="0"/>
              <a:buChar char="›"/>
            </a:pPr>
            <a:r>
              <a:rPr lang="fr-FR"/>
              <a:t>Level 4</a:t>
            </a:r>
          </a:p>
          <a:p>
            <a:pPr lvl="4"/>
            <a:r>
              <a:rPr lang="fr-FR"/>
              <a:t>Level 5</a:t>
            </a:r>
          </a:p>
          <a:p>
            <a:pPr lvl="5"/>
            <a:r>
              <a:rPr lang="fr-FR"/>
              <a:t>Level 6</a:t>
            </a:r>
          </a:p>
          <a:p>
            <a:pPr lvl="6"/>
            <a:r>
              <a:rPr lang="fr-FR"/>
              <a:t>Level 7</a:t>
            </a:r>
          </a:p>
          <a:p>
            <a:pPr lvl="7"/>
            <a:r>
              <a:rPr lang="fr-FR" noProof="0"/>
              <a:t>Level </a:t>
            </a:r>
            <a:r>
              <a:rPr lang="fr-FR"/>
              <a:t>8</a:t>
            </a:r>
          </a:p>
          <a:p>
            <a:pPr lvl="8"/>
            <a:r>
              <a:rPr lang="fr-FR"/>
              <a:t>Level 9</a:t>
            </a:r>
          </a:p>
        </p:txBody>
      </p:sp>
      <p:sp>
        <p:nvSpPr>
          <p:cNvPr id="11" name="Rectangle 10">
            <a:extLst>
              <a:ext uri="{FF2B5EF4-FFF2-40B4-BE49-F238E27FC236}">
                <a16:creationId xmlns:a16="http://schemas.microsoft.com/office/drawing/2014/main" id="{5503E6D2-7C98-46EC-B63E-DE4BE4C77A9E}"/>
              </a:ext>
            </a:extLst>
          </p:cNvPr>
          <p:cNvSpPr>
            <a:spLocks/>
          </p:cNvSpPr>
          <p:nvPr userDrawn="1"/>
        </p:nvSpPr>
        <p:spPr>
          <a:xfrm>
            <a:off x="9921631" y="6612747"/>
            <a:ext cx="1300256" cy="262095"/>
          </a:xfrm>
          <a:prstGeom prst="rect">
            <a:avLst/>
          </a:prstGeom>
        </p:spPr>
        <p:txBody>
          <a:bodyPr wrap="square" lIns="0" tIns="0" rIns="0" bIns="122400" anchor="t">
            <a:spAutoFit/>
          </a:bodyPr>
          <a:lstStyle/>
          <a:p>
            <a:pPr lvl="0" algn="r">
              <a:spcBef>
                <a:spcPts val="400"/>
              </a:spcBef>
              <a:buClr>
                <a:srgbClr val="660066"/>
              </a:buClr>
            </a:pPr>
            <a:r>
              <a:rPr lang="fr-FR" sz="900" noProof="0">
                <a:solidFill>
                  <a:schemeClr val="bg2"/>
                </a:solidFill>
                <a:latin typeface="Tahoma" panose="020B0604030504040204" pitchFamily="34" charset="0"/>
                <a:ea typeface="Tahoma" panose="020B0604030504040204" pitchFamily="34" charset="0"/>
                <a:cs typeface="Tahoma" panose="020B0604030504040204" pitchFamily="34" charset="0"/>
              </a:rPr>
              <a:t>Wavestone © 2022</a:t>
            </a:r>
          </a:p>
        </p:txBody>
      </p:sp>
      <p:sp>
        <p:nvSpPr>
          <p:cNvPr id="12" name="Textfeld 6">
            <a:extLst>
              <a:ext uri="{FF2B5EF4-FFF2-40B4-BE49-F238E27FC236}">
                <a16:creationId xmlns:a16="http://schemas.microsoft.com/office/drawing/2014/main" id="{0593B11F-779C-4B46-BF8D-2D7401F4EBAA}"/>
              </a:ext>
            </a:extLst>
          </p:cNvPr>
          <p:cNvSpPr txBox="1">
            <a:spLocks/>
          </p:cNvSpPr>
          <p:nvPr userDrawn="1"/>
        </p:nvSpPr>
        <p:spPr bwMode="gray">
          <a:xfrm>
            <a:off x="11324889" y="6612746"/>
            <a:ext cx="443077" cy="246706"/>
          </a:xfrm>
          <a:prstGeom prst="rect">
            <a:avLst/>
          </a:prstGeom>
          <a:noFill/>
        </p:spPr>
        <p:txBody>
          <a:bodyPr wrap="square" lIns="0" tIns="0" rIns="0" bIns="122400" rtlCol="0" anchor="ctr" anchorCtr="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5152254E-7EB4-45E4-904F-3575BFE2F20B}" type="slidenum">
              <a:rPr lang="fr-FR" sz="800" noProof="0" smtClean="0">
                <a:solidFill>
                  <a:schemeClr val="bg2"/>
                </a:solidFill>
              </a:rPr>
              <a:pPr marL="0" marR="0" indent="0" algn="r" defTabSz="914400" rtl="0" eaLnBrk="1" fontAlgn="auto" latinLnBrk="0" hangingPunct="1">
                <a:lnSpc>
                  <a:spcPct val="100000"/>
                </a:lnSpc>
                <a:spcBef>
                  <a:spcPts val="0"/>
                </a:spcBef>
                <a:spcAft>
                  <a:spcPts val="0"/>
                </a:spcAft>
                <a:buClrTx/>
                <a:buSzTx/>
                <a:buFontTx/>
                <a:buNone/>
                <a:tabLst/>
                <a:defRPr/>
              </a:pPr>
              <a:t>‹N°›</a:t>
            </a:fld>
            <a:endParaRPr lang="fr-FR" sz="800" noProof="0">
              <a:solidFill>
                <a:schemeClr val="bg2"/>
              </a:solidFill>
            </a:endParaRPr>
          </a:p>
        </p:txBody>
      </p:sp>
      <p:pic>
        <p:nvPicPr>
          <p:cNvPr id="13" name="Image 12">
            <a:extLst>
              <a:ext uri="{FF2B5EF4-FFF2-40B4-BE49-F238E27FC236}">
                <a16:creationId xmlns:a16="http://schemas.microsoft.com/office/drawing/2014/main" id="{FC2DA4CA-333C-466D-AB24-60F62CD21992}"/>
              </a:ext>
            </a:extLst>
          </p:cNvPr>
          <p:cNvPicPr>
            <a:picLocks noChangeAspect="1"/>
          </p:cNvPicPr>
          <p:nvPr userDrawn="1"/>
        </p:nvPicPr>
        <p:blipFill rotWithShape="1">
          <a:blip r:embed="rId39" cstate="print">
            <a:extLst>
              <a:ext uri="{28A0092B-C50C-407E-A947-70E740481C1C}">
                <a14:useLocalDpi xmlns:a14="http://schemas.microsoft.com/office/drawing/2010/main" val="0"/>
              </a:ext>
            </a:extLst>
          </a:blip>
          <a:srcRect l="8505" t="8117" b="17461"/>
          <a:stretch/>
        </p:blipFill>
        <p:spPr>
          <a:xfrm>
            <a:off x="11248763" y="5935042"/>
            <a:ext cx="1139628" cy="926732"/>
          </a:xfrm>
          <a:prstGeom prst="rect">
            <a:avLst/>
          </a:prstGeom>
        </p:spPr>
      </p:pic>
      <p:grpSp>
        <p:nvGrpSpPr>
          <p:cNvPr id="7" name="Backup [Sticker]" hidden="1">
            <a:extLst>
              <a:ext uri="{FF2B5EF4-FFF2-40B4-BE49-F238E27FC236}">
                <a16:creationId xmlns:a16="http://schemas.microsoft.com/office/drawing/2014/main" id="{772A900F-8DEC-499A-8257-D21C9D4135CD}"/>
              </a:ext>
            </a:extLst>
          </p:cNvPr>
          <p:cNvGrpSpPr>
            <a:grpSpLocks noChangeAspect="1"/>
          </p:cNvGrpSpPr>
          <p:nvPr userDrawn="1"/>
        </p:nvGrpSpPr>
        <p:grpSpPr>
          <a:xfrm>
            <a:off x="8794195" y="437671"/>
            <a:ext cx="2924631" cy="773389"/>
            <a:chOff x="4016896" y="3395436"/>
            <a:chExt cx="1800000" cy="773389"/>
          </a:xfrm>
        </p:grpSpPr>
        <p:sp>
          <p:nvSpPr>
            <p:cNvPr id="8" name="Rectangle 7">
              <a:extLst>
                <a:ext uri="{FF2B5EF4-FFF2-40B4-BE49-F238E27FC236}">
                  <a16:creationId xmlns:a16="http://schemas.microsoft.com/office/drawing/2014/main" id="{3DD77054-1A60-4A31-B313-8AAA413CD4D1}"/>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2000">
                  <a:solidFill>
                    <a:schemeClr val="bg1"/>
                  </a:solidFill>
                  <a:ea typeface="+mj-ea"/>
                  <a:cs typeface="+mj-cs"/>
                </a:rPr>
                <a:t>BACK UP</a:t>
              </a:r>
            </a:p>
          </p:txBody>
        </p:sp>
        <p:cxnSp>
          <p:nvCxnSpPr>
            <p:cNvPr id="9" name="Straight Connector 3">
              <a:extLst>
                <a:ext uri="{FF2B5EF4-FFF2-40B4-BE49-F238E27FC236}">
                  <a16:creationId xmlns:a16="http://schemas.microsoft.com/office/drawing/2014/main" id="{9BB15C9E-EFEE-4C36-B0C7-69DB0F858353}"/>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4">
              <a:extLst>
                <a:ext uri="{FF2B5EF4-FFF2-40B4-BE49-F238E27FC236}">
                  <a16:creationId xmlns:a16="http://schemas.microsoft.com/office/drawing/2014/main" id="{A6175DDE-0760-4F01-AEE2-6DDC13D503FE}"/>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4" name="Dummy [Sticker]" hidden="1">
            <a:extLst>
              <a:ext uri="{FF2B5EF4-FFF2-40B4-BE49-F238E27FC236}">
                <a16:creationId xmlns:a16="http://schemas.microsoft.com/office/drawing/2014/main" id="{301AFF47-785C-4E2A-B257-1A826B0EAFC7}"/>
              </a:ext>
            </a:extLst>
          </p:cNvPr>
          <p:cNvGrpSpPr>
            <a:grpSpLocks noChangeAspect="1"/>
          </p:cNvGrpSpPr>
          <p:nvPr userDrawn="1"/>
        </p:nvGrpSpPr>
        <p:grpSpPr>
          <a:xfrm>
            <a:off x="8794194" y="437671"/>
            <a:ext cx="2924633" cy="773389"/>
            <a:chOff x="4016896" y="3395436"/>
            <a:chExt cx="1800000" cy="773389"/>
          </a:xfrm>
        </p:grpSpPr>
        <p:sp>
          <p:nvSpPr>
            <p:cNvPr id="15" name="Rectangle 14">
              <a:extLst>
                <a:ext uri="{FF2B5EF4-FFF2-40B4-BE49-F238E27FC236}">
                  <a16:creationId xmlns:a16="http://schemas.microsoft.com/office/drawing/2014/main" id="{FE29F129-2E18-441C-AC29-5136E5B513AF}"/>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2000">
                  <a:solidFill>
                    <a:schemeClr val="bg1"/>
                  </a:solidFill>
                  <a:ea typeface="+mj-ea"/>
                  <a:cs typeface="+mj-cs"/>
                </a:rPr>
                <a:t>DUMMY DATA</a:t>
              </a:r>
            </a:p>
          </p:txBody>
        </p:sp>
        <p:cxnSp>
          <p:nvCxnSpPr>
            <p:cNvPr id="16" name="Straight Connector 3">
              <a:extLst>
                <a:ext uri="{FF2B5EF4-FFF2-40B4-BE49-F238E27FC236}">
                  <a16:creationId xmlns:a16="http://schemas.microsoft.com/office/drawing/2014/main" id="{FF363CC5-C6D2-4BCB-B2C9-19A448FAB861}"/>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4">
              <a:extLst>
                <a:ext uri="{FF2B5EF4-FFF2-40B4-BE49-F238E27FC236}">
                  <a16:creationId xmlns:a16="http://schemas.microsoft.com/office/drawing/2014/main" id="{1992365D-0260-414B-86EA-42B18F04B9CD}"/>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8" name="Update [Sticker]" hidden="1">
            <a:extLst>
              <a:ext uri="{FF2B5EF4-FFF2-40B4-BE49-F238E27FC236}">
                <a16:creationId xmlns:a16="http://schemas.microsoft.com/office/drawing/2014/main" id="{1C5402E3-80BD-49DE-9E42-4D0A05E73263}"/>
              </a:ext>
            </a:extLst>
          </p:cNvPr>
          <p:cNvGrpSpPr>
            <a:grpSpLocks noChangeAspect="1"/>
          </p:cNvGrpSpPr>
          <p:nvPr userDrawn="1"/>
        </p:nvGrpSpPr>
        <p:grpSpPr>
          <a:xfrm>
            <a:off x="8794194" y="437671"/>
            <a:ext cx="2924633" cy="773389"/>
            <a:chOff x="4016896" y="3395436"/>
            <a:chExt cx="1800000" cy="773389"/>
          </a:xfrm>
        </p:grpSpPr>
        <p:sp>
          <p:nvSpPr>
            <p:cNvPr id="19" name="Rectangle 18">
              <a:extLst>
                <a:ext uri="{FF2B5EF4-FFF2-40B4-BE49-F238E27FC236}">
                  <a16:creationId xmlns:a16="http://schemas.microsoft.com/office/drawing/2014/main" id="{2819616B-FC75-499C-B934-B6D669001EBD}"/>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2000">
                  <a:solidFill>
                    <a:schemeClr val="bg1"/>
                  </a:solidFill>
                  <a:ea typeface="+mj-ea"/>
                  <a:cs typeface="+mj-cs"/>
                </a:rPr>
                <a:t>UPDATE DATA</a:t>
              </a:r>
            </a:p>
          </p:txBody>
        </p:sp>
        <p:cxnSp>
          <p:nvCxnSpPr>
            <p:cNvPr id="20" name="Straight Connector 7">
              <a:extLst>
                <a:ext uri="{FF2B5EF4-FFF2-40B4-BE49-F238E27FC236}">
                  <a16:creationId xmlns:a16="http://schemas.microsoft.com/office/drawing/2014/main" id="{44CF057A-67DD-4061-B0FB-0587DDD22C03}"/>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8">
              <a:extLst>
                <a:ext uri="{FF2B5EF4-FFF2-40B4-BE49-F238E27FC236}">
                  <a16:creationId xmlns:a16="http://schemas.microsoft.com/office/drawing/2014/main" id="{56EA6838-8EAC-4337-95D2-6DE8999FE06F}"/>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2" name="Final [Sticker]" hidden="1">
            <a:extLst>
              <a:ext uri="{FF2B5EF4-FFF2-40B4-BE49-F238E27FC236}">
                <a16:creationId xmlns:a16="http://schemas.microsoft.com/office/drawing/2014/main" id="{6F34832A-57AA-4338-9ACA-B818CCB4247F}"/>
              </a:ext>
            </a:extLst>
          </p:cNvPr>
          <p:cNvGrpSpPr>
            <a:grpSpLocks noChangeAspect="1"/>
          </p:cNvGrpSpPr>
          <p:nvPr userDrawn="1"/>
        </p:nvGrpSpPr>
        <p:grpSpPr>
          <a:xfrm>
            <a:off x="8794194" y="437671"/>
            <a:ext cx="2924633" cy="773389"/>
            <a:chOff x="4016896" y="3395436"/>
            <a:chExt cx="1800000" cy="773389"/>
          </a:xfrm>
        </p:grpSpPr>
        <p:sp>
          <p:nvSpPr>
            <p:cNvPr id="23" name="Rectangle 22">
              <a:extLst>
                <a:ext uri="{FF2B5EF4-FFF2-40B4-BE49-F238E27FC236}">
                  <a16:creationId xmlns:a16="http://schemas.microsoft.com/office/drawing/2014/main" id="{0FDE24DB-7CC6-4C43-B012-D3AD433A984F}"/>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2000">
                  <a:solidFill>
                    <a:schemeClr val="bg1"/>
                  </a:solidFill>
                  <a:ea typeface="+mj-ea"/>
                  <a:cs typeface="+mj-cs"/>
                </a:rPr>
                <a:t>FINAL SLIDE</a:t>
              </a:r>
            </a:p>
          </p:txBody>
        </p:sp>
        <p:cxnSp>
          <p:nvCxnSpPr>
            <p:cNvPr id="24" name="Straight Connector 7">
              <a:extLst>
                <a:ext uri="{FF2B5EF4-FFF2-40B4-BE49-F238E27FC236}">
                  <a16:creationId xmlns:a16="http://schemas.microsoft.com/office/drawing/2014/main" id="{7EC8B73A-6A53-461C-896C-97DD68F70F4A}"/>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8">
              <a:extLst>
                <a:ext uri="{FF2B5EF4-FFF2-40B4-BE49-F238E27FC236}">
                  <a16:creationId xmlns:a16="http://schemas.microsoft.com/office/drawing/2014/main" id="{B21B351D-3359-4A90-B43C-47F12A8EC8E5}"/>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6" name="Draft [Sticker]" hidden="1">
            <a:extLst>
              <a:ext uri="{FF2B5EF4-FFF2-40B4-BE49-F238E27FC236}">
                <a16:creationId xmlns:a16="http://schemas.microsoft.com/office/drawing/2014/main" id="{1A1EB613-1EA7-4D2C-B58A-A63A98943341}"/>
              </a:ext>
            </a:extLst>
          </p:cNvPr>
          <p:cNvGrpSpPr>
            <a:grpSpLocks noChangeAspect="1"/>
          </p:cNvGrpSpPr>
          <p:nvPr userDrawn="1"/>
        </p:nvGrpSpPr>
        <p:grpSpPr>
          <a:xfrm>
            <a:off x="8794194" y="437671"/>
            <a:ext cx="2924633" cy="773389"/>
            <a:chOff x="4016896" y="3395436"/>
            <a:chExt cx="1800000" cy="773389"/>
          </a:xfrm>
        </p:grpSpPr>
        <p:sp>
          <p:nvSpPr>
            <p:cNvPr id="27" name="Rectangle 26">
              <a:extLst>
                <a:ext uri="{FF2B5EF4-FFF2-40B4-BE49-F238E27FC236}">
                  <a16:creationId xmlns:a16="http://schemas.microsoft.com/office/drawing/2014/main" id="{00EB8B7C-9791-4296-9797-E4095151885B}"/>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2000">
                  <a:solidFill>
                    <a:schemeClr val="bg1"/>
                  </a:solidFill>
                  <a:ea typeface="+mj-ea"/>
                  <a:cs typeface="+mj-cs"/>
                </a:rPr>
                <a:t>DRAFT SLIDE</a:t>
              </a:r>
            </a:p>
          </p:txBody>
        </p:sp>
        <p:cxnSp>
          <p:nvCxnSpPr>
            <p:cNvPr id="28" name="Straight Connector 7">
              <a:extLst>
                <a:ext uri="{FF2B5EF4-FFF2-40B4-BE49-F238E27FC236}">
                  <a16:creationId xmlns:a16="http://schemas.microsoft.com/office/drawing/2014/main" id="{E77940A6-6720-48E6-B2E7-48F74A9C3FF8}"/>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8">
              <a:extLst>
                <a:ext uri="{FF2B5EF4-FFF2-40B4-BE49-F238E27FC236}">
                  <a16:creationId xmlns:a16="http://schemas.microsoft.com/office/drawing/2014/main" id="{0D5F4211-3FD6-4182-B92B-5BE713CC603C}"/>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0" name="Discussion [Sticker]" hidden="1">
            <a:extLst>
              <a:ext uri="{FF2B5EF4-FFF2-40B4-BE49-F238E27FC236}">
                <a16:creationId xmlns:a16="http://schemas.microsoft.com/office/drawing/2014/main" id="{FB34665F-0926-40AC-83C7-DB566709BBF5}"/>
              </a:ext>
            </a:extLst>
          </p:cNvPr>
          <p:cNvGrpSpPr>
            <a:grpSpLocks noChangeAspect="1"/>
          </p:cNvGrpSpPr>
          <p:nvPr userDrawn="1"/>
        </p:nvGrpSpPr>
        <p:grpSpPr>
          <a:xfrm>
            <a:off x="8794194" y="437671"/>
            <a:ext cx="2924633" cy="773389"/>
            <a:chOff x="4016896" y="3395436"/>
            <a:chExt cx="1800000" cy="773389"/>
          </a:xfrm>
        </p:grpSpPr>
        <p:sp>
          <p:nvSpPr>
            <p:cNvPr id="31" name="Rectangle 30">
              <a:extLst>
                <a:ext uri="{FF2B5EF4-FFF2-40B4-BE49-F238E27FC236}">
                  <a16:creationId xmlns:a16="http://schemas.microsoft.com/office/drawing/2014/main" id="{604AD995-DC80-41ED-953E-A00A8C8E5705}"/>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800">
                  <a:solidFill>
                    <a:schemeClr val="bg1"/>
                  </a:solidFill>
                  <a:ea typeface="+mj-ea"/>
                  <a:cs typeface="+mj-cs"/>
                </a:rPr>
                <a:t>FOR DISCUSSION</a:t>
              </a:r>
            </a:p>
          </p:txBody>
        </p:sp>
        <p:cxnSp>
          <p:nvCxnSpPr>
            <p:cNvPr id="32" name="Straight Connector 7">
              <a:extLst>
                <a:ext uri="{FF2B5EF4-FFF2-40B4-BE49-F238E27FC236}">
                  <a16:creationId xmlns:a16="http://schemas.microsoft.com/office/drawing/2014/main" id="{4A8320A4-C50B-475A-919D-E87748AE5894}"/>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8">
              <a:extLst>
                <a:ext uri="{FF2B5EF4-FFF2-40B4-BE49-F238E27FC236}">
                  <a16:creationId xmlns:a16="http://schemas.microsoft.com/office/drawing/2014/main" id="{592D82CD-CC3B-4A4D-85D2-088242F2285A}"/>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4" name="Internal [Sticker]" hidden="1">
            <a:extLst>
              <a:ext uri="{FF2B5EF4-FFF2-40B4-BE49-F238E27FC236}">
                <a16:creationId xmlns:a16="http://schemas.microsoft.com/office/drawing/2014/main" id="{6B5D68AE-8AFA-492F-8B36-58E4E2E2552E}"/>
              </a:ext>
            </a:extLst>
          </p:cNvPr>
          <p:cNvGrpSpPr>
            <a:grpSpLocks noChangeAspect="1"/>
          </p:cNvGrpSpPr>
          <p:nvPr userDrawn="1"/>
        </p:nvGrpSpPr>
        <p:grpSpPr>
          <a:xfrm>
            <a:off x="8794194" y="437671"/>
            <a:ext cx="2924633" cy="773389"/>
            <a:chOff x="4016896" y="3395436"/>
            <a:chExt cx="1800000" cy="773389"/>
          </a:xfrm>
        </p:grpSpPr>
        <p:sp>
          <p:nvSpPr>
            <p:cNvPr id="35" name="Rectangle 34">
              <a:extLst>
                <a:ext uri="{FF2B5EF4-FFF2-40B4-BE49-F238E27FC236}">
                  <a16:creationId xmlns:a16="http://schemas.microsoft.com/office/drawing/2014/main" id="{4FDED51A-72CF-4175-8427-2B37AE5A6D18}"/>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800">
                  <a:solidFill>
                    <a:schemeClr val="bg1"/>
                  </a:solidFill>
                  <a:ea typeface="+mj-ea"/>
                  <a:cs typeface="+mj-cs"/>
                </a:rPr>
                <a:t>INTERNAL USE ONLY</a:t>
              </a:r>
            </a:p>
          </p:txBody>
        </p:sp>
        <p:cxnSp>
          <p:nvCxnSpPr>
            <p:cNvPr id="36" name="Straight Connector 7">
              <a:extLst>
                <a:ext uri="{FF2B5EF4-FFF2-40B4-BE49-F238E27FC236}">
                  <a16:creationId xmlns:a16="http://schemas.microsoft.com/office/drawing/2014/main" id="{9992F30E-42B4-4260-80BE-EF626BB5398C}"/>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8">
              <a:extLst>
                <a:ext uri="{FF2B5EF4-FFF2-40B4-BE49-F238E27FC236}">
                  <a16:creationId xmlns:a16="http://schemas.microsoft.com/office/drawing/2014/main" id="{0D1069F7-D2F4-41BC-A60A-7F236722ACD6}"/>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8" name="Responsible [Sticker]" hidden="1">
            <a:extLst>
              <a:ext uri="{FF2B5EF4-FFF2-40B4-BE49-F238E27FC236}">
                <a16:creationId xmlns:a16="http://schemas.microsoft.com/office/drawing/2014/main" id="{079FBCEE-4E33-429D-BE01-03EB983EBF34}"/>
              </a:ext>
            </a:extLst>
          </p:cNvPr>
          <p:cNvGrpSpPr>
            <a:grpSpLocks noChangeAspect="1"/>
          </p:cNvGrpSpPr>
          <p:nvPr userDrawn="1"/>
        </p:nvGrpSpPr>
        <p:grpSpPr>
          <a:xfrm>
            <a:off x="8794194" y="437671"/>
            <a:ext cx="2924633" cy="773389"/>
            <a:chOff x="4016896" y="3395436"/>
            <a:chExt cx="1800000" cy="773389"/>
          </a:xfrm>
        </p:grpSpPr>
        <p:sp>
          <p:nvSpPr>
            <p:cNvPr id="39" name="Rectangle 38">
              <a:extLst>
                <a:ext uri="{FF2B5EF4-FFF2-40B4-BE49-F238E27FC236}">
                  <a16:creationId xmlns:a16="http://schemas.microsoft.com/office/drawing/2014/main" id="{C5763349-DCE0-4EAA-8B9E-5C69A762ECE7}"/>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400">
                  <a:solidFill>
                    <a:schemeClr val="bg1"/>
                  </a:solidFill>
                  <a:ea typeface="+mj-ea"/>
                  <a:cs typeface="+mj-cs"/>
                </a:rPr>
                <a:t>RESPONSIBLE:</a:t>
              </a:r>
              <a:br>
                <a:rPr lang="fr-FR" sz="1400">
                  <a:solidFill>
                    <a:schemeClr val="bg1"/>
                  </a:solidFill>
                  <a:ea typeface="+mj-ea"/>
                  <a:cs typeface="+mj-cs"/>
                </a:rPr>
              </a:br>
              <a:r>
                <a:rPr lang="fr-FR" sz="1400">
                  <a:solidFill>
                    <a:schemeClr val="bg1"/>
                  </a:solidFill>
                  <a:ea typeface="+mj-ea"/>
                  <a:cs typeface="+mj-cs"/>
                </a:rPr>
                <a:t>XXX</a:t>
              </a:r>
            </a:p>
          </p:txBody>
        </p:sp>
        <p:cxnSp>
          <p:nvCxnSpPr>
            <p:cNvPr id="40" name="Straight Connector 7">
              <a:extLst>
                <a:ext uri="{FF2B5EF4-FFF2-40B4-BE49-F238E27FC236}">
                  <a16:creationId xmlns:a16="http://schemas.microsoft.com/office/drawing/2014/main" id="{7A45D47D-888B-486F-B39B-92378EEFC2C7}"/>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Straight Connector 8">
              <a:extLst>
                <a:ext uri="{FF2B5EF4-FFF2-40B4-BE49-F238E27FC236}">
                  <a16:creationId xmlns:a16="http://schemas.microsoft.com/office/drawing/2014/main" id="{CE7071A1-938A-4EA9-8D49-EF111F07AF88}"/>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42" name="Content [Comment]" hidden="1">
            <a:extLst>
              <a:ext uri="{FF2B5EF4-FFF2-40B4-BE49-F238E27FC236}">
                <a16:creationId xmlns:a16="http://schemas.microsoft.com/office/drawing/2014/main" id="{F88A037C-B03F-4F06-A04B-E8EB6C3742BE}"/>
              </a:ext>
            </a:extLst>
          </p:cNvPr>
          <p:cNvSpPr>
            <a:spLocks/>
          </p:cNvSpPr>
          <p:nvPr userDrawn="1"/>
        </p:nvSpPr>
        <p:spPr>
          <a:xfrm>
            <a:off x="8487619" y="404813"/>
            <a:ext cx="3279134" cy="1152128"/>
          </a:xfrm>
          <a:prstGeom prst="wedgeRectCallout">
            <a:avLst>
              <a:gd name="adj1" fmla="val -36017"/>
              <a:gd name="adj2" fmla="val 70928"/>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fr-FR" sz="1800">
                <a:solidFill>
                  <a:schemeClr val="bg1"/>
                </a:solidFill>
                <a:ea typeface="+mj-ea"/>
                <a:cs typeface="+mj-cs"/>
              </a:rPr>
              <a:t>Content</a:t>
            </a:r>
          </a:p>
        </p:txBody>
      </p:sp>
      <p:sp>
        <p:nvSpPr>
          <p:cNvPr id="43" name="Formatting [Comment]" hidden="1">
            <a:extLst>
              <a:ext uri="{FF2B5EF4-FFF2-40B4-BE49-F238E27FC236}">
                <a16:creationId xmlns:a16="http://schemas.microsoft.com/office/drawing/2014/main" id="{E7357E13-04B6-4DB8-9DC2-DF28BD69748C}"/>
              </a:ext>
            </a:extLst>
          </p:cNvPr>
          <p:cNvSpPr/>
          <p:nvPr userDrawn="1"/>
        </p:nvSpPr>
        <p:spPr>
          <a:xfrm>
            <a:off x="8487619" y="404813"/>
            <a:ext cx="3279134" cy="1152128"/>
          </a:xfrm>
          <a:prstGeom prst="wedgeRectCallout">
            <a:avLst>
              <a:gd name="adj1" fmla="val -36017"/>
              <a:gd name="adj2" fmla="val 70928"/>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fr-FR" sz="1800">
                <a:solidFill>
                  <a:schemeClr val="bg1"/>
                </a:solidFill>
                <a:ea typeface="+mj-ea"/>
                <a:cs typeface="+mj-cs"/>
              </a:rPr>
              <a:t>Formatting</a:t>
            </a:r>
          </a:p>
        </p:txBody>
      </p:sp>
      <p:sp>
        <p:nvSpPr>
          <p:cNvPr id="44" name="Footnote [Placeholder]" hidden="1">
            <a:extLst>
              <a:ext uri="{FF2B5EF4-FFF2-40B4-BE49-F238E27FC236}">
                <a16:creationId xmlns:a16="http://schemas.microsoft.com/office/drawing/2014/main" id="{8D58C20D-DE6F-41F0-95A2-8A306EEC6633}"/>
              </a:ext>
            </a:extLst>
          </p:cNvPr>
          <p:cNvSpPr>
            <a:spLocks/>
          </p:cNvSpPr>
          <p:nvPr userDrawn="1"/>
        </p:nvSpPr>
        <p:spPr>
          <a:xfrm>
            <a:off x="423986" y="6249936"/>
            <a:ext cx="11323211" cy="25498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lumMod val="100000"/>
                    <a:shade val="5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fr-FR" sz="900">
                <a:solidFill>
                  <a:schemeClr val="tx1">
                    <a:lumMod val="100000"/>
                  </a:schemeClr>
                </a:solidFill>
              </a:rPr>
              <a:t>(n)  </a:t>
            </a:r>
          </a:p>
        </p:txBody>
      </p:sp>
      <p:grpSp>
        <p:nvGrpSpPr>
          <p:cNvPr id="66" name="Harvey 3" hidden="1">
            <a:extLst>
              <a:ext uri="{FF2B5EF4-FFF2-40B4-BE49-F238E27FC236}">
                <a16:creationId xmlns:a16="http://schemas.microsoft.com/office/drawing/2014/main" id="{1F52F8D6-828E-421C-B9CB-574D405F17B6}"/>
              </a:ext>
            </a:extLst>
          </p:cNvPr>
          <p:cNvGrpSpPr>
            <a:grpSpLocks/>
          </p:cNvGrpSpPr>
          <p:nvPr userDrawn="1">
            <p:custDataLst>
              <p:tags r:id="rId18"/>
            </p:custDataLst>
          </p:nvPr>
        </p:nvGrpSpPr>
        <p:grpSpPr>
          <a:xfrm>
            <a:off x="11246295" y="1459918"/>
            <a:ext cx="360133" cy="292608"/>
            <a:chOff x="0" y="0"/>
            <a:chExt cx="914400" cy="914400"/>
          </a:xfrm>
          <a:solidFill>
            <a:schemeClr val="tx1"/>
          </a:solidFill>
        </p:grpSpPr>
        <p:sp>
          <p:nvSpPr>
            <p:cNvPr id="67" name="Harvey 0/3 [0]" hidden="1">
              <a:extLst>
                <a:ext uri="{FF2B5EF4-FFF2-40B4-BE49-F238E27FC236}">
                  <a16:creationId xmlns:a16="http://schemas.microsoft.com/office/drawing/2014/main" id="{DA6730B4-6E1B-41CD-87D4-698BEB6D612A}"/>
                </a:ext>
              </a:extLst>
            </p:cNvPr>
            <p:cNvSpPr>
              <a:spLocks noChangeAspect="1"/>
            </p:cNvSpPr>
            <p:nvPr>
              <p:custDataLst>
                <p:tags r:id="rId35"/>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68" name="Harvey 1/3 [1]">
              <a:extLst>
                <a:ext uri="{FF2B5EF4-FFF2-40B4-BE49-F238E27FC236}">
                  <a16:creationId xmlns:a16="http://schemas.microsoft.com/office/drawing/2014/main" id="{B41F4DC7-3F73-4023-84B1-377422594D94}"/>
                </a:ext>
              </a:extLst>
            </p:cNvPr>
            <p:cNvSpPr>
              <a:spLocks noChangeAspect="1"/>
            </p:cNvSpPr>
            <p:nvPr>
              <p:custDataLst>
                <p:tags r:id="rId36"/>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69" name="Harvey 2/3 [2]" hidden="1">
              <a:extLst>
                <a:ext uri="{FF2B5EF4-FFF2-40B4-BE49-F238E27FC236}">
                  <a16:creationId xmlns:a16="http://schemas.microsoft.com/office/drawing/2014/main" id="{6B1F8B66-7471-417A-A29F-4634105DE542}"/>
                </a:ext>
              </a:extLst>
            </p:cNvPr>
            <p:cNvSpPr>
              <a:spLocks noChangeAspect="1"/>
            </p:cNvSpPr>
            <p:nvPr>
              <p:custDataLst>
                <p:tags r:id="rId37"/>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70" name="Harvey 3/3 [3]" hidden="1">
              <a:extLst>
                <a:ext uri="{FF2B5EF4-FFF2-40B4-BE49-F238E27FC236}">
                  <a16:creationId xmlns:a16="http://schemas.microsoft.com/office/drawing/2014/main" id="{838BE17D-40D8-44E7-AEC3-5CD1726D7736}"/>
                </a:ext>
              </a:extLst>
            </p:cNvPr>
            <p:cNvSpPr>
              <a:spLocks noChangeAspect="1"/>
            </p:cNvSpPr>
            <p:nvPr>
              <p:custDataLst>
                <p:tags r:id="rId38"/>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grpSp>
      <p:grpSp>
        <p:nvGrpSpPr>
          <p:cNvPr id="71" name="Harvey 4" hidden="1">
            <a:extLst>
              <a:ext uri="{FF2B5EF4-FFF2-40B4-BE49-F238E27FC236}">
                <a16:creationId xmlns:a16="http://schemas.microsoft.com/office/drawing/2014/main" id="{E764B4BF-B735-40EA-B80D-459C60AAACE4}"/>
              </a:ext>
            </a:extLst>
          </p:cNvPr>
          <p:cNvGrpSpPr>
            <a:grpSpLocks/>
          </p:cNvGrpSpPr>
          <p:nvPr userDrawn="1">
            <p:custDataLst>
              <p:tags r:id="rId19"/>
            </p:custDataLst>
          </p:nvPr>
        </p:nvGrpSpPr>
        <p:grpSpPr>
          <a:xfrm>
            <a:off x="11246295" y="1459918"/>
            <a:ext cx="360133" cy="292608"/>
            <a:chOff x="0" y="0"/>
            <a:chExt cx="914400" cy="914400"/>
          </a:xfrm>
          <a:solidFill>
            <a:schemeClr val="tx1"/>
          </a:solidFill>
        </p:grpSpPr>
        <p:sp>
          <p:nvSpPr>
            <p:cNvPr id="72" name="Harvey 0/4 [0]" hidden="1">
              <a:extLst>
                <a:ext uri="{FF2B5EF4-FFF2-40B4-BE49-F238E27FC236}">
                  <a16:creationId xmlns:a16="http://schemas.microsoft.com/office/drawing/2014/main" id="{619471AD-02E3-4EC1-AC5A-00F885A990A6}"/>
                </a:ext>
              </a:extLst>
            </p:cNvPr>
            <p:cNvSpPr>
              <a:spLocks noChangeAspect="1"/>
            </p:cNvSpPr>
            <p:nvPr>
              <p:custDataLst>
                <p:tags r:id="rId3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73" name="Harvey 1/4 [1]">
              <a:extLst>
                <a:ext uri="{FF2B5EF4-FFF2-40B4-BE49-F238E27FC236}">
                  <a16:creationId xmlns:a16="http://schemas.microsoft.com/office/drawing/2014/main" id="{AA97BC9C-BBA4-4ED6-BA9E-BB278C0B1925}"/>
                </a:ext>
              </a:extLst>
            </p:cNvPr>
            <p:cNvSpPr>
              <a:spLocks noChangeAspect="1"/>
            </p:cNvSpPr>
            <p:nvPr>
              <p:custDataLst>
                <p:tags r:id="rId3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74" name="Harvey 2/4 [2]" hidden="1">
              <a:extLst>
                <a:ext uri="{FF2B5EF4-FFF2-40B4-BE49-F238E27FC236}">
                  <a16:creationId xmlns:a16="http://schemas.microsoft.com/office/drawing/2014/main" id="{03ACCB4F-1D68-49B8-A166-70F218F61009}"/>
                </a:ext>
              </a:extLst>
            </p:cNvPr>
            <p:cNvSpPr>
              <a:spLocks noChangeAspect="1"/>
            </p:cNvSpPr>
            <p:nvPr>
              <p:custDataLst>
                <p:tags r:id="rId3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75" name="Harvey 3/4 [3]" hidden="1">
              <a:extLst>
                <a:ext uri="{FF2B5EF4-FFF2-40B4-BE49-F238E27FC236}">
                  <a16:creationId xmlns:a16="http://schemas.microsoft.com/office/drawing/2014/main" id="{10353394-1620-4A65-8458-982AB50C159A}"/>
                </a:ext>
              </a:extLst>
            </p:cNvPr>
            <p:cNvSpPr>
              <a:spLocks noChangeAspect="1"/>
            </p:cNvSpPr>
            <p:nvPr>
              <p:custDataLst>
                <p:tags r:id="rId3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76" name="Harvey 4/4 [4]" hidden="1">
              <a:extLst>
                <a:ext uri="{FF2B5EF4-FFF2-40B4-BE49-F238E27FC236}">
                  <a16:creationId xmlns:a16="http://schemas.microsoft.com/office/drawing/2014/main" id="{88AB9BBD-A882-478B-85DB-C4E033FA81EB}"/>
                </a:ext>
              </a:extLst>
            </p:cNvPr>
            <p:cNvSpPr>
              <a:spLocks noChangeAspect="1"/>
            </p:cNvSpPr>
            <p:nvPr>
              <p:custDataLst>
                <p:tags r:id="rId3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grpSp>
      <p:grpSp>
        <p:nvGrpSpPr>
          <p:cNvPr id="77" name="Harvey 8" hidden="1">
            <a:extLst>
              <a:ext uri="{FF2B5EF4-FFF2-40B4-BE49-F238E27FC236}">
                <a16:creationId xmlns:a16="http://schemas.microsoft.com/office/drawing/2014/main" id="{D0002F30-C13C-48F1-B1F4-E588650DD685}"/>
              </a:ext>
            </a:extLst>
          </p:cNvPr>
          <p:cNvGrpSpPr>
            <a:grpSpLocks/>
          </p:cNvGrpSpPr>
          <p:nvPr userDrawn="1">
            <p:custDataLst>
              <p:tags r:id="rId20"/>
            </p:custDataLst>
          </p:nvPr>
        </p:nvGrpSpPr>
        <p:grpSpPr>
          <a:xfrm>
            <a:off x="11246295" y="1459918"/>
            <a:ext cx="360133" cy="292608"/>
            <a:chOff x="0" y="0"/>
            <a:chExt cx="914400" cy="914400"/>
          </a:xfrm>
          <a:solidFill>
            <a:schemeClr val="tx1"/>
          </a:solidFill>
        </p:grpSpPr>
        <p:sp>
          <p:nvSpPr>
            <p:cNvPr id="78" name="Harvey 0/8 [0]" hidden="1">
              <a:extLst>
                <a:ext uri="{FF2B5EF4-FFF2-40B4-BE49-F238E27FC236}">
                  <a16:creationId xmlns:a16="http://schemas.microsoft.com/office/drawing/2014/main" id="{658D9B93-E170-425C-B455-BC1AC9F83504}"/>
                </a:ext>
              </a:extLst>
            </p:cNvPr>
            <p:cNvSpPr>
              <a:spLocks noChangeAspect="1"/>
            </p:cNvSpPr>
            <p:nvPr>
              <p:custDataLst>
                <p:tags r:id="rId2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79" name="Harvey 1/8 [1]">
              <a:extLst>
                <a:ext uri="{FF2B5EF4-FFF2-40B4-BE49-F238E27FC236}">
                  <a16:creationId xmlns:a16="http://schemas.microsoft.com/office/drawing/2014/main" id="{30F06F54-8A95-402E-908E-EA1EDF0C6DF2}"/>
                </a:ext>
              </a:extLst>
            </p:cNvPr>
            <p:cNvSpPr>
              <a:spLocks noChangeAspect="1"/>
            </p:cNvSpPr>
            <p:nvPr>
              <p:custDataLst>
                <p:tags r:id="rId22"/>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80" name="Harvey 2/8 [2]" hidden="1">
              <a:extLst>
                <a:ext uri="{FF2B5EF4-FFF2-40B4-BE49-F238E27FC236}">
                  <a16:creationId xmlns:a16="http://schemas.microsoft.com/office/drawing/2014/main" id="{54B64E44-8D70-4DE8-8A0D-4B3589BEF3A1}"/>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81" name="Harvey 3/8 [3]" hidden="1">
              <a:extLst>
                <a:ext uri="{FF2B5EF4-FFF2-40B4-BE49-F238E27FC236}">
                  <a16:creationId xmlns:a16="http://schemas.microsoft.com/office/drawing/2014/main" id="{8A73005A-B701-464A-B38C-FE5A96AD6287}"/>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82" name="Harvey 4/8 [4]" hidden="1">
              <a:extLst>
                <a:ext uri="{FF2B5EF4-FFF2-40B4-BE49-F238E27FC236}">
                  <a16:creationId xmlns:a16="http://schemas.microsoft.com/office/drawing/2014/main" id="{3789BA54-F09E-4E6C-85BF-76C6DB8FB628}"/>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83" name="Harvey 5/8 [5]" hidden="1">
              <a:extLst>
                <a:ext uri="{FF2B5EF4-FFF2-40B4-BE49-F238E27FC236}">
                  <a16:creationId xmlns:a16="http://schemas.microsoft.com/office/drawing/2014/main" id="{2C073E5D-5FF8-49B5-AC14-D7DA28D390ED}"/>
                </a:ext>
              </a:extLst>
            </p:cNvPr>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84" name="Harvey 6/8 [6]" hidden="1">
              <a:extLst>
                <a:ext uri="{FF2B5EF4-FFF2-40B4-BE49-F238E27FC236}">
                  <a16:creationId xmlns:a16="http://schemas.microsoft.com/office/drawing/2014/main" id="{4B8C4A73-BA59-4335-9E49-8C34AD985E31}"/>
                </a:ext>
              </a:extLst>
            </p:cNvPr>
            <p:cNvSpPr>
              <a:spLocks noChangeAspect="1"/>
            </p:cNvSpPr>
            <p:nvPr>
              <p:custDataLst>
                <p:tags r:id="rId27"/>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85" name="Harvey 7/8 [7]" hidden="1">
              <a:extLst>
                <a:ext uri="{FF2B5EF4-FFF2-40B4-BE49-F238E27FC236}">
                  <a16:creationId xmlns:a16="http://schemas.microsoft.com/office/drawing/2014/main" id="{BE936F0B-D497-4117-BC2A-3B1099D61AA7}"/>
                </a:ext>
              </a:extLst>
            </p:cNvPr>
            <p:cNvSpPr>
              <a:spLocks noChangeAspect="1"/>
            </p:cNvSpPr>
            <p:nvPr>
              <p:custDataLst>
                <p:tags r:id="rId28"/>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86" name="Harvey 8/8 [8]" hidden="1">
              <a:extLst>
                <a:ext uri="{FF2B5EF4-FFF2-40B4-BE49-F238E27FC236}">
                  <a16:creationId xmlns:a16="http://schemas.microsoft.com/office/drawing/2014/main" id="{2681D4CF-EB43-4711-B081-5346EF94C20C}"/>
                </a:ext>
              </a:extLst>
            </p:cNvPr>
            <p:cNvSpPr>
              <a:spLocks noChangeAspect="1"/>
            </p:cNvSpPr>
            <p:nvPr>
              <p:custDataLst>
                <p:tags r:id="rId29"/>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grpSp>
      <p:sp>
        <p:nvSpPr>
          <p:cNvPr id="3" name="Workspace [Presentation]" hidden="1">
            <a:extLst>
              <a:ext uri="{FF2B5EF4-FFF2-40B4-BE49-F238E27FC236}">
                <a16:creationId xmlns:a16="http://schemas.microsoft.com/office/drawing/2014/main" id="{4AF2EB84-B166-4EB5-BE34-423FF03DD7AC}"/>
              </a:ext>
            </a:extLst>
          </p:cNvPr>
          <p:cNvSpPr/>
          <p:nvPr userDrawn="1"/>
        </p:nvSpPr>
        <p:spPr>
          <a:xfrm>
            <a:off x="423984" y="1341438"/>
            <a:ext cx="11342769" cy="4894976"/>
          </a:xfrm>
          <a:prstGeom prst="rect">
            <a:avLst/>
          </a:prstGeom>
          <a:noFill/>
          <a:ln w="12700">
            <a:solidFill>
              <a:srgbClr val="D24726"/>
            </a:solidFill>
            <a:prstDash val="lgDash"/>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sz="1800">
              <a:solidFill>
                <a:schemeClr val="bg2"/>
              </a:solidFill>
              <a:ea typeface="+mj-ea"/>
              <a:cs typeface="+mj-cs"/>
            </a:endParaRPr>
          </a:p>
        </p:txBody>
      </p:sp>
      <p:sp>
        <p:nvSpPr>
          <p:cNvPr id="5" name="MSIPCMContentMarking" descr="{&quot;HashCode&quot;:967973103,&quot;Placement&quot;:&quot;Footer&quot;,&quot;Top&quot;:519.343,&quot;Left&quot;:0.0,&quot;SlideWidth&quot;:960,&quot;SlideHeight&quot;:540}">
            <a:extLst>
              <a:ext uri="{FF2B5EF4-FFF2-40B4-BE49-F238E27FC236}">
                <a16:creationId xmlns:a16="http://schemas.microsoft.com/office/drawing/2014/main" id="{8C5F60A4-2C28-49C0-9FD8-108473E16067}"/>
              </a:ext>
            </a:extLst>
          </p:cNvPr>
          <p:cNvSpPr txBox="1"/>
          <p:nvPr userDrawn="1"/>
        </p:nvSpPr>
        <p:spPr>
          <a:xfrm>
            <a:off x="0" y="6595656"/>
            <a:ext cx="650765" cy="262344"/>
          </a:xfrm>
          <a:prstGeom prst="rect">
            <a:avLst/>
          </a:prstGeom>
          <a:noFill/>
        </p:spPr>
        <p:txBody>
          <a:bodyPr vert="horz" wrap="square" lIns="0" tIns="0" rIns="0" bIns="0" rtlCol="0" anchor="ctr" anchorCtr="1">
            <a:spAutoFit/>
          </a:bodyPr>
          <a:lstStyle/>
          <a:p>
            <a:pPr algn="l">
              <a:spcBef>
                <a:spcPts val="0"/>
              </a:spcBef>
              <a:spcAft>
                <a:spcPts val="0"/>
              </a:spcAft>
            </a:pPr>
            <a:r>
              <a:rPr lang="fr-FR" sz="1000">
                <a:solidFill>
                  <a:srgbClr val="A80000"/>
                </a:solidFill>
                <a:latin typeface="Calibri" panose="020F0502020204030204" pitchFamily="34" charset="0"/>
              </a:rPr>
              <a:t>Interne</a:t>
            </a:r>
            <a:endParaRPr lang="fr-FR" sz="1000" dirty="0">
              <a:solidFill>
                <a:srgbClr val="A80000"/>
              </a:solidFill>
              <a:latin typeface="Calibri" panose="020F0502020204030204" pitchFamily="34" charset="0"/>
            </a:endParaRPr>
          </a:p>
        </p:txBody>
      </p:sp>
    </p:spTree>
    <p:extLst>
      <p:ext uri="{BB962C8B-B14F-4D97-AF65-F5344CB8AC3E}">
        <p14:creationId xmlns:p14="http://schemas.microsoft.com/office/powerpoint/2010/main" val="1688597093"/>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Lst>
  <p:hf hdr="0" ftr="0" dt="0"/>
  <p:txStyles>
    <p:titleStyle>
      <a:lvl1pPr algn="l" defTabSz="742950" rtl="0" eaLnBrk="1" latinLnBrk="0" hangingPunct="1">
        <a:lnSpc>
          <a:spcPct val="100000"/>
        </a:lnSpc>
        <a:spcBef>
          <a:spcPct val="0"/>
        </a:spcBef>
        <a:buNone/>
        <a:defRPr sz="2200" kern="1200" baseline="0">
          <a:solidFill>
            <a:schemeClr val="bg2"/>
          </a:solidFill>
          <a:latin typeface="+mj-lt"/>
          <a:ea typeface="+mj-ea"/>
          <a:cs typeface="+mj-cs"/>
        </a:defRPr>
      </a:lvl1pPr>
    </p:titleStyle>
    <p:bodyStyle>
      <a:lvl1pPr marL="0" indent="0" algn="just" defTabSz="742950" rtl="0" eaLnBrk="1" latinLnBrk="0" hangingPunct="1">
        <a:lnSpc>
          <a:spcPct val="100000"/>
        </a:lnSpc>
        <a:spcBef>
          <a:spcPts val="1463"/>
        </a:spcBef>
        <a:buFont typeface="Arial" panose="020B0604020202020204" pitchFamily="34" charset="0"/>
        <a:buNone/>
        <a:tabLst/>
        <a:defRPr sz="1600" i="0" kern="1200" cap="none" baseline="0">
          <a:solidFill>
            <a:schemeClr val="bg2"/>
          </a:solidFill>
          <a:latin typeface="+mn-lt"/>
          <a:ea typeface="+mn-ea"/>
          <a:cs typeface="+mn-cs"/>
        </a:defRPr>
      </a:lvl1pPr>
      <a:lvl2pPr marL="291505" indent="-291505" algn="just" defTabSz="914400" rtl="0" eaLnBrk="1" latinLnBrk="0" hangingPunct="1">
        <a:lnSpc>
          <a:spcPct val="100000"/>
        </a:lnSpc>
        <a:spcBef>
          <a:spcPts val="1138"/>
        </a:spcBef>
        <a:buClr>
          <a:schemeClr val="bg2"/>
        </a:buClr>
        <a:buFont typeface="Tempus Sans ITC" panose="04020404030D07020202" pitchFamily="82" charset="0"/>
        <a:buChar char="/"/>
        <a:defRPr lang="en-GB" sz="1400" kern="1200" baseline="0" dirty="0">
          <a:solidFill>
            <a:schemeClr val="tx1"/>
          </a:solidFill>
          <a:latin typeface="+mn-lt"/>
          <a:ea typeface="+mn-ea"/>
          <a:cs typeface="+mn-cs"/>
        </a:defRPr>
      </a:lvl2pPr>
      <a:lvl3pPr marL="292500" indent="0" algn="just" defTabSz="914400" rtl="0" eaLnBrk="1" latinLnBrk="0" hangingPunct="1">
        <a:lnSpc>
          <a:spcPct val="100000"/>
        </a:lnSpc>
        <a:spcBef>
          <a:spcPts val="488"/>
        </a:spcBef>
        <a:buFontTx/>
        <a:buNone/>
        <a:defRPr lang="en-GB" sz="1400" kern="1200" baseline="0" dirty="0">
          <a:solidFill>
            <a:schemeClr val="tx1"/>
          </a:solidFill>
          <a:latin typeface="+mn-lt"/>
          <a:ea typeface="+mn-ea"/>
          <a:cs typeface="+mn-cs"/>
        </a:defRPr>
      </a:lvl3pPr>
      <a:lvl4pPr marL="526500" indent="-234000" algn="just" defTabSz="742950" rtl="0" eaLnBrk="1" latinLnBrk="0" hangingPunct="1">
        <a:lnSpc>
          <a:spcPct val="100000"/>
        </a:lnSpc>
        <a:spcBef>
          <a:spcPts val="488"/>
        </a:spcBef>
        <a:buClr>
          <a:schemeClr val="bg2"/>
        </a:buClr>
        <a:buFont typeface="Tahoma" panose="020B0604030504040204" pitchFamily="34" charset="0"/>
        <a:buChar char="›"/>
        <a:defRPr lang="en-GB" sz="1200" kern="1200" cap="none" baseline="0" dirty="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en-GB"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en-GB"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en-GB"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en-GB" sz="1000" kern="1200" baseline="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en-GB" sz="1000" kern="1200" baseline="0" noProof="0" dirty="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pos="267">
          <p15:clr>
            <a:srgbClr val="F26B43"/>
          </p15:clr>
        </p15:guide>
        <p15:guide id="4" pos="7413">
          <p15:clr>
            <a:srgbClr val="F26B43"/>
          </p15:clr>
        </p15:guide>
        <p15:guide id="21" orient="horz" pos="2387">
          <p15:clr>
            <a:srgbClr val="F26B43"/>
          </p15:clr>
        </p15:guide>
        <p15:guide id="22" pos="3120">
          <p15:clr>
            <a:srgbClr val="F26B43"/>
          </p15:clr>
        </p15:guide>
        <p15:guide id="23" pos="217">
          <p15:clr>
            <a:srgbClr val="F26B43"/>
          </p15:clr>
        </p15:guide>
        <p15:guide id="24" pos="6023">
          <p15:clr>
            <a:srgbClr val="F26B43"/>
          </p15:clr>
        </p15:guide>
        <p15:guide id="25" orient="horz" pos="255">
          <p15:clr>
            <a:srgbClr val="F26B43"/>
          </p15:clr>
        </p15:guide>
        <p15:guide id="26" orient="horz" pos="845">
          <p15:clr>
            <a:srgbClr val="F26B43"/>
          </p15:clr>
        </p15:guide>
        <p15:guide id="27" orient="horz" pos="392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8"/>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Date Placeholder 3"/>
          <p:cNvSpPr>
            <a:spLocks noGrp="1"/>
          </p:cNvSpPr>
          <p:nvPr>
            <p:ph type="dt" sz="half" idx="2"/>
          </p:nvPr>
        </p:nvSpPr>
        <p:spPr>
          <a:xfrm>
            <a:off x="838201" y="6356353"/>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7E3CD7-A3C1-4A1E-9615-BA654794441E}" type="datetimeFigureOut">
              <a:rPr lang="fr-FR" smtClean="0"/>
              <a:t>05/10/2022</a:t>
            </a:fld>
            <a:endParaRPr lang="fr-FR"/>
          </a:p>
        </p:txBody>
      </p:sp>
      <p:sp>
        <p:nvSpPr>
          <p:cNvPr id="5" name="Footer Placeholder 4"/>
          <p:cNvSpPr>
            <a:spLocks noGrp="1"/>
          </p:cNvSpPr>
          <p:nvPr>
            <p:ph type="ftr" sz="quarter" idx="3"/>
          </p:nvPr>
        </p:nvSpPr>
        <p:spPr>
          <a:xfrm>
            <a:off x="4038601" y="6356353"/>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Slide Number Placeholder 5"/>
          <p:cNvSpPr>
            <a:spLocks noGrp="1"/>
          </p:cNvSpPr>
          <p:nvPr>
            <p:ph type="sldNum" sz="quarter" idx="4"/>
          </p:nvPr>
        </p:nvSpPr>
        <p:spPr>
          <a:xfrm>
            <a:off x="8610601" y="6356353"/>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27AE43-724D-4DED-BED0-6F19B2FF8D8C}" type="slidenum">
              <a:rPr lang="fr-FR" smtClean="0"/>
              <a:t>‹N°›</a:t>
            </a:fld>
            <a:endParaRPr lang="fr-FR"/>
          </a:p>
        </p:txBody>
      </p:sp>
      <p:sp>
        <p:nvSpPr>
          <p:cNvPr id="7" name="MSIPCMContentMarking" descr="{&quot;HashCode&quot;:967973103,&quot;Placement&quot;:&quot;Footer&quot;,&quot;Top&quot;:519.343,&quot;Left&quot;:0.0,&quot;SlideWidth&quot;:960,&quot;SlideHeight&quot;:540}">
            <a:extLst>
              <a:ext uri="{FF2B5EF4-FFF2-40B4-BE49-F238E27FC236}">
                <a16:creationId xmlns:a16="http://schemas.microsoft.com/office/drawing/2014/main" id="{BF549FF5-761C-4163-8C39-0BB9F2B766CC}"/>
              </a:ext>
            </a:extLst>
          </p:cNvPr>
          <p:cNvSpPr txBox="1"/>
          <p:nvPr userDrawn="1"/>
        </p:nvSpPr>
        <p:spPr>
          <a:xfrm>
            <a:off x="0" y="6595656"/>
            <a:ext cx="650765" cy="262344"/>
          </a:xfrm>
          <a:prstGeom prst="rect">
            <a:avLst/>
          </a:prstGeom>
          <a:noFill/>
        </p:spPr>
        <p:txBody>
          <a:bodyPr vert="horz" wrap="square" lIns="0" tIns="0" rIns="0" bIns="0" rtlCol="0" anchor="ctr" anchorCtr="1">
            <a:spAutoFit/>
          </a:bodyPr>
          <a:lstStyle/>
          <a:p>
            <a:pPr algn="l">
              <a:spcBef>
                <a:spcPts val="0"/>
              </a:spcBef>
              <a:spcAft>
                <a:spcPts val="0"/>
              </a:spcAft>
            </a:pPr>
            <a:r>
              <a:rPr lang="fr-FR" sz="1000">
                <a:solidFill>
                  <a:srgbClr val="A80000"/>
                </a:solidFill>
                <a:latin typeface="Calibri" panose="020F0502020204030204" pitchFamily="34" charset="0"/>
              </a:rPr>
              <a:t>Interne</a:t>
            </a:r>
          </a:p>
        </p:txBody>
      </p:sp>
    </p:spTree>
    <p:extLst>
      <p:ext uri="{BB962C8B-B14F-4D97-AF65-F5344CB8AC3E}">
        <p14:creationId xmlns:p14="http://schemas.microsoft.com/office/powerpoint/2010/main" val="1754021028"/>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18" Type="http://schemas.openxmlformats.org/officeDocument/2006/relationships/image" Target="../media/image34.sv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17" Type="http://schemas.openxmlformats.org/officeDocument/2006/relationships/image" Target="../media/image33.png"/><Relationship Id="rId2" Type="http://schemas.openxmlformats.org/officeDocument/2006/relationships/notesSlide" Target="../notesSlides/notesSlide3.xml"/><Relationship Id="rId16" Type="http://schemas.openxmlformats.org/officeDocument/2006/relationships/image" Target="../media/image32.svg"/><Relationship Id="rId1" Type="http://schemas.openxmlformats.org/officeDocument/2006/relationships/slideLayout" Target="../slideLayouts/slideLayout3.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svg"/></Relationships>
</file>

<file path=ppt/slides/_rels/slide12.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18" Type="http://schemas.openxmlformats.org/officeDocument/2006/relationships/image" Target="../media/image34.sv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17" Type="http://schemas.openxmlformats.org/officeDocument/2006/relationships/image" Target="../media/image33.png"/><Relationship Id="rId2" Type="http://schemas.openxmlformats.org/officeDocument/2006/relationships/notesSlide" Target="../notesSlides/notesSlide4.xml"/><Relationship Id="rId16" Type="http://schemas.openxmlformats.org/officeDocument/2006/relationships/image" Target="../media/image32.svg"/><Relationship Id="rId1" Type="http://schemas.openxmlformats.org/officeDocument/2006/relationships/slideLayout" Target="../slideLayouts/slideLayout3.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svg"/></Relationships>
</file>

<file path=ppt/slides/_rels/slide13.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18" Type="http://schemas.openxmlformats.org/officeDocument/2006/relationships/image" Target="../media/image34.sv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svg"/><Relationship Id="rId17" Type="http://schemas.openxmlformats.org/officeDocument/2006/relationships/image" Target="../media/image33.png"/><Relationship Id="rId2" Type="http://schemas.openxmlformats.org/officeDocument/2006/relationships/notesSlide" Target="../notesSlides/notesSlide5.xml"/><Relationship Id="rId16" Type="http://schemas.openxmlformats.org/officeDocument/2006/relationships/image" Target="../media/image32.svg"/><Relationship Id="rId1" Type="http://schemas.openxmlformats.org/officeDocument/2006/relationships/slideLayout" Target="../slideLayouts/slideLayout3.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svg"/></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3" Type="http://schemas.openxmlformats.org/officeDocument/2006/relationships/image" Target="../media/image20.svg"/><Relationship Id="rId7" Type="http://schemas.openxmlformats.org/officeDocument/2006/relationships/image" Target="../media/image24.svg"/><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image" Target="../media/image19.png"/><Relationship Id="rId16" Type="http://schemas.openxmlformats.org/officeDocument/2006/relationships/image" Target="../media/image33.png"/><Relationship Id="rId1" Type="http://schemas.openxmlformats.org/officeDocument/2006/relationships/slideLayout" Target="../slideLayouts/slideLayout3.xml"/><Relationship Id="rId6" Type="http://schemas.openxmlformats.org/officeDocument/2006/relationships/image" Target="../media/image23.png"/><Relationship Id="rId11" Type="http://schemas.openxmlformats.org/officeDocument/2006/relationships/image" Target="../media/image28.svg"/><Relationship Id="rId5" Type="http://schemas.openxmlformats.org/officeDocument/2006/relationships/image" Target="../media/image22.svg"/><Relationship Id="rId15" Type="http://schemas.openxmlformats.org/officeDocument/2006/relationships/image" Target="../media/image32.sv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svg"/><Relationship Id="rId14"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 Target="slide53.xml"/><Relationship Id="rId1" Type="http://schemas.openxmlformats.org/officeDocument/2006/relationships/slideLayout" Target="../slideLayouts/slideLayout3.xml"/><Relationship Id="rId5" Type="http://schemas.openxmlformats.org/officeDocument/2006/relationships/slide" Target="slide40.xml"/><Relationship Id="rId4" Type="http://schemas.openxmlformats.org/officeDocument/2006/relationships/image" Target="../media/image17.svg"/></Relationships>
</file>

<file path=ppt/slides/_rels/slide16.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tags" Target="../tags/tag125.xml"/><Relationship Id="rId7" Type="http://schemas.openxmlformats.org/officeDocument/2006/relationships/image" Target="../media/image35.png"/><Relationship Id="rId12" Type="http://schemas.openxmlformats.org/officeDocument/2006/relationships/image" Target="../media/image40.svg"/><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notesSlide" Target="../notesSlides/notesSlide6.xml"/><Relationship Id="rId11" Type="http://schemas.openxmlformats.org/officeDocument/2006/relationships/image" Target="../media/image39.png"/><Relationship Id="rId5" Type="http://schemas.openxmlformats.org/officeDocument/2006/relationships/slideLayout" Target="../slideLayouts/slideLayout3.xml"/><Relationship Id="rId10" Type="http://schemas.openxmlformats.org/officeDocument/2006/relationships/image" Target="../media/image38.svg"/><Relationship Id="rId4" Type="http://schemas.openxmlformats.org/officeDocument/2006/relationships/tags" Target="../tags/tag126.xml"/><Relationship Id="rId9"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svg"/><Relationship Id="rId2" Type="http://schemas.openxmlformats.org/officeDocument/2006/relationships/notesSlide" Target="../notesSlides/notesSlide7.xml"/><Relationship Id="rId1" Type="http://schemas.openxmlformats.org/officeDocument/2006/relationships/slideLayout" Target="../slideLayouts/slideLayout55.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8.xml"/><Relationship Id="rId1" Type="http://schemas.openxmlformats.org/officeDocument/2006/relationships/tags" Target="../tags/tag1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image" Target="../media/image49.svg"/><Relationship Id="rId18" Type="http://schemas.openxmlformats.org/officeDocument/2006/relationships/image" Target="../media/image54.png"/><Relationship Id="rId3" Type="http://schemas.openxmlformats.org/officeDocument/2006/relationships/tags" Target="../tags/tag130.xml"/><Relationship Id="rId21" Type="http://schemas.openxmlformats.org/officeDocument/2006/relationships/image" Target="../media/image57.svg"/><Relationship Id="rId7" Type="http://schemas.openxmlformats.org/officeDocument/2006/relationships/tags" Target="../tags/tag134.xml"/><Relationship Id="rId12" Type="http://schemas.openxmlformats.org/officeDocument/2006/relationships/image" Target="../media/image48.png"/><Relationship Id="rId17" Type="http://schemas.openxmlformats.org/officeDocument/2006/relationships/image" Target="../media/image53.svg"/><Relationship Id="rId2" Type="http://schemas.openxmlformats.org/officeDocument/2006/relationships/tags" Target="../tags/tag129.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image" Target="../media/image47.svg"/><Relationship Id="rId5" Type="http://schemas.openxmlformats.org/officeDocument/2006/relationships/tags" Target="../tags/tag132.xml"/><Relationship Id="rId15" Type="http://schemas.openxmlformats.org/officeDocument/2006/relationships/image" Target="../media/image51.svg"/><Relationship Id="rId10" Type="http://schemas.openxmlformats.org/officeDocument/2006/relationships/image" Target="../media/image46.png"/><Relationship Id="rId19" Type="http://schemas.openxmlformats.org/officeDocument/2006/relationships/image" Target="../media/image55.svg"/><Relationship Id="rId4" Type="http://schemas.openxmlformats.org/officeDocument/2006/relationships/tags" Target="../tags/tag131.xml"/><Relationship Id="rId9" Type="http://schemas.openxmlformats.org/officeDocument/2006/relationships/slideLayout" Target="../slideLayouts/slideLayout83.xml"/><Relationship Id="rId14" Type="http://schemas.openxmlformats.org/officeDocument/2006/relationships/image" Target="../media/image50.png"/></Relationships>
</file>

<file path=ppt/slides/_rels/slide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8.png"/><Relationship Id="rId1" Type="http://schemas.openxmlformats.org/officeDocument/2006/relationships/slideLayout" Target="../slideLayouts/slideLayout8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tags" Target="../tags/tag137.xml"/><Relationship Id="rId1" Type="http://schemas.openxmlformats.org/officeDocument/2006/relationships/tags" Target="../tags/tag136.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 Target="slide53.xml"/><Relationship Id="rId1" Type="http://schemas.openxmlformats.org/officeDocument/2006/relationships/slideLayout" Target="../slideLayouts/slideLayout83.xml"/><Relationship Id="rId4" Type="http://schemas.openxmlformats.org/officeDocument/2006/relationships/image" Target="../media/image17.sv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svg"/><Relationship Id="rId3" Type="http://schemas.openxmlformats.org/officeDocument/2006/relationships/tags" Target="../tags/tag140.xml"/><Relationship Id="rId7" Type="http://schemas.openxmlformats.org/officeDocument/2006/relationships/notesSlide" Target="../notesSlides/notesSlide9.xml"/><Relationship Id="rId12"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slideLayout" Target="../slideLayouts/slideLayout58.xml"/><Relationship Id="rId11" Type="http://schemas.openxmlformats.org/officeDocument/2006/relationships/image" Target="../media/image62.svg"/><Relationship Id="rId5" Type="http://schemas.openxmlformats.org/officeDocument/2006/relationships/tags" Target="../tags/tag142.xml"/><Relationship Id="rId10" Type="http://schemas.openxmlformats.org/officeDocument/2006/relationships/image" Target="../media/image61.png"/><Relationship Id="rId4" Type="http://schemas.openxmlformats.org/officeDocument/2006/relationships/tags" Target="../tags/tag141.xml"/><Relationship Id="rId9" Type="http://schemas.openxmlformats.org/officeDocument/2006/relationships/image" Target="../media/image60.svg"/><Relationship Id="rId14" Type="http://schemas.openxmlformats.org/officeDocument/2006/relationships/hyperlink" Target="https://www.has-sante.fr/upload/docs/application/pdf/2022-07/nc_repit_aidants_vf.pdf" TargetMode="External"/></Relationships>
</file>

<file path=ppt/slides/_rels/slide27.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hyperlink" Target="https://www.insee.fr/fr/statistiques/4196949" TargetMode="External"/><Relationship Id="rId7"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58.xml"/><Relationship Id="rId6" Type="http://schemas.openxmlformats.org/officeDocument/2006/relationships/chart" Target="../charts/chart1.xml"/><Relationship Id="rId5" Type="http://schemas.openxmlformats.org/officeDocument/2006/relationships/hyperlink" Target="https://drees.solidarites-sante.gouv.fr/publications/etudes-et-resultats/perte-dautonomie-pratiques-inchangees-108-000-seniors-de-plus" TargetMode="External"/><Relationship Id="rId4" Type="http://schemas.openxmlformats.org/officeDocument/2006/relationships/hyperlink" Target="https://www.lemonde.fr/societe/article/2019/07/26/en-2050-la-france-pourrait-compter-4-millions-de-personnes-en-perte-d-autonomie-selon-l-insee_5493611_3224.html" TargetMode="External"/></Relationships>
</file>

<file path=ppt/slides/_rels/slide2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hyperlink" Target="https://drees.solidarites-sante.gouv.fr/sites/default/files/panorama/" TargetMode="External"/><Relationship Id="rId7" Type="http://schemas.openxmlformats.org/officeDocument/2006/relationships/hyperlink" Target="https://www.insee.fr/fr/statistiques/4196949" TargetMode="External"/><Relationship Id="rId12" Type="http://schemas.openxmlformats.org/officeDocument/2006/relationships/slide" Target="slide63.xml"/><Relationship Id="rId2" Type="http://schemas.openxmlformats.org/officeDocument/2006/relationships/notesSlide" Target="../notesSlides/notesSlide11.xml"/><Relationship Id="rId1" Type="http://schemas.openxmlformats.org/officeDocument/2006/relationships/slideLayout" Target="../slideLayouts/slideLayout58.xml"/><Relationship Id="rId6" Type="http://schemas.openxmlformats.org/officeDocument/2006/relationships/hyperlink" Target="https://drees.solidarites-sante.gouv.fr/publications/etudes-et-resultats/perte-dautonomie-pratiques-inchangees-108-000-seniors-de-plus" TargetMode="External"/><Relationship Id="rId11" Type="http://schemas.openxmlformats.org/officeDocument/2006/relationships/image" Target="../media/image68.svg"/><Relationship Id="rId5" Type="http://schemas.openxmlformats.org/officeDocument/2006/relationships/image" Target="../media/image66.svg"/><Relationship Id="rId10" Type="http://schemas.openxmlformats.org/officeDocument/2006/relationships/image" Target="../media/image16.png"/><Relationship Id="rId4" Type="http://schemas.openxmlformats.org/officeDocument/2006/relationships/image" Target="../media/image65.png"/><Relationship Id="rId9" Type="http://schemas.microsoft.com/office/2007/relationships/hdphoto" Target="../media/hdphoto3.wdp"/></Relationships>
</file>

<file path=ppt/slides/_rels/slide2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drees.solidarites-sante.gouv.fr/sites/default/files/panorama/" TargetMode="External"/><Relationship Id="rId7" Type="http://schemas.microsoft.com/office/2007/relationships/hdphoto" Target="../media/hdphoto3.wdp"/><Relationship Id="rId2" Type="http://schemas.openxmlformats.org/officeDocument/2006/relationships/notesSlide" Target="../notesSlides/notesSlide12.xml"/><Relationship Id="rId1" Type="http://schemas.openxmlformats.org/officeDocument/2006/relationships/slideLayout" Target="../slideLayouts/slideLayout58.xml"/><Relationship Id="rId6" Type="http://schemas.openxmlformats.org/officeDocument/2006/relationships/image" Target="../media/image67.png"/><Relationship Id="rId5" Type="http://schemas.openxmlformats.org/officeDocument/2006/relationships/image" Target="../media/image66.svg"/><Relationship Id="rId10" Type="http://schemas.openxmlformats.org/officeDocument/2006/relationships/slide" Target="slide63.xml"/><Relationship Id="rId4" Type="http://schemas.openxmlformats.org/officeDocument/2006/relationships/image" Target="../media/image65.png"/><Relationship Id="rId9" Type="http://schemas.openxmlformats.org/officeDocument/2006/relationships/image" Target="../media/image68.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3.xml"/><Relationship Id="rId1" Type="http://schemas.openxmlformats.org/officeDocument/2006/relationships/slideLayout" Target="../slideLayouts/slideLayout58.xml"/><Relationship Id="rId5" Type="http://schemas.openxmlformats.org/officeDocument/2006/relationships/chart" Target="../charts/chart6.xml"/><Relationship Id="rId4" Type="http://schemas.openxmlformats.org/officeDocument/2006/relationships/chart" Target="../charts/chart5.xml"/></Relationships>
</file>

<file path=ppt/slides/_rels/slide31.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Layout" Target="../slideLayouts/slideLayout5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13.png"/><Relationship Id="rId7" Type="http://schemas.openxmlformats.org/officeDocument/2006/relationships/image" Target="../media/image75.svg"/><Relationship Id="rId2" Type="http://schemas.openxmlformats.org/officeDocument/2006/relationships/notesSlide" Target="../notesSlides/notesSlide17.xml"/><Relationship Id="rId1" Type="http://schemas.openxmlformats.org/officeDocument/2006/relationships/slideLayout" Target="../slideLayouts/slideLayout21.xml"/><Relationship Id="rId6" Type="http://schemas.openxmlformats.org/officeDocument/2006/relationships/image" Target="../media/image71.png"/><Relationship Id="rId5" Type="http://schemas.openxmlformats.org/officeDocument/2006/relationships/image" Target="../media/image15.png"/><Relationship Id="rId4" Type="http://schemas.openxmlformats.org/officeDocument/2006/relationships/image" Target="../media/image14.svg"/><Relationship Id="rId9" Type="http://schemas.openxmlformats.org/officeDocument/2006/relationships/image" Target="../media/image74.sv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1.xml"/><Relationship Id="rId5" Type="http://schemas.openxmlformats.org/officeDocument/2006/relationships/image" Target="../media/image15.png"/><Relationship Id="rId4" Type="http://schemas.openxmlformats.org/officeDocument/2006/relationships/image" Target="../media/image14.sv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39.xml"/><Relationship Id="rId4" Type="http://schemas.microsoft.com/office/2007/relationships/hdphoto" Target="../media/hdphoto4.wdp"/></Relationships>
</file>

<file path=ppt/slides/_rels/slide43.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25.png"/><Relationship Id="rId18" Type="http://schemas.openxmlformats.org/officeDocument/2006/relationships/image" Target="../media/image28.svg"/><Relationship Id="rId3" Type="http://schemas.openxmlformats.org/officeDocument/2006/relationships/image" Target="../media/image78.png"/><Relationship Id="rId21" Type="http://schemas.openxmlformats.org/officeDocument/2006/relationships/image" Target="../media/image29.png"/><Relationship Id="rId7" Type="http://schemas.openxmlformats.org/officeDocument/2006/relationships/image" Target="../media/image79.png"/><Relationship Id="rId12" Type="http://schemas.openxmlformats.org/officeDocument/2006/relationships/image" Target="../media/image24.svg"/><Relationship Id="rId17" Type="http://schemas.openxmlformats.org/officeDocument/2006/relationships/image" Target="../media/image27.png"/><Relationship Id="rId2" Type="http://schemas.openxmlformats.org/officeDocument/2006/relationships/image" Target="../media/image76.png"/><Relationship Id="rId16" Type="http://schemas.openxmlformats.org/officeDocument/2006/relationships/image" Target="../media/image82.svg"/><Relationship Id="rId20" Type="http://schemas.openxmlformats.org/officeDocument/2006/relationships/image" Target="../media/image84.svg"/><Relationship Id="rId1" Type="http://schemas.openxmlformats.org/officeDocument/2006/relationships/slideLayout" Target="../slideLayouts/slideLayout39.xml"/><Relationship Id="rId6" Type="http://schemas.openxmlformats.org/officeDocument/2006/relationships/image" Target="../media/image20.svg"/><Relationship Id="rId11" Type="http://schemas.openxmlformats.org/officeDocument/2006/relationships/image" Target="../media/image23.png"/><Relationship Id="rId24" Type="http://schemas.openxmlformats.org/officeDocument/2006/relationships/image" Target="../media/image32.svg"/><Relationship Id="rId5" Type="http://schemas.openxmlformats.org/officeDocument/2006/relationships/image" Target="../media/image19.png"/><Relationship Id="rId15" Type="http://schemas.openxmlformats.org/officeDocument/2006/relationships/image" Target="../media/image81.png"/><Relationship Id="rId23" Type="http://schemas.openxmlformats.org/officeDocument/2006/relationships/image" Target="../media/image31.png"/><Relationship Id="rId10" Type="http://schemas.openxmlformats.org/officeDocument/2006/relationships/image" Target="../media/image22.svg"/><Relationship Id="rId19" Type="http://schemas.openxmlformats.org/officeDocument/2006/relationships/image" Target="../media/image83.png"/><Relationship Id="rId4" Type="http://schemas.microsoft.com/office/2007/relationships/hdphoto" Target="../media/hdphoto5.wdp"/><Relationship Id="rId9" Type="http://schemas.openxmlformats.org/officeDocument/2006/relationships/image" Target="../media/image21.png"/><Relationship Id="rId14" Type="http://schemas.openxmlformats.org/officeDocument/2006/relationships/image" Target="../media/image26.svg"/><Relationship Id="rId22" Type="http://schemas.openxmlformats.org/officeDocument/2006/relationships/image" Target="../media/image30.svg"/></Relationships>
</file>

<file path=ppt/slides/_rels/slide44.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9.png"/><Relationship Id="rId18" Type="http://schemas.openxmlformats.org/officeDocument/2006/relationships/image" Target="../media/image32.svg"/><Relationship Id="rId3" Type="http://schemas.openxmlformats.org/officeDocument/2006/relationships/image" Target="../media/image19.png"/><Relationship Id="rId21" Type="http://schemas.openxmlformats.org/officeDocument/2006/relationships/image" Target="../media/image25.png"/><Relationship Id="rId7" Type="http://schemas.openxmlformats.org/officeDocument/2006/relationships/image" Target="../media/image21.png"/><Relationship Id="rId12" Type="http://schemas.openxmlformats.org/officeDocument/2006/relationships/image" Target="../media/image84.svg"/><Relationship Id="rId17" Type="http://schemas.openxmlformats.org/officeDocument/2006/relationships/image" Target="../media/image31.png"/><Relationship Id="rId2" Type="http://schemas.openxmlformats.org/officeDocument/2006/relationships/image" Target="../media/image76.png"/><Relationship Id="rId16" Type="http://schemas.microsoft.com/office/2007/relationships/hdphoto" Target="../media/hdphoto5.wdp"/><Relationship Id="rId20" Type="http://schemas.openxmlformats.org/officeDocument/2006/relationships/image" Target="../media/image24.svg"/><Relationship Id="rId1" Type="http://schemas.openxmlformats.org/officeDocument/2006/relationships/slideLayout" Target="../slideLayouts/slideLayout39.xml"/><Relationship Id="rId6" Type="http://schemas.openxmlformats.org/officeDocument/2006/relationships/image" Target="../media/image80.svg"/><Relationship Id="rId11" Type="http://schemas.openxmlformats.org/officeDocument/2006/relationships/image" Target="../media/image83.png"/><Relationship Id="rId24" Type="http://schemas.openxmlformats.org/officeDocument/2006/relationships/image" Target="../media/image82.svg"/><Relationship Id="rId5" Type="http://schemas.openxmlformats.org/officeDocument/2006/relationships/image" Target="../media/image79.png"/><Relationship Id="rId15" Type="http://schemas.openxmlformats.org/officeDocument/2006/relationships/image" Target="../media/image78.png"/><Relationship Id="rId23" Type="http://schemas.openxmlformats.org/officeDocument/2006/relationships/image" Target="../media/image81.png"/><Relationship Id="rId10" Type="http://schemas.openxmlformats.org/officeDocument/2006/relationships/image" Target="../media/image28.svg"/><Relationship Id="rId19" Type="http://schemas.openxmlformats.org/officeDocument/2006/relationships/image" Target="../media/image23.png"/><Relationship Id="rId4" Type="http://schemas.openxmlformats.org/officeDocument/2006/relationships/image" Target="../media/image20.svg"/><Relationship Id="rId9" Type="http://schemas.openxmlformats.org/officeDocument/2006/relationships/image" Target="../media/image27.png"/><Relationship Id="rId14" Type="http://schemas.openxmlformats.org/officeDocument/2006/relationships/image" Target="../media/image30.svg"/><Relationship Id="rId22" Type="http://schemas.openxmlformats.org/officeDocument/2006/relationships/image" Target="../media/image26.svg"/></Relationships>
</file>

<file path=ppt/slides/_rels/slide45.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9.png"/><Relationship Id="rId18" Type="http://schemas.openxmlformats.org/officeDocument/2006/relationships/image" Target="../media/image32.svg"/><Relationship Id="rId3" Type="http://schemas.openxmlformats.org/officeDocument/2006/relationships/image" Target="../media/image19.png"/><Relationship Id="rId21" Type="http://schemas.openxmlformats.org/officeDocument/2006/relationships/image" Target="../media/image25.png"/><Relationship Id="rId7" Type="http://schemas.openxmlformats.org/officeDocument/2006/relationships/image" Target="../media/image21.png"/><Relationship Id="rId12" Type="http://schemas.openxmlformats.org/officeDocument/2006/relationships/image" Target="../media/image84.svg"/><Relationship Id="rId17" Type="http://schemas.openxmlformats.org/officeDocument/2006/relationships/image" Target="../media/image31.png"/><Relationship Id="rId2" Type="http://schemas.openxmlformats.org/officeDocument/2006/relationships/image" Target="../media/image76.png"/><Relationship Id="rId16" Type="http://schemas.microsoft.com/office/2007/relationships/hdphoto" Target="../media/hdphoto5.wdp"/><Relationship Id="rId20" Type="http://schemas.openxmlformats.org/officeDocument/2006/relationships/image" Target="../media/image24.svg"/><Relationship Id="rId1" Type="http://schemas.openxmlformats.org/officeDocument/2006/relationships/slideLayout" Target="../slideLayouts/slideLayout39.xml"/><Relationship Id="rId6" Type="http://schemas.openxmlformats.org/officeDocument/2006/relationships/image" Target="../media/image80.svg"/><Relationship Id="rId11" Type="http://schemas.openxmlformats.org/officeDocument/2006/relationships/image" Target="../media/image83.png"/><Relationship Id="rId24" Type="http://schemas.openxmlformats.org/officeDocument/2006/relationships/image" Target="../media/image82.svg"/><Relationship Id="rId5" Type="http://schemas.openxmlformats.org/officeDocument/2006/relationships/image" Target="../media/image79.png"/><Relationship Id="rId15" Type="http://schemas.openxmlformats.org/officeDocument/2006/relationships/image" Target="../media/image78.png"/><Relationship Id="rId23" Type="http://schemas.openxmlformats.org/officeDocument/2006/relationships/image" Target="../media/image81.png"/><Relationship Id="rId10" Type="http://schemas.openxmlformats.org/officeDocument/2006/relationships/image" Target="../media/image28.svg"/><Relationship Id="rId19" Type="http://schemas.openxmlformats.org/officeDocument/2006/relationships/image" Target="../media/image23.png"/><Relationship Id="rId4" Type="http://schemas.openxmlformats.org/officeDocument/2006/relationships/image" Target="../media/image20.svg"/><Relationship Id="rId9" Type="http://schemas.openxmlformats.org/officeDocument/2006/relationships/image" Target="../media/image27.png"/><Relationship Id="rId14" Type="http://schemas.openxmlformats.org/officeDocument/2006/relationships/image" Target="../media/image30.svg"/><Relationship Id="rId22" Type="http://schemas.openxmlformats.org/officeDocument/2006/relationships/image" Target="../media/image26.svg"/></Relationships>
</file>

<file path=ppt/slides/_rels/slide46.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9.png"/><Relationship Id="rId18" Type="http://schemas.openxmlformats.org/officeDocument/2006/relationships/image" Target="../media/image32.svg"/><Relationship Id="rId3" Type="http://schemas.openxmlformats.org/officeDocument/2006/relationships/image" Target="../media/image19.png"/><Relationship Id="rId21" Type="http://schemas.openxmlformats.org/officeDocument/2006/relationships/image" Target="../media/image25.png"/><Relationship Id="rId7" Type="http://schemas.openxmlformats.org/officeDocument/2006/relationships/image" Target="../media/image21.png"/><Relationship Id="rId12" Type="http://schemas.openxmlformats.org/officeDocument/2006/relationships/image" Target="../media/image84.svg"/><Relationship Id="rId17" Type="http://schemas.openxmlformats.org/officeDocument/2006/relationships/image" Target="../media/image31.png"/><Relationship Id="rId2" Type="http://schemas.openxmlformats.org/officeDocument/2006/relationships/image" Target="../media/image85.jpeg"/><Relationship Id="rId16" Type="http://schemas.microsoft.com/office/2007/relationships/hdphoto" Target="../media/hdphoto5.wdp"/><Relationship Id="rId20" Type="http://schemas.openxmlformats.org/officeDocument/2006/relationships/image" Target="../media/image24.svg"/><Relationship Id="rId1" Type="http://schemas.openxmlformats.org/officeDocument/2006/relationships/slideLayout" Target="../slideLayouts/slideLayout39.xml"/><Relationship Id="rId6" Type="http://schemas.openxmlformats.org/officeDocument/2006/relationships/image" Target="../media/image80.svg"/><Relationship Id="rId11" Type="http://schemas.openxmlformats.org/officeDocument/2006/relationships/image" Target="../media/image83.png"/><Relationship Id="rId24" Type="http://schemas.openxmlformats.org/officeDocument/2006/relationships/image" Target="../media/image82.svg"/><Relationship Id="rId5" Type="http://schemas.openxmlformats.org/officeDocument/2006/relationships/image" Target="../media/image79.png"/><Relationship Id="rId15" Type="http://schemas.openxmlformats.org/officeDocument/2006/relationships/image" Target="../media/image78.png"/><Relationship Id="rId23" Type="http://schemas.openxmlformats.org/officeDocument/2006/relationships/image" Target="../media/image81.png"/><Relationship Id="rId10" Type="http://schemas.openxmlformats.org/officeDocument/2006/relationships/image" Target="../media/image28.svg"/><Relationship Id="rId19" Type="http://schemas.openxmlformats.org/officeDocument/2006/relationships/image" Target="../media/image23.png"/><Relationship Id="rId4" Type="http://schemas.openxmlformats.org/officeDocument/2006/relationships/image" Target="../media/image20.svg"/><Relationship Id="rId9" Type="http://schemas.openxmlformats.org/officeDocument/2006/relationships/image" Target="../media/image27.png"/><Relationship Id="rId14" Type="http://schemas.openxmlformats.org/officeDocument/2006/relationships/image" Target="../media/image30.svg"/><Relationship Id="rId22" Type="http://schemas.openxmlformats.org/officeDocument/2006/relationships/image" Target="../media/image26.svg"/></Relationships>
</file>

<file path=ppt/slides/_rels/slide47.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0.svg"/><Relationship Id="rId18" Type="http://schemas.openxmlformats.org/officeDocument/2006/relationships/image" Target="../media/image23.png"/><Relationship Id="rId3" Type="http://schemas.openxmlformats.org/officeDocument/2006/relationships/image" Target="../media/image20.svg"/><Relationship Id="rId21" Type="http://schemas.openxmlformats.org/officeDocument/2006/relationships/image" Target="../media/image26.svg"/><Relationship Id="rId7" Type="http://schemas.openxmlformats.org/officeDocument/2006/relationships/image" Target="../media/image22.svg"/><Relationship Id="rId12" Type="http://schemas.openxmlformats.org/officeDocument/2006/relationships/image" Target="../media/image29.png"/><Relationship Id="rId17" Type="http://schemas.openxmlformats.org/officeDocument/2006/relationships/image" Target="../media/image32.svg"/><Relationship Id="rId2" Type="http://schemas.openxmlformats.org/officeDocument/2006/relationships/image" Target="../media/image19.png"/><Relationship Id="rId16" Type="http://schemas.openxmlformats.org/officeDocument/2006/relationships/image" Target="../media/image31.png"/><Relationship Id="rId20" Type="http://schemas.openxmlformats.org/officeDocument/2006/relationships/image" Target="../media/image25.png"/><Relationship Id="rId1" Type="http://schemas.openxmlformats.org/officeDocument/2006/relationships/slideLayout" Target="../slideLayouts/slideLayout39.xml"/><Relationship Id="rId6" Type="http://schemas.openxmlformats.org/officeDocument/2006/relationships/image" Target="../media/image21.png"/><Relationship Id="rId11" Type="http://schemas.openxmlformats.org/officeDocument/2006/relationships/image" Target="../media/image84.svg"/><Relationship Id="rId5" Type="http://schemas.openxmlformats.org/officeDocument/2006/relationships/image" Target="../media/image80.svg"/><Relationship Id="rId15" Type="http://schemas.microsoft.com/office/2007/relationships/hdphoto" Target="../media/hdphoto5.wdp"/><Relationship Id="rId23" Type="http://schemas.openxmlformats.org/officeDocument/2006/relationships/image" Target="../media/image82.svg"/><Relationship Id="rId10" Type="http://schemas.openxmlformats.org/officeDocument/2006/relationships/image" Target="../media/image83.png"/><Relationship Id="rId19" Type="http://schemas.openxmlformats.org/officeDocument/2006/relationships/image" Target="../media/image24.svg"/><Relationship Id="rId4" Type="http://schemas.openxmlformats.org/officeDocument/2006/relationships/image" Target="../media/image79.png"/><Relationship Id="rId9" Type="http://schemas.openxmlformats.org/officeDocument/2006/relationships/image" Target="../media/image28.svg"/><Relationship Id="rId14" Type="http://schemas.openxmlformats.org/officeDocument/2006/relationships/image" Target="../media/image78.png"/><Relationship Id="rId22" Type="http://schemas.openxmlformats.org/officeDocument/2006/relationships/image" Target="../media/image81.png"/></Relationships>
</file>

<file path=ppt/slides/_rels/slide48.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9.png"/><Relationship Id="rId18" Type="http://schemas.openxmlformats.org/officeDocument/2006/relationships/image" Target="../media/image32.svg"/><Relationship Id="rId3" Type="http://schemas.openxmlformats.org/officeDocument/2006/relationships/image" Target="../media/image19.png"/><Relationship Id="rId21" Type="http://schemas.openxmlformats.org/officeDocument/2006/relationships/image" Target="../media/image25.png"/><Relationship Id="rId7" Type="http://schemas.openxmlformats.org/officeDocument/2006/relationships/image" Target="../media/image21.png"/><Relationship Id="rId12" Type="http://schemas.openxmlformats.org/officeDocument/2006/relationships/image" Target="../media/image84.svg"/><Relationship Id="rId17" Type="http://schemas.openxmlformats.org/officeDocument/2006/relationships/image" Target="../media/image31.png"/><Relationship Id="rId25" Type="http://schemas.openxmlformats.org/officeDocument/2006/relationships/image" Target="../media/image86.png"/><Relationship Id="rId2" Type="http://schemas.openxmlformats.org/officeDocument/2006/relationships/notesSlide" Target="../notesSlides/notesSlide18.xml"/><Relationship Id="rId16" Type="http://schemas.microsoft.com/office/2007/relationships/hdphoto" Target="../media/hdphoto5.wdp"/><Relationship Id="rId20" Type="http://schemas.openxmlformats.org/officeDocument/2006/relationships/image" Target="../media/image24.svg"/><Relationship Id="rId1" Type="http://schemas.openxmlformats.org/officeDocument/2006/relationships/slideLayout" Target="../slideLayouts/slideLayout39.xml"/><Relationship Id="rId6" Type="http://schemas.openxmlformats.org/officeDocument/2006/relationships/image" Target="../media/image80.svg"/><Relationship Id="rId11" Type="http://schemas.openxmlformats.org/officeDocument/2006/relationships/image" Target="../media/image83.png"/><Relationship Id="rId24" Type="http://schemas.openxmlformats.org/officeDocument/2006/relationships/image" Target="../media/image82.svg"/><Relationship Id="rId5" Type="http://schemas.openxmlformats.org/officeDocument/2006/relationships/image" Target="../media/image79.png"/><Relationship Id="rId15" Type="http://schemas.openxmlformats.org/officeDocument/2006/relationships/image" Target="../media/image78.png"/><Relationship Id="rId23" Type="http://schemas.openxmlformats.org/officeDocument/2006/relationships/image" Target="../media/image81.png"/><Relationship Id="rId10" Type="http://schemas.openxmlformats.org/officeDocument/2006/relationships/image" Target="../media/image28.svg"/><Relationship Id="rId19" Type="http://schemas.openxmlformats.org/officeDocument/2006/relationships/image" Target="../media/image23.png"/><Relationship Id="rId4" Type="http://schemas.openxmlformats.org/officeDocument/2006/relationships/image" Target="../media/image20.svg"/><Relationship Id="rId9" Type="http://schemas.openxmlformats.org/officeDocument/2006/relationships/image" Target="../media/image27.png"/><Relationship Id="rId14" Type="http://schemas.openxmlformats.org/officeDocument/2006/relationships/image" Target="../media/image30.svg"/><Relationship Id="rId22" Type="http://schemas.openxmlformats.org/officeDocument/2006/relationships/image" Target="../media/image26.svg"/></Relationships>
</file>

<file path=ppt/slides/_rels/slide49.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30.svg"/><Relationship Id="rId18" Type="http://schemas.openxmlformats.org/officeDocument/2006/relationships/image" Target="../media/image25.png"/><Relationship Id="rId3" Type="http://schemas.openxmlformats.org/officeDocument/2006/relationships/image" Target="../media/image20.svg"/><Relationship Id="rId21" Type="http://schemas.openxmlformats.org/officeDocument/2006/relationships/image" Target="../media/image82.svg"/><Relationship Id="rId7" Type="http://schemas.openxmlformats.org/officeDocument/2006/relationships/image" Target="../media/image22.svg"/><Relationship Id="rId12" Type="http://schemas.openxmlformats.org/officeDocument/2006/relationships/image" Target="../media/image29.png"/><Relationship Id="rId17" Type="http://schemas.openxmlformats.org/officeDocument/2006/relationships/image" Target="../media/image24.svg"/><Relationship Id="rId2" Type="http://schemas.openxmlformats.org/officeDocument/2006/relationships/image" Target="../media/image19.png"/><Relationship Id="rId16" Type="http://schemas.openxmlformats.org/officeDocument/2006/relationships/image" Target="../media/image23.png"/><Relationship Id="rId20" Type="http://schemas.openxmlformats.org/officeDocument/2006/relationships/image" Target="../media/image81.png"/><Relationship Id="rId1" Type="http://schemas.openxmlformats.org/officeDocument/2006/relationships/slideLayout" Target="../slideLayouts/slideLayout39.xml"/><Relationship Id="rId6" Type="http://schemas.openxmlformats.org/officeDocument/2006/relationships/image" Target="../media/image21.png"/><Relationship Id="rId11" Type="http://schemas.openxmlformats.org/officeDocument/2006/relationships/image" Target="../media/image28.svg"/><Relationship Id="rId5" Type="http://schemas.openxmlformats.org/officeDocument/2006/relationships/image" Target="../media/image80.svg"/><Relationship Id="rId15" Type="http://schemas.openxmlformats.org/officeDocument/2006/relationships/image" Target="../media/image32.svg"/><Relationship Id="rId23" Type="http://schemas.openxmlformats.org/officeDocument/2006/relationships/image" Target="../media/image89.jpeg"/><Relationship Id="rId10" Type="http://schemas.openxmlformats.org/officeDocument/2006/relationships/image" Target="../media/image27.png"/><Relationship Id="rId19" Type="http://schemas.openxmlformats.org/officeDocument/2006/relationships/image" Target="../media/image26.svg"/><Relationship Id="rId4" Type="http://schemas.openxmlformats.org/officeDocument/2006/relationships/image" Target="../media/image79.png"/><Relationship Id="rId9" Type="http://schemas.microsoft.com/office/2007/relationships/hdphoto" Target="../media/hdphoto6.wdp"/><Relationship Id="rId14" Type="http://schemas.openxmlformats.org/officeDocument/2006/relationships/image" Target="../media/image31.png"/><Relationship Id="rId22" Type="http://schemas.openxmlformats.org/officeDocument/2006/relationships/image" Target="../media/image8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51.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30.svg"/><Relationship Id="rId18" Type="http://schemas.openxmlformats.org/officeDocument/2006/relationships/image" Target="../media/image25.png"/><Relationship Id="rId3" Type="http://schemas.openxmlformats.org/officeDocument/2006/relationships/image" Target="../media/image20.svg"/><Relationship Id="rId21" Type="http://schemas.openxmlformats.org/officeDocument/2006/relationships/image" Target="../media/image82.svg"/><Relationship Id="rId7" Type="http://schemas.openxmlformats.org/officeDocument/2006/relationships/image" Target="../media/image22.svg"/><Relationship Id="rId12" Type="http://schemas.openxmlformats.org/officeDocument/2006/relationships/image" Target="../media/image29.png"/><Relationship Id="rId17" Type="http://schemas.openxmlformats.org/officeDocument/2006/relationships/image" Target="../media/image24.svg"/><Relationship Id="rId2" Type="http://schemas.openxmlformats.org/officeDocument/2006/relationships/image" Target="../media/image19.png"/><Relationship Id="rId16" Type="http://schemas.openxmlformats.org/officeDocument/2006/relationships/image" Target="../media/image23.png"/><Relationship Id="rId20" Type="http://schemas.openxmlformats.org/officeDocument/2006/relationships/image" Target="../media/image81.png"/><Relationship Id="rId1" Type="http://schemas.openxmlformats.org/officeDocument/2006/relationships/slideLayout" Target="../slideLayouts/slideLayout39.xml"/><Relationship Id="rId6" Type="http://schemas.openxmlformats.org/officeDocument/2006/relationships/image" Target="../media/image21.png"/><Relationship Id="rId11" Type="http://schemas.openxmlformats.org/officeDocument/2006/relationships/image" Target="../media/image28.svg"/><Relationship Id="rId5" Type="http://schemas.openxmlformats.org/officeDocument/2006/relationships/image" Target="../media/image80.svg"/><Relationship Id="rId15" Type="http://schemas.openxmlformats.org/officeDocument/2006/relationships/image" Target="../media/image32.svg"/><Relationship Id="rId10" Type="http://schemas.openxmlformats.org/officeDocument/2006/relationships/image" Target="../media/image27.png"/><Relationship Id="rId19" Type="http://schemas.openxmlformats.org/officeDocument/2006/relationships/image" Target="../media/image26.svg"/><Relationship Id="rId4" Type="http://schemas.openxmlformats.org/officeDocument/2006/relationships/image" Target="../media/image79.png"/><Relationship Id="rId9" Type="http://schemas.microsoft.com/office/2007/relationships/hdphoto" Target="../media/hdphoto5.wdp"/><Relationship Id="rId14" Type="http://schemas.openxmlformats.org/officeDocument/2006/relationships/image" Target="../media/image31.png"/></Relationships>
</file>

<file path=ppt/slides/_rels/slide52.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30.svg"/><Relationship Id="rId18" Type="http://schemas.openxmlformats.org/officeDocument/2006/relationships/image" Target="../media/image25.png"/><Relationship Id="rId3" Type="http://schemas.openxmlformats.org/officeDocument/2006/relationships/image" Target="../media/image20.svg"/><Relationship Id="rId21" Type="http://schemas.openxmlformats.org/officeDocument/2006/relationships/image" Target="../media/image82.svg"/><Relationship Id="rId7" Type="http://schemas.openxmlformats.org/officeDocument/2006/relationships/image" Target="../media/image22.svg"/><Relationship Id="rId12" Type="http://schemas.openxmlformats.org/officeDocument/2006/relationships/image" Target="../media/image29.png"/><Relationship Id="rId17" Type="http://schemas.openxmlformats.org/officeDocument/2006/relationships/image" Target="../media/image24.svg"/><Relationship Id="rId2" Type="http://schemas.openxmlformats.org/officeDocument/2006/relationships/image" Target="../media/image19.png"/><Relationship Id="rId16" Type="http://schemas.openxmlformats.org/officeDocument/2006/relationships/image" Target="../media/image23.png"/><Relationship Id="rId20" Type="http://schemas.openxmlformats.org/officeDocument/2006/relationships/image" Target="../media/image81.png"/><Relationship Id="rId1" Type="http://schemas.openxmlformats.org/officeDocument/2006/relationships/slideLayout" Target="../slideLayouts/slideLayout39.xml"/><Relationship Id="rId6" Type="http://schemas.openxmlformats.org/officeDocument/2006/relationships/image" Target="../media/image21.png"/><Relationship Id="rId11" Type="http://schemas.openxmlformats.org/officeDocument/2006/relationships/image" Target="../media/image28.svg"/><Relationship Id="rId5" Type="http://schemas.openxmlformats.org/officeDocument/2006/relationships/image" Target="../media/image80.svg"/><Relationship Id="rId15" Type="http://schemas.openxmlformats.org/officeDocument/2006/relationships/image" Target="../media/image32.svg"/><Relationship Id="rId10" Type="http://schemas.openxmlformats.org/officeDocument/2006/relationships/image" Target="../media/image27.png"/><Relationship Id="rId19" Type="http://schemas.openxmlformats.org/officeDocument/2006/relationships/image" Target="../media/image26.svg"/><Relationship Id="rId4" Type="http://schemas.openxmlformats.org/officeDocument/2006/relationships/image" Target="../media/image79.png"/><Relationship Id="rId9" Type="http://schemas.microsoft.com/office/2007/relationships/hdphoto" Target="../media/hdphoto5.wdp"/><Relationship Id="rId14" Type="http://schemas.openxmlformats.org/officeDocument/2006/relationships/image" Target="../media/image31.png"/><Relationship Id="rId22" Type="http://schemas.openxmlformats.org/officeDocument/2006/relationships/image" Target="../media/image76.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54.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0.svg"/><Relationship Id="rId18" Type="http://schemas.openxmlformats.org/officeDocument/2006/relationships/image" Target="../media/image23.png"/><Relationship Id="rId3" Type="http://schemas.openxmlformats.org/officeDocument/2006/relationships/image" Target="../media/image20.svg"/><Relationship Id="rId21" Type="http://schemas.openxmlformats.org/officeDocument/2006/relationships/image" Target="../media/image26.svg"/><Relationship Id="rId7" Type="http://schemas.openxmlformats.org/officeDocument/2006/relationships/image" Target="../media/image22.svg"/><Relationship Id="rId12" Type="http://schemas.openxmlformats.org/officeDocument/2006/relationships/image" Target="../media/image29.png"/><Relationship Id="rId17" Type="http://schemas.openxmlformats.org/officeDocument/2006/relationships/image" Target="../media/image32.svg"/><Relationship Id="rId2" Type="http://schemas.openxmlformats.org/officeDocument/2006/relationships/image" Target="../media/image19.png"/><Relationship Id="rId16" Type="http://schemas.openxmlformats.org/officeDocument/2006/relationships/image" Target="../media/image31.png"/><Relationship Id="rId20" Type="http://schemas.openxmlformats.org/officeDocument/2006/relationships/image" Target="../media/image25.png"/><Relationship Id="rId1" Type="http://schemas.openxmlformats.org/officeDocument/2006/relationships/slideLayout" Target="../slideLayouts/slideLayout39.xml"/><Relationship Id="rId6" Type="http://schemas.openxmlformats.org/officeDocument/2006/relationships/image" Target="../media/image21.png"/><Relationship Id="rId11" Type="http://schemas.openxmlformats.org/officeDocument/2006/relationships/image" Target="../media/image84.svg"/><Relationship Id="rId5" Type="http://schemas.openxmlformats.org/officeDocument/2006/relationships/image" Target="../media/image80.svg"/><Relationship Id="rId15" Type="http://schemas.microsoft.com/office/2007/relationships/hdphoto" Target="../media/hdphoto5.wdp"/><Relationship Id="rId23" Type="http://schemas.openxmlformats.org/officeDocument/2006/relationships/image" Target="../media/image82.svg"/><Relationship Id="rId10" Type="http://schemas.openxmlformats.org/officeDocument/2006/relationships/image" Target="../media/image83.png"/><Relationship Id="rId19" Type="http://schemas.openxmlformats.org/officeDocument/2006/relationships/image" Target="../media/image24.svg"/><Relationship Id="rId4" Type="http://schemas.openxmlformats.org/officeDocument/2006/relationships/image" Target="../media/image79.png"/><Relationship Id="rId9" Type="http://schemas.openxmlformats.org/officeDocument/2006/relationships/image" Target="../media/image28.svg"/><Relationship Id="rId14" Type="http://schemas.openxmlformats.org/officeDocument/2006/relationships/image" Target="../media/image78.png"/><Relationship Id="rId22" Type="http://schemas.openxmlformats.org/officeDocument/2006/relationships/image" Target="../media/image81.png"/></Relationships>
</file>

<file path=ppt/slides/_rels/slide55.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0.svg"/><Relationship Id="rId18" Type="http://schemas.openxmlformats.org/officeDocument/2006/relationships/image" Target="../media/image23.png"/><Relationship Id="rId3" Type="http://schemas.openxmlformats.org/officeDocument/2006/relationships/image" Target="../media/image20.svg"/><Relationship Id="rId21" Type="http://schemas.openxmlformats.org/officeDocument/2006/relationships/image" Target="../media/image26.svg"/><Relationship Id="rId7" Type="http://schemas.openxmlformats.org/officeDocument/2006/relationships/image" Target="../media/image22.svg"/><Relationship Id="rId12" Type="http://schemas.openxmlformats.org/officeDocument/2006/relationships/image" Target="../media/image29.png"/><Relationship Id="rId17" Type="http://schemas.openxmlformats.org/officeDocument/2006/relationships/image" Target="../media/image32.svg"/><Relationship Id="rId2" Type="http://schemas.openxmlformats.org/officeDocument/2006/relationships/image" Target="../media/image19.png"/><Relationship Id="rId16" Type="http://schemas.openxmlformats.org/officeDocument/2006/relationships/image" Target="../media/image31.png"/><Relationship Id="rId20" Type="http://schemas.openxmlformats.org/officeDocument/2006/relationships/image" Target="../media/image25.png"/><Relationship Id="rId1" Type="http://schemas.openxmlformats.org/officeDocument/2006/relationships/slideLayout" Target="../slideLayouts/slideLayout39.xml"/><Relationship Id="rId6" Type="http://schemas.openxmlformats.org/officeDocument/2006/relationships/image" Target="../media/image21.png"/><Relationship Id="rId11" Type="http://schemas.openxmlformats.org/officeDocument/2006/relationships/image" Target="../media/image84.svg"/><Relationship Id="rId5" Type="http://schemas.openxmlformats.org/officeDocument/2006/relationships/image" Target="../media/image80.svg"/><Relationship Id="rId15" Type="http://schemas.microsoft.com/office/2007/relationships/hdphoto" Target="../media/hdphoto5.wdp"/><Relationship Id="rId23" Type="http://schemas.openxmlformats.org/officeDocument/2006/relationships/image" Target="../media/image82.svg"/><Relationship Id="rId10" Type="http://schemas.openxmlformats.org/officeDocument/2006/relationships/image" Target="../media/image83.png"/><Relationship Id="rId19" Type="http://schemas.openxmlformats.org/officeDocument/2006/relationships/image" Target="../media/image24.svg"/><Relationship Id="rId4" Type="http://schemas.openxmlformats.org/officeDocument/2006/relationships/image" Target="../media/image79.png"/><Relationship Id="rId9" Type="http://schemas.openxmlformats.org/officeDocument/2006/relationships/image" Target="../media/image28.svg"/><Relationship Id="rId14" Type="http://schemas.openxmlformats.org/officeDocument/2006/relationships/image" Target="../media/image78.png"/><Relationship Id="rId22" Type="http://schemas.openxmlformats.org/officeDocument/2006/relationships/image" Target="../media/image81.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57.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29.png"/><Relationship Id="rId18" Type="http://schemas.openxmlformats.org/officeDocument/2006/relationships/image" Target="../media/image26.svg"/><Relationship Id="rId3" Type="http://schemas.openxmlformats.org/officeDocument/2006/relationships/image" Target="../media/image20.svg"/><Relationship Id="rId21" Type="http://schemas.openxmlformats.org/officeDocument/2006/relationships/image" Target="../media/image31.png"/><Relationship Id="rId7" Type="http://schemas.openxmlformats.org/officeDocument/2006/relationships/image" Target="../media/image22.svg"/><Relationship Id="rId12" Type="http://schemas.openxmlformats.org/officeDocument/2006/relationships/image" Target="../media/image28.svg"/><Relationship Id="rId17" Type="http://schemas.openxmlformats.org/officeDocument/2006/relationships/image" Target="../media/image25.png"/><Relationship Id="rId2" Type="http://schemas.openxmlformats.org/officeDocument/2006/relationships/image" Target="../media/image19.png"/><Relationship Id="rId16" Type="http://schemas.openxmlformats.org/officeDocument/2006/relationships/image" Target="../media/image24.svg"/><Relationship Id="rId20" Type="http://schemas.openxmlformats.org/officeDocument/2006/relationships/hyperlink" Target="https://www.reseau-passerelles.org/wp-content/uploads/2022/03/COUTS-SEJOURS-PASSERELLES-2022.pdf" TargetMode="External"/><Relationship Id="rId1" Type="http://schemas.openxmlformats.org/officeDocument/2006/relationships/slideLayout" Target="../slideLayouts/slideLayout39.xml"/><Relationship Id="rId6" Type="http://schemas.openxmlformats.org/officeDocument/2006/relationships/image" Target="../media/image21.png"/><Relationship Id="rId11" Type="http://schemas.openxmlformats.org/officeDocument/2006/relationships/image" Target="../media/image27.png"/><Relationship Id="rId24" Type="http://schemas.openxmlformats.org/officeDocument/2006/relationships/image" Target="../media/image82.svg"/><Relationship Id="rId5" Type="http://schemas.openxmlformats.org/officeDocument/2006/relationships/image" Target="../media/image80.svg"/><Relationship Id="rId15" Type="http://schemas.openxmlformats.org/officeDocument/2006/relationships/image" Target="../media/image23.png"/><Relationship Id="rId23" Type="http://schemas.openxmlformats.org/officeDocument/2006/relationships/image" Target="../media/image81.png"/><Relationship Id="rId10" Type="http://schemas.microsoft.com/office/2007/relationships/hdphoto" Target="../media/hdphoto7.wdp"/><Relationship Id="rId19" Type="http://schemas.openxmlformats.org/officeDocument/2006/relationships/hyperlink" Target="https://www.reseau-passerelles.org/wp-content/uploads/2021/03/FICHE-PARTENARIAT-HPA-VV.pdf" TargetMode="External"/><Relationship Id="rId4" Type="http://schemas.openxmlformats.org/officeDocument/2006/relationships/image" Target="../media/image79.png"/><Relationship Id="rId9" Type="http://schemas.openxmlformats.org/officeDocument/2006/relationships/image" Target="../media/image91.png"/><Relationship Id="rId14" Type="http://schemas.openxmlformats.org/officeDocument/2006/relationships/image" Target="../media/image30.svg"/><Relationship Id="rId22" Type="http://schemas.openxmlformats.org/officeDocument/2006/relationships/image" Target="../media/image32.svg"/></Relationships>
</file>

<file path=ppt/slides/_rels/slide58.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30.svg"/><Relationship Id="rId18" Type="http://schemas.openxmlformats.org/officeDocument/2006/relationships/hyperlink" Target="https://fr.calameo.com/read/005564890226478a4cbb4?page=3" TargetMode="External"/><Relationship Id="rId3" Type="http://schemas.openxmlformats.org/officeDocument/2006/relationships/image" Target="../media/image20.svg"/><Relationship Id="rId21" Type="http://schemas.openxmlformats.org/officeDocument/2006/relationships/image" Target="../media/image32.svg"/><Relationship Id="rId7" Type="http://schemas.openxmlformats.org/officeDocument/2006/relationships/image" Target="../media/image22.svg"/><Relationship Id="rId12" Type="http://schemas.openxmlformats.org/officeDocument/2006/relationships/image" Target="../media/image29.png"/><Relationship Id="rId17" Type="http://schemas.openxmlformats.org/officeDocument/2006/relationships/image" Target="../media/image26.svg"/><Relationship Id="rId2" Type="http://schemas.openxmlformats.org/officeDocument/2006/relationships/image" Target="../media/image19.png"/><Relationship Id="rId16" Type="http://schemas.openxmlformats.org/officeDocument/2006/relationships/image" Target="../media/image25.png"/><Relationship Id="rId20" Type="http://schemas.openxmlformats.org/officeDocument/2006/relationships/image" Target="../media/image31.png"/><Relationship Id="rId1" Type="http://schemas.openxmlformats.org/officeDocument/2006/relationships/slideLayout" Target="../slideLayouts/slideLayout39.xml"/><Relationship Id="rId6" Type="http://schemas.openxmlformats.org/officeDocument/2006/relationships/image" Target="../media/image21.png"/><Relationship Id="rId11" Type="http://schemas.openxmlformats.org/officeDocument/2006/relationships/image" Target="../media/image28.svg"/><Relationship Id="rId24" Type="http://schemas.openxmlformats.org/officeDocument/2006/relationships/image" Target="../media/image82.svg"/><Relationship Id="rId5" Type="http://schemas.openxmlformats.org/officeDocument/2006/relationships/image" Target="../media/image80.svg"/><Relationship Id="rId15" Type="http://schemas.openxmlformats.org/officeDocument/2006/relationships/image" Target="../media/image24.svg"/><Relationship Id="rId23" Type="http://schemas.openxmlformats.org/officeDocument/2006/relationships/image" Target="../media/image81.png"/><Relationship Id="rId10" Type="http://schemas.openxmlformats.org/officeDocument/2006/relationships/image" Target="../media/image27.png"/><Relationship Id="rId19" Type="http://schemas.openxmlformats.org/officeDocument/2006/relationships/hyperlink" Target="https://www.reseau-passerelles.org/wp-content/uploads/2022/03/COUTS-SEJOURS-PASSERELLES-2022.pdf" TargetMode="External"/><Relationship Id="rId4" Type="http://schemas.openxmlformats.org/officeDocument/2006/relationships/image" Target="../media/image79.png"/><Relationship Id="rId9" Type="http://schemas.microsoft.com/office/2007/relationships/hdphoto" Target="../media/hdphoto7.wdp"/><Relationship Id="rId14" Type="http://schemas.openxmlformats.org/officeDocument/2006/relationships/image" Target="../media/image23.png"/><Relationship Id="rId22" Type="http://schemas.openxmlformats.org/officeDocument/2006/relationships/image" Target="../media/image92.jpeg"/></Relationships>
</file>

<file path=ppt/slides/_rels/slide59.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26.svg"/><Relationship Id="rId18" Type="http://schemas.openxmlformats.org/officeDocument/2006/relationships/image" Target="../media/image81.png"/><Relationship Id="rId3" Type="http://schemas.openxmlformats.org/officeDocument/2006/relationships/image" Target="../media/image20.svg"/><Relationship Id="rId21" Type="http://schemas.microsoft.com/office/2007/relationships/hdphoto" Target="../media/hdphoto8.wdp"/><Relationship Id="rId7" Type="http://schemas.openxmlformats.org/officeDocument/2006/relationships/image" Target="../media/image28.svg"/><Relationship Id="rId12" Type="http://schemas.openxmlformats.org/officeDocument/2006/relationships/image" Target="../media/image25.png"/><Relationship Id="rId17" Type="http://schemas.openxmlformats.org/officeDocument/2006/relationships/image" Target="../media/image32.svg"/><Relationship Id="rId2" Type="http://schemas.openxmlformats.org/officeDocument/2006/relationships/image" Target="../media/image19.png"/><Relationship Id="rId16" Type="http://schemas.openxmlformats.org/officeDocument/2006/relationships/image" Target="../media/image31.png"/><Relationship Id="rId20" Type="http://schemas.openxmlformats.org/officeDocument/2006/relationships/image" Target="../media/image93.png"/><Relationship Id="rId1" Type="http://schemas.openxmlformats.org/officeDocument/2006/relationships/slideLayout" Target="../slideLayouts/slideLayout39.xml"/><Relationship Id="rId6" Type="http://schemas.openxmlformats.org/officeDocument/2006/relationships/image" Target="../media/image27.png"/><Relationship Id="rId11" Type="http://schemas.openxmlformats.org/officeDocument/2006/relationships/image" Target="../media/image24.svg"/><Relationship Id="rId5" Type="http://schemas.openxmlformats.org/officeDocument/2006/relationships/image" Target="../media/image22.svg"/><Relationship Id="rId15" Type="http://schemas.openxmlformats.org/officeDocument/2006/relationships/hyperlink" Target="https://www.reseau-passerelles.org/wp-content/uploads/2022/03/COUTS-SEJOURS-PASSERELLES-2022.pdf" TargetMode="External"/><Relationship Id="rId10" Type="http://schemas.openxmlformats.org/officeDocument/2006/relationships/image" Target="../media/image23.png"/><Relationship Id="rId19" Type="http://schemas.openxmlformats.org/officeDocument/2006/relationships/image" Target="../media/image82.svg"/><Relationship Id="rId4" Type="http://schemas.openxmlformats.org/officeDocument/2006/relationships/image" Target="../media/image21.png"/><Relationship Id="rId9" Type="http://schemas.openxmlformats.org/officeDocument/2006/relationships/image" Target="../media/image30.svg"/><Relationship Id="rId14" Type="http://schemas.openxmlformats.org/officeDocument/2006/relationships/hyperlink" Target="https://www.int-act.fr/_files/ugd/a15868_cb6ebd4fe26f4833a94750219f008d67.pdf" TargetMode="External"/><Relationship Id="rId22" Type="http://schemas.openxmlformats.org/officeDocument/2006/relationships/image" Target="../media/image94.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61.xml.rels><?xml version="1.0" encoding="UTF-8" standalone="yes"?>
<Relationships xmlns="http://schemas.openxmlformats.org/package/2006/relationships"><Relationship Id="rId8" Type="http://schemas.openxmlformats.org/officeDocument/2006/relationships/hyperlink" Target="https://www.ancv.com/sites/default/files/bilan_aap_pada_2021.pdf" TargetMode="External"/><Relationship Id="rId3" Type="http://schemas.openxmlformats.org/officeDocument/2006/relationships/image" Target="../media/image95.jpeg"/><Relationship Id="rId7" Type="http://schemas.openxmlformats.org/officeDocument/2006/relationships/image" Target="../media/image99.svg"/><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image" Target="../media/image98.png"/><Relationship Id="rId5" Type="http://schemas.openxmlformats.org/officeDocument/2006/relationships/image" Target="../media/image97.svg"/><Relationship Id="rId4" Type="http://schemas.openxmlformats.org/officeDocument/2006/relationships/image" Target="../media/image96.png"/></Relationships>
</file>

<file path=ppt/slides/_rels/slide62.xml.rels><?xml version="1.0" encoding="UTF-8" standalone="yes"?>
<Relationships xmlns="http://schemas.openxmlformats.org/package/2006/relationships"><Relationship Id="rId8" Type="http://schemas.openxmlformats.org/officeDocument/2006/relationships/hyperlink" Target="https://www.cnsa.fr/actualites-agenda/actualites/relayage-et-sejours-de-repit-aidant-aide-51-candidats-selectionnes-pour-lexperimentation" TargetMode="External"/><Relationship Id="rId3" Type="http://schemas.openxmlformats.org/officeDocument/2006/relationships/image" Target="../media/image20.svg"/><Relationship Id="rId7" Type="http://schemas.openxmlformats.org/officeDocument/2006/relationships/image" Target="../media/image22.svg"/><Relationship Id="rId2" Type="http://schemas.openxmlformats.org/officeDocument/2006/relationships/image" Target="../media/image19.png"/><Relationship Id="rId1" Type="http://schemas.openxmlformats.org/officeDocument/2006/relationships/slideLayout" Target="../slideLayouts/slideLayout39.xml"/><Relationship Id="rId6" Type="http://schemas.openxmlformats.org/officeDocument/2006/relationships/image" Target="../media/image21.png"/><Relationship Id="rId5" Type="http://schemas.openxmlformats.org/officeDocument/2006/relationships/image" Target="../media/image80.svg"/><Relationship Id="rId4" Type="http://schemas.openxmlformats.org/officeDocument/2006/relationships/image" Target="../media/image79.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8.xml"/></Relationships>
</file>

<file path=ppt/slides/_rels/slide65.xml.rels><?xml version="1.0" encoding="UTF-8" standalone="yes"?>
<Relationships xmlns="http://schemas.openxmlformats.org/package/2006/relationships"><Relationship Id="rId8" Type="http://schemas.openxmlformats.org/officeDocument/2006/relationships/image" Target="../media/image105.svg"/><Relationship Id="rId13" Type="http://schemas.openxmlformats.org/officeDocument/2006/relationships/image" Target="../media/image110.png"/><Relationship Id="rId3" Type="http://schemas.openxmlformats.org/officeDocument/2006/relationships/image" Target="../media/image100.png"/><Relationship Id="rId7" Type="http://schemas.openxmlformats.org/officeDocument/2006/relationships/image" Target="../media/image104.png"/><Relationship Id="rId12" Type="http://schemas.openxmlformats.org/officeDocument/2006/relationships/image" Target="../media/image109.svg"/><Relationship Id="rId2" Type="http://schemas.openxmlformats.org/officeDocument/2006/relationships/notesSlide" Target="../notesSlides/notesSlide21.xml"/><Relationship Id="rId16" Type="http://schemas.openxmlformats.org/officeDocument/2006/relationships/image" Target="../media/image113.svg"/><Relationship Id="rId1" Type="http://schemas.openxmlformats.org/officeDocument/2006/relationships/slideLayout" Target="../slideLayouts/slideLayout58.xml"/><Relationship Id="rId6" Type="http://schemas.openxmlformats.org/officeDocument/2006/relationships/image" Target="../media/image103.svg"/><Relationship Id="rId11" Type="http://schemas.openxmlformats.org/officeDocument/2006/relationships/image" Target="../media/image108.png"/><Relationship Id="rId5" Type="http://schemas.openxmlformats.org/officeDocument/2006/relationships/image" Target="../media/image102.png"/><Relationship Id="rId15" Type="http://schemas.openxmlformats.org/officeDocument/2006/relationships/image" Target="../media/image112.png"/><Relationship Id="rId10" Type="http://schemas.openxmlformats.org/officeDocument/2006/relationships/image" Target="../media/image107.svg"/><Relationship Id="rId4" Type="http://schemas.openxmlformats.org/officeDocument/2006/relationships/image" Target="../media/image101.svg"/><Relationship Id="rId9" Type="http://schemas.openxmlformats.org/officeDocument/2006/relationships/image" Target="../media/image106.png"/><Relationship Id="rId14" Type="http://schemas.openxmlformats.org/officeDocument/2006/relationships/image" Target="../media/image111.svg"/></Relationships>
</file>

<file path=ppt/slides/_rels/slide6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2.xml"/><Relationship Id="rId1" Type="http://schemas.openxmlformats.org/officeDocument/2006/relationships/slideLayout" Target="../slideLayouts/slideLayout58.xml"/><Relationship Id="rId4" Type="http://schemas.openxmlformats.org/officeDocument/2006/relationships/image" Target="../media/image66.svg"/></Relationships>
</file>

<file path=ppt/slides/_rels/slide67.xml.rels><?xml version="1.0" encoding="UTF-8" standalone="yes"?>
<Relationships xmlns="http://schemas.openxmlformats.org/package/2006/relationships"><Relationship Id="rId3" Type="http://schemas.openxmlformats.org/officeDocument/2006/relationships/hyperlink" Target="https://www.insee.fr/fr/statistiques/4196949" TargetMode="External"/><Relationship Id="rId2" Type="http://schemas.openxmlformats.org/officeDocument/2006/relationships/notesSlide" Target="../notesSlides/notesSlide23.xml"/><Relationship Id="rId1" Type="http://schemas.openxmlformats.org/officeDocument/2006/relationships/slideLayout" Target="../slideLayouts/slideLayout39.xml"/><Relationship Id="rId6" Type="http://schemas.openxmlformats.org/officeDocument/2006/relationships/image" Target="../media/image114.png"/><Relationship Id="rId5" Type="http://schemas.openxmlformats.org/officeDocument/2006/relationships/hyperlink" Target="https://drees.solidarites-sante.gouv.fr/publications/etudes-et-resultats/perte-dautonomie-pratiques-inchangees-108-000-seniors-de-plus" TargetMode="External"/><Relationship Id="rId4" Type="http://schemas.openxmlformats.org/officeDocument/2006/relationships/hyperlink" Target="https://www.lemonde.fr/societe/article/2019/07/26/en-2050-la-france-pourrait-compter-4-millions-de-personnes-en-perte-d-autonomie-selon-l-insee_5493611_3224.html"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hyperlink" Target="https://drees.solidarites-sante.gouv.fr/publications/etudes-et-resultats/perte-dautonomie-pratiques-inchangees-108-000-seniors-de-plus" TargetMode="External"/><Relationship Id="rId2" Type="http://schemas.openxmlformats.org/officeDocument/2006/relationships/notesSlide" Target="../notesSlides/notesSlide24.xml"/><Relationship Id="rId1" Type="http://schemas.openxmlformats.org/officeDocument/2006/relationships/slideLayout" Target="../slideLayouts/slideLayout39.xml"/><Relationship Id="rId6" Type="http://schemas.openxmlformats.org/officeDocument/2006/relationships/hyperlink" Target="https://www.lemonde.fr/societe/article/2019/07/26/en-2050-la-france-pourrait-compter-4-millions-de-personnes-en-perte-d-autonomie-selon-l-insee_5493611_3224.html" TargetMode="External"/><Relationship Id="rId5" Type="http://schemas.openxmlformats.org/officeDocument/2006/relationships/hyperlink" Target="https://www.insee.fr/fr/statistiques/4196949" TargetMode="External"/><Relationship Id="rId4" Type="http://schemas.openxmlformats.org/officeDocument/2006/relationships/image" Target="../media/image115.png"/></Relationships>
</file>

<file path=ppt/slides/_rels/slide6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5.xml"/><Relationship Id="rId1" Type="http://schemas.openxmlformats.org/officeDocument/2006/relationships/slideLayout" Target="../slideLayouts/slideLayout39.xml"/><Relationship Id="rId4" Type="http://schemas.openxmlformats.org/officeDocument/2006/relationships/hyperlink" Target="https://www.cnsa.fr/documentation/cnsa_chiffres_cles_2021_interactif.pdf"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3" Type="http://schemas.openxmlformats.org/officeDocument/2006/relationships/hyperlink" Target="https://ancreai.org/wp-content/uploads/2018/02/173_17_doc.pdf" TargetMode="External"/><Relationship Id="rId2" Type="http://schemas.openxmlformats.org/officeDocument/2006/relationships/notesSlide" Target="../notesSlides/notesSlide26.xml"/><Relationship Id="rId1" Type="http://schemas.openxmlformats.org/officeDocument/2006/relationships/slideLayout" Target="../slideLayouts/slideLayout39.xml"/><Relationship Id="rId4" Type="http://schemas.openxmlformats.org/officeDocument/2006/relationships/image" Target="../media/image117.png"/></Relationships>
</file>

<file path=ppt/slides/_rels/slide71.xml.rels><?xml version="1.0" encoding="UTF-8" standalone="yes"?>
<Relationships xmlns="http://schemas.openxmlformats.org/package/2006/relationships"><Relationship Id="rId3" Type="http://schemas.openxmlformats.org/officeDocument/2006/relationships/hyperlink" Target="https://ancreai.org/wp-content/uploads/2018/02/173_17_doc.pdf" TargetMode="External"/><Relationship Id="rId2" Type="http://schemas.openxmlformats.org/officeDocument/2006/relationships/notesSlide" Target="../notesSlides/notesSlide27.xml"/><Relationship Id="rId1" Type="http://schemas.openxmlformats.org/officeDocument/2006/relationships/slideLayout" Target="../slideLayouts/slideLayout39.xml"/><Relationship Id="rId4" Type="http://schemas.openxmlformats.org/officeDocument/2006/relationships/image" Target="../media/image118.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 Target="slide53.xml"/><Relationship Id="rId1" Type="http://schemas.openxmlformats.org/officeDocument/2006/relationships/slideLayout" Target="../slideLayouts/slideLayout20.xml"/><Relationship Id="rId4" Type="http://schemas.openxmlformats.org/officeDocument/2006/relationships/image" Target="../media/image17.sv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20.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784A8C65-F73A-403E-95C2-D34015D761C3}"/>
              </a:ext>
            </a:extLst>
          </p:cNvPr>
          <p:cNvSpPr>
            <a:spLocks noGrp="1"/>
          </p:cNvSpPr>
          <p:nvPr>
            <p:ph type="title"/>
          </p:nvPr>
        </p:nvSpPr>
        <p:spPr/>
        <p:txBody>
          <a:bodyPr/>
          <a:lstStyle/>
          <a:p>
            <a:r>
              <a:rPr lang="fr-FR"/>
              <a:t>Caisse des dépôts / Banque des Territoires </a:t>
            </a:r>
          </a:p>
        </p:txBody>
      </p:sp>
      <p:sp>
        <p:nvSpPr>
          <p:cNvPr id="5" name="Espace réservé du texte 4">
            <a:extLst>
              <a:ext uri="{FF2B5EF4-FFF2-40B4-BE49-F238E27FC236}">
                <a16:creationId xmlns:a16="http://schemas.microsoft.com/office/drawing/2014/main" id="{094310C0-0D61-4395-875E-67BEDA4AFEFB}"/>
              </a:ext>
            </a:extLst>
          </p:cNvPr>
          <p:cNvSpPr>
            <a:spLocks noGrp="1"/>
          </p:cNvSpPr>
          <p:nvPr>
            <p:ph type="body" sz="quarter" idx="15"/>
          </p:nvPr>
        </p:nvSpPr>
        <p:spPr/>
        <p:txBody>
          <a:bodyPr/>
          <a:lstStyle/>
          <a:p>
            <a:r>
              <a:rPr lang="fr-FR"/>
              <a:t>Etude sur les centres de répit  </a:t>
            </a:r>
          </a:p>
        </p:txBody>
      </p:sp>
      <p:sp>
        <p:nvSpPr>
          <p:cNvPr id="6" name="Espace réservé du texte 5">
            <a:extLst>
              <a:ext uri="{FF2B5EF4-FFF2-40B4-BE49-F238E27FC236}">
                <a16:creationId xmlns:a16="http://schemas.microsoft.com/office/drawing/2014/main" id="{2AB5EF0B-8403-4857-B02D-70CD58A7F652}"/>
              </a:ext>
            </a:extLst>
          </p:cNvPr>
          <p:cNvSpPr>
            <a:spLocks noGrp="1"/>
          </p:cNvSpPr>
          <p:nvPr>
            <p:ph type="body" sz="quarter" idx="17"/>
          </p:nvPr>
        </p:nvSpPr>
        <p:spPr/>
        <p:txBody>
          <a:bodyPr/>
          <a:lstStyle/>
          <a:p>
            <a:r>
              <a:rPr lang="fr-FR"/>
              <a:t>Juillet 2022</a:t>
            </a:r>
          </a:p>
        </p:txBody>
      </p:sp>
      <p:pic>
        <p:nvPicPr>
          <p:cNvPr id="7" name="Picture 2">
            <a:extLst>
              <a:ext uri="{FF2B5EF4-FFF2-40B4-BE49-F238E27FC236}">
                <a16:creationId xmlns:a16="http://schemas.microsoft.com/office/drawing/2014/main" id="{CE3C901A-5C55-468B-BD6A-0551B90DD0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84753" y="5716740"/>
            <a:ext cx="790575" cy="904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9701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EA786B65-FD77-46F5-BB58-054675AE6306}"/>
              </a:ext>
            </a:extLst>
          </p:cNvPr>
          <p:cNvSpPr>
            <a:spLocks noGrp="1"/>
          </p:cNvSpPr>
          <p:nvPr>
            <p:ph type="body" sz="quarter" idx="13"/>
          </p:nvPr>
        </p:nvSpPr>
        <p:spPr/>
        <p:txBody>
          <a:bodyPr/>
          <a:lstStyle/>
          <a:p>
            <a:r>
              <a:rPr lang="fr-FR"/>
              <a:t>Etat des lieux </a:t>
            </a:r>
            <a:r>
              <a:rPr lang="fr-FR">
                <a:solidFill>
                  <a:srgbClr val="938481"/>
                </a:solidFill>
              </a:rPr>
              <a:t>des modèles existants</a:t>
            </a:r>
            <a:endParaRPr lang="fr-FR"/>
          </a:p>
        </p:txBody>
      </p:sp>
      <p:sp>
        <p:nvSpPr>
          <p:cNvPr id="8" name="Titre 7">
            <a:extLst>
              <a:ext uri="{FF2B5EF4-FFF2-40B4-BE49-F238E27FC236}">
                <a16:creationId xmlns:a16="http://schemas.microsoft.com/office/drawing/2014/main" id="{9D6D9CD8-2C7F-4FFD-A934-775571CF7DCF}"/>
              </a:ext>
            </a:extLst>
          </p:cNvPr>
          <p:cNvSpPr>
            <a:spLocks noGrp="1"/>
          </p:cNvSpPr>
          <p:nvPr>
            <p:ph type="title"/>
          </p:nvPr>
        </p:nvSpPr>
        <p:spPr/>
        <p:txBody>
          <a:bodyPr/>
          <a:lstStyle/>
          <a:p>
            <a:r>
              <a:rPr lang="fr-FR"/>
              <a:t>Panorama des modèles existants</a:t>
            </a:r>
          </a:p>
        </p:txBody>
      </p:sp>
      <p:grpSp>
        <p:nvGrpSpPr>
          <p:cNvPr id="2" name="Groupe 1">
            <a:extLst>
              <a:ext uri="{FF2B5EF4-FFF2-40B4-BE49-F238E27FC236}">
                <a16:creationId xmlns:a16="http://schemas.microsoft.com/office/drawing/2014/main" id="{40068524-B840-4936-8770-DDAAF82F8A19}"/>
              </a:ext>
            </a:extLst>
          </p:cNvPr>
          <p:cNvGrpSpPr/>
          <p:nvPr/>
        </p:nvGrpSpPr>
        <p:grpSpPr>
          <a:xfrm>
            <a:off x="1904475" y="1268413"/>
            <a:ext cx="8383050" cy="5159852"/>
            <a:chOff x="831587" y="1268413"/>
            <a:chExt cx="8383050" cy="5159852"/>
          </a:xfrm>
        </p:grpSpPr>
        <p:grpSp>
          <p:nvGrpSpPr>
            <p:cNvPr id="4" name="Groupe 3">
              <a:extLst>
                <a:ext uri="{FF2B5EF4-FFF2-40B4-BE49-F238E27FC236}">
                  <a16:creationId xmlns:a16="http://schemas.microsoft.com/office/drawing/2014/main" id="{9174AA42-442E-47F1-BAFC-73CB830CE759}"/>
                </a:ext>
              </a:extLst>
            </p:cNvPr>
            <p:cNvGrpSpPr/>
            <p:nvPr/>
          </p:nvGrpSpPr>
          <p:grpSpPr>
            <a:xfrm>
              <a:off x="831587" y="1268413"/>
              <a:ext cx="8256590" cy="5159852"/>
              <a:chOff x="728306" y="1127266"/>
              <a:chExt cx="6588394" cy="4154808"/>
            </a:xfrm>
          </p:grpSpPr>
          <p:sp>
            <p:nvSpPr>
              <p:cNvPr id="43" name="Rectangle 42">
                <a:extLst>
                  <a:ext uri="{FF2B5EF4-FFF2-40B4-BE49-F238E27FC236}">
                    <a16:creationId xmlns:a16="http://schemas.microsoft.com/office/drawing/2014/main" id="{CD6A2AE0-9FA6-41B3-AD68-E3F5875C92B2}"/>
                  </a:ext>
                </a:extLst>
              </p:cNvPr>
              <p:cNvSpPr/>
              <p:nvPr/>
            </p:nvSpPr>
            <p:spPr>
              <a:xfrm>
                <a:off x="4076700" y="3279556"/>
                <a:ext cx="3240000" cy="2002518"/>
              </a:xfrm>
              <a:prstGeom prst="rect">
                <a:avLst/>
              </a:prstGeom>
              <a:solidFill>
                <a:srgbClr val="EBE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92000" rIns="108000" bIns="36000" numCol="1" spcCol="0" rtlCol="0" fromWordArt="0" anchor="t" anchorCtr="0" forceAA="0" compatLnSpc="1">
                <a:prstTxWarp prst="textNoShape">
                  <a:avLst/>
                </a:prstTxWarp>
                <a:noAutofit/>
              </a:bodyPr>
              <a:lstStyle/>
              <a:p>
                <a:pPr algn="ctr"/>
                <a:endParaRPr lang="en-US" sz="1400">
                  <a:solidFill>
                    <a:srgbClr val="FFFFFF"/>
                  </a:solidFill>
                  <a:latin typeface="Tahoma"/>
                </a:endParaRPr>
              </a:p>
            </p:txBody>
          </p:sp>
          <p:sp>
            <p:nvSpPr>
              <p:cNvPr id="44" name="Rectangle 43">
                <a:extLst>
                  <a:ext uri="{FF2B5EF4-FFF2-40B4-BE49-F238E27FC236}">
                    <a16:creationId xmlns:a16="http://schemas.microsoft.com/office/drawing/2014/main" id="{ADF257FB-6605-4A83-9215-AA017C1FE430}"/>
                  </a:ext>
                </a:extLst>
              </p:cNvPr>
              <p:cNvSpPr/>
              <p:nvPr/>
            </p:nvSpPr>
            <p:spPr>
              <a:xfrm>
                <a:off x="728306" y="3279556"/>
                <a:ext cx="3240000" cy="2002518"/>
              </a:xfrm>
              <a:prstGeom prst="rect">
                <a:avLst/>
              </a:prstGeom>
              <a:solidFill>
                <a:srgbClr val="EBE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92000" rIns="108000" bIns="36000" numCol="1" spcCol="0" rtlCol="0" fromWordArt="0" anchor="t" anchorCtr="0" forceAA="0" compatLnSpc="1">
                <a:prstTxWarp prst="textNoShape">
                  <a:avLst/>
                </a:prstTxWarp>
                <a:noAutofit/>
              </a:bodyPr>
              <a:lstStyle/>
              <a:p>
                <a:pPr algn="ctr"/>
                <a:endParaRPr lang="en-US" sz="1400">
                  <a:solidFill>
                    <a:srgbClr val="FFFFFF"/>
                  </a:solidFill>
                  <a:latin typeface="Tahoma"/>
                </a:endParaRPr>
              </a:p>
            </p:txBody>
          </p:sp>
          <p:sp>
            <p:nvSpPr>
              <p:cNvPr id="45" name="Rectangle 44">
                <a:extLst>
                  <a:ext uri="{FF2B5EF4-FFF2-40B4-BE49-F238E27FC236}">
                    <a16:creationId xmlns:a16="http://schemas.microsoft.com/office/drawing/2014/main" id="{4D0F4F96-0498-423B-824A-83B3EA10D8C5}"/>
                  </a:ext>
                </a:extLst>
              </p:cNvPr>
              <p:cNvSpPr/>
              <p:nvPr/>
            </p:nvSpPr>
            <p:spPr>
              <a:xfrm>
                <a:off x="4076700" y="1127266"/>
                <a:ext cx="3240000" cy="2002518"/>
              </a:xfrm>
              <a:prstGeom prst="rect">
                <a:avLst/>
              </a:prstGeom>
              <a:solidFill>
                <a:srgbClr val="EBE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92000" rIns="108000" bIns="36000" numCol="1" spcCol="0" rtlCol="0" fromWordArt="0" anchor="t" anchorCtr="0" forceAA="0" compatLnSpc="1">
                <a:prstTxWarp prst="textNoShape">
                  <a:avLst/>
                </a:prstTxWarp>
                <a:noAutofit/>
              </a:bodyPr>
              <a:lstStyle/>
              <a:p>
                <a:pPr algn="ctr"/>
                <a:endParaRPr lang="en-US" sz="1400">
                  <a:solidFill>
                    <a:srgbClr val="FFFFFF"/>
                  </a:solidFill>
                  <a:latin typeface="Tahoma"/>
                </a:endParaRPr>
              </a:p>
            </p:txBody>
          </p:sp>
          <p:sp>
            <p:nvSpPr>
              <p:cNvPr id="48" name="Rectangle 47">
                <a:extLst>
                  <a:ext uri="{FF2B5EF4-FFF2-40B4-BE49-F238E27FC236}">
                    <a16:creationId xmlns:a16="http://schemas.microsoft.com/office/drawing/2014/main" id="{E68A90D8-2B76-4DB5-97D0-CD5283515B7C}"/>
                  </a:ext>
                </a:extLst>
              </p:cNvPr>
              <p:cNvSpPr/>
              <p:nvPr/>
            </p:nvSpPr>
            <p:spPr>
              <a:xfrm>
                <a:off x="728306" y="1127266"/>
                <a:ext cx="3240000" cy="2002518"/>
              </a:xfrm>
              <a:prstGeom prst="rect">
                <a:avLst/>
              </a:prstGeom>
              <a:solidFill>
                <a:srgbClr val="EBE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92000" rIns="108000" bIns="36000" numCol="1" spcCol="0" rtlCol="0" fromWordArt="0" anchor="t" anchorCtr="0" forceAA="0" compatLnSpc="1">
                <a:prstTxWarp prst="textNoShape">
                  <a:avLst/>
                </a:prstTxWarp>
                <a:noAutofit/>
              </a:bodyPr>
              <a:lstStyle/>
              <a:p>
                <a:pPr algn="ctr"/>
                <a:endParaRPr lang="en-US" sz="1400">
                  <a:solidFill>
                    <a:srgbClr val="FFFFFF"/>
                  </a:solidFill>
                  <a:latin typeface="Tahoma"/>
                </a:endParaRPr>
              </a:p>
            </p:txBody>
          </p:sp>
        </p:grpSp>
        <p:sp>
          <p:nvSpPr>
            <p:cNvPr id="5" name="ZoneTexte 4">
              <a:extLst>
                <a:ext uri="{FF2B5EF4-FFF2-40B4-BE49-F238E27FC236}">
                  <a16:creationId xmlns:a16="http://schemas.microsoft.com/office/drawing/2014/main" id="{9CAAAE8D-B4E5-4D8A-85F3-2AFFD3D805D8}"/>
                </a:ext>
              </a:extLst>
            </p:cNvPr>
            <p:cNvSpPr txBox="1"/>
            <p:nvPr/>
          </p:nvSpPr>
          <p:spPr>
            <a:xfrm>
              <a:off x="908887" y="1351599"/>
              <a:ext cx="3996162" cy="461665"/>
            </a:xfrm>
            <a:prstGeom prst="rect">
              <a:avLst/>
            </a:prstGeom>
            <a:noFill/>
          </p:spPr>
          <p:txBody>
            <a:bodyPr wrap="square" lIns="108000" rIns="108000" rtlCol="0">
              <a:spAutoFit/>
            </a:bodyPr>
            <a:lstStyle/>
            <a:p>
              <a:pPr algn="ctr"/>
              <a:r>
                <a:rPr lang="fr-FR" sz="1200" b="1" u="sng">
                  <a:solidFill>
                    <a:srgbClr val="503078"/>
                  </a:solidFill>
                  <a:latin typeface="Tahoma"/>
                </a:rPr>
                <a:t>Modèle 1 </a:t>
              </a:r>
              <a:r>
                <a:rPr lang="fr-FR" sz="1200" b="1">
                  <a:solidFill>
                    <a:srgbClr val="503078"/>
                  </a:solidFill>
                  <a:latin typeface="Tahoma"/>
                </a:rPr>
                <a:t>: les villages-vacances « autonomes »</a:t>
              </a:r>
            </a:p>
            <a:p>
              <a:pPr algn="ctr"/>
              <a:r>
                <a:rPr lang="fr-FR" sz="1200" i="1">
                  <a:solidFill>
                    <a:srgbClr val="503078"/>
                  </a:solidFill>
                  <a:latin typeface="Tahoma"/>
                </a:rPr>
                <a:t>Ex : VRF Touraine, Centre Les Bruyères</a:t>
              </a:r>
            </a:p>
          </p:txBody>
        </p:sp>
        <p:sp>
          <p:nvSpPr>
            <p:cNvPr id="49" name="ZoneTexte 48">
              <a:extLst>
                <a:ext uri="{FF2B5EF4-FFF2-40B4-BE49-F238E27FC236}">
                  <a16:creationId xmlns:a16="http://schemas.microsoft.com/office/drawing/2014/main" id="{DEF25914-4BEE-41B7-A32B-535F84F09909}"/>
                </a:ext>
              </a:extLst>
            </p:cNvPr>
            <p:cNvSpPr txBox="1"/>
            <p:nvPr/>
          </p:nvSpPr>
          <p:spPr>
            <a:xfrm>
              <a:off x="4905048" y="1354920"/>
              <a:ext cx="4309589" cy="646331"/>
            </a:xfrm>
            <a:prstGeom prst="rect">
              <a:avLst/>
            </a:prstGeom>
            <a:noFill/>
          </p:spPr>
          <p:txBody>
            <a:bodyPr wrap="square" lIns="108000" rIns="108000" rtlCol="0">
              <a:spAutoFit/>
            </a:bodyPr>
            <a:lstStyle/>
            <a:p>
              <a:pPr algn="ctr"/>
              <a:r>
                <a:rPr lang="fr-FR" sz="1200" b="1" u="sng">
                  <a:solidFill>
                    <a:srgbClr val="503078"/>
                  </a:solidFill>
                  <a:latin typeface="Tahoma"/>
                </a:rPr>
                <a:t>Modèle 2 </a:t>
              </a:r>
              <a:r>
                <a:rPr lang="fr-FR" sz="1200" b="1">
                  <a:solidFill>
                    <a:srgbClr val="503078"/>
                  </a:solidFill>
                  <a:latin typeface="Tahoma"/>
                </a:rPr>
                <a:t>: les villages-vacances adossés à un ESMS</a:t>
              </a:r>
            </a:p>
            <a:p>
              <a:pPr algn="ctr"/>
              <a:r>
                <a:rPr lang="fr-FR" sz="1200" i="1">
                  <a:solidFill>
                    <a:srgbClr val="503078"/>
                  </a:solidFill>
                  <a:latin typeface="Tahoma"/>
                </a:rPr>
                <a:t>Ex : VRF Les </a:t>
              </a:r>
              <a:r>
                <a:rPr lang="fr-FR" sz="1200" i="1" err="1">
                  <a:solidFill>
                    <a:srgbClr val="503078"/>
                  </a:solidFill>
                  <a:latin typeface="Tahoma"/>
                </a:rPr>
                <a:t>Cizes</a:t>
              </a:r>
              <a:r>
                <a:rPr lang="fr-FR" sz="1200" i="1">
                  <a:solidFill>
                    <a:srgbClr val="503078"/>
                  </a:solidFill>
                  <a:latin typeface="Tahoma"/>
                </a:rPr>
                <a:t>, La Salamandre</a:t>
              </a:r>
            </a:p>
            <a:p>
              <a:pPr algn="ctr"/>
              <a:endParaRPr lang="fr-FR" sz="1200" b="1">
                <a:solidFill>
                  <a:srgbClr val="503078"/>
                </a:solidFill>
                <a:latin typeface="Tahoma"/>
              </a:endParaRPr>
            </a:p>
          </p:txBody>
        </p:sp>
        <p:sp>
          <p:nvSpPr>
            <p:cNvPr id="50" name="ZoneTexte 49">
              <a:extLst>
                <a:ext uri="{FF2B5EF4-FFF2-40B4-BE49-F238E27FC236}">
                  <a16:creationId xmlns:a16="http://schemas.microsoft.com/office/drawing/2014/main" id="{2D253251-8B4E-43DC-81AB-6678D77C9A82}"/>
                </a:ext>
              </a:extLst>
            </p:cNvPr>
            <p:cNvSpPr txBox="1"/>
            <p:nvPr/>
          </p:nvSpPr>
          <p:spPr>
            <a:xfrm>
              <a:off x="844674" y="4028627"/>
              <a:ext cx="4060374" cy="461665"/>
            </a:xfrm>
            <a:prstGeom prst="rect">
              <a:avLst/>
            </a:prstGeom>
            <a:noFill/>
          </p:spPr>
          <p:txBody>
            <a:bodyPr wrap="square" lIns="108000" rIns="108000" rtlCol="0">
              <a:spAutoFit/>
            </a:bodyPr>
            <a:lstStyle/>
            <a:p>
              <a:pPr algn="ctr"/>
              <a:r>
                <a:rPr lang="fr-FR" sz="1200" b="1" u="sng">
                  <a:solidFill>
                    <a:srgbClr val="503078"/>
                  </a:solidFill>
                  <a:latin typeface="Tahoma"/>
                </a:rPr>
                <a:t>Modèle 3 </a:t>
              </a:r>
              <a:r>
                <a:rPr lang="fr-FR" sz="1200" b="1">
                  <a:solidFill>
                    <a:srgbClr val="503078"/>
                  </a:solidFill>
                  <a:latin typeface="Tahoma"/>
                </a:rPr>
                <a:t>: les partenariats entre ESMS</a:t>
              </a:r>
            </a:p>
            <a:p>
              <a:pPr algn="ctr"/>
              <a:r>
                <a:rPr lang="fr-FR" sz="1200" i="1">
                  <a:solidFill>
                    <a:srgbClr val="503078"/>
                  </a:solidFill>
                  <a:latin typeface="Tahoma"/>
                </a:rPr>
                <a:t>Ex : expérimentation séjours de répit – CNSA</a:t>
              </a:r>
            </a:p>
          </p:txBody>
        </p:sp>
        <p:sp>
          <p:nvSpPr>
            <p:cNvPr id="51" name="ZoneTexte 50">
              <a:extLst>
                <a:ext uri="{FF2B5EF4-FFF2-40B4-BE49-F238E27FC236}">
                  <a16:creationId xmlns:a16="http://schemas.microsoft.com/office/drawing/2014/main" id="{04896385-93CB-43E3-B8AF-980CE7E60CBA}"/>
                </a:ext>
              </a:extLst>
            </p:cNvPr>
            <p:cNvSpPr txBox="1"/>
            <p:nvPr/>
          </p:nvSpPr>
          <p:spPr>
            <a:xfrm>
              <a:off x="5040890" y="4028627"/>
              <a:ext cx="4060374" cy="830997"/>
            </a:xfrm>
            <a:prstGeom prst="rect">
              <a:avLst/>
            </a:prstGeom>
            <a:noFill/>
          </p:spPr>
          <p:txBody>
            <a:bodyPr wrap="square" lIns="108000" rIns="108000" rtlCol="0">
              <a:spAutoFit/>
            </a:bodyPr>
            <a:lstStyle/>
            <a:p>
              <a:pPr algn="ctr"/>
              <a:r>
                <a:rPr lang="fr-FR" sz="1200" b="1" u="sng">
                  <a:solidFill>
                    <a:srgbClr val="503078"/>
                  </a:solidFill>
                  <a:latin typeface="Tahoma"/>
                </a:rPr>
                <a:t>Modèle 4 </a:t>
              </a:r>
              <a:r>
                <a:rPr lang="fr-FR" sz="1200" b="1">
                  <a:solidFill>
                    <a:srgbClr val="503078"/>
                  </a:solidFill>
                  <a:latin typeface="Tahoma"/>
                </a:rPr>
                <a:t>: les partenariats entre ESMS/ associations et acteurs du tourisme</a:t>
              </a:r>
            </a:p>
            <a:p>
              <a:pPr algn="ctr"/>
              <a:r>
                <a:rPr lang="fr-FR" sz="1200" i="1">
                  <a:solidFill>
                    <a:srgbClr val="503078"/>
                  </a:solidFill>
                  <a:latin typeface="Tahoma"/>
                </a:rPr>
                <a:t>Ex : fonds ANCV / CARSAT PADA, Réseau Passerelles, …</a:t>
              </a:r>
            </a:p>
            <a:p>
              <a:pPr algn="ctr"/>
              <a:endParaRPr lang="fr-FR" sz="1200" b="1">
                <a:solidFill>
                  <a:srgbClr val="503078"/>
                </a:solidFill>
                <a:latin typeface="Tahoma"/>
              </a:endParaRPr>
            </a:p>
          </p:txBody>
        </p:sp>
        <p:sp>
          <p:nvSpPr>
            <p:cNvPr id="9" name="ZoneTexte 8">
              <a:extLst>
                <a:ext uri="{FF2B5EF4-FFF2-40B4-BE49-F238E27FC236}">
                  <a16:creationId xmlns:a16="http://schemas.microsoft.com/office/drawing/2014/main" id="{AD09FF46-D9B2-4CC1-B8C2-1B068B413B91}"/>
                </a:ext>
              </a:extLst>
            </p:cNvPr>
            <p:cNvSpPr txBox="1"/>
            <p:nvPr/>
          </p:nvSpPr>
          <p:spPr>
            <a:xfrm>
              <a:off x="871525" y="2026738"/>
              <a:ext cx="3996162" cy="1446550"/>
            </a:xfrm>
            <a:prstGeom prst="rect">
              <a:avLst/>
            </a:prstGeom>
            <a:noFill/>
          </p:spPr>
          <p:txBody>
            <a:bodyPr wrap="square" lIns="108000" rIns="108000" rtlCol="0">
              <a:spAutoFit/>
            </a:bodyPr>
            <a:lstStyle/>
            <a:p>
              <a:pPr algn="just"/>
              <a:r>
                <a:rPr lang="fr-FR" sz="1100">
                  <a:solidFill>
                    <a:srgbClr val="5F5F5F"/>
                  </a:solidFill>
                  <a:latin typeface="Tahoma"/>
                </a:rPr>
                <a:t>Modèle « pionnier », les villages-vacances autonomes organisent et accueillent des séjours de répit aidants / aidés au sein de </a:t>
              </a:r>
              <a:r>
                <a:rPr lang="fr-FR" sz="1100" b="1">
                  <a:solidFill>
                    <a:srgbClr val="5F5F5F"/>
                  </a:solidFill>
                  <a:latin typeface="Tahoma"/>
                </a:rPr>
                <a:t>structures dédiées</a:t>
              </a:r>
              <a:r>
                <a:rPr lang="fr-FR" sz="1100">
                  <a:solidFill>
                    <a:srgbClr val="5F5F5F"/>
                  </a:solidFill>
                  <a:latin typeface="Tahoma"/>
                </a:rPr>
                <a:t>, ouvertes tout au long de l’année. </a:t>
              </a:r>
              <a:r>
                <a:rPr lang="fr-FR" sz="1100" b="1">
                  <a:solidFill>
                    <a:srgbClr val="5F5F5F"/>
                  </a:solidFill>
                  <a:latin typeface="Tahoma"/>
                </a:rPr>
                <a:t>L’investissement et l’exploitation de ces structures sont gérés en propre </a:t>
              </a:r>
              <a:r>
                <a:rPr lang="fr-FR" sz="1100">
                  <a:solidFill>
                    <a:srgbClr val="5F5F5F"/>
                  </a:solidFill>
                  <a:latin typeface="Tahoma"/>
                </a:rPr>
                <a:t>par les porteurs de projets, généralement associatifs. Bien qu’encore incertain sur le plan économique, il s’agit du modèle </a:t>
              </a:r>
              <a:r>
                <a:rPr lang="fr-FR" sz="1100" b="1">
                  <a:solidFill>
                    <a:srgbClr val="5F5F5F"/>
                  </a:solidFill>
                  <a:latin typeface="Tahoma"/>
                </a:rPr>
                <a:t>le plus mature </a:t>
              </a:r>
              <a:r>
                <a:rPr lang="fr-FR" sz="1100">
                  <a:solidFill>
                    <a:srgbClr val="5F5F5F"/>
                  </a:solidFill>
                  <a:latin typeface="Tahoma"/>
                </a:rPr>
                <a:t>à l’heure actuelle.</a:t>
              </a:r>
            </a:p>
          </p:txBody>
        </p:sp>
        <p:sp>
          <p:nvSpPr>
            <p:cNvPr id="14" name="ZoneTexte 13">
              <a:extLst>
                <a:ext uri="{FF2B5EF4-FFF2-40B4-BE49-F238E27FC236}">
                  <a16:creationId xmlns:a16="http://schemas.microsoft.com/office/drawing/2014/main" id="{78038E35-F8CE-4030-BEB0-A3E93AA76DD0}"/>
                </a:ext>
              </a:extLst>
            </p:cNvPr>
            <p:cNvSpPr txBox="1"/>
            <p:nvPr/>
          </p:nvSpPr>
          <p:spPr>
            <a:xfrm>
              <a:off x="5078251" y="2026738"/>
              <a:ext cx="3996162" cy="1446550"/>
            </a:xfrm>
            <a:prstGeom prst="rect">
              <a:avLst/>
            </a:prstGeom>
            <a:noFill/>
          </p:spPr>
          <p:txBody>
            <a:bodyPr wrap="square" lIns="108000" rIns="108000" rtlCol="0">
              <a:spAutoFit/>
            </a:bodyPr>
            <a:lstStyle/>
            <a:p>
              <a:pPr algn="just"/>
              <a:r>
                <a:rPr lang="fr-FR" sz="1100" dirty="0">
                  <a:solidFill>
                    <a:srgbClr val="5F5F5F"/>
                  </a:solidFill>
                  <a:latin typeface="Tahoma"/>
                </a:rPr>
                <a:t>Ces structures offrent des services équivalents à ceux proposés par les villages-vacances autonomes (modèle 1) et mettent à disposition un site dont l’investissement et l’exploitation sont gérés par les porteurs de projet. Cependant, le village est adossé à un ESMS existant, permettant ainsi de </a:t>
              </a:r>
              <a:r>
                <a:rPr lang="fr-FR" sz="1100" b="1" dirty="0">
                  <a:solidFill>
                    <a:srgbClr val="5F5F5F"/>
                  </a:solidFill>
                  <a:latin typeface="Tahoma"/>
                </a:rPr>
                <a:t>mutualiser les personnels médico-sociaux, la logistique et les infrastructures </a:t>
              </a:r>
              <a:r>
                <a:rPr lang="fr-FR" sz="1100" dirty="0">
                  <a:solidFill>
                    <a:srgbClr val="5F5F5F"/>
                  </a:solidFill>
                  <a:latin typeface="Tahoma"/>
                </a:rPr>
                <a:t>et de simplifier l’obtention de places d’AT / HT. </a:t>
              </a:r>
            </a:p>
          </p:txBody>
        </p:sp>
        <p:sp>
          <p:nvSpPr>
            <p:cNvPr id="15" name="ZoneTexte 14">
              <a:extLst>
                <a:ext uri="{FF2B5EF4-FFF2-40B4-BE49-F238E27FC236}">
                  <a16:creationId xmlns:a16="http://schemas.microsoft.com/office/drawing/2014/main" id="{F4188CC0-E86F-4FBE-B106-9EF8DBBF0793}"/>
                </a:ext>
              </a:extLst>
            </p:cNvPr>
            <p:cNvSpPr txBox="1"/>
            <p:nvPr/>
          </p:nvSpPr>
          <p:spPr>
            <a:xfrm>
              <a:off x="897803" y="4621811"/>
              <a:ext cx="3996162" cy="1615827"/>
            </a:xfrm>
            <a:prstGeom prst="rect">
              <a:avLst/>
            </a:prstGeom>
            <a:noFill/>
          </p:spPr>
          <p:txBody>
            <a:bodyPr wrap="square" lIns="108000" rIns="108000" rtlCol="0">
              <a:spAutoFit/>
            </a:bodyPr>
            <a:lstStyle/>
            <a:p>
              <a:pPr algn="just"/>
              <a:r>
                <a:rPr lang="fr-FR" sz="1100">
                  <a:solidFill>
                    <a:srgbClr val="5F5F5F"/>
                  </a:solidFill>
                  <a:latin typeface="Tahoma"/>
                </a:rPr>
                <a:t>Ce modèle repose sur la </a:t>
              </a:r>
              <a:r>
                <a:rPr lang="fr-FR" sz="1100" b="1">
                  <a:solidFill>
                    <a:srgbClr val="5F5F5F"/>
                  </a:solidFill>
                  <a:latin typeface="Tahoma"/>
                </a:rPr>
                <a:t>coopération d’ESMS au travers de conventions de partenariat</a:t>
              </a:r>
              <a:r>
                <a:rPr lang="fr-FR" sz="1100">
                  <a:solidFill>
                    <a:srgbClr val="5F5F5F"/>
                  </a:solidFill>
                  <a:latin typeface="Tahoma"/>
                </a:rPr>
                <a:t>, permettant d’organiser des séjours ponctuels de rupture avec les couples aidant-aidé dans le cadre </a:t>
              </a:r>
              <a:r>
                <a:rPr lang="fr-FR" sz="1100" b="1">
                  <a:solidFill>
                    <a:srgbClr val="5F5F5F"/>
                  </a:solidFill>
                  <a:latin typeface="Tahoma"/>
                </a:rPr>
                <a:t>d’échanges de résidence</a:t>
              </a:r>
              <a:r>
                <a:rPr lang="fr-FR" sz="1100">
                  <a:solidFill>
                    <a:srgbClr val="5F5F5F"/>
                  </a:solidFill>
                  <a:latin typeface="Tahoma"/>
                </a:rPr>
                <a:t>, ou encore d’organiser des </a:t>
              </a:r>
              <a:r>
                <a:rPr lang="fr-FR" sz="1100" b="1">
                  <a:solidFill>
                    <a:srgbClr val="5F5F5F"/>
                  </a:solidFill>
                  <a:latin typeface="Tahoma"/>
                </a:rPr>
                <a:t>permanences </a:t>
              </a:r>
              <a:r>
                <a:rPr lang="fr-FR" sz="1100">
                  <a:solidFill>
                    <a:srgbClr val="5F5F5F"/>
                  </a:solidFill>
                  <a:latin typeface="Tahoma"/>
                </a:rPr>
                <a:t>pour accueillir des séjours de répit et ainsi optimiser les taux d’occupation des places d’accueil ou d’hébergement temporaire. Ce modèle permet de rationaliser les coûts par un repositionnement temporaire de l’existant. </a:t>
              </a:r>
            </a:p>
          </p:txBody>
        </p:sp>
        <p:sp>
          <p:nvSpPr>
            <p:cNvPr id="17" name="ZoneTexte 16">
              <a:extLst>
                <a:ext uri="{FF2B5EF4-FFF2-40B4-BE49-F238E27FC236}">
                  <a16:creationId xmlns:a16="http://schemas.microsoft.com/office/drawing/2014/main" id="{4A4F6FD8-99B8-4E8B-89E8-3EE2BD20CDD6}"/>
                </a:ext>
              </a:extLst>
            </p:cNvPr>
            <p:cNvSpPr txBox="1"/>
            <p:nvPr/>
          </p:nvSpPr>
          <p:spPr>
            <a:xfrm>
              <a:off x="5099917" y="4640017"/>
              <a:ext cx="4039352" cy="1277273"/>
            </a:xfrm>
            <a:prstGeom prst="rect">
              <a:avLst/>
            </a:prstGeom>
            <a:noFill/>
          </p:spPr>
          <p:txBody>
            <a:bodyPr wrap="square" lIns="108000" rIns="108000" rtlCol="0">
              <a:spAutoFit/>
            </a:bodyPr>
            <a:lstStyle/>
            <a:p>
              <a:pPr algn="just"/>
              <a:r>
                <a:rPr lang="fr-FR" sz="1100">
                  <a:solidFill>
                    <a:srgbClr val="5F5F5F"/>
                  </a:solidFill>
                  <a:latin typeface="Tahoma"/>
                </a:rPr>
                <a:t>Ces initiatives, émanant d’ESMS et/ou d’associations, consistent </a:t>
              </a:r>
              <a:r>
                <a:rPr lang="fr-FR" sz="1100" b="1">
                  <a:solidFill>
                    <a:srgbClr val="5F5F5F"/>
                  </a:solidFill>
                  <a:latin typeface="Tahoma"/>
                </a:rPr>
                <a:t>à organiser des séjours de vacances sur des périodes définies avec l’appui d’acteurs du tourisme </a:t>
              </a:r>
              <a:r>
                <a:rPr lang="fr-FR" sz="1100">
                  <a:solidFill>
                    <a:srgbClr val="5F5F5F"/>
                  </a:solidFill>
                  <a:latin typeface="Tahoma"/>
                </a:rPr>
                <a:t>(social ou ordinaire), qui peuvent être publics ou privés. Cette modalité permet de mobiliser à la fois le personnel médico-social des associations / ESMS et l’expertise et les infrastructures touristiques des partenaires.  </a:t>
              </a:r>
            </a:p>
          </p:txBody>
        </p:sp>
      </p:grpSp>
      <p:sp>
        <p:nvSpPr>
          <p:cNvPr id="18" name="ZoneTexte 17">
            <a:extLst>
              <a:ext uri="{FF2B5EF4-FFF2-40B4-BE49-F238E27FC236}">
                <a16:creationId xmlns:a16="http://schemas.microsoft.com/office/drawing/2014/main" id="{A4689D91-6232-42AF-8DAE-00D797C96044}"/>
              </a:ext>
            </a:extLst>
          </p:cNvPr>
          <p:cNvSpPr txBox="1"/>
          <p:nvPr/>
        </p:nvSpPr>
        <p:spPr>
          <a:xfrm>
            <a:off x="1401947" y="818815"/>
            <a:ext cx="9345534" cy="276999"/>
          </a:xfrm>
          <a:prstGeom prst="rect">
            <a:avLst/>
          </a:prstGeom>
          <a:solidFill>
            <a:schemeClr val="bg2"/>
          </a:solidFill>
        </p:spPr>
        <p:txBody>
          <a:bodyPr wrap="square" lIns="108000" rIns="108000" rtlCol="0">
            <a:spAutoFit/>
          </a:bodyPr>
          <a:lstStyle/>
          <a:p>
            <a:r>
              <a:rPr lang="fr-FR" sz="1200" b="1">
                <a:solidFill>
                  <a:srgbClr val="FFFFFF"/>
                </a:solidFill>
                <a:latin typeface="Tahoma"/>
              </a:rPr>
              <a:t>L’étude des projets existants a permis de dégager 4 modèles : </a:t>
            </a:r>
          </a:p>
        </p:txBody>
      </p:sp>
    </p:spTree>
    <p:extLst>
      <p:ext uri="{BB962C8B-B14F-4D97-AF65-F5344CB8AC3E}">
        <p14:creationId xmlns:p14="http://schemas.microsoft.com/office/powerpoint/2010/main" val="1230772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ZoneTexte 143">
            <a:extLst>
              <a:ext uri="{FF2B5EF4-FFF2-40B4-BE49-F238E27FC236}">
                <a16:creationId xmlns:a16="http://schemas.microsoft.com/office/drawing/2014/main" id="{AFB19748-CD2D-492F-9430-54C048E8BC7A}"/>
              </a:ext>
            </a:extLst>
          </p:cNvPr>
          <p:cNvSpPr txBox="1"/>
          <p:nvPr/>
        </p:nvSpPr>
        <p:spPr>
          <a:xfrm>
            <a:off x="9011451" y="5808208"/>
            <a:ext cx="2012753" cy="1032036"/>
          </a:xfrm>
          <a:prstGeom prst="rect">
            <a:avLst/>
          </a:prstGeom>
          <a:solidFill>
            <a:schemeClr val="bg1"/>
          </a:solidFill>
          <a:ln>
            <a:noFill/>
          </a:ln>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27" name="ZoneTexte 126">
            <a:extLst>
              <a:ext uri="{FF2B5EF4-FFF2-40B4-BE49-F238E27FC236}">
                <a16:creationId xmlns:a16="http://schemas.microsoft.com/office/drawing/2014/main" id="{CEFC84DD-3DA7-456C-B0D9-1400DB406EC3}"/>
              </a:ext>
            </a:extLst>
          </p:cNvPr>
          <p:cNvSpPr txBox="1"/>
          <p:nvPr/>
        </p:nvSpPr>
        <p:spPr>
          <a:xfrm>
            <a:off x="6206810" y="2769113"/>
            <a:ext cx="3736745" cy="1054279"/>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2" name="Titre 1">
            <a:extLst>
              <a:ext uri="{FF2B5EF4-FFF2-40B4-BE49-F238E27FC236}">
                <a16:creationId xmlns:a16="http://schemas.microsoft.com/office/drawing/2014/main" id="{96CCCFB9-E7A4-4FA0-ACFE-13891ADB4576}"/>
              </a:ext>
            </a:extLst>
          </p:cNvPr>
          <p:cNvSpPr>
            <a:spLocks noGrp="1"/>
          </p:cNvSpPr>
          <p:nvPr>
            <p:ph type="title"/>
          </p:nvPr>
        </p:nvSpPr>
        <p:spPr/>
        <p:txBody>
          <a:bodyPr/>
          <a:lstStyle/>
          <a:p>
            <a:r>
              <a:rPr lang="fr-FR" u="sng"/>
              <a:t>Modèle 1</a:t>
            </a:r>
            <a:r>
              <a:rPr lang="fr-FR"/>
              <a:t> : les villages de vacances « autonomes »</a:t>
            </a:r>
            <a:br>
              <a:rPr lang="fr-FR"/>
            </a:br>
            <a:r>
              <a:rPr lang="fr-FR" sz="1400" i="1">
                <a:solidFill>
                  <a:srgbClr val="503078"/>
                </a:solidFill>
                <a:latin typeface="Tahoma"/>
              </a:rPr>
              <a:t>Exemples : VRF Touraine, Le Domaine Porte-Neuve, le Centre Les Bruyères</a:t>
            </a:r>
            <a:endParaRPr lang="fr-FR" sz="2000"/>
          </a:p>
        </p:txBody>
      </p:sp>
      <p:sp>
        <p:nvSpPr>
          <p:cNvPr id="3" name="Espace réservé du texte 2">
            <a:extLst>
              <a:ext uri="{FF2B5EF4-FFF2-40B4-BE49-F238E27FC236}">
                <a16:creationId xmlns:a16="http://schemas.microsoft.com/office/drawing/2014/main" id="{EA786B65-FD77-46F5-BB58-054675AE6306}"/>
              </a:ext>
            </a:extLst>
          </p:cNvPr>
          <p:cNvSpPr>
            <a:spLocks noGrp="1"/>
          </p:cNvSpPr>
          <p:nvPr>
            <p:ph type="body" sz="quarter" idx="13"/>
          </p:nvPr>
        </p:nvSpPr>
        <p:spPr/>
        <p:txBody>
          <a:bodyPr/>
          <a:lstStyle/>
          <a:p>
            <a:r>
              <a:rPr lang="fr-FR"/>
              <a:t>Etat des lieux </a:t>
            </a:r>
            <a:r>
              <a:rPr lang="fr-FR">
                <a:solidFill>
                  <a:srgbClr val="938481"/>
                </a:solidFill>
              </a:rPr>
              <a:t>des modèles existants</a:t>
            </a:r>
            <a:endParaRPr lang="fr-FR"/>
          </a:p>
        </p:txBody>
      </p:sp>
      <p:sp>
        <p:nvSpPr>
          <p:cNvPr id="6" name="Arrondir un rectangle avec un coin diagonal 25">
            <a:extLst>
              <a:ext uri="{FF2B5EF4-FFF2-40B4-BE49-F238E27FC236}">
                <a16:creationId xmlns:a16="http://schemas.microsoft.com/office/drawing/2014/main" id="{061EFCEE-43E5-4789-ADA4-A849A8D0D109}"/>
              </a:ext>
            </a:extLst>
          </p:cNvPr>
          <p:cNvSpPr>
            <a:spLocks/>
          </p:cNvSpPr>
          <p:nvPr/>
        </p:nvSpPr>
        <p:spPr bwMode="gray">
          <a:xfrm>
            <a:off x="4235936" y="1016760"/>
            <a:ext cx="6736202" cy="1295977"/>
          </a:xfrm>
          <a:prstGeom prst="round2DiagRect">
            <a:avLst>
              <a:gd name="adj1" fmla="val 0"/>
              <a:gd name="adj2" fmla="val 11610"/>
            </a:avLst>
          </a:prstGeom>
          <a:solidFill>
            <a:schemeClr val="bg1"/>
          </a:solidFill>
          <a:ln w="19050" cap="flat" cmpd="sng" algn="ctr">
            <a:solidFill>
              <a:schemeClr val="bg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00" tIns="58500" rIns="58500" bIns="58500" numCol="1" spcCol="0" rtlCol="0" fromWordArt="0" anchor="t" anchorCtr="0" forceAA="0" compatLnSpc="1">
            <a:prstTxWarp prst="textNoShape">
              <a:avLst/>
            </a:prstTxWarp>
            <a:noAutofit/>
          </a:bodyPr>
          <a:lstStyle/>
          <a:p>
            <a:pPr algn="just">
              <a:defRPr/>
            </a:pPr>
            <a:r>
              <a:rPr lang="fr-FR" sz="1056">
                <a:solidFill>
                  <a:srgbClr val="667E76"/>
                </a:solidFill>
                <a:latin typeface="Arial"/>
                <a:ea typeface="Meiryo UI"/>
                <a:cs typeface="Arial"/>
              </a:rPr>
              <a:t>. </a:t>
            </a:r>
          </a:p>
        </p:txBody>
      </p:sp>
      <p:sp>
        <p:nvSpPr>
          <p:cNvPr id="46" name="ZoneTexte 45">
            <a:extLst>
              <a:ext uri="{FF2B5EF4-FFF2-40B4-BE49-F238E27FC236}">
                <a16:creationId xmlns:a16="http://schemas.microsoft.com/office/drawing/2014/main" id="{18D377A5-89B7-42C6-AC56-9BCE010E429D}"/>
              </a:ext>
            </a:extLst>
          </p:cNvPr>
          <p:cNvSpPr txBox="1"/>
          <p:nvPr/>
        </p:nvSpPr>
        <p:spPr>
          <a:xfrm>
            <a:off x="4239577" y="1060941"/>
            <a:ext cx="2344061" cy="446276"/>
          </a:xfrm>
          <a:prstGeom prst="rect">
            <a:avLst/>
          </a:prstGeom>
          <a:noFill/>
          <a:ln>
            <a:noFill/>
          </a:ln>
        </p:spPr>
        <p:txBody>
          <a:bodyPr wrap="square" lIns="108000" rIns="108000" rtlCol="0">
            <a:spAutoFit/>
          </a:bodyPr>
          <a:lstStyle/>
          <a:p>
            <a:r>
              <a:rPr lang="fr-FR" sz="1100" b="1">
                <a:solidFill>
                  <a:srgbClr val="503078"/>
                </a:solidFill>
                <a:latin typeface="Tahoma"/>
              </a:rPr>
              <a:t>Description</a:t>
            </a:r>
          </a:p>
          <a:p>
            <a:pPr marL="171450" indent="-171450">
              <a:buFontTx/>
              <a:buChar char="-"/>
            </a:pPr>
            <a:endParaRPr lang="fr-FR" sz="1200">
              <a:solidFill>
                <a:srgbClr val="5F5F5F"/>
              </a:solidFill>
              <a:latin typeface="Tahoma"/>
            </a:endParaRPr>
          </a:p>
        </p:txBody>
      </p:sp>
      <p:sp>
        <p:nvSpPr>
          <p:cNvPr id="47" name="ZoneTexte 46">
            <a:extLst>
              <a:ext uri="{FF2B5EF4-FFF2-40B4-BE49-F238E27FC236}">
                <a16:creationId xmlns:a16="http://schemas.microsoft.com/office/drawing/2014/main" id="{34503B7E-030F-498B-9EC4-D99CB7FB14CF}"/>
              </a:ext>
            </a:extLst>
          </p:cNvPr>
          <p:cNvSpPr txBox="1"/>
          <p:nvPr/>
        </p:nvSpPr>
        <p:spPr>
          <a:xfrm>
            <a:off x="4240411" y="1333681"/>
            <a:ext cx="6767044" cy="900246"/>
          </a:xfrm>
          <a:prstGeom prst="rect">
            <a:avLst/>
          </a:prstGeom>
          <a:noFill/>
          <a:ln>
            <a:noFill/>
          </a:ln>
        </p:spPr>
        <p:txBody>
          <a:bodyPr wrap="square" lIns="108000" rIns="108000" rtlCol="0">
            <a:spAutoFit/>
          </a:bodyPr>
          <a:lstStyle/>
          <a:p>
            <a:pPr algn="just"/>
            <a:r>
              <a:rPr lang="fr-FR" sz="1050">
                <a:solidFill>
                  <a:srgbClr val="5F5F5F"/>
                </a:solidFill>
                <a:latin typeface="Tahoma"/>
              </a:rPr>
              <a:t>Ce modèle consiste en l’organisation de séjours de vacances adaptés et l’accueil de couples aidant / aidé au sein </a:t>
            </a:r>
            <a:r>
              <a:rPr lang="fr-FR" sz="1050" b="1">
                <a:solidFill>
                  <a:srgbClr val="5F5F5F"/>
                </a:solidFill>
                <a:latin typeface="Tahoma"/>
              </a:rPr>
              <a:t>de structures dédiées</a:t>
            </a:r>
            <a:r>
              <a:rPr lang="fr-FR" sz="1050">
                <a:solidFill>
                  <a:srgbClr val="5F5F5F"/>
                </a:solidFill>
                <a:latin typeface="Tahoma"/>
              </a:rPr>
              <a:t>. Ces centres de répit, ouverts toute l’année, proposent à la fois un </a:t>
            </a:r>
            <a:r>
              <a:rPr lang="fr-FR" sz="1050" b="1">
                <a:solidFill>
                  <a:srgbClr val="5F5F5F"/>
                </a:solidFill>
                <a:latin typeface="Tahoma"/>
              </a:rPr>
              <a:t>accompagnement médico-social </a:t>
            </a:r>
            <a:r>
              <a:rPr lang="fr-FR" sz="1050">
                <a:solidFill>
                  <a:srgbClr val="5F5F5F"/>
                </a:solidFill>
                <a:latin typeface="Tahoma"/>
              </a:rPr>
              <a:t>de l’aidé (et parfois un appui psychologique à l’aidant) ainsi </a:t>
            </a:r>
            <a:r>
              <a:rPr lang="fr-FR" sz="1050" b="1">
                <a:solidFill>
                  <a:srgbClr val="5F5F5F"/>
                </a:solidFill>
                <a:latin typeface="Tahoma"/>
              </a:rPr>
              <a:t>qu’une offre touristique</a:t>
            </a:r>
            <a:r>
              <a:rPr lang="fr-FR" sz="1050">
                <a:solidFill>
                  <a:srgbClr val="5F5F5F"/>
                </a:solidFill>
                <a:latin typeface="Tahoma"/>
              </a:rPr>
              <a:t>, à travers des activités adaptées proposées au binôme aidant / aidé. </a:t>
            </a:r>
          </a:p>
          <a:p>
            <a:pPr algn="just"/>
            <a:r>
              <a:rPr lang="fr-FR" sz="1050">
                <a:solidFill>
                  <a:srgbClr val="5F5F5F"/>
                </a:solidFill>
                <a:latin typeface="Tahoma"/>
              </a:rPr>
              <a:t>Les porteurs de ces structures sont </a:t>
            </a:r>
            <a:r>
              <a:rPr lang="fr-FR" sz="1050" b="1">
                <a:solidFill>
                  <a:srgbClr val="5F5F5F"/>
                </a:solidFill>
                <a:latin typeface="Tahoma"/>
              </a:rPr>
              <a:t>propriétaires du terrain </a:t>
            </a:r>
            <a:r>
              <a:rPr lang="fr-FR" sz="1050">
                <a:solidFill>
                  <a:srgbClr val="5F5F5F"/>
                </a:solidFill>
                <a:latin typeface="Tahoma"/>
              </a:rPr>
              <a:t>et du bâti et assurent </a:t>
            </a:r>
            <a:r>
              <a:rPr lang="fr-FR" sz="1050" b="1">
                <a:solidFill>
                  <a:srgbClr val="5F5F5F"/>
                </a:solidFill>
                <a:latin typeface="Tahoma"/>
              </a:rPr>
              <a:t>l’exploitation</a:t>
            </a:r>
            <a:r>
              <a:rPr lang="fr-FR" sz="1050">
                <a:solidFill>
                  <a:srgbClr val="5F5F5F"/>
                </a:solidFill>
                <a:latin typeface="Tahoma"/>
              </a:rPr>
              <a:t> du centre. </a:t>
            </a:r>
          </a:p>
        </p:txBody>
      </p:sp>
      <p:pic>
        <p:nvPicPr>
          <p:cNvPr id="54" name="Graphique 53" descr="Utilisateur">
            <a:extLst>
              <a:ext uri="{FF2B5EF4-FFF2-40B4-BE49-F238E27FC236}">
                <a16:creationId xmlns:a16="http://schemas.microsoft.com/office/drawing/2014/main" id="{228586C0-7A09-473D-93FB-1578FD334E9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20085" y="1017405"/>
            <a:ext cx="343642" cy="343642"/>
          </a:xfrm>
          <a:prstGeom prst="rect">
            <a:avLst/>
          </a:prstGeom>
        </p:spPr>
      </p:pic>
      <p:sp>
        <p:nvSpPr>
          <p:cNvPr id="55" name="ZoneTexte 54">
            <a:extLst>
              <a:ext uri="{FF2B5EF4-FFF2-40B4-BE49-F238E27FC236}">
                <a16:creationId xmlns:a16="http://schemas.microsoft.com/office/drawing/2014/main" id="{D3C161D8-296E-4FAC-8245-FD6DF3FF06AC}"/>
              </a:ext>
            </a:extLst>
          </p:cNvPr>
          <p:cNvSpPr txBox="1"/>
          <p:nvPr/>
        </p:nvSpPr>
        <p:spPr>
          <a:xfrm>
            <a:off x="1694248" y="1081572"/>
            <a:ext cx="2344061" cy="446276"/>
          </a:xfrm>
          <a:prstGeom prst="rect">
            <a:avLst/>
          </a:prstGeom>
          <a:noFill/>
          <a:ln>
            <a:noFill/>
          </a:ln>
        </p:spPr>
        <p:txBody>
          <a:bodyPr wrap="square" lIns="108000" rIns="108000" rtlCol="0">
            <a:spAutoFit/>
          </a:bodyPr>
          <a:lstStyle/>
          <a:p>
            <a:r>
              <a:rPr lang="fr-FR" sz="1100" b="1">
                <a:solidFill>
                  <a:srgbClr val="503078"/>
                </a:solidFill>
                <a:latin typeface="Tahoma"/>
              </a:rPr>
              <a:t>Porteurs de projet</a:t>
            </a:r>
          </a:p>
          <a:p>
            <a:pPr marL="171450" indent="-171450">
              <a:buFontTx/>
              <a:buChar char="-"/>
            </a:pPr>
            <a:endParaRPr lang="fr-FR" sz="1200">
              <a:solidFill>
                <a:srgbClr val="5F5F5F"/>
              </a:solidFill>
              <a:latin typeface="Tahoma"/>
            </a:endParaRPr>
          </a:p>
        </p:txBody>
      </p:sp>
      <p:sp>
        <p:nvSpPr>
          <p:cNvPr id="65" name="ZoneTexte 64">
            <a:extLst>
              <a:ext uri="{FF2B5EF4-FFF2-40B4-BE49-F238E27FC236}">
                <a16:creationId xmlns:a16="http://schemas.microsoft.com/office/drawing/2014/main" id="{94AAD809-0587-485B-884D-3279EC754ABF}"/>
              </a:ext>
            </a:extLst>
          </p:cNvPr>
          <p:cNvSpPr txBox="1"/>
          <p:nvPr/>
        </p:nvSpPr>
        <p:spPr>
          <a:xfrm>
            <a:off x="1245845" y="1319892"/>
            <a:ext cx="2882170" cy="400110"/>
          </a:xfrm>
          <a:prstGeom prst="rect">
            <a:avLst/>
          </a:prstGeom>
          <a:noFill/>
          <a:ln>
            <a:noFill/>
          </a:ln>
        </p:spPr>
        <p:txBody>
          <a:bodyPr wrap="square" lIns="108000" rIns="108000" rtlCol="0">
            <a:spAutoFit/>
          </a:bodyPr>
          <a:lstStyle/>
          <a:p>
            <a:pPr algn="just"/>
            <a:r>
              <a:rPr lang="fr-FR" sz="1000">
                <a:solidFill>
                  <a:srgbClr val="5F5F5F"/>
                </a:solidFill>
                <a:latin typeface="Tahoma"/>
              </a:rPr>
              <a:t>Associations (à l’initiative de particuliers / organismes de protection sociale)</a:t>
            </a:r>
          </a:p>
        </p:txBody>
      </p:sp>
      <p:pic>
        <p:nvPicPr>
          <p:cNvPr id="66" name="Graphique 65" descr="Hôpital">
            <a:extLst>
              <a:ext uri="{FF2B5EF4-FFF2-40B4-BE49-F238E27FC236}">
                <a16:creationId xmlns:a16="http://schemas.microsoft.com/office/drawing/2014/main" id="{2B90C41F-0983-45DD-AE2D-80388EC642D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48092" y="1718040"/>
            <a:ext cx="377667" cy="377667"/>
          </a:xfrm>
          <a:prstGeom prst="rect">
            <a:avLst/>
          </a:prstGeom>
        </p:spPr>
      </p:pic>
      <p:sp>
        <p:nvSpPr>
          <p:cNvPr id="69" name="ZoneTexte 68">
            <a:extLst>
              <a:ext uri="{FF2B5EF4-FFF2-40B4-BE49-F238E27FC236}">
                <a16:creationId xmlns:a16="http://schemas.microsoft.com/office/drawing/2014/main" id="{70CE0E81-77B9-4360-A4D4-5A33800BC3DE}"/>
              </a:ext>
            </a:extLst>
          </p:cNvPr>
          <p:cNvSpPr txBox="1"/>
          <p:nvPr/>
        </p:nvSpPr>
        <p:spPr>
          <a:xfrm>
            <a:off x="1294582" y="2042089"/>
            <a:ext cx="2912986" cy="242182"/>
          </a:xfrm>
          <a:prstGeom prst="rect">
            <a:avLst/>
          </a:prstGeom>
          <a:noFill/>
          <a:ln>
            <a:noFill/>
          </a:ln>
        </p:spPr>
        <p:txBody>
          <a:bodyPr wrap="square" lIns="108000" rIns="108000" rtlCol="0">
            <a:spAutoFit/>
          </a:bodyPr>
          <a:lstStyle/>
          <a:p>
            <a:pPr>
              <a:lnSpc>
                <a:spcPct val="107000"/>
              </a:lnSpc>
              <a:spcAft>
                <a:spcPts val="800"/>
              </a:spcAft>
              <a:buClr>
                <a:srgbClr val="503078"/>
              </a:buClr>
            </a:pPr>
            <a:r>
              <a:rPr lang="fr-FR" sz="1000">
                <a:solidFill>
                  <a:srgbClr val="5F5F5F"/>
                </a:solidFill>
                <a:latin typeface="Tahoma"/>
              </a:rPr>
              <a:t>ESMS ou établissements de tourisme social</a:t>
            </a:r>
          </a:p>
        </p:txBody>
      </p:sp>
      <p:sp>
        <p:nvSpPr>
          <p:cNvPr id="70" name="Rectangle 69">
            <a:extLst>
              <a:ext uri="{FF2B5EF4-FFF2-40B4-BE49-F238E27FC236}">
                <a16:creationId xmlns:a16="http://schemas.microsoft.com/office/drawing/2014/main" id="{4137CF04-1CD5-4A25-B667-2983605E4590}"/>
              </a:ext>
            </a:extLst>
          </p:cNvPr>
          <p:cNvSpPr/>
          <p:nvPr/>
        </p:nvSpPr>
        <p:spPr>
          <a:xfrm>
            <a:off x="1250838" y="1009217"/>
            <a:ext cx="2877177" cy="1303520"/>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1" name="ZoneTexte 70">
            <a:extLst>
              <a:ext uri="{FF2B5EF4-FFF2-40B4-BE49-F238E27FC236}">
                <a16:creationId xmlns:a16="http://schemas.microsoft.com/office/drawing/2014/main" id="{68D5A3E5-0FE1-4B1F-BFF8-4DFBC8778AA0}"/>
              </a:ext>
            </a:extLst>
          </p:cNvPr>
          <p:cNvSpPr txBox="1"/>
          <p:nvPr/>
        </p:nvSpPr>
        <p:spPr>
          <a:xfrm>
            <a:off x="1725759" y="1813960"/>
            <a:ext cx="2344061" cy="446276"/>
          </a:xfrm>
          <a:prstGeom prst="rect">
            <a:avLst/>
          </a:prstGeom>
          <a:noFill/>
          <a:ln>
            <a:noFill/>
          </a:ln>
        </p:spPr>
        <p:txBody>
          <a:bodyPr wrap="square" lIns="108000" rIns="108000" rtlCol="0">
            <a:spAutoFit/>
          </a:bodyPr>
          <a:lstStyle/>
          <a:p>
            <a:r>
              <a:rPr lang="fr-FR" sz="1100" b="1">
                <a:solidFill>
                  <a:srgbClr val="503078"/>
                </a:solidFill>
                <a:latin typeface="Tahoma"/>
              </a:rPr>
              <a:t>Typologies de structures</a:t>
            </a:r>
          </a:p>
          <a:p>
            <a:pPr marL="171450" indent="-171450">
              <a:buFontTx/>
              <a:buChar char="-"/>
            </a:pPr>
            <a:endParaRPr lang="fr-FR" sz="1200">
              <a:solidFill>
                <a:srgbClr val="5F5F5F"/>
              </a:solidFill>
              <a:latin typeface="Tahoma"/>
            </a:endParaRPr>
          </a:p>
        </p:txBody>
      </p:sp>
      <p:pic>
        <p:nvPicPr>
          <p:cNvPr id="104" name="Graphique 103" descr="Dormir avec un remplissage uni">
            <a:extLst>
              <a:ext uri="{FF2B5EF4-FFF2-40B4-BE49-F238E27FC236}">
                <a16:creationId xmlns:a16="http://schemas.microsoft.com/office/drawing/2014/main" id="{CFCC8457-1FA1-4BFE-8EFC-B2EDD39948B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58165" y="4198143"/>
            <a:ext cx="565198" cy="565198"/>
          </a:xfrm>
          <a:prstGeom prst="rect">
            <a:avLst/>
          </a:prstGeom>
        </p:spPr>
      </p:pic>
      <p:sp>
        <p:nvSpPr>
          <p:cNvPr id="105" name="ZoneTexte 104">
            <a:extLst>
              <a:ext uri="{FF2B5EF4-FFF2-40B4-BE49-F238E27FC236}">
                <a16:creationId xmlns:a16="http://schemas.microsoft.com/office/drawing/2014/main" id="{5530E235-EACE-4D1E-A19A-91A603CD04B6}"/>
              </a:ext>
            </a:extLst>
          </p:cNvPr>
          <p:cNvSpPr txBox="1"/>
          <p:nvPr/>
        </p:nvSpPr>
        <p:spPr>
          <a:xfrm>
            <a:off x="2630070" y="3686641"/>
            <a:ext cx="3376602" cy="1170576"/>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8" name="ZoneTexte 117">
            <a:extLst>
              <a:ext uri="{FF2B5EF4-FFF2-40B4-BE49-F238E27FC236}">
                <a16:creationId xmlns:a16="http://schemas.microsoft.com/office/drawing/2014/main" id="{83B608BB-5CE4-48D8-B3A6-2AEC82163C79}"/>
              </a:ext>
            </a:extLst>
          </p:cNvPr>
          <p:cNvSpPr txBox="1"/>
          <p:nvPr/>
        </p:nvSpPr>
        <p:spPr>
          <a:xfrm>
            <a:off x="2627513" y="3674962"/>
            <a:ext cx="3376603" cy="1142429"/>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dirty="0">
                <a:solidFill>
                  <a:srgbClr val="5F5F5F"/>
                </a:solidFill>
                <a:latin typeface="Tahoma"/>
              </a:rPr>
              <a:t>Hébergement, le plus souvent au sein de logements individuels adaptés (chalets, studios, pavillons)</a:t>
            </a:r>
          </a:p>
          <a:p>
            <a:pPr marL="171450" indent="-171450" algn="just">
              <a:lnSpc>
                <a:spcPct val="107000"/>
              </a:lnSpc>
              <a:spcAft>
                <a:spcPts val="300"/>
              </a:spcAft>
              <a:buClr>
                <a:srgbClr val="503078"/>
              </a:buClr>
              <a:buFont typeface="Tahoma" panose="020B0604030504040204" pitchFamily="34" charset="0"/>
              <a:buChar char="⁄"/>
            </a:pPr>
            <a:r>
              <a:rPr lang="fr-FR" sz="1000" dirty="0">
                <a:solidFill>
                  <a:srgbClr val="5F5F5F"/>
                </a:solidFill>
                <a:latin typeface="Tahoma"/>
              </a:rPr>
              <a:t>Offre de restauration en pension complète soit obligatoire et internalisée (VRF Touraine) soit facultative et en partenariat (Les Bruyères)</a:t>
            </a:r>
          </a:p>
          <a:p>
            <a:pPr marL="171450" indent="-171450" algn="just">
              <a:lnSpc>
                <a:spcPct val="107000"/>
              </a:lnSpc>
              <a:spcAft>
                <a:spcPts val="300"/>
              </a:spcAft>
              <a:buClr>
                <a:srgbClr val="503078"/>
              </a:buClr>
              <a:buFont typeface="Tahoma" panose="020B0604030504040204" pitchFamily="34" charset="0"/>
              <a:buChar char="⁄"/>
            </a:pPr>
            <a:r>
              <a:rPr lang="fr-FR" sz="1000" dirty="0">
                <a:solidFill>
                  <a:srgbClr val="5F5F5F"/>
                </a:solidFill>
                <a:latin typeface="Tahoma"/>
              </a:rPr>
              <a:t>Animation : activités adaptées</a:t>
            </a:r>
          </a:p>
        </p:txBody>
      </p:sp>
      <p:sp>
        <p:nvSpPr>
          <p:cNvPr id="119" name="ZoneTexte 118">
            <a:extLst>
              <a:ext uri="{FF2B5EF4-FFF2-40B4-BE49-F238E27FC236}">
                <a16:creationId xmlns:a16="http://schemas.microsoft.com/office/drawing/2014/main" id="{A092B18B-1E2B-4620-892D-A126FD6884E8}"/>
              </a:ext>
            </a:extLst>
          </p:cNvPr>
          <p:cNvSpPr txBox="1"/>
          <p:nvPr/>
        </p:nvSpPr>
        <p:spPr>
          <a:xfrm>
            <a:off x="1238117" y="3823393"/>
            <a:ext cx="1387976" cy="430887"/>
          </a:xfrm>
          <a:prstGeom prst="rect">
            <a:avLst/>
          </a:prstGeom>
          <a:noFill/>
          <a:ln>
            <a:noFill/>
          </a:ln>
        </p:spPr>
        <p:txBody>
          <a:bodyPr wrap="square" lIns="108000" rIns="108000" rtlCol="0">
            <a:spAutoFit/>
          </a:bodyPr>
          <a:lstStyle/>
          <a:p>
            <a:pPr algn="ctr"/>
            <a:r>
              <a:rPr lang="fr-FR" sz="1100" b="1">
                <a:solidFill>
                  <a:srgbClr val="B0ADCC"/>
                </a:solidFill>
                <a:latin typeface="Tahoma"/>
              </a:rPr>
              <a:t>Services </a:t>
            </a:r>
          </a:p>
          <a:p>
            <a:pPr algn="ctr"/>
            <a:r>
              <a:rPr lang="fr-FR" sz="1100" b="1">
                <a:solidFill>
                  <a:srgbClr val="B0ADCC"/>
                </a:solidFill>
                <a:latin typeface="Tahoma"/>
              </a:rPr>
              <a:t>hôteliers </a:t>
            </a:r>
          </a:p>
        </p:txBody>
      </p:sp>
      <p:pic>
        <p:nvPicPr>
          <p:cNvPr id="120" name="Graphique 119" descr="Trousse de premiers secours avec un remplissage uni">
            <a:extLst>
              <a:ext uri="{FF2B5EF4-FFF2-40B4-BE49-F238E27FC236}">
                <a16:creationId xmlns:a16="http://schemas.microsoft.com/office/drawing/2014/main" id="{EEC174F1-7ECF-4F27-94E2-35C2087886C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52452" y="5526849"/>
            <a:ext cx="557136" cy="557136"/>
          </a:xfrm>
          <a:prstGeom prst="rect">
            <a:avLst/>
          </a:prstGeom>
        </p:spPr>
      </p:pic>
      <p:sp>
        <p:nvSpPr>
          <p:cNvPr id="121" name="ZoneTexte 120">
            <a:extLst>
              <a:ext uri="{FF2B5EF4-FFF2-40B4-BE49-F238E27FC236}">
                <a16:creationId xmlns:a16="http://schemas.microsoft.com/office/drawing/2014/main" id="{EEC21117-E598-4AE6-8E31-D9EDF425B6F9}"/>
              </a:ext>
            </a:extLst>
          </p:cNvPr>
          <p:cNvSpPr txBox="1"/>
          <p:nvPr/>
        </p:nvSpPr>
        <p:spPr>
          <a:xfrm>
            <a:off x="1059166" y="5133065"/>
            <a:ext cx="1743708" cy="615553"/>
          </a:xfrm>
          <a:prstGeom prst="rect">
            <a:avLst/>
          </a:prstGeom>
          <a:noFill/>
          <a:ln>
            <a:noFill/>
          </a:ln>
        </p:spPr>
        <p:txBody>
          <a:bodyPr wrap="square" lIns="108000" rIns="108000" rtlCol="0">
            <a:spAutoFit/>
          </a:bodyPr>
          <a:lstStyle/>
          <a:p>
            <a:pPr algn="ctr"/>
            <a:r>
              <a:rPr lang="fr-FR" sz="1100" b="1">
                <a:solidFill>
                  <a:srgbClr val="B0ADCC"/>
                </a:solidFill>
                <a:latin typeface="Tahoma"/>
              </a:rPr>
              <a:t>Accompagnement médico-social</a:t>
            </a:r>
          </a:p>
          <a:p>
            <a:pPr marL="171450" indent="-171450" algn="ctr">
              <a:buFontTx/>
              <a:buChar char="-"/>
            </a:pPr>
            <a:endParaRPr lang="fr-FR" sz="1200">
              <a:solidFill>
                <a:srgbClr val="B0ADCC"/>
              </a:solidFill>
              <a:latin typeface="Tahoma"/>
            </a:endParaRPr>
          </a:p>
        </p:txBody>
      </p:sp>
      <p:sp>
        <p:nvSpPr>
          <p:cNvPr id="122" name="ZoneTexte 121">
            <a:extLst>
              <a:ext uri="{FF2B5EF4-FFF2-40B4-BE49-F238E27FC236}">
                <a16:creationId xmlns:a16="http://schemas.microsoft.com/office/drawing/2014/main" id="{47F030E3-9D4B-4BE0-B1B5-8CBA4920E546}"/>
              </a:ext>
            </a:extLst>
          </p:cNvPr>
          <p:cNvSpPr txBox="1"/>
          <p:nvPr/>
        </p:nvSpPr>
        <p:spPr>
          <a:xfrm>
            <a:off x="2629593" y="4906353"/>
            <a:ext cx="3376602" cy="1800755"/>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23" name="ZoneTexte 122">
            <a:extLst>
              <a:ext uri="{FF2B5EF4-FFF2-40B4-BE49-F238E27FC236}">
                <a16:creationId xmlns:a16="http://schemas.microsoft.com/office/drawing/2014/main" id="{08123405-30D6-419F-A7FE-8F6BB6D03299}"/>
              </a:ext>
            </a:extLst>
          </p:cNvPr>
          <p:cNvSpPr txBox="1"/>
          <p:nvPr/>
        </p:nvSpPr>
        <p:spPr>
          <a:xfrm>
            <a:off x="2649380" y="4915868"/>
            <a:ext cx="3385253" cy="1833900"/>
          </a:xfrm>
          <a:prstGeom prst="rect">
            <a:avLst/>
          </a:prstGeom>
          <a:noFill/>
          <a:ln>
            <a:noFill/>
          </a:ln>
        </p:spPr>
        <p:txBody>
          <a:bodyPr wrap="square" lIns="108000" rIns="108000" rtlCol="0">
            <a:spAutoFit/>
          </a:bodyPr>
          <a:lstStyle/>
          <a:p>
            <a:pPr marL="171450" indent="-171450" algn="just">
              <a:lnSpc>
                <a:spcPct val="107000"/>
              </a:lnSpc>
              <a:buClr>
                <a:srgbClr val="503078"/>
              </a:buClr>
              <a:buFont typeface="Tahoma" panose="020B0604030504040204" pitchFamily="34" charset="0"/>
              <a:buChar char="⁄"/>
            </a:pPr>
            <a:r>
              <a:rPr lang="fr-FR" sz="1000">
                <a:solidFill>
                  <a:srgbClr val="5F5F5F"/>
                </a:solidFill>
                <a:latin typeface="Tahoma"/>
              </a:rPr>
              <a:t>Présence d’auxiliaires de vie / aides-soignants pour l’accompagnement aux actes de la vie quotidienne sous forme de 2 sous-modèles : </a:t>
            </a:r>
          </a:p>
          <a:p>
            <a:pPr marL="361950" lvl="1" indent="-171450" algn="just">
              <a:lnSpc>
                <a:spcPct val="107000"/>
              </a:lnSpc>
              <a:buClr>
                <a:srgbClr val="503078"/>
              </a:buClr>
              <a:buFont typeface="Courier New" panose="02070309020205020404" pitchFamily="49" charset="0"/>
              <a:buChar char="o"/>
            </a:pPr>
            <a:r>
              <a:rPr lang="fr-FR" sz="800">
                <a:solidFill>
                  <a:srgbClr val="5F5F5F"/>
                </a:solidFill>
                <a:latin typeface="Tahoma"/>
              </a:rPr>
              <a:t>Si la structure a un statut d’ESMS avec obtention de places d’AT / HT : présence de personnel au sein de la structure</a:t>
            </a:r>
          </a:p>
          <a:p>
            <a:pPr marL="361950" lvl="1" indent="-171450" algn="just">
              <a:lnSpc>
                <a:spcPct val="107000"/>
              </a:lnSpc>
              <a:spcAft>
                <a:spcPts val="300"/>
              </a:spcAft>
              <a:buClr>
                <a:srgbClr val="503078"/>
              </a:buClr>
              <a:buFont typeface="Courier New" panose="02070309020205020404" pitchFamily="49" charset="0"/>
              <a:buChar char="o"/>
            </a:pPr>
            <a:r>
              <a:rPr lang="fr-FR" sz="800">
                <a:solidFill>
                  <a:srgbClr val="5F5F5F"/>
                </a:solidFill>
                <a:latin typeface="Tahoma"/>
              </a:rPr>
              <a:t>Si la structure est un établissement de tourisme : externalisation totale ou partielle de la prise en charge M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quipements adaptés + partenariats avec personnels médicaux pour assurer la continuité des soins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ccompagnement psychologique pouvant être proposé à l’aidant </a:t>
            </a:r>
          </a:p>
        </p:txBody>
      </p:sp>
      <p:pic>
        <p:nvPicPr>
          <p:cNvPr id="124" name="Graphique 123" descr="Logement avec un remplissage uni">
            <a:extLst>
              <a:ext uri="{FF2B5EF4-FFF2-40B4-BE49-F238E27FC236}">
                <a16:creationId xmlns:a16="http://schemas.microsoft.com/office/drawing/2014/main" id="{FFD5C5EB-80DC-4244-8247-067BD4BC7FF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33111" y="3062940"/>
            <a:ext cx="447721" cy="447721"/>
          </a:xfrm>
          <a:prstGeom prst="rect">
            <a:avLst/>
          </a:prstGeom>
        </p:spPr>
      </p:pic>
      <p:sp>
        <p:nvSpPr>
          <p:cNvPr id="125" name="ZoneTexte 124">
            <a:extLst>
              <a:ext uri="{FF2B5EF4-FFF2-40B4-BE49-F238E27FC236}">
                <a16:creationId xmlns:a16="http://schemas.microsoft.com/office/drawing/2014/main" id="{608F55B6-176A-4760-81A4-45CF76F13ABA}"/>
              </a:ext>
            </a:extLst>
          </p:cNvPr>
          <p:cNvSpPr txBox="1"/>
          <p:nvPr/>
        </p:nvSpPr>
        <p:spPr>
          <a:xfrm>
            <a:off x="9861365" y="2827348"/>
            <a:ext cx="1244543" cy="446276"/>
          </a:xfrm>
          <a:prstGeom prst="rect">
            <a:avLst/>
          </a:prstGeom>
          <a:noFill/>
          <a:ln>
            <a:noFill/>
          </a:ln>
        </p:spPr>
        <p:txBody>
          <a:bodyPr wrap="square" lIns="108000" rIns="108000" rtlCol="0">
            <a:spAutoFit/>
          </a:bodyPr>
          <a:lstStyle/>
          <a:p>
            <a:pPr algn="ctr"/>
            <a:r>
              <a:rPr lang="fr-FR" sz="1100" b="1">
                <a:solidFill>
                  <a:srgbClr val="B24669"/>
                </a:solidFill>
                <a:latin typeface="Tahoma"/>
              </a:rPr>
              <a:t>Immobilier</a:t>
            </a:r>
          </a:p>
          <a:p>
            <a:pPr marL="171450" indent="-171450" algn="ctr">
              <a:buFontTx/>
              <a:buChar char="-"/>
            </a:pPr>
            <a:endParaRPr lang="fr-FR" sz="1200">
              <a:solidFill>
                <a:srgbClr val="B24669"/>
              </a:solidFill>
              <a:latin typeface="Tahoma"/>
            </a:endParaRPr>
          </a:p>
        </p:txBody>
      </p:sp>
      <p:sp>
        <p:nvSpPr>
          <p:cNvPr id="126" name="ZoneTexte 125">
            <a:extLst>
              <a:ext uri="{FF2B5EF4-FFF2-40B4-BE49-F238E27FC236}">
                <a16:creationId xmlns:a16="http://schemas.microsoft.com/office/drawing/2014/main" id="{190D1359-556D-4886-AD84-D57EA38DA3A8}"/>
              </a:ext>
            </a:extLst>
          </p:cNvPr>
          <p:cNvSpPr txBox="1"/>
          <p:nvPr/>
        </p:nvSpPr>
        <p:spPr>
          <a:xfrm>
            <a:off x="6220795" y="2757908"/>
            <a:ext cx="3588566" cy="1065484"/>
          </a:xfrm>
          <a:prstGeom prst="rect">
            <a:avLst/>
          </a:prstGeom>
          <a:noFill/>
          <a:ln>
            <a:noFill/>
          </a:ln>
        </p:spPr>
        <p:txBody>
          <a:bodyPr wrap="square" lIns="108000" rIns="108000" rtlCol="0">
            <a:spAutoFit/>
          </a:bodyPr>
          <a:lstStyle/>
          <a:p>
            <a:pPr marL="180975" lvl="1" indent="-171450" algn="just">
              <a:lnSpc>
                <a:spcPct val="107000"/>
              </a:lnSpc>
              <a:spcAft>
                <a:spcPts val="300"/>
              </a:spcAft>
              <a:buClr>
                <a:srgbClr val="B24669"/>
              </a:buClr>
              <a:buFont typeface="Tahoma" panose="020B0604030504040204" pitchFamily="34" charset="0"/>
              <a:buChar char="⁄"/>
            </a:pPr>
            <a:r>
              <a:rPr lang="fr-FR" sz="1000">
                <a:solidFill>
                  <a:srgbClr val="5F5F5F"/>
                </a:solidFill>
                <a:latin typeface="Tahoma"/>
              </a:rPr>
              <a:t>Porteurs de projet propriétaires du terrain et du bâti : acquisition de biens abandonnés auprès d’acteurs publics (communes) ou privés (ex : organismes de protection sociale) + travaux de réhabilitation financés sur fonds propres (complétés par des recours à des emprunts bancaires dans le cas de porteurs particuliers)</a:t>
            </a:r>
          </a:p>
        </p:txBody>
      </p:sp>
      <p:sp>
        <p:nvSpPr>
          <p:cNvPr id="129" name="Rectangle 128">
            <a:extLst>
              <a:ext uri="{FF2B5EF4-FFF2-40B4-BE49-F238E27FC236}">
                <a16:creationId xmlns:a16="http://schemas.microsoft.com/office/drawing/2014/main" id="{68ECC4B7-589A-4FBC-9D64-943EC531FB39}"/>
              </a:ext>
            </a:extLst>
          </p:cNvPr>
          <p:cNvSpPr/>
          <p:nvPr/>
        </p:nvSpPr>
        <p:spPr>
          <a:xfrm>
            <a:off x="1239832" y="2405595"/>
            <a:ext cx="4825165" cy="4346526"/>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30" name="ZoneTexte 129">
            <a:extLst>
              <a:ext uri="{FF2B5EF4-FFF2-40B4-BE49-F238E27FC236}">
                <a16:creationId xmlns:a16="http://schemas.microsoft.com/office/drawing/2014/main" id="{A12268C6-8012-4CF2-9630-A77E2DD20979}"/>
              </a:ext>
            </a:extLst>
          </p:cNvPr>
          <p:cNvSpPr txBox="1"/>
          <p:nvPr/>
        </p:nvSpPr>
        <p:spPr>
          <a:xfrm>
            <a:off x="1237274" y="2394442"/>
            <a:ext cx="4827723" cy="276999"/>
          </a:xfrm>
          <a:prstGeom prst="rect">
            <a:avLst/>
          </a:prstGeom>
          <a:solidFill>
            <a:srgbClr val="B0ADCC"/>
          </a:solidFill>
          <a:ln>
            <a:noFill/>
          </a:ln>
        </p:spPr>
        <p:txBody>
          <a:bodyPr wrap="square" lIns="108000" rIns="108000" rtlCol="0">
            <a:spAutoFit/>
          </a:bodyPr>
          <a:lstStyle/>
          <a:p>
            <a:pPr algn="ctr"/>
            <a:r>
              <a:rPr lang="fr-FR" sz="1200" b="1" cap="small">
                <a:solidFill>
                  <a:srgbClr val="FFFFFF"/>
                </a:solidFill>
                <a:latin typeface="Tahoma"/>
              </a:rPr>
              <a:t>Modèle opérationnel </a:t>
            </a:r>
          </a:p>
        </p:txBody>
      </p:sp>
      <p:sp>
        <p:nvSpPr>
          <p:cNvPr id="131" name="Rectangle 130">
            <a:extLst>
              <a:ext uri="{FF2B5EF4-FFF2-40B4-BE49-F238E27FC236}">
                <a16:creationId xmlns:a16="http://schemas.microsoft.com/office/drawing/2014/main" id="{34E6F194-7EE3-4C6A-8871-0DDC911DEBC6}"/>
              </a:ext>
            </a:extLst>
          </p:cNvPr>
          <p:cNvSpPr/>
          <p:nvPr/>
        </p:nvSpPr>
        <p:spPr>
          <a:xfrm>
            <a:off x="6134376" y="2403923"/>
            <a:ext cx="4825165" cy="4346525"/>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32" name="ZoneTexte 131">
            <a:extLst>
              <a:ext uri="{FF2B5EF4-FFF2-40B4-BE49-F238E27FC236}">
                <a16:creationId xmlns:a16="http://schemas.microsoft.com/office/drawing/2014/main" id="{5756AF4C-3CBB-4531-BDCA-612B2428D28A}"/>
              </a:ext>
            </a:extLst>
          </p:cNvPr>
          <p:cNvSpPr txBox="1"/>
          <p:nvPr/>
        </p:nvSpPr>
        <p:spPr>
          <a:xfrm>
            <a:off x="6131022" y="2396913"/>
            <a:ext cx="4831871" cy="286555"/>
          </a:xfrm>
          <a:prstGeom prst="rect">
            <a:avLst/>
          </a:prstGeom>
          <a:solidFill>
            <a:srgbClr val="B24669"/>
          </a:solidFill>
          <a:ln>
            <a:noFill/>
          </a:ln>
        </p:spPr>
        <p:txBody>
          <a:bodyPr wrap="square" lIns="108000" rIns="108000" rtlCol="0">
            <a:spAutoFit/>
          </a:bodyPr>
          <a:lstStyle/>
          <a:p>
            <a:pPr algn="ctr"/>
            <a:r>
              <a:rPr lang="fr-FR" sz="1200" b="1" cap="small">
                <a:solidFill>
                  <a:srgbClr val="FFFFFF"/>
                </a:solidFill>
                <a:latin typeface="Tahoma"/>
              </a:rPr>
              <a:t>Modèle économique</a:t>
            </a:r>
          </a:p>
        </p:txBody>
      </p:sp>
      <p:sp>
        <p:nvSpPr>
          <p:cNvPr id="133" name="ZoneTexte 132">
            <a:extLst>
              <a:ext uri="{FF2B5EF4-FFF2-40B4-BE49-F238E27FC236}">
                <a16:creationId xmlns:a16="http://schemas.microsoft.com/office/drawing/2014/main" id="{88C21860-516B-440D-8738-B2603CFD5147}"/>
              </a:ext>
            </a:extLst>
          </p:cNvPr>
          <p:cNvSpPr txBox="1"/>
          <p:nvPr/>
        </p:nvSpPr>
        <p:spPr>
          <a:xfrm>
            <a:off x="9979500" y="4081606"/>
            <a:ext cx="998185"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Frais de </a:t>
            </a:r>
            <a:r>
              <a:rPr lang="fr-FR" sz="1100" b="1" err="1">
                <a:solidFill>
                  <a:srgbClr val="B24669"/>
                </a:solidFill>
                <a:latin typeface="Tahoma"/>
              </a:rPr>
              <a:t>fonct</a:t>
            </a:r>
            <a:r>
              <a:rPr lang="fr-FR" sz="1100" b="1">
                <a:solidFill>
                  <a:srgbClr val="B24669"/>
                </a:solidFill>
                <a:latin typeface="Tahoma"/>
              </a:rPr>
              <a:t>.</a:t>
            </a:r>
          </a:p>
        </p:txBody>
      </p:sp>
      <p:pic>
        <p:nvPicPr>
          <p:cNvPr id="134" name="Graphique 133" descr="Tirelire avec un remplissage uni">
            <a:extLst>
              <a:ext uri="{FF2B5EF4-FFF2-40B4-BE49-F238E27FC236}">
                <a16:creationId xmlns:a16="http://schemas.microsoft.com/office/drawing/2014/main" id="{568188EC-5330-4B4D-8263-9BC1F4CED44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250420" y="4537245"/>
            <a:ext cx="514426" cy="514426"/>
          </a:xfrm>
          <a:prstGeom prst="rect">
            <a:avLst/>
          </a:prstGeom>
        </p:spPr>
      </p:pic>
      <p:sp>
        <p:nvSpPr>
          <p:cNvPr id="136" name="ZoneTexte 135">
            <a:extLst>
              <a:ext uri="{FF2B5EF4-FFF2-40B4-BE49-F238E27FC236}">
                <a16:creationId xmlns:a16="http://schemas.microsoft.com/office/drawing/2014/main" id="{2BFFB121-B70A-402D-9E21-4F6EC00C108A}"/>
              </a:ext>
            </a:extLst>
          </p:cNvPr>
          <p:cNvSpPr txBox="1"/>
          <p:nvPr/>
        </p:nvSpPr>
        <p:spPr>
          <a:xfrm>
            <a:off x="6202259" y="3877444"/>
            <a:ext cx="3736745" cy="1493375"/>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137" name="ZoneTexte 136">
            <a:extLst>
              <a:ext uri="{FF2B5EF4-FFF2-40B4-BE49-F238E27FC236}">
                <a16:creationId xmlns:a16="http://schemas.microsoft.com/office/drawing/2014/main" id="{7A32106B-901D-48C8-9DAB-BB88631F2189}"/>
              </a:ext>
            </a:extLst>
          </p:cNvPr>
          <p:cNvSpPr txBox="1"/>
          <p:nvPr/>
        </p:nvSpPr>
        <p:spPr>
          <a:xfrm>
            <a:off x="6206810" y="3878652"/>
            <a:ext cx="3740623" cy="1543051"/>
          </a:xfrm>
          <a:prstGeom prst="rect">
            <a:avLst/>
          </a:prstGeom>
          <a:noFill/>
          <a:ln>
            <a:noFill/>
          </a:ln>
        </p:spPr>
        <p:txBody>
          <a:bodyPr wrap="square" lIns="108000" rIns="108000" rtlCol="0">
            <a:spAutoFit/>
          </a:bodyPr>
          <a:lstStyle/>
          <a:p>
            <a:pPr marL="180975" lvl="1" indent="-171450" algn="just">
              <a:lnSpc>
                <a:spcPct val="107000"/>
              </a:lnSpc>
              <a:spcAft>
                <a:spcPts val="300"/>
              </a:spcAft>
              <a:buClr>
                <a:srgbClr val="B24669"/>
              </a:buClr>
              <a:buFont typeface="Tahoma" panose="020B0604030504040204" pitchFamily="34" charset="0"/>
              <a:buChar char="⁄"/>
            </a:pPr>
            <a:r>
              <a:rPr lang="fr-FR" sz="1000">
                <a:solidFill>
                  <a:srgbClr val="5F5F5F"/>
                </a:solidFill>
                <a:latin typeface="Tahoma"/>
              </a:rPr>
              <a:t>2 modalités de financement de l’accompagnement MS :</a:t>
            </a:r>
          </a:p>
          <a:p>
            <a:pPr marL="361950" lvl="1" indent="-171450" algn="just">
              <a:lnSpc>
                <a:spcPct val="107000"/>
              </a:lnSpc>
              <a:buClr>
                <a:srgbClr val="503078"/>
              </a:buClr>
              <a:buFont typeface="Courier New" panose="02070309020205020404" pitchFamily="49" charset="0"/>
              <a:buChar char="o"/>
            </a:pPr>
            <a:r>
              <a:rPr lang="fr-FR" sz="800">
                <a:solidFill>
                  <a:srgbClr val="5F5F5F"/>
                </a:solidFill>
                <a:latin typeface="Tahoma"/>
              </a:rPr>
              <a:t>Si la structure a un statut d’ESMS : prise en charge des places d’AT / HT par l’ARS et par le conseil départemental dans certains cas</a:t>
            </a:r>
          </a:p>
          <a:p>
            <a:pPr marL="361950" lvl="1" indent="-171450" algn="just">
              <a:lnSpc>
                <a:spcPct val="107000"/>
              </a:lnSpc>
              <a:spcAft>
                <a:spcPts val="300"/>
              </a:spcAft>
              <a:buClr>
                <a:srgbClr val="503078"/>
              </a:buClr>
              <a:buFont typeface="Courier New" panose="02070309020205020404" pitchFamily="49" charset="0"/>
              <a:buChar char="o"/>
            </a:pPr>
            <a:r>
              <a:rPr lang="fr-FR" sz="800">
                <a:solidFill>
                  <a:srgbClr val="5F5F5F"/>
                </a:solidFill>
                <a:latin typeface="Tahoma"/>
              </a:rPr>
              <a:t>Si la structure est un établissement de tourisme : pas de prise en charge</a:t>
            </a:r>
          </a:p>
          <a:p>
            <a:pPr marL="180975" lvl="1" indent="-171450" algn="just">
              <a:lnSpc>
                <a:spcPct val="107000"/>
              </a:lnSpc>
              <a:spcAft>
                <a:spcPts val="300"/>
              </a:spcAft>
              <a:buClr>
                <a:srgbClr val="B24669"/>
              </a:buClr>
              <a:buFont typeface="Tahoma" panose="020B0604030504040204" pitchFamily="34" charset="0"/>
              <a:buChar char="⁄"/>
            </a:pPr>
            <a:r>
              <a:rPr lang="fr-FR" sz="1000">
                <a:solidFill>
                  <a:srgbClr val="5F5F5F"/>
                </a:solidFill>
                <a:latin typeface="Tahoma"/>
              </a:rPr>
              <a:t>Produits financiers : recettes des séjours, crowdfunding, dons / mécénat</a:t>
            </a:r>
          </a:p>
          <a:p>
            <a:pPr marL="180975" lvl="1" indent="-171450" algn="just">
              <a:lnSpc>
                <a:spcPct val="107000"/>
              </a:lnSpc>
              <a:spcAft>
                <a:spcPts val="300"/>
              </a:spcAft>
              <a:buClr>
                <a:srgbClr val="B24669"/>
              </a:buClr>
              <a:buFont typeface="Tahoma" panose="020B0604030504040204" pitchFamily="34" charset="0"/>
              <a:buChar char="⁄"/>
            </a:pPr>
            <a:r>
              <a:rPr lang="fr-FR" sz="1000">
                <a:solidFill>
                  <a:srgbClr val="5F5F5F"/>
                </a:solidFill>
                <a:latin typeface="Tahoma"/>
              </a:rPr>
              <a:t>Implication très faible des acteurs publics (peu de subventions publiques)</a:t>
            </a:r>
          </a:p>
        </p:txBody>
      </p:sp>
      <p:sp>
        <p:nvSpPr>
          <p:cNvPr id="138" name="ZoneTexte 137">
            <a:extLst>
              <a:ext uri="{FF2B5EF4-FFF2-40B4-BE49-F238E27FC236}">
                <a16:creationId xmlns:a16="http://schemas.microsoft.com/office/drawing/2014/main" id="{203F0F4C-DC87-4A97-B4DF-33145FB0A142}"/>
              </a:ext>
            </a:extLst>
          </p:cNvPr>
          <p:cNvSpPr txBox="1"/>
          <p:nvPr/>
        </p:nvSpPr>
        <p:spPr>
          <a:xfrm>
            <a:off x="6199102" y="5438491"/>
            <a:ext cx="3743057" cy="1268617"/>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39" name="ZoneTexte 138">
            <a:extLst>
              <a:ext uri="{FF2B5EF4-FFF2-40B4-BE49-F238E27FC236}">
                <a16:creationId xmlns:a16="http://schemas.microsoft.com/office/drawing/2014/main" id="{E1CE0520-714F-4A34-A8D4-4CC606CAAF6D}"/>
              </a:ext>
            </a:extLst>
          </p:cNvPr>
          <p:cNvSpPr txBox="1"/>
          <p:nvPr/>
        </p:nvSpPr>
        <p:spPr>
          <a:xfrm>
            <a:off x="9913294" y="5580735"/>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rif / reste à charge</a:t>
            </a:r>
          </a:p>
        </p:txBody>
      </p:sp>
      <p:sp>
        <p:nvSpPr>
          <p:cNvPr id="140" name="ZoneTexte 139">
            <a:extLst>
              <a:ext uri="{FF2B5EF4-FFF2-40B4-BE49-F238E27FC236}">
                <a16:creationId xmlns:a16="http://schemas.microsoft.com/office/drawing/2014/main" id="{5FB040D2-156D-48FF-A244-476B2FC24A5B}"/>
              </a:ext>
            </a:extLst>
          </p:cNvPr>
          <p:cNvSpPr txBox="1"/>
          <p:nvPr/>
        </p:nvSpPr>
        <p:spPr>
          <a:xfrm>
            <a:off x="6199101" y="5453805"/>
            <a:ext cx="3776346" cy="1268617"/>
          </a:xfrm>
          <a:prstGeom prst="rect">
            <a:avLst/>
          </a:prstGeom>
          <a:noFill/>
          <a:ln>
            <a:noFill/>
          </a:ln>
        </p:spPr>
        <p:txBody>
          <a:bodyPr wrap="square" lIns="108000" rIns="108000" rtlCol="0">
            <a:spAutoFit/>
          </a:bodyPr>
          <a:lstStyle/>
          <a:p>
            <a:pPr marL="180975" lvl="1" indent="-171450" algn="just">
              <a:lnSpc>
                <a:spcPct val="107000"/>
              </a:lnSpc>
              <a:spcAft>
                <a:spcPts val="300"/>
              </a:spcAft>
              <a:buClr>
                <a:srgbClr val="B24669"/>
              </a:buClr>
              <a:buFont typeface="Tahoma" panose="020B0604030504040204" pitchFamily="34" charset="0"/>
              <a:buChar char="⁄"/>
            </a:pPr>
            <a:r>
              <a:rPr lang="fr-FR" sz="1000">
                <a:solidFill>
                  <a:srgbClr val="5F5F5F"/>
                </a:solidFill>
                <a:latin typeface="Tahoma"/>
              </a:rPr>
              <a:t>Accompagnement MS pris en charge par l’Assurance Maladie dans le cas d’un HT</a:t>
            </a:r>
          </a:p>
          <a:p>
            <a:pPr marL="180975" lvl="1" indent="-171450" algn="just">
              <a:lnSpc>
                <a:spcPct val="107000"/>
              </a:lnSpc>
              <a:spcAft>
                <a:spcPts val="300"/>
              </a:spcAft>
              <a:buClr>
                <a:srgbClr val="B24669"/>
              </a:buClr>
              <a:buFont typeface="Tahoma" panose="020B0604030504040204" pitchFamily="34" charset="0"/>
              <a:buChar char="⁄"/>
            </a:pPr>
            <a:r>
              <a:rPr lang="fr-FR" sz="1000">
                <a:solidFill>
                  <a:srgbClr val="5F5F5F"/>
                </a:solidFill>
                <a:latin typeface="Tahoma"/>
              </a:rPr>
              <a:t>Frais d’hébergement à la charge des familles* : environ 1500 – 2000€ pour 7 jours pour le couple aidant – aidé, avec la possibilité de réduire le reste à charge grâce aux aides sociales et partenariats des structures (Agirc-</a:t>
            </a:r>
            <a:r>
              <a:rPr lang="fr-FR" sz="1000" err="1">
                <a:solidFill>
                  <a:srgbClr val="5F5F5F"/>
                </a:solidFill>
                <a:latin typeface="Tahoma"/>
              </a:rPr>
              <a:t>Arcco</a:t>
            </a:r>
            <a:r>
              <a:rPr lang="fr-FR" sz="1000">
                <a:solidFill>
                  <a:srgbClr val="5F5F5F"/>
                </a:solidFill>
                <a:latin typeface="Tahoma"/>
              </a:rPr>
              <a:t>, ANCV, MGEN, …)</a:t>
            </a:r>
          </a:p>
        </p:txBody>
      </p:sp>
      <p:pic>
        <p:nvPicPr>
          <p:cNvPr id="141" name="Graphique 140" descr="Pièces avec un remplissage uni">
            <a:extLst>
              <a:ext uri="{FF2B5EF4-FFF2-40B4-BE49-F238E27FC236}">
                <a16:creationId xmlns:a16="http://schemas.microsoft.com/office/drawing/2014/main" id="{E4926F3C-5DA6-448B-8646-A3EA4F6F215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271775" y="6095608"/>
            <a:ext cx="457966" cy="457966"/>
          </a:xfrm>
          <a:prstGeom prst="rect">
            <a:avLst/>
          </a:prstGeom>
        </p:spPr>
      </p:pic>
      <p:sp>
        <p:nvSpPr>
          <p:cNvPr id="145" name="ZoneTexte 144">
            <a:extLst>
              <a:ext uri="{FF2B5EF4-FFF2-40B4-BE49-F238E27FC236}">
                <a16:creationId xmlns:a16="http://schemas.microsoft.com/office/drawing/2014/main" id="{F39C336E-5E92-42A8-A824-815B3076E0A1}"/>
              </a:ext>
            </a:extLst>
          </p:cNvPr>
          <p:cNvSpPr txBox="1"/>
          <p:nvPr/>
        </p:nvSpPr>
        <p:spPr>
          <a:xfrm>
            <a:off x="2629593" y="2761810"/>
            <a:ext cx="3376602" cy="875696"/>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46" name="ZoneTexte 145">
            <a:extLst>
              <a:ext uri="{FF2B5EF4-FFF2-40B4-BE49-F238E27FC236}">
                <a16:creationId xmlns:a16="http://schemas.microsoft.com/office/drawing/2014/main" id="{94EE9F06-1A06-46C3-92EB-23EE91D5CC64}"/>
              </a:ext>
            </a:extLst>
          </p:cNvPr>
          <p:cNvSpPr txBox="1"/>
          <p:nvPr/>
        </p:nvSpPr>
        <p:spPr>
          <a:xfrm>
            <a:off x="2633297" y="2741884"/>
            <a:ext cx="3386190" cy="878895"/>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Clientèle individuelle ou séjours d’ESMS</a:t>
            </a:r>
          </a:p>
          <a:p>
            <a:pPr marL="361950" lvl="1" indent="-171450" algn="just">
              <a:lnSpc>
                <a:spcPct val="107000"/>
              </a:lnSpc>
              <a:spcAft>
                <a:spcPts val="300"/>
              </a:spcAft>
              <a:buClr>
                <a:srgbClr val="503078"/>
              </a:buClr>
              <a:buFont typeface="Courier New" panose="02070309020205020404" pitchFamily="49" charset="0"/>
              <a:buChar char="o"/>
            </a:pPr>
            <a:r>
              <a:rPr lang="fr-FR" sz="800">
                <a:solidFill>
                  <a:srgbClr val="5F5F5F"/>
                </a:solidFill>
                <a:latin typeface="Tahoma"/>
              </a:rPr>
              <a:t>Un public de proximité tout au long de l’année + Un public plus éloigné en haute-saison (TO très variable du fait de la saisonnalité)</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Séjours de 12 à 14 jours en moyenne</a:t>
            </a:r>
          </a:p>
        </p:txBody>
      </p:sp>
      <p:sp>
        <p:nvSpPr>
          <p:cNvPr id="149" name="ZoneTexte 148">
            <a:extLst>
              <a:ext uri="{FF2B5EF4-FFF2-40B4-BE49-F238E27FC236}">
                <a16:creationId xmlns:a16="http://schemas.microsoft.com/office/drawing/2014/main" id="{36848BA0-0674-4A92-8592-0F5E4C1F934A}"/>
              </a:ext>
            </a:extLst>
          </p:cNvPr>
          <p:cNvSpPr txBox="1"/>
          <p:nvPr/>
        </p:nvSpPr>
        <p:spPr>
          <a:xfrm>
            <a:off x="1159059" y="2716204"/>
            <a:ext cx="1579647" cy="261610"/>
          </a:xfrm>
          <a:prstGeom prst="rect">
            <a:avLst/>
          </a:prstGeom>
          <a:noFill/>
          <a:ln>
            <a:noFill/>
          </a:ln>
        </p:spPr>
        <p:txBody>
          <a:bodyPr wrap="square" lIns="108000" rIns="108000" rtlCol="0">
            <a:spAutoFit/>
          </a:bodyPr>
          <a:lstStyle/>
          <a:p>
            <a:pPr algn="ctr"/>
            <a:r>
              <a:rPr lang="fr-FR" sz="1100" b="1">
                <a:solidFill>
                  <a:srgbClr val="B0ADCC"/>
                </a:solidFill>
                <a:latin typeface="Tahoma"/>
              </a:rPr>
              <a:t>Format proposé</a:t>
            </a:r>
          </a:p>
        </p:txBody>
      </p:sp>
      <p:pic>
        <p:nvPicPr>
          <p:cNvPr id="36" name="Graphique 35" descr="Calendrier journalier avec un remplissage uni">
            <a:extLst>
              <a:ext uri="{FF2B5EF4-FFF2-40B4-BE49-F238E27FC236}">
                <a16:creationId xmlns:a16="http://schemas.microsoft.com/office/drawing/2014/main" id="{FF010243-FF8D-4022-9F7F-4CD70362EE8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663728" y="2932602"/>
            <a:ext cx="499013" cy="499013"/>
          </a:xfrm>
          <a:prstGeom prst="rect">
            <a:avLst/>
          </a:prstGeom>
        </p:spPr>
      </p:pic>
    </p:spTree>
    <p:extLst>
      <p:ext uri="{BB962C8B-B14F-4D97-AF65-F5344CB8AC3E}">
        <p14:creationId xmlns:p14="http://schemas.microsoft.com/office/powerpoint/2010/main" val="37786047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ZoneTexte 143">
            <a:extLst>
              <a:ext uri="{FF2B5EF4-FFF2-40B4-BE49-F238E27FC236}">
                <a16:creationId xmlns:a16="http://schemas.microsoft.com/office/drawing/2014/main" id="{AFB19748-CD2D-492F-9430-54C048E8BC7A}"/>
              </a:ext>
            </a:extLst>
          </p:cNvPr>
          <p:cNvSpPr txBox="1"/>
          <p:nvPr/>
        </p:nvSpPr>
        <p:spPr>
          <a:xfrm>
            <a:off x="9011451" y="5808208"/>
            <a:ext cx="2012753" cy="1032036"/>
          </a:xfrm>
          <a:prstGeom prst="rect">
            <a:avLst/>
          </a:prstGeom>
          <a:solidFill>
            <a:schemeClr val="bg1"/>
          </a:solidFill>
          <a:ln>
            <a:noFill/>
          </a:ln>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27" name="ZoneTexte 126">
            <a:extLst>
              <a:ext uri="{FF2B5EF4-FFF2-40B4-BE49-F238E27FC236}">
                <a16:creationId xmlns:a16="http://schemas.microsoft.com/office/drawing/2014/main" id="{CEFC84DD-3DA7-456C-B0D9-1400DB406EC3}"/>
              </a:ext>
            </a:extLst>
          </p:cNvPr>
          <p:cNvSpPr txBox="1"/>
          <p:nvPr/>
        </p:nvSpPr>
        <p:spPr>
          <a:xfrm>
            <a:off x="6206810" y="2769113"/>
            <a:ext cx="3736745" cy="868393"/>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2" name="Titre 1">
            <a:extLst>
              <a:ext uri="{FF2B5EF4-FFF2-40B4-BE49-F238E27FC236}">
                <a16:creationId xmlns:a16="http://schemas.microsoft.com/office/drawing/2014/main" id="{96CCCFB9-E7A4-4FA0-ACFE-13891ADB4576}"/>
              </a:ext>
            </a:extLst>
          </p:cNvPr>
          <p:cNvSpPr>
            <a:spLocks noGrp="1"/>
          </p:cNvSpPr>
          <p:nvPr>
            <p:ph type="title"/>
          </p:nvPr>
        </p:nvSpPr>
        <p:spPr/>
        <p:txBody>
          <a:bodyPr/>
          <a:lstStyle/>
          <a:p>
            <a:r>
              <a:rPr lang="fr-FR" u="sng"/>
              <a:t>Modèle 2</a:t>
            </a:r>
            <a:r>
              <a:rPr lang="fr-FR"/>
              <a:t> : les villages de vacances adossés à des ESMS</a:t>
            </a:r>
            <a:br>
              <a:rPr lang="fr-FR"/>
            </a:br>
            <a:r>
              <a:rPr lang="fr-FR" sz="1400" i="1"/>
              <a:t>Exemples : VRF les </a:t>
            </a:r>
            <a:r>
              <a:rPr lang="fr-FR" sz="1400" i="1" err="1"/>
              <a:t>Cizes</a:t>
            </a:r>
            <a:r>
              <a:rPr lang="fr-FR" sz="1400" i="1"/>
              <a:t> et VRF La Salamandre</a:t>
            </a:r>
            <a:endParaRPr lang="fr-FR" sz="2400" i="1"/>
          </a:p>
        </p:txBody>
      </p:sp>
      <p:sp>
        <p:nvSpPr>
          <p:cNvPr id="3" name="Espace réservé du texte 2">
            <a:extLst>
              <a:ext uri="{FF2B5EF4-FFF2-40B4-BE49-F238E27FC236}">
                <a16:creationId xmlns:a16="http://schemas.microsoft.com/office/drawing/2014/main" id="{EA786B65-FD77-46F5-BB58-054675AE6306}"/>
              </a:ext>
            </a:extLst>
          </p:cNvPr>
          <p:cNvSpPr>
            <a:spLocks noGrp="1"/>
          </p:cNvSpPr>
          <p:nvPr>
            <p:ph type="body" sz="quarter" idx="13"/>
          </p:nvPr>
        </p:nvSpPr>
        <p:spPr/>
        <p:txBody>
          <a:bodyPr/>
          <a:lstStyle/>
          <a:p>
            <a:r>
              <a:rPr lang="fr-FR"/>
              <a:t>Etat des lieux </a:t>
            </a:r>
            <a:r>
              <a:rPr lang="fr-FR">
                <a:solidFill>
                  <a:srgbClr val="938481"/>
                </a:solidFill>
              </a:rPr>
              <a:t>des modèles existants</a:t>
            </a:r>
            <a:endParaRPr lang="fr-FR"/>
          </a:p>
        </p:txBody>
      </p:sp>
      <p:sp>
        <p:nvSpPr>
          <p:cNvPr id="6" name="Arrondir un rectangle avec un coin diagonal 25">
            <a:extLst>
              <a:ext uri="{FF2B5EF4-FFF2-40B4-BE49-F238E27FC236}">
                <a16:creationId xmlns:a16="http://schemas.microsoft.com/office/drawing/2014/main" id="{061EFCEE-43E5-4789-ADA4-A849A8D0D109}"/>
              </a:ext>
            </a:extLst>
          </p:cNvPr>
          <p:cNvSpPr>
            <a:spLocks/>
          </p:cNvSpPr>
          <p:nvPr/>
        </p:nvSpPr>
        <p:spPr bwMode="gray">
          <a:xfrm>
            <a:off x="4235936" y="1016760"/>
            <a:ext cx="6736202" cy="1295977"/>
          </a:xfrm>
          <a:prstGeom prst="round2DiagRect">
            <a:avLst>
              <a:gd name="adj1" fmla="val 0"/>
              <a:gd name="adj2" fmla="val 11610"/>
            </a:avLst>
          </a:prstGeom>
          <a:solidFill>
            <a:schemeClr val="bg1"/>
          </a:solidFill>
          <a:ln w="19050" cap="flat" cmpd="sng" algn="ctr">
            <a:solidFill>
              <a:schemeClr val="bg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00" tIns="58500" rIns="58500" bIns="58500" numCol="1" spcCol="0" rtlCol="0" fromWordArt="0" anchor="t" anchorCtr="0" forceAA="0" compatLnSpc="1">
            <a:prstTxWarp prst="textNoShape">
              <a:avLst/>
            </a:prstTxWarp>
            <a:noAutofit/>
          </a:bodyPr>
          <a:lstStyle/>
          <a:p>
            <a:pPr algn="just">
              <a:defRPr/>
            </a:pPr>
            <a:r>
              <a:rPr lang="fr-FR" sz="1056">
                <a:solidFill>
                  <a:srgbClr val="667E76"/>
                </a:solidFill>
                <a:latin typeface="Arial"/>
                <a:ea typeface="Meiryo UI"/>
                <a:cs typeface="Arial"/>
              </a:rPr>
              <a:t>. </a:t>
            </a:r>
          </a:p>
        </p:txBody>
      </p:sp>
      <p:sp>
        <p:nvSpPr>
          <p:cNvPr id="46" name="ZoneTexte 45">
            <a:extLst>
              <a:ext uri="{FF2B5EF4-FFF2-40B4-BE49-F238E27FC236}">
                <a16:creationId xmlns:a16="http://schemas.microsoft.com/office/drawing/2014/main" id="{18D377A5-89B7-42C6-AC56-9BCE010E429D}"/>
              </a:ext>
            </a:extLst>
          </p:cNvPr>
          <p:cNvSpPr txBox="1"/>
          <p:nvPr/>
        </p:nvSpPr>
        <p:spPr>
          <a:xfrm>
            <a:off x="4235936" y="1039547"/>
            <a:ext cx="2344061" cy="446276"/>
          </a:xfrm>
          <a:prstGeom prst="rect">
            <a:avLst/>
          </a:prstGeom>
          <a:noFill/>
          <a:ln>
            <a:noFill/>
          </a:ln>
        </p:spPr>
        <p:txBody>
          <a:bodyPr wrap="square" lIns="108000" rIns="108000" rtlCol="0">
            <a:spAutoFit/>
          </a:bodyPr>
          <a:lstStyle/>
          <a:p>
            <a:r>
              <a:rPr lang="fr-FR" sz="1100" b="1">
                <a:solidFill>
                  <a:srgbClr val="503078"/>
                </a:solidFill>
                <a:latin typeface="Tahoma"/>
              </a:rPr>
              <a:t>Description</a:t>
            </a:r>
          </a:p>
          <a:p>
            <a:pPr marL="171450" indent="-171450">
              <a:buFontTx/>
              <a:buChar char="-"/>
            </a:pPr>
            <a:endParaRPr lang="fr-FR" sz="1200">
              <a:solidFill>
                <a:srgbClr val="5F5F5F"/>
              </a:solidFill>
              <a:latin typeface="Tahoma"/>
            </a:endParaRPr>
          </a:p>
        </p:txBody>
      </p:sp>
      <p:sp>
        <p:nvSpPr>
          <p:cNvPr id="47" name="ZoneTexte 46">
            <a:extLst>
              <a:ext uri="{FF2B5EF4-FFF2-40B4-BE49-F238E27FC236}">
                <a16:creationId xmlns:a16="http://schemas.microsoft.com/office/drawing/2014/main" id="{34503B7E-030F-498B-9EC4-D99CB7FB14CF}"/>
              </a:ext>
            </a:extLst>
          </p:cNvPr>
          <p:cNvSpPr txBox="1"/>
          <p:nvPr/>
        </p:nvSpPr>
        <p:spPr>
          <a:xfrm>
            <a:off x="4243955" y="1238618"/>
            <a:ext cx="6767044" cy="1061829"/>
          </a:xfrm>
          <a:prstGeom prst="rect">
            <a:avLst/>
          </a:prstGeom>
          <a:noFill/>
          <a:ln>
            <a:noFill/>
          </a:ln>
        </p:spPr>
        <p:txBody>
          <a:bodyPr wrap="square" lIns="108000" rIns="108000" rtlCol="0">
            <a:spAutoFit/>
          </a:bodyPr>
          <a:lstStyle/>
          <a:p>
            <a:pPr algn="just"/>
            <a:r>
              <a:rPr lang="fr-FR" sz="1050">
                <a:solidFill>
                  <a:srgbClr val="5F5F5F"/>
                </a:solidFill>
                <a:latin typeface="Tahoma"/>
              </a:rPr>
              <a:t>A l’instar du modèle précédent, ces villages de vacances proposent au couple aidant-aidé </a:t>
            </a:r>
            <a:r>
              <a:rPr lang="fr-FR" sz="1050" b="1">
                <a:solidFill>
                  <a:srgbClr val="5F5F5F"/>
                </a:solidFill>
                <a:latin typeface="Tahoma"/>
              </a:rPr>
              <a:t>une offre complète et accessible</a:t>
            </a:r>
            <a:r>
              <a:rPr lang="fr-FR" sz="1050">
                <a:solidFill>
                  <a:srgbClr val="5F5F5F"/>
                </a:solidFill>
                <a:latin typeface="Tahoma"/>
              </a:rPr>
              <a:t> tout au long de l’année, à la fois médico-sociale et touristique. Si, comme dans le premier modèle, d’importants frais d’investissement sont mis en œuvre, les frais de fonctionnement peuvent être </a:t>
            </a:r>
            <a:r>
              <a:rPr lang="fr-FR" sz="1050" b="1">
                <a:solidFill>
                  <a:srgbClr val="5F5F5F"/>
                </a:solidFill>
                <a:latin typeface="Tahoma"/>
              </a:rPr>
              <a:t>mutualisés grâce à la proximité d’un autre ESMS </a:t>
            </a:r>
            <a:r>
              <a:rPr lang="fr-FR" sz="1050">
                <a:solidFill>
                  <a:srgbClr val="5F5F5F"/>
                </a:solidFill>
                <a:latin typeface="Tahoma"/>
              </a:rPr>
              <a:t>(logistique, infrastructures, personnels partagés). Par ailleurs, l’adossement à un autre ESMS facilite </a:t>
            </a:r>
            <a:r>
              <a:rPr lang="fr-FR" sz="1050" b="1">
                <a:solidFill>
                  <a:srgbClr val="5F5F5F"/>
                </a:solidFill>
                <a:latin typeface="Tahoma"/>
              </a:rPr>
              <a:t>l’obtention de places AT / HT </a:t>
            </a:r>
            <a:r>
              <a:rPr lang="fr-FR" sz="1050">
                <a:solidFill>
                  <a:srgbClr val="5F5F5F"/>
                </a:solidFill>
                <a:latin typeface="Tahoma"/>
              </a:rPr>
              <a:t>car ces dernières s’intègrent à un schéma territorial préexistant et viennent compléter l’offre médico-sociale.</a:t>
            </a:r>
          </a:p>
        </p:txBody>
      </p:sp>
      <p:pic>
        <p:nvPicPr>
          <p:cNvPr id="54" name="Graphique 53" descr="Utilisateur">
            <a:extLst>
              <a:ext uri="{FF2B5EF4-FFF2-40B4-BE49-F238E27FC236}">
                <a16:creationId xmlns:a16="http://schemas.microsoft.com/office/drawing/2014/main" id="{228586C0-7A09-473D-93FB-1578FD334E9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20085" y="1017405"/>
            <a:ext cx="343642" cy="343642"/>
          </a:xfrm>
          <a:prstGeom prst="rect">
            <a:avLst/>
          </a:prstGeom>
        </p:spPr>
      </p:pic>
      <p:sp>
        <p:nvSpPr>
          <p:cNvPr id="55" name="ZoneTexte 54">
            <a:extLst>
              <a:ext uri="{FF2B5EF4-FFF2-40B4-BE49-F238E27FC236}">
                <a16:creationId xmlns:a16="http://schemas.microsoft.com/office/drawing/2014/main" id="{D3C161D8-296E-4FAC-8245-FD6DF3FF06AC}"/>
              </a:ext>
            </a:extLst>
          </p:cNvPr>
          <p:cNvSpPr txBox="1"/>
          <p:nvPr/>
        </p:nvSpPr>
        <p:spPr>
          <a:xfrm>
            <a:off x="1694248" y="1081572"/>
            <a:ext cx="2344061" cy="446276"/>
          </a:xfrm>
          <a:prstGeom prst="rect">
            <a:avLst/>
          </a:prstGeom>
          <a:noFill/>
          <a:ln>
            <a:noFill/>
          </a:ln>
        </p:spPr>
        <p:txBody>
          <a:bodyPr wrap="square" lIns="108000" rIns="108000" rtlCol="0">
            <a:spAutoFit/>
          </a:bodyPr>
          <a:lstStyle/>
          <a:p>
            <a:r>
              <a:rPr lang="fr-FR" sz="1100" b="1">
                <a:solidFill>
                  <a:srgbClr val="503078"/>
                </a:solidFill>
                <a:latin typeface="Tahoma"/>
              </a:rPr>
              <a:t>Porteurs de projet</a:t>
            </a:r>
          </a:p>
          <a:p>
            <a:pPr marL="171450" indent="-171450">
              <a:buFontTx/>
              <a:buChar char="-"/>
            </a:pPr>
            <a:endParaRPr lang="fr-FR" sz="1200">
              <a:solidFill>
                <a:srgbClr val="5F5F5F"/>
              </a:solidFill>
              <a:latin typeface="Tahoma"/>
            </a:endParaRPr>
          </a:p>
        </p:txBody>
      </p:sp>
      <p:sp>
        <p:nvSpPr>
          <p:cNvPr id="65" name="ZoneTexte 64">
            <a:extLst>
              <a:ext uri="{FF2B5EF4-FFF2-40B4-BE49-F238E27FC236}">
                <a16:creationId xmlns:a16="http://schemas.microsoft.com/office/drawing/2014/main" id="{94AAD809-0587-485B-884D-3279EC754ABF}"/>
              </a:ext>
            </a:extLst>
          </p:cNvPr>
          <p:cNvSpPr txBox="1"/>
          <p:nvPr/>
        </p:nvSpPr>
        <p:spPr>
          <a:xfrm>
            <a:off x="1245845" y="1319893"/>
            <a:ext cx="2882170" cy="246221"/>
          </a:xfrm>
          <a:prstGeom prst="rect">
            <a:avLst/>
          </a:prstGeom>
          <a:noFill/>
          <a:ln>
            <a:noFill/>
          </a:ln>
        </p:spPr>
        <p:txBody>
          <a:bodyPr wrap="square" lIns="108000" rIns="108000" rtlCol="0">
            <a:spAutoFit/>
          </a:bodyPr>
          <a:lstStyle/>
          <a:p>
            <a:pPr algn="just"/>
            <a:r>
              <a:rPr lang="fr-FR" sz="1000">
                <a:solidFill>
                  <a:srgbClr val="5F5F5F"/>
                </a:solidFill>
                <a:latin typeface="Tahoma"/>
              </a:rPr>
              <a:t>Associations, GCSMS</a:t>
            </a:r>
          </a:p>
        </p:txBody>
      </p:sp>
      <p:pic>
        <p:nvPicPr>
          <p:cNvPr id="66" name="Graphique 65" descr="Hôpital">
            <a:extLst>
              <a:ext uri="{FF2B5EF4-FFF2-40B4-BE49-F238E27FC236}">
                <a16:creationId xmlns:a16="http://schemas.microsoft.com/office/drawing/2014/main" id="{2B90C41F-0983-45DD-AE2D-80388EC642D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48092" y="1718040"/>
            <a:ext cx="377667" cy="377667"/>
          </a:xfrm>
          <a:prstGeom prst="rect">
            <a:avLst/>
          </a:prstGeom>
        </p:spPr>
      </p:pic>
      <p:sp>
        <p:nvSpPr>
          <p:cNvPr id="69" name="ZoneTexte 68">
            <a:extLst>
              <a:ext uri="{FF2B5EF4-FFF2-40B4-BE49-F238E27FC236}">
                <a16:creationId xmlns:a16="http://schemas.microsoft.com/office/drawing/2014/main" id="{70CE0E81-77B9-4360-A4D4-5A33800BC3DE}"/>
              </a:ext>
            </a:extLst>
          </p:cNvPr>
          <p:cNvSpPr txBox="1"/>
          <p:nvPr/>
        </p:nvSpPr>
        <p:spPr>
          <a:xfrm>
            <a:off x="1294582" y="2042089"/>
            <a:ext cx="2912986" cy="242182"/>
          </a:xfrm>
          <a:prstGeom prst="rect">
            <a:avLst/>
          </a:prstGeom>
          <a:noFill/>
          <a:ln>
            <a:noFill/>
          </a:ln>
        </p:spPr>
        <p:txBody>
          <a:bodyPr wrap="square" lIns="108000" rIns="108000" rtlCol="0">
            <a:spAutoFit/>
          </a:bodyPr>
          <a:lstStyle/>
          <a:p>
            <a:pPr>
              <a:lnSpc>
                <a:spcPct val="107000"/>
              </a:lnSpc>
              <a:spcAft>
                <a:spcPts val="800"/>
              </a:spcAft>
              <a:buClr>
                <a:srgbClr val="503078"/>
              </a:buClr>
            </a:pPr>
            <a:r>
              <a:rPr lang="fr-FR" sz="1000">
                <a:solidFill>
                  <a:srgbClr val="5F5F5F"/>
                </a:solidFill>
                <a:latin typeface="Tahoma"/>
              </a:rPr>
              <a:t>ESMS </a:t>
            </a:r>
          </a:p>
        </p:txBody>
      </p:sp>
      <p:sp>
        <p:nvSpPr>
          <p:cNvPr id="70" name="Rectangle 69">
            <a:extLst>
              <a:ext uri="{FF2B5EF4-FFF2-40B4-BE49-F238E27FC236}">
                <a16:creationId xmlns:a16="http://schemas.microsoft.com/office/drawing/2014/main" id="{4137CF04-1CD5-4A25-B667-2983605E4590}"/>
              </a:ext>
            </a:extLst>
          </p:cNvPr>
          <p:cNvSpPr/>
          <p:nvPr/>
        </p:nvSpPr>
        <p:spPr>
          <a:xfrm>
            <a:off x="1250838" y="1009217"/>
            <a:ext cx="2877177" cy="1303520"/>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1" name="ZoneTexte 70">
            <a:extLst>
              <a:ext uri="{FF2B5EF4-FFF2-40B4-BE49-F238E27FC236}">
                <a16:creationId xmlns:a16="http://schemas.microsoft.com/office/drawing/2014/main" id="{68D5A3E5-0FE1-4B1F-BFF8-4DFBC8778AA0}"/>
              </a:ext>
            </a:extLst>
          </p:cNvPr>
          <p:cNvSpPr txBox="1"/>
          <p:nvPr/>
        </p:nvSpPr>
        <p:spPr>
          <a:xfrm>
            <a:off x="1725759" y="1813960"/>
            <a:ext cx="2344061" cy="446276"/>
          </a:xfrm>
          <a:prstGeom prst="rect">
            <a:avLst/>
          </a:prstGeom>
          <a:noFill/>
          <a:ln>
            <a:noFill/>
          </a:ln>
        </p:spPr>
        <p:txBody>
          <a:bodyPr wrap="square" lIns="108000" rIns="108000" rtlCol="0">
            <a:spAutoFit/>
          </a:bodyPr>
          <a:lstStyle/>
          <a:p>
            <a:r>
              <a:rPr lang="fr-FR" sz="1100" b="1">
                <a:solidFill>
                  <a:srgbClr val="503078"/>
                </a:solidFill>
                <a:latin typeface="Tahoma"/>
              </a:rPr>
              <a:t>Typologies de structures</a:t>
            </a:r>
          </a:p>
          <a:p>
            <a:pPr marL="171450" indent="-171450">
              <a:buFontTx/>
              <a:buChar char="-"/>
            </a:pPr>
            <a:endParaRPr lang="fr-FR" sz="1200">
              <a:solidFill>
                <a:srgbClr val="5F5F5F"/>
              </a:solidFill>
              <a:latin typeface="Tahoma"/>
            </a:endParaRPr>
          </a:p>
        </p:txBody>
      </p:sp>
      <p:pic>
        <p:nvPicPr>
          <p:cNvPr id="104" name="Graphique 103" descr="Dormir avec un remplissage uni">
            <a:extLst>
              <a:ext uri="{FF2B5EF4-FFF2-40B4-BE49-F238E27FC236}">
                <a16:creationId xmlns:a16="http://schemas.microsoft.com/office/drawing/2014/main" id="{CFCC8457-1FA1-4BFE-8EFC-B2EDD39948B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58165" y="4198143"/>
            <a:ext cx="565198" cy="565198"/>
          </a:xfrm>
          <a:prstGeom prst="rect">
            <a:avLst/>
          </a:prstGeom>
        </p:spPr>
      </p:pic>
      <p:sp>
        <p:nvSpPr>
          <p:cNvPr id="105" name="ZoneTexte 104">
            <a:extLst>
              <a:ext uri="{FF2B5EF4-FFF2-40B4-BE49-F238E27FC236}">
                <a16:creationId xmlns:a16="http://schemas.microsoft.com/office/drawing/2014/main" id="{5530E235-EACE-4D1E-A19A-91A603CD04B6}"/>
              </a:ext>
            </a:extLst>
          </p:cNvPr>
          <p:cNvSpPr txBox="1"/>
          <p:nvPr/>
        </p:nvSpPr>
        <p:spPr>
          <a:xfrm>
            <a:off x="2631086" y="3691221"/>
            <a:ext cx="3376602" cy="1301982"/>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8" name="ZoneTexte 117">
            <a:extLst>
              <a:ext uri="{FF2B5EF4-FFF2-40B4-BE49-F238E27FC236}">
                <a16:creationId xmlns:a16="http://schemas.microsoft.com/office/drawing/2014/main" id="{83B608BB-5CE4-48D8-B3A6-2AEC82163C79}"/>
              </a:ext>
            </a:extLst>
          </p:cNvPr>
          <p:cNvSpPr txBox="1"/>
          <p:nvPr/>
        </p:nvSpPr>
        <p:spPr>
          <a:xfrm>
            <a:off x="2641698" y="3714643"/>
            <a:ext cx="3391975" cy="1307089"/>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Hébergement le plus souvent au sein de logements individuels adaptés (chalets, studios, pavillon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Restauration en autonomie au sein des hébergements ou proposée en mutualisation avec l’ESM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nimation : activités adaptées proposées à l’aidé et à l’aidant (activités communes possibles)</a:t>
            </a:r>
          </a:p>
        </p:txBody>
      </p:sp>
      <p:sp>
        <p:nvSpPr>
          <p:cNvPr id="119" name="ZoneTexte 118">
            <a:extLst>
              <a:ext uri="{FF2B5EF4-FFF2-40B4-BE49-F238E27FC236}">
                <a16:creationId xmlns:a16="http://schemas.microsoft.com/office/drawing/2014/main" id="{A092B18B-1E2B-4620-892D-A126FD6884E8}"/>
              </a:ext>
            </a:extLst>
          </p:cNvPr>
          <p:cNvSpPr txBox="1"/>
          <p:nvPr/>
        </p:nvSpPr>
        <p:spPr>
          <a:xfrm>
            <a:off x="1238117" y="3823393"/>
            <a:ext cx="1387976" cy="430887"/>
          </a:xfrm>
          <a:prstGeom prst="rect">
            <a:avLst/>
          </a:prstGeom>
          <a:noFill/>
          <a:ln>
            <a:noFill/>
          </a:ln>
        </p:spPr>
        <p:txBody>
          <a:bodyPr wrap="square" lIns="108000" rIns="108000" rtlCol="0">
            <a:spAutoFit/>
          </a:bodyPr>
          <a:lstStyle/>
          <a:p>
            <a:pPr algn="ctr"/>
            <a:r>
              <a:rPr lang="fr-FR" sz="1100" b="1">
                <a:solidFill>
                  <a:srgbClr val="B0ADCC"/>
                </a:solidFill>
                <a:latin typeface="Tahoma"/>
              </a:rPr>
              <a:t>Services </a:t>
            </a:r>
          </a:p>
          <a:p>
            <a:pPr algn="ctr"/>
            <a:r>
              <a:rPr lang="fr-FR" sz="1100" b="1">
                <a:solidFill>
                  <a:srgbClr val="B0ADCC"/>
                </a:solidFill>
                <a:latin typeface="Tahoma"/>
              </a:rPr>
              <a:t>hôteliers </a:t>
            </a:r>
          </a:p>
        </p:txBody>
      </p:sp>
      <p:pic>
        <p:nvPicPr>
          <p:cNvPr id="120" name="Graphique 119" descr="Trousse de premiers secours avec un remplissage uni">
            <a:extLst>
              <a:ext uri="{FF2B5EF4-FFF2-40B4-BE49-F238E27FC236}">
                <a16:creationId xmlns:a16="http://schemas.microsoft.com/office/drawing/2014/main" id="{EEC174F1-7ECF-4F27-94E2-35C2087886C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52452" y="5526849"/>
            <a:ext cx="557136" cy="557136"/>
          </a:xfrm>
          <a:prstGeom prst="rect">
            <a:avLst/>
          </a:prstGeom>
        </p:spPr>
      </p:pic>
      <p:sp>
        <p:nvSpPr>
          <p:cNvPr id="121" name="ZoneTexte 120">
            <a:extLst>
              <a:ext uri="{FF2B5EF4-FFF2-40B4-BE49-F238E27FC236}">
                <a16:creationId xmlns:a16="http://schemas.microsoft.com/office/drawing/2014/main" id="{EEC21117-E598-4AE6-8E31-D9EDF425B6F9}"/>
              </a:ext>
            </a:extLst>
          </p:cNvPr>
          <p:cNvSpPr txBox="1"/>
          <p:nvPr/>
        </p:nvSpPr>
        <p:spPr>
          <a:xfrm>
            <a:off x="1059166" y="5133065"/>
            <a:ext cx="1743708" cy="615553"/>
          </a:xfrm>
          <a:prstGeom prst="rect">
            <a:avLst/>
          </a:prstGeom>
          <a:noFill/>
          <a:ln>
            <a:noFill/>
          </a:ln>
        </p:spPr>
        <p:txBody>
          <a:bodyPr wrap="square" lIns="108000" rIns="108000" rtlCol="0">
            <a:spAutoFit/>
          </a:bodyPr>
          <a:lstStyle/>
          <a:p>
            <a:pPr algn="ctr"/>
            <a:r>
              <a:rPr lang="fr-FR" sz="1100" b="1">
                <a:solidFill>
                  <a:srgbClr val="B0ADCC"/>
                </a:solidFill>
                <a:latin typeface="Tahoma"/>
              </a:rPr>
              <a:t>Accompagnement médico-social</a:t>
            </a:r>
          </a:p>
          <a:p>
            <a:pPr marL="171450" indent="-171450" algn="ctr">
              <a:buFontTx/>
              <a:buChar char="-"/>
            </a:pPr>
            <a:endParaRPr lang="fr-FR" sz="1200">
              <a:solidFill>
                <a:srgbClr val="B0ADCC"/>
              </a:solidFill>
              <a:latin typeface="Tahoma"/>
            </a:endParaRPr>
          </a:p>
        </p:txBody>
      </p:sp>
      <p:sp>
        <p:nvSpPr>
          <p:cNvPr id="122" name="ZoneTexte 121">
            <a:extLst>
              <a:ext uri="{FF2B5EF4-FFF2-40B4-BE49-F238E27FC236}">
                <a16:creationId xmlns:a16="http://schemas.microsoft.com/office/drawing/2014/main" id="{47F030E3-9D4B-4BE0-B1B5-8CBA4920E546}"/>
              </a:ext>
            </a:extLst>
          </p:cNvPr>
          <p:cNvSpPr txBox="1"/>
          <p:nvPr/>
        </p:nvSpPr>
        <p:spPr>
          <a:xfrm>
            <a:off x="2630857" y="5048151"/>
            <a:ext cx="3376602" cy="1651906"/>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23" name="ZoneTexte 122">
            <a:extLst>
              <a:ext uri="{FF2B5EF4-FFF2-40B4-BE49-F238E27FC236}">
                <a16:creationId xmlns:a16="http://schemas.microsoft.com/office/drawing/2014/main" id="{08123405-30D6-419F-A7FE-8F6BB6D03299}"/>
              </a:ext>
            </a:extLst>
          </p:cNvPr>
          <p:cNvSpPr txBox="1"/>
          <p:nvPr/>
        </p:nvSpPr>
        <p:spPr>
          <a:xfrm>
            <a:off x="2660657" y="5152603"/>
            <a:ext cx="3385253" cy="1471750"/>
          </a:xfrm>
          <a:prstGeom prst="rect">
            <a:avLst/>
          </a:prstGeom>
          <a:noFill/>
          <a:ln>
            <a:noFill/>
          </a:ln>
        </p:spPr>
        <p:txBody>
          <a:bodyPr wrap="square" lIns="108000" rIns="108000" rtlCol="0">
            <a:spAutoFit/>
          </a:bodyPr>
          <a:lstStyle/>
          <a:p>
            <a:pPr marL="171450" indent="-171450" algn="just">
              <a:lnSpc>
                <a:spcPct val="107000"/>
              </a:lnSpc>
              <a:buClr>
                <a:srgbClr val="503078"/>
              </a:buClr>
              <a:buFont typeface="Tahoma" panose="020B0604030504040204" pitchFamily="34" charset="0"/>
              <a:buChar char="⁄"/>
            </a:pPr>
            <a:r>
              <a:rPr lang="fr-FR" sz="1000">
                <a:solidFill>
                  <a:srgbClr val="5F5F5F"/>
                </a:solidFill>
                <a:latin typeface="Tahoma"/>
              </a:rPr>
              <a:t>Mise à disposition des personnels médicaux en détachement de la structure d’ESMS / équipes mobiles</a:t>
            </a:r>
            <a:endParaRPr lang="fr-FR" sz="800">
              <a:solidFill>
                <a:srgbClr val="5F5F5F"/>
              </a:solidFill>
              <a:latin typeface="Tahoma"/>
            </a:endParaRP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quipements adaptés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artenariats avec les personnels médicaux du territoire pour assurer la continuité des soins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ccompagnement psychologique pouvant être proposé à l’aidant </a:t>
            </a:r>
          </a:p>
        </p:txBody>
      </p:sp>
      <p:pic>
        <p:nvPicPr>
          <p:cNvPr id="124" name="Graphique 123" descr="Logement avec un remplissage uni">
            <a:extLst>
              <a:ext uri="{FF2B5EF4-FFF2-40B4-BE49-F238E27FC236}">
                <a16:creationId xmlns:a16="http://schemas.microsoft.com/office/drawing/2014/main" id="{FFD5C5EB-80DC-4244-8247-067BD4BC7FF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33111" y="3062940"/>
            <a:ext cx="447721" cy="447721"/>
          </a:xfrm>
          <a:prstGeom prst="rect">
            <a:avLst/>
          </a:prstGeom>
        </p:spPr>
      </p:pic>
      <p:sp>
        <p:nvSpPr>
          <p:cNvPr id="125" name="ZoneTexte 124">
            <a:extLst>
              <a:ext uri="{FF2B5EF4-FFF2-40B4-BE49-F238E27FC236}">
                <a16:creationId xmlns:a16="http://schemas.microsoft.com/office/drawing/2014/main" id="{608F55B6-176A-4760-81A4-45CF76F13ABA}"/>
              </a:ext>
            </a:extLst>
          </p:cNvPr>
          <p:cNvSpPr txBox="1"/>
          <p:nvPr/>
        </p:nvSpPr>
        <p:spPr>
          <a:xfrm>
            <a:off x="9861365" y="2827348"/>
            <a:ext cx="1244543" cy="446276"/>
          </a:xfrm>
          <a:prstGeom prst="rect">
            <a:avLst/>
          </a:prstGeom>
          <a:noFill/>
          <a:ln>
            <a:noFill/>
          </a:ln>
        </p:spPr>
        <p:txBody>
          <a:bodyPr wrap="square" lIns="108000" rIns="108000" rtlCol="0">
            <a:spAutoFit/>
          </a:bodyPr>
          <a:lstStyle/>
          <a:p>
            <a:pPr algn="ctr"/>
            <a:r>
              <a:rPr lang="fr-FR" sz="1100" b="1">
                <a:solidFill>
                  <a:srgbClr val="B24669"/>
                </a:solidFill>
                <a:latin typeface="Tahoma"/>
              </a:rPr>
              <a:t>Immobilier</a:t>
            </a:r>
          </a:p>
          <a:p>
            <a:pPr marL="171450" indent="-171450" algn="ctr">
              <a:buFontTx/>
              <a:buChar char="-"/>
            </a:pPr>
            <a:endParaRPr lang="fr-FR" sz="1200">
              <a:solidFill>
                <a:srgbClr val="B24669"/>
              </a:solidFill>
              <a:latin typeface="Tahoma"/>
            </a:endParaRPr>
          </a:p>
        </p:txBody>
      </p:sp>
      <p:sp>
        <p:nvSpPr>
          <p:cNvPr id="126" name="ZoneTexte 125">
            <a:extLst>
              <a:ext uri="{FF2B5EF4-FFF2-40B4-BE49-F238E27FC236}">
                <a16:creationId xmlns:a16="http://schemas.microsoft.com/office/drawing/2014/main" id="{190D1359-556D-4886-AD84-D57EA38DA3A8}"/>
              </a:ext>
            </a:extLst>
          </p:cNvPr>
          <p:cNvSpPr txBox="1"/>
          <p:nvPr/>
        </p:nvSpPr>
        <p:spPr>
          <a:xfrm>
            <a:off x="6220795" y="2757908"/>
            <a:ext cx="3588566" cy="900824"/>
          </a:xfrm>
          <a:prstGeom prst="rect">
            <a:avLst/>
          </a:prstGeom>
          <a:noFill/>
          <a:ln>
            <a:noFill/>
          </a:ln>
        </p:spPr>
        <p:txBody>
          <a:bodyPr wrap="square" lIns="108000" rIns="108000" rtlCol="0">
            <a:spAutoFit/>
          </a:bodyPr>
          <a:lstStyle/>
          <a:p>
            <a:pPr marL="171450" indent="-171450" algn="just">
              <a:lnSpc>
                <a:spcPct val="107000"/>
              </a:lnSpc>
              <a:spcAft>
                <a:spcPts val="800"/>
              </a:spcAft>
              <a:buClr>
                <a:srgbClr val="B24669"/>
              </a:buClr>
              <a:buFont typeface="Tahoma" panose="020B0604030504040204" pitchFamily="34" charset="0"/>
              <a:buChar char="⁄"/>
            </a:pPr>
            <a:r>
              <a:rPr lang="fr-FR" sz="1000">
                <a:solidFill>
                  <a:srgbClr val="5F5F5F"/>
                </a:solidFill>
                <a:latin typeface="Tahoma"/>
              </a:rPr>
              <a:t>Porteurs de projet propriétaires du terrain et du bâti : acquisition de biens abandonnés auprès d’acteurs publics (communes) ou privés (ex : organismes de protection sociale) ; dons / legs ; réutilisation et repositionnement de foncier existant </a:t>
            </a:r>
          </a:p>
        </p:txBody>
      </p:sp>
      <p:sp>
        <p:nvSpPr>
          <p:cNvPr id="129" name="Rectangle 128">
            <a:extLst>
              <a:ext uri="{FF2B5EF4-FFF2-40B4-BE49-F238E27FC236}">
                <a16:creationId xmlns:a16="http://schemas.microsoft.com/office/drawing/2014/main" id="{68ECC4B7-589A-4FBC-9D64-943EC531FB39}"/>
              </a:ext>
            </a:extLst>
          </p:cNvPr>
          <p:cNvSpPr/>
          <p:nvPr/>
        </p:nvSpPr>
        <p:spPr>
          <a:xfrm>
            <a:off x="1239832" y="2405595"/>
            <a:ext cx="4825165" cy="4346526"/>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30" name="ZoneTexte 129">
            <a:extLst>
              <a:ext uri="{FF2B5EF4-FFF2-40B4-BE49-F238E27FC236}">
                <a16:creationId xmlns:a16="http://schemas.microsoft.com/office/drawing/2014/main" id="{A12268C6-8012-4CF2-9630-A77E2DD20979}"/>
              </a:ext>
            </a:extLst>
          </p:cNvPr>
          <p:cNvSpPr txBox="1"/>
          <p:nvPr/>
        </p:nvSpPr>
        <p:spPr>
          <a:xfrm>
            <a:off x="1237274" y="2394442"/>
            <a:ext cx="4827723" cy="276999"/>
          </a:xfrm>
          <a:prstGeom prst="rect">
            <a:avLst/>
          </a:prstGeom>
          <a:solidFill>
            <a:srgbClr val="B0ADCC"/>
          </a:solidFill>
          <a:ln>
            <a:noFill/>
          </a:ln>
        </p:spPr>
        <p:txBody>
          <a:bodyPr wrap="square" lIns="108000" rIns="108000" rtlCol="0">
            <a:spAutoFit/>
          </a:bodyPr>
          <a:lstStyle/>
          <a:p>
            <a:pPr algn="ctr"/>
            <a:r>
              <a:rPr lang="fr-FR" sz="1200" b="1" cap="small">
                <a:solidFill>
                  <a:srgbClr val="FFFFFF"/>
                </a:solidFill>
                <a:latin typeface="Tahoma"/>
              </a:rPr>
              <a:t>Modèle opérationnel </a:t>
            </a:r>
          </a:p>
        </p:txBody>
      </p:sp>
      <p:sp>
        <p:nvSpPr>
          <p:cNvPr id="131" name="Rectangle 130">
            <a:extLst>
              <a:ext uri="{FF2B5EF4-FFF2-40B4-BE49-F238E27FC236}">
                <a16:creationId xmlns:a16="http://schemas.microsoft.com/office/drawing/2014/main" id="{34E6F194-7EE3-4C6A-8871-0DDC911DEBC6}"/>
              </a:ext>
            </a:extLst>
          </p:cNvPr>
          <p:cNvSpPr/>
          <p:nvPr/>
        </p:nvSpPr>
        <p:spPr>
          <a:xfrm>
            <a:off x="6134376" y="2403923"/>
            <a:ext cx="4825165" cy="4346525"/>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32" name="ZoneTexte 131">
            <a:extLst>
              <a:ext uri="{FF2B5EF4-FFF2-40B4-BE49-F238E27FC236}">
                <a16:creationId xmlns:a16="http://schemas.microsoft.com/office/drawing/2014/main" id="{5756AF4C-3CBB-4531-BDCA-612B2428D28A}"/>
              </a:ext>
            </a:extLst>
          </p:cNvPr>
          <p:cNvSpPr txBox="1"/>
          <p:nvPr/>
        </p:nvSpPr>
        <p:spPr>
          <a:xfrm>
            <a:off x="6131022" y="2396913"/>
            <a:ext cx="4831871" cy="286555"/>
          </a:xfrm>
          <a:prstGeom prst="rect">
            <a:avLst/>
          </a:prstGeom>
          <a:solidFill>
            <a:srgbClr val="B24669"/>
          </a:solidFill>
          <a:ln>
            <a:noFill/>
          </a:ln>
        </p:spPr>
        <p:txBody>
          <a:bodyPr wrap="square" lIns="108000" rIns="108000" rtlCol="0">
            <a:spAutoFit/>
          </a:bodyPr>
          <a:lstStyle/>
          <a:p>
            <a:pPr algn="ctr"/>
            <a:r>
              <a:rPr lang="fr-FR" sz="1200" b="1" cap="small">
                <a:solidFill>
                  <a:srgbClr val="FFFFFF"/>
                </a:solidFill>
                <a:latin typeface="Tahoma"/>
              </a:rPr>
              <a:t>Modèle économique</a:t>
            </a:r>
          </a:p>
        </p:txBody>
      </p:sp>
      <p:sp>
        <p:nvSpPr>
          <p:cNvPr id="133" name="ZoneTexte 132">
            <a:extLst>
              <a:ext uri="{FF2B5EF4-FFF2-40B4-BE49-F238E27FC236}">
                <a16:creationId xmlns:a16="http://schemas.microsoft.com/office/drawing/2014/main" id="{88C21860-516B-440D-8738-B2603CFD5147}"/>
              </a:ext>
            </a:extLst>
          </p:cNvPr>
          <p:cNvSpPr txBox="1"/>
          <p:nvPr/>
        </p:nvSpPr>
        <p:spPr>
          <a:xfrm>
            <a:off x="9979500" y="4081605"/>
            <a:ext cx="998185"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Frais de </a:t>
            </a:r>
            <a:r>
              <a:rPr lang="fr-FR" sz="1100" b="1" err="1">
                <a:solidFill>
                  <a:srgbClr val="B24669"/>
                </a:solidFill>
                <a:latin typeface="Tahoma"/>
              </a:rPr>
              <a:t>fonct</a:t>
            </a:r>
            <a:r>
              <a:rPr lang="fr-FR" sz="1100" b="1">
                <a:solidFill>
                  <a:srgbClr val="B24669"/>
                </a:solidFill>
                <a:latin typeface="Tahoma"/>
              </a:rPr>
              <a:t>.</a:t>
            </a:r>
          </a:p>
        </p:txBody>
      </p:sp>
      <p:pic>
        <p:nvPicPr>
          <p:cNvPr id="134" name="Graphique 133" descr="Tirelire avec un remplissage uni">
            <a:extLst>
              <a:ext uri="{FF2B5EF4-FFF2-40B4-BE49-F238E27FC236}">
                <a16:creationId xmlns:a16="http://schemas.microsoft.com/office/drawing/2014/main" id="{568188EC-5330-4B4D-8263-9BC1F4CED44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250420" y="4537244"/>
            <a:ext cx="514426" cy="514426"/>
          </a:xfrm>
          <a:prstGeom prst="rect">
            <a:avLst/>
          </a:prstGeom>
        </p:spPr>
      </p:pic>
      <p:sp>
        <p:nvSpPr>
          <p:cNvPr id="136" name="ZoneTexte 135">
            <a:extLst>
              <a:ext uri="{FF2B5EF4-FFF2-40B4-BE49-F238E27FC236}">
                <a16:creationId xmlns:a16="http://schemas.microsoft.com/office/drawing/2014/main" id="{2BFFB121-B70A-402D-9E21-4F6EC00C108A}"/>
              </a:ext>
            </a:extLst>
          </p:cNvPr>
          <p:cNvSpPr txBox="1"/>
          <p:nvPr/>
        </p:nvSpPr>
        <p:spPr>
          <a:xfrm>
            <a:off x="6202259" y="3691222"/>
            <a:ext cx="3736745" cy="1655427"/>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137" name="ZoneTexte 136">
            <a:extLst>
              <a:ext uri="{FF2B5EF4-FFF2-40B4-BE49-F238E27FC236}">
                <a16:creationId xmlns:a16="http://schemas.microsoft.com/office/drawing/2014/main" id="{7A32106B-901D-48C8-9DAB-BB88631F2189}"/>
              </a:ext>
            </a:extLst>
          </p:cNvPr>
          <p:cNvSpPr txBox="1"/>
          <p:nvPr/>
        </p:nvSpPr>
        <p:spPr>
          <a:xfrm>
            <a:off x="6206809" y="3738761"/>
            <a:ext cx="3732194" cy="1713354"/>
          </a:xfrm>
          <a:prstGeom prst="rect">
            <a:avLst/>
          </a:prstGeom>
          <a:noFill/>
          <a:ln>
            <a:noFill/>
          </a:ln>
        </p:spPr>
        <p:txBody>
          <a:bodyPr wrap="square" lIns="108000" rIns="108000" rtlCol="0">
            <a:spAutoFit/>
          </a:bodyPr>
          <a:lstStyle/>
          <a:p>
            <a:pPr marL="171450" indent="-171450" algn="just">
              <a:lnSpc>
                <a:spcPct val="107000"/>
              </a:lnSpc>
              <a:buClr>
                <a:srgbClr val="B24669"/>
              </a:buClr>
              <a:buFont typeface="Tahoma" panose="020B0604030504040204" pitchFamily="34" charset="0"/>
              <a:buChar char="⁄"/>
            </a:pPr>
            <a:r>
              <a:rPr lang="fr-FR" sz="1000">
                <a:solidFill>
                  <a:srgbClr val="5F5F5F"/>
                </a:solidFill>
                <a:latin typeface="Tahoma"/>
              </a:rPr>
              <a:t>Financement de places d’AT / HT par l’ARS et dans certains cas le conseil départemental (dans le cadre d’un CPOM)</a:t>
            </a:r>
            <a:endParaRPr lang="fr-FR" sz="800">
              <a:solidFill>
                <a:srgbClr val="5F5F5F"/>
              </a:solidFill>
              <a:latin typeface="Tahoma"/>
            </a:endParaRPr>
          </a:p>
          <a:p>
            <a:pPr marL="171450" indent="-171450" algn="just">
              <a:lnSpc>
                <a:spcPct val="107000"/>
              </a:lnSpc>
              <a:spcAft>
                <a:spcPts val="300"/>
              </a:spcAft>
              <a:buClr>
                <a:srgbClr val="B24669"/>
              </a:buClr>
              <a:buFont typeface="Tahoma" panose="020B0604030504040204" pitchFamily="34" charset="0"/>
              <a:buChar char="⁄"/>
            </a:pPr>
            <a:r>
              <a:rPr lang="fr-FR" sz="1000">
                <a:solidFill>
                  <a:srgbClr val="5F5F5F"/>
                </a:solidFill>
                <a:latin typeface="Tahoma"/>
              </a:rPr>
              <a:t>Mutualisation du personnel de l’ESMS adossé au village-vacances</a:t>
            </a:r>
          </a:p>
          <a:p>
            <a:pPr marL="171450" indent="-171450" algn="just">
              <a:lnSpc>
                <a:spcPct val="107000"/>
              </a:lnSpc>
              <a:spcAft>
                <a:spcPts val="300"/>
              </a:spcAft>
              <a:buClr>
                <a:srgbClr val="B24669"/>
              </a:buClr>
              <a:buFont typeface="Tahoma" panose="020B0604030504040204" pitchFamily="34" charset="0"/>
              <a:buChar char="⁄"/>
            </a:pPr>
            <a:r>
              <a:rPr lang="fr-FR" sz="1000">
                <a:solidFill>
                  <a:srgbClr val="5F5F5F"/>
                </a:solidFill>
                <a:latin typeface="Tahoma"/>
              </a:rPr>
              <a:t>Mutualisation des infrastructures de l’ESMS</a:t>
            </a:r>
          </a:p>
          <a:p>
            <a:pPr marL="171450" indent="-171450" algn="just">
              <a:lnSpc>
                <a:spcPct val="107000"/>
              </a:lnSpc>
              <a:spcAft>
                <a:spcPts val="300"/>
              </a:spcAft>
              <a:buClr>
                <a:srgbClr val="B24669"/>
              </a:buClr>
              <a:buFont typeface="Tahoma" panose="020B0604030504040204" pitchFamily="34" charset="0"/>
              <a:buChar char="⁄"/>
            </a:pPr>
            <a:r>
              <a:rPr lang="fr-FR" sz="1000">
                <a:solidFill>
                  <a:srgbClr val="5F5F5F"/>
                </a:solidFill>
                <a:latin typeface="Tahoma"/>
              </a:rPr>
              <a:t>Produits financiers : recettes des séjours, dons / mécénat</a:t>
            </a:r>
          </a:p>
          <a:p>
            <a:pPr marL="171450" indent="-171450" algn="just">
              <a:lnSpc>
                <a:spcPct val="107000"/>
              </a:lnSpc>
              <a:spcAft>
                <a:spcPts val="300"/>
              </a:spcAft>
              <a:buClr>
                <a:srgbClr val="B24669"/>
              </a:buClr>
              <a:buFont typeface="Tahoma" panose="020B0604030504040204" pitchFamily="34" charset="0"/>
              <a:buChar char="⁄"/>
            </a:pPr>
            <a:r>
              <a:rPr lang="fr-FR" sz="1000">
                <a:solidFill>
                  <a:srgbClr val="5F5F5F"/>
                </a:solidFill>
                <a:latin typeface="Tahoma"/>
              </a:rPr>
              <a:t>Implication très faible des acteurs publics hors prise en charge médico-sociale (peu de subventions publiques)</a:t>
            </a:r>
          </a:p>
          <a:p>
            <a:pPr marL="171450" indent="-171450" algn="just">
              <a:lnSpc>
                <a:spcPct val="107000"/>
              </a:lnSpc>
              <a:spcAft>
                <a:spcPts val="300"/>
              </a:spcAft>
              <a:buClr>
                <a:srgbClr val="B24669"/>
              </a:buClr>
              <a:buFont typeface="Tahoma" panose="020B0604030504040204" pitchFamily="34" charset="0"/>
              <a:buChar char="⁄"/>
            </a:pPr>
            <a:endParaRPr lang="fr-FR" sz="1000">
              <a:solidFill>
                <a:srgbClr val="5F5F5F"/>
              </a:solidFill>
              <a:latin typeface="Tahoma"/>
            </a:endParaRPr>
          </a:p>
        </p:txBody>
      </p:sp>
      <p:sp>
        <p:nvSpPr>
          <p:cNvPr id="138" name="ZoneTexte 137">
            <a:extLst>
              <a:ext uri="{FF2B5EF4-FFF2-40B4-BE49-F238E27FC236}">
                <a16:creationId xmlns:a16="http://schemas.microsoft.com/office/drawing/2014/main" id="{203F0F4C-DC87-4A97-B4DF-33145FB0A142}"/>
              </a:ext>
            </a:extLst>
          </p:cNvPr>
          <p:cNvSpPr txBox="1"/>
          <p:nvPr/>
        </p:nvSpPr>
        <p:spPr>
          <a:xfrm>
            <a:off x="6199102" y="5396446"/>
            <a:ext cx="3743057" cy="1303610"/>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39" name="ZoneTexte 138">
            <a:extLst>
              <a:ext uri="{FF2B5EF4-FFF2-40B4-BE49-F238E27FC236}">
                <a16:creationId xmlns:a16="http://schemas.microsoft.com/office/drawing/2014/main" id="{E1CE0520-714F-4A34-A8D4-4CC606CAAF6D}"/>
              </a:ext>
            </a:extLst>
          </p:cNvPr>
          <p:cNvSpPr txBox="1"/>
          <p:nvPr/>
        </p:nvSpPr>
        <p:spPr>
          <a:xfrm>
            <a:off x="9913294" y="5538691"/>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rif / reste à charge</a:t>
            </a:r>
          </a:p>
        </p:txBody>
      </p:sp>
      <p:sp>
        <p:nvSpPr>
          <p:cNvPr id="140" name="ZoneTexte 139">
            <a:extLst>
              <a:ext uri="{FF2B5EF4-FFF2-40B4-BE49-F238E27FC236}">
                <a16:creationId xmlns:a16="http://schemas.microsoft.com/office/drawing/2014/main" id="{5FB040D2-156D-48FF-A244-476B2FC24A5B}"/>
              </a:ext>
            </a:extLst>
          </p:cNvPr>
          <p:cNvSpPr txBox="1"/>
          <p:nvPr/>
        </p:nvSpPr>
        <p:spPr>
          <a:xfrm>
            <a:off x="6202258" y="5418163"/>
            <a:ext cx="3776346" cy="1307089"/>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B24669"/>
              </a:buClr>
              <a:buFont typeface="Tahoma" panose="020B0604030504040204" pitchFamily="34" charset="0"/>
              <a:buChar char="⁄"/>
            </a:pPr>
            <a:r>
              <a:rPr lang="fr-FR" sz="1000">
                <a:solidFill>
                  <a:srgbClr val="5F5F5F"/>
                </a:solidFill>
                <a:latin typeface="Tahoma"/>
              </a:rPr>
              <a:t>Accompagnement MS pris en charge par l’Assurance Maladie dans le cas d’un HT</a:t>
            </a:r>
          </a:p>
          <a:p>
            <a:pPr marL="171450" indent="-171450" algn="just">
              <a:lnSpc>
                <a:spcPct val="107000"/>
              </a:lnSpc>
              <a:spcAft>
                <a:spcPts val="300"/>
              </a:spcAft>
              <a:buClr>
                <a:srgbClr val="B24669"/>
              </a:buClr>
              <a:buFont typeface="Tahoma" panose="020B0604030504040204" pitchFamily="34" charset="0"/>
              <a:buChar char="⁄"/>
            </a:pPr>
            <a:r>
              <a:rPr lang="fr-FR" sz="1000">
                <a:solidFill>
                  <a:srgbClr val="5F5F5F"/>
                </a:solidFill>
                <a:latin typeface="Tahoma"/>
              </a:rPr>
              <a:t>Frais d’hébergement à la charge des familles : entre 350 et 800€ (tarif base 7 jours pour un couple aidant / aidé). </a:t>
            </a:r>
          </a:p>
          <a:p>
            <a:pPr marL="171450" indent="-171450" algn="just">
              <a:lnSpc>
                <a:spcPct val="107000"/>
              </a:lnSpc>
              <a:spcAft>
                <a:spcPts val="300"/>
              </a:spcAft>
              <a:buClr>
                <a:srgbClr val="B24669"/>
              </a:buClr>
              <a:buFont typeface="Tahoma" panose="020B0604030504040204" pitchFamily="34" charset="0"/>
              <a:buChar char="⁄"/>
            </a:pPr>
            <a:r>
              <a:rPr lang="fr-FR" sz="1000">
                <a:solidFill>
                  <a:srgbClr val="5F5F5F"/>
                </a:solidFill>
                <a:latin typeface="Tahoma"/>
              </a:rPr>
              <a:t>Nécessité de bénéficier d’une orientation pour bénéficier du séjour (ex : notification d’hébergement temporaire de la MDPH de résidence)</a:t>
            </a:r>
          </a:p>
        </p:txBody>
      </p:sp>
      <p:pic>
        <p:nvPicPr>
          <p:cNvPr id="141" name="Graphique 140" descr="Pièces avec un remplissage uni">
            <a:extLst>
              <a:ext uri="{FF2B5EF4-FFF2-40B4-BE49-F238E27FC236}">
                <a16:creationId xmlns:a16="http://schemas.microsoft.com/office/drawing/2014/main" id="{E4926F3C-5DA6-448B-8646-A3EA4F6F215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271775" y="6053564"/>
            <a:ext cx="457966" cy="457966"/>
          </a:xfrm>
          <a:prstGeom prst="rect">
            <a:avLst/>
          </a:prstGeom>
        </p:spPr>
      </p:pic>
      <p:sp>
        <p:nvSpPr>
          <p:cNvPr id="145" name="ZoneTexte 144">
            <a:extLst>
              <a:ext uri="{FF2B5EF4-FFF2-40B4-BE49-F238E27FC236}">
                <a16:creationId xmlns:a16="http://schemas.microsoft.com/office/drawing/2014/main" id="{F39C336E-5E92-42A8-A824-815B3076E0A1}"/>
              </a:ext>
            </a:extLst>
          </p:cNvPr>
          <p:cNvSpPr txBox="1"/>
          <p:nvPr/>
        </p:nvSpPr>
        <p:spPr>
          <a:xfrm>
            <a:off x="2629593" y="2761810"/>
            <a:ext cx="3376602" cy="875696"/>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46" name="ZoneTexte 145">
            <a:extLst>
              <a:ext uri="{FF2B5EF4-FFF2-40B4-BE49-F238E27FC236}">
                <a16:creationId xmlns:a16="http://schemas.microsoft.com/office/drawing/2014/main" id="{94EE9F06-1A06-46C3-92EB-23EE91D5CC64}"/>
              </a:ext>
            </a:extLst>
          </p:cNvPr>
          <p:cNvSpPr txBox="1"/>
          <p:nvPr/>
        </p:nvSpPr>
        <p:spPr>
          <a:xfrm>
            <a:off x="2633297" y="2741884"/>
            <a:ext cx="3386190" cy="878895"/>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Clientèle individuelle ou séjours d’ESMS</a:t>
            </a:r>
          </a:p>
          <a:p>
            <a:pPr marL="361950" lvl="1" indent="-171450" algn="just">
              <a:lnSpc>
                <a:spcPct val="107000"/>
              </a:lnSpc>
              <a:spcAft>
                <a:spcPts val="300"/>
              </a:spcAft>
              <a:buClr>
                <a:srgbClr val="503078"/>
              </a:buClr>
              <a:buFont typeface="Courier New" panose="02070309020205020404" pitchFamily="49" charset="0"/>
              <a:buChar char="o"/>
            </a:pPr>
            <a:r>
              <a:rPr lang="fr-FR" sz="800">
                <a:solidFill>
                  <a:srgbClr val="5F5F5F"/>
                </a:solidFill>
                <a:latin typeface="Tahoma"/>
              </a:rPr>
              <a:t>1 public de proximité tout au long de l’année + 1 public plus éloigné en haute-saison (TO très variable du fait de la saisonnalité)</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Séjours de 7 à 14 jours en moyenne</a:t>
            </a:r>
          </a:p>
        </p:txBody>
      </p:sp>
      <p:sp>
        <p:nvSpPr>
          <p:cNvPr id="149" name="ZoneTexte 148">
            <a:extLst>
              <a:ext uri="{FF2B5EF4-FFF2-40B4-BE49-F238E27FC236}">
                <a16:creationId xmlns:a16="http://schemas.microsoft.com/office/drawing/2014/main" id="{36848BA0-0674-4A92-8592-0F5E4C1F934A}"/>
              </a:ext>
            </a:extLst>
          </p:cNvPr>
          <p:cNvSpPr txBox="1"/>
          <p:nvPr/>
        </p:nvSpPr>
        <p:spPr>
          <a:xfrm>
            <a:off x="1159059" y="2716204"/>
            <a:ext cx="1579647" cy="261610"/>
          </a:xfrm>
          <a:prstGeom prst="rect">
            <a:avLst/>
          </a:prstGeom>
          <a:noFill/>
          <a:ln>
            <a:noFill/>
          </a:ln>
        </p:spPr>
        <p:txBody>
          <a:bodyPr wrap="square" lIns="108000" rIns="108000" rtlCol="0">
            <a:spAutoFit/>
          </a:bodyPr>
          <a:lstStyle/>
          <a:p>
            <a:pPr algn="ctr"/>
            <a:r>
              <a:rPr lang="fr-FR" sz="1100" b="1">
                <a:solidFill>
                  <a:srgbClr val="B0ADCC"/>
                </a:solidFill>
                <a:latin typeface="Tahoma"/>
              </a:rPr>
              <a:t>Format proposé</a:t>
            </a:r>
          </a:p>
        </p:txBody>
      </p:sp>
      <p:pic>
        <p:nvPicPr>
          <p:cNvPr id="36" name="Graphique 35" descr="Calendrier journalier avec un remplissage uni">
            <a:extLst>
              <a:ext uri="{FF2B5EF4-FFF2-40B4-BE49-F238E27FC236}">
                <a16:creationId xmlns:a16="http://schemas.microsoft.com/office/drawing/2014/main" id="{FF010243-FF8D-4022-9F7F-4CD70362EE8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663728" y="2932602"/>
            <a:ext cx="499013" cy="499013"/>
          </a:xfrm>
          <a:prstGeom prst="rect">
            <a:avLst/>
          </a:prstGeom>
        </p:spPr>
      </p:pic>
    </p:spTree>
    <p:extLst>
      <p:ext uri="{BB962C8B-B14F-4D97-AF65-F5344CB8AC3E}">
        <p14:creationId xmlns:p14="http://schemas.microsoft.com/office/powerpoint/2010/main" val="2881365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ZoneTexte 143">
            <a:extLst>
              <a:ext uri="{FF2B5EF4-FFF2-40B4-BE49-F238E27FC236}">
                <a16:creationId xmlns:a16="http://schemas.microsoft.com/office/drawing/2014/main" id="{AFB19748-CD2D-492F-9430-54C048E8BC7A}"/>
              </a:ext>
            </a:extLst>
          </p:cNvPr>
          <p:cNvSpPr txBox="1"/>
          <p:nvPr/>
        </p:nvSpPr>
        <p:spPr>
          <a:xfrm>
            <a:off x="8840938" y="5822591"/>
            <a:ext cx="2208062" cy="1032036"/>
          </a:xfrm>
          <a:prstGeom prst="rect">
            <a:avLst/>
          </a:prstGeom>
          <a:solidFill>
            <a:schemeClr val="bg1"/>
          </a:solidFill>
          <a:ln>
            <a:noFill/>
          </a:ln>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27" name="ZoneTexte 126">
            <a:extLst>
              <a:ext uri="{FF2B5EF4-FFF2-40B4-BE49-F238E27FC236}">
                <a16:creationId xmlns:a16="http://schemas.microsoft.com/office/drawing/2014/main" id="{CEFC84DD-3DA7-456C-B0D9-1400DB406EC3}"/>
              </a:ext>
            </a:extLst>
          </p:cNvPr>
          <p:cNvSpPr txBox="1"/>
          <p:nvPr/>
        </p:nvSpPr>
        <p:spPr>
          <a:xfrm>
            <a:off x="6206810" y="2769113"/>
            <a:ext cx="3736745" cy="581653"/>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2" name="Titre 1">
            <a:extLst>
              <a:ext uri="{FF2B5EF4-FFF2-40B4-BE49-F238E27FC236}">
                <a16:creationId xmlns:a16="http://schemas.microsoft.com/office/drawing/2014/main" id="{96CCCFB9-E7A4-4FA0-ACFE-13891ADB4576}"/>
              </a:ext>
            </a:extLst>
          </p:cNvPr>
          <p:cNvSpPr>
            <a:spLocks noGrp="1"/>
          </p:cNvSpPr>
          <p:nvPr>
            <p:ph type="title"/>
          </p:nvPr>
        </p:nvSpPr>
        <p:spPr/>
        <p:txBody>
          <a:bodyPr/>
          <a:lstStyle/>
          <a:p>
            <a:r>
              <a:rPr lang="fr-FR" u="sng"/>
              <a:t>Modèle 3</a:t>
            </a:r>
            <a:r>
              <a:rPr lang="fr-FR"/>
              <a:t> : les partenariats entre ESMS</a:t>
            </a:r>
            <a:br>
              <a:rPr lang="fr-FR"/>
            </a:br>
            <a:r>
              <a:rPr lang="fr-FR" sz="1400" i="1"/>
              <a:t>Exemples : expérimentation sur les séjours de répit - CNSA</a:t>
            </a:r>
            <a:endParaRPr lang="fr-FR" sz="2400" i="1"/>
          </a:p>
        </p:txBody>
      </p:sp>
      <p:sp>
        <p:nvSpPr>
          <p:cNvPr id="3" name="Espace réservé du texte 2">
            <a:extLst>
              <a:ext uri="{FF2B5EF4-FFF2-40B4-BE49-F238E27FC236}">
                <a16:creationId xmlns:a16="http://schemas.microsoft.com/office/drawing/2014/main" id="{EA786B65-FD77-46F5-BB58-054675AE6306}"/>
              </a:ext>
            </a:extLst>
          </p:cNvPr>
          <p:cNvSpPr>
            <a:spLocks noGrp="1"/>
          </p:cNvSpPr>
          <p:nvPr>
            <p:ph type="body" sz="quarter" idx="13"/>
          </p:nvPr>
        </p:nvSpPr>
        <p:spPr/>
        <p:txBody>
          <a:bodyPr/>
          <a:lstStyle/>
          <a:p>
            <a:r>
              <a:rPr lang="fr-FR"/>
              <a:t>Etat des lieux </a:t>
            </a:r>
            <a:r>
              <a:rPr lang="fr-FR">
                <a:solidFill>
                  <a:srgbClr val="938481"/>
                </a:solidFill>
              </a:rPr>
              <a:t>des modèles existants</a:t>
            </a:r>
            <a:endParaRPr lang="fr-FR"/>
          </a:p>
        </p:txBody>
      </p:sp>
      <p:sp>
        <p:nvSpPr>
          <p:cNvPr id="6" name="Arrondir un rectangle avec un coin diagonal 25">
            <a:extLst>
              <a:ext uri="{FF2B5EF4-FFF2-40B4-BE49-F238E27FC236}">
                <a16:creationId xmlns:a16="http://schemas.microsoft.com/office/drawing/2014/main" id="{061EFCEE-43E5-4789-ADA4-A849A8D0D109}"/>
              </a:ext>
            </a:extLst>
          </p:cNvPr>
          <p:cNvSpPr>
            <a:spLocks/>
          </p:cNvSpPr>
          <p:nvPr/>
        </p:nvSpPr>
        <p:spPr bwMode="gray">
          <a:xfrm>
            <a:off x="4235936" y="1016760"/>
            <a:ext cx="6736202" cy="1295977"/>
          </a:xfrm>
          <a:prstGeom prst="round2DiagRect">
            <a:avLst>
              <a:gd name="adj1" fmla="val 0"/>
              <a:gd name="adj2" fmla="val 11610"/>
            </a:avLst>
          </a:prstGeom>
          <a:solidFill>
            <a:schemeClr val="bg1"/>
          </a:solidFill>
          <a:ln w="19050" cap="flat" cmpd="sng" algn="ctr">
            <a:solidFill>
              <a:schemeClr val="bg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00" tIns="58500" rIns="58500" bIns="58500" numCol="1" spcCol="0" rtlCol="0" fromWordArt="0" anchor="t" anchorCtr="0" forceAA="0" compatLnSpc="1">
            <a:prstTxWarp prst="textNoShape">
              <a:avLst/>
            </a:prstTxWarp>
            <a:noAutofit/>
          </a:bodyPr>
          <a:lstStyle/>
          <a:p>
            <a:pPr algn="just">
              <a:defRPr/>
            </a:pPr>
            <a:r>
              <a:rPr lang="fr-FR" sz="1056">
                <a:solidFill>
                  <a:srgbClr val="667E76"/>
                </a:solidFill>
                <a:latin typeface="Arial"/>
                <a:ea typeface="Meiryo UI"/>
                <a:cs typeface="Arial"/>
              </a:rPr>
              <a:t>. </a:t>
            </a:r>
          </a:p>
        </p:txBody>
      </p:sp>
      <p:sp>
        <p:nvSpPr>
          <p:cNvPr id="46" name="ZoneTexte 45">
            <a:extLst>
              <a:ext uri="{FF2B5EF4-FFF2-40B4-BE49-F238E27FC236}">
                <a16:creationId xmlns:a16="http://schemas.microsoft.com/office/drawing/2014/main" id="{18D377A5-89B7-42C6-AC56-9BCE010E429D}"/>
              </a:ext>
            </a:extLst>
          </p:cNvPr>
          <p:cNvSpPr txBox="1"/>
          <p:nvPr/>
        </p:nvSpPr>
        <p:spPr>
          <a:xfrm>
            <a:off x="4235936" y="1039547"/>
            <a:ext cx="2344061" cy="446276"/>
          </a:xfrm>
          <a:prstGeom prst="rect">
            <a:avLst/>
          </a:prstGeom>
          <a:noFill/>
          <a:ln>
            <a:noFill/>
          </a:ln>
        </p:spPr>
        <p:txBody>
          <a:bodyPr wrap="square" lIns="108000" rIns="108000" rtlCol="0">
            <a:spAutoFit/>
          </a:bodyPr>
          <a:lstStyle/>
          <a:p>
            <a:r>
              <a:rPr lang="fr-FR" sz="1100" b="1">
                <a:solidFill>
                  <a:srgbClr val="503078"/>
                </a:solidFill>
                <a:latin typeface="Tahoma"/>
              </a:rPr>
              <a:t>Description</a:t>
            </a:r>
          </a:p>
          <a:p>
            <a:pPr marL="171450" indent="-171450">
              <a:buFontTx/>
              <a:buChar char="-"/>
            </a:pPr>
            <a:endParaRPr lang="fr-FR" sz="1200">
              <a:solidFill>
                <a:srgbClr val="5F5F5F"/>
              </a:solidFill>
              <a:latin typeface="Tahoma"/>
            </a:endParaRPr>
          </a:p>
        </p:txBody>
      </p:sp>
      <p:sp>
        <p:nvSpPr>
          <p:cNvPr id="47" name="ZoneTexte 46">
            <a:extLst>
              <a:ext uri="{FF2B5EF4-FFF2-40B4-BE49-F238E27FC236}">
                <a16:creationId xmlns:a16="http://schemas.microsoft.com/office/drawing/2014/main" id="{34503B7E-030F-498B-9EC4-D99CB7FB14CF}"/>
              </a:ext>
            </a:extLst>
          </p:cNvPr>
          <p:cNvSpPr txBox="1"/>
          <p:nvPr/>
        </p:nvSpPr>
        <p:spPr>
          <a:xfrm>
            <a:off x="4243955" y="1238618"/>
            <a:ext cx="6767044" cy="1061829"/>
          </a:xfrm>
          <a:prstGeom prst="rect">
            <a:avLst/>
          </a:prstGeom>
          <a:noFill/>
          <a:ln>
            <a:noFill/>
          </a:ln>
        </p:spPr>
        <p:txBody>
          <a:bodyPr wrap="square" lIns="108000" rIns="108000" rtlCol="0">
            <a:spAutoFit/>
          </a:bodyPr>
          <a:lstStyle/>
          <a:p>
            <a:pPr algn="just"/>
            <a:r>
              <a:rPr lang="fr-FR" sz="1050">
                <a:solidFill>
                  <a:srgbClr val="5F5F5F"/>
                </a:solidFill>
                <a:latin typeface="Tahoma"/>
              </a:rPr>
              <a:t>Ce modèle, centré sur la </a:t>
            </a:r>
            <a:r>
              <a:rPr lang="fr-FR" sz="1050" b="1">
                <a:solidFill>
                  <a:srgbClr val="5F5F5F"/>
                </a:solidFill>
                <a:latin typeface="Tahoma"/>
              </a:rPr>
              <a:t>coopération entre ESMS</a:t>
            </a:r>
            <a:r>
              <a:rPr lang="fr-FR" sz="1050">
                <a:solidFill>
                  <a:srgbClr val="5F5F5F"/>
                </a:solidFill>
                <a:latin typeface="Tahoma"/>
              </a:rPr>
              <a:t>, vise à permettre l’organisation de séjours courts via des conventionnements entre structures. A mi-chemin entre le séjour de répit et le séjour de rupture, cette modalité permettrait aux personnes accueillies en établissement de bénéficier d’un temps de repos au sein d’une autre structure, accompagné de leurs aidants. Bien que le modèle soit immature à ce stade (peu de retours d’expérience disponibles), la DGCS souhaiterait pouvoir le creuser afin de permettre d’offrir des séjours de répit une logique de mutualisation des coûts et d’optimisation des places d’AT/HT. </a:t>
            </a:r>
          </a:p>
        </p:txBody>
      </p:sp>
      <p:pic>
        <p:nvPicPr>
          <p:cNvPr id="54" name="Graphique 53" descr="Utilisateur">
            <a:extLst>
              <a:ext uri="{FF2B5EF4-FFF2-40B4-BE49-F238E27FC236}">
                <a16:creationId xmlns:a16="http://schemas.microsoft.com/office/drawing/2014/main" id="{228586C0-7A09-473D-93FB-1578FD334E9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20085" y="1017405"/>
            <a:ext cx="343642" cy="343642"/>
          </a:xfrm>
          <a:prstGeom prst="rect">
            <a:avLst/>
          </a:prstGeom>
        </p:spPr>
      </p:pic>
      <p:sp>
        <p:nvSpPr>
          <p:cNvPr id="55" name="ZoneTexte 54">
            <a:extLst>
              <a:ext uri="{FF2B5EF4-FFF2-40B4-BE49-F238E27FC236}">
                <a16:creationId xmlns:a16="http://schemas.microsoft.com/office/drawing/2014/main" id="{D3C161D8-296E-4FAC-8245-FD6DF3FF06AC}"/>
              </a:ext>
            </a:extLst>
          </p:cNvPr>
          <p:cNvSpPr txBox="1"/>
          <p:nvPr/>
        </p:nvSpPr>
        <p:spPr>
          <a:xfrm>
            <a:off x="1694248" y="1081572"/>
            <a:ext cx="2344061" cy="446276"/>
          </a:xfrm>
          <a:prstGeom prst="rect">
            <a:avLst/>
          </a:prstGeom>
          <a:noFill/>
          <a:ln>
            <a:noFill/>
          </a:ln>
        </p:spPr>
        <p:txBody>
          <a:bodyPr wrap="square" lIns="108000" rIns="108000" rtlCol="0">
            <a:spAutoFit/>
          </a:bodyPr>
          <a:lstStyle/>
          <a:p>
            <a:r>
              <a:rPr lang="fr-FR" sz="1100" b="1">
                <a:solidFill>
                  <a:srgbClr val="503078"/>
                </a:solidFill>
                <a:latin typeface="Tahoma"/>
              </a:rPr>
              <a:t>Porteurs de projet</a:t>
            </a:r>
          </a:p>
          <a:p>
            <a:pPr marL="171450" indent="-171450">
              <a:buFontTx/>
              <a:buChar char="-"/>
            </a:pPr>
            <a:endParaRPr lang="fr-FR" sz="1200">
              <a:solidFill>
                <a:srgbClr val="5F5F5F"/>
              </a:solidFill>
              <a:latin typeface="Tahoma"/>
            </a:endParaRPr>
          </a:p>
        </p:txBody>
      </p:sp>
      <p:sp>
        <p:nvSpPr>
          <p:cNvPr id="65" name="ZoneTexte 64">
            <a:extLst>
              <a:ext uri="{FF2B5EF4-FFF2-40B4-BE49-F238E27FC236}">
                <a16:creationId xmlns:a16="http://schemas.microsoft.com/office/drawing/2014/main" id="{94AAD809-0587-485B-884D-3279EC754ABF}"/>
              </a:ext>
            </a:extLst>
          </p:cNvPr>
          <p:cNvSpPr txBox="1"/>
          <p:nvPr/>
        </p:nvSpPr>
        <p:spPr>
          <a:xfrm>
            <a:off x="1245845" y="1319893"/>
            <a:ext cx="2882170" cy="246221"/>
          </a:xfrm>
          <a:prstGeom prst="rect">
            <a:avLst/>
          </a:prstGeom>
          <a:noFill/>
          <a:ln>
            <a:noFill/>
          </a:ln>
        </p:spPr>
        <p:txBody>
          <a:bodyPr wrap="square" lIns="108000" rIns="108000" rtlCol="0">
            <a:spAutoFit/>
          </a:bodyPr>
          <a:lstStyle/>
          <a:p>
            <a:pPr algn="just"/>
            <a:r>
              <a:rPr lang="fr-FR" sz="1000">
                <a:solidFill>
                  <a:srgbClr val="5F5F5F"/>
                </a:solidFill>
                <a:latin typeface="Tahoma"/>
              </a:rPr>
              <a:t>ESMS</a:t>
            </a:r>
          </a:p>
        </p:txBody>
      </p:sp>
      <p:pic>
        <p:nvPicPr>
          <p:cNvPr id="66" name="Graphique 65" descr="Hôpital">
            <a:extLst>
              <a:ext uri="{FF2B5EF4-FFF2-40B4-BE49-F238E27FC236}">
                <a16:creationId xmlns:a16="http://schemas.microsoft.com/office/drawing/2014/main" id="{2B90C41F-0983-45DD-AE2D-80388EC642D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48092" y="1718040"/>
            <a:ext cx="377667" cy="377667"/>
          </a:xfrm>
          <a:prstGeom prst="rect">
            <a:avLst/>
          </a:prstGeom>
        </p:spPr>
      </p:pic>
      <p:sp>
        <p:nvSpPr>
          <p:cNvPr id="69" name="ZoneTexte 68">
            <a:extLst>
              <a:ext uri="{FF2B5EF4-FFF2-40B4-BE49-F238E27FC236}">
                <a16:creationId xmlns:a16="http://schemas.microsoft.com/office/drawing/2014/main" id="{70CE0E81-77B9-4360-A4D4-5A33800BC3DE}"/>
              </a:ext>
            </a:extLst>
          </p:cNvPr>
          <p:cNvSpPr txBox="1"/>
          <p:nvPr/>
        </p:nvSpPr>
        <p:spPr>
          <a:xfrm>
            <a:off x="1294582" y="2042089"/>
            <a:ext cx="2912986" cy="242182"/>
          </a:xfrm>
          <a:prstGeom prst="rect">
            <a:avLst/>
          </a:prstGeom>
          <a:noFill/>
          <a:ln>
            <a:noFill/>
          </a:ln>
        </p:spPr>
        <p:txBody>
          <a:bodyPr wrap="square" lIns="108000" rIns="108000" rtlCol="0">
            <a:spAutoFit/>
          </a:bodyPr>
          <a:lstStyle/>
          <a:p>
            <a:pPr>
              <a:lnSpc>
                <a:spcPct val="107000"/>
              </a:lnSpc>
              <a:spcAft>
                <a:spcPts val="800"/>
              </a:spcAft>
              <a:buClr>
                <a:srgbClr val="503078"/>
              </a:buClr>
            </a:pPr>
            <a:r>
              <a:rPr lang="fr-FR" sz="1000">
                <a:solidFill>
                  <a:srgbClr val="5F5F5F"/>
                </a:solidFill>
                <a:latin typeface="Tahoma"/>
              </a:rPr>
              <a:t>ESMS </a:t>
            </a:r>
          </a:p>
        </p:txBody>
      </p:sp>
      <p:sp>
        <p:nvSpPr>
          <p:cNvPr id="70" name="Rectangle 69">
            <a:extLst>
              <a:ext uri="{FF2B5EF4-FFF2-40B4-BE49-F238E27FC236}">
                <a16:creationId xmlns:a16="http://schemas.microsoft.com/office/drawing/2014/main" id="{4137CF04-1CD5-4A25-B667-2983605E4590}"/>
              </a:ext>
            </a:extLst>
          </p:cNvPr>
          <p:cNvSpPr/>
          <p:nvPr/>
        </p:nvSpPr>
        <p:spPr>
          <a:xfrm>
            <a:off x="1250838" y="1009217"/>
            <a:ext cx="2877177" cy="1303520"/>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1" name="ZoneTexte 70">
            <a:extLst>
              <a:ext uri="{FF2B5EF4-FFF2-40B4-BE49-F238E27FC236}">
                <a16:creationId xmlns:a16="http://schemas.microsoft.com/office/drawing/2014/main" id="{68D5A3E5-0FE1-4B1F-BFF8-4DFBC8778AA0}"/>
              </a:ext>
            </a:extLst>
          </p:cNvPr>
          <p:cNvSpPr txBox="1"/>
          <p:nvPr/>
        </p:nvSpPr>
        <p:spPr>
          <a:xfrm>
            <a:off x="1725759" y="1813960"/>
            <a:ext cx="2344061" cy="446276"/>
          </a:xfrm>
          <a:prstGeom prst="rect">
            <a:avLst/>
          </a:prstGeom>
          <a:noFill/>
          <a:ln>
            <a:noFill/>
          </a:ln>
        </p:spPr>
        <p:txBody>
          <a:bodyPr wrap="square" lIns="108000" rIns="108000" rtlCol="0">
            <a:spAutoFit/>
          </a:bodyPr>
          <a:lstStyle/>
          <a:p>
            <a:r>
              <a:rPr lang="fr-FR" sz="1100" b="1">
                <a:solidFill>
                  <a:srgbClr val="503078"/>
                </a:solidFill>
                <a:latin typeface="Tahoma"/>
              </a:rPr>
              <a:t>Typologies de structures</a:t>
            </a:r>
          </a:p>
          <a:p>
            <a:pPr marL="171450" indent="-171450">
              <a:buFontTx/>
              <a:buChar char="-"/>
            </a:pPr>
            <a:endParaRPr lang="fr-FR" sz="1200">
              <a:solidFill>
                <a:srgbClr val="5F5F5F"/>
              </a:solidFill>
              <a:latin typeface="Tahoma"/>
            </a:endParaRPr>
          </a:p>
        </p:txBody>
      </p:sp>
      <p:pic>
        <p:nvPicPr>
          <p:cNvPr id="104" name="Graphique 103" descr="Dormir avec un remplissage uni">
            <a:extLst>
              <a:ext uri="{FF2B5EF4-FFF2-40B4-BE49-F238E27FC236}">
                <a16:creationId xmlns:a16="http://schemas.microsoft.com/office/drawing/2014/main" id="{CFCC8457-1FA1-4BFE-8EFC-B2EDD39948B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58165" y="4198143"/>
            <a:ext cx="565198" cy="565198"/>
          </a:xfrm>
          <a:prstGeom prst="rect">
            <a:avLst/>
          </a:prstGeom>
        </p:spPr>
      </p:pic>
      <p:sp>
        <p:nvSpPr>
          <p:cNvPr id="105" name="ZoneTexte 104">
            <a:extLst>
              <a:ext uri="{FF2B5EF4-FFF2-40B4-BE49-F238E27FC236}">
                <a16:creationId xmlns:a16="http://schemas.microsoft.com/office/drawing/2014/main" id="{5530E235-EACE-4D1E-A19A-91A603CD04B6}"/>
              </a:ext>
            </a:extLst>
          </p:cNvPr>
          <p:cNvSpPr txBox="1"/>
          <p:nvPr/>
        </p:nvSpPr>
        <p:spPr>
          <a:xfrm>
            <a:off x="2631086" y="4013715"/>
            <a:ext cx="3376602" cy="1086142"/>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8" name="ZoneTexte 117">
            <a:extLst>
              <a:ext uri="{FF2B5EF4-FFF2-40B4-BE49-F238E27FC236}">
                <a16:creationId xmlns:a16="http://schemas.microsoft.com/office/drawing/2014/main" id="{83B608BB-5CE4-48D8-B3A6-2AEC82163C79}"/>
              </a:ext>
            </a:extLst>
          </p:cNvPr>
          <p:cNvSpPr txBox="1"/>
          <p:nvPr/>
        </p:nvSpPr>
        <p:spPr>
          <a:xfrm>
            <a:off x="2626094" y="4060245"/>
            <a:ext cx="3196865" cy="977768"/>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Hébergement au sein de l’ESM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Restauration au sein de l’ESM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ctivités à organiser par l’ESMS ou en partenariat avec des acteurs du tourisme / de l’animation sur le territoire d’accueil</a:t>
            </a:r>
          </a:p>
        </p:txBody>
      </p:sp>
      <p:sp>
        <p:nvSpPr>
          <p:cNvPr id="119" name="ZoneTexte 118">
            <a:extLst>
              <a:ext uri="{FF2B5EF4-FFF2-40B4-BE49-F238E27FC236}">
                <a16:creationId xmlns:a16="http://schemas.microsoft.com/office/drawing/2014/main" id="{A092B18B-1E2B-4620-892D-A126FD6884E8}"/>
              </a:ext>
            </a:extLst>
          </p:cNvPr>
          <p:cNvSpPr txBox="1"/>
          <p:nvPr/>
        </p:nvSpPr>
        <p:spPr>
          <a:xfrm>
            <a:off x="1238117" y="3823393"/>
            <a:ext cx="1387976" cy="430887"/>
          </a:xfrm>
          <a:prstGeom prst="rect">
            <a:avLst/>
          </a:prstGeom>
          <a:noFill/>
          <a:ln>
            <a:noFill/>
          </a:ln>
        </p:spPr>
        <p:txBody>
          <a:bodyPr wrap="square" lIns="108000" rIns="108000" rtlCol="0">
            <a:spAutoFit/>
          </a:bodyPr>
          <a:lstStyle/>
          <a:p>
            <a:pPr algn="ctr"/>
            <a:r>
              <a:rPr lang="fr-FR" sz="1100" b="1">
                <a:solidFill>
                  <a:srgbClr val="B0ADCC"/>
                </a:solidFill>
                <a:latin typeface="Tahoma"/>
              </a:rPr>
              <a:t>Services </a:t>
            </a:r>
          </a:p>
          <a:p>
            <a:pPr algn="ctr"/>
            <a:r>
              <a:rPr lang="fr-FR" sz="1100" b="1">
                <a:solidFill>
                  <a:srgbClr val="B0ADCC"/>
                </a:solidFill>
                <a:latin typeface="Tahoma"/>
              </a:rPr>
              <a:t>hôteliers </a:t>
            </a:r>
          </a:p>
        </p:txBody>
      </p:sp>
      <p:pic>
        <p:nvPicPr>
          <p:cNvPr id="120" name="Graphique 119" descr="Trousse de premiers secours avec un remplissage uni">
            <a:extLst>
              <a:ext uri="{FF2B5EF4-FFF2-40B4-BE49-F238E27FC236}">
                <a16:creationId xmlns:a16="http://schemas.microsoft.com/office/drawing/2014/main" id="{EEC174F1-7ECF-4F27-94E2-35C2087886C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52452" y="5842536"/>
            <a:ext cx="557136" cy="557136"/>
          </a:xfrm>
          <a:prstGeom prst="rect">
            <a:avLst/>
          </a:prstGeom>
        </p:spPr>
      </p:pic>
      <p:sp>
        <p:nvSpPr>
          <p:cNvPr id="121" name="ZoneTexte 120">
            <a:extLst>
              <a:ext uri="{FF2B5EF4-FFF2-40B4-BE49-F238E27FC236}">
                <a16:creationId xmlns:a16="http://schemas.microsoft.com/office/drawing/2014/main" id="{EEC21117-E598-4AE6-8E31-D9EDF425B6F9}"/>
              </a:ext>
            </a:extLst>
          </p:cNvPr>
          <p:cNvSpPr txBox="1"/>
          <p:nvPr/>
        </p:nvSpPr>
        <p:spPr>
          <a:xfrm>
            <a:off x="1059166" y="5448752"/>
            <a:ext cx="1743708" cy="615553"/>
          </a:xfrm>
          <a:prstGeom prst="rect">
            <a:avLst/>
          </a:prstGeom>
          <a:noFill/>
          <a:ln>
            <a:noFill/>
          </a:ln>
        </p:spPr>
        <p:txBody>
          <a:bodyPr wrap="square" lIns="108000" rIns="108000" rtlCol="0">
            <a:spAutoFit/>
          </a:bodyPr>
          <a:lstStyle/>
          <a:p>
            <a:pPr algn="ctr"/>
            <a:r>
              <a:rPr lang="fr-FR" sz="1100" b="1">
                <a:solidFill>
                  <a:srgbClr val="B0ADCC"/>
                </a:solidFill>
                <a:latin typeface="Tahoma"/>
              </a:rPr>
              <a:t>Accompagnement médico-social</a:t>
            </a:r>
          </a:p>
          <a:p>
            <a:pPr marL="171450" indent="-171450" algn="ctr">
              <a:buFontTx/>
              <a:buChar char="-"/>
            </a:pPr>
            <a:endParaRPr lang="fr-FR" sz="1200">
              <a:solidFill>
                <a:srgbClr val="B0ADCC"/>
              </a:solidFill>
              <a:latin typeface="Tahoma"/>
            </a:endParaRPr>
          </a:p>
        </p:txBody>
      </p:sp>
      <p:sp>
        <p:nvSpPr>
          <p:cNvPr id="122" name="ZoneTexte 121">
            <a:extLst>
              <a:ext uri="{FF2B5EF4-FFF2-40B4-BE49-F238E27FC236}">
                <a16:creationId xmlns:a16="http://schemas.microsoft.com/office/drawing/2014/main" id="{47F030E3-9D4B-4BE0-B1B5-8CBA4920E546}"/>
              </a:ext>
            </a:extLst>
          </p:cNvPr>
          <p:cNvSpPr txBox="1"/>
          <p:nvPr/>
        </p:nvSpPr>
        <p:spPr>
          <a:xfrm>
            <a:off x="2629593" y="5173869"/>
            <a:ext cx="3376602" cy="1499788"/>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23" name="ZoneTexte 122">
            <a:extLst>
              <a:ext uri="{FF2B5EF4-FFF2-40B4-BE49-F238E27FC236}">
                <a16:creationId xmlns:a16="http://schemas.microsoft.com/office/drawing/2014/main" id="{08123405-30D6-419F-A7FE-8F6BB6D03299}"/>
              </a:ext>
            </a:extLst>
          </p:cNvPr>
          <p:cNvSpPr txBox="1"/>
          <p:nvPr/>
        </p:nvSpPr>
        <p:spPr>
          <a:xfrm>
            <a:off x="2630015" y="5190753"/>
            <a:ext cx="3445559" cy="1471750"/>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nvironnement médicalisé bénéficiant de l’ensemble des équipements nécessaires à la prise en charge médico-sociale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résence d’une équipe soignante qualifiée (équipe mobile de l’ESMS d’origine ou équipe de l’ESMS d’accueil)</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ccompagnement psychologique pouvant être proposé à l’aidant </a:t>
            </a:r>
          </a:p>
        </p:txBody>
      </p:sp>
      <p:pic>
        <p:nvPicPr>
          <p:cNvPr id="124" name="Graphique 123" descr="Logement avec un remplissage uni">
            <a:extLst>
              <a:ext uri="{FF2B5EF4-FFF2-40B4-BE49-F238E27FC236}">
                <a16:creationId xmlns:a16="http://schemas.microsoft.com/office/drawing/2014/main" id="{FFD5C5EB-80DC-4244-8247-067BD4BC7FF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29078" y="2903045"/>
            <a:ext cx="447721" cy="447721"/>
          </a:xfrm>
          <a:prstGeom prst="rect">
            <a:avLst/>
          </a:prstGeom>
        </p:spPr>
      </p:pic>
      <p:sp>
        <p:nvSpPr>
          <p:cNvPr id="125" name="ZoneTexte 124">
            <a:extLst>
              <a:ext uri="{FF2B5EF4-FFF2-40B4-BE49-F238E27FC236}">
                <a16:creationId xmlns:a16="http://schemas.microsoft.com/office/drawing/2014/main" id="{608F55B6-176A-4760-81A4-45CF76F13ABA}"/>
              </a:ext>
            </a:extLst>
          </p:cNvPr>
          <p:cNvSpPr txBox="1"/>
          <p:nvPr/>
        </p:nvSpPr>
        <p:spPr>
          <a:xfrm>
            <a:off x="9861365" y="2753166"/>
            <a:ext cx="1244543" cy="446276"/>
          </a:xfrm>
          <a:prstGeom prst="rect">
            <a:avLst/>
          </a:prstGeom>
          <a:noFill/>
          <a:ln>
            <a:noFill/>
          </a:ln>
        </p:spPr>
        <p:txBody>
          <a:bodyPr wrap="square" lIns="108000" rIns="108000" rtlCol="0">
            <a:spAutoFit/>
          </a:bodyPr>
          <a:lstStyle/>
          <a:p>
            <a:pPr algn="ctr"/>
            <a:r>
              <a:rPr lang="fr-FR" sz="1100" b="1">
                <a:solidFill>
                  <a:srgbClr val="B24669"/>
                </a:solidFill>
                <a:latin typeface="Tahoma"/>
              </a:rPr>
              <a:t>Immobilier</a:t>
            </a:r>
          </a:p>
          <a:p>
            <a:pPr marL="171450" indent="-171450" algn="ctr">
              <a:buFontTx/>
              <a:buChar char="-"/>
            </a:pPr>
            <a:endParaRPr lang="fr-FR" sz="1200">
              <a:solidFill>
                <a:srgbClr val="B24669"/>
              </a:solidFill>
              <a:latin typeface="Tahoma"/>
            </a:endParaRPr>
          </a:p>
        </p:txBody>
      </p:sp>
      <p:sp>
        <p:nvSpPr>
          <p:cNvPr id="126" name="ZoneTexte 125">
            <a:extLst>
              <a:ext uri="{FF2B5EF4-FFF2-40B4-BE49-F238E27FC236}">
                <a16:creationId xmlns:a16="http://schemas.microsoft.com/office/drawing/2014/main" id="{190D1359-556D-4886-AD84-D57EA38DA3A8}"/>
              </a:ext>
            </a:extLst>
          </p:cNvPr>
          <p:cNvSpPr txBox="1"/>
          <p:nvPr/>
        </p:nvSpPr>
        <p:spPr>
          <a:xfrm>
            <a:off x="6220795" y="2757909"/>
            <a:ext cx="3588566" cy="571503"/>
          </a:xfrm>
          <a:prstGeom prst="rect">
            <a:avLst/>
          </a:prstGeom>
          <a:noFill/>
          <a:ln>
            <a:noFill/>
          </a:ln>
        </p:spPr>
        <p:txBody>
          <a:bodyPr wrap="square" lIns="108000" rIns="108000" rtlCol="0">
            <a:spAutoFit/>
          </a:bodyPr>
          <a:lstStyle/>
          <a:p>
            <a:pPr marL="171450" indent="-171450" algn="just">
              <a:lnSpc>
                <a:spcPct val="107000"/>
              </a:lnSpc>
              <a:spcAft>
                <a:spcPts val="800"/>
              </a:spcAft>
              <a:buClr>
                <a:srgbClr val="B24669"/>
              </a:buClr>
              <a:buFont typeface="Tahoma" panose="020B0604030504040204" pitchFamily="34" charset="0"/>
              <a:buChar char="⁄"/>
            </a:pPr>
            <a:r>
              <a:rPr lang="fr-FR" sz="1000">
                <a:solidFill>
                  <a:srgbClr val="5F5F5F"/>
                </a:solidFill>
                <a:latin typeface="Tahoma"/>
              </a:rPr>
              <a:t>Repositionnement temporaire de structures existantes – aucun investissement immobilier, pas de rénovations ou d’achat d’équipement nécessaires </a:t>
            </a:r>
          </a:p>
        </p:txBody>
      </p:sp>
      <p:sp>
        <p:nvSpPr>
          <p:cNvPr id="129" name="Rectangle 128">
            <a:extLst>
              <a:ext uri="{FF2B5EF4-FFF2-40B4-BE49-F238E27FC236}">
                <a16:creationId xmlns:a16="http://schemas.microsoft.com/office/drawing/2014/main" id="{68ECC4B7-589A-4FBC-9D64-943EC531FB39}"/>
              </a:ext>
            </a:extLst>
          </p:cNvPr>
          <p:cNvSpPr/>
          <p:nvPr/>
        </p:nvSpPr>
        <p:spPr>
          <a:xfrm>
            <a:off x="1239832" y="2405595"/>
            <a:ext cx="4825165" cy="4346526"/>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30" name="ZoneTexte 129">
            <a:extLst>
              <a:ext uri="{FF2B5EF4-FFF2-40B4-BE49-F238E27FC236}">
                <a16:creationId xmlns:a16="http://schemas.microsoft.com/office/drawing/2014/main" id="{A12268C6-8012-4CF2-9630-A77E2DD20979}"/>
              </a:ext>
            </a:extLst>
          </p:cNvPr>
          <p:cNvSpPr txBox="1"/>
          <p:nvPr/>
        </p:nvSpPr>
        <p:spPr>
          <a:xfrm>
            <a:off x="1237274" y="2394442"/>
            <a:ext cx="4827723" cy="276999"/>
          </a:xfrm>
          <a:prstGeom prst="rect">
            <a:avLst/>
          </a:prstGeom>
          <a:solidFill>
            <a:srgbClr val="B0ADCC"/>
          </a:solidFill>
          <a:ln>
            <a:noFill/>
          </a:ln>
        </p:spPr>
        <p:txBody>
          <a:bodyPr wrap="square" lIns="108000" rIns="108000" rtlCol="0">
            <a:spAutoFit/>
          </a:bodyPr>
          <a:lstStyle/>
          <a:p>
            <a:pPr algn="ctr"/>
            <a:r>
              <a:rPr lang="fr-FR" sz="1200" b="1" cap="small">
                <a:solidFill>
                  <a:srgbClr val="FFFFFF"/>
                </a:solidFill>
                <a:latin typeface="Tahoma"/>
              </a:rPr>
              <a:t>Modèle opérationnel </a:t>
            </a:r>
          </a:p>
        </p:txBody>
      </p:sp>
      <p:sp>
        <p:nvSpPr>
          <p:cNvPr id="131" name="Rectangle 130">
            <a:extLst>
              <a:ext uri="{FF2B5EF4-FFF2-40B4-BE49-F238E27FC236}">
                <a16:creationId xmlns:a16="http://schemas.microsoft.com/office/drawing/2014/main" id="{34E6F194-7EE3-4C6A-8871-0DDC911DEBC6}"/>
              </a:ext>
            </a:extLst>
          </p:cNvPr>
          <p:cNvSpPr/>
          <p:nvPr/>
        </p:nvSpPr>
        <p:spPr>
          <a:xfrm>
            <a:off x="6134376" y="2403923"/>
            <a:ext cx="4825165" cy="4346525"/>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32" name="ZoneTexte 131">
            <a:extLst>
              <a:ext uri="{FF2B5EF4-FFF2-40B4-BE49-F238E27FC236}">
                <a16:creationId xmlns:a16="http://schemas.microsoft.com/office/drawing/2014/main" id="{5756AF4C-3CBB-4531-BDCA-612B2428D28A}"/>
              </a:ext>
            </a:extLst>
          </p:cNvPr>
          <p:cNvSpPr txBox="1"/>
          <p:nvPr/>
        </p:nvSpPr>
        <p:spPr>
          <a:xfrm>
            <a:off x="6131022" y="2396913"/>
            <a:ext cx="4831871" cy="286555"/>
          </a:xfrm>
          <a:prstGeom prst="rect">
            <a:avLst/>
          </a:prstGeom>
          <a:solidFill>
            <a:srgbClr val="B24669"/>
          </a:solidFill>
          <a:ln>
            <a:noFill/>
          </a:ln>
        </p:spPr>
        <p:txBody>
          <a:bodyPr wrap="square" lIns="108000" rIns="108000" rtlCol="0">
            <a:spAutoFit/>
          </a:bodyPr>
          <a:lstStyle/>
          <a:p>
            <a:pPr algn="ctr"/>
            <a:r>
              <a:rPr lang="fr-FR" sz="1200" b="1" cap="small">
                <a:solidFill>
                  <a:srgbClr val="FFFFFF"/>
                </a:solidFill>
                <a:latin typeface="Tahoma"/>
              </a:rPr>
              <a:t>Modèle économique</a:t>
            </a:r>
          </a:p>
        </p:txBody>
      </p:sp>
      <p:sp>
        <p:nvSpPr>
          <p:cNvPr id="133" name="ZoneTexte 132">
            <a:extLst>
              <a:ext uri="{FF2B5EF4-FFF2-40B4-BE49-F238E27FC236}">
                <a16:creationId xmlns:a16="http://schemas.microsoft.com/office/drawing/2014/main" id="{88C21860-516B-440D-8738-B2603CFD5147}"/>
              </a:ext>
            </a:extLst>
          </p:cNvPr>
          <p:cNvSpPr txBox="1"/>
          <p:nvPr/>
        </p:nvSpPr>
        <p:spPr>
          <a:xfrm>
            <a:off x="9979500" y="3797829"/>
            <a:ext cx="998185"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Frais de </a:t>
            </a:r>
            <a:r>
              <a:rPr lang="fr-FR" sz="1100" b="1" err="1">
                <a:solidFill>
                  <a:srgbClr val="B24669"/>
                </a:solidFill>
                <a:latin typeface="Tahoma"/>
              </a:rPr>
              <a:t>fonct</a:t>
            </a:r>
            <a:r>
              <a:rPr lang="fr-FR" sz="1100" b="1">
                <a:solidFill>
                  <a:srgbClr val="B24669"/>
                </a:solidFill>
                <a:latin typeface="Tahoma"/>
              </a:rPr>
              <a:t>.</a:t>
            </a:r>
          </a:p>
        </p:txBody>
      </p:sp>
      <p:pic>
        <p:nvPicPr>
          <p:cNvPr id="134" name="Graphique 133" descr="Tirelire avec un remplissage uni">
            <a:extLst>
              <a:ext uri="{FF2B5EF4-FFF2-40B4-BE49-F238E27FC236}">
                <a16:creationId xmlns:a16="http://schemas.microsoft.com/office/drawing/2014/main" id="{568188EC-5330-4B4D-8263-9BC1F4CED44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250420" y="4253468"/>
            <a:ext cx="514426" cy="514426"/>
          </a:xfrm>
          <a:prstGeom prst="rect">
            <a:avLst/>
          </a:prstGeom>
        </p:spPr>
      </p:pic>
      <p:sp>
        <p:nvSpPr>
          <p:cNvPr id="136" name="ZoneTexte 135">
            <a:extLst>
              <a:ext uri="{FF2B5EF4-FFF2-40B4-BE49-F238E27FC236}">
                <a16:creationId xmlns:a16="http://schemas.microsoft.com/office/drawing/2014/main" id="{2BFFB121-B70A-402D-9E21-4F6EC00C108A}"/>
              </a:ext>
            </a:extLst>
          </p:cNvPr>
          <p:cNvSpPr txBox="1"/>
          <p:nvPr/>
        </p:nvSpPr>
        <p:spPr>
          <a:xfrm>
            <a:off x="6202259" y="3427565"/>
            <a:ext cx="3736745" cy="1672292"/>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137" name="ZoneTexte 136">
            <a:extLst>
              <a:ext uri="{FF2B5EF4-FFF2-40B4-BE49-F238E27FC236}">
                <a16:creationId xmlns:a16="http://schemas.microsoft.com/office/drawing/2014/main" id="{7A32106B-901D-48C8-9DAB-BB88631F2189}"/>
              </a:ext>
            </a:extLst>
          </p:cNvPr>
          <p:cNvSpPr txBox="1"/>
          <p:nvPr/>
        </p:nvSpPr>
        <p:spPr>
          <a:xfrm>
            <a:off x="6228932" y="3458936"/>
            <a:ext cx="3692498" cy="1597938"/>
          </a:xfrm>
          <a:prstGeom prst="rect">
            <a:avLst/>
          </a:prstGeom>
          <a:noFill/>
          <a:ln>
            <a:noFill/>
          </a:ln>
        </p:spPr>
        <p:txBody>
          <a:bodyPr wrap="square" lIns="108000" rIns="108000" rtlCol="0">
            <a:spAutoFit/>
          </a:bodyPr>
          <a:lstStyle/>
          <a:p>
            <a:pPr marL="171450" indent="-171450" algn="just">
              <a:lnSpc>
                <a:spcPct val="107000"/>
              </a:lnSpc>
              <a:buClr>
                <a:srgbClr val="B24669"/>
              </a:buClr>
              <a:buFont typeface="Tahoma" panose="020B0604030504040204" pitchFamily="34" charset="0"/>
              <a:buChar char="⁄"/>
            </a:pPr>
            <a:r>
              <a:rPr lang="fr-FR" sz="1000">
                <a:solidFill>
                  <a:srgbClr val="5F5F5F"/>
                </a:solidFill>
                <a:latin typeface="Tahoma"/>
              </a:rPr>
              <a:t>Utilisation de places d’AT – HT autorisées et financées par l’ARS (et éventuellement le conseil départemental), qui répond à l’enjeu d’optimiser le taux d’occupation des places</a:t>
            </a:r>
            <a:endParaRPr lang="fr-FR" sz="800">
              <a:solidFill>
                <a:srgbClr val="5F5F5F"/>
              </a:solidFill>
              <a:latin typeface="Tahoma"/>
            </a:endParaRPr>
          </a:p>
          <a:p>
            <a:pPr marL="171450" indent="-171450" algn="just">
              <a:lnSpc>
                <a:spcPct val="107000"/>
              </a:lnSpc>
              <a:spcAft>
                <a:spcPts val="300"/>
              </a:spcAft>
              <a:buClr>
                <a:srgbClr val="B24669"/>
              </a:buClr>
              <a:buFont typeface="Tahoma" panose="020B0604030504040204" pitchFamily="34" charset="0"/>
              <a:buChar char="⁄"/>
            </a:pPr>
            <a:r>
              <a:rPr lang="fr-FR" sz="1000">
                <a:solidFill>
                  <a:srgbClr val="5F5F5F"/>
                </a:solidFill>
                <a:latin typeface="Tahoma"/>
              </a:rPr>
              <a:t>Mobilisation des équipes soignantes de l’équipe de l’ESMS d’accueil ou détachement d’une équipe mobile de l’ESMS d’origine</a:t>
            </a:r>
          </a:p>
          <a:p>
            <a:pPr marL="171450" indent="-171450" algn="just">
              <a:lnSpc>
                <a:spcPct val="107000"/>
              </a:lnSpc>
              <a:spcAft>
                <a:spcPts val="300"/>
              </a:spcAft>
              <a:buClr>
                <a:srgbClr val="B24669"/>
              </a:buClr>
              <a:buFont typeface="Tahoma" panose="020B0604030504040204" pitchFamily="34" charset="0"/>
              <a:buChar char="⁄"/>
            </a:pPr>
            <a:r>
              <a:rPr lang="fr-FR" sz="1000">
                <a:solidFill>
                  <a:srgbClr val="5F5F5F"/>
                </a:solidFill>
                <a:latin typeface="Tahoma"/>
              </a:rPr>
              <a:t>Utilisation des infrastructures de l’ESMS d’accueil (hébergement, restauration, activités, …)</a:t>
            </a:r>
          </a:p>
        </p:txBody>
      </p:sp>
      <p:sp>
        <p:nvSpPr>
          <p:cNvPr id="138" name="ZoneTexte 137">
            <a:extLst>
              <a:ext uri="{FF2B5EF4-FFF2-40B4-BE49-F238E27FC236}">
                <a16:creationId xmlns:a16="http://schemas.microsoft.com/office/drawing/2014/main" id="{203F0F4C-DC87-4A97-B4DF-33145FB0A142}"/>
              </a:ext>
            </a:extLst>
          </p:cNvPr>
          <p:cNvSpPr txBox="1"/>
          <p:nvPr/>
        </p:nvSpPr>
        <p:spPr>
          <a:xfrm>
            <a:off x="6196588" y="5172717"/>
            <a:ext cx="3743057" cy="1489786"/>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39" name="ZoneTexte 138">
            <a:extLst>
              <a:ext uri="{FF2B5EF4-FFF2-40B4-BE49-F238E27FC236}">
                <a16:creationId xmlns:a16="http://schemas.microsoft.com/office/drawing/2014/main" id="{E1CE0520-714F-4A34-A8D4-4CC606CAAF6D}"/>
              </a:ext>
            </a:extLst>
          </p:cNvPr>
          <p:cNvSpPr txBox="1"/>
          <p:nvPr/>
        </p:nvSpPr>
        <p:spPr>
          <a:xfrm>
            <a:off x="9913294" y="5538691"/>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rif / reste à charge</a:t>
            </a:r>
          </a:p>
        </p:txBody>
      </p:sp>
      <p:sp>
        <p:nvSpPr>
          <p:cNvPr id="140" name="ZoneTexte 139">
            <a:extLst>
              <a:ext uri="{FF2B5EF4-FFF2-40B4-BE49-F238E27FC236}">
                <a16:creationId xmlns:a16="http://schemas.microsoft.com/office/drawing/2014/main" id="{5FB040D2-156D-48FF-A244-476B2FC24A5B}"/>
              </a:ext>
            </a:extLst>
          </p:cNvPr>
          <p:cNvSpPr txBox="1"/>
          <p:nvPr/>
        </p:nvSpPr>
        <p:spPr>
          <a:xfrm>
            <a:off x="6238265" y="5335998"/>
            <a:ext cx="3656884" cy="1142429"/>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B24669"/>
              </a:buClr>
              <a:buFont typeface="Tahoma" panose="020B0604030504040204" pitchFamily="34" charset="0"/>
              <a:buChar char="⁄"/>
            </a:pPr>
            <a:r>
              <a:rPr lang="fr-FR" sz="1000">
                <a:solidFill>
                  <a:srgbClr val="5F5F5F"/>
                </a:solidFill>
                <a:latin typeface="Tahoma"/>
              </a:rPr>
              <a:t>Modèle de coûts à creuser </a:t>
            </a:r>
          </a:p>
          <a:p>
            <a:pPr marL="628650" lvl="1" indent="-171450" algn="just">
              <a:lnSpc>
                <a:spcPct val="107000"/>
              </a:lnSpc>
              <a:spcAft>
                <a:spcPts val="300"/>
              </a:spcAft>
              <a:buClr>
                <a:srgbClr val="B24669"/>
              </a:buClr>
              <a:buFont typeface="Courier New" panose="02070309020205020404" pitchFamily="49" charset="0"/>
              <a:buChar char="o"/>
            </a:pPr>
            <a:r>
              <a:rPr lang="fr-FR" sz="1000">
                <a:solidFill>
                  <a:srgbClr val="5F5F5F"/>
                </a:solidFill>
                <a:latin typeface="Tahoma"/>
              </a:rPr>
              <a:t>Frais d’hébergement de la personne aidée à intégrer dans sa prise en charge « classique » </a:t>
            </a:r>
          </a:p>
          <a:p>
            <a:pPr marL="628650" lvl="1" indent="-171450" algn="just">
              <a:lnSpc>
                <a:spcPct val="107000"/>
              </a:lnSpc>
              <a:spcAft>
                <a:spcPts val="300"/>
              </a:spcAft>
              <a:buClr>
                <a:srgbClr val="B24669"/>
              </a:buClr>
              <a:buFont typeface="Courier New" panose="02070309020205020404" pitchFamily="49" charset="0"/>
              <a:buChar char="o"/>
            </a:pPr>
            <a:r>
              <a:rPr lang="fr-FR" sz="1000">
                <a:solidFill>
                  <a:srgbClr val="5F5F5F"/>
                </a:solidFill>
                <a:latin typeface="Tahoma"/>
              </a:rPr>
              <a:t>Frais de transport + frais relatifs à l’hébergement de l’aidant + frais liés aux activités à définir en sus</a:t>
            </a:r>
          </a:p>
        </p:txBody>
      </p:sp>
      <p:pic>
        <p:nvPicPr>
          <p:cNvPr id="141" name="Graphique 140" descr="Pièces avec un remplissage uni">
            <a:extLst>
              <a:ext uri="{FF2B5EF4-FFF2-40B4-BE49-F238E27FC236}">
                <a16:creationId xmlns:a16="http://schemas.microsoft.com/office/drawing/2014/main" id="{E4926F3C-5DA6-448B-8646-A3EA4F6F215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271775" y="6053564"/>
            <a:ext cx="457966" cy="457966"/>
          </a:xfrm>
          <a:prstGeom prst="rect">
            <a:avLst/>
          </a:prstGeom>
        </p:spPr>
      </p:pic>
      <p:sp>
        <p:nvSpPr>
          <p:cNvPr id="145" name="ZoneTexte 144">
            <a:extLst>
              <a:ext uri="{FF2B5EF4-FFF2-40B4-BE49-F238E27FC236}">
                <a16:creationId xmlns:a16="http://schemas.microsoft.com/office/drawing/2014/main" id="{F39C336E-5E92-42A8-A824-815B3076E0A1}"/>
              </a:ext>
            </a:extLst>
          </p:cNvPr>
          <p:cNvSpPr txBox="1"/>
          <p:nvPr/>
        </p:nvSpPr>
        <p:spPr>
          <a:xfrm>
            <a:off x="2629593" y="2761810"/>
            <a:ext cx="3376602" cy="1179305"/>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46" name="ZoneTexte 145">
            <a:extLst>
              <a:ext uri="{FF2B5EF4-FFF2-40B4-BE49-F238E27FC236}">
                <a16:creationId xmlns:a16="http://schemas.microsoft.com/office/drawing/2014/main" id="{94EE9F06-1A06-46C3-92EB-23EE91D5CC64}"/>
              </a:ext>
            </a:extLst>
          </p:cNvPr>
          <p:cNvSpPr txBox="1"/>
          <p:nvPr/>
        </p:nvSpPr>
        <p:spPr>
          <a:xfrm>
            <a:off x="2626093" y="2788806"/>
            <a:ext cx="3290642" cy="1142429"/>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ublic cible : personnes accueillies en ESMS accompagnés de leurs aidant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Séjours courts  (de 2 à 7 jours) programmés sur des périodes définie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Modalités envisagées : échanges de résidents entre ESMS, permanences assurées en période estivale</a:t>
            </a:r>
          </a:p>
        </p:txBody>
      </p:sp>
      <p:sp>
        <p:nvSpPr>
          <p:cNvPr id="149" name="ZoneTexte 148">
            <a:extLst>
              <a:ext uri="{FF2B5EF4-FFF2-40B4-BE49-F238E27FC236}">
                <a16:creationId xmlns:a16="http://schemas.microsoft.com/office/drawing/2014/main" id="{36848BA0-0674-4A92-8592-0F5E4C1F934A}"/>
              </a:ext>
            </a:extLst>
          </p:cNvPr>
          <p:cNvSpPr txBox="1"/>
          <p:nvPr/>
        </p:nvSpPr>
        <p:spPr>
          <a:xfrm>
            <a:off x="1159059" y="2716204"/>
            <a:ext cx="1579647" cy="261610"/>
          </a:xfrm>
          <a:prstGeom prst="rect">
            <a:avLst/>
          </a:prstGeom>
          <a:noFill/>
          <a:ln>
            <a:noFill/>
          </a:ln>
        </p:spPr>
        <p:txBody>
          <a:bodyPr wrap="square" lIns="108000" rIns="108000" rtlCol="0">
            <a:spAutoFit/>
          </a:bodyPr>
          <a:lstStyle/>
          <a:p>
            <a:pPr algn="ctr"/>
            <a:r>
              <a:rPr lang="fr-FR" sz="1100" b="1">
                <a:solidFill>
                  <a:srgbClr val="B0ADCC"/>
                </a:solidFill>
                <a:latin typeface="Tahoma"/>
              </a:rPr>
              <a:t>Format proposé</a:t>
            </a:r>
          </a:p>
        </p:txBody>
      </p:sp>
      <p:pic>
        <p:nvPicPr>
          <p:cNvPr id="36" name="Graphique 35" descr="Calendrier journalier avec un remplissage uni">
            <a:extLst>
              <a:ext uri="{FF2B5EF4-FFF2-40B4-BE49-F238E27FC236}">
                <a16:creationId xmlns:a16="http://schemas.microsoft.com/office/drawing/2014/main" id="{FF010243-FF8D-4022-9F7F-4CD70362EE8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663728" y="2932602"/>
            <a:ext cx="499013" cy="499013"/>
          </a:xfrm>
          <a:prstGeom prst="rect">
            <a:avLst/>
          </a:prstGeom>
        </p:spPr>
      </p:pic>
    </p:spTree>
    <p:extLst>
      <p:ext uri="{BB962C8B-B14F-4D97-AF65-F5344CB8AC3E}">
        <p14:creationId xmlns:p14="http://schemas.microsoft.com/office/powerpoint/2010/main" val="2765186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ZoneTexte 143">
            <a:extLst>
              <a:ext uri="{FF2B5EF4-FFF2-40B4-BE49-F238E27FC236}">
                <a16:creationId xmlns:a16="http://schemas.microsoft.com/office/drawing/2014/main" id="{AFB19748-CD2D-492F-9430-54C048E8BC7A}"/>
              </a:ext>
            </a:extLst>
          </p:cNvPr>
          <p:cNvSpPr txBox="1"/>
          <p:nvPr/>
        </p:nvSpPr>
        <p:spPr>
          <a:xfrm>
            <a:off x="9011451" y="5808208"/>
            <a:ext cx="2012753" cy="1032036"/>
          </a:xfrm>
          <a:prstGeom prst="rect">
            <a:avLst/>
          </a:prstGeom>
          <a:solidFill>
            <a:schemeClr val="bg1"/>
          </a:solidFill>
          <a:ln>
            <a:noFill/>
          </a:ln>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27" name="ZoneTexte 126">
            <a:extLst>
              <a:ext uri="{FF2B5EF4-FFF2-40B4-BE49-F238E27FC236}">
                <a16:creationId xmlns:a16="http://schemas.microsoft.com/office/drawing/2014/main" id="{CEFC84DD-3DA7-456C-B0D9-1400DB406EC3}"/>
              </a:ext>
            </a:extLst>
          </p:cNvPr>
          <p:cNvSpPr txBox="1"/>
          <p:nvPr/>
        </p:nvSpPr>
        <p:spPr>
          <a:xfrm>
            <a:off x="6206810" y="2769113"/>
            <a:ext cx="3732194" cy="560299"/>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2" name="Titre 1">
            <a:extLst>
              <a:ext uri="{FF2B5EF4-FFF2-40B4-BE49-F238E27FC236}">
                <a16:creationId xmlns:a16="http://schemas.microsoft.com/office/drawing/2014/main" id="{96CCCFB9-E7A4-4FA0-ACFE-13891ADB4576}"/>
              </a:ext>
            </a:extLst>
          </p:cNvPr>
          <p:cNvSpPr>
            <a:spLocks noGrp="1"/>
          </p:cNvSpPr>
          <p:nvPr>
            <p:ph type="title"/>
          </p:nvPr>
        </p:nvSpPr>
        <p:spPr>
          <a:xfrm>
            <a:off x="1488600" y="404665"/>
            <a:ext cx="9728168" cy="863748"/>
          </a:xfrm>
        </p:spPr>
        <p:txBody>
          <a:bodyPr/>
          <a:lstStyle/>
          <a:p>
            <a:r>
              <a:rPr lang="fr-FR" u="sng"/>
              <a:t>Modèle 4</a:t>
            </a:r>
            <a:r>
              <a:rPr lang="fr-FR"/>
              <a:t> : les partenariats entre associations / ESMS et acteurs du tourisme</a:t>
            </a:r>
            <a:br>
              <a:rPr lang="fr-FR"/>
            </a:br>
            <a:r>
              <a:rPr lang="fr-FR" sz="1400" i="1"/>
              <a:t>Exemples : France Alzheimer, Expérimentation PADA (ANCV), Réseau Passerelles, INT’ACT… </a:t>
            </a:r>
            <a:endParaRPr lang="fr-FR" sz="2400" i="1"/>
          </a:p>
        </p:txBody>
      </p:sp>
      <p:sp>
        <p:nvSpPr>
          <p:cNvPr id="3" name="Espace réservé du texte 2">
            <a:extLst>
              <a:ext uri="{FF2B5EF4-FFF2-40B4-BE49-F238E27FC236}">
                <a16:creationId xmlns:a16="http://schemas.microsoft.com/office/drawing/2014/main" id="{EA786B65-FD77-46F5-BB58-054675AE6306}"/>
              </a:ext>
            </a:extLst>
          </p:cNvPr>
          <p:cNvSpPr>
            <a:spLocks noGrp="1"/>
          </p:cNvSpPr>
          <p:nvPr>
            <p:ph type="body" sz="quarter" idx="13"/>
          </p:nvPr>
        </p:nvSpPr>
        <p:spPr/>
        <p:txBody>
          <a:bodyPr/>
          <a:lstStyle/>
          <a:p>
            <a:r>
              <a:rPr lang="fr-FR"/>
              <a:t>Etat des lieux </a:t>
            </a:r>
            <a:r>
              <a:rPr lang="fr-FR">
                <a:solidFill>
                  <a:srgbClr val="938481"/>
                </a:solidFill>
              </a:rPr>
              <a:t>des modèles existants</a:t>
            </a:r>
            <a:endParaRPr lang="fr-FR"/>
          </a:p>
        </p:txBody>
      </p:sp>
      <p:sp>
        <p:nvSpPr>
          <p:cNvPr id="6" name="Arrondir un rectangle avec un coin diagonal 25">
            <a:extLst>
              <a:ext uri="{FF2B5EF4-FFF2-40B4-BE49-F238E27FC236}">
                <a16:creationId xmlns:a16="http://schemas.microsoft.com/office/drawing/2014/main" id="{061EFCEE-43E5-4789-ADA4-A849A8D0D109}"/>
              </a:ext>
            </a:extLst>
          </p:cNvPr>
          <p:cNvSpPr>
            <a:spLocks/>
          </p:cNvSpPr>
          <p:nvPr/>
        </p:nvSpPr>
        <p:spPr bwMode="gray">
          <a:xfrm>
            <a:off x="4235936" y="1016760"/>
            <a:ext cx="6736202" cy="1295977"/>
          </a:xfrm>
          <a:prstGeom prst="round2DiagRect">
            <a:avLst>
              <a:gd name="adj1" fmla="val 0"/>
              <a:gd name="adj2" fmla="val 11610"/>
            </a:avLst>
          </a:prstGeom>
          <a:solidFill>
            <a:schemeClr val="bg1"/>
          </a:solidFill>
          <a:ln w="19050" cap="flat" cmpd="sng" algn="ctr">
            <a:solidFill>
              <a:schemeClr val="bg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00" tIns="58500" rIns="58500" bIns="58500" numCol="1" spcCol="0" rtlCol="0" fromWordArt="0" anchor="t" anchorCtr="0" forceAA="0" compatLnSpc="1">
            <a:prstTxWarp prst="textNoShape">
              <a:avLst/>
            </a:prstTxWarp>
            <a:noAutofit/>
          </a:bodyPr>
          <a:lstStyle/>
          <a:p>
            <a:pPr algn="just">
              <a:defRPr/>
            </a:pPr>
            <a:r>
              <a:rPr lang="fr-FR" sz="1056">
                <a:solidFill>
                  <a:srgbClr val="667E76"/>
                </a:solidFill>
                <a:latin typeface="Arial"/>
                <a:ea typeface="Meiryo UI"/>
                <a:cs typeface="Arial"/>
              </a:rPr>
              <a:t>. </a:t>
            </a:r>
          </a:p>
        </p:txBody>
      </p:sp>
      <p:sp>
        <p:nvSpPr>
          <p:cNvPr id="46" name="ZoneTexte 45">
            <a:extLst>
              <a:ext uri="{FF2B5EF4-FFF2-40B4-BE49-F238E27FC236}">
                <a16:creationId xmlns:a16="http://schemas.microsoft.com/office/drawing/2014/main" id="{18D377A5-89B7-42C6-AC56-9BCE010E429D}"/>
              </a:ext>
            </a:extLst>
          </p:cNvPr>
          <p:cNvSpPr txBox="1"/>
          <p:nvPr/>
        </p:nvSpPr>
        <p:spPr>
          <a:xfrm>
            <a:off x="4235936" y="1039547"/>
            <a:ext cx="2344061" cy="446276"/>
          </a:xfrm>
          <a:prstGeom prst="rect">
            <a:avLst/>
          </a:prstGeom>
          <a:noFill/>
          <a:ln>
            <a:noFill/>
          </a:ln>
        </p:spPr>
        <p:txBody>
          <a:bodyPr wrap="square" lIns="108000" rIns="108000" rtlCol="0">
            <a:spAutoFit/>
          </a:bodyPr>
          <a:lstStyle/>
          <a:p>
            <a:r>
              <a:rPr lang="fr-FR" sz="1100" b="1">
                <a:solidFill>
                  <a:srgbClr val="503078"/>
                </a:solidFill>
                <a:latin typeface="Tahoma"/>
              </a:rPr>
              <a:t>Description</a:t>
            </a:r>
          </a:p>
          <a:p>
            <a:pPr marL="171450" indent="-171450">
              <a:buFontTx/>
              <a:buChar char="-"/>
            </a:pPr>
            <a:endParaRPr lang="fr-FR" sz="1200">
              <a:solidFill>
                <a:srgbClr val="5F5F5F"/>
              </a:solidFill>
              <a:latin typeface="Tahoma"/>
            </a:endParaRPr>
          </a:p>
        </p:txBody>
      </p:sp>
      <p:sp>
        <p:nvSpPr>
          <p:cNvPr id="47" name="ZoneTexte 46">
            <a:extLst>
              <a:ext uri="{FF2B5EF4-FFF2-40B4-BE49-F238E27FC236}">
                <a16:creationId xmlns:a16="http://schemas.microsoft.com/office/drawing/2014/main" id="{34503B7E-030F-498B-9EC4-D99CB7FB14CF}"/>
              </a:ext>
            </a:extLst>
          </p:cNvPr>
          <p:cNvSpPr txBox="1"/>
          <p:nvPr/>
        </p:nvSpPr>
        <p:spPr>
          <a:xfrm>
            <a:off x="4243955" y="1238618"/>
            <a:ext cx="6767044" cy="1061829"/>
          </a:xfrm>
          <a:prstGeom prst="rect">
            <a:avLst/>
          </a:prstGeom>
          <a:noFill/>
          <a:ln>
            <a:noFill/>
          </a:ln>
        </p:spPr>
        <p:txBody>
          <a:bodyPr wrap="square" lIns="108000" rIns="108000" rtlCol="0">
            <a:spAutoFit/>
          </a:bodyPr>
          <a:lstStyle/>
          <a:p>
            <a:pPr algn="just"/>
            <a:r>
              <a:rPr lang="fr-FR" sz="1050">
                <a:solidFill>
                  <a:srgbClr val="5F5F5F"/>
                </a:solidFill>
                <a:latin typeface="Tahoma"/>
              </a:rPr>
              <a:t>Ce modèle repose sur la construction de partenariats pour l’organisation de séjours de répit, permettant de mobiliser l’expertise </a:t>
            </a:r>
            <a:r>
              <a:rPr lang="fr-FR" sz="1050" b="1">
                <a:solidFill>
                  <a:srgbClr val="5F5F5F"/>
                </a:solidFill>
                <a:latin typeface="Tahoma"/>
              </a:rPr>
              <a:t>d’associations et / ou ESMS </a:t>
            </a:r>
            <a:r>
              <a:rPr lang="fr-FR" sz="1050">
                <a:solidFill>
                  <a:srgbClr val="5F5F5F"/>
                </a:solidFill>
                <a:latin typeface="Tahoma"/>
              </a:rPr>
              <a:t>concernant la prise en charge médico-sociale de l’aidant et d’</a:t>
            </a:r>
            <a:r>
              <a:rPr lang="fr-FR" sz="1050" b="1">
                <a:solidFill>
                  <a:srgbClr val="5F5F5F"/>
                </a:solidFill>
                <a:latin typeface="Tahoma"/>
              </a:rPr>
              <a:t>acteurs du tourisme </a:t>
            </a:r>
            <a:r>
              <a:rPr lang="fr-FR" sz="1050">
                <a:solidFill>
                  <a:srgbClr val="5F5F5F"/>
                </a:solidFill>
                <a:latin typeface="Tahoma"/>
              </a:rPr>
              <a:t>(social ou ordinaire) sur le volet de l’offre hôtelière. De nombreuses initiatives de partenariats ont été lancées (expérimentation PADA lancée par l’ANCV, séjours de répit des associations France Alzheimer ou Réseau Passerelles, …). Ces modalités permettent d’offrir des possibilités de vacances diversifiées à des coûts pouvant être négociés, tout en maintenant la qualité de l’accompagnement médico-social de l’aidé. </a:t>
            </a:r>
          </a:p>
        </p:txBody>
      </p:sp>
      <p:pic>
        <p:nvPicPr>
          <p:cNvPr id="54" name="Graphique 53" descr="Utilisateur">
            <a:extLst>
              <a:ext uri="{FF2B5EF4-FFF2-40B4-BE49-F238E27FC236}">
                <a16:creationId xmlns:a16="http://schemas.microsoft.com/office/drawing/2014/main" id="{228586C0-7A09-473D-93FB-1578FD334E9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20085" y="1017405"/>
            <a:ext cx="343642" cy="343642"/>
          </a:xfrm>
          <a:prstGeom prst="rect">
            <a:avLst/>
          </a:prstGeom>
        </p:spPr>
      </p:pic>
      <p:sp>
        <p:nvSpPr>
          <p:cNvPr id="55" name="ZoneTexte 54">
            <a:extLst>
              <a:ext uri="{FF2B5EF4-FFF2-40B4-BE49-F238E27FC236}">
                <a16:creationId xmlns:a16="http://schemas.microsoft.com/office/drawing/2014/main" id="{D3C161D8-296E-4FAC-8245-FD6DF3FF06AC}"/>
              </a:ext>
            </a:extLst>
          </p:cNvPr>
          <p:cNvSpPr txBox="1"/>
          <p:nvPr/>
        </p:nvSpPr>
        <p:spPr>
          <a:xfrm>
            <a:off x="1694248" y="1081572"/>
            <a:ext cx="2344061" cy="446276"/>
          </a:xfrm>
          <a:prstGeom prst="rect">
            <a:avLst/>
          </a:prstGeom>
          <a:noFill/>
          <a:ln>
            <a:noFill/>
          </a:ln>
        </p:spPr>
        <p:txBody>
          <a:bodyPr wrap="square" lIns="108000" rIns="108000" rtlCol="0">
            <a:spAutoFit/>
          </a:bodyPr>
          <a:lstStyle/>
          <a:p>
            <a:r>
              <a:rPr lang="fr-FR" sz="1100" b="1">
                <a:solidFill>
                  <a:srgbClr val="503078"/>
                </a:solidFill>
                <a:latin typeface="Tahoma"/>
              </a:rPr>
              <a:t>Porteurs de projet</a:t>
            </a:r>
          </a:p>
          <a:p>
            <a:pPr marL="171450" indent="-171450">
              <a:buFontTx/>
              <a:buChar char="-"/>
            </a:pPr>
            <a:endParaRPr lang="fr-FR" sz="1200">
              <a:solidFill>
                <a:srgbClr val="5F5F5F"/>
              </a:solidFill>
              <a:latin typeface="Tahoma"/>
            </a:endParaRPr>
          </a:p>
        </p:txBody>
      </p:sp>
      <p:sp>
        <p:nvSpPr>
          <p:cNvPr id="65" name="ZoneTexte 64">
            <a:extLst>
              <a:ext uri="{FF2B5EF4-FFF2-40B4-BE49-F238E27FC236}">
                <a16:creationId xmlns:a16="http://schemas.microsoft.com/office/drawing/2014/main" id="{94AAD809-0587-485B-884D-3279EC754ABF}"/>
              </a:ext>
            </a:extLst>
          </p:cNvPr>
          <p:cNvSpPr txBox="1"/>
          <p:nvPr/>
        </p:nvSpPr>
        <p:spPr>
          <a:xfrm>
            <a:off x="1245845" y="1319892"/>
            <a:ext cx="2882170" cy="400110"/>
          </a:xfrm>
          <a:prstGeom prst="rect">
            <a:avLst/>
          </a:prstGeom>
          <a:noFill/>
          <a:ln>
            <a:noFill/>
          </a:ln>
        </p:spPr>
        <p:txBody>
          <a:bodyPr wrap="square" lIns="108000" rIns="108000" rtlCol="0">
            <a:spAutoFit/>
          </a:bodyPr>
          <a:lstStyle/>
          <a:p>
            <a:pPr algn="just"/>
            <a:r>
              <a:rPr lang="fr-FR" sz="1000">
                <a:solidFill>
                  <a:srgbClr val="5F5F5F"/>
                </a:solidFill>
                <a:latin typeface="Tahoma"/>
              </a:rPr>
              <a:t>ESMS ou associations, en lien avec des acteurs du tourisme</a:t>
            </a:r>
          </a:p>
        </p:txBody>
      </p:sp>
      <p:pic>
        <p:nvPicPr>
          <p:cNvPr id="66" name="Graphique 65" descr="Hôpital">
            <a:extLst>
              <a:ext uri="{FF2B5EF4-FFF2-40B4-BE49-F238E27FC236}">
                <a16:creationId xmlns:a16="http://schemas.microsoft.com/office/drawing/2014/main" id="{2B90C41F-0983-45DD-AE2D-80388EC642D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48092" y="1718040"/>
            <a:ext cx="377667" cy="377667"/>
          </a:xfrm>
          <a:prstGeom prst="rect">
            <a:avLst/>
          </a:prstGeom>
        </p:spPr>
      </p:pic>
      <p:sp>
        <p:nvSpPr>
          <p:cNvPr id="69" name="ZoneTexte 68">
            <a:extLst>
              <a:ext uri="{FF2B5EF4-FFF2-40B4-BE49-F238E27FC236}">
                <a16:creationId xmlns:a16="http://schemas.microsoft.com/office/drawing/2014/main" id="{70CE0E81-77B9-4360-A4D4-5A33800BC3DE}"/>
              </a:ext>
            </a:extLst>
          </p:cNvPr>
          <p:cNvSpPr txBox="1"/>
          <p:nvPr/>
        </p:nvSpPr>
        <p:spPr>
          <a:xfrm>
            <a:off x="1294582" y="2042089"/>
            <a:ext cx="2912986" cy="242182"/>
          </a:xfrm>
          <a:prstGeom prst="rect">
            <a:avLst/>
          </a:prstGeom>
          <a:noFill/>
          <a:ln>
            <a:noFill/>
          </a:ln>
        </p:spPr>
        <p:txBody>
          <a:bodyPr wrap="square" lIns="108000" rIns="108000" rtlCol="0">
            <a:spAutoFit/>
          </a:bodyPr>
          <a:lstStyle/>
          <a:p>
            <a:pPr>
              <a:lnSpc>
                <a:spcPct val="107000"/>
              </a:lnSpc>
              <a:spcAft>
                <a:spcPts val="800"/>
              </a:spcAft>
              <a:buClr>
                <a:srgbClr val="503078"/>
              </a:buClr>
            </a:pPr>
            <a:r>
              <a:rPr lang="fr-FR" sz="1000">
                <a:solidFill>
                  <a:srgbClr val="5F5F5F"/>
                </a:solidFill>
                <a:latin typeface="Tahoma"/>
              </a:rPr>
              <a:t>ESMS </a:t>
            </a:r>
          </a:p>
        </p:txBody>
      </p:sp>
      <p:sp>
        <p:nvSpPr>
          <p:cNvPr id="70" name="Rectangle 69">
            <a:extLst>
              <a:ext uri="{FF2B5EF4-FFF2-40B4-BE49-F238E27FC236}">
                <a16:creationId xmlns:a16="http://schemas.microsoft.com/office/drawing/2014/main" id="{4137CF04-1CD5-4A25-B667-2983605E4590}"/>
              </a:ext>
            </a:extLst>
          </p:cNvPr>
          <p:cNvSpPr/>
          <p:nvPr/>
        </p:nvSpPr>
        <p:spPr>
          <a:xfrm>
            <a:off x="1250838" y="1009217"/>
            <a:ext cx="2877177" cy="1303520"/>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1" name="ZoneTexte 70">
            <a:extLst>
              <a:ext uri="{FF2B5EF4-FFF2-40B4-BE49-F238E27FC236}">
                <a16:creationId xmlns:a16="http://schemas.microsoft.com/office/drawing/2014/main" id="{68D5A3E5-0FE1-4B1F-BFF8-4DFBC8778AA0}"/>
              </a:ext>
            </a:extLst>
          </p:cNvPr>
          <p:cNvSpPr txBox="1"/>
          <p:nvPr/>
        </p:nvSpPr>
        <p:spPr>
          <a:xfrm>
            <a:off x="1725759" y="1813960"/>
            <a:ext cx="2344061" cy="446276"/>
          </a:xfrm>
          <a:prstGeom prst="rect">
            <a:avLst/>
          </a:prstGeom>
          <a:noFill/>
          <a:ln>
            <a:noFill/>
          </a:ln>
        </p:spPr>
        <p:txBody>
          <a:bodyPr wrap="square" lIns="108000" rIns="108000" rtlCol="0">
            <a:spAutoFit/>
          </a:bodyPr>
          <a:lstStyle/>
          <a:p>
            <a:r>
              <a:rPr lang="fr-FR" sz="1100" b="1">
                <a:solidFill>
                  <a:srgbClr val="503078"/>
                </a:solidFill>
                <a:latin typeface="Tahoma"/>
              </a:rPr>
              <a:t>Typologies de structures</a:t>
            </a:r>
          </a:p>
          <a:p>
            <a:pPr marL="171450" indent="-171450">
              <a:buFontTx/>
              <a:buChar char="-"/>
            </a:pPr>
            <a:endParaRPr lang="fr-FR" sz="1200">
              <a:solidFill>
                <a:srgbClr val="5F5F5F"/>
              </a:solidFill>
              <a:latin typeface="Tahoma"/>
            </a:endParaRPr>
          </a:p>
        </p:txBody>
      </p:sp>
      <p:pic>
        <p:nvPicPr>
          <p:cNvPr id="104" name="Graphique 103" descr="Dormir avec un remplissage uni">
            <a:extLst>
              <a:ext uri="{FF2B5EF4-FFF2-40B4-BE49-F238E27FC236}">
                <a16:creationId xmlns:a16="http://schemas.microsoft.com/office/drawing/2014/main" id="{CFCC8457-1FA1-4BFE-8EFC-B2EDD39948B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58165" y="4198143"/>
            <a:ext cx="565198" cy="565198"/>
          </a:xfrm>
          <a:prstGeom prst="rect">
            <a:avLst/>
          </a:prstGeom>
        </p:spPr>
      </p:pic>
      <p:sp>
        <p:nvSpPr>
          <p:cNvPr id="105" name="ZoneTexte 104">
            <a:extLst>
              <a:ext uri="{FF2B5EF4-FFF2-40B4-BE49-F238E27FC236}">
                <a16:creationId xmlns:a16="http://schemas.microsoft.com/office/drawing/2014/main" id="{5530E235-EACE-4D1E-A19A-91A603CD04B6}"/>
              </a:ext>
            </a:extLst>
          </p:cNvPr>
          <p:cNvSpPr txBox="1"/>
          <p:nvPr/>
        </p:nvSpPr>
        <p:spPr>
          <a:xfrm>
            <a:off x="2629447" y="4029305"/>
            <a:ext cx="3376602" cy="1179305"/>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8" name="ZoneTexte 117">
            <a:extLst>
              <a:ext uri="{FF2B5EF4-FFF2-40B4-BE49-F238E27FC236}">
                <a16:creationId xmlns:a16="http://schemas.microsoft.com/office/drawing/2014/main" id="{83B608BB-5CE4-48D8-B3A6-2AEC82163C79}"/>
              </a:ext>
            </a:extLst>
          </p:cNvPr>
          <p:cNvSpPr txBox="1"/>
          <p:nvPr/>
        </p:nvSpPr>
        <p:spPr>
          <a:xfrm>
            <a:off x="2640080" y="4160540"/>
            <a:ext cx="3376603" cy="939296"/>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Hébergement et services hôteliers (restauration, logistique, activités) gérés par la structure touristique</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Offre de séjours variée grâce à la diversité d’acteurs touristiques mobilisables</a:t>
            </a:r>
          </a:p>
        </p:txBody>
      </p:sp>
      <p:sp>
        <p:nvSpPr>
          <p:cNvPr id="119" name="ZoneTexte 118">
            <a:extLst>
              <a:ext uri="{FF2B5EF4-FFF2-40B4-BE49-F238E27FC236}">
                <a16:creationId xmlns:a16="http://schemas.microsoft.com/office/drawing/2014/main" id="{A092B18B-1E2B-4620-892D-A126FD6884E8}"/>
              </a:ext>
            </a:extLst>
          </p:cNvPr>
          <p:cNvSpPr txBox="1"/>
          <p:nvPr/>
        </p:nvSpPr>
        <p:spPr>
          <a:xfrm>
            <a:off x="1238117" y="3823393"/>
            <a:ext cx="1387976" cy="430887"/>
          </a:xfrm>
          <a:prstGeom prst="rect">
            <a:avLst/>
          </a:prstGeom>
          <a:noFill/>
          <a:ln>
            <a:noFill/>
          </a:ln>
        </p:spPr>
        <p:txBody>
          <a:bodyPr wrap="square" lIns="108000" rIns="108000" rtlCol="0">
            <a:spAutoFit/>
          </a:bodyPr>
          <a:lstStyle/>
          <a:p>
            <a:pPr algn="ctr"/>
            <a:r>
              <a:rPr lang="fr-FR" sz="1100" b="1">
                <a:solidFill>
                  <a:srgbClr val="B0ADCC"/>
                </a:solidFill>
                <a:latin typeface="Tahoma"/>
              </a:rPr>
              <a:t>Services </a:t>
            </a:r>
          </a:p>
          <a:p>
            <a:pPr algn="ctr"/>
            <a:r>
              <a:rPr lang="fr-FR" sz="1100" b="1">
                <a:solidFill>
                  <a:srgbClr val="B0ADCC"/>
                </a:solidFill>
                <a:latin typeface="Tahoma"/>
              </a:rPr>
              <a:t>hôteliers </a:t>
            </a:r>
          </a:p>
        </p:txBody>
      </p:sp>
      <p:pic>
        <p:nvPicPr>
          <p:cNvPr id="120" name="Graphique 119" descr="Trousse de premiers secours avec un remplissage uni">
            <a:extLst>
              <a:ext uri="{FF2B5EF4-FFF2-40B4-BE49-F238E27FC236}">
                <a16:creationId xmlns:a16="http://schemas.microsoft.com/office/drawing/2014/main" id="{EEC174F1-7ECF-4F27-94E2-35C2087886C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86750" y="5775157"/>
            <a:ext cx="557136" cy="557136"/>
          </a:xfrm>
          <a:prstGeom prst="rect">
            <a:avLst/>
          </a:prstGeom>
        </p:spPr>
      </p:pic>
      <p:sp>
        <p:nvSpPr>
          <p:cNvPr id="121" name="ZoneTexte 120">
            <a:extLst>
              <a:ext uri="{FF2B5EF4-FFF2-40B4-BE49-F238E27FC236}">
                <a16:creationId xmlns:a16="http://schemas.microsoft.com/office/drawing/2014/main" id="{EEC21117-E598-4AE6-8E31-D9EDF425B6F9}"/>
              </a:ext>
            </a:extLst>
          </p:cNvPr>
          <p:cNvSpPr txBox="1"/>
          <p:nvPr/>
        </p:nvSpPr>
        <p:spPr>
          <a:xfrm>
            <a:off x="1093464" y="5381373"/>
            <a:ext cx="1743708" cy="615553"/>
          </a:xfrm>
          <a:prstGeom prst="rect">
            <a:avLst/>
          </a:prstGeom>
          <a:noFill/>
          <a:ln>
            <a:noFill/>
          </a:ln>
        </p:spPr>
        <p:txBody>
          <a:bodyPr wrap="square" lIns="108000" rIns="108000" rtlCol="0">
            <a:spAutoFit/>
          </a:bodyPr>
          <a:lstStyle/>
          <a:p>
            <a:pPr algn="ctr"/>
            <a:r>
              <a:rPr lang="fr-FR" sz="1100" b="1">
                <a:solidFill>
                  <a:srgbClr val="B0ADCC"/>
                </a:solidFill>
                <a:latin typeface="Tahoma"/>
              </a:rPr>
              <a:t>Accompagnement médico-social</a:t>
            </a:r>
          </a:p>
          <a:p>
            <a:pPr marL="171450" indent="-171450" algn="ctr">
              <a:buFontTx/>
              <a:buChar char="-"/>
            </a:pPr>
            <a:endParaRPr lang="fr-FR" sz="1200">
              <a:solidFill>
                <a:srgbClr val="B0ADCC"/>
              </a:solidFill>
              <a:latin typeface="Tahoma"/>
            </a:endParaRPr>
          </a:p>
        </p:txBody>
      </p:sp>
      <p:sp>
        <p:nvSpPr>
          <p:cNvPr id="122" name="ZoneTexte 121">
            <a:extLst>
              <a:ext uri="{FF2B5EF4-FFF2-40B4-BE49-F238E27FC236}">
                <a16:creationId xmlns:a16="http://schemas.microsoft.com/office/drawing/2014/main" id="{47F030E3-9D4B-4BE0-B1B5-8CBA4920E546}"/>
              </a:ext>
            </a:extLst>
          </p:cNvPr>
          <p:cNvSpPr txBox="1"/>
          <p:nvPr/>
        </p:nvSpPr>
        <p:spPr>
          <a:xfrm>
            <a:off x="2629593" y="5280994"/>
            <a:ext cx="3376602" cy="1362335"/>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23" name="ZoneTexte 122">
            <a:extLst>
              <a:ext uri="{FF2B5EF4-FFF2-40B4-BE49-F238E27FC236}">
                <a16:creationId xmlns:a16="http://schemas.microsoft.com/office/drawing/2014/main" id="{08123405-30D6-419F-A7FE-8F6BB6D03299}"/>
              </a:ext>
            </a:extLst>
          </p:cNvPr>
          <p:cNvSpPr txBox="1"/>
          <p:nvPr/>
        </p:nvSpPr>
        <p:spPr>
          <a:xfrm>
            <a:off x="2659334" y="5384578"/>
            <a:ext cx="3385253" cy="1103957"/>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Sélection de logements adaptés par l’ESMS / l’association en fonction des besoins des personnes accompagnée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ccompagnement médico-social assuré par l’ESMS (détachement d’une équipe mobile sur le lieu de séjour) ou l’association (bénévoles ou prestataires)</a:t>
            </a:r>
          </a:p>
        </p:txBody>
      </p:sp>
      <p:pic>
        <p:nvPicPr>
          <p:cNvPr id="124" name="Graphique 123" descr="Logement avec un remplissage uni">
            <a:extLst>
              <a:ext uri="{FF2B5EF4-FFF2-40B4-BE49-F238E27FC236}">
                <a16:creationId xmlns:a16="http://schemas.microsoft.com/office/drawing/2014/main" id="{FFD5C5EB-80DC-4244-8247-067BD4BC7F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29078" y="2903045"/>
            <a:ext cx="447721" cy="447721"/>
          </a:xfrm>
          <a:prstGeom prst="rect">
            <a:avLst/>
          </a:prstGeom>
        </p:spPr>
      </p:pic>
      <p:sp>
        <p:nvSpPr>
          <p:cNvPr id="125" name="ZoneTexte 124">
            <a:extLst>
              <a:ext uri="{FF2B5EF4-FFF2-40B4-BE49-F238E27FC236}">
                <a16:creationId xmlns:a16="http://schemas.microsoft.com/office/drawing/2014/main" id="{608F55B6-176A-4760-81A4-45CF76F13ABA}"/>
              </a:ext>
            </a:extLst>
          </p:cNvPr>
          <p:cNvSpPr txBox="1"/>
          <p:nvPr/>
        </p:nvSpPr>
        <p:spPr>
          <a:xfrm>
            <a:off x="9861365" y="2753166"/>
            <a:ext cx="1244543" cy="446276"/>
          </a:xfrm>
          <a:prstGeom prst="rect">
            <a:avLst/>
          </a:prstGeom>
          <a:noFill/>
          <a:ln>
            <a:noFill/>
          </a:ln>
        </p:spPr>
        <p:txBody>
          <a:bodyPr wrap="square" lIns="108000" rIns="108000" rtlCol="0">
            <a:spAutoFit/>
          </a:bodyPr>
          <a:lstStyle/>
          <a:p>
            <a:pPr algn="ctr"/>
            <a:r>
              <a:rPr lang="fr-FR" sz="1100" b="1">
                <a:solidFill>
                  <a:srgbClr val="B24669"/>
                </a:solidFill>
                <a:latin typeface="Tahoma"/>
              </a:rPr>
              <a:t>Immobilier</a:t>
            </a:r>
          </a:p>
          <a:p>
            <a:pPr marL="171450" indent="-171450" algn="ctr">
              <a:buFontTx/>
              <a:buChar char="-"/>
            </a:pPr>
            <a:endParaRPr lang="fr-FR" sz="1200">
              <a:solidFill>
                <a:srgbClr val="B24669"/>
              </a:solidFill>
              <a:latin typeface="Tahoma"/>
            </a:endParaRPr>
          </a:p>
        </p:txBody>
      </p:sp>
      <p:sp>
        <p:nvSpPr>
          <p:cNvPr id="126" name="ZoneTexte 125">
            <a:extLst>
              <a:ext uri="{FF2B5EF4-FFF2-40B4-BE49-F238E27FC236}">
                <a16:creationId xmlns:a16="http://schemas.microsoft.com/office/drawing/2014/main" id="{190D1359-556D-4886-AD84-D57EA38DA3A8}"/>
              </a:ext>
            </a:extLst>
          </p:cNvPr>
          <p:cNvSpPr txBox="1"/>
          <p:nvPr/>
        </p:nvSpPr>
        <p:spPr>
          <a:xfrm>
            <a:off x="6220795" y="2757909"/>
            <a:ext cx="3588566" cy="571503"/>
          </a:xfrm>
          <a:prstGeom prst="rect">
            <a:avLst/>
          </a:prstGeom>
          <a:noFill/>
          <a:ln>
            <a:noFill/>
          </a:ln>
        </p:spPr>
        <p:txBody>
          <a:bodyPr wrap="square" lIns="108000" rIns="108000" rtlCol="0">
            <a:spAutoFit/>
          </a:bodyPr>
          <a:lstStyle/>
          <a:p>
            <a:pPr marL="171450" indent="-171450" algn="just">
              <a:lnSpc>
                <a:spcPct val="107000"/>
              </a:lnSpc>
              <a:spcAft>
                <a:spcPts val="800"/>
              </a:spcAft>
              <a:buClr>
                <a:srgbClr val="B24669"/>
              </a:buClr>
              <a:buFont typeface="Tahoma" panose="020B0604030504040204" pitchFamily="34" charset="0"/>
              <a:buChar char="⁄"/>
            </a:pPr>
            <a:r>
              <a:rPr lang="fr-FR" sz="1000">
                <a:solidFill>
                  <a:srgbClr val="5F5F5F"/>
                </a:solidFill>
                <a:latin typeface="Tahoma"/>
              </a:rPr>
              <a:t>Utilisation de structures touristiques gérées par les partenaires hôteliers – pas d’investissement foncier nécessaire</a:t>
            </a:r>
          </a:p>
        </p:txBody>
      </p:sp>
      <p:sp>
        <p:nvSpPr>
          <p:cNvPr id="129" name="Rectangle 128">
            <a:extLst>
              <a:ext uri="{FF2B5EF4-FFF2-40B4-BE49-F238E27FC236}">
                <a16:creationId xmlns:a16="http://schemas.microsoft.com/office/drawing/2014/main" id="{68ECC4B7-589A-4FBC-9D64-943EC531FB39}"/>
              </a:ext>
            </a:extLst>
          </p:cNvPr>
          <p:cNvSpPr/>
          <p:nvPr/>
        </p:nvSpPr>
        <p:spPr>
          <a:xfrm>
            <a:off x="1239832" y="2405595"/>
            <a:ext cx="4825165" cy="4346526"/>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30" name="ZoneTexte 129">
            <a:extLst>
              <a:ext uri="{FF2B5EF4-FFF2-40B4-BE49-F238E27FC236}">
                <a16:creationId xmlns:a16="http://schemas.microsoft.com/office/drawing/2014/main" id="{A12268C6-8012-4CF2-9630-A77E2DD20979}"/>
              </a:ext>
            </a:extLst>
          </p:cNvPr>
          <p:cNvSpPr txBox="1"/>
          <p:nvPr/>
        </p:nvSpPr>
        <p:spPr>
          <a:xfrm>
            <a:off x="1237274" y="2394442"/>
            <a:ext cx="4827723" cy="276999"/>
          </a:xfrm>
          <a:prstGeom prst="rect">
            <a:avLst/>
          </a:prstGeom>
          <a:solidFill>
            <a:srgbClr val="B0ADCC"/>
          </a:solidFill>
          <a:ln>
            <a:noFill/>
          </a:ln>
        </p:spPr>
        <p:txBody>
          <a:bodyPr wrap="square" lIns="108000" rIns="108000" rtlCol="0">
            <a:spAutoFit/>
          </a:bodyPr>
          <a:lstStyle/>
          <a:p>
            <a:pPr algn="ctr"/>
            <a:r>
              <a:rPr lang="fr-FR" sz="1200" b="1" cap="small">
                <a:solidFill>
                  <a:srgbClr val="FFFFFF"/>
                </a:solidFill>
                <a:latin typeface="Tahoma"/>
              </a:rPr>
              <a:t>Modèle opérationnel </a:t>
            </a:r>
          </a:p>
        </p:txBody>
      </p:sp>
      <p:sp>
        <p:nvSpPr>
          <p:cNvPr id="131" name="Rectangle 130">
            <a:extLst>
              <a:ext uri="{FF2B5EF4-FFF2-40B4-BE49-F238E27FC236}">
                <a16:creationId xmlns:a16="http://schemas.microsoft.com/office/drawing/2014/main" id="{34E6F194-7EE3-4C6A-8871-0DDC911DEBC6}"/>
              </a:ext>
            </a:extLst>
          </p:cNvPr>
          <p:cNvSpPr/>
          <p:nvPr/>
        </p:nvSpPr>
        <p:spPr>
          <a:xfrm>
            <a:off x="6134376" y="2403923"/>
            <a:ext cx="4825165" cy="4334268"/>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32" name="ZoneTexte 131">
            <a:extLst>
              <a:ext uri="{FF2B5EF4-FFF2-40B4-BE49-F238E27FC236}">
                <a16:creationId xmlns:a16="http://schemas.microsoft.com/office/drawing/2014/main" id="{5756AF4C-3CBB-4531-BDCA-612B2428D28A}"/>
              </a:ext>
            </a:extLst>
          </p:cNvPr>
          <p:cNvSpPr txBox="1"/>
          <p:nvPr/>
        </p:nvSpPr>
        <p:spPr>
          <a:xfrm>
            <a:off x="6131022" y="2396913"/>
            <a:ext cx="4831871" cy="286555"/>
          </a:xfrm>
          <a:prstGeom prst="rect">
            <a:avLst/>
          </a:prstGeom>
          <a:solidFill>
            <a:srgbClr val="B24669"/>
          </a:solidFill>
          <a:ln>
            <a:noFill/>
          </a:ln>
        </p:spPr>
        <p:txBody>
          <a:bodyPr wrap="square" lIns="108000" rIns="108000" rtlCol="0">
            <a:spAutoFit/>
          </a:bodyPr>
          <a:lstStyle/>
          <a:p>
            <a:pPr algn="ctr"/>
            <a:r>
              <a:rPr lang="fr-FR" sz="1200" b="1" cap="small">
                <a:solidFill>
                  <a:srgbClr val="FFFFFF"/>
                </a:solidFill>
                <a:latin typeface="Tahoma"/>
              </a:rPr>
              <a:t>Modèle économique</a:t>
            </a:r>
          </a:p>
        </p:txBody>
      </p:sp>
      <p:sp>
        <p:nvSpPr>
          <p:cNvPr id="133" name="ZoneTexte 132">
            <a:extLst>
              <a:ext uri="{FF2B5EF4-FFF2-40B4-BE49-F238E27FC236}">
                <a16:creationId xmlns:a16="http://schemas.microsoft.com/office/drawing/2014/main" id="{88C21860-516B-440D-8738-B2603CFD5147}"/>
              </a:ext>
            </a:extLst>
          </p:cNvPr>
          <p:cNvSpPr txBox="1"/>
          <p:nvPr/>
        </p:nvSpPr>
        <p:spPr>
          <a:xfrm>
            <a:off x="9979500" y="3797829"/>
            <a:ext cx="998185"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Frais de </a:t>
            </a:r>
            <a:r>
              <a:rPr lang="fr-FR" sz="1100" b="1" err="1">
                <a:solidFill>
                  <a:srgbClr val="B24669"/>
                </a:solidFill>
                <a:latin typeface="Tahoma"/>
              </a:rPr>
              <a:t>fonct</a:t>
            </a:r>
            <a:r>
              <a:rPr lang="fr-FR" sz="1100" b="1">
                <a:solidFill>
                  <a:srgbClr val="B24669"/>
                </a:solidFill>
                <a:latin typeface="Tahoma"/>
              </a:rPr>
              <a:t>.</a:t>
            </a:r>
          </a:p>
        </p:txBody>
      </p:sp>
      <p:pic>
        <p:nvPicPr>
          <p:cNvPr id="134" name="Graphique 133" descr="Tirelire avec un remplissage uni">
            <a:extLst>
              <a:ext uri="{FF2B5EF4-FFF2-40B4-BE49-F238E27FC236}">
                <a16:creationId xmlns:a16="http://schemas.microsoft.com/office/drawing/2014/main" id="{568188EC-5330-4B4D-8263-9BC1F4CED44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50420" y="4253468"/>
            <a:ext cx="514426" cy="514426"/>
          </a:xfrm>
          <a:prstGeom prst="rect">
            <a:avLst/>
          </a:prstGeom>
        </p:spPr>
      </p:pic>
      <p:sp>
        <p:nvSpPr>
          <p:cNvPr id="136" name="ZoneTexte 135">
            <a:extLst>
              <a:ext uri="{FF2B5EF4-FFF2-40B4-BE49-F238E27FC236}">
                <a16:creationId xmlns:a16="http://schemas.microsoft.com/office/drawing/2014/main" id="{2BFFB121-B70A-402D-9E21-4F6EC00C108A}"/>
              </a:ext>
            </a:extLst>
          </p:cNvPr>
          <p:cNvSpPr txBox="1"/>
          <p:nvPr/>
        </p:nvSpPr>
        <p:spPr>
          <a:xfrm>
            <a:off x="6202259" y="3403852"/>
            <a:ext cx="3736745" cy="1799982"/>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137" name="ZoneTexte 136">
            <a:extLst>
              <a:ext uri="{FF2B5EF4-FFF2-40B4-BE49-F238E27FC236}">
                <a16:creationId xmlns:a16="http://schemas.microsoft.com/office/drawing/2014/main" id="{7A32106B-901D-48C8-9DAB-BB88631F2189}"/>
              </a:ext>
            </a:extLst>
          </p:cNvPr>
          <p:cNvSpPr txBox="1"/>
          <p:nvPr/>
        </p:nvSpPr>
        <p:spPr>
          <a:xfrm>
            <a:off x="6220795" y="3422374"/>
            <a:ext cx="3663182" cy="2086277"/>
          </a:xfrm>
          <a:prstGeom prst="rect">
            <a:avLst/>
          </a:prstGeom>
          <a:noFill/>
          <a:ln>
            <a:noFill/>
          </a:ln>
        </p:spPr>
        <p:txBody>
          <a:bodyPr wrap="square" lIns="108000" rIns="108000" rtlCol="0">
            <a:spAutoFit/>
          </a:bodyPr>
          <a:lstStyle/>
          <a:p>
            <a:pPr marL="171450" indent="-171450" algn="just">
              <a:lnSpc>
                <a:spcPct val="107000"/>
              </a:lnSpc>
              <a:buClr>
                <a:srgbClr val="503078"/>
              </a:buClr>
              <a:buFont typeface="Tahoma" panose="020B0604030504040204" pitchFamily="34" charset="0"/>
              <a:buChar char="⁄"/>
            </a:pPr>
            <a:r>
              <a:rPr lang="fr-FR" sz="1000">
                <a:solidFill>
                  <a:srgbClr val="5F5F5F"/>
                </a:solidFill>
                <a:latin typeface="Tahoma"/>
              </a:rPr>
              <a:t>Prestations d’hôtellerie externalisées :</a:t>
            </a:r>
          </a:p>
          <a:p>
            <a:pPr marL="360363" lvl="1" indent="-171450" algn="just">
              <a:lnSpc>
                <a:spcPct val="107000"/>
              </a:lnSpc>
              <a:buClr>
                <a:srgbClr val="B24669"/>
              </a:buClr>
              <a:buFont typeface="Courier New" panose="02070309020205020404" pitchFamily="49" charset="0"/>
              <a:buChar char="o"/>
            </a:pPr>
            <a:r>
              <a:rPr lang="fr-FR" sz="900">
                <a:solidFill>
                  <a:srgbClr val="5F5F5F"/>
                </a:solidFill>
                <a:latin typeface="Tahoma"/>
              </a:rPr>
              <a:t>Recours à des lieux de tourisme social ou ordinaire : aucune autorisation de place AT / HT n’est nécessaire</a:t>
            </a:r>
          </a:p>
          <a:p>
            <a:pPr marL="360363" lvl="1" indent="-171450" algn="just">
              <a:lnSpc>
                <a:spcPct val="107000"/>
              </a:lnSpc>
              <a:buClr>
                <a:srgbClr val="B24669"/>
              </a:buClr>
              <a:buFont typeface="Courier New" panose="02070309020205020404" pitchFamily="49" charset="0"/>
              <a:buChar char="o"/>
            </a:pPr>
            <a:r>
              <a:rPr lang="fr-FR" sz="900">
                <a:solidFill>
                  <a:srgbClr val="5F5F5F"/>
                </a:solidFill>
                <a:latin typeface="Tahoma"/>
              </a:rPr>
              <a:t>Tarifs à négocier auprès des partenaires</a:t>
            </a:r>
          </a:p>
          <a:p>
            <a:pPr marL="360363" lvl="1" indent="-171450" algn="just">
              <a:lnSpc>
                <a:spcPct val="107000"/>
              </a:lnSpc>
              <a:buClr>
                <a:srgbClr val="B24669"/>
              </a:buClr>
              <a:buFont typeface="Courier New" panose="02070309020205020404" pitchFamily="49" charset="0"/>
              <a:buChar char="o"/>
            </a:pPr>
            <a:r>
              <a:rPr lang="fr-FR" sz="900">
                <a:solidFill>
                  <a:srgbClr val="5F5F5F"/>
                </a:solidFill>
                <a:latin typeface="Tahoma"/>
              </a:rPr>
              <a:t>Transport à organiser</a:t>
            </a:r>
          </a:p>
          <a:p>
            <a:pPr marL="171450" indent="-171450" algn="just">
              <a:lnSpc>
                <a:spcPct val="107000"/>
              </a:lnSpc>
              <a:buClr>
                <a:srgbClr val="B24669"/>
              </a:buClr>
              <a:buFont typeface="Tahoma" panose="020B0604030504040204" pitchFamily="34" charset="0"/>
              <a:buChar char="⁄"/>
              <a:defRPr/>
            </a:pPr>
            <a:r>
              <a:rPr lang="fr-FR" sz="1000">
                <a:solidFill>
                  <a:srgbClr val="5F5F5F"/>
                </a:solidFill>
                <a:latin typeface="Tahoma"/>
              </a:rPr>
              <a:t>Détachement d’équipes mobiles de l’ESMS</a:t>
            </a:r>
          </a:p>
          <a:p>
            <a:pPr marL="171450" indent="-171450" algn="just">
              <a:lnSpc>
                <a:spcPct val="107000"/>
              </a:lnSpc>
              <a:buClr>
                <a:srgbClr val="B24669"/>
              </a:buClr>
              <a:buFont typeface="Tahoma" panose="020B0604030504040204" pitchFamily="34" charset="0"/>
              <a:buChar char="⁄"/>
              <a:defRPr/>
            </a:pPr>
            <a:r>
              <a:rPr lang="fr-FR" sz="1000">
                <a:solidFill>
                  <a:srgbClr val="5F5F5F"/>
                </a:solidFill>
                <a:latin typeface="Tahoma"/>
              </a:rPr>
              <a:t>Possibilité de prise en charge partielle des coûts</a:t>
            </a:r>
          </a:p>
          <a:p>
            <a:pPr marL="360363" lvl="1" indent="-171450" algn="just">
              <a:lnSpc>
                <a:spcPct val="107000"/>
              </a:lnSpc>
              <a:buClr>
                <a:srgbClr val="B24669"/>
              </a:buClr>
              <a:buFont typeface="Courier New" panose="02070309020205020404" pitchFamily="49" charset="0"/>
              <a:buChar char="o"/>
              <a:defRPr/>
            </a:pPr>
            <a:r>
              <a:rPr lang="fr-FR" sz="900">
                <a:solidFill>
                  <a:srgbClr val="5F5F5F"/>
                </a:solidFill>
                <a:latin typeface="Tahoma"/>
              </a:rPr>
              <a:t>Ex : fonds d’expérimentation pour les Personnes Agées Dépendantes et leurs Aidants (PADA) lancé par l’ANCV en partenariat avec les CARSAT) : prise en charge de 60% des coûts, plafond de 250€ par aidé ou aidant. </a:t>
            </a:r>
          </a:p>
          <a:p>
            <a:pPr marL="171450" indent="-171450" algn="just">
              <a:lnSpc>
                <a:spcPct val="107000"/>
              </a:lnSpc>
              <a:buClr>
                <a:srgbClr val="503078"/>
              </a:buClr>
              <a:buFont typeface="Tahoma" panose="020B0604030504040204" pitchFamily="34" charset="0"/>
              <a:buChar char="⁄"/>
              <a:defRPr/>
            </a:pPr>
            <a:endParaRPr lang="fr-FR" sz="1000">
              <a:solidFill>
                <a:srgbClr val="5F5F5F"/>
              </a:solidFill>
              <a:latin typeface="Tahoma"/>
            </a:endParaRPr>
          </a:p>
          <a:p>
            <a:pPr lvl="1" algn="just">
              <a:lnSpc>
                <a:spcPct val="107000"/>
              </a:lnSpc>
              <a:buClr>
                <a:srgbClr val="503078"/>
              </a:buClr>
            </a:pPr>
            <a:endParaRPr lang="fr-FR" sz="1000">
              <a:solidFill>
                <a:srgbClr val="5F5F5F"/>
              </a:solidFill>
              <a:latin typeface="Tahoma"/>
            </a:endParaRPr>
          </a:p>
        </p:txBody>
      </p:sp>
      <p:sp>
        <p:nvSpPr>
          <p:cNvPr id="138" name="ZoneTexte 137">
            <a:extLst>
              <a:ext uri="{FF2B5EF4-FFF2-40B4-BE49-F238E27FC236}">
                <a16:creationId xmlns:a16="http://schemas.microsoft.com/office/drawing/2014/main" id="{203F0F4C-DC87-4A97-B4DF-33145FB0A142}"/>
              </a:ext>
            </a:extLst>
          </p:cNvPr>
          <p:cNvSpPr txBox="1"/>
          <p:nvPr/>
        </p:nvSpPr>
        <p:spPr>
          <a:xfrm>
            <a:off x="6206809" y="5280993"/>
            <a:ext cx="3732194" cy="1362336"/>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39" name="ZoneTexte 138">
            <a:extLst>
              <a:ext uri="{FF2B5EF4-FFF2-40B4-BE49-F238E27FC236}">
                <a16:creationId xmlns:a16="http://schemas.microsoft.com/office/drawing/2014/main" id="{E1CE0520-714F-4A34-A8D4-4CC606CAAF6D}"/>
              </a:ext>
            </a:extLst>
          </p:cNvPr>
          <p:cNvSpPr txBox="1"/>
          <p:nvPr/>
        </p:nvSpPr>
        <p:spPr>
          <a:xfrm>
            <a:off x="9913294" y="5538691"/>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rif / reste à charge</a:t>
            </a:r>
          </a:p>
        </p:txBody>
      </p:sp>
      <p:pic>
        <p:nvPicPr>
          <p:cNvPr id="141" name="Graphique 140" descr="Pièces avec un remplissage uni">
            <a:extLst>
              <a:ext uri="{FF2B5EF4-FFF2-40B4-BE49-F238E27FC236}">
                <a16:creationId xmlns:a16="http://schemas.microsoft.com/office/drawing/2014/main" id="{E4926F3C-5DA6-448B-8646-A3EA4F6F215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271775" y="6053564"/>
            <a:ext cx="457966" cy="457966"/>
          </a:xfrm>
          <a:prstGeom prst="rect">
            <a:avLst/>
          </a:prstGeom>
        </p:spPr>
      </p:pic>
      <p:sp>
        <p:nvSpPr>
          <p:cNvPr id="145" name="ZoneTexte 144">
            <a:extLst>
              <a:ext uri="{FF2B5EF4-FFF2-40B4-BE49-F238E27FC236}">
                <a16:creationId xmlns:a16="http://schemas.microsoft.com/office/drawing/2014/main" id="{F39C336E-5E92-42A8-A824-815B3076E0A1}"/>
              </a:ext>
            </a:extLst>
          </p:cNvPr>
          <p:cNvSpPr txBox="1"/>
          <p:nvPr/>
        </p:nvSpPr>
        <p:spPr>
          <a:xfrm>
            <a:off x="2629593" y="2761810"/>
            <a:ext cx="3376602" cy="1195111"/>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46" name="ZoneTexte 145">
            <a:extLst>
              <a:ext uri="{FF2B5EF4-FFF2-40B4-BE49-F238E27FC236}">
                <a16:creationId xmlns:a16="http://schemas.microsoft.com/office/drawing/2014/main" id="{94EE9F06-1A06-46C3-92EB-23EE91D5CC64}"/>
              </a:ext>
            </a:extLst>
          </p:cNvPr>
          <p:cNvSpPr txBox="1"/>
          <p:nvPr/>
        </p:nvSpPr>
        <p:spPr>
          <a:xfrm>
            <a:off x="2626093" y="2788806"/>
            <a:ext cx="3290642" cy="1345561"/>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ublic cible : personnes dépendantes (situation de handicap, âge, ou maladie invalidantes) hébergées en ESMS ou à domicile ainsi que leurs aidant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rogrammation de séjours à des dates définies, généralement en haute et moyenne saison</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Capacité d’accueil variable et flexible</a:t>
            </a:r>
          </a:p>
          <a:p>
            <a:pPr algn="just">
              <a:lnSpc>
                <a:spcPct val="107000"/>
              </a:lnSpc>
              <a:spcAft>
                <a:spcPts val="300"/>
              </a:spcAft>
              <a:buClr>
                <a:srgbClr val="503078"/>
              </a:buClr>
            </a:pPr>
            <a:endParaRPr lang="fr-FR" sz="1000">
              <a:solidFill>
                <a:srgbClr val="5F5F5F"/>
              </a:solidFill>
              <a:latin typeface="Tahoma"/>
            </a:endParaRPr>
          </a:p>
        </p:txBody>
      </p:sp>
      <p:sp>
        <p:nvSpPr>
          <p:cNvPr id="149" name="ZoneTexte 148">
            <a:extLst>
              <a:ext uri="{FF2B5EF4-FFF2-40B4-BE49-F238E27FC236}">
                <a16:creationId xmlns:a16="http://schemas.microsoft.com/office/drawing/2014/main" id="{36848BA0-0674-4A92-8592-0F5E4C1F934A}"/>
              </a:ext>
            </a:extLst>
          </p:cNvPr>
          <p:cNvSpPr txBox="1"/>
          <p:nvPr/>
        </p:nvSpPr>
        <p:spPr>
          <a:xfrm>
            <a:off x="1159059" y="2716204"/>
            <a:ext cx="1579647" cy="261610"/>
          </a:xfrm>
          <a:prstGeom prst="rect">
            <a:avLst/>
          </a:prstGeom>
          <a:noFill/>
          <a:ln>
            <a:noFill/>
          </a:ln>
        </p:spPr>
        <p:txBody>
          <a:bodyPr wrap="square" lIns="108000" rIns="108000" rtlCol="0">
            <a:spAutoFit/>
          </a:bodyPr>
          <a:lstStyle/>
          <a:p>
            <a:pPr algn="ctr"/>
            <a:r>
              <a:rPr lang="fr-FR" sz="1100" b="1">
                <a:solidFill>
                  <a:srgbClr val="B0ADCC"/>
                </a:solidFill>
                <a:latin typeface="Tahoma"/>
              </a:rPr>
              <a:t>Format proposé</a:t>
            </a:r>
          </a:p>
        </p:txBody>
      </p:sp>
      <p:pic>
        <p:nvPicPr>
          <p:cNvPr id="36" name="Graphique 35" descr="Calendrier journalier avec un remplissage uni">
            <a:extLst>
              <a:ext uri="{FF2B5EF4-FFF2-40B4-BE49-F238E27FC236}">
                <a16:creationId xmlns:a16="http://schemas.microsoft.com/office/drawing/2014/main" id="{FF010243-FF8D-4022-9F7F-4CD70362EE8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663728" y="2932602"/>
            <a:ext cx="499013" cy="499013"/>
          </a:xfrm>
          <a:prstGeom prst="rect">
            <a:avLst/>
          </a:prstGeom>
        </p:spPr>
      </p:pic>
      <p:sp>
        <p:nvSpPr>
          <p:cNvPr id="43" name="ZoneTexte 42">
            <a:extLst>
              <a:ext uri="{FF2B5EF4-FFF2-40B4-BE49-F238E27FC236}">
                <a16:creationId xmlns:a16="http://schemas.microsoft.com/office/drawing/2014/main" id="{F9112A34-EFFE-4974-BD0F-8A6ECA750EDD}"/>
              </a:ext>
            </a:extLst>
          </p:cNvPr>
          <p:cNvSpPr txBox="1"/>
          <p:nvPr/>
        </p:nvSpPr>
        <p:spPr>
          <a:xfrm>
            <a:off x="6205465" y="5326942"/>
            <a:ext cx="3692498" cy="1636410"/>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B24669"/>
              </a:buClr>
              <a:buFont typeface="Tahoma" panose="020B0604030504040204" pitchFamily="34" charset="0"/>
              <a:buChar char="⁄"/>
            </a:pPr>
            <a:r>
              <a:rPr lang="fr-FR" sz="1000">
                <a:solidFill>
                  <a:srgbClr val="5F5F5F"/>
                </a:solidFill>
                <a:latin typeface="Tahoma"/>
              </a:rPr>
              <a:t>Tarifs variables en fonction du porteur de projet, de la saisonnalité et des lieux d’accueil</a:t>
            </a:r>
          </a:p>
          <a:p>
            <a:pPr marL="171450" indent="-171450" algn="just">
              <a:lnSpc>
                <a:spcPct val="107000"/>
              </a:lnSpc>
              <a:spcAft>
                <a:spcPts val="300"/>
              </a:spcAft>
              <a:buClr>
                <a:srgbClr val="B24669"/>
              </a:buClr>
              <a:buFont typeface="Tahoma" panose="020B0604030504040204" pitchFamily="34" charset="0"/>
              <a:buChar char="⁄"/>
            </a:pPr>
            <a:r>
              <a:rPr lang="fr-FR" sz="1000">
                <a:solidFill>
                  <a:srgbClr val="5F5F5F"/>
                </a:solidFill>
                <a:latin typeface="Tahoma"/>
              </a:rPr>
              <a:t>Financements disponibles pour réduire le reste à charge : aides départementales pour la prise en charge médico-sociale et prise en charge partielle de l’établissement (aides VACAF, ANCV, participation des groupes de protection sociale, …) </a:t>
            </a:r>
          </a:p>
          <a:p>
            <a:pPr marL="171450" indent="-171450" algn="just">
              <a:lnSpc>
                <a:spcPct val="107000"/>
              </a:lnSpc>
              <a:buClr>
                <a:srgbClr val="B24669"/>
              </a:buClr>
              <a:buFont typeface="Tahoma" panose="020B0604030504040204" pitchFamily="34" charset="0"/>
              <a:buChar char="⁄"/>
              <a:defRPr/>
            </a:pPr>
            <a:endParaRPr lang="fr-FR" sz="1000">
              <a:solidFill>
                <a:srgbClr val="5F5F5F"/>
              </a:solidFill>
              <a:latin typeface="Tahoma"/>
            </a:endParaRPr>
          </a:p>
          <a:p>
            <a:pPr lvl="1" algn="just">
              <a:lnSpc>
                <a:spcPct val="107000"/>
              </a:lnSpc>
              <a:buClr>
                <a:srgbClr val="B24669"/>
              </a:buClr>
            </a:pPr>
            <a:endParaRPr lang="fr-FR" sz="1000">
              <a:solidFill>
                <a:srgbClr val="5F5F5F"/>
              </a:solidFill>
              <a:latin typeface="Tahoma"/>
            </a:endParaRPr>
          </a:p>
        </p:txBody>
      </p:sp>
    </p:spTree>
    <p:extLst>
      <p:ext uri="{BB962C8B-B14F-4D97-AF65-F5344CB8AC3E}">
        <p14:creationId xmlns:p14="http://schemas.microsoft.com/office/powerpoint/2010/main" val="16428219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6CCCFB9-E7A4-4FA0-ACFE-13891ADB4576}"/>
              </a:ext>
            </a:extLst>
          </p:cNvPr>
          <p:cNvSpPr>
            <a:spLocks noGrp="1"/>
          </p:cNvSpPr>
          <p:nvPr>
            <p:ph type="title"/>
          </p:nvPr>
        </p:nvSpPr>
        <p:spPr>
          <a:xfrm>
            <a:off x="1488600" y="404665"/>
            <a:ext cx="9728168" cy="863748"/>
          </a:xfrm>
        </p:spPr>
        <p:txBody>
          <a:bodyPr/>
          <a:lstStyle/>
          <a:p>
            <a:r>
              <a:rPr lang="fr-FR"/>
              <a:t>Forces et faiblesses des modèles identifiés </a:t>
            </a:r>
            <a:endParaRPr lang="fr-FR" sz="2400" i="1"/>
          </a:p>
        </p:txBody>
      </p:sp>
      <p:sp>
        <p:nvSpPr>
          <p:cNvPr id="3" name="Espace réservé du texte 2">
            <a:extLst>
              <a:ext uri="{FF2B5EF4-FFF2-40B4-BE49-F238E27FC236}">
                <a16:creationId xmlns:a16="http://schemas.microsoft.com/office/drawing/2014/main" id="{EA786B65-FD77-46F5-BB58-054675AE6306}"/>
              </a:ext>
            </a:extLst>
          </p:cNvPr>
          <p:cNvSpPr>
            <a:spLocks noGrp="1"/>
          </p:cNvSpPr>
          <p:nvPr>
            <p:ph type="body" sz="quarter" idx="13"/>
          </p:nvPr>
        </p:nvSpPr>
        <p:spPr/>
        <p:txBody>
          <a:bodyPr/>
          <a:lstStyle/>
          <a:p>
            <a:r>
              <a:rPr lang="fr-FR"/>
              <a:t>Etat des lieux </a:t>
            </a:r>
            <a:r>
              <a:rPr lang="fr-FR">
                <a:solidFill>
                  <a:srgbClr val="938481"/>
                </a:solidFill>
              </a:rPr>
              <a:t>des modèles existants</a:t>
            </a:r>
            <a:endParaRPr lang="fr-FR"/>
          </a:p>
        </p:txBody>
      </p:sp>
      <p:graphicFrame>
        <p:nvGraphicFramePr>
          <p:cNvPr id="5" name="Tableau 6">
            <a:extLst>
              <a:ext uri="{FF2B5EF4-FFF2-40B4-BE49-F238E27FC236}">
                <a16:creationId xmlns:a16="http://schemas.microsoft.com/office/drawing/2014/main" id="{E6D02EF3-0B05-4A01-8F17-F6E8F9DBE818}"/>
              </a:ext>
            </a:extLst>
          </p:cNvPr>
          <p:cNvGraphicFramePr>
            <a:graphicFrameLocks noGrp="1"/>
          </p:cNvGraphicFramePr>
          <p:nvPr/>
        </p:nvGraphicFramePr>
        <p:xfrm>
          <a:off x="1298820" y="1071673"/>
          <a:ext cx="9594361" cy="4551516"/>
        </p:xfrm>
        <a:graphic>
          <a:graphicData uri="http://schemas.openxmlformats.org/drawingml/2006/table">
            <a:tbl>
              <a:tblPr firstRow="1" bandRow="1">
                <a:tableStyleId>{5C22544A-7EE6-4342-B048-85BDC9FD1C3A}</a:tableStyleId>
              </a:tblPr>
              <a:tblGrid>
                <a:gridCol w="522361">
                  <a:extLst>
                    <a:ext uri="{9D8B030D-6E8A-4147-A177-3AD203B41FA5}">
                      <a16:colId xmlns:a16="http://schemas.microsoft.com/office/drawing/2014/main" val="2347391612"/>
                    </a:ext>
                  </a:extLst>
                </a:gridCol>
                <a:gridCol w="2268000">
                  <a:extLst>
                    <a:ext uri="{9D8B030D-6E8A-4147-A177-3AD203B41FA5}">
                      <a16:colId xmlns:a16="http://schemas.microsoft.com/office/drawing/2014/main" val="3929082037"/>
                    </a:ext>
                  </a:extLst>
                </a:gridCol>
                <a:gridCol w="2268000">
                  <a:extLst>
                    <a:ext uri="{9D8B030D-6E8A-4147-A177-3AD203B41FA5}">
                      <a16:colId xmlns:a16="http://schemas.microsoft.com/office/drawing/2014/main" val="2913248160"/>
                    </a:ext>
                  </a:extLst>
                </a:gridCol>
                <a:gridCol w="2268000">
                  <a:extLst>
                    <a:ext uri="{9D8B030D-6E8A-4147-A177-3AD203B41FA5}">
                      <a16:colId xmlns:a16="http://schemas.microsoft.com/office/drawing/2014/main" val="488960178"/>
                    </a:ext>
                  </a:extLst>
                </a:gridCol>
                <a:gridCol w="2268000">
                  <a:extLst>
                    <a:ext uri="{9D8B030D-6E8A-4147-A177-3AD203B41FA5}">
                      <a16:colId xmlns:a16="http://schemas.microsoft.com/office/drawing/2014/main" val="951578992"/>
                    </a:ext>
                  </a:extLst>
                </a:gridCol>
              </a:tblGrid>
              <a:tr h="549014">
                <a:tc>
                  <a:txBody>
                    <a:bodyPr/>
                    <a:lstStyle/>
                    <a:p>
                      <a:endParaRPr lang="fr-FR" sz="1100"/>
                    </a:p>
                  </a:txBody>
                  <a:tcPr>
                    <a:solidFill>
                      <a:schemeClr val="bg1"/>
                    </a:solidFill>
                  </a:tcPr>
                </a:tc>
                <a:tc>
                  <a:txBody>
                    <a:bodyPr/>
                    <a:lstStyle/>
                    <a:p>
                      <a:pPr algn="ctr"/>
                      <a:r>
                        <a:rPr lang="fr-FR" sz="1100" u="sng"/>
                        <a:t>Modèle 1</a:t>
                      </a:r>
                      <a:r>
                        <a:rPr lang="fr-FR" sz="1100"/>
                        <a:t> : le village vacances « autonome »</a:t>
                      </a:r>
                    </a:p>
                  </a:txBody>
                  <a:tcPr anchor="ctr">
                    <a:solidFill>
                      <a:schemeClr val="bg2"/>
                    </a:solidFill>
                  </a:tcPr>
                </a:tc>
                <a:tc>
                  <a:txBody>
                    <a:bodyPr/>
                    <a:lstStyle/>
                    <a:p>
                      <a:pPr algn="ctr"/>
                      <a:r>
                        <a:rPr lang="fr-FR" sz="1100" u="sng"/>
                        <a:t>Modèle 2</a:t>
                      </a:r>
                      <a:r>
                        <a:rPr lang="fr-FR" sz="1100"/>
                        <a:t> : le village vacances adossé à un ESMS</a:t>
                      </a:r>
                    </a:p>
                  </a:txBody>
                  <a:tcPr anchor="ctr">
                    <a:solidFill>
                      <a:schemeClr val="bg2"/>
                    </a:solidFill>
                  </a:tcPr>
                </a:tc>
                <a:tc>
                  <a:txBody>
                    <a:bodyPr/>
                    <a:lstStyle/>
                    <a:p>
                      <a:pPr algn="ctr"/>
                      <a:r>
                        <a:rPr lang="fr-FR" sz="1100" u="sng"/>
                        <a:t>Modèle 3</a:t>
                      </a:r>
                      <a:r>
                        <a:rPr lang="fr-FR" sz="1100"/>
                        <a:t> : les partenariats entre ESMS</a:t>
                      </a:r>
                    </a:p>
                  </a:txBody>
                  <a:tcPr anchor="ctr">
                    <a:solidFill>
                      <a:schemeClr val="bg2"/>
                    </a:solidFill>
                  </a:tcPr>
                </a:tc>
                <a:tc>
                  <a:txBody>
                    <a:bodyPr/>
                    <a:lstStyle/>
                    <a:p>
                      <a:pPr algn="ctr"/>
                      <a:r>
                        <a:rPr lang="fr-FR" sz="1100" u="sng"/>
                        <a:t>Modèle 4</a:t>
                      </a:r>
                      <a:r>
                        <a:rPr lang="fr-FR" sz="1100"/>
                        <a:t> : les partenariats association / ESMS et acteurs du tourisme</a:t>
                      </a:r>
                    </a:p>
                  </a:txBody>
                  <a:tcPr anchor="ctr">
                    <a:solidFill>
                      <a:schemeClr val="bg2"/>
                    </a:solidFill>
                  </a:tcPr>
                </a:tc>
                <a:extLst>
                  <a:ext uri="{0D108BD9-81ED-4DB2-BD59-A6C34878D82A}">
                    <a16:rowId xmlns:a16="http://schemas.microsoft.com/office/drawing/2014/main" val="1193975960"/>
                  </a:ext>
                </a:extLst>
              </a:tr>
              <a:tr h="1869124">
                <a:tc>
                  <a:txBody>
                    <a:bodyPr/>
                    <a:lstStyle/>
                    <a:p>
                      <a:pPr algn="ctr"/>
                      <a:r>
                        <a:rPr lang="fr-FR" sz="1200" b="1"/>
                        <a:t>Forces</a:t>
                      </a:r>
                    </a:p>
                  </a:txBody>
                  <a:tcPr vert="vert270">
                    <a:solidFill>
                      <a:srgbClr val="EDD3DC"/>
                    </a:solidFill>
                  </a:tcPr>
                </a:tc>
                <a:tc>
                  <a:txBody>
                    <a:bodyPr/>
                    <a:lstStyle/>
                    <a:p>
                      <a:pPr marL="180975" marR="0" lvl="1" indent="-180975"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chemeClr val="tx1"/>
                          </a:solidFill>
                          <a:effectLst/>
                          <a:uLnTx/>
                          <a:uFillTx/>
                          <a:latin typeface="+mn-lt"/>
                          <a:ea typeface="+mn-ea"/>
                          <a:cs typeface="+mn-cs"/>
                        </a:rPr>
                        <a:t>Une </a:t>
                      </a:r>
                      <a:r>
                        <a:rPr kumimoji="0" lang="fr-FR" sz="1000" b="1" i="0" u="none" strike="noStrike" kern="1200" cap="none" spc="0" normalizeH="0" baseline="0" noProof="0">
                          <a:ln>
                            <a:noFill/>
                          </a:ln>
                          <a:solidFill>
                            <a:schemeClr val="tx1"/>
                          </a:solidFill>
                          <a:effectLst/>
                          <a:uLnTx/>
                          <a:uFillTx/>
                          <a:latin typeface="+mn-lt"/>
                          <a:ea typeface="+mn-ea"/>
                          <a:cs typeface="+mn-cs"/>
                        </a:rPr>
                        <a:t>offre permanente </a:t>
                      </a:r>
                      <a:r>
                        <a:rPr kumimoji="0" lang="fr-FR" sz="1000" b="0" i="0" u="none" strike="noStrike" kern="1200" cap="none" spc="0" normalizeH="0" baseline="0" noProof="0">
                          <a:ln>
                            <a:noFill/>
                          </a:ln>
                          <a:solidFill>
                            <a:schemeClr val="tx1"/>
                          </a:solidFill>
                          <a:effectLst/>
                          <a:uLnTx/>
                          <a:uFillTx/>
                          <a:latin typeface="+mn-lt"/>
                          <a:ea typeface="+mn-ea"/>
                          <a:cs typeface="+mn-cs"/>
                        </a:rPr>
                        <a:t>de séjours de </a:t>
                      </a:r>
                      <a:r>
                        <a:rPr kumimoji="0" lang="fr-FR" sz="1000" b="1" i="0" u="none" strike="noStrike" kern="1200" cap="none" spc="0" normalizeH="0" baseline="0" noProof="0">
                          <a:ln>
                            <a:noFill/>
                          </a:ln>
                          <a:solidFill>
                            <a:schemeClr val="tx1"/>
                          </a:solidFill>
                          <a:effectLst/>
                          <a:uLnTx/>
                          <a:uFillTx/>
                          <a:latin typeface="+mn-lt"/>
                          <a:ea typeface="+mn-ea"/>
                          <a:cs typeface="+mn-cs"/>
                        </a:rPr>
                        <a:t>vacances personnalisées</a:t>
                      </a:r>
                      <a:r>
                        <a:rPr kumimoji="0" lang="fr-FR" sz="1000" b="0" i="0" u="none" strike="noStrike" kern="1200" cap="none" spc="0" normalizeH="0" baseline="0" noProof="0">
                          <a:ln>
                            <a:noFill/>
                          </a:ln>
                          <a:solidFill>
                            <a:schemeClr val="tx1"/>
                          </a:solidFill>
                          <a:effectLst/>
                          <a:uLnTx/>
                          <a:uFillTx/>
                          <a:latin typeface="+mn-lt"/>
                          <a:ea typeface="+mn-ea"/>
                          <a:cs typeface="+mn-cs"/>
                        </a:rPr>
                        <a:t> permettant de </a:t>
                      </a:r>
                      <a:r>
                        <a:rPr kumimoji="0" lang="fr-FR" sz="1000" b="1" i="0" u="none" strike="noStrike" kern="1200" cap="none" spc="0" normalizeH="0" baseline="0" noProof="0">
                          <a:ln>
                            <a:noFill/>
                          </a:ln>
                          <a:solidFill>
                            <a:schemeClr val="tx1"/>
                          </a:solidFill>
                          <a:effectLst/>
                          <a:uLnTx/>
                          <a:uFillTx/>
                          <a:latin typeface="+mn-lt"/>
                          <a:ea typeface="+mn-ea"/>
                          <a:cs typeface="+mn-cs"/>
                        </a:rPr>
                        <a:t>fidéliser une clientèle</a:t>
                      </a:r>
                    </a:p>
                  </a:txBody>
                  <a:tcPr anchor="ctr">
                    <a:solidFill>
                      <a:schemeClr val="bg1">
                        <a:lumMod val="95000"/>
                      </a:schemeClr>
                    </a:solidFill>
                  </a:tcPr>
                </a:tc>
                <a:tc>
                  <a:txBody>
                    <a:bodyPr/>
                    <a:lstStyle/>
                    <a:p>
                      <a:pPr marL="273050" marR="0" lvl="1" indent="-180975"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fr-FR" sz="1000" b="0" i="0" u="none" strike="noStrike" kern="1200" cap="none" spc="0" normalizeH="0" baseline="0" noProof="0" dirty="0">
                          <a:ln>
                            <a:noFill/>
                          </a:ln>
                          <a:solidFill>
                            <a:schemeClr val="tx1"/>
                          </a:solidFill>
                          <a:effectLst/>
                          <a:uLnTx/>
                          <a:uFillTx/>
                          <a:latin typeface="+mn-lt"/>
                          <a:ea typeface="+mn-ea"/>
                          <a:cs typeface="+mn-cs"/>
                        </a:rPr>
                        <a:t>Une </a:t>
                      </a:r>
                      <a:r>
                        <a:rPr kumimoji="0" lang="fr-FR" sz="1000" b="1" i="0" u="none" strike="noStrike" kern="1200" cap="none" spc="0" normalizeH="0" baseline="0" noProof="0" dirty="0">
                          <a:ln>
                            <a:noFill/>
                          </a:ln>
                          <a:solidFill>
                            <a:schemeClr val="tx1"/>
                          </a:solidFill>
                          <a:effectLst/>
                          <a:uLnTx/>
                          <a:uFillTx/>
                          <a:latin typeface="+mn-lt"/>
                          <a:ea typeface="+mn-ea"/>
                          <a:cs typeface="+mn-cs"/>
                        </a:rPr>
                        <a:t>rationalisation des coûts </a:t>
                      </a:r>
                      <a:r>
                        <a:rPr kumimoji="0" lang="fr-FR" sz="1000" b="0" i="0" u="none" strike="noStrike" kern="1200" cap="none" spc="0" normalizeH="0" baseline="0" noProof="0" dirty="0">
                          <a:ln>
                            <a:noFill/>
                          </a:ln>
                          <a:solidFill>
                            <a:schemeClr val="tx1"/>
                          </a:solidFill>
                          <a:effectLst/>
                          <a:uLnTx/>
                          <a:uFillTx/>
                          <a:latin typeface="+mn-lt"/>
                          <a:ea typeface="+mn-ea"/>
                          <a:cs typeface="+mn-cs"/>
                        </a:rPr>
                        <a:t>grâce à la </a:t>
                      </a:r>
                      <a:r>
                        <a:rPr kumimoji="0" lang="fr-FR" sz="1000" b="1" i="0" u="none" strike="noStrike" kern="1200" cap="none" spc="0" normalizeH="0" baseline="0" noProof="0" dirty="0">
                          <a:ln>
                            <a:noFill/>
                          </a:ln>
                          <a:solidFill>
                            <a:schemeClr val="tx1"/>
                          </a:solidFill>
                          <a:effectLst/>
                          <a:uLnTx/>
                          <a:uFillTx/>
                          <a:latin typeface="+mn-lt"/>
                          <a:ea typeface="+mn-ea"/>
                          <a:cs typeface="+mn-cs"/>
                        </a:rPr>
                        <a:t>mutualisation d’une partie de l’infrastructure </a:t>
                      </a:r>
                      <a:r>
                        <a:rPr kumimoji="0" lang="fr-FR" sz="1000" b="0" i="0" u="none" strike="noStrike" kern="1200" cap="none" spc="0" normalizeH="0" baseline="0" noProof="0" dirty="0">
                          <a:ln>
                            <a:noFill/>
                          </a:ln>
                          <a:solidFill>
                            <a:schemeClr val="tx1"/>
                          </a:solidFill>
                          <a:effectLst/>
                          <a:uLnTx/>
                          <a:uFillTx/>
                          <a:latin typeface="+mn-lt"/>
                          <a:ea typeface="+mn-ea"/>
                          <a:cs typeface="+mn-cs"/>
                        </a:rPr>
                        <a:t>entre le centre et l’ESMS ; des </a:t>
                      </a:r>
                      <a:r>
                        <a:rPr kumimoji="0" lang="fr-FR" sz="1000" b="1" i="0" u="none" strike="noStrike" kern="1200" cap="none" spc="0" normalizeH="0" baseline="0" noProof="0" dirty="0">
                          <a:ln>
                            <a:noFill/>
                          </a:ln>
                          <a:solidFill>
                            <a:schemeClr val="tx1"/>
                          </a:solidFill>
                          <a:effectLst/>
                          <a:uLnTx/>
                          <a:uFillTx/>
                          <a:latin typeface="+mn-lt"/>
                          <a:ea typeface="+mn-ea"/>
                          <a:cs typeface="+mn-cs"/>
                        </a:rPr>
                        <a:t>places d’AT / HT et un recrutement de personnels MS simplifié</a:t>
                      </a:r>
                    </a:p>
                  </a:txBody>
                  <a:tcPr anchor="ctr">
                    <a:solidFill>
                      <a:schemeClr val="bg1">
                        <a:lumMod val="95000"/>
                      </a:schemeClr>
                    </a:solidFill>
                  </a:tcPr>
                </a:tc>
                <a:tc>
                  <a:txBody>
                    <a:bodyPr/>
                    <a:lstStyle/>
                    <a:p>
                      <a:pPr marL="0" marR="0" lvl="1" indent="0" algn="just" defTabSz="914400" rtl="0" eaLnBrk="1" fontAlgn="auto" latinLnBrk="0" hangingPunct="1">
                        <a:lnSpc>
                          <a:spcPct val="100000"/>
                        </a:lnSpc>
                        <a:spcBef>
                          <a:spcPts val="300"/>
                        </a:spcBef>
                        <a:spcAft>
                          <a:spcPts val="0"/>
                        </a:spcAft>
                        <a:buClrTx/>
                        <a:buSzTx/>
                        <a:buFontTx/>
                        <a:buNone/>
                        <a:tabLst/>
                        <a:defRPr/>
                      </a:pPr>
                      <a:endParaRPr kumimoji="0" lang="fr-FR" sz="1000" b="0" i="0" u="none" strike="noStrike" kern="1200" cap="none" spc="0" normalizeH="0" baseline="0" noProof="0">
                        <a:ln>
                          <a:noFill/>
                        </a:ln>
                        <a:solidFill>
                          <a:schemeClr val="tx1"/>
                        </a:solidFill>
                        <a:effectLst/>
                        <a:uLnTx/>
                        <a:uFillTx/>
                        <a:latin typeface="+mn-lt"/>
                        <a:ea typeface="+mn-ea"/>
                        <a:cs typeface="+mn-cs"/>
                      </a:endParaRPr>
                    </a:p>
                    <a:p>
                      <a:pPr marL="179070" marR="0" lvl="1" indent="-175895" algn="just" defTabSz="914400" rtl="0" eaLnBrk="1" fontAlgn="auto" latinLnBrk="0" hangingPunct="1">
                        <a:lnSpc>
                          <a:spcPct val="110000"/>
                        </a:lnSpc>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chemeClr val="tx1"/>
                          </a:solidFill>
                          <a:effectLst/>
                          <a:uLnTx/>
                          <a:uFillTx/>
                          <a:latin typeface="+mn-lt"/>
                          <a:ea typeface="+mn-ea"/>
                          <a:cs typeface="+mn-cs"/>
                        </a:rPr>
                        <a:t>Une </a:t>
                      </a:r>
                      <a:r>
                        <a:rPr kumimoji="0" lang="fr-FR" sz="1000" b="1" i="0" u="none" strike="noStrike" kern="1200" cap="none" spc="0" normalizeH="0" baseline="0" noProof="0">
                          <a:ln>
                            <a:noFill/>
                          </a:ln>
                          <a:solidFill>
                            <a:schemeClr val="tx1"/>
                          </a:solidFill>
                          <a:effectLst/>
                          <a:uLnTx/>
                          <a:uFillTx/>
                          <a:latin typeface="+mn-lt"/>
                          <a:ea typeface="+mn-ea"/>
                          <a:cs typeface="+mn-cs"/>
                        </a:rPr>
                        <a:t>optimisation du fonctionnement </a:t>
                      </a:r>
                      <a:r>
                        <a:rPr kumimoji="0" lang="fr-FR" sz="1000" b="0" i="0" u="none" strike="noStrike" kern="1200" cap="none" spc="0" normalizeH="0" baseline="0" noProof="0">
                          <a:ln>
                            <a:noFill/>
                          </a:ln>
                          <a:solidFill>
                            <a:schemeClr val="tx1"/>
                          </a:solidFill>
                          <a:effectLst/>
                          <a:uLnTx/>
                          <a:uFillTx/>
                          <a:latin typeface="+mn-lt"/>
                          <a:ea typeface="+mn-ea"/>
                          <a:cs typeface="+mn-cs"/>
                        </a:rPr>
                        <a:t>: mutualisation des coûts, optimisation du taux de remplissage des ESMS, présence de personnels MS qualifiés</a:t>
                      </a:r>
                      <a:endParaRPr lang="fr-FR" sz="1000">
                        <a:solidFill>
                          <a:schemeClr val="tx1"/>
                        </a:solidFill>
                      </a:endParaRPr>
                    </a:p>
                  </a:txBody>
                  <a:tcPr anchor="ctr">
                    <a:solidFill>
                      <a:schemeClr val="bg1">
                        <a:lumMod val="95000"/>
                      </a:schemeClr>
                    </a:solidFill>
                  </a:tcPr>
                </a:tc>
                <a:tc>
                  <a:txBody>
                    <a:bodyPr/>
                    <a:lstStyle/>
                    <a:p>
                      <a:pPr marL="273050" marR="0" lvl="1" indent="-175895" algn="just" defTabSz="914400" rtl="0" eaLnBrk="1" fontAlgn="auto" latinLnBrk="0" hangingPunct="1">
                        <a:lnSpc>
                          <a:spcPct val="110000"/>
                        </a:lnSpc>
                        <a:spcAft>
                          <a:spcPts val="300"/>
                        </a:spcAft>
                        <a:buClrTx/>
                        <a:buSzTx/>
                        <a:buFont typeface="Arial" panose="020B0604020202020204" pitchFamily="34" charset="0"/>
                        <a:buChar char="•"/>
                        <a:tabLst/>
                        <a:defRPr/>
                      </a:pPr>
                      <a:r>
                        <a:rPr kumimoji="0" lang="fr-FR" sz="1000" b="0" i="0" u="none" strike="noStrike" kern="1200" cap="none" spc="0" normalizeH="0" baseline="0" noProof="0" dirty="0">
                          <a:ln>
                            <a:noFill/>
                          </a:ln>
                          <a:solidFill>
                            <a:schemeClr val="tx1"/>
                          </a:solidFill>
                          <a:effectLst/>
                          <a:uLnTx/>
                          <a:uFillTx/>
                          <a:latin typeface="+mn-lt"/>
                          <a:ea typeface="+mn-ea"/>
                          <a:cs typeface="+mn-cs"/>
                        </a:rPr>
                        <a:t>Une </a:t>
                      </a:r>
                      <a:r>
                        <a:rPr kumimoji="0" lang="fr-FR" sz="1000" b="1" i="0" u="none" strike="noStrike" kern="1200" cap="none" spc="0" normalizeH="0" baseline="0" noProof="0" dirty="0">
                          <a:ln>
                            <a:noFill/>
                          </a:ln>
                          <a:solidFill>
                            <a:schemeClr val="tx1"/>
                          </a:solidFill>
                          <a:effectLst/>
                          <a:uLnTx/>
                          <a:uFillTx/>
                          <a:latin typeface="+mn-lt"/>
                          <a:ea typeface="+mn-ea"/>
                          <a:cs typeface="+mn-cs"/>
                        </a:rPr>
                        <a:t>externalisation de la gestion des infrastructures</a:t>
                      </a:r>
                      <a:r>
                        <a:rPr kumimoji="0" lang="fr-FR" sz="1000" b="0" i="0" u="none" strike="noStrike" kern="1200" cap="none" spc="0" normalizeH="0" baseline="0" noProof="0" dirty="0">
                          <a:ln>
                            <a:noFill/>
                          </a:ln>
                          <a:solidFill>
                            <a:schemeClr val="tx1"/>
                          </a:solidFill>
                          <a:effectLst/>
                          <a:uLnTx/>
                          <a:uFillTx/>
                          <a:latin typeface="+mn-lt"/>
                          <a:ea typeface="+mn-ea"/>
                          <a:cs typeface="+mn-cs"/>
                        </a:rPr>
                        <a:t> et des prestations d’hôtellerie pour offrir </a:t>
                      </a:r>
                      <a:r>
                        <a:rPr kumimoji="0" lang="fr-FR" sz="1000" b="1" i="0" u="none" strike="noStrike" kern="1200" cap="none" spc="0" normalizeH="0" baseline="0" noProof="0" dirty="0">
                          <a:ln>
                            <a:noFill/>
                          </a:ln>
                          <a:solidFill>
                            <a:schemeClr val="tx1"/>
                          </a:solidFill>
                          <a:effectLst/>
                          <a:uLnTx/>
                          <a:uFillTx/>
                          <a:latin typeface="+mn-lt"/>
                          <a:ea typeface="+mn-ea"/>
                          <a:cs typeface="+mn-cs"/>
                        </a:rPr>
                        <a:t>des séjours diversifiés et flexibles qui ne nécessitent pas d’investissements</a:t>
                      </a:r>
                      <a:endParaRPr kumimoji="0" lang="fr-FR" sz="1000" b="0" i="0" u="none" strike="noStrike" kern="1200" cap="none" spc="0" normalizeH="0" baseline="0" noProof="0" dirty="0">
                        <a:ln>
                          <a:noFill/>
                        </a:ln>
                        <a:solidFill>
                          <a:schemeClr val="tx1"/>
                        </a:solidFill>
                        <a:effectLst/>
                        <a:uLnTx/>
                        <a:uFillTx/>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2629108705"/>
                  </a:ext>
                </a:extLst>
              </a:tr>
              <a:tr h="2088032">
                <a:tc>
                  <a:txBody>
                    <a:bodyPr/>
                    <a:lstStyle/>
                    <a:p>
                      <a:pPr algn="ctr"/>
                      <a:r>
                        <a:rPr lang="fr-FR" sz="1200" b="1"/>
                        <a:t>Faiblesses</a:t>
                      </a:r>
                    </a:p>
                  </a:txBody>
                  <a:tcPr vert="vert270">
                    <a:solidFill>
                      <a:srgbClr val="E8FCFE"/>
                    </a:solidFill>
                  </a:tcPr>
                </a:tc>
                <a:tc>
                  <a:txBody>
                    <a:bodyPr/>
                    <a:lstStyle/>
                    <a:p>
                      <a:pPr marL="171450" marR="0" lvl="1" indent="-171450" algn="just" rtl="0" eaLnBrk="1" fontAlgn="auto" latinLnBrk="0" hangingPunct="1">
                        <a:lnSpc>
                          <a:spcPct val="100000"/>
                        </a:lnSpc>
                        <a:spcBef>
                          <a:spcPts val="0"/>
                        </a:spcBef>
                        <a:spcAft>
                          <a:spcPts val="300"/>
                        </a:spcAft>
                        <a:buClrTx/>
                        <a:buSzTx/>
                        <a:buFont typeface="Arial" panose="020B0604020202020204" pitchFamily="34" charset="0"/>
                        <a:buChar char="•"/>
                      </a:pPr>
                      <a:r>
                        <a:rPr lang="fr-FR" sz="1000" kern="1200" dirty="0">
                          <a:solidFill>
                            <a:schemeClr val="tx1"/>
                          </a:solidFill>
                          <a:latin typeface="+mn-lt"/>
                          <a:ea typeface="+mn-ea"/>
                          <a:cs typeface="+mn-cs"/>
                        </a:rPr>
                        <a:t>Un </a:t>
                      </a:r>
                      <a:r>
                        <a:rPr lang="fr-FR" sz="1000" b="1" kern="1200" dirty="0">
                          <a:solidFill>
                            <a:schemeClr val="tx1"/>
                          </a:solidFill>
                          <a:latin typeface="+mn-lt"/>
                          <a:ea typeface="+mn-ea"/>
                          <a:cs typeface="+mn-cs"/>
                        </a:rPr>
                        <a:t>équilibre économique difficile à atteindre : </a:t>
                      </a:r>
                      <a:r>
                        <a:rPr lang="fr-FR" sz="1000" b="0" kern="1200" dirty="0">
                          <a:solidFill>
                            <a:schemeClr val="tx1"/>
                          </a:solidFill>
                          <a:latin typeface="+mn-lt"/>
                          <a:ea typeface="+mn-ea"/>
                          <a:cs typeface="+mn-cs"/>
                        </a:rPr>
                        <a:t>difficultés de financement des places </a:t>
                      </a:r>
                      <a:r>
                        <a:rPr lang="fr-FR" sz="1000" kern="1200" dirty="0">
                          <a:solidFill>
                            <a:schemeClr val="tx1"/>
                          </a:solidFill>
                          <a:latin typeface="+mn-lt"/>
                          <a:ea typeface="+mn-ea"/>
                          <a:cs typeface="+mn-cs"/>
                        </a:rPr>
                        <a:t>HT et du personnel MS, taux d’occupation et effet de saisonnalité…</a:t>
                      </a:r>
                    </a:p>
                  </a:txBody>
                  <a:tcPr anchor="ctr">
                    <a:solidFill>
                      <a:schemeClr val="bg1">
                        <a:lumMod val="95000"/>
                      </a:schemeClr>
                    </a:solidFill>
                  </a:tcPr>
                </a:tc>
                <a:tc>
                  <a:txBody>
                    <a:bodyPr/>
                    <a:lstStyle/>
                    <a:p>
                      <a:pPr marL="179070" marR="0" lvl="1" indent="-17272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fr-FR" sz="1000" kern="1200" dirty="0">
                          <a:solidFill>
                            <a:schemeClr val="tx1"/>
                          </a:solidFill>
                          <a:latin typeface="+mn-lt"/>
                          <a:ea typeface="+mn-ea"/>
                          <a:cs typeface="+mn-cs"/>
                        </a:rPr>
                        <a:t>Des </a:t>
                      </a:r>
                      <a:r>
                        <a:rPr lang="fr-FR" sz="1000" b="1" kern="1200" dirty="0">
                          <a:solidFill>
                            <a:schemeClr val="tx1"/>
                          </a:solidFill>
                          <a:latin typeface="+mn-lt"/>
                          <a:ea typeface="+mn-ea"/>
                          <a:cs typeface="+mn-cs"/>
                        </a:rPr>
                        <a:t>investissements importants </a:t>
                      </a:r>
                      <a:r>
                        <a:rPr lang="fr-FR" sz="1000" b="0" kern="1200" dirty="0">
                          <a:solidFill>
                            <a:schemeClr val="tx1"/>
                          </a:solidFill>
                          <a:latin typeface="+mn-lt"/>
                          <a:ea typeface="+mn-ea"/>
                          <a:cs typeface="+mn-cs"/>
                        </a:rPr>
                        <a:t>d’acq</a:t>
                      </a:r>
                      <a:r>
                        <a:rPr lang="fr-FR" sz="1000" kern="1200" dirty="0">
                          <a:solidFill>
                            <a:schemeClr val="tx1"/>
                          </a:solidFill>
                          <a:latin typeface="+mn-lt"/>
                          <a:ea typeface="+mn-ea"/>
                          <a:cs typeface="+mn-cs"/>
                        </a:rPr>
                        <a:t>uisition du foncier et de réalisation de travaux de réhabilitation </a:t>
                      </a:r>
                    </a:p>
                  </a:txBody>
                  <a:tcPr anchor="ctr">
                    <a:solidFill>
                      <a:schemeClr val="bg1">
                        <a:lumMod val="95000"/>
                      </a:schemeClr>
                    </a:solidFill>
                  </a:tcPr>
                </a:tc>
                <a:tc>
                  <a:txBody>
                    <a:bodyPr/>
                    <a:lstStyle/>
                    <a:p>
                      <a:pPr marL="175895" marR="0" lvl="1" indent="-175895" algn="just" rtl="0" eaLnBrk="1" fontAlgn="auto" latinLnBrk="0" hangingPunct="1">
                        <a:lnSpc>
                          <a:spcPct val="110000"/>
                        </a:lnSpc>
                        <a:spcBef>
                          <a:spcPts val="0"/>
                        </a:spcBef>
                        <a:spcAft>
                          <a:spcPts val="300"/>
                        </a:spcAft>
                        <a:buClrTx/>
                        <a:buSzTx/>
                        <a:buFont typeface="Arial" panose="020B0604020202020204" pitchFamily="34" charset="0"/>
                        <a:buChar char="•"/>
                      </a:pPr>
                      <a:r>
                        <a:rPr kumimoji="0" lang="fr-FR" sz="1000" b="0" i="0" u="none" strike="noStrike" kern="1200" cap="none" spc="0" normalizeH="0" baseline="0" noProof="0">
                          <a:ln>
                            <a:noFill/>
                          </a:ln>
                          <a:solidFill>
                            <a:schemeClr val="tx1"/>
                          </a:solidFill>
                          <a:effectLst/>
                          <a:uLnTx/>
                          <a:uFillTx/>
                          <a:latin typeface="+mn-lt"/>
                          <a:ea typeface="+mn-ea"/>
                          <a:cs typeface="+mn-cs"/>
                        </a:rPr>
                        <a:t>Un </a:t>
                      </a:r>
                      <a:r>
                        <a:rPr kumimoji="0" lang="fr-FR" sz="1000" b="1" i="0" u="none" strike="noStrike" kern="1200" cap="none" spc="0" normalizeH="0" baseline="0" noProof="0">
                          <a:ln>
                            <a:noFill/>
                          </a:ln>
                          <a:solidFill>
                            <a:schemeClr val="tx1"/>
                          </a:solidFill>
                          <a:effectLst/>
                          <a:uLnTx/>
                          <a:uFillTx/>
                          <a:latin typeface="+mn-lt"/>
                          <a:ea typeface="+mn-ea"/>
                          <a:cs typeface="+mn-cs"/>
                        </a:rPr>
                        <a:t>sentiment de vacances et de répit difficile à atteindre </a:t>
                      </a:r>
                      <a:r>
                        <a:rPr kumimoji="0" lang="fr-FR" sz="1000" b="0" i="0" u="none" strike="noStrike" kern="1200" cap="none" spc="0" normalizeH="0" baseline="0" noProof="0">
                          <a:ln>
                            <a:noFill/>
                          </a:ln>
                          <a:solidFill>
                            <a:schemeClr val="tx1"/>
                          </a:solidFill>
                          <a:effectLst/>
                          <a:uLnTx/>
                          <a:uFillTx/>
                          <a:latin typeface="+mn-lt"/>
                          <a:ea typeface="+mn-ea"/>
                          <a:cs typeface="+mn-cs"/>
                        </a:rPr>
                        <a:t>:</a:t>
                      </a:r>
                      <a:r>
                        <a:rPr lang="fr-FR" sz="1000" b="0" i="0" u="none" strike="noStrike" kern="1200" cap="none" spc="0" normalizeH="0" baseline="0" noProof="0">
                          <a:ln>
                            <a:noFill/>
                          </a:ln>
                          <a:solidFill>
                            <a:schemeClr val="tx1"/>
                          </a:solidFill>
                          <a:effectLst/>
                          <a:uLnTx/>
                          <a:uFillTx/>
                          <a:latin typeface="+mn-lt"/>
                          <a:ea typeface="+mn-ea"/>
                          <a:cs typeface="+mn-cs"/>
                        </a:rPr>
                        <a:t> </a:t>
                      </a:r>
                      <a:r>
                        <a:rPr kumimoji="0" lang="fr-FR" sz="1000" b="0" i="0" u="none" strike="noStrike" kern="1200" cap="none" spc="0" normalizeH="0" baseline="0" noProof="0">
                          <a:ln>
                            <a:noFill/>
                          </a:ln>
                          <a:solidFill>
                            <a:schemeClr val="tx1"/>
                          </a:solidFill>
                          <a:effectLst/>
                          <a:uLnTx/>
                          <a:uFillTx/>
                          <a:latin typeface="+mn-lt"/>
                          <a:ea typeface="+mn-ea"/>
                          <a:cs typeface="+mn-cs"/>
                        </a:rPr>
                        <a:t> </a:t>
                      </a:r>
                      <a:r>
                        <a:rPr kumimoji="0" lang="fr-FR" sz="1000" b="1" i="0" u="none" strike="noStrike" kern="1200" cap="none" spc="0" normalizeH="0" baseline="0" noProof="0">
                          <a:ln>
                            <a:noFill/>
                          </a:ln>
                          <a:solidFill>
                            <a:schemeClr val="tx1"/>
                          </a:solidFill>
                          <a:effectLst/>
                          <a:uLnTx/>
                          <a:uFillTx/>
                          <a:latin typeface="+mn-lt"/>
                          <a:ea typeface="+mn-ea"/>
                          <a:cs typeface="+mn-cs"/>
                        </a:rPr>
                        <a:t>environnement peu diversifié </a:t>
                      </a:r>
                      <a:r>
                        <a:rPr kumimoji="0" lang="fr-FR" sz="1000" b="0" i="0" u="none" strike="noStrike" kern="1200" cap="none" spc="0" normalizeH="0" baseline="0" noProof="0">
                          <a:ln>
                            <a:noFill/>
                          </a:ln>
                          <a:solidFill>
                            <a:schemeClr val="tx1"/>
                          </a:solidFill>
                          <a:effectLst/>
                          <a:uLnTx/>
                          <a:uFillTx/>
                          <a:latin typeface="+mn-lt"/>
                          <a:ea typeface="+mn-ea"/>
                          <a:cs typeface="+mn-cs"/>
                        </a:rPr>
                        <a:t>pour les aidés (structure médico-sociale) – </a:t>
                      </a:r>
                      <a:r>
                        <a:rPr kumimoji="0" lang="fr-FR" sz="1000" b="1" i="0" u="none" strike="noStrike" kern="1200" cap="none" spc="0" normalizeH="0" baseline="0" noProof="0">
                          <a:ln>
                            <a:noFill/>
                          </a:ln>
                          <a:solidFill>
                            <a:schemeClr val="tx1"/>
                          </a:solidFill>
                          <a:effectLst/>
                          <a:uLnTx/>
                          <a:uFillTx/>
                          <a:latin typeface="+mn-lt"/>
                          <a:ea typeface="+mn-ea"/>
                          <a:cs typeface="+mn-cs"/>
                        </a:rPr>
                        <a:t>offre touristique peu développée</a:t>
                      </a:r>
                      <a:r>
                        <a:rPr kumimoji="0" lang="fr-FR" sz="1000" b="0" i="0" u="none" strike="noStrike" kern="1200" cap="none" spc="0" normalizeH="0" baseline="0" noProof="0">
                          <a:ln>
                            <a:noFill/>
                          </a:ln>
                          <a:solidFill>
                            <a:schemeClr val="tx1"/>
                          </a:solidFill>
                          <a:effectLst/>
                          <a:uLnTx/>
                          <a:uFillTx/>
                          <a:latin typeface="+mn-lt"/>
                          <a:ea typeface="+mn-ea"/>
                          <a:cs typeface="+mn-cs"/>
                        </a:rPr>
                        <a:t> pour les aidants</a:t>
                      </a:r>
                      <a:r>
                        <a:rPr lang="fr-FR" sz="1000" b="0" i="0" u="none" strike="noStrike" kern="1200" cap="none" spc="0" normalizeH="0" baseline="0" noProof="0">
                          <a:ln>
                            <a:noFill/>
                          </a:ln>
                          <a:solidFill>
                            <a:schemeClr val="tx1"/>
                          </a:solidFill>
                          <a:effectLst/>
                          <a:uLnTx/>
                          <a:uFillTx/>
                          <a:latin typeface="+mn-lt"/>
                          <a:ea typeface="+mn-ea"/>
                          <a:cs typeface="+mn-cs"/>
                        </a:rPr>
                        <a:t> </a:t>
                      </a:r>
                      <a:endParaRPr kumimoji="0" lang="fr-FR" sz="1000" b="0" i="0" u="none" strike="noStrike" kern="1200" cap="none" spc="0" normalizeH="0" baseline="0" noProof="0">
                        <a:ln>
                          <a:noFill/>
                        </a:ln>
                        <a:solidFill>
                          <a:schemeClr val="tx1"/>
                        </a:solidFill>
                        <a:effectLst/>
                        <a:uLnTx/>
                        <a:uFillTx/>
                        <a:latin typeface="+mn-lt"/>
                        <a:ea typeface="+mn-ea"/>
                        <a:cs typeface="+mn-cs"/>
                      </a:endParaRPr>
                    </a:p>
                    <a:p>
                      <a:pPr algn="just">
                        <a:spcAft>
                          <a:spcPts val="300"/>
                        </a:spcAft>
                      </a:pPr>
                      <a:endParaRPr lang="fr-FR" sz="1000">
                        <a:solidFill>
                          <a:schemeClr val="tx1"/>
                        </a:solidFill>
                      </a:endParaRPr>
                    </a:p>
                  </a:txBody>
                  <a:tcPr anchor="ctr">
                    <a:solidFill>
                      <a:schemeClr val="bg1">
                        <a:lumMod val="95000"/>
                      </a:schemeClr>
                    </a:solidFill>
                  </a:tcPr>
                </a:tc>
                <a:tc>
                  <a:txBody>
                    <a:bodyPr/>
                    <a:lstStyle/>
                    <a:p>
                      <a:pPr marL="273050" marR="0" lvl="1" indent="-175895" algn="just" rtl="0" eaLnBrk="1" fontAlgn="auto" latinLnBrk="0" hangingPunct="1">
                        <a:lnSpc>
                          <a:spcPct val="110000"/>
                        </a:lnSpc>
                        <a:spcBef>
                          <a:spcPts val="1200"/>
                        </a:spcBef>
                        <a:spcAft>
                          <a:spcPts val="0"/>
                        </a:spcAft>
                        <a:buClrTx/>
                        <a:buSzTx/>
                        <a:buFont typeface="Arial" panose="020B0604020202020204" pitchFamily="34" charset="0"/>
                        <a:buChar char="•"/>
                      </a:pPr>
                      <a:r>
                        <a:rPr kumimoji="0" lang="fr-FR" sz="1000" b="0" i="0" u="none" strike="noStrike" kern="1200" cap="none" spc="0" normalizeH="0" baseline="0" noProof="0" dirty="0">
                          <a:ln>
                            <a:noFill/>
                          </a:ln>
                          <a:solidFill>
                            <a:schemeClr val="tx1"/>
                          </a:solidFill>
                          <a:effectLst/>
                          <a:uLnTx/>
                          <a:uFillTx/>
                          <a:latin typeface="+mn-lt"/>
                          <a:ea typeface="+mn-ea"/>
                          <a:cs typeface="+mn-cs"/>
                        </a:rPr>
                        <a:t>Des </a:t>
                      </a:r>
                      <a:r>
                        <a:rPr kumimoji="0" lang="fr-FR" sz="1000" b="1" i="0" u="none" strike="noStrike" kern="1200" cap="none" spc="0" normalizeH="0" baseline="0" noProof="0" dirty="0">
                          <a:ln>
                            <a:noFill/>
                          </a:ln>
                          <a:solidFill>
                            <a:schemeClr val="tx1"/>
                          </a:solidFill>
                          <a:effectLst/>
                          <a:uLnTx/>
                          <a:uFillTx/>
                          <a:latin typeface="+mn-lt"/>
                          <a:ea typeface="+mn-ea"/>
                          <a:cs typeface="+mn-cs"/>
                        </a:rPr>
                        <a:t>séjours inadaptés à toutes les formes de handicap/dépendances</a:t>
                      </a:r>
                      <a:r>
                        <a:rPr lang="fr-FR" sz="1000" b="0" i="0" u="none" strike="noStrike" kern="1200" cap="none" spc="0" normalizeH="0" baseline="0" noProof="0" dirty="0">
                          <a:ln>
                            <a:noFill/>
                          </a:ln>
                          <a:solidFill>
                            <a:schemeClr val="tx1"/>
                          </a:solidFill>
                          <a:effectLst/>
                          <a:uLnTx/>
                          <a:uFillTx/>
                          <a:latin typeface="+mn-lt"/>
                          <a:ea typeface="+mn-ea"/>
                          <a:cs typeface="+mn-cs"/>
                        </a:rPr>
                        <a:t> </a:t>
                      </a:r>
                      <a:r>
                        <a:rPr kumimoji="0" lang="fr-FR" sz="1000" b="0" i="0" u="none" strike="noStrike" kern="1200" cap="none" spc="0" normalizeH="0" baseline="0" noProof="0" dirty="0">
                          <a:ln>
                            <a:noFill/>
                          </a:ln>
                          <a:solidFill>
                            <a:schemeClr val="tx1"/>
                          </a:solidFill>
                          <a:effectLst/>
                          <a:uLnTx/>
                          <a:uFillTx/>
                          <a:latin typeface="+mn-lt"/>
                          <a:ea typeface="+mn-ea"/>
                          <a:cs typeface="+mn-cs"/>
                        </a:rPr>
                        <a:t>et une </a:t>
                      </a:r>
                      <a:r>
                        <a:rPr kumimoji="0" lang="fr-FR" sz="1000" b="1" i="0" u="none" strike="noStrike" kern="1200" cap="none" spc="0" normalizeH="0" baseline="0" noProof="0" dirty="0">
                          <a:ln>
                            <a:noFill/>
                          </a:ln>
                          <a:solidFill>
                            <a:schemeClr val="tx1"/>
                          </a:solidFill>
                          <a:effectLst/>
                          <a:uLnTx/>
                          <a:uFillTx/>
                          <a:latin typeface="+mn-lt"/>
                          <a:ea typeface="+mn-ea"/>
                          <a:cs typeface="+mn-cs"/>
                        </a:rPr>
                        <a:t>fidélisation de la clientèle plus difficile</a:t>
                      </a:r>
                    </a:p>
                  </a:txBody>
                  <a:tcPr anchor="ctr">
                    <a:solidFill>
                      <a:schemeClr val="bg1">
                        <a:lumMod val="95000"/>
                      </a:schemeClr>
                    </a:solidFill>
                  </a:tcPr>
                </a:tc>
                <a:extLst>
                  <a:ext uri="{0D108BD9-81ED-4DB2-BD59-A6C34878D82A}">
                    <a16:rowId xmlns:a16="http://schemas.microsoft.com/office/drawing/2014/main" val="1124694537"/>
                  </a:ext>
                </a:extLst>
              </a:tr>
            </a:tbl>
          </a:graphicData>
        </a:graphic>
      </p:graphicFrame>
      <p:pic>
        <p:nvPicPr>
          <p:cNvPr id="6" name="Graphique 5" descr="Loupe avec un remplissage uni">
            <a:hlinkClick r:id="rId2" action="ppaction://hlinksldjump"/>
            <a:extLst>
              <a:ext uri="{FF2B5EF4-FFF2-40B4-BE49-F238E27FC236}">
                <a16:creationId xmlns:a16="http://schemas.microsoft.com/office/drawing/2014/main" id="{7DA851CB-8A2E-437B-A95D-331FF1ABE17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7972455" y="289522"/>
            <a:ext cx="431875" cy="431875"/>
          </a:xfrm>
          <a:prstGeom prst="rect">
            <a:avLst/>
          </a:prstGeom>
        </p:spPr>
      </p:pic>
      <p:sp>
        <p:nvSpPr>
          <p:cNvPr id="7" name="ZoneTexte 6">
            <a:extLst>
              <a:ext uri="{FF2B5EF4-FFF2-40B4-BE49-F238E27FC236}">
                <a16:creationId xmlns:a16="http://schemas.microsoft.com/office/drawing/2014/main" id="{5C696A6F-280F-4149-A1CB-C4DAEE5AEF25}"/>
              </a:ext>
            </a:extLst>
          </p:cNvPr>
          <p:cNvSpPr txBox="1"/>
          <p:nvPr/>
        </p:nvSpPr>
        <p:spPr>
          <a:xfrm>
            <a:off x="8404330" y="436594"/>
            <a:ext cx="3374039" cy="261610"/>
          </a:xfrm>
          <a:prstGeom prst="rect">
            <a:avLst/>
          </a:prstGeom>
          <a:noFill/>
        </p:spPr>
        <p:txBody>
          <a:bodyPr wrap="square" lIns="108000" rIns="108000" rtlCol="0">
            <a:spAutoFit/>
          </a:bodyPr>
          <a:lstStyle/>
          <a:p>
            <a:r>
              <a:rPr lang="fr-FR" sz="1100" i="1">
                <a:solidFill>
                  <a:srgbClr val="048B9A"/>
                </a:solidFill>
                <a:latin typeface="Tahoma"/>
              </a:rPr>
              <a:t>Compléments disponibles </a:t>
            </a:r>
            <a:r>
              <a:rPr lang="fr-FR" sz="1100" i="1">
                <a:solidFill>
                  <a:srgbClr val="048B9A"/>
                </a:solidFill>
                <a:latin typeface="Tahoma"/>
                <a:hlinkClick r:id="rId5" action="ppaction://hlinksldjump"/>
              </a:rPr>
              <a:t>en annexe</a:t>
            </a:r>
            <a:endParaRPr lang="fr-FR" sz="1100" i="1">
              <a:solidFill>
                <a:srgbClr val="048B9A"/>
              </a:solidFill>
              <a:latin typeface="Tahoma"/>
            </a:endParaRPr>
          </a:p>
        </p:txBody>
      </p:sp>
    </p:spTree>
    <p:extLst>
      <p:ext uri="{BB962C8B-B14F-4D97-AF65-F5344CB8AC3E}">
        <p14:creationId xmlns:p14="http://schemas.microsoft.com/office/powerpoint/2010/main" val="33182364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18510A-E37C-4096-B9CD-0F259CA98424}"/>
              </a:ext>
            </a:extLst>
          </p:cNvPr>
          <p:cNvSpPr/>
          <p:nvPr/>
        </p:nvSpPr>
        <p:spPr>
          <a:xfrm>
            <a:off x="8926212" y="5733027"/>
            <a:ext cx="2122788" cy="11272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2" name="Titre 1">
            <a:extLst>
              <a:ext uri="{FF2B5EF4-FFF2-40B4-BE49-F238E27FC236}">
                <a16:creationId xmlns:a16="http://schemas.microsoft.com/office/drawing/2014/main" id="{B1D642DB-874D-4713-A832-B947FB277AE6}"/>
              </a:ext>
            </a:extLst>
          </p:cNvPr>
          <p:cNvSpPr>
            <a:spLocks noGrp="1"/>
          </p:cNvSpPr>
          <p:nvPr>
            <p:ph type="title"/>
          </p:nvPr>
        </p:nvSpPr>
        <p:spPr>
          <a:xfrm>
            <a:off x="1488600" y="404665"/>
            <a:ext cx="9216000" cy="501890"/>
          </a:xfrm>
        </p:spPr>
        <p:txBody>
          <a:bodyPr/>
          <a:lstStyle/>
          <a:p>
            <a:pPr algn="just"/>
            <a:r>
              <a:rPr lang="fr-FR"/>
              <a:t>Freins et opportunités identifiées </a:t>
            </a:r>
          </a:p>
        </p:txBody>
      </p:sp>
      <p:grpSp>
        <p:nvGrpSpPr>
          <p:cNvPr id="80" name="Group 10">
            <a:extLst>
              <a:ext uri="{FF2B5EF4-FFF2-40B4-BE49-F238E27FC236}">
                <a16:creationId xmlns:a16="http://schemas.microsoft.com/office/drawing/2014/main" id="{C75FF141-41EB-4258-82FD-8E94DF03F3C1}"/>
              </a:ext>
            </a:extLst>
          </p:cNvPr>
          <p:cNvGrpSpPr>
            <a:grpSpLocks/>
          </p:cNvGrpSpPr>
          <p:nvPr>
            <p:custDataLst>
              <p:tags r:id="rId1"/>
            </p:custDataLst>
          </p:nvPr>
        </p:nvGrpSpPr>
        <p:grpSpPr>
          <a:xfrm>
            <a:off x="4735782" y="42464"/>
            <a:ext cx="1619250" cy="1619250"/>
            <a:chOff x="-864795" y="42539"/>
            <a:chExt cx="1619250" cy="1619250"/>
          </a:xfrm>
        </p:grpSpPr>
        <p:pic>
          <p:nvPicPr>
            <p:cNvPr id="81" name="Graphic 2 [3]" hidden="1">
              <a:extLst>
                <a:ext uri="{FF2B5EF4-FFF2-40B4-BE49-F238E27FC236}">
                  <a16:creationId xmlns:a16="http://schemas.microsoft.com/office/drawing/2014/main" id="{234B4D9C-5B4F-47B2-BD98-7ECDE8B3DBA4}"/>
                </a:ext>
              </a:extLst>
            </p:cNvPr>
            <p:cNvPicPr>
              <a:picLocks noChangeAspect="1"/>
            </p:cNvPicPr>
            <p:nvPr>
              <p:custDataLst>
                <p:tags r:id="rId2"/>
              </p:custDataLst>
            </p:nvPr>
          </p:nvPicPr>
          <p:blipFill>
            <a:blip r:embed="rId7">
              <a:extLst>
                <a:ext uri="{96DAC541-7B7A-43D3-8B79-37D633B846F1}">
                  <asvg:svgBlip xmlns:asvg="http://schemas.microsoft.com/office/drawing/2016/SVG/main" r:embed="rId8"/>
                </a:ext>
              </a:extLst>
            </a:blip>
            <a:stretch>
              <a:fillRect/>
            </a:stretch>
          </p:blipFill>
          <p:spPr>
            <a:xfrm>
              <a:off x="-864795" y="42539"/>
              <a:ext cx="1619250" cy="1619250"/>
            </a:xfrm>
            <a:prstGeom prst="rect">
              <a:avLst/>
            </a:prstGeom>
          </p:spPr>
        </p:pic>
        <p:pic>
          <p:nvPicPr>
            <p:cNvPr id="83" name="Graphic 7 [1]" hidden="1">
              <a:extLst>
                <a:ext uri="{FF2B5EF4-FFF2-40B4-BE49-F238E27FC236}">
                  <a16:creationId xmlns:a16="http://schemas.microsoft.com/office/drawing/2014/main" id="{1757B822-C0D0-4C9E-ABD8-5FEE10F43DC0}"/>
                </a:ext>
              </a:extLst>
            </p:cNvPr>
            <p:cNvPicPr>
              <a:picLocks noChangeAspect="1"/>
            </p:cNvPicPr>
            <p:nvPr>
              <p:custDataLst>
                <p:tags r:id="rId3"/>
              </p:custDataLst>
            </p:nvPr>
          </p:nvPicPr>
          <p:blipFill>
            <a:blip r:embed="rId9">
              <a:extLst>
                <a:ext uri="{96DAC541-7B7A-43D3-8B79-37D633B846F1}">
                  <asvg:svgBlip xmlns:asvg="http://schemas.microsoft.com/office/drawing/2016/SVG/main" r:embed="rId10"/>
                </a:ext>
              </a:extLst>
            </a:blip>
            <a:stretch>
              <a:fillRect/>
            </a:stretch>
          </p:blipFill>
          <p:spPr>
            <a:xfrm>
              <a:off x="-864795" y="42539"/>
              <a:ext cx="1619250" cy="1619250"/>
            </a:xfrm>
            <a:prstGeom prst="rect">
              <a:avLst/>
            </a:prstGeom>
          </p:spPr>
        </p:pic>
        <p:pic>
          <p:nvPicPr>
            <p:cNvPr id="84" name="Graphic 9 [0]" hidden="1">
              <a:extLst>
                <a:ext uri="{FF2B5EF4-FFF2-40B4-BE49-F238E27FC236}">
                  <a16:creationId xmlns:a16="http://schemas.microsoft.com/office/drawing/2014/main" id="{65DF2C9E-9654-4768-A947-9EB9FBFDB2A0}"/>
                </a:ext>
              </a:extLst>
            </p:cNvPr>
            <p:cNvPicPr>
              <a:picLocks noChangeAspect="1"/>
            </p:cNvPicPr>
            <p:nvPr>
              <p:custDataLst>
                <p:tags r:id="rId4"/>
              </p:custDataLst>
            </p:nvPr>
          </p:nvPicPr>
          <p:blipFill>
            <a:blip r:embed="rId11">
              <a:extLst>
                <a:ext uri="{96DAC541-7B7A-43D3-8B79-37D633B846F1}">
                  <asvg:svgBlip xmlns:asvg="http://schemas.microsoft.com/office/drawing/2016/SVG/main" r:embed="rId12"/>
                </a:ext>
              </a:extLst>
            </a:blip>
            <a:stretch>
              <a:fillRect/>
            </a:stretch>
          </p:blipFill>
          <p:spPr>
            <a:xfrm>
              <a:off x="-864795" y="42539"/>
              <a:ext cx="1619250" cy="1619250"/>
            </a:xfrm>
            <a:prstGeom prst="rect">
              <a:avLst/>
            </a:prstGeom>
          </p:spPr>
        </p:pic>
      </p:grpSp>
      <p:sp>
        <p:nvSpPr>
          <p:cNvPr id="4" name="Espace réservé du texte 3">
            <a:extLst>
              <a:ext uri="{FF2B5EF4-FFF2-40B4-BE49-F238E27FC236}">
                <a16:creationId xmlns:a16="http://schemas.microsoft.com/office/drawing/2014/main" id="{E1DF9728-6617-4290-9968-FF65901FAA04}"/>
              </a:ext>
            </a:extLst>
          </p:cNvPr>
          <p:cNvSpPr>
            <a:spLocks noGrp="1"/>
          </p:cNvSpPr>
          <p:nvPr>
            <p:ph type="body" sz="quarter" idx="13"/>
          </p:nvPr>
        </p:nvSpPr>
        <p:spPr/>
        <p:txBody>
          <a:bodyPr/>
          <a:lstStyle/>
          <a:p>
            <a:r>
              <a:rPr lang="fr-FR"/>
              <a:t>Etat des lieux </a:t>
            </a:r>
            <a:r>
              <a:rPr lang="fr-FR">
                <a:solidFill>
                  <a:srgbClr val="938481"/>
                </a:solidFill>
              </a:rPr>
              <a:t>des modèles existants</a:t>
            </a:r>
            <a:endParaRPr lang="fr-FR"/>
          </a:p>
        </p:txBody>
      </p:sp>
      <p:sp>
        <p:nvSpPr>
          <p:cNvPr id="74" name="TextBox 96">
            <a:extLst>
              <a:ext uri="{FF2B5EF4-FFF2-40B4-BE49-F238E27FC236}">
                <a16:creationId xmlns:a16="http://schemas.microsoft.com/office/drawing/2014/main" id="{422508C3-0AA7-405F-B8D2-1715E2CDBB56}"/>
              </a:ext>
            </a:extLst>
          </p:cNvPr>
          <p:cNvSpPr txBox="1">
            <a:spLocks/>
          </p:cNvSpPr>
          <p:nvPr/>
        </p:nvSpPr>
        <p:spPr>
          <a:xfrm>
            <a:off x="1316498" y="6332475"/>
            <a:ext cx="9758284" cy="599600"/>
          </a:xfrm>
          <a:prstGeom prst="rect">
            <a:avLst/>
          </a:prstGeom>
        </p:spPr>
        <p:txBody>
          <a:bodyPr vert="horz" lIns="108000" tIns="108000" rIns="108000" bIns="108000" rtlCol="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marL="228600" indent="-228600" algn="l">
              <a:spcBef>
                <a:spcPts val="0"/>
              </a:spcBef>
              <a:buFontTx/>
              <a:buAutoNum type="arabicPeriod"/>
            </a:pPr>
            <a:r>
              <a:rPr lang="fr-FR" sz="700">
                <a:solidFill>
                  <a:srgbClr val="5F5F5F">
                    <a:lumMod val="60000"/>
                    <a:lumOff val="40000"/>
                  </a:srgbClr>
                </a:solidFill>
                <a:latin typeface="Tahoma"/>
              </a:rPr>
              <a:t>Enquête nationale sur les besoins et attentes des personnes âgées dépendantes et de leurs proches aidants en matière de relais, 2009, p.46.</a:t>
            </a:r>
          </a:p>
          <a:p>
            <a:pPr marL="228600" indent="-228600" algn="l">
              <a:spcBef>
                <a:spcPts val="0"/>
              </a:spcBef>
              <a:buFontTx/>
              <a:buAutoNum type="arabicPeriod"/>
            </a:pPr>
            <a:r>
              <a:rPr lang="fr-FR" sz="700">
                <a:solidFill>
                  <a:srgbClr val="5F5F5F">
                    <a:lumMod val="60000"/>
                    <a:lumOff val="40000"/>
                  </a:srgbClr>
                </a:solidFill>
                <a:latin typeface="Tahoma"/>
              </a:rPr>
              <a:t>Évaluation des impacts psychosociaux d’un séjour « aidants-aidés » VRF sur les aidants familiaux, VRF / Vacances Ouvertes, 2017.</a:t>
            </a:r>
          </a:p>
          <a:p>
            <a:pPr marL="228600" indent="-228600" algn="l">
              <a:spcBef>
                <a:spcPts val="0"/>
              </a:spcBef>
              <a:buFontTx/>
              <a:buAutoNum type="arabicPeriod"/>
            </a:pPr>
            <a:r>
              <a:rPr lang="fr-FR" sz="700">
                <a:solidFill>
                  <a:srgbClr val="5F5F5F">
                    <a:lumMod val="60000"/>
                    <a:lumOff val="40000"/>
                  </a:srgbClr>
                </a:solidFill>
                <a:latin typeface="Tahoma"/>
              </a:rPr>
              <a:t>« Taux d’occupation de 100% avec des pics de réservation à 150% devant lesquels le centre devait refuser de la clientèle » extrait de l’entretien avec Roger Picard, directeur du centre Les Bruyères.</a:t>
            </a:r>
          </a:p>
        </p:txBody>
      </p:sp>
      <p:grpSp>
        <p:nvGrpSpPr>
          <p:cNvPr id="14" name="Groupe 13">
            <a:extLst>
              <a:ext uri="{FF2B5EF4-FFF2-40B4-BE49-F238E27FC236}">
                <a16:creationId xmlns:a16="http://schemas.microsoft.com/office/drawing/2014/main" id="{7F427F33-144C-4AB2-9B7B-D46171D98405}"/>
              </a:ext>
            </a:extLst>
          </p:cNvPr>
          <p:cNvGrpSpPr/>
          <p:nvPr/>
        </p:nvGrpSpPr>
        <p:grpSpPr>
          <a:xfrm>
            <a:off x="1395460" y="1029208"/>
            <a:ext cx="4700540" cy="5302579"/>
            <a:chOff x="231828" y="967779"/>
            <a:chExt cx="4700540" cy="5302579"/>
          </a:xfrm>
        </p:grpSpPr>
        <p:sp>
          <p:nvSpPr>
            <p:cNvPr id="7" name="Rectangle 6">
              <a:extLst>
                <a:ext uri="{FF2B5EF4-FFF2-40B4-BE49-F238E27FC236}">
                  <a16:creationId xmlns:a16="http://schemas.microsoft.com/office/drawing/2014/main" id="{78D4C62B-E1F7-4D9C-9E6F-2CDB22DDD8C5}"/>
                </a:ext>
              </a:extLst>
            </p:cNvPr>
            <p:cNvSpPr/>
            <p:nvPr/>
          </p:nvSpPr>
          <p:spPr>
            <a:xfrm>
              <a:off x="231828" y="967779"/>
              <a:ext cx="4690296" cy="5302579"/>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45" name="Espace réservé du contenu 3">
              <a:extLst>
                <a:ext uri="{FF2B5EF4-FFF2-40B4-BE49-F238E27FC236}">
                  <a16:creationId xmlns:a16="http://schemas.microsoft.com/office/drawing/2014/main" id="{AD25894F-25BF-4B1E-AE8D-A0ED4F191A6B}"/>
                </a:ext>
              </a:extLst>
            </p:cNvPr>
            <p:cNvSpPr txBox="1">
              <a:spLocks/>
            </p:cNvSpPr>
            <p:nvPr/>
          </p:nvSpPr>
          <p:spPr>
            <a:xfrm>
              <a:off x="242072" y="967780"/>
              <a:ext cx="4690296" cy="735496"/>
            </a:xfrm>
            <a:prstGeom prst="rect">
              <a:avLst/>
            </a:prstGeom>
            <a:noFill/>
            <a:ln w="9525">
              <a:noFill/>
            </a:ln>
          </p:spPr>
          <p:txBody>
            <a:bodyPr lIns="108000" tIns="108000" rIns="108000" bIns="10800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sz="1100" b="1">
                  <a:solidFill>
                    <a:srgbClr val="503078"/>
                  </a:solidFill>
                  <a:latin typeface="Tahoma"/>
                </a:rPr>
                <a:t>Un besoin en répit identifié pour les publics d’aidants</a:t>
              </a:r>
            </a:p>
            <a:p>
              <a:pPr lvl="1">
                <a:spcBef>
                  <a:spcPts val="300"/>
                </a:spcBef>
                <a:buClr>
                  <a:srgbClr val="503078"/>
                </a:buClr>
              </a:pPr>
              <a:r>
                <a:rPr lang="fr-FR" sz="1000">
                  <a:solidFill>
                    <a:srgbClr val="5F5F5F"/>
                  </a:solidFill>
                  <a:latin typeface="Tahoma"/>
                </a:rPr>
                <a:t>25% des aidants seraient intéressés par les séjours de répit</a:t>
              </a:r>
              <a:r>
                <a:rPr lang="fr-FR" sz="1000" kern="0" baseline="30000">
                  <a:solidFill>
                    <a:srgbClr val="5F5F5F"/>
                  </a:solidFill>
                  <a:latin typeface="Tahoma"/>
                </a:rPr>
                <a:t>1</a:t>
              </a:r>
              <a:endParaRPr lang="fr-FR" sz="1000">
                <a:solidFill>
                  <a:srgbClr val="5F5F5F"/>
                </a:solidFill>
                <a:latin typeface="Tahoma"/>
              </a:endParaRPr>
            </a:p>
            <a:p>
              <a:pPr lvl="1">
                <a:spcBef>
                  <a:spcPts val="300"/>
                </a:spcBef>
                <a:buClr>
                  <a:srgbClr val="503078"/>
                </a:buClr>
              </a:pPr>
              <a:r>
                <a:rPr lang="fr-FR" sz="1000">
                  <a:solidFill>
                    <a:srgbClr val="5F5F5F"/>
                  </a:solidFill>
                  <a:latin typeface="Tahoma"/>
                </a:rPr>
                <a:t>Un impact avéré des séjours de répit sur la santé physique et mentale des aidants</a:t>
              </a:r>
              <a:r>
                <a:rPr lang="fr-FR" sz="1000" kern="0" baseline="30000">
                  <a:solidFill>
                    <a:srgbClr val="5F5F5F"/>
                  </a:solidFill>
                  <a:latin typeface="Tahoma"/>
                </a:rPr>
                <a:t>2</a:t>
              </a:r>
              <a:endParaRPr lang="fr-FR" sz="1000">
                <a:solidFill>
                  <a:srgbClr val="5F5F5F"/>
                </a:solidFill>
                <a:latin typeface="Tahoma"/>
              </a:endParaRPr>
            </a:p>
          </p:txBody>
        </p:sp>
        <p:sp>
          <p:nvSpPr>
            <p:cNvPr id="47" name="Espace réservé du contenu 3">
              <a:extLst>
                <a:ext uri="{FF2B5EF4-FFF2-40B4-BE49-F238E27FC236}">
                  <a16:creationId xmlns:a16="http://schemas.microsoft.com/office/drawing/2014/main" id="{696D8531-EB24-45A1-B971-4532B7FD592D}"/>
                </a:ext>
              </a:extLst>
            </p:cNvPr>
            <p:cNvSpPr txBox="1">
              <a:spLocks/>
            </p:cNvSpPr>
            <p:nvPr/>
          </p:nvSpPr>
          <p:spPr>
            <a:xfrm>
              <a:off x="242072" y="2632387"/>
              <a:ext cx="4690296" cy="735496"/>
            </a:xfrm>
            <a:prstGeom prst="rect">
              <a:avLst/>
            </a:prstGeom>
            <a:noFill/>
            <a:ln w="9525">
              <a:noFill/>
            </a:ln>
          </p:spPr>
          <p:txBody>
            <a:bodyPr lIns="108000" tIns="108000" rIns="108000" bIns="10800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sz="1100" b="1">
                  <a:solidFill>
                    <a:srgbClr val="503078"/>
                  </a:solidFill>
                  <a:latin typeface="Tahoma"/>
                </a:rPr>
                <a:t>Des porteurs de projet volontaristes et une multiplicité de projets en cours de montage </a:t>
              </a:r>
            </a:p>
            <a:p>
              <a:pPr lvl="1">
                <a:spcBef>
                  <a:spcPts val="300"/>
                </a:spcBef>
                <a:buClr>
                  <a:srgbClr val="503078"/>
                </a:buClr>
              </a:pPr>
              <a:r>
                <a:rPr lang="fr-FR" sz="1000">
                  <a:solidFill>
                    <a:srgbClr val="5F5F5F"/>
                  </a:solidFill>
                  <a:latin typeface="Tahoma"/>
                </a:rPr>
                <a:t>De nombreux projets sur divers territoires (VRF Couches, Laruns,…)</a:t>
              </a:r>
            </a:p>
            <a:p>
              <a:pPr lvl="1">
                <a:spcBef>
                  <a:spcPts val="300"/>
                </a:spcBef>
                <a:buClr>
                  <a:srgbClr val="503078"/>
                </a:buClr>
              </a:pPr>
              <a:r>
                <a:rPr lang="fr-FR" sz="1000">
                  <a:solidFill>
                    <a:srgbClr val="5F5F5F"/>
                  </a:solidFill>
                  <a:latin typeface="Tahoma"/>
                </a:rPr>
                <a:t>La volonté de certains porteurs de projets de constituer des « franchises » nationale pour créer de nouvelles structures</a:t>
              </a:r>
            </a:p>
          </p:txBody>
        </p:sp>
        <p:sp>
          <p:nvSpPr>
            <p:cNvPr id="49" name="Espace réservé du contenu 3">
              <a:extLst>
                <a:ext uri="{FF2B5EF4-FFF2-40B4-BE49-F238E27FC236}">
                  <a16:creationId xmlns:a16="http://schemas.microsoft.com/office/drawing/2014/main" id="{0E85992A-1755-498A-BD5B-3EEF5A6C055C}"/>
                </a:ext>
              </a:extLst>
            </p:cNvPr>
            <p:cNvSpPr txBox="1">
              <a:spLocks/>
            </p:cNvSpPr>
            <p:nvPr/>
          </p:nvSpPr>
          <p:spPr>
            <a:xfrm>
              <a:off x="242072" y="1769191"/>
              <a:ext cx="4690296" cy="735496"/>
            </a:xfrm>
            <a:prstGeom prst="rect">
              <a:avLst/>
            </a:prstGeom>
            <a:noFill/>
            <a:ln w="9525">
              <a:noFill/>
            </a:ln>
          </p:spPr>
          <p:txBody>
            <a:bodyPr lIns="108000" tIns="108000" rIns="108000" bIns="10800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sz="1100" b="1">
                  <a:solidFill>
                    <a:srgbClr val="503078"/>
                  </a:solidFill>
                  <a:latin typeface="Tahoma"/>
                </a:rPr>
                <a:t>Une offre inclusive plébiscitée par les aidants et leurs aidés</a:t>
              </a:r>
            </a:p>
            <a:p>
              <a:pPr lvl="1">
                <a:spcBef>
                  <a:spcPts val="300"/>
                </a:spcBef>
                <a:buClr>
                  <a:srgbClr val="503078"/>
                </a:buClr>
              </a:pPr>
              <a:r>
                <a:rPr lang="fr-FR" sz="1000">
                  <a:solidFill>
                    <a:srgbClr val="5F5F5F"/>
                  </a:solidFill>
                  <a:latin typeface="Tahoma"/>
                </a:rPr>
                <a:t>Des taux d’occupation (TO) à 100% lors des périodes estivales</a:t>
              </a:r>
              <a:r>
                <a:rPr lang="fr-FR" sz="1000" kern="0" baseline="30000">
                  <a:solidFill>
                    <a:srgbClr val="5F5F5F"/>
                  </a:solidFill>
                  <a:latin typeface="Tahoma"/>
                </a:rPr>
                <a:t>3</a:t>
              </a:r>
              <a:endParaRPr lang="fr-FR" sz="1000">
                <a:solidFill>
                  <a:srgbClr val="5F5F5F"/>
                </a:solidFill>
                <a:latin typeface="Tahoma"/>
              </a:endParaRPr>
            </a:p>
            <a:p>
              <a:pPr lvl="1">
                <a:spcBef>
                  <a:spcPts val="300"/>
                </a:spcBef>
                <a:buClr>
                  <a:srgbClr val="503078"/>
                </a:buClr>
              </a:pPr>
              <a:r>
                <a:rPr lang="fr-FR" sz="1000">
                  <a:solidFill>
                    <a:srgbClr val="5F5F5F"/>
                  </a:solidFill>
                  <a:latin typeface="Tahoma"/>
                </a:rPr>
                <a:t>Une forte fidélisation de la clientèle</a:t>
              </a:r>
            </a:p>
            <a:p>
              <a:pPr lvl="1">
                <a:spcBef>
                  <a:spcPts val="300"/>
                </a:spcBef>
                <a:buClr>
                  <a:srgbClr val="503078"/>
                </a:buClr>
              </a:pPr>
              <a:r>
                <a:rPr lang="fr-FR" sz="1000">
                  <a:solidFill>
                    <a:srgbClr val="5F5F5F"/>
                  </a:solidFill>
                  <a:latin typeface="Tahoma"/>
                </a:rPr>
                <a:t>Une prise en charge financière partielle (acteurs publics / privés)</a:t>
              </a:r>
            </a:p>
          </p:txBody>
        </p:sp>
        <p:sp>
          <p:nvSpPr>
            <p:cNvPr id="51" name="Espace réservé du contenu 3">
              <a:extLst>
                <a:ext uri="{FF2B5EF4-FFF2-40B4-BE49-F238E27FC236}">
                  <a16:creationId xmlns:a16="http://schemas.microsoft.com/office/drawing/2014/main" id="{0B073A27-497D-4947-A6E7-BBFB227BFB98}"/>
                </a:ext>
              </a:extLst>
            </p:cNvPr>
            <p:cNvSpPr txBox="1">
              <a:spLocks/>
            </p:cNvSpPr>
            <p:nvPr/>
          </p:nvSpPr>
          <p:spPr>
            <a:xfrm>
              <a:off x="231828" y="5103785"/>
              <a:ext cx="4690296" cy="735496"/>
            </a:xfrm>
            <a:prstGeom prst="rect">
              <a:avLst/>
            </a:prstGeom>
            <a:noFill/>
            <a:ln w="9525">
              <a:noFill/>
            </a:ln>
          </p:spPr>
          <p:txBody>
            <a:bodyPr lIns="108000" tIns="108000" rIns="108000" bIns="10800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sz="1100" b="1">
                  <a:solidFill>
                    <a:srgbClr val="503078"/>
                  </a:solidFill>
                  <a:latin typeface="Tahoma"/>
                </a:rPr>
                <a:t>Un sujet de santé publique à la prise en compte croissante</a:t>
              </a:r>
            </a:p>
            <a:p>
              <a:pPr lvl="1">
                <a:spcBef>
                  <a:spcPts val="300"/>
                </a:spcBef>
                <a:buClr>
                  <a:srgbClr val="503078"/>
                </a:buClr>
              </a:pPr>
              <a:r>
                <a:rPr lang="fr-FR" sz="1000">
                  <a:solidFill>
                    <a:srgbClr val="5F5F5F"/>
                  </a:solidFill>
                  <a:latin typeface="Tahoma"/>
                </a:rPr>
                <a:t>Une prise en compte croissante de la problématique des aidants par la puissance publique, notamment la DGCS et la CNSA (loi ASV, stratégie Agir pour les Aidants, missions IGAS et HAS)</a:t>
              </a:r>
            </a:p>
            <a:p>
              <a:pPr lvl="1">
                <a:spcBef>
                  <a:spcPts val="300"/>
                </a:spcBef>
                <a:buClr>
                  <a:srgbClr val="503078"/>
                </a:buClr>
              </a:pPr>
              <a:r>
                <a:rPr lang="fr-FR" sz="1000">
                  <a:solidFill>
                    <a:srgbClr val="5F5F5F"/>
                  </a:solidFill>
                  <a:latin typeface="Tahoma"/>
                </a:rPr>
                <a:t>Une implication historique de l’ANCV sur le sujet </a:t>
              </a:r>
            </a:p>
            <a:p>
              <a:pPr lvl="1">
                <a:spcBef>
                  <a:spcPts val="300"/>
                </a:spcBef>
                <a:buClr>
                  <a:srgbClr val="503078"/>
                </a:buClr>
              </a:pPr>
              <a:r>
                <a:rPr lang="fr-FR" sz="1000">
                  <a:solidFill>
                    <a:srgbClr val="5F5F5F"/>
                  </a:solidFill>
                  <a:latin typeface="Tahoma"/>
                </a:rPr>
                <a:t>Une présence forte des acteurs privés (notamment protection sociale)</a:t>
              </a:r>
            </a:p>
          </p:txBody>
        </p:sp>
        <p:sp>
          <p:nvSpPr>
            <p:cNvPr id="77" name="Espace réservé du contenu 3">
              <a:extLst>
                <a:ext uri="{FF2B5EF4-FFF2-40B4-BE49-F238E27FC236}">
                  <a16:creationId xmlns:a16="http://schemas.microsoft.com/office/drawing/2014/main" id="{FEA0B0A9-D993-4055-885B-00A62955A34A}"/>
                </a:ext>
              </a:extLst>
            </p:cNvPr>
            <p:cNvSpPr txBox="1">
              <a:spLocks/>
            </p:cNvSpPr>
            <p:nvPr/>
          </p:nvSpPr>
          <p:spPr>
            <a:xfrm>
              <a:off x="242072" y="3613428"/>
              <a:ext cx="4549938" cy="735496"/>
            </a:xfrm>
            <a:prstGeom prst="rect">
              <a:avLst/>
            </a:prstGeom>
            <a:noFill/>
            <a:ln w="9525">
              <a:noFill/>
            </a:ln>
          </p:spPr>
          <p:txBody>
            <a:bodyPr lIns="108000" tIns="108000" rIns="108000" bIns="10800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sz="1100" b="1">
                  <a:solidFill>
                    <a:srgbClr val="503078"/>
                  </a:solidFill>
                  <a:latin typeface="Tahoma"/>
                </a:rPr>
                <a:t>Les centres de répit comme levier de redynamisation des territoires </a:t>
              </a:r>
            </a:p>
            <a:p>
              <a:pPr lvl="1">
                <a:spcBef>
                  <a:spcPts val="300"/>
                </a:spcBef>
                <a:buClr>
                  <a:srgbClr val="503078"/>
                </a:buClr>
              </a:pPr>
              <a:r>
                <a:rPr lang="fr-FR" sz="1000">
                  <a:solidFill>
                    <a:srgbClr val="5F5F5F"/>
                  </a:solidFill>
                  <a:latin typeface="Tahoma"/>
                </a:rPr>
                <a:t>Une possible réhabilitation de bâtiments abandonnés (mise à disposition par les communes) ou de repositionnement de centres de soins suite à des fermetures (ARS)</a:t>
              </a:r>
            </a:p>
            <a:p>
              <a:pPr lvl="1">
                <a:spcBef>
                  <a:spcPts val="300"/>
                </a:spcBef>
                <a:buClr>
                  <a:srgbClr val="503078"/>
                </a:buClr>
              </a:pPr>
              <a:r>
                <a:rPr lang="fr-FR" sz="1000">
                  <a:solidFill>
                    <a:srgbClr val="5F5F5F"/>
                  </a:solidFill>
                  <a:latin typeface="Tahoma"/>
                </a:rPr>
                <a:t>Des créations d’emplois</a:t>
              </a:r>
            </a:p>
            <a:p>
              <a:pPr lvl="1">
                <a:spcBef>
                  <a:spcPts val="300"/>
                </a:spcBef>
                <a:buClr>
                  <a:srgbClr val="503078"/>
                </a:buClr>
              </a:pPr>
              <a:r>
                <a:rPr lang="fr-FR" sz="1000">
                  <a:solidFill>
                    <a:srgbClr val="5F5F5F"/>
                  </a:solidFill>
                  <a:latin typeface="Tahoma"/>
                </a:rPr>
                <a:t>Une valorisation du patrimoine et des spécificités du territoire par la mise en avant de son offre touristique</a:t>
              </a:r>
            </a:p>
            <a:p>
              <a:pPr marL="0" lvl="1" indent="0">
                <a:spcBef>
                  <a:spcPts val="300"/>
                </a:spcBef>
                <a:buClr>
                  <a:srgbClr val="503078"/>
                </a:buClr>
                <a:buNone/>
              </a:pPr>
              <a:endParaRPr lang="fr-FR" sz="1000">
                <a:solidFill>
                  <a:srgbClr val="5F5F5F"/>
                </a:solidFill>
                <a:latin typeface="Tahoma"/>
              </a:endParaRPr>
            </a:p>
          </p:txBody>
        </p:sp>
      </p:grpSp>
      <p:grpSp>
        <p:nvGrpSpPr>
          <p:cNvPr id="13" name="Groupe 12">
            <a:extLst>
              <a:ext uri="{FF2B5EF4-FFF2-40B4-BE49-F238E27FC236}">
                <a16:creationId xmlns:a16="http://schemas.microsoft.com/office/drawing/2014/main" id="{37989FFA-0196-48FD-A845-47DA1AC986F3}"/>
              </a:ext>
            </a:extLst>
          </p:cNvPr>
          <p:cNvGrpSpPr/>
          <p:nvPr/>
        </p:nvGrpSpPr>
        <p:grpSpPr>
          <a:xfrm>
            <a:off x="6195641" y="1037053"/>
            <a:ext cx="4697971" cy="5331804"/>
            <a:chOff x="5152032" y="967778"/>
            <a:chExt cx="4697971" cy="5331804"/>
          </a:xfrm>
        </p:grpSpPr>
        <p:sp>
          <p:nvSpPr>
            <p:cNvPr id="42" name="Rectangle 41">
              <a:extLst>
                <a:ext uri="{FF2B5EF4-FFF2-40B4-BE49-F238E27FC236}">
                  <a16:creationId xmlns:a16="http://schemas.microsoft.com/office/drawing/2014/main" id="{6E24E481-289D-4B76-BD7A-F952E05150DF}"/>
                </a:ext>
              </a:extLst>
            </p:cNvPr>
            <p:cNvSpPr/>
            <p:nvPr/>
          </p:nvSpPr>
          <p:spPr>
            <a:xfrm>
              <a:off x="5152034" y="967778"/>
              <a:ext cx="4690296" cy="5294733"/>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46" name="Espace réservé du contenu 3">
              <a:extLst>
                <a:ext uri="{FF2B5EF4-FFF2-40B4-BE49-F238E27FC236}">
                  <a16:creationId xmlns:a16="http://schemas.microsoft.com/office/drawing/2014/main" id="{2C3D5093-7CAA-4E7E-B09A-01BA9AEAB0A8}"/>
                </a:ext>
              </a:extLst>
            </p:cNvPr>
            <p:cNvSpPr txBox="1">
              <a:spLocks/>
            </p:cNvSpPr>
            <p:nvPr/>
          </p:nvSpPr>
          <p:spPr>
            <a:xfrm>
              <a:off x="5159707" y="967778"/>
              <a:ext cx="4690296" cy="1651509"/>
            </a:xfrm>
            <a:prstGeom prst="rect">
              <a:avLst/>
            </a:prstGeom>
            <a:noFill/>
            <a:ln w="9525">
              <a:noFill/>
            </a:ln>
          </p:spPr>
          <p:txBody>
            <a:bodyPr lIns="108000" tIns="108000" rIns="108000" bIns="10800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sz="1100" b="1">
                  <a:solidFill>
                    <a:srgbClr val="048B9A"/>
                  </a:solidFill>
                  <a:latin typeface="Tahoma"/>
                </a:rPr>
                <a:t>Une communication insuffisante auprès du public cible</a:t>
              </a:r>
            </a:p>
            <a:p>
              <a:pPr lvl="1">
                <a:spcBef>
                  <a:spcPts val="300"/>
                </a:spcBef>
                <a:buClr>
                  <a:srgbClr val="503078"/>
                </a:buClr>
              </a:pPr>
              <a:r>
                <a:rPr lang="fr-FR" sz="1000">
                  <a:solidFill>
                    <a:srgbClr val="5F5F5F"/>
                  </a:solidFill>
                  <a:latin typeface="Tahoma"/>
                </a:rPr>
                <a:t>Une absence de guichet unique « aidants » et une distinction PA / PH rendant l’accès à l’information difficile </a:t>
              </a:r>
            </a:p>
            <a:p>
              <a:pPr lvl="1">
                <a:spcBef>
                  <a:spcPts val="300"/>
                </a:spcBef>
                <a:buClr>
                  <a:srgbClr val="503078"/>
                </a:buClr>
              </a:pPr>
              <a:r>
                <a:rPr lang="fr-FR" sz="1000">
                  <a:solidFill>
                    <a:srgbClr val="5F5F5F"/>
                  </a:solidFill>
                  <a:latin typeface="Tahoma"/>
                </a:rPr>
                <a:t>Une difficulté à « détecter » les aidants</a:t>
              </a:r>
            </a:p>
          </p:txBody>
        </p:sp>
        <p:sp>
          <p:nvSpPr>
            <p:cNvPr id="48" name="Espace réservé du contenu 3">
              <a:extLst>
                <a:ext uri="{FF2B5EF4-FFF2-40B4-BE49-F238E27FC236}">
                  <a16:creationId xmlns:a16="http://schemas.microsoft.com/office/drawing/2014/main" id="{E3ED6273-67C4-4890-A485-F1EFB8D46F86}"/>
                </a:ext>
              </a:extLst>
            </p:cNvPr>
            <p:cNvSpPr txBox="1">
              <a:spLocks/>
            </p:cNvSpPr>
            <p:nvPr/>
          </p:nvSpPr>
          <p:spPr>
            <a:xfrm>
              <a:off x="5159707" y="2650926"/>
              <a:ext cx="4690296" cy="735496"/>
            </a:xfrm>
            <a:prstGeom prst="rect">
              <a:avLst/>
            </a:prstGeom>
            <a:noFill/>
            <a:ln w="9525">
              <a:noFill/>
            </a:ln>
          </p:spPr>
          <p:txBody>
            <a:bodyPr lIns="108000" tIns="108000" rIns="108000" bIns="10800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sz="1100" b="1">
                  <a:solidFill>
                    <a:srgbClr val="048B9A"/>
                  </a:solidFill>
                  <a:latin typeface="Tahoma"/>
                </a:rPr>
                <a:t>Des difficultés opérationnelles au niveau local</a:t>
              </a:r>
            </a:p>
            <a:p>
              <a:pPr lvl="1">
                <a:spcBef>
                  <a:spcPts val="300"/>
                </a:spcBef>
                <a:buClr>
                  <a:srgbClr val="503078"/>
                </a:buClr>
              </a:pPr>
              <a:r>
                <a:rPr lang="fr-FR" sz="1000">
                  <a:solidFill>
                    <a:srgbClr val="5F5F5F"/>
                  </a:solidFill>
                  <a:latin typeface="Tahoma"/>
                </a:rPr>
                <a:t>Des initiatives souvent isolées et une absence de capitalisation sur les retours d’expérience des porteurs de projet</a:t>
              </a:r>
            </a:p>
            <a:p>
              <a:pPr lvl="1">
                <a:spcBef>
                  <a:spcPts val="300"/>
                </a:spcBef>
                <a:buClr>
                  <a:srgbClr val="503078"/>
                </a:buClr>
              </a:pPr>
              <a:r>
                <a:rPr lang="fr-FR" sz="1000">
                  <a:solidFill>
                    <a:srgbClr val="5F5F5F"/>
                  </a:solidFill>
                  <a:latin typeface="Tahoma"/>
                </a:rPr>
                <a:t>Des besoins exprimés par les porteurs sur un accompagnement en montage de projet et ingénierie financière </a:t>
              </a:r>
            </a:p>
          </p:txBody>
        </p:sp>
        <p:sp>
          <p:nvSpPr>
            <p:cNvPr id="50" name="Espace réservé du contenu 3">
              <a:extLst>
                <a:ext uri="{FF2B5EF4-FFF2-40B4-BE49-F238E27FC236}">
                  <a16:creationId xmlns:a16="http://schemas.microsoft.com/office/drawing/2014/main" id="{51BFCA8F-F518-454E-93AB-4FFCF21C6DBE}"/>
                </a:ext>
              </a:extLst>
            </p:cNvPr>
            <p:cNvSpPr txBox="1">
              <a:spLocks/>
            </p:cNvSpPr>
            <p:nvPr/>
          </p:nvSpPr>
          <p:spPr>
            <a:xfrm>
              <a:off x="5159707" y="1793532"/>
              <a:ext cx="4690296" cy="735496"/>
            </a:xfrm>
            <a:prstGeom prst="rect">
              <a:avLst/>
            </a:prstGeom>
            <a:noFill/>
            <a:ln w="9525">
              <a:noFill/>
            </a:ln>
          </p:spPr>
          <p:txBody>
            <a:bodyPr lIns="108000" tIns="108000" rIns="108000" bIns="10800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sz="1100" b="1">
                  <a:solidFill>
                    <a:srgbClr val="048B9A"/>
                  </a:solidFill>
                  <a:latin typeface="Tahoma"/>
                </a:rPr>
                <a:t>Une demande variable fragilisant l’atteinte d’une rentabilité</a:t>
              </a:r>
            </a:p>
            <a:p>
              <a:pPr lvl="1">
                <a:spcBef>
                  <a:spcPts val="300"/>
                </a:spcBef>
                <a:buClr>
                  <a:srgbClr val="503078"/>
                </a:buClr>
              </a:pPr>
              <a:r>
                <a:rPr lang="fr-FR" sz="1000">
                  <a:solidFill>
                    <a:srgbClr val="5F5F5F"/>
                  </a:solidFill>
                  <a:latin typeface="Tahoma"/>
                </a:rPr>
                <a:t>Un effet de saisonnalité conduisant à une grande variabilité des TO</a:t>
              </a:r>
            </a:p>
            <a:p>
              <a:pPr lvl="1">
                <a:spcBef>
                  <a:spcPts val="300"/>
                </a:spcBef>
                <a:buClr>
                  <a:srgbClr val="503078"/>
                </a:buClr>
              </a:pPr>
              <a:r>
                <a:rPr lang="fr-FR" sz="1000">
                  <a:solidFill>
                    <a:srgbClr val="5F5F5F"/>
                  </a:solidFill>
                  <a:latin typeface="Tahoma"/>
                </a:rPr>
                <a:t>Des taux d’annulation à moins de 30 jours importants et une impossibilité de reprogrammation (temps de préparation des séjours)</a:t>
              </a:r>
            </a:p>
          </p:txBody>
        </p:sp>
        <p:sp>
          <p:nvSpPr>
            <p:cNvPr id="72" name="Espace réservé du contenu 3">
              <a:extLst>
                <a:ext uri="{FF2B5EF4-FFF2-40B4-BE49-F238E27FC236}">
                  <a16:creationId xmlns:a16="http://schemas.microsoft.com/office/drawing/2014/main" id="{5666673F-29F1-45FC-B14E-BB3745EE2491}"/>
                </a:ext>
              </a:extLst>
            </p:cNvPr>
            <p:cNvSpPr txBox="1">
              <a:spLocks/>
            </p:cNvSpPr>
            <p:nvPr/>
          </p:nvSpPr>
          <p:spPr>
            <a:xfrm>
              <a:off x="5152032" y="5100693"/>
              <a:ext cx="4690296" cy="1198889"/>
            </a:xfrm>
            <a:prstGeom prst="rect">
              <a:avLst/>
            </a:prstGeom>
            <a:noFill/>
            <a:ln w="9525">
              <a:noFill/>
            </a:ln>
          </p:spPr>
          <p:txBody>
            <a:bodyPr lIns="108000" tIns="108000" rIns="108000" bIns="10800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sz="1100" b="1">
                  <a:solidFill>
                    <a:srgbClr val="048B9A"/>
                  </a:solidFill>
                  <a:latin typeface="Tahoma"/>
                </a:rPr>
                <a:t>Une absence de structuration en réseau à l’échelle nationale </a:t>
              </a:r>
            </a:p>
            <a:p>
              <a:pPr lvl="1">
                <a:spcBef>
                  <a:spcPts val="300"/>
                </a:spcBef>
                <a:buClr>
                  <a:srgbClr val="503078"/>
                </a:buClr>
              </a:pPr>
              <a:r>
                <a:rPr lang="fr-FR" sz="1000">
                  <a:solidFill>
                    <a:srgbClr val="5F5F5F"/>
                  </a:solidFill>
                  <a:latin typeface="Tahoma"/>
                </a:rPr>
                <a:t>Peu de remontées d’informations de la part des ARS en direction de la DGCS / CNSA</a:t>
              </a:r>
            </a:p>
            <a:p>
              <a:pPr lvl="1">
                <a:spcBef>
                  <a:spcPts val="300"/>
                </a:spcBef>
                <a:buClr>
                  <a:srgbClr val="503078"/>
                </a:buClr>
              </a:pPr>
              <a:r>
                <a:rPr lang="fr-FR" sz="1000">
                  <a:solidFill>
                    <a:srgbClr val="5F5F5F"/>
                  </a:solidFill>
                  <a:latin typeface="Tahoma"/>
                </a:rPr>
                <a:t>Un sujet dépriorisé par les ARS face aux besoins « d’urgence » émanant directement des territoires, limitant le nombre de places d’hébergement temporaire accordées aux centres de répit</a:t>
              </a:r>
            </a:p>
          </p:txBody>
        </p:sp>
        <p:sp>
          <p:nvSpPr>
            <p:cNvPr id="79" name="Espace réservé du contenu 3">
              <a:extLst>
                <a:ext uri="{FF2B5EF4-FFF2-40B4-BE49-F238E27FC236}">
                  <a16:creationId xmlns:a16="http://schemas.microsoft.com/office/drawing/2014/main" id="{B6A7B3DA-50B2-4A65-919A-B2F7364976FF}"/>
                </a:ext>
              </a:extLst>
            </p:cNvPr>
            <p:cNvSpPr txBox="1">
              <a:spLocks/>
            </p:cNvSpPr>
            <p:nvPr/>
          </p:nvSpPr>
          <p:spPr>
            <a:xfrm>
              <a:off x="5222211" y="3633631"/>
              <a:ext cx="4549938" cy="735496"/>
            </a:xfrm>
            <a:prstGeom prst="rect">
              <a:avLst/>
            </a:prstGeom>
            <a:noFill/>
            <a:ln w="9525">
              <a:noFill/>
            </a:ln>
          </p:spPr>
          <p:txBody>
            <a:bodyPr lIns="108000" tIns="108000" rIns="108000" bIns="10800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sz="1100" b="1">
                  <a:solidFill>
                    <a:srgbClr val="048B9A"/>
                  </a:solidFill>
                  <a:latin typeface="Tahoma"/>
                </a:rPr>
                <a:t>Une hétérogénéité des territoires</a:t>
              </a:r>
            </a:p>
            <a:p>
              <a:pPr lvl="1">
                <a:spcBef>
                  <a:spcPts val="300"/>
                </a:spcBef>
                <a:buClr>
                  <a:srgbClr val="503078"/>
                </a:buClr>
              </a:pPr>
              <a:r>
                <a:rPr lang="fr-FR" sz="1000">
                  <a:solidFill>
                    <a:srgbClr val="5F5F5F"/>
                  </a:solidFill>
                  <a:latin typeface="Tahoma"/>
                </a:rPr>
                <a:t>Un équilibre difficile à trouver entre les zones touristiques, fortement pourvues en infrastructures et main d’œuvre mais avec un coût du foncier important, et les zones rurales, dont les tarifs de terrains sont plus abordables mais où l’accès à des infrastructures et à un bassin d’emploi est plus limité</a:t>
              </a:r>
            </a:p>
            <a:p>
              <a:pPr lvl="1">
                <a:spcBef>
                  <a:spcPts val="300"/>
                </a:spcBef>
                <a:buClr>
                  <a:srgbClr val="503078"/>
                </a:buClr>
              </a:pPr>
              <a:r>
                <a:rPr lang="fr-FR" sz="1000">
                  <a:solidFill>
                    <a:srgbClr val="5F5F5F"/>
                  </a:solidFill>
                  <a:latin typeface="Tahoma"/>
                </a:rPr>
                <a:t>Un niveau de maturité des collectivités territoriales sur la question du répit inégal en fonction des territoires </a:t>
              </a:r>
            </a:p>
            <a:p>
              <a:pPr marL="0" lvl="1" indent="0">
                <a:spcBef>
                  <a:spcPts val="300"/>
                </a:spcBef>
                <a:buClr>
                  <a:srgbClr val="503078"/>
                </a:buClr>
                <a:buNone/>
              </a:pPr>
              <a:endParaRPr lang="fr-FR" sz="1000">
                <a:solidFill>
                  <a:srgbClr val="5F5F5F"/>
                </a:solidFill>
                <a:latin typeface="Tahoma"/>
              </a:endParaRPr>
            </a:p>
          </p:txBody>
        </p:sp>
      </p:grpSp>
      <p:sp>
        <p:nvSpPr>
          <p:cNvPr id="15" name="Rectangle 14">
            <a:extLst>
              <a:ext uri="{FF2B5EF4-FFF2-40B4-BE49-F238E27FC236}">
                <a16:creationId xmlns:a16="http://schemas.microsoft.com/office/drawing/2014/main" id="{F8B8B8C8-743B-42AF-9FB9-438E837DA907}"/>
              </a:ext>
            </a:extLst>
          </p:cNvPr>
          <p:cNvSpPr/>
          <p:nvPr/>
        </p:nvSpPr>
        <p:spPr>
          <a:xfrm>
            <a:off x="1387510" y="816047"/>
            <a:ext cx="2182627" cy="2131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fr-FR" sz="1400" cap="small">
                <a:solidFill>
                  <a:srgbClr val="FFFFFF"/>
                </a:solidFill>
                <a:latin typeface="Tahoma"/>
              </a:rPr>
              <a:t>Opportunités</a:t>
            </a:r>
          </a:p>
        </p:txBody>
      </p:sp>
      <p:sp>
        <p:nvSpPr>
          <p:cNvPr id="82" name="Rectangle 81">
            <a:extLst>
              <a:ext uri="{FF2B5EF4-FFF2-40B4-BE49-F238E27FC236}">
                <a16:creationId xmlns:a16="http://schemas.microsoft.com/office/drawing/2014/main" id="{266EFDC6-A210-4E58-8D8E-789C455E7F77}"/>
              </a:ext>
            </a:extLst>
          </p:cNvPr>
          <p:cNvSpPr/>
          <p:nvPr/>
        </p:nvSpPr>
        <p:spPr>
          <a:xfrm>
            <a:off x="8712352" y="828737"/>
            <a:ext cx="2182627" cy="21316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fr-FR" sz="1400" cap="small">
                <a:solidFill>
                  <a:srgbClr val="FFFFFF"/>
                </a:solidFill>
                <a:latin typeface="Tahoma"/>
              </a:rPr>
              <a:t>Freins</a:t>
            </a:r>
          </a:p>
        </p:txBody>
      </p:sp>
    </p:spTree>
    <p:extLst>
      <p:ext uri="{BB962C8B-B14F-4D97-AF65-F5344CB8AC3E}">
        <p14:creationId xmlns:p14="http://schemas.microsoft.com/office/powerpoint/2010/main" val="836901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488601" y="404666"/>
            <a:ext cx="7058090" cy="487701"/>
          </a:xfrm>
        </p:spPr>
        <p:txBody>
          <a:bodyPr/>
          <a:lstStyle/>
          <a:p>
            <a:r>
              <a:rPr lang="fr-FR" sz="2200"/>
              <a:t>Les facteurs clés de succès pour les centres de répit</a:t>
            </a:r>
          </a:p>
        </p:txBody>
      </p:sp>
      <p:sp>
        <p:nvSpPr>
          <p:cNvPr id="3" name="Espace réservé du texte 2"/>
          <p:cNvSpPr>
            <a:spLocks noGrp="1"/>
          </p:cNvSpPr>
          <p:nvPr>
            <p:ph type="body" sz="quarter" idx="13"/>
          </p:nvPr>
        </p:nvSpPr>
        <p:spPr/>
        <p:txBody>
          <a:bodyPr/>
          <a:lstStyle/>
          <a:p>
            <a:r>
              <a:rPr lang="fr-FR"/>
              <a:t>État des lieux</a:t>
            </a:r>
          </a:p>
        </p:txBody>
      </p:sp>
      <p:sp>
        <p:nvSpPr>
          <p:cNvPr id="4" name="Espace réservé du texte 3"/>
          <p:cNvSpPr>
            <a:spLocks noGrp="1"/>
          </p:cNvSpPr>
          <p:nvPr>
            <p:ph type="body" sz="quarter" idx="14"/>
          </p:nvPr>
        </p:nvSpPr>
        <p:spPr>
          <a:xfrm>
            <a:off x="1807490" y="1410183"/>
            <a:ext cx="6126729" cy="1445747"/>
          </a:xfrm>
        </p:spPr>
        <p:txBody>
          <a:bodyPr>
            <a:noAutofit/>
          </a:bodyPr>
          <a:lstStyle/>
          <a:p>
            <a:pPr marL="176213" lvl="1" indent="-176213">
              <a:spcBef>
                <a:spcPts val="0"/>
              </a:spcBef>
              <a:spcAft>
                <a:spcPts val="300"/>
              </a:spcAft>
            </a:pPr>
            <a:r>
              <a:rPr lang="fr-FR" sz="1100" b="1"/>
              <a:t>Mettre en place des synergies avec les acteurs institutionnels </a:t>
            </a:r>
            <a:r>
              <a:rPr lang="fr-FR" sz="1100"/>
              <a:t>(municipalités, CD, CR, ARS) et </a:t>
            </a:r>
            <a:r>
              <a:rPr lang="fr-FR" sz="1100" b="1"/>
              <a:t>socio-économiques</a:t>
            </a:r>
            <a:r>
              <a:rPr lang="fr-FR" sz="1100"/>
              <a:t> (associations, acteurs du tourisme) pour développer une offre intégrée renforçant l’attractivité du territoire</a:t>
            </a:r>
          </a:p>
          <a:p>
            <a:pPr marL="176213" lvl="1" indent="-176213">
              <a:spcBef>
                <a:spcPts val="0"/>
              </a:spcBef>
              <a:spcAft>
                <a:spcPts val="300"/>
              </a:spcAft>
            </a:pPr>
            <a:r>
              <a:rPr lang="fr-FR" sz="1100" b="1"/>
              <a:t>Capitaliser sur les spécificités du territoire </a:t>
            </a:r>
            <a:r>
              <a:rPr lang="fr-FR" sz="1100"/>
              <a:t>(gastronomie, thermes, sport, tourisme, œnologie) comme élément différenciant de l’offre </a:t>
            </a:r>
          </a:p>
          <a:p>
            <a:pPr marL="176213" lvl="1" indent="-176213">
              <a:spcBef>
                <a:spcPts val="0"/>
              </a:spcBef>
              <a:spcAft>
                <a:spcPts val="300"/>
              </a:spcAft>
            </a:pPr>
            <a:r>
              <a:rPr lang="fr-FR" sz="1100" b="1"/>
              <a:t>Favoriser une implantation</a:t>
            </a:r>
            <a:r>
              <a:rPr lang="fr-FR" sz="1100"/>
              <a:t> permettant d’offrir un bassin d’emploi et des infrastructures adaptées (hôtellerie / restauration , accès aux soins, aux transports, …)</a:t>
            </a:r>
            <a:endParaRPr lang="fr-FR" sz="1100">
              <a:solidFill>
                <a:schemeClr val="bg2"/>
              </a:solidFill>
            </a:endParaRPr>
          </a:p>
          <a:p>
            <a:pPr marL="0" lvl="1" indent="0">
              <a:spcAft>
                <a:spcPts val="1200"/>
              </a:spcAft>
              <a:buNone/>
            </a:pPr>
            <a:endParaRPr lang="fr-FR" sz="1100"/>
          </a:p>
        </p:txBody>
      </p:sp>
      <p:pic>
        <p:nvPicPr>
          <p:cNvPr id="9" name="Stakes-Purple-Circle-Background">
            <a:extLst>
              <a:ext uri="{FF2B5EF4-FFF2-40B4-BE49-F238E27FC236}">
                <a16:creationId xmlns:a16="http://schemas.microsoft.com/office/drawing/2014/main" id="{658F6D42-4200-4FD9-8EA6-A621E303A67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52315" y="1002984"/>
            <a:ext cx="468000" cy="468000"/>
          </a:xfrm>
          <a:prstGeom prst="rect">
            <a:avLst/>
          </a:prstGeom>
        </p:spPr>
      </p:pic>
      <p:sp>
        <p:nvSpPr>
          <p:cNvPr id="10" name="ZoneTexte 9">
            <a:extLst>
              <a:ext uri="{FF2B5EF4-FFF2-40B4-BE49-F238E27FC236}">
                <a16:creationId xmlns:a16="http://schemas.microsoft.com/office/drawing/2014/main" id="{2F3D53CD-29EF-4A4C-8DDE-FEE19BFF0514}"/>
              </a:ext>
            </a:extLst>
          </p:cNvPr>
          <p:cNvSpPr txBox="1"/>
          <p:nvPr/>
        </p:nvSpPr>
        <p:spPr>
          <a:xfrm>
            <a:off x="1789126" y="1006020"/>
            <a:ext cx="5812828" cy="461665"/>
          </a:xfrm>
          <a:prstGeom prst="rect">
            <a:avLst/>
          </a:prstGeom>
          <a:noFill/>
        </p:spPr>
        <p:txBody>
          <a:bodyPr wrap="square" lIns="108000" rIns="108000" rtlCol="0">
            <a:spAutoFit/>
          </a:bodyPr>
          <a:lstStyle/>
          <a:p>
            <a:r>
              <a:rPr lang="fr-FR" sz="1200" b="1">
                <a:solidFill>
                  <a:srgbClr val="503078"/>
                </a:solidFill>
                <a:latin typeface="Tahoma"/>
              </a:rPr>
              <a:t>Intégrer les centres de répit au sein des dynamiques territoriales d’accompagnement PA/PH et de développement touristique</a:t>
            </a:r>
          </a:p>
        </p:txBody>
      </p:sp>
      <p:sp>
        <p:nvSpPr>
          <p:cNvPr id="7" name="Espace réservé du texte 3">
            <a:extLst>
              <a:ext uri="{FF2B5EF4-FFF2-40B4-BE49-F238E27FC236}">
                <a16:creationId xmlns:a16="http://schemas.microsoft.com/office/drawing/2014/main" id="{6F1D54A7-94A5-4EEC-95C2-375BA0B428FD}"/>
              </a:ext>
            </a:extLst>
          </p:cNvPr>
          <p:cNvSpPr txBox="1">
            <a:spLocks/>
          </p:cNvSpPr>
          <p:nvPr/>
        </p:nvSpPr>
        <p:spPr>
          <a:xfrm>
            <a:off x="8156549" y="1553319"/>
            <a:ext cx="2772000" cy="911570"/>
          </a:xfrm>
          <a:prstGeom prst="rect">
            <a:avLst/>
          </a:prstGeom>
        </p:spPr>
        <p:txBody>
          <a:bodyPr vert="horz" lIns="108000" tIns="108000" rIns="108000" bIns="108000" rtlCol="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marL="176213" lvl="1" indent="-176213">
              <a:spcBef>
                <a:spcPts val="0"/>
              </a:spcBef>
              <a:spcAft>
                <a:spcPts val="300"/>
              </a:spcAft>
              <a:buClr>
                <a:srgbClr val="FFFFFF"/>
              </a:buClr>
              <a:buFont typeface="Arial" panose="020B0604020202020204" pitchFamily="34" charset="0"/>
              <a:buChar char="•"/>
            </a:pPr>
            <a:r>
              <a:rPr lang="fr-FR" sz="1100">
                <a:solidFill>
                  <a:srgbClr val="FFFFFF"/>
                </a:solidFill>
                <a:latin typeface="Tahoma"/>
              </a:rPr>
              <a:t>Réaliser des diagnostics territoriaux permettant d’identifier les structures d’accueil MS existantes, l’offre touristique et le foncier disponible</a:t>
            </a:r>
          </a:p>
        </p:txBody>
      </p:sp>
      <p:grpSp>
        <p:nvGrpSpPr>
          <p:cNvPr id="23" name="Groupe 22">
            <a:extLst>
              <a:ext uri="{FF2B5EF4-FFF2-40B4-BE49-F238E27FC236}">
                <a16:creationId xmlns:a16="http://schemas.microsoft.com/office/drawing/2014/main" id="{80482894-E872-4447-9FF5-80985611493C}"/>
              </a:ext>
            </a:extLst>
          </p:cNvPr>
          <p:cNvGrpSpPr/>
          <p:nvPr/>
        </p:nvGrpSpPr>
        <p:grpSpPr>
          <a:xfrm>
            <a:off x="1275066" y="2918994"/>
            <a:ext cx="6917455" cy="1798554"/>
            <a:chOff x="132274" y="2637580"/>
            <a:chExt cx="6917455" cy="1578020"/>
          </a:xfrm>
        </p:grpSpPr>
        <p:pic>
          <p:nvPicPr>
            <p:cNvPr id="15" name="Sharing-Purple-Circle-Background">
              <a:extLst>
                <a:ext uri="{FF2B5EF4-FFF2-40B4-BE49-F238E27FC236}">
                  <a16:creationId xmlns:a16="http://schemas.microsoft.com/office/drawing/2014/main" id="{501ABFD7-267A-4CD8-A67A-3742FAFD0382}"/>
                </a:ext>
              </a:extLst>
            </p:cNvPr>
            <p:cNvPicPr preferRelativeResize="0">
              <a:picLocks/>
            </p:cNvPicPr>
            <p:nvPr/>
          </p:nvPicPr>
          <p:blipFill>
            <a:blip r:embed="rId4" cstate="print">
              <a:extLst>
                <a:ext uri="{28A0092B-C50C-407E-A947-70E740481C1C}">
                  <a14:useLocalDpi xmlns:a14="http://schemas.microsoft.com/office/drawing/2010/main" val="0"/>
                </a:ext>
              </a:extLst>
            </a:blip>
            <a:stretch>
              <a:fillRect/>
            </a:stretch>
          </p:blipFill>
          <p:spPr>
            <a:xfrm>
              <a:off x="132274" y="2637580"/>
              <a:ext cx="468000" cy="410615"/>
            </a:xfrm>
            <a:prstGeom prst="rect">
              <a:avLst/>
            </a:prstGeom>
          </p:spPr>
        </p:pic>
        <p:sp>
          <p:nvSpPr>
            <p:cNvPr id="18" name="ZoneTexte 17">
              <a:extLst>
                <a:ext uri="{FF2B5EF4-FFF2-40B4-BE49-F238E27FC236}">
                  <a16:creationId xmlns:a16="http://schemas.microsoft.com/office/drawing/2014/main" id="{E47DCA55-4ED2-473C-889D-42574F180C10}"/>
                </a:ext>
              </a:extLst>
            </p:cNvPr>
            <p:cNvSpPr txBox="1"/>
            <p:nvPr/>
          </p:nvSpPr>
          <p:spPr>
            <a:xfrm>
              <a:off x="631312" y="2705753"/>
              <a:ext cx="6418417" cy="243034"/>
            </a:xfrm>
            <a:prstGeom prst="rect">
              <a:avLst/>
            </a:prstGeom>
            <a:noFill/>
          </p:spPr>
          <p:txBody>
            <a:bodyPr wrap="square" lIns="108000" rIns="108000" rtlCol="0">
              <a:spAutoFit/>
            </a:bodyPr>
            <a:lstStyle/>
            <a:p>
              <a:r>
                <a:rPr lang="fr-FR" sz="1200" b="1">
                  <a:solidFill>
                    <a:srgbClr val="503078"/>
                  </a:solidFill>
                  <a:latin typeface="Tahoma"/>
                </a:rPr>
                <a:t>Mobiliser des expertises partenariales dans la structuration des centres de répit </a:t>
              </a:r>
            </a:p>
          </p:txBody>
        </p:sp>
        <p:sp>
          <p:nvSpPr>
            <p:cNvPr id="19" name="Espace réservé du texte 3">
              <a:extLst>
                <a:ext uri="{FF2B5EF4-FFF2-40B4-BE49-F238E27FC236}">
                  <a16:creationId xmlns:a16="http://schemas.microsoft.com/office/drawing/2014/main" id="{66DD5B8F-4842-4D32-9106-D9002BDE703A}"/>
                </a:ext>
              </a:extLst>
            </p:cNvPr>
            <p:cNvSpPr txBox="1">
              <a:spLocks/>
            </p:cNvSpPr>
            <p:nvPr/>
          </p:nvSpPr>
          <p:spPr>
            <a:xfrm>
              <a:off x="693389" y="2910807"/>
              <a:ext cx="6196145" cy="1304793"/>
            </a:xfrm>
            <a:prstGeom prst="rect">
              <a:avLst/>
            </a:prstGeom>
          </p:spPr>
          <p:txBody>
            <a:bodyPr vert="horz" lIns="108000" tIns="108000" rIns="108000" bIns="108000" rtlCol="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marL="176213" lvl="1" indent="-176213">
                <a:spcBef>
                  <a:spcPts val="0"/>
                </a:spcBef>
                <a:spcAft>
                  <a:spcPts val="300"/>
                </a:spcAft>
                <a:buClr>
                  <a:srgbClr val="503078"/>
                </a:buClr>
              </a:pPr>
              <a:r>
                <a:rPr lang="fr-FR" sz="1100" b="1">
                  <a:solidFill>
                    <a:srgbClr val="5F5F5F"/>
                  </a:solidFill>
                  <a:latin typeface="Tahoma"/>
                </a:rPr>
                <a:t>S’appuyer sur l’expertise d’acteurs installés dans le secteur du tourisme</a:t>
              </a:r>
              <a:r>
                <a:rPr lang="fr-FR" sz="1100">
                  <a:solidFill>
                    <a:srgbClr val="5F5F5F"/>
                  </a:solidFill>
                  <a:latin typeface="Tahoma"/>
                </a:rPr>
                <a:t> (social ou ordinaire) pour construire l’offre touristique</a:t>
              </a:r>
            </a:p>
            <a:p>
              <a:pPr marL="176213" lvl="1" indent="-176213">
                <a:spcBef>
                  <a:spcPts val="0"/>
                </a:spcBef>
                <a:spcAft>
                  <a:spcPts val="300"/>
                </a:spcAft>
                <a:buClr>
                  <a:srgbClr val="503078"/>
                </a:buClr>
              </a:pPr>
              <a:r>
                <a:rPr lang="fr-FR" sz="1100" b="1">
                  <a:solidFill>
                    <a:srgbClr val="5F5F5F"/>
                  </a:solidFill>
                  <a:latin typeface="Tahoma"/>
                </a:rPr>
                <a:t>Mobiliser des associations et des ESMS pour garantir la qualité de l’accompagnement médico-social</a:t>
              </a:r>
              <a:r>
                <a:rPr lang="fr-FR" sz="1100">
                  <a:solidFill>
                    <a:srgbClr val="5F5F5F"/>
                  </a:solidFill>
                  <a:latin typeface="Tahoma"/>
                </a:rPr>
                <a:t> et son adéquation aux besoins des aidés et des aidants</a:t>
              </a:r>
            </a:p>
            <a:p>
              <a:pPr marL="176213" lvl="1" indent="-176213">
                <a:spcBef>
                  <a:spcPts val="0"/>
                </a:spcBef>
                <a:spcAft>
                  <a:spcPts val="300"/>
                </a:spcAft>
                <a:buClr>
                  <a:srgbClr val="503078"/>
                </a:buClr>
              </a:pPr>
              <a:r>
                <a:rPr lang="fr-FR" sz="1100" b="1">
                  <a:solidFill>
                    <a:srgbClr val="5F5F5F"/>
                  </a:solidFill>
                  <a:latin typeface="Tahoma"/>
                </a:rPr>
                <a:t>Associer aux projets des financeurs privés </a:t>
              </a:r>
              <a:r>
                <a:rPr lang="fr-FR" sz="1100">
                  <a:solidFill>
                    <a:srgbClr val="5F5F5F"/>
                  </a:solidFill>
                  <a:latin typeface="Tahoma"/>
                </a:rPr>
                <a:t>(groupes de protection sociale, bailleurs sociaux,…)</a:t>
              </a:r>
            </a:p>
            <a:p>
              <a:pPr marL="176213" lvl="1" indent="-176213">
                <a:spcBef>
                  <a:spcPts val="0"/>
                </a:spcBef>
                <a:spcAft>
                  <a:spcPts val="300"/>
                </a:spcAft>
                <a:buClr>
                  <a:srgbClr val="503078"/>
                </a:buClr>
              </a:pPr>
              <a:r>
                <a:rPr lang="fr-FR" sz="1100" b="1">
                  <a:solidFill>
                    <a:srgbClr val="5F5F5F"/>
                  </a:solidFill>
                  <a:latin typeface="Tahoma"/>
                </a:rPr>
                <a:t>Bénéficier d’un accompagnement </a:t>
              </a:r>
              <a:r>
                <a:rPr lang="fr-FR" sz="1100">
                  <a:solidFill>
                    <a:srgbClr val="5F5F5F"/>
                  </a:solidFill>
                  <a:latin typeface="Tahoma"/>
                </a:rPr>
                <a:t>sur le montage de projets</a:t>
              </a:r>
            </a:p>
            <a:p>
              <a:pPr marL="0" lvl="1" indent="0">
                <a:spcBef>
                  <a:spcPts val="0"/>
                </a:spcBef>
                <a:spcAft>
                  <a:spcPts val="300"/>
                </a:spcAft>
                <a:buClr>
                  <a:srgbClr val="503078"/>
                </a:buClr>
                <a:buNone/>
              </a:pPr>
              <a:endParaRPr lang="fr-FR" sz="1050">
                <a:solidFill>
                  <a:srgbClr val="5F5F5F"/>
                </a:solidFill>
                <a:latin typeface="Tahoma"/>
              </a:endParaRPr>
            </a:p>
            <a:p>
              <a:pPr marL="176213" lvl="1" indent="-176213">
                <a:spcBef>
                  <a:spcPts val="0"/>
                </a:spcBef>
                <a:buClr>
                  <a:srgbClr val="503078"/>
                </a:buClr>
              </a:pPr>
              <a:endParaRPr lang="fr-FR" sz="1100">
                <a:solidFill>
                  <a:srgbClr val="503078"/>
                </a:solidFill>
                <a:latin typeface="Tahoma"/>
              </a:endParaRPr>
            </a:p>
            <a:p>
              <a:pPr marL="0" lvl="1" indent="0">
                <a:spcAft>
                  <a:spcPts val="1200"/>
                </a:spcAft>
                <a:buClr>
                  <a:srgbClr val="503078"/>
                </a:buClr>
                <a:buNone/>
              </a:pPr>
              <a:endParaRPr lang="fr-FR" sz="1100">
                <a:solidFill>
                  <a:srgbClr val="5F5F5F"/>
                </a:solidFill>
                <a:latin typeface="Tahoma"/>
              </a:endParaRPr>
            </a:p>
          </p:txBody>
        </p:sp>
      </p:grpSp>
      <p:sp>
        <p:nvSpPr>
          <p:cNvPr id="20" name="Espace réservé du texte 3">
            <a:extLst>
              <a:ext uri="{FF2B5EF4-FFF2-40B4-BE49-F238E27FC236}">
                <a16:creationId xmlns:a16="http://schemas.microsoft.com/office/drawing/2014/main" id="{9456DDFF-750C-4001-800C-6C6452256B06}"/>
              </a:ext>
            </a:extLst>
          </p:cNvPr>
          <p:cNvSpPr txBox="1">
            <a:spLocks/>
          </p:cNvSpPr>
          <p:nvPr/>
        </p:nvSpPr>
        <p:spPr>
          <a:xfrm>
            <a:off x="8156549" y="3197600"/>
            <a:ext cx="2772000" cy="1250974"/>
          </a:xfrm>
          <a:prstGeom prst="rect">
            <a:avLst/>
          </a:prstGeom>
        </p:spPr>
        <p:txBody>
          <a:bodyPr vert="horz" lIns="108000" tIns="108000" rIns="108000" bIns="108000" rtlCol="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marL="176213" lvl="1" indent="-176213">
              <a:spcBef>
                <a:spcPts val="0"/>
              </a:spcBef>
              <a:spcAft>
                <a:spcPts val="300"/>
              </a:spcAft>
              <a:buClr>
                <a:srgbClr val="FFFFFF"/>
              </a:buClr>
              <a:buFont typeface="Arial" panose="020B0604020202020204" pitchFamily="34" charset="0"/>
              <a:buChar char="•"/>
            </a:pPr>
            <a:r>
              <a:rPr lang="fr-FR" sz="1100">
                <a:solidFill>
                  <a:srgbClr val="FFFFFF"/>
                </a:solidFill>
                <a:latin typeface="Tahoma"/>
              </a:rPr>
              <a:t>Fédérer un réseau d’acteurs autour de la question des séjours de répit aidants / aidés (ex : Répit Partagé)</a:t>
            </a:r>
          </a:p>
          <a:p>
            <a:pPr marL="176213" lvl="1" indent="-176213">
              <a:spcBef>
                <a:spcPts val="0"/>
              </a:spcBef>
              <a:spcAft>
                <a:spcPts val="300"/>
              </a:spcAft>
              <a:buClr>
                <a:srgbClr val="FFFFFF"/>
              </a:buClr>
              <a:buFont typeface="Arial" panose="020B0604020202020204" pitchFamily="34" charset="0"/>
              <a:buChar char="•"/>
            </a:pPr>
            <a:r>
              <a:rPr lang="fr-FR" sz="1100">
                <a:solidFill>
                  <a:srgbClr val="FFFFFF"/>
                </a:solidFill>
                <a:latin typeface="Tahoma"/>
              </a:rPr>
              <a:t>Privilégier les projets adossés à des structures médico-sociales existantes pour mutualiser les coûts et la masse salariale </a:t>
            </a:r>
          </a:p>
        </p:txBody>
      </p:sp>
      <p:sp>
        <p:nvSpPr>
          <p:cNvPr id="21" name="Espace réservé du texte 3">
            <a:extLst>
              <a:ext uri="{FF2B5EF4-FFF2-40B4-BE49-F238E27FC236}">
                <a16:creationId xmlns:a16="http://schemas.microsoft.com/office/drawing/2014/main" id="{BFD9F415-8A31-4641-9BB7-2DF21E79B9CA}"/>
              </a:ext>
            </a:extLst>
          </p:cNvPr>
          <p:cNvSpPr txBox="1">
            <a:spLocks/>
          </p:cNvSpPr>
          <p:nvPr/>
        </p:nvSpPr>
        <p:spPr>
          <a:xfrm>
            <a:off x="8156549" y="5303873"/>
            <a:ext cx="2772000" cy="911570"/>
          </a:xfrm>
          <a:prstGeom prst="rect">
            <a:avLst/>
          </a:prstGeom>
        </p:spPr>
        <p:txBody>
          <a:bodyPr vert="horz" lIns="108000" tIns="108000" rIns="108000" bIns="108000" rtlCol="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marL="176213" lvl="1" indent="-176213">
              <a:spcBef>
                <a:spcPts val="0"/>
              </a:spcBef>
              <a:spcAft>
                <a:spcPts val="300"/>
              </a:spcAft>
              <a:buClr>
                <a:srgbClr val="FFFFFF"/>
              </a:buClr>
              <a:buFont typeface="Arial" panose="020B0604020202020204" pitchFamily="34" charset="0"/>
              <a:buChar char="•"/>
            </a:pPr>
            <a:r>
              <a:rPr lang="fr-FR" sz="1100">
                <a:solidFill>
                  <a:srgbClr val="FFFFFF"/>
                </a:solidFill>
                <a:latin typeface="Tahoma"/>
              </a:rPr>
              <a:t>Formaliser un cahier des charges clair avec un modèle opérationnel et économique lisible par les différentes parties prenantes du projet (notamment les financeurs) </a:t>
            </a:r>
          </a:p>
        </p:txBody>
      </p:sp>
      <p:grpSp>
        <p:nvGrpSpPr>
          <p:cNvPr id="6" name="Groupe 5">
            <a:extLst>
              <a:ext uri="{FF2B5EF4-FFF2-40B4-BE49-F238E27FC236}">
                <a16:creationId xmlns:a16="http://schemas.microsoft.com/office/drawing/2014/main" id="{BC4BD318-E512-4219-948B-DD4F2C5FBE38}"/>
              </a:ext>
            </a:extLst>
          </p:cNvPr>
          <p:cNvGrpSpPr/>
          <p:nvPr/>
        </p:nvGrpSpPr>
        <p:grpSpPr>
          <a:xfrm>
            <a:off x="1252316" y="4728606"/>
            <a:ext cx="6681903" cy="1985078"/>
            <a:chOff x="109315" y="4485666"/>
            <a:chExt cx="6681903" cy="1985078"/>
          </a:xfrm>
        </p:grpSpPr>
        <p:sp>
          <p:nvSpPr>
            <p:cNvPr id="11" name="ZoneTexte 10">
              <a:extLst>
                <a:ext uri="{FF2B5EF4-FFF2-40B4-BE49-F238E27FC236}">
                  <a16:creationId xmlns:a16="http://schemas.microsoft.com/office/drawing/2014/main" id="{B5401A8F-6045-4499-A341-89FE6155F3DF}"/>
                </a:ext>
              </a:extLst>
            </p:cNvPr>
            <p:cNvSpPr txBox="1"/>
            <p:nvPr/>
          </p:nvSpPr>
          <p:spPr>
            <a:xfrm>
              <a:off x="664489" y="4613502"/>
              <a:ext cx="5812828" cy="276999"/>
            </a:xfrm>
            <a:prstGeom prst="rect">
              <a:avLst/>
            </a:prstGeom>
            <a:noFill/>
          </p:spPr>
          <p:txBody>
            <a:bodyPr wrap="square" lIns="108000" rIns="108000" rtlCol="0">
              <a:spAutoFit/>
            </a:bodyPr>
            <a:lstStyle/>
            <a:p>
              <a:r>
                <a:rPr lang="fr-FR" sz="1200" b="1">
                  <a:solidFill>
                    <a:srgbClr val="503078"/>
                  </a:solidFill>
                  <a:latin typeface="Tahoma"/>
                </a:rPr>
                <a:t>Simplifier le pilotage opérationnel et rationaliser les coûts </a:t>
              </a:r>
            </a:p>
          </p:txBody>
        </p:sp>
        <p:pic>
          <p:nvPicPr>
            <p:cNvPr id="16" name="Industries-Purple-Circle-Background">
              <a:extLst>
                <a:ext uri="{FF2B5EF4-FFF2-40B4-BE49-F238E27FC236}">
                  <a16:creationId xmlns:a16="http://schemas.microsoft.com/office/drawing/2014/main" id="{54199E7B-186A-4B12-8446-74C6F461062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9315" y="4485666"/>
              <a:ext cx="468000" cy="468000"/>
            </a:xfrm>
            <a:prstGeom prst="rect">
              <a:avLst/>
            </a:prstGeom>
          </p:spPr>
        </p:pic>
        <p:sp>
          <p:nvSpPr>
            <p:cNvPr id="22" name="Espace réservé du texte 3">
              <a:extLst>
                <a:ext uri="{FF2B5EF4-FFF2-40B4-BE49-F238E27FC236}">
                  <a16:creationId xmlns:a16="http://schemas.microsoft.com/office/drawing/2014/main" id="{BFB810D0-B7EB-4A94-8E11-5B8912BCADA2}"/>
                </a:ext>
              </a:extLst>
            </p:cNvPr>
            <p:cNvSpPr txBox="1">
              <a:spLocks/>
            </p:cNvSpPr>
            <p:nvPr/>
          </p:nvSpPr>
          <p:spPr>
            <a:xfrm>
              <a:off x="729673" y="4860031"/>
              <a:ext cx="6061545" cy="1610713"/>
            </a:xfrm>
            <a:prstGeom prst="rect">
              <a:avLst/>
            </a:prstGeom>
          </p:spPr>
          <p:txBody>
            <a:bodyPr vert="horz" lIns="108000" tIns="108000" rIns="108000" bIns="108000" rtlCol="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marL="176213" lvl="1" indent="-176213">
                <a:spcBef>
                  <a:spcPts val="0"/>
                </a:spcBef>
                <a:spcAft>
                  <a:spcPts val="300"/>
                </a:spcAft>
                <a:buClr>
                  <a:srgbClr val="503078"/>
                </a:buClr>
              </a:pPr>
              <a:r>
                <a:rPr lang="fr-FR" sz="1100" b="1">
                  <a:solidFill>
                    <a:srgbClr val="5F5F5F"/>
                  </a:solidFill>
                  <a:latin typeface="Tahoma"/>
                </a:rPr>
                <a:t>Distinguer les acteurs intervenant dans l’investissement et l’exploitation </a:t>
              </a:r>
              <a:r>
                <a:rPr lang="fr-FR" sz="1100">
                  <a:solidFill>
                    <a:srgbClr val="5F5F5F"/>
                  </a:solidFill>
                  <a:latin typeface="Tahoma"/>
                </a:rPr>
                <a:t>(bailleurs sociaux / fonds de protection sociale pour l’investissement vs. structure dédiée pour l’exploitation) et </a:t>
              </a:r>
              <a:r>
                <a:rPr lang="fr-FR" sz="1100" b="1">
                  <a:solidFill>
                    <a:srgbClr val="5F5F5F"/>
                  </a:solidFill>
                  <a:latin typeface="Tahoma"/>
                </a:rPr>
                <a:t>mettre en place des structures juridiques adaptées au portage </a:t>
              </a:r>
            </a:p>
            <a:p>
              <a:pPr marL="176213" lvl="1" indent="-176213">
                <a:spcBef>
                  <a:spcPts val="0"/>
                </a:spcBef>
                <a:spcAft>
                  <a:spcPts val="300"/>
                </a:spcAft>
                <a:buClr>
                  <a:srgbClr val="503078"/>
                </a:buClr>
              </a:pPr>
              <a:r>
                <a:rPr lang="fr-FR" sz="1100" b="1">
                  <a:solidFill>
                    <a:srgbClr val="5F5F5F"/>
                  </a:solidFill>
                  <a:latin typeface="Tahoma"/>
                </a:rPr>
                <a:t>Favoriser l’atteinte de la rentabilité via une mutualisation des coûts </a:t>
              </a:r>
              <a:r>
                <a:rPr lang="fr-FR" sz="1100">
                  <a:solidFill>
                    <a:srgbClr val="5F5F5F"/>
                  </a:solidFill>
                  <a:latin typeface="Tahoma"/>
                </a:rPr>
                <a:t>(adossement à des structures médico-sociales existantes)</a:t>
              </a:r>
            </a:p>
            <a:p>
              <a:pPr marL="176213" lvl="1" indent="-176213">
                <a:spcBef>
                  <a:spcPts val="0"/>
                </a:spcBef>
                <a:spcAft>
                  <a:spcPts val="300"/>
                </a:spcAft>
                <a:buClr>
                  <a:srgbClr val="503078"/>
                </a:buClr>
              </a:pPr>
              <a:r>
                <a:rPr lang="fr-FR" sz="1100" b="1">
                  <a:solidFill>
                    <a:srgbClr val="5F5F5F"/>
                  </a:solidFill>
                  <a:latin typeface="Tahoma"/>
                </a:rPr>
                <a:t>Diversifier l’offre pour prendre en compte la saisonnalité </a:t>
              </a:r>
              <a:r>
                <a:rPr lang="fr-FR" sz="1100">
                  <a:solidFill>
                    <a:srgbClr val="5F5F5F"/>
                  </a:solidFill>
                  <a:latin typeface="Tahoma"/>
                </a:rPr>
                <a:t>(ex : mise en place de séjours courts hors-saison, organisation d’événements, accueil de jour, …)</a:t>
              </a:r>
            </a:p>
            <a:p>
              <a:pPr marL="176213" lvl="1" indent="-176213">
                <a:spcBef>
                  <a:spcPts val="0"/>
                </a:spcBef>
                <a:buClr>
                  <a:srgbClr val="503078"/>
                </a:buClr>
              </a:pPr>
              <a:endParaRPr lang="fr-FR" sz="1100">
                <a:solidFill>
                  <a:srgbClr val="503078"/>
                </a:solidFill>
                <a:latin typeface="Tahoma"/>
              </a:endParaRPr>
            </a:p>
            <a:p>
              <a:pPr marL="0" lvl="1" indent="0">
                <a:spcAft>
                  <a:spcPts val="1200"/>
                </a:spcAft>
                <a:buClr>
                  <a:srgbClr val="503078"/>
                </a:buClr>
                <a:buNone/>
              </a:pPr>
              <a:endParaRPr lang="fr-FR" sz="1100">
                <a:solidFill>
                  <a:srgbClr val="5F5F5F"/>
                </a:solidFill>
                <a:latin typeface="Tahoma"/>
              </a:endParaRPr>
            </a:p>
          </p:txBody>
        </p:sp>
      </p:grpSp>
      <p:pic>
        <p:nvPicPr>
          <p:cNvPr id="25" name="Graphique 24" descr="Ampoule avec un remplissage uni">
            <a:extLst>
              <a:ext uri="{FF2B5EF4-FFF2-40B4-BE49-F238E27FC236}">
                <a16:creationId xmlns:a16="http://schemas.microsoft.com/office/drawing/2014/main" id="{91D4029C-7111-4CE0-91B4-78F5D099F7D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63550" y="1312549"/>
            <a:ext cx="341671" cy="341671"/>
          </a:xfrm>
          <a:prstGeom prst="rect">
            <a:avLst/>
          </a:prstGeom>
        </p:spPr>
      </p:pic>
      <p:pic>
        <p:nvPicPr>
          <p:cNvPr id="26" name="Graphique 25" descr="Ampoule avec un remplissage uni">
            <a:extLst>
              <a:ext uri="{FF2B5EF4-FFF2-40B4-BE49-F238E27FC236}">
                <a16:creationId xmlns:a16="http://schemas.microsoft.com/office/drawing/2014/main" id="{EC9517D5-557E-46DC-8523-5091114FC6F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81063" y="2855930"/>
            <a:ext cx="341671" cy="341671"/>
          </a:xfrm>
          <a:prstGeom prst="rect">
            <a:avLst/>
          </a:prstGeom>
        </p:spPr>
      </p:pic>
      <p:pic>
        <p:nvPicPr>
          <p:cNvPr id="27" name="Graphique 26" descr="Ampoule avec un remplissage uni">
            <a:extLst>
              <a:ext uri="{FF2B5EF4-FFF2-40B4-BE49-F238E27FC236}">
                <a16:creationId xmlns:a16="http://schemas.microsoft.com/office/drawing/2014/main" id="{EAAC02DF-6A7F-4280-B4DF-720F14C49BE0}"/>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21127" y="4962607"/>
            <a:ext cx="341671" cy="341671"/>
          </a:xfrm>
          <a:prstGeom prst="rect">
            <a:avLst/>
          </a:prstGeom>
        </p:spPr>
      </p:pic>
      <p:sp>
        <p:nvSpPr>
          <p:cNvPr id="24" name="Espace réservé du texte 2">
            <a:extLst>
              <a:ext uri="{FF2B5EF4-FFF2-40B4-BE49-F238E27FC236}">
                <a16:creationId xmlns:a16="http://schemas.microsoft.com/office/drawing/2014/main" id="{E57E14C2-C37D-4502-8193-6AA941E4DCB3}"/>
              </a:ext>
            </a:extLst>
          </p:cNvPr>
          <p:cNvSpPr txBox="1">
            <a:spLocks/>
          </p:cNvSpPr>
          <p:nvPr/>
        </p:nvSpPr>
        <p:spPr>
          <a:xfrm>
            <a:off x="1488601" y="144315"/>
            <a:ext cx="6126729" cy="260350"/>
          </a:xfrm>
          <a:prstGeom prst="rect">
            <a:avLst/>
          </a:prstGeom>
        </p:spPr>
        <p:txBody>
          <a:bodyPr vert="horz" lIns="108000" tIns="0" rIns="108000" bIns="0" rtlCol="0" anchor="b">
            <a:noAutofit/>
          </a:bodyPr>
          <a:lstStyle>
            <a:lvl1pPr marL="0" indent="0" algn="just" defTabSz="914400" rtl="0" eaLnBrk="1" latinLnBrk="0" hangingPunct="1">
              <a:lnSpc>
                <a:spcPct val="100000"/>
              </a:lnSpc>
              <a:spcBef>
                <a:spcPts val="0"/>
              </a:spcBef>
              <a:buFont typeface="Arial" panose="020B0604020202020204" pitchFamily="34" charset="0"/>
              <a:buNone/>
              <a:tabLst/>
              <a:defRPr sz="1000" i="0" kern="1200" cap="all" baseline="0">
                <a:solidFill>
                  <a:schemeClr val="accent4"/>
                </a:solidFill>
                <a:latin typeface="+mj-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0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fr-FR">
                <a:solidFill>
                  <a:srgbClr val="938481"/>
                </a:solidFill>
                <a:latin typeface="Tahoma"/>
              </a:rPr>
              <a:t>Etat des lieux des modèles existants</a:t>
            </a:r>
          </a:p>
        </p:txBody>
      </p:sp>
    </p:spTree>
    <p:extLst>
      <p:ext uri="{BB962C8B-B14F-4D97-AF65-F5344CB8AC3E}">
        <p14:creationId xmlns:p14="http://schemas.microsoft.com/office/powerpoint/2010/main" val="821555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3EB83E-9A43-4C64-850A-5427CD140410}"/>
              </a:ext>
            </a:extLst>
          </p:cNvPr>
          <p:cNvSpPr>
            <a:spLocks noGrp="1"/>
          </p:cNvSpPr>
          <p:nvPr>
            <p:ph type="title"/>
          </p:nvPr>
        </p:nvSpPr>
        <p:spPr/>
        <p:txBody>
          <a:bodyPr/>
          <a:lstStyle/>
          <a:p>
            <a:r>
              <a:rPr lang="fr-FR"/>
              <a:t>Cartographie et positionnement des acteurs</a:t>
            </a:r>
          </a:p>
        </p:txBody>
      </p:sp>
      <p:sp>
        <p:nvSpPr>
          <p:cNvPr id="4" name="Espace réservé du texte 3">
            <a:extLst>
              <a:ext uri="{FF2B5EF4-FFF2-40B4-BE49-F238E27FC236}">
                <a16:creationId xmlns:a16="http://schemas.microsoft.com/office/drawing/2014/main" id="{387BA546-E41F-4C95-B365-248F93F3BE89}"/>
              </a:ext>
            </a:extLst>
          </p:cNvPr>
          <p:cNvSpPr>
            <a:spLocks noGrp="1"/>
          </p:cNvSpPr>
          <p:nvPr>
            <p:ph type="body" sz="quarter" idx="38"/>
          </p:nvPr>
        </p:nvSpPr>
        <p:spPr/>
        <p:txBody>
          <a:bodyPr/>
          <a:lstStyle/>
          <a:p>
            <a:r>
              <a:rPr lang="fr-FR"/>
              <a:t>B	</a:t>
            </a:r>
          </a:p>
        </p:txBody>
      </p:sp>
    </p:spTree>
    <p:extLst>
      <p:ext uri="{BB962C8B-B14F-4D97-AF65-F5344CB8AC3E}">
        <p14:creationId xmlns:p14="http://schemas.microsoft.com/office/powerpoint/2010/main" val="38694008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2EF0A0-11BC-465F-8813-5C38CC710B80}"/>
              </a:ext>
            </a:extLst>
          </p:cNvPr>
          <p:cNvSpPr/>
          <p:nvPr/>
        </p:nvSpPr>
        <p:spPr>
          <a:xfrm>
            <a:off x="8926212" y="5733027"/>
            <a:ext cx="2122788" cy="11272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2" name="Title 1">
            <a:extLst>
              <a:ext uri="{FF2B5EF4-FFF2-40B4-BE49-F238E27FC236}">
                <a16:creationId xmlns:a16="http://schemas.microsoft.com/office/drawing/2014/main" id="{374D7AC9-CA0F-426C-81D7-D30AD6E6F743}"/>
              </a:ext>
            </a:extLst>
          </p:cNvPr>
          <p:cNvSpPr>
            <a:spLocks noGrp="1"/>
          </p:cNvSpPr>
          <p:nvPr>
            <p:ph type="title"/>
          </p:nvPr>
        </p:nvSpPr>
        <p:spPr/>
        <p:txBody>
          <a:bodyPr/>
          <a:lstStyle/>
          <a:p>
            <a:r>
              <a:rPr lang="fr-FR" noProof="1">
                <a:latin typeface="Tahoma" panose="020B0604030504040204" pitchFamily="34" charset="0"/>
                <a:ea typeface="Tahoma" panose="020B0604030504040204" pitchFamily="34" charset="0"/>
                <a:cs typeface="Tahoma" panose="020B0604030504040204" pitchFamily="34" charset="0"/>
              </a:rPr>
              <a:t>Eléments règlementaires au sujet des aidants </a:t>
            </a:r>
          </a:p>
        </p:txBody>
      </p:sp>
      <p:sp>
        <p:nvSpPr>
          <p:cNvPr id="3" name="Text Placeholder 2">
            <a:extLst>
              <a:ext uri="{FF2B5EF4-FFF2-40B4-BE49-F238E27FC236}">
                <a16:creationId xmlns:a16="http://schemas.microsoft.com/office/drawing/2014/main" id="{484E61FE-D9EE-4826-A1EB-418442FDE365}"/>
              </a:ext>
            </a:extLst>
          </p:cNvPr>
          <p:cNvSpPr>
            <a:spLocks noGrp="1"/>
          </p:cNvSpPr>
          <p:nvPr>
            <p:ph type="body" sz="quarter" idx="13"/>
          </p:nvPr>
        </p:nvSpPr>
        <p:spPr/>
        <p:txBody>
          <a:bodyPr/>
          <a:lstStyle/>
          <a:p>
            <a:r>
              <a:rPr lang="fr-FR" noProof="1">
                <a:solidFill>
                  <a:srgbClr val="938481"/>
                </a:solidFill>
              </a:rPr>
              <a:t>Etat des lieux </a:t>
            </a:r>
            <a:r>
              <a:rPr lang="fr-FR">
                <a:solidFill>
                  <a:srgbClr val="938481"/>
                </a:solidFill>
              </a:rPr>
              <a:t>des modèles existants</a:t>
            </a:r>
            <a:r>
              <a:rPr lang="fr-FR" noProof="1">
                <a:solidFill>
                  <a:srgbClr val="938481"/>
                </a:solidFill>
              </a:rPr>
              <a:t> </a:t>
            </a:r>
          </a:p>
        </p:txBody>
      </p:sp>
      <p:grpSp>
        <p:nvGrpSpPr>
          <p:cNvPr id="17" name="Groupe 16">
            <a:extLst>
              <a:ext uri="{FF2B5EF4-FFF2-40B4-BE49-F238E27FC236}">
                <a16:creationId xmlns:a16="http://schemas.microsoft.com/office/drawing/2014/main" id="{67602B66-30FC-4BEB-AC41-6AADE37FCC30}"/>
              </a:ext>
            </a:extLst>
          </p:cNvPr>
          <p:cNvGrpSpPr/>
          <p:nvPr/>
        </p:nvGrpSpPr>
        <p:grpSpPr>
          <a:xfrm>
            <a:off x="1551510" y="1402749"/>
            <a:ext cx="9191094" cy="1580581"/>
            <a:chOff x="344487" y="1294807"/>
            <a:chExt cx="9191008" cy="1854565"/>
          </a:xfrm>
        </p:grpSpPr>
        <p:sp>
          <p:nvSpPr>
            <p:cNvPr id="4" name="AutoShape 8">
              <a:extLst>
                <a:ext uri="{FF2B5EF4-FFF2-40B4-BE49-F238E27FC236}">
                  <a16:creationId xmlns:a16="http://schemas.microsoft.com/office/drawing/2014/main" id="{DE1572E2-BB44-4091-AD6C-CD818315388D}"/>
                </a:ext>
              </a:extLst>
            </p:cNvPr>
            <p:cNvSpPr>
              <a:spLocks noChangeArrowheads="1"/>
            </p:cNvSpPr>
            <p:nvPr/>
          </p:nvSpPr>
          <p:spPr bwMode="gray">
            <a:xfrm>
              <a:off x="344489" y="1294807"/>
              <a:ext cx="1717728" cy="802207"/>
            </a:xfrm>
            <a:prstGeom prst="homePlate">
              <a:avLst>
                <a:gd name="adj" fmla="val 22260"/>
              </a:avLst>
            </a:prstGeom>
            <a:solidFill>
              <a:schemeClr val="bg2">
                <a:lumMod val="40000"/>
                <a:lumOff val="60000"/>
              </a:schemeClr>
            </a:solidFill>
            <a:ln w="1905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r>
                <a:rPr lang="fr-FR" altLang="de-DE" sz="2000" b="1" noProof="1">
                  <a:solidFill>
                    <a:srgbClr val="FFFFFF"/>
                  </a:solidFill>
                  <a:latin typeface="Tahoma"/>
                </a:rPr>
                <a:t>1962</a:t>
              </a:r>
            </a:p>
          </p:txBody>
        </p:sp>
        <p:sp>
          <p:nvSpPr>
            <p:cNvPr id="5" name="Espace réservé du texte 3">
              <a:extLst>
                <a:ext uri="{FF2B5EF4-FFF2-40B4-BE49-F238E27FC236}">
                  <a16:creationId xmlns:a16="http://schemas.microsoft.com/office/drawing/2014/main" id="{921F421F-43B7-4133-AD40-0DD7D4A71C76}"/>
                </a:ext>
              </a:extLst>
            </p:cNvPr>
            <p:cNvSpPr txBox="1">
              <a:spLocks/>
            </p:cNvSpPr>
            <p:nvPr/>
          </p:nvSpPr>
          <p:spPr>
            <a:xfrm>
              <a:off x="2238484" y="1294807"/>
              <a:ext cx="7297011" cy="988802"/>
            </a:xfrm>
            <a:prstGeom prst="rect">
              <a:avLst/>
            </a:prstGeom>
            <a:ln>
              <a:noFill/>
            </a:ln>
          </p:spPr>
          <p:txBody>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altLang="de-DE" sz="1050" b="1" noProof="1">
                  <a:solidFill>
                    <a:srgbClr val="5F5F5F"/>
                  </a:solidFill>
                  <a:latin typeface="Tahoma"/>
                </a:rPr>
                <a:t>Le rapport Laroque </a:t>
              </a:r>
              <a:r>
                <a:rPr lang="fr-FR" sz="1050" b="1" noProof="1">
                  <a:solidFill>
                    <a:srgbClr val="5F5F5F"/>
                  </a:solidFill>
                  <a:latin typeface="Tahoma"/>
                </a:rPr>
                <a:t>présente les enjeux socioéconomiques du vieillissement en France et impulse ainsi une politique de soutien à domicile des personnes âgées. </a:t>
              </a:r>
              <a:r>
                <a:rPr lang="fr-FR" sz="1050" noProof="1">
                  <a:solidFill>
                    <a:srgbClr val="5F5F5F"/>
                  </a:solidFill>
                  <a:latin typeface="Tahoma"/>
                </a:rPr>
                <a:t>L’arrivée d’aidants professionnels intervenant chez l’usager permet la rencontre avec les aidants non professionnels, i. e. les proches de la personne aidée. </a:t>
              </a:r>
              <a:r>
                <a:rPr lang="fr-FR" sz="1050" b="1" noProof="1">
                  <a:solidFill>
                    <a:srgbClr val="5F5F5F"/>
                  </a:solidFill>
                  <a:latin typeface="Tahoma"/>
                </a:rPr>
                <a:t>L’aide apportée par les proches aidants est alors progressivement reconnue par les professionnels du secteur. </a:t>
              </a:r>
            </a:p>
          </p:txBody>
        </p:sp>
        <p:sp>
          <p:nvSpPr>
            <p:cNvPr id="6" name="AutoShape 8">
              <a:extLst>
                <a:ext uri="{FF2B5EF4-FFF2-40B4-BE49-F238E27FC236}">
                  <a16:creationId xmlns:a16="http://schemas.microsoft.com/office/drawing/2014/main" id="{47A05014-73F2-4CF9-BCFA-D473D24CF657}"/>
                </a:ext>
              </a:extLst>
            </p:cNvPr>
            <p:cNvSpPr>
              <a:spLocks noChangeArrowheads="1"/>
            </p:cNvSpPr>
            <p:nvPr/>
          </p:nvSpPr>
          <p:spPr bwMode="gray">
            <a:xfrm>
              <a:off x="344488" y="2323024"/>
              <a:ext cx="1717729" cy="777812"/>
            </a:xfrm>
            <a:prstGeom prst="homePlate">
              <a:avLst>
                <a:gd name="adj" fmla="val 22260"/>
              </a:avLst>
            </a:prstGeom>
            <a:solidFill>
              <a:schemeClr val="accent2"/>
            </a:solidFill>
            <a:ln w="1905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r>
                <a:rPr lang="fr-FR" sz="2000" b="1" noProof="1">
                  <a:solidFill>
                    <a:srgbClr val="FFFFFF"/>
                  </a:solidFill>
                  <a:latin typeface="Tahoma"/>
                </a:rPr>
                <a:t>1975 </a:t>
              </a:r>
              <a:endParaRPr lang="fr-FR" altLang="de-DE" sz="2000" b="1" noProof="1">
                <a:solidFill>
                  <a:srgbClr val="FFFFFF"/>
                </a:solidFill>
                <a:latin typeface="Tahoma"/>
              </a:endParaRPr>
            </a:p>
          </p:txBody>
        </p:sp>
        <p:sp>
          <p:nvSpPr>
            <p:cNvPr id="7" name="Espace réservé du texte 3">
              <a:extLst>
                <a:ext uri="{FF2B5EF4-FFF2-40B4-BE49-F238E27FC236}">
                  <a16:creationId xmlns:a16="http://schemas.microsoft.com/office/drawing/2014/main" id="{96024D03-94EB-4B00-9F3C-E406930245B1}"/>
                </a:ext>
              </a:extLst>
            </p:cNvPr>
            <p:cNvSpPr txBox="1">
              <a:spLocks/>
            </p:cNvSpPr>
            <p:nvPr/>
          </p:nvSpPr>
          <p:spPr>
            <a:xfrm>
              <a:off x="2238484" y="2354655"/>
              <a:ext cx="7297011" cy="794717"/>
            </a:xfrm>
            <a:prstGeom prst="rect">
              <a:avLst/>
            </a:prstGeom>
            <a:ln>
              <a:noFill/>
            </a:ln>
          </p:spPr>
          <p:txBody>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sz="1050" noProof="1">
                  <a:solidFill>
                    <a:srgbClr val="5F5F5F"/>
                  </a:solidFill>
                  <a:latin typeface="Tahoma"/>
                </a:rPr>
                <a:t>Le même mouvement est en œuvre dans le secteur du handicap. Ainsi, en 1975, </a:t>
              </a:r>
              <a:r>
                <a:rPr lang="fr-FR" sz="1050" b="1" noProof="1">
                  <a:solidFill>
                    <a:srgbClr val="5F5F5F"/>
                  </a:solidFill>
                  <a:latin typeface="Tahoma"/>
                </a:rPr>
                <a:t>la loi d’orientation en faveur des personnes handicapées </a:t>
              </a:r>
              <a:r>
                <a:rPr lang="fr-FR" sz="1050" noProof="1">
                  <a:solidFill>
                    <a:srgbClr val="5F5F5F"/>
                  </a:solidFill>
                  <a:latin typeface="Tahoma"/>
                </a:rPr>
                <a:t>institue deux aides en ce sens : </a:t>
              </a:r>
              <a:r>
                <a:rPr lang="fr-FR" sz="1050" b="1" noProof="1">
                  <a:solidFill>
                    <a:srgbClr val="5F5F5F"/>
                  </a:solidFill>
                  <a:latin typeface="Tahoma"/>
                </a:rPr>
                <a:t>l’allocation adulte handicapé (AAH) et l’allocation compensatrice tierce personne (ACTP)</a:t>
              </a:r>
              <a:r>
                <a:rPr lang="fr-FR" sz="1050" noProof="1">
                  <a:solidFill>
                    <a:srgbClr val="5F5F5F"/>
                  </a:solidFill>
                  <a:latin typeface="Tahoma"/>
                </a:rPr>
                <a:t> .</a:t>
              </a:r>
            </a:p>
          </p:txBody>
        </p:sp>
        <p:cxnSp>
          <p:nvCxnSpPr>
            <p:cNvPr id="14" name="Connecteur droit 13">
              <a:extLst>
                <a:ext uri="{FF2B5EF4-FFF2-40B4-BE49-F238E27FC236}">
                  <a16:creationId xmlns:a16="http://schemas.microsoft.com/office/drawing/2014/main" id="{4D047FA9-C5AA-4D76-A19C-399493002E1C}"/>
                </a:ext>
              </a:extLst>
            </p:cNvPr>
            <p:cNvCxnSpPr>
              <a:cxnSpLocks/>
            </p:cNvCxnSpPr>
            <p:nvPr/>
          </p:nvCxnSpPr>
          <p:spPr>
            <a:xfrm>
              <a:off x="344487" y="2190371"/>
              <a:ext cx="9122785" cy="0"/>
            </a:xfrm>
            <a:prstGeom prst="line">
              <a:avLst/>
            </a:prstGeom>
            <a:ln w="6350" cap="flat" cmpd="sng" algn="ctr">
              <a:solidFill>
                <a:schemeClr val="bg2">
                  <a:lumMod val="100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1" name="ZoneTexte 30">
            <a:extLst>
              <a:ext uri="{FF2B5EF4-FFF2-40B4-BE49-F238E27FC236}">
                <a16:creationId xmlns:a16="http://schemas.microsoft.com/office/drawing/2014/main" id="{734B974D-71D6-4079-8474-39E62CD21364}"/>
              </a:ext>
            </a:extLst>
          </p:cNvPr>
          <p:cNvSpPr txBox="1"/>
          <p:nvPr/>
        </p:nvSpPr>
        <p:spPr>
          <a:xfrm>
            <a:off x="1551510" y="909738"/>
            <a:ext cx="9216000" cy="430887"/>
          </a:xfrm>
          <a:prstGeom prst="rect">
            <a:avLst/>
          </a:prstGeom>
          <a:solidFill>
            <a:schemeClr val="bg1">
              <a:lumMod val="95000"/>
            </a:schemeClr>
          </a:solidFill>
          <a:ln w="28575" cap="flat" cmpd="sng" algn="ctr">
            <a:noFill/>
            <a:prstDash val="sysDot"/>
            <a:round/>
            <a:headEnd type="none" w="med" len="med"/>
            <a:tailEnd type="none" w="med" len="med"/>
          </a:ln>
        </p:spPr>
        <p:txBody>
          <a:bodyPr wrap="square" lIns="108000" rIns="108000" rtlCol="0">
            <a:spAutoFit/>
          </a:bodyPr>
          <a:lstStyle/>
          <a:p>
            <a:r>
              <a:rPr lang="fr-FR" sz="1100" b="1" noProof="1">
                <a:solidFill>
                  <a:srgbClr val="503078"/>
                </a:solidFill>
                <a:latin typeface="Tahoma"/>
              </a:rPr>
              <a:t>Depuis les années 1960, l’histoire de l’aide aux aidants est marquée par un fort enjeu de reconnaissance de leur action. Jusque dans les années 1960 en effet, le soutien aux personnes en perte d’autonomie relevait de la seule solidarité familiale.</a:t>
            </a:r>
          </a:p>
        </p:txBody>
      </p:sp>
      <p:sp>
        <p:nvSpPr>
          <p:cNvPr id="19" name="ZoneTexte 18">
            <a:extLst>
              <a:ext uri="{FF2B5EF4-FFF2-40B4-BE49-F238E27FC236}">
                <a16:creationId xmlns:a16="http://schemas.microsoft.com/office/drawing/2014/main" id="{4C1105C7-2660-4B9A-B668-7D0F702F3DCD}"/>
              </a:ext>
            </a:extLst>
          </p:cNvPr>
          <p:cNvSpPr txBox="1"/>
          <p:nvPr/>
        </p:nvSpPr>
        <p:spPr>
          <a:xfrm>
            <a:off x="1551510" y="3033006"/>
            <a:ext cx="9191096" cy="600164"/>
          </a:xfrm>
          <a:prstGeom prst="rect">
            <a:avLst/>
          </a:prstGeom>
          <a:solidFill>
            <a:schemeClr val="bg1">
              <a:lumMod val="95000"/>
            </a:schemeClr>
          </a:solidFill>
          <a:ln w="28575" cap="flat" cmpd="sng" algn="ctr">
            <a:noFill/>
            <a:prstDash val="sysDot"/>
            <a:round/>
            <a:headEnd type="none" w="med" len="med"/>
            <a:tailEnd type="none" w="med" len="med"/>
          </a:ln>
        </p:spPr>
        <p:txBody>
          <a:bodyPr wrap="square" lIns="108000" rIns="108000" rtlCol="0">
            <a:spAutoFit/>
          </a:bodyPr>
          <a:lstStyle/>
          <a:p>
            <a:pPr algn="just"/>
            <a:r>
              <a:rPr lang="fr-FR" sz="1100" b="1" noProof="1">
                <a:solidFill>
                  <a:srgbClr val="503078"/>
                </a:solidFill>
                <a:latin typeface="Tahoma"/>
              </a:rPr>
              <a:t>À partir des années 80, des éléments encouragent les pouvoirs publics à reconnaître le rôle des aidants (vieillissement de la population, augmentation des maladies chroniques et des polypathologies et souhait de vivre à son domicile plutôt qu’en institution) </a:t>
            </a:r>
          </a:p>
        </p:txBody>
      </p:sp>
      <p:sp>
        <p:nvSpPr>
          <p:cNvPr id="20" name="Espace réservé du contenu 6">
            <a:extLst>
              <a:ext uri="{FF2B5EF4-FFF2-40B4-BE49-F238E27FC236}">
                <a16:creationId xmlns:a16="http://schemas.microsoft.com/office/drawing/2014/main" id="{DEB93EA2-4445-4DED-8B4A-070BAF78E22E}"/>
              </a:ext>
            </a:extLst>
          </p:cNvPr>
          <p:cNvSpPr txBox="1">
            <a:spLocks/>
          </p:cNvSpPr>
          <p:nvPr/>
        </p:nvSpPr>
        <p:spPr>
          <a:xfrm>
            <a:off x="1551512" y="4234650"/>
            <a:ext cx="3327747" cy="2479037"/>
          </a:xfrm>
          <a:prstGeom prst="rect">
            <a:avLst/>
          </a:prstGeom>
          <a:ln>
            <a:solidFill>
              <a:schemeClr val="accent2"/>
            </a:solidFill>
          </a:ln>
        </p:spPr>
        <p:txBody>
          <a:bodyPr vert="horz" lIns="108000" tIns="108000" rIns="108000" bIns="108000" rtlCol="0" anchor="ctr" anchorCtr="0">
            <a:noAutofit/>
          </a:bodyPr>
          <a:lstStyle>
            <a:lvl1pPr marL="0" indent="0" algn="just" defTabSz="742950" rtl="0" eaLnBrk="1" latinLnBrk="0" hangingPunct="1">
              <a:lnSpc>
                <a:spcPct val="100000"/>
              </a:lnSpc>
              <a:spcBef>
                <a:spcPts val="1463"/>
              </a:spcBef>
              <a:buFont typeface="Arial" panose="020B0604020202020204" pitchFamily="34" charset="0"/>
              <a:buNone/>
              <a:tabLst/>
              <a:defRPr sz="1600" i="0" kern="1200" cap="none" baseline="0">
                <a:solidFill>
                  <a:schemeClr val="bg2"/>
                </a:solidFill>
                <a:latin typeface="+mn-lt"/>
                <a:ea typeface="+mn-ea"/>
                <a:cs typeface="+mn-cs"/>
              </a:defRPr>
            </a:lvl1pPr>
            <a:lvl2pPr marL="291505" indent="-291505" algn="just" defTabSz="914400" rtl="0" eaLnBrk="1" latinLnBrk="0" hangingPunct="1">
              <a:lnSpc>
                <a:spcPct val="100000"/>
              </a:lnSpc>
              <a:spcBef>
                <a:spcPts val="1138"/>
              </a:spcBef>
              <a:buClr>
                <a:schemeClr val="bg2"/>
              </a:buClr>
              <a:buFont typeface="Tempus Sans ITC" panose="04020404030D07020202" pitchFamily="82" charset="0"/>
              <a:buChar char="/"/>
              <a:defRPr lang="en-GB" sz="1400" kern="1200" baseline="0" dirty="0">
                <a:solidFill>
                  <a:schemeClr val="tx1"/>
                </a:solidFill>
                <a:latin typeface="+mn-lt"/>
                <a:ea typeface="+mn-ea"/>
                <a:cs typeface="+mn-cs"/>
              </a:defRPr>
            </a:lvl2pPr>
            <a:lvl3pPr marL="292500" indent="0" algn="just" defTabSz="914400" rtl="0" eaLnBrk="1" latinLnBrk="0" hangingPunct="1">
              <a:lnSpc>
                <a:spcPct val="100000"/>
              </a:lnSpc>
              <a:spcBef>
                <a:spcPts val="488"/>
              </a:spcBef>
              <a:buFontTx/>
              <a:buNone/>
              <a:defRPr lang="en-GB" sz="1400" kern="1200" baseline="0" dirty="0">
                <a:solidFill>
                  <a:schemeClr val="tx1"/>
                </a:solidFill>
                <a:latin typeface="+mn-lt"/>
                <a:ea typeface="+mn-ea"/>
                <a:cs typeface="+mn-cs"/>
              </a:defRPr>
            </a:lvl3pPr>
            <a:lvl4pPr marL="526500" indent="-234000" algn="just" defTabSz="742950" rtl="0" eaLnBrk="1" latinLnBrk="0" hangingPunct="1">
              <a:lnSpc>
                <a:spcPct val="100000"/>
              </a:lnSpc>
              <a:spcBef>
                <a:spcPts val="488"/>
              </a:spcBef>
              <a:buClr>
                <a:schemeClr val="bg2"/>
              </a:buClr>
              <a:buFont typeface="Tahoma" panose="020B0604030504040204" pitchFamily="34" charset="0"/>
              <a:buChar char="›"/>
              <a:defRPr lang="en-GB" sz="1200" kern="1200" cap="none" baseline="0" dirty="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en-GB"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en-GB"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en-GB"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en-GB" sz="1000" kern="1200" baseline="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en-GB" sz="1000" kern="1200" baseline="0" noProof="0" dirty="0">
                <a:solidFill>
                  <a:schemeClr val="tx1"/>
                </a:solidFill>
                <a:latin typeface="+mn-lt"/>
                <a:ea typeface="+mn-ea"/>
                <a:cs typeface="+mn-cs"/>
              </a:defRPr>
            </a:lvl9pPr>
          </a:lstStyle>
          <a:p>
            <a:pPr>
              <a:spcBef>
                <a:spcPts val="200"/>
              </a:spcBef>
            </a:pPr>
            <a:r>
              <a:rPr lang="fr-FR" sz="1050" noProof="1">
                <a:solidFill>
                  <a:srgbClr val="5F5F5F"/>
                </a:solidFill>
                <a:latin typeface="Tahoma"/>
              </a:rPr>
              <a:t>Différents plans nationaux sont élaborés avec des associations (secteur du handicap ou du grand âge) et souvent spécialisés pour favoriser une adaptation de l’accompagnement des personnes aidées et de leurs aidants. </a:t>
            </a:r>
          </a:p>
          <a:p>
            <a:pPr marL="285750" indent="-285750">
              <a:spcBef>
                <a:spcPts val="300"/>
              </a:spcBef>
              <a:buFont typeface="Tahoma" panose="020B0604030504040204" pitchFamily="34" charset="0"/>
              <a:buChar char="⁄"/>
            </a:pPr>
            <a:r>
              <a:rPr lang="fr-FR" sz="1050" b="1" noProof="1">
                <a:solidFill>
                  <a:srgbClr val="5F5F5F"/>
                </a:solidFill>
                <a:latin typeface="Tahoma"/>
              </a:rPr>
              <a:t>Plan Alzheimer 2001-2005 ;</a:t>
            </a:r>
          </a:p>
          <a:p>
            <a:pPr marL="285750" indent="-285750">
              <a:spcBef>
                <a:spcPts val="300"/>
              </a:spcBef>
              <a:buFont typeface="Tahoma" panose="020B0604030504040204" pitchFamily="34" charset="0"/>
              <a:buChar char="⁄"/>
            </a:pPr>
            <a:r>
              <a:rPr lang="fr-FR" sz="1050" b="1" noProof="1">
                <a:solidFill>
                  <a:srgbClr val="5F5F5F"/>
                </a:solidFill>
                <a:latin typeface="Tahoma"/>
              </a:rPr>
              <a:t>Plan Vieillissement et Solidarité de 2003 ;</a:t>
            </a:r>
          </a:p>
          <a:p>
            <a:pPr marL="285750" indent="-285750">
              <a:spcBef>
                <a:spcPts val="300"/>
              </a:spcBef>
              <a:buFont typeface="Tahoma" panose="020B0604030504040204" pitchFamily="34" charset="0"/>
              <a:buChar char="⁄"/>
            </a:pPr>
            <a:r>
              <a:rPr lang="fr-FR" sz="1050" b="1" noProof="1">
                <a:solidFill>
                  <a:srgbClr val="5F5F5F"/>
                </a:solidFill>
                <a:latin typeface="Tahoma"/>
              </a:rPr>
              <a:t>Plan Autisme 2005-2006 ;</a:t>
            </a:r>
          </a:p>
          <a:p>
            <a:pPr marL="285750" indent="-285750">
              <a:spcBef>
                <a:spcPts val="300"/>
              </a:spcBef>
              <a:buFont typeface="Tahoma" panose="020B0604030504040204" pitchFamily="34" charset="0"/>
              <a:buChar char="⁄"/>
            </a:pPr>
            <a:r>
              <a:rPr lang="fr-FR" sz="1050" b="1" noProof="1">
                <a:solidFill>
                  <a:srgbClr val="5F5F5F"/>
                </a:solidFill>
                <a:latin typeface="Tahoma"/>
              </a:rPr>
              <a:t>Plan Maladies rares 2005-2008)</a:t>
            </a:r>
          </a:p>
          <a:p>
            <a:pPr marL="285750" indent="-285750">
              <a:spcBef>
                <a:spcPts val="300"/>
              </a:spcBef>
              <a:buFont typeface="Tahoma" panose="020B0604030504040204" pitchFamily="34" charset="0"/>
              <a:buChar char="⁄"/>
            </a:pPr>
            <a:r>
              <a:rPr lang="fr-FR" sz="1050" b="1" noProof="1">
                <a:solidFill>
                  <a:srgbClr val="5F5F5F"/>
                </a:solidFill>
                <a:latin typeface="Tahoma"/>
              </a:rPr>
              <a:t>…</a:t>
            </a:r>
          </a:p>
          <a:p>
            <a:pPr>
              <a:spcBef>
                <a:spcPts val="300"/>
              </a:spcBef>
            </a:pPr>
            <a:r>
              <a:rPr lang="fr-FR" sz="1050" noProof="1">
                <a:solidFill>
                  <a:srgbClr val="5F5F5F"/>
                </a:solidFill>
                <a:latin typeface="Tahoma"/>
              </a:rPr>
              <a:t>La loi HPST (Hôpital, patients, santé et territoires) de juillet 2009 confie à la CNSA des missions concernant l’aide aux aidants.</a:t>
            </a:r>
            <a:endParaRPr lang="fr-FR" sz="1000" b="1" noProof="1">
              <a:solidFill>
                <a:srgbClr val="503078"/>
              </a:solidFill>
              <a:latin typeface="Tahoma"/>
            </a:endParaRPr>
          </a:p>
        </p:txBody>
      </p:sp>
      <p:sp>
        <p:nvSpPr>
          <p:cNvPr id="21" name="AutoShape 8">
            <a:extLst>
              <a:ext uri="{FF2B5EF4-FFF2-40B4-BE49-F238E27FC236}">
                <a16:creationId xmlns:a16="http://schemas.microsoft.com/office/drawing/2014/main" id="{9FC370F0-015F-47D2-A777-99FE61F3A6FD}"/>
              </a:ext>
            </a:extLst>
          </p:cNvPr>
          <p:cNvSpPr>
            <a:spLocks noChangeArrowheads="1"/>
          </p:cNvSpPr>
          <p:nvPr/>
        </p:nvSpPr>
        <p:spPr bwMode="gray">
          <a:xfrm>
            <a:off x="1551511" y="3757903"/>
            <a:ext cx="3327748" cy="483897"/>
          </a:xfrm>
          <a:prstGeom prst="rect">
            <a:avLst/>
          </a:prstGeom>
          <a:solidFill>
            <a:schemeClr val="bg2"/>
          </a:solidFill>
          <a:ln w="19050">
            <a:solidFill>
              <a:schemeClr val="bg2"/>
            </a:solid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200"/>
              </a:spcBef>
            </a:pPr>
            <a:r>
              <a:rPr lang="fr-FR" sz="1300" b="1" noProof="1">
                <a:solidFill>
                  <a:srgbClr val="FFFFFF"/>
                </a:solidFill>
                <a:latin typeface="Tahoma"/>
              </a:rPr>
              <a:t>Des mesures en faveur des aidants à partir des années 2000</a:t>
            </a:r>
          </a:p>
        </p:txBody>
      </p:sp>
      <p:sp>
        <p:nvSpPr>
          <p:cNvPr id="22" name="Rectangle 21">
            <a:extLst>
              <a:ext uri="{FF2B5EF4-FFF2-40B4-BE49-F238E27FC236}">
                <a16:creationId xmlns:a16="http://schemas.microsoft.com/office/drawing/2014/main" id="{D0BEEC71-4DA3-426A-B987-C85811BF23F7}"/>
              </a:ext>
            </a:extLst>
          </p:cNvPr>
          <p:cNvSpPr>
            <a:spLocks/>
          </p:cNvSpPr>
          <p:nvPr/>
        </p:nvSpPr>
        <p:spPr>
          <a:xfrm>
            <a:off x="5125066" y="3906246"/>
            <a:ext cx="5549317" cy="1549006"/>
          </a:xfrm>
          <a:prstGeom prst="rect">
            <a:avLst/>
          </a:prstGeom>
          <a:solidFill>
            <a:schemeClr val="bg1"/>
          </a:solidFill>
          <a:ln w="38100" cap="flat" cmpd="sng" algn="ctr">
            <a:solidFill>
              <a:schemeClr val="accent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defTabSz="742950">
              <a:spcBef>
                <a:spcPts val="200"/>
              </a:spcBef>
            </a:pPr>
            <a:r>
              <a:rPr lang="fr-FR" sz="1050" noProof="1">
                <a:solidFill>
                  <a:srgbClr val="503078"/>
                </a:solidFill>
                <a:latin typeface="Tahoma"/>
              </a:rPr>
              <a:t>La loi contient des mesures concrètes visant à améliorer le quotidien des personnes âgées et de leurs proches afin qu’elles puissent vieillir chez elles dans de bonnes conditions :</a:t>
            </a:r>
          </a:p>
          <a:p>
            <a:pPr marL="285750" indent="-285750" algn="just" defTabSz="742950">
              <a:spcBef>
                <a:spcPts val="300"/>
              </a:spcBef>
              <a:buFont typeface="Tahoma" panose="020B0604030504040204" pitchFamily="34" charset="0"/>
              <a:buChar char="⁄"/>
            </a:pPr>
            <a:r>
              <a:rPr lang="fr-FR" sz="1050" b="1" noProof="1">
                <a:solidFill>
                  <a:srgbClr val="503078"/>
                </a:solidFill>
                <a:latin typeface="Tahoma"/>
              </a:rPr>
              <a:t>L’amélioration de l’APA </a:t>
            </a:r>
            <a:r>
              <a:rPr lang="fr-FR" sz="1050" noProof="1">
                <a:solidFill>
                  <a:srgbClr val="503078"/>
                </a:solidFill>
                <a:latin typeface="Tahoma"/>
              </a:rPr>
              <a:t>(allocation personnalisée d’autonomie) </a:t>
            </a:r>
            <a:r>
              <a:rPr lang="fr-FR" sz="1050" b="1" noProof="1">
                <a:solidFill>
                  <a:srgbClr val="503078"/>
                </a:solidFill>
                <a:latin typeface="Tahoma"/>
              </a:rPr>
              <a:t>à domicile</a:t>
            </a:r>
          </a:p>
          <a:p>
            <a:pPr marL="285750" indent="-285750" algn="just" defTabSz="742950">
              <a:spcBef>
                <a:spcPts val="300"/>
              </a:spcBef>
              <a:buFont typeface="Tahoma" panose="020B0604030504040204" pitchFamily="34" charset="0"/>
              <a:buChar char="⁄"/>
            </a:pPr>
            <a:r>
              <a:rPr lang="fr-FR" sz="1050" noProof="1">
                <a:solidFill>
                  <a:srgbClr val="503078"/>
                </a:solidFill>
                <a:latin typeface="Tahoma"/>
              </a:rPr>
              <a:t>La reconnaissance et le soutien aux proches aidants à travers le </a:t>
            </a:r>
            <a:r>
              <a:rPr lang="fr-FR" sz="1050" b="1" noProof="1">
                <a:solidFill>
                  <a:srgbClr val="503078"/>
                </a:solidFill>
                <a:latin typeface="Tahoma"/>
              </a:rPr>
              <a:t>droit au répit</a:t>
            </a:r>
          </a:p>
          <a:p>
            <a:pPr marL="285750" indent="-285750" algn="just" defTabSz="742950">
              <a:spcBef>
                <a:spcPts val="300"/>
              </a:spcBef>
              <a:buFont typeface="Tahoma" panose="020B0604030504040204" pitchFamily="34" charset="0"/>
              <a:buChar char="⁄"/>
            </a:pPr>
            <a:r>
              <a:rPr lang="fr-FR" sz="1050" noProof="1">
                <a:solidFill>
                  <a:srgbClr val="503078"/>
                </a:solidFill>
                <a:latin typeface="Tahoma"/>
              </a:rPr>
              <a:t>La réforme du congé de soutien familial qui devient </a:t>
            </a:r>
            <a:r>
              <a:rPr lang="fr-FR" sz="1050" b="1" noProof="1">
                <a:solidFill>
                  <a:srgbClr val="503078"/>
                </a:solidFill>
                <a:latin typeface="Tahoma"/>
              </a:rPr>
              <a:t>congé de proche aidant</a:t>
            </a:r>
          </a:p>
          <a:p>
            <a:pPr marL="285750" indent="-285750" algn="just" defTabSz="742950">
              <a:spcBef>
                <a:spcPts val="300"/>
              </a:spcBef>
              <a:buFont typeface="Tahoma" panose="020B0604030504040204" pitchFamily="34" charset="0"/>
              <a:buChar char="⁄"/>
            </a:pPr>
            <a:r>
              <a:rPr lang="fr-FR" sz="1050" noProof="1">
                <a:solidFill>
                  <a:srgbClr val="503078"/>
                </a:solidFill>
                <a:latin typeface="Tahoma"/>
              </a:rPr>
              <a:t>De nouvelles aides pour </a:t>
            </a:r>
            <a:r>
              <a:rPr lang="fr-FR" sz="1050" b="1" noProof="1">
                <a:solidFill>
                  <a:srgbClr val="503078"/>
                </a:solidFill>
                <a:latin typeface="Tahoma"/>
              </a:rPr>
              <a:t>améliorer la prévention de la perte d’autonomie</a:t>
            </a:r>
          </a:p>
        </p:txBody>
      </p:sp>
      <p:sp>
        <p:nvSpPr>
          <p:cNvPr id="24" name="Rectangle 23">
            <a:extLst>
              <a:ext uri="{FF2B5EF4-FFF2-40B4-BE49-F238E27FC236}">
                <a16:creationId xmlns:a16="http://schemas.microsoft.com/office/drawing/2014/main" id="{3EB0FB56-7F34-47C9-8F8E-B5F65BB8B9F0}"/>
              </a:ext>
            </a:extLst>
          </p:cNvPr>
          <p:cNvSpPr/>
          <p:nvPr/>
        </p:nvSpPr>
        <p:spPr>
          <a:xfrm>
            <a:off x="5326630" y="3653524"/>
            <a:ext cx="5146187" cy="4487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300" b="1" noProof="1">
                <a:solidFill>
                  <a:srgbClr val="21A6A6"/>
                </a:solidFill>
                <a:latin typeface="Tahoma"/>
              </a:rPr>
              <a:t>Loi d’adaptation de la société au vieillissement (ASV) du 28 décembre 2015</a:t>
            </a:r>
          </a:p>
        </p:txBody>
      </p:sp>
      <p:sp>
        <p:nvSpPr>
          <p:cNvPr id="27" name="Rectangle 26">
            <a:extLst>
              <a:ext uri="{FF2B5EF4-FFF2-40B4-BE49-F238E27FC236}">
                <a16:creationId xmlns:a16="http://schemas.microsoft.com/office/drawing/2014/main" id="{153CFB7A-F2F4-45E6-8C31-2F85AEA130D5}"/>
              </a:ext>
            </a:extLst>
          </p:cNvPr>
          <p:cNvSpPr>
            <a:spLocks/>
          </p:cNvSpPr>
          <p:nvPr/>
        </p:nvSpPr>
        <p:spPr>
          <a:xfrm>
            <a:off x="5125066" y="5594044"/>
            <a:ext cx="5549317" cy="1119642"/>
          </a:xfrm>
          <a:prstGeom prst="rect">
            <a:avLst/>
          </a:prstGeom>
          <a:solidFill>
            <a:schemeClr val="bg1"/>
          </a:solidFill>
          <a:ln w="38100" cap="flat" cmpd="sng" algn="ctr">
            <a:solidFill>
              <a:schemeClr val="accent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050" noProof="1">
                <a:solidFill>
                  <a:srgbClr val="503078"/>
                </a:solidFill>
                <a:latin typeface="Tahoma"/>
              </a:rPr>
              <a:t>La mesure 12 vise à </a:t>
            </a:r>
            <a:r>
              <a:rPr lang="fr-FR" sz="1050" b="1" noProof="1">
                <a:solidFill>
                  <a:srgbClr val="503078"/>
                </a:solidFill>
                <a:latin typeface="Tahoma"/>
              </a:rPr>
              <a:t>renforcer et à diversifier les solutions de répit</a:t>
            </a:r>
            <a:r>
              <a:rPr lang="fr-FR" sz="1050" noProof="1">
                <a:solidFill>
                  <a:srgbClr val="503078"/>
                </a:solidFill>
                <a:latin typeface="Tahoma"/>
              </a:rPr>
              <a:t>, avec un financement de 62,5 millions d’€ sur la période 2020–2022 à destination des ARS. Il s’agissait notamment de renforcer les capacités d’accueil et d’accompagnement des plateformes de répit avec un objectif minimum de doublement d’ici 2022.</a:t>
            </a:r>
          </a:p>
        </p:txBody>
      </p:sp>
      <p:sp>
        <p:nvSpPr>
          <p:cNvPr id="28" name="Rectangle 27">
            <a:extLst>
              <a:ext uri="{FF2B5EF4-FFF2-40B4-BE49-F238E27FC236}">
                <a16:creationId xmlns:a16="http://schemas.microsoft.com/office/drawing/2014/main" id="{E8E519EC-BDBF-47B9-A490-C0AC9FF5B80F}"/>
              </a:ext>
            </a:extLst>
          </p:cNvPr>
          <p:cNvSpPr/>
          <p:nvPr/>
        </p:nvSpPr>
        <p:spPr>
          <a:xfrm>
            <a:off x="5326630" y="5491745"/>
            <a:ext cx="5146187" cy="3702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300" b="1" noProof="1">
                <a:solidFill>
                  <a:srgbClr val="21A6A6"/>
                </a:solidFill>
                <a:latin typeface="Tahoma"/>
              </a:rPr>
              <a:t>Stratégie Agir pour les Aidants 2020/2022 – Octobre 2019</a:t>
            </a:r>
          </a:p>
        </p:txBody>
      </p:sp>
    </p:spTree>
    <p:custDataLst>
      <p:tags r:id="rId1"/>
    </p:custDataLst>
    <p:extLst>
      <p:ext uri="{BB962C8B-B14F-4D97-AF65-F5344CB8AC3E}">
        <p14:creationId xmlns:p14="http://schemas.microsoft.com/office/powerpoint/2010/main" val="20494821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3E06ED2-FCFE-4FE7-8C2F-A3030FFB5551}"/>
              </a:ext>
            </a:extLst>
          </p:cNvPr>
          <p:cNvSpPr>
            <a:spLocks noGrp="1"/>
          </p:cNvSpPr>
          <p:nvPr>
            <p:ph type="body" sz="quarter" idx="15"/>
          </p:nvPr>
        </p:nvSpPr>
        <p:spPr/>
        <p:txBody>
          <a:bodyPr/>
          <a:lstStyle/>
          <a:p>
            <a:r>
              <a:rPr lang="fr-FR"/>
              <a:t>Introduction</a:t>
            </a:r>
          </a:p>
        </p:txBody>
      </p:sp>
      <p:sp>
        <p:nvSpPr>
          <p:cNvPr id="3" name="Espace réservé du texte 2">
            <a:extLst>
              <a:ext uri="{FF2B5EF4-FFF2-40B4-BE49-F238E27FC236}">
                <a16:creationId xmlns:a16="http://schemas.microsoft.com/office/drawing/2014/main" id="{4ADF1E02-FDFB-4FB4-9F62-F94380EE3C5D}"/>
              </a:ext>
            </a:extLst>
          </p:cNvPr>
          <p:cNvSpPr>
            <a:spLocks noGrp="1"/>
          </p:cNvSpPr>
          <p:nvPr>
            <p:ph type="body" sz="quarter" idx="17"/>
          </p:nvPr>
        </p:nvSpPr>
        <p:spPr>
          <a:xfrm>
            <a:off x="2783632" y="2854818"/>
            <a:ext cx="6191926" cy="684000"/>
          </a:xfrm>
        </p:spPr>
        <p:txBody>
          <a:bodyPr/>
          <a:lstStyle/>
          <a:p>
            <a:r>
              <a:rPr lang="fr-FR"/>
              <a:t>Dimensionnement des besoins et du marché</a:t>
            </a:r>
          </a:p>
        </p:txBody>
      </p:sp>
      <p:sp>
        <p:nvSpPr>
          <p:cNvPr id="4" name="Espace réservé du texte 3">
            <a:extLst>
              <a:ext uri="{FF2B5EF4-FFF2-40B4-BE49-F238E27FC236}">
                <a16:creationId xmlns:a16="http://schemas.microsoft.com/office/drawing/2014/main" id="{E74CBFBE-101C-4B7C-991A-BBF354817458}"/>
              </a:ext>
            </a:extLst>
          </p:cNvPr>
          <p:cNvSpPr>
            <a:spLocks noGrp="1"/>
          </p:cNvSpPr>
          <p:nvPr>
            <p:ph type="body" sz="quarter" idx="19"/>
          </p:nvPr>
        </p:nvSpPr>
        <p:spPr>
          <a:xfrm>
            <a:off x="2783632" y="2052195"/>
            <a:ext cx="6191926" cy="684000"/>
          </a:xfrm>
        </p:spPr>
        <p:txBody>
          <a:bodyPr/>
          <a:lstStyle/>
          <a:p>
            <a:r>
              <a:rPr lang="en-GB"/>
              <a:t>É</a:t>
            </a:r>
            <a:r>
              <a:rPr lang="fr-FR"/>
              <a:t>tat des lieux des modèles existants</a:t>
            </a:r>
          </a:p>
        </p:txBody>
      </p:sp>
      <p:sp>
        <p:nvSpPr>
          <p:cNvPr id="5" name="Espace réservé du texte 4">
            <a:extLst>
              <a:ext uri="{FF2B5EF4-FFF2-40B4-BE49-F238E27FC236}">
                <a16:creationId xmlns:a16="http://schemas.microsoft.com/office/drawing/2014/main" id="{29988A3A-4441-4A95-BB28-E017CE6A35D6}"/>
              </a:ext>
            </a:extLst>
          </p:cNvPr>
          <p:cNvSpPr>
            <a:spLocks noGrp="1"/>
          </p:cNvSpPr>
          <p:nvPr>
            <p:ph type="body" sz="quarter" idx="21"/>
          </p:nvPr>
        </p:nvSpPr>
        <p:spPr/>
        <p:txBody>
          <a:bodyPr/>
          <a:lstStyle/>
          <a:p>
            <a:r>
              <a:rPr lang="fr-FR"/>
              <a:t>Synthèse et recommandations</a:t>
            </a:r>
          </a:p>
        </p:txBody>
      </p:sp>
      <p:sp>
        <p:nvSpPr>
          <p:cNvPr id="6" name="Espace réservé du texte 5">
            <a:extLst>
              <a:ext uri="{FF2B5EF4-FFF2-40B4-BE49-F238E27FC236}">
                <a16:creationId xmlns:a16="http://schemas.microsoft.com/office/drawing/2014/main" id="{98F46439-3959-4C64-A6F7-DDCCC263AF6F}"/>
              </a:ext>
            </a:extLst>
          </p:cNvPr>
          <p:cNvSpPr>
            <a:spLocks noGrp="1"/>
          </p:cNvSpPr>
          <p:nvPr>
            <p:ph type="body" sz="quarter" idx="23"/>
          </p:nvPr>
        </p:nvSpPr>
        <p:spPr/>
        <p:txBody>
          <a:bodyPr/>
          <a:lstStyle/>
          <a:p>
            <a:r>
              <a:rPr lang="fr-FR"/>
              <a:t>Conclusion</a:t>
            </a:r>
          </a:p>
        </p:txBody>
      </p:sp>
      <p:sp>
        <p:nvSpPr>
          <p:cNvPr id="7" name="Espace réservé du texte 6">
            <a:extLst>
              <a:ext uri="{FF2B5EF4-FFF2-40B4-BE49-F238E27FC236}">
                <a16:creationId xmlns:a16="http://schemas.microsoft.com/office/drawing/2014/main" id="{298DE3B7-2175-42E9-91AC-2ADC8B56A16E}"/>
              </a:ext>
            </a:extLst>
          </p:cNvPr>
          <p:cNvSpPr>
            <a:spLocks noGrp="1"/>
          </p:cNvSpPr>
          <p:nvPr>
            <p:ph type="body" sz="quarter" idx="25"/>
          </p:nvPr>
        </p:nvSpPr>
        <p:spPr/>
        <p:txBody>
          <a:bodyPr/>
          <a:lstStyle/>
          <a:p>
            <a:r>
              <a:rPr lang="en-US" dirty="0"/>
              <a:t>Page 3</a:t>
            </a:r>
            <a:endParaRPr lang="fr-FR" dirty="0"/>
          </a:p>
        </p:txBody>
      </p:sp>
      <p:sp>
        <p:nvSpPr>
          <p:cNvPr id="8" name="Espace réservé du texte 7">
            <a:extLst>
              <a:ext uri="{FF2B5EF4-FFF2-40B4-BE49-F238E27FC236}">
                <a16:creationId xmlns:a16="http://schemas.microsoft.com/office/drawing/2014/main" id="{8BECC4A8-C868-4E3F-8EC4-13B84EEC3A00}"/>
              </a:ext>
            </a:extLst>
          </p:cNvPr>
          <p:cNvSpPr>
            <a:spLocks noGrp="1"/>
          </p:cNvSpPr>
          <p:nvPr>
            <p:ph type="body" sz="quarter" idx="26"/>
          </p:nvPr>
        </p:nvSpPr>
        <p:spPr>
          <a:xfrm>
            <a:off x="9166693" y="4365164"/>
            <a:ext cx="1381928" cy="684000"/>
          </a:xfrm>
        </p:spPr>
        <p:txBody>
          <a:bodyPr/>
          <a:lstStyle/>
          <a:p>
            <a:r>
              <a:rPr lang="en-US"/>
              <a:t>Page 39</a:t>
            </a:r>
            <a:endParaRPr lang="fr-FR"/>
          </a:p>
        </p:txBody>
      </p:sp>
      <p:sp>
        <p:nvSpPr>
          <p:cNvPr id="9" name="Espace réservé du texte 8">
            <a:extLst>
              <a:ext uri="{FF2B5EF4-FFF2-40B4-BE49-F238E27FC236}">
                <a16:creationId xmlns:a16="http://schemas.microsoft.com/office/drawing/2014/main" id="{48484BF0-9464-49FE-B8C0-9231DF81EB8B}"/>
              </a:ext>
            </a:extLst>
          </p:cNvPr>
          <p:cNvSpPr>
            <a:spLocks noGrp="1"/>
          </p:cNvSpPr>
          <p:nvPr>
            <p:ph type="body" sz="quarter" idx="27"/>
          </p:nvPr>
        </p:nvSpPr>
        <p:spPr>
          <a:xfrm>
            <a:off x="9166693" y="3586266"/>
            <a:ext cx="1381928" cy="684000"/>
          </a:xfrm>
        </p:spPr>
        <p:txBody>
          <a:bodyPr/>
          <a:lstStyle/>
          <a:p>
            <a:r>
              <a:rPr lang="en-US" dirty="0"/>
              <a:t>Page 34</a:t>
            </a:r>
            <a:endParaRPr lang="fr-FR" dirty="0"/>
          </a:p>
        </p:txBody>
      </p:sp>
      <p:sp>
        <p:nvSpPr>
          <p:cNvPr id="10" name="Espace réservé du texte 9">
            <a:extLst>
              <a:ext uri="{FF2B5EF4-FFF2-40B4-BE49-F238E27FC236}">
                <a16:creationId xmlns:a16="http://schemas.microsoft.com/office/drawing/2014/main" id="{42F89770-1C28-499E-AA26-9B7D021206EC}"/>
              </a:ext>
            </a:extLst>
          </p:cNvPr>
          <p:cNvSpPr>
            <a:spLocks noGrp="1"/>
          </p:cNvSpPr>
          <p:nvPr>
            <p:ph type="body" sz="quarter" idx="28"/>
          </p:nvPr>
        </p:nvSpPr>
        <p:spPr>
          <a:xfrm>
            <a:off x="9166693" y="2807368"/>
            <a:ext cx="1381928" cy="684000"/>
          </a:xfrm>
        </p:spPr>
        <p:txBody>
          <a:bodyPr/>
          <a:lstStyle/>
          <a:p>
            <a:r>
              <a:rPr lang="en-US"/>
              <a:t>Page 28</a:t>
            </a:r>
            <a:endParaRPr lang="fr-FR"/>
          </a:p>
        </p:txBody>
      </p:sp>
      <p:sp>
        <p:nvSpPr>
          <p:cNvPr id="11" name="Espace réservé du texte 10">
            <a:extLst>
              <a:ext uri="{FF2B5EF4-FFF2-40B4-BE49-F238E27FC236}">
                <a16:creationId xmlns:a16="http://schemas.microsoft.com/office/drawing/2014/main" id="{4F66DAAD-9EC0-43E7-B65A-19D1CF36A01F}"/>
              </a:ext>
            </a:extLst>
          </p:cNvPr>
          <p:cNvSpPr>
            <a:spLocks noGrp="1"/>
          </p:cNvSpPr>
          <p:nvPr>
            <p:ph type="body" sz="quarter" idx="29"/>
          </p:nvPr>
        </p:nvSpPr>
        <p:spPr>
          <a:xfrm>
            <a:off x="9166693" y="2028470"/>
            <a:ext cx="1381928" cy="684000"/>
          </a:xfrm>
        </p:spPr>
        <p:txBody>
          <a:bodyPr/>
          <a:lstStyle/>
          <a:p>
            <a:r>
              <a:rPr lang="en-US"/>
              <a:t>Page 8</a:t>
            </a:r>
            <a:endParaRPr lang="fr-FR"/>
          </a:p>
        </p:txBody>
      </p:sp>
      <p:sp>
        <p:nvSpPr>
          <p:cNvPr id="14" name="Espace réservé du texte 13">
            <a:extLst>
              <a:ext uri="{FF2B5EF4-FFF2-40B4-BE49-F238E27FC236}">
                <a16:creationId xmlns:a16="http://schemas.microsoft.com/office/drawing/2014/main" id="{10AAB81F-292D-44AF-9D98-F2CC4E54CED8}"/>
              </a:ext>
            </a:extLst>
          </p:cNvPr>
          <p:cNvSpPr>
            <a:spLocks noGrp="1"/>
          </p:cNvSpPr>
          <p:nvPr>
            <p:ph type="body" sz="quarter" idx="38"/>
          </p:nvPr>
        </p:nvSpPr>
        <p:spPr/>
        <p:txBody>
          <a:bodyPr/>
          <a:lstStyle/>
          <a:p>
            <a:r>
              <a:rPr lang="en-US"/>
              <a:t>01</a:t>
            </a:r>
            <a:endParaRPr lang="fr-FR"/>
          </a:p>
        </p:txBody>
      </p:sp>
      <p:sp>
        <p:nvSpPr>
          <p:cNvPr id="15" name="Espace réservé du texte 14">
            <a:extLst>
              <a:ext uri="{FF2B5EF4-FFF2-40B4-BE49-F238E27FC236}">
                <a16:creationId xmlns:a16="http://schemas.microsoft.com/office/drawing/2014/main" id="{5EC30095-3C2B-46E8-867D-F97446722025}"/>
              </a:ext>
            </a:extLst>
          </p:cNvPr>
          <p:cNvSpPr>
            <a:spLocks noGrp="1"/>
          </p:cNvSpPr>
          <p:nvPr>
            <p:ph type="body" sz="quarter" idx="39"/>
          </p:nvPr>
        </p:nvSpPr>
        <p:spPr/>
        <p:txBody>
          <a:bodyPr/>
          <a:lstStyle/>
          <a:p>
            <a:r>
              <a:rPr lang="en-US"/>
              <a:t>02</a:t>
            </a:r>
            <a:endParaRPr lang="fr-FR"/>
          </a:p>
        </p:txBody>
      </p:sp>
      <p:sp>
        <p:nvSpPr>
          <p:cNvPr id="16" name="Espace réservé du texte 15">
            <a:extLst>
              <a:ext uri="{FF2B5EF4-FFF2-40B4-BE49-F238E27FC236}">
                <a16:creationId xmlns:a16="http://schemas.microsoft.com/office/drawing/2014/main" id="{45F23FBF-0314-455A-A9CC-A86BDAF642A0}"/>
              </a:ext>
            </a:extLst>
          </p:cNvPr>
          <p:cNvSpPr>
            <a:spLocks noGrp="1"/>
          </p:cNvSpPr>
          <p:nvPr>
            <p:ph type="body" sz="quarter" idx="40"/>
          </p:nvPr>
        </p:nvSpPr>
        <p:spPr/>
        <p:txBody>
          <a:bodyPr/>
          <a:lstStyle/>
          <a:p>
            <a:r>
              <a:rPr lang="en-US"/>
              <a:t>03</a:t>
            </a:r>
            <a:endParaRPr lang="fr-FR"/>
          </a:p>
        </p:txBody>
      </p:sp>
      <p:sp>
        <p:nvSpPr>
          <p:cNvPr id="17" name="Espace réservé du texte 16">
            <a:extLst>
              <a:ext uri="{FF2B5EF4-FFF2-40B4-BE49-F238E27FC236}">
                <a16:creationId xmlns:a16="http://schemas.microsoft.com/office/drawing/2014/main" id="{35A7DD94-EF7B-404E-A61A-69486CF6B2E3}"/>
              </a:ext>
            </a:extLst>
          </p:cNvPr>
          <p:cNvSpPr>
            <a:spLocks noGrp="1"/>
          </p:cNvSpPr>
          <p:nvPr>
            <p:ph type="body" sz="quarter" idx="41"/>
          </p:nvPr>
        </p:nvSpPr>
        <p:spPr/>
        <p:txBody>
          <a:bodyPr/>
          <a:lstStyle/>
          <a:p>
            <a:r>
              <a:rPr lang="en-US"/>
              <a:t>04</a:t>
            </a:r>
            <a:endParaRPr lang="fr-FR"/>
          </a:p>
        </p:txBody>
      </p:sp>
      <p:sp>
        <p:nvSpPr>
          <p:cNvPr id="13" name="Espace réservé du texte 12">
            <a:extLst>
              <a:ext uri="{FF2B5EF4-FFF2-40B4-BE49-F238E27FC236}">
                <a16:creationId xmlns:a16="http://schemas.microsoft.com/office/drawing/2014/main" id="{60CCA4BB-1BA0-4497-9A45-904B1E2F584C}"/>
              </a:ext>
            </a:extLst>
          </p:cNvPr>
          <p:cNvSpPr>
            <a:spLocks noGrp="1"/>
          </p:cNvSpPr>
          <p:nvPr>
            <p:ph type="body" sz="quarter" idx="42"/>
          </p:nvPr>
        </p:nvSpPr>
        <p:spPr/>
        <p:txBody>
          <a:bodyPr/>
          <a:lstStyle/>
          <a:p>
            <a:r>
              <a:rPr lang="en-US"/>
              <a:t>05</a:t>
            </a:r>
            <a:endParaRPr lang="fr-FR"/>
          </a:p>
        </p:txBody>
      </p:sp>
      <p:sp>
        <p:nvSpPr>
          <p:cNvPr id="18" name="Espace réservé du texte 12">
            <a:extLst>
              <a:ext uri="{FF2B5EF4-FFF2-40B4-BE49-F238E27FC236}">
                <a16:creationId xmlns:a16="http://schemas.microsoft.com/office/drawing/2014/main" id="{A738A8DB-966D-4DC4-8A55-988715CC93D2}"/>
              </a:ext>
            </a:extLst>
          </p:cNvPr>
          <p:cNvSpPr txBox="1">
            <a:spLocks/>
          </p:cNvSpPr>
          <p:nvPr/>
        </p:nvSpPr>
        <p:spPr>
          <a:xfrm>
            <a:off x="1481439" y="5144064"/>
            <a:ext cx="1080000" cy="684000"/>
          </a:xfrm>
          <a:prstGeom prst="rect">
            <a:avLst/>
          </a:prstGeom>
          <a:noFill/>
        </p:spPr>
        <p:txBody>
          <a:bodyPr vert="horz" lIns="108000" tIns="108000" rIns="108000" bIns="108000" rtlCol="0" anchor="ctr">
            <a:noAutofit/>
          </a:bodyPr>
          <a:lstStyle>
            <a:lvl1pPr marL="0" indent="-252000" algn="just" defTabSz="914400" rtl="0" eaLnBrk="1" latinLnBrk="0" hangingPunct="1">
              <a:lnSpc>
                <a:spcPct val="100000"/>
              </a:lnSpc>
              <a:spcBef>
                <a:spcPts val="400"/>
              </a:spcBef>
              <a:buClr>
                <a:schemeClr val="bg2"/>
              </a:buClr>
              <a:buFont typeface="Tempus Sans ITC" panose="04020404030D07020202" pitchFamily="82" charset="0"/>
              <a:buChar char="/"/>
              <a:tabLst/>
              <a:defRPr sz="2200" b="1" i="0" kern="1200" cap="none" baseline="0">
                <a:solidFill>
                  <a:schemeClr val="accent1"/>
                </a:solidFill>
                <a:latin typeface="+mn-lt"/>
                <a:ea typeface="+mn-ea"/>
                <a:cs typeface="+mn-cs"/>
              </a:defRPr>
            </a:lvl1pPr>
            <a:lvl2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baseline="0">
                <a:solidFill>
                  <a:schemeClr val="bg2"/>
                </a:solidFill>
                <a:latin typeface="+mn-lt"/>
                <a:ea typeface="+mn-ea"/>
                <a:cs typeface="+mn-cs"/>
              </a:defRPr>
            </a:lvl2pPr>
            <a:lvl3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baseline="0">
                <a:solidFill>
                  <a:schemeClr val="bg2"/>
                </a:solidFill>
                <a:latin typeface="+mn-lt"/>
                <a:ea typeface="+mn-ea"/>
                <a:cs typeface="+mn-cs"/>
              </a:defRPr>
            </a:lvl3pPr>
            <a:lvl4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cap="none" baseline="0">
                <a:solidFill>
                  <a:schemeClr val="bg2"/>
                </a:solidFill>
                <a:latin typeface="+mn-lt"/>
                <a:ea typeface="+mn-ea"/>
                <a:cs typeface="+mn-cs"/>
              </a:defRPr>
            </a:lvl4pPr>
            <a:lvl5pPr marL="0" marR="0" indent="-252000" algn="just" defTabSz="914400" rtl="0" eaLnBrk="1" fontAlgn="auto" latinLnBrk="0" hangingPunct="1">
              <a:lnSpc>
                <a:spcPct val="100000"/>
              </a:lnSpc>
              <a:spcBef>
                <a:spcPts val="400"/>
              </a:spcBef>
              <a:spcAft>
                <a:spcPts val="0"/>
              </a:spcAft>
              <a:buClr>
                <a:schemeClr val="accent1"/>
              </a:buClr>
              <a:buSzTx/>
              <a:buFont typeface="Tahoma" panose="020B0604030504040204" pitchFamily="34" charset="0"/>
              <a:buChar char="⁄"/>
              <a:tabLst/>
              <a:defRPr lang="fr-FR" sz="2000" b="1" i="0" kern="1200" baseline="0">
                <a:solidFill>
                  <a:schemeClr val="bg2"/>
                </a:solidFill>
                <a:latin typeface="+mn-lt"/>
                <a:ea typeface="+mn-ea"/>
                <a:cs typeface="+mn-cs"/>
              </a:defRPr>
            </a:lvl5pPr>
            <a:lvl6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baseline="0" noProof="0">
                <a:solidFill>
                  <a:schemeClr val="bg2"/>
                </a:solidFill>
                <a:latin typeface="+mn-lt"/>
                <a:ea typeface="+mn-ea"/>
                <a:cs typeface="+mn-cs"/>
              </a:defRPr>
            </a:lvl6pPr>
            <a:lvl7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baseline="0" noProof="0">
                <a:solidFill>
                  <a:schemeClr val="bg2"/>
                </a:solidFill>
                <a:latin typeface="+mn-lt"/>
                <a:ea typeface="+mn-ea"/>
                <a:cs typeface="+mn-cs"/>
              </a:defRPr>
            </a:lvl7pPr>
            <a:lvl8pPr marL="0" marR="0" indent="-252000" algn="just" defTabSz="914400" rtl="0" eaLnBrk="1" fontAlgn="auto" latinLnBrk="0" hangingPunct="1">
              <a:lnSpc>
                <a:spcPct val="100000"/>
              </a:lnSpc>
              <a:spcBef>
                <a:spcPts val="400"/>
              </a:spcBef>
              <a:spcAft>
                <a:spcPts val="0"/>
              </a:spcAft>
              <a:buClr>
                <a:schemeClr val="accent1"/>
              </a:buClr>
              <a:buSzTx/>
              <a:buFont typeface="Tahoma" panose="020B0604030504040204" pitchFamily="34" charset="0"/>
              <a:buChar char="⁄"/>
              <a:tabLst/>
              <a:defRPr lang="fr-FR" sz="2000" b="1" i="0" kern="1200" baseline="0" noProof="0">
                <a:solidFill>
                  <a:schemeClr val="bg2"/>
                </a:solidFill>
                <a:latin typeface="+mn-lt"/>
                <a:ea typeface="+mn-ea"/>
                <a:cs typeface="+mn-cs"/>
              </a:defRPr>
            </a:lvl8pPr>
            <a:lvl9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baseline="0" noProof="0">
                <a:solidFill>
                  <a:schemeClr val="bg2"/>
                </a:solidFill>
                <a:latin typeface="+mn-lt"/>
                <a:ea typeface="+mn-ea"/>
                <a:cs typeface="+mn-cs"/>
              </a:defRPr>
            </a:lvl9pPr>
          </a:lstStyle>
          <a:p>
            <a:pPr>
              <a:buClr>
                <a:srgbClr val="503078"/>
              </a:buClr>
            </a:pPr>
            <a:r>
              <a:rPr lang="en-US">
                <a:solidFill>
                  <a:srgbClr val="8C9B9C"/>
                </a:solidFill>
                <a:latin typeface="Tahoma"/>
              </a:rPr>
              <a:t>A</a:t>
            </a:r>
            <a:endParaRPr lang="fr-FR">
              <a:solidFill>
                <a:srgbClr val="8C9B9C"/>
              </a:solidFill>
              <a:latin typeface="Tahoma"/>
            </a:endParaRPr>
          </a:p>
        </p:txBody>
      </p:sp>
      <p:sp>
        <p:nvSpPr>
          <p:cNvPr id="19" name="Espace réservé du texte 5">
            <a:extLst>
              <a:ext uri="{FF2B5EF4-FFF2-40B4-BE49-F238E27FC236}">
                <a16:creationId xmlns:a16="http://schemas.microsoft.com/office/drawing/2014/main" id="{341F00DC-D8AE-43A3-AD89-636122BA19DB}"/>
              </a:ext>
            </a:extLst>
          </p:cNvPr>
          <p:cNvSpPr txBox="1">
            <a:spLocks/>
          </p:cNvSpPr>
          <p:nvPr/>
        </p:nvSpPr>
        <p:spPr>
          <a:xfrm>
            <a:off x="2783632" y="5144064"/>
            <a:ext cx="6191926" cy="684000"/>
          </a:xfrm>
          <a:prstGeom prst="rect">
            <a:avLst/>
          </a:prstGeom>
        </p:spPr>
        <p:txBody>
          <a:bodyPr vert="horz" wrap="square" lIns="108000" tIns="108000" rIns="108000" bIns="108000" rtlCol="0" anchor="ctr">
            <a:noAutofit/>
          </a:bodyPr>
          <a:lstStyle>
            <a:lvl1pPr marL="0" indent="0" algn="l" defTabSz="914400" rtl="0" eaLnBrk="1" latinLnBrk="0" hangingPunct="1">
              <a:lnSpc>
                <a:spcPct val="100000"/>
              </a:lnSpc>
              <a:spcBef>
                <a:spcPts val="1800"/>
              </a:spcBef>
              <a:buFont typeface="Arial" panose="020B0604020202020204" pitchFamily="34" charset="0"/>
              <a:buNone/>
              <a:tabLst/>
              <a:defRPr lang="fr-FR" sz="2200" i="0" kern="1200" cap="none" baseline="0" noProof="0" dirty="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en-GB">
                <a:solidFill>
                  <a:srgbClr val="503078"/>
                </a:solidFill>
                <a:latin typeface="Tahoma"/>
              </a:rPr>
              <a:t>Annexes</a:t>
            </a:r>
          </a:p>
        </p:txBody>
      </p:sp>
      <p:sp>
        <p:nvSpPr>
          <p:cNvPr id="20" name="Espace réservé du texte 7">
            <a:extLst>
              <a:ext uri="{FF2B5EF4-FFF2-40B4-BE49-F238E27FC236}">
                <a16:creationId xmlns:a16="http://schemas.microsoft.com/office/drawing/2014/main" id="{714E7EDD-3063-4D8B-B109-77ECFBC15EEF}"/>
              </a:ext>
            </a:extLst>
          </p:cNvPr>
          <p:cNvSpPr txBox="1">
            <a:spLocks/>
          </p:cNvSpPr>
          <p:nvPr/>
        </p:nvSpPr>
        <p:spPr>
          <a:xfrm>
            <a:off x="9166693" y="5144064"/>
            <a:ext cx="1381928" cy="684000"/>
          </a:xfrm>
          <a:prstGeom prst="rect">
            <a:avLst/>
          </a:prstGeom>
        </p:spPr>
        <p:txBody>
          <a:bodyPr vert="horz" wrap="square" lIns="108000" tIns="108000" rIns="108000" bIns="108000" rtlCol="0" anchor="ctr">
            <a:noAutofit/>
          </a:bodyPr>
          <a:lstStyle>
            <a:lvl1pPr marL="0" indent="0" algn="l" defTabSz="914400" rtl="0" eaLnBrk="1" latinLnBrk="0" hangingPunct="1">
              <a:lnSpc>
                <a:spcPct val="100000"/>
              </a:lnSpc>
              <a:spcBef>
                <a:spcPts val="1800"/>
              </a:spcBef>
              <a:buFont typeface="Arial" panose="020B0604020202020204" pitchFamily="34" charset="0"/>
              <a:buNone/>
              <a:tabLst/>
              <a:defRPr lang="fr-FR" sz="1000" b="0" i="0" kern="1200" cap="none" baseline="0" noProof="0" dirty="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en-US" dirty="0">
                <a:solidFill>
                  <a:srgbClr val="503078"/>
                </a:solidFill>
                <a:latin typeface="Tahoma"/>
              </a:rPr>
              <a:t>Page 42</a:t>
            </a:r>
          </a:p>
        </p:txBody>
      </p:sp>
    </p:spTree>
    <p:extLst>
      <p:ext uri="{BB962C8B-B14F-4D97-AF65-F5344CB8AC3E}">
        <p14:creationId xmlns:p14="http://schemas.microsoft.com/office/powerpoint/2010/main" val="36142156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re 1">
            <a:extLst>
              <a:ext uri="{FF2B5EF4-FFF2-40B4-BE49-F238E27FC236}">
                <a16:creationId xmlns:a16="http://schemas.microsoft.com/office/drawing/2014/main" id="{1D619397-7AFA-43D6-BD0F-75435241C547}"/>
              </a:ext>
            </a:extLst>
          </p:cNvPr>
          <p:cNvSpPr txBox="1">
            <a:spLocks/>
          </p:cNvSpPr>
          <p:nvPr/>
        </p:nvSpPr>
        <p:spPr>
          <a:xfrm>
            <a:off x="1437026" y="418233"/>
            <a:ext cx="9317949" cy="487701"/>
          </a:xfrm>
          <a:prstGeom prst="rect">
            <a:avLst/>
          </a:prstGeom>
        </p:spPr>
        <p:txBody>
          <a:bodyPr vert="horz" lIns="108000" tIns="0" rIns="108000" bIns="0" rtlCol="0" anchor="ctr">
            <a:noAutofit/>
          </a:bodyPr>
          <a:lstStyle>
            <a:lvl1pPr algn="l" defTabSz="914400" rtl="0" eaLnBrk="1" latinLnBrk="0" hangingPunct="1">
              <a:lnSpc>
                <a:spcPct val="90000"/>
              </a:lnSpc>
              <a:spcBef>
                <a:spcPct val="0"/>
              </a:spcBef>
              <a:buNone/>
              <a:defRPr sz="1650" kern="1200" baseline="0">
                <a:solidFill>
                  <a:schemeClr val="bg2"/>
                </a:solidFill>
                <a:latin typeface="+mj-lt"/>
                <a:ea typeface="+mj-ea"/>
                <a:cs typeface="+mj-cs"/>
              </a:defRPr>
            </a:lvl1pPr>
          </a:lstStyle>
          <a:p>
            <a:r>
              <a:rPr lang="fr-FR" sz="2200">
                <a:solidFill>
                  <a:srgbClr val="503078"/>
                </a:solidFill>
                <a:latin typeface="Tahoma" panose="020B0604030504040204" pitchFamily="34" charset="0"/>
                <a:ea typeface="Tahoma" panose="020B0604030504040204" pitchFamily="34" charset="0"/>
                <a:cs typeface="Tahoma" panose="020B0604030504040204" pitchFamily="34" charset="0"/>
              </a:rPr>
              <a:t>Des acteurs publics de plus en plus engagés en faveur du répit mais des freins persistants</a:t>
            </a:r>
          </a:p>
        </p:txBody>
      </p:sp>
      <p:sp>
        <p:nvSpPr>
          <p:cNvPr id="37" name="Espace réservé du texte 2">
            <a:extLst>
              <a:ext uri="{FF2B5EF4-FFF2-40B4-BE49-F238E27FC236}">
                <a16:creationId xmlns:a16="http://schemas.microsoft.com/office/drawing/2014/main" id="{2A433FC5-EA2D-4845-A737-79D8F847BC5D}"/>
              </a:ext>
            </a:extLst>
          </p:cNvPr>
          <p:cNvSpPr txBox="1">
            <a:spLocks/>
          </p:cNvSpPr>
          <p:nvPr/>
        </p:nvSpPr>
        <p:spPr>
          <a:xfrm>
            <a:off x="1488601" y="89231"/>
            <a:ext cx="6126729" cy="260350"/>
          </a:xfrm>
          <a:prstGeom prst="rect">
            <a:avLst/>
          </a:prstGeom>
        </p:spPr>
        <p:txBody>
          <a:bodyPr vert="horz" lIns="108000" tIns="0" rIns="108000" bIns="0" rtlCol="0" anchor="b">
            <a:noAutofit/>
          </a:bodyPr>
          <a:lstStyle>
            <a:lvl1pPr marL="0" indent="0" algn="just" defTabSz="914400" rtl="0" eaLnBrk="1" latinLnBrk="0" hangingPunct="1">
              <a:lnSpc>
                <a:spcPct val="100000"/>
              </a:lnSpc>
              <a:spcBef>
                <a:spcPts val="0"/>
              </a:spcBef>
              <a:buFont typeface="Arial" panose="020B0604020202020204" pitchFamily="34" charset="0"/>
              <a:buNone/>
              <a:tabLst/>
              <a:defRPr sz="1000" i="0" kern="1200" cap="all" baseline="0">
                <a:solidFill>
                  <a:schemeClr val="accent4"/>
                </a:solidFill>
                <a:latin typeface="+mj-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0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fr-FR">
                <a:solidFill>
                  <a:srgbClr val="938481"/>
                </a:solidFill>
                <a:latin typeface="Tahoma" panose="020B0604030504040204" pitchFamily="34" charset="0"/>
                <a:ea typeface="Tahoma" panose="020B0604030504040204" pitchFamily="34" charset="0"/>
                <a:cs typeface="Tahoma" panose="020B0604030504040204" pitchFamily="34" charset="0"/>
              </a:rPr>
              <a:t>État des lieux des modèles existants</a:t>
            </a:r>
          </a:p>
        </p:txBody>
      </p:sp>
      <p:grpSp>
        <p:nvGrpSpPr>
          <p:cNvPr id="43" name="Groupe 4">
            <a:extLst>
              <a:ext uri="{FF2B5EF4-FFF2-40B4-BE49-F238E27FC236}">
                <a16:creationId xmlns:a16="http://schemas.microsoft.com/office/drawing/2014/main" id="{D0D34CB0-7C51-4D46-A62A-EC287322D6FE}"/>
              </a:ext>
            </a:extLst>
          </p:cNvPr>
          <p:cNvGrpSpPr/>
          <p:nvPr/>
        </p:nvGrpSpPr>
        <p:grpSpPr>
          <a:xfrm>
            <a:off x="1722827" y="2091015"/>
            <a:ext cx="8746345" cy="4511093"/>
            <a:chOff x="222249" y="2062066"/>
            <a:chExt cx="8746345" cy="4511093"/>
          </a:xfrm>
        </p:grpSpPr>
        <p:grpSp>
          <p:nvGrpSpPr>
            <p:cNvPr id="44" name="Group 16">
              <a:extLst>
                <a:ext uri="{FF2B5EF4-FFF2-40B4-BE49-F238E27FC236}">
                  <a16:creationId xmlns:a16="http://schemas.microsoft.com/office/drawing/2014/main" id="{9FBF4913-9518-419F-A4B4-3D445FBFDF19}"/>
                </a:ext>
              </a:extLst>
            </p:cNvPr>
            <p:cNvGrpSpPr/>
            <p:nvPr/>
          </p:nvGrpSpPr>
          <p:grpSpPr>
            <a:xfrm>
              <a:off x="222249" y="2579312"/>
              <a:ext cx="8691170" cy="3993847"/>
              <a:chOff x="222249" y="2579312"/>
              <a:chExt cx="8691170" cy="3993847"/>
            </a:xfrm>
          </p:grpSpPr>
          <p:sp>
            <p:nvSpPr>
              <p:cNvPr id="65" name="Text Box 118" descr="© INSCALE GmbH, 26.05.2010&#10;http://www.presentationload.com/">
                <a:extLst>
                  <a:ext uri="{FF2B5EF4-FFF2-40B4-BE49-F238E27FC236}">
                    <a16:creationId xmlns:a16="http://schemas.microsoft.com/office/drawing/2014/main" id="{D8B358A7-E8E2-4D4C-8CE0-4F354BBE6B15}"/>
                  </a:ext>
                </a:extLst>
              </p:cNvPr>
              <p:cNvSpPr txBox="1">
                <a:spLocks noChangeArrowheads="1"/>
              </p:cNvSpPr>
              <p:nvPr/>
            </p:nvSpPr>
            <p:spPr bwMode="gray">
              <a:xfrm>
                <a:off x="222249" y="2579312"/>
                <a:ext cx="2753863" cy="276999"/>
              </a:xfrm>
              <a:prstGeom prst="rect">
                <a:avLst/>
              </a:prstGeom>
              <a:noFill/>
              <a:ln w="9525">
                <a:noFill/>
                <a:miter lim="800000"/>
                <a:headEnd/>
                <a:tailEnd/>
              </a:ln>
            </p:spPr>
            <p:txBody>
              <a:bodyPr lIns="0" tIns="0" rIns="0" bIns="72000" anchor="b" anchorCtr="0">
                <a:noAutofit/>
              </a:bodyPr>
              <a:lstStyle/>
              <a:p>
                <a:pPr defTabSz="801688">
                  <a:spcBef>
                    <a:spcPct val="20000"/>
                  </a:spcBef>
                  <a:defRPr/>
                </a:pPr>
                <a:r>
                  <a:rPr lang="fr-FR" sz="1400" kern="0" noProof="1">
                    <a:solidFill>
                      <a:srgbClr val="503078"/>
                    </a:solidFill>
                    <a:latin typeface="Tahoma"/>
                    <a:cs typeface="Arial" charset="0"/>
                  </a:rPr>
                  <a:t>Des incertitudes sur le modèle </a:t>
                </a:r>
              </a:p>
            </p:txBody>
          </p:sp>
          <p:sp>
            <p:nvSpPr>
              <p:cNvPr id="66" name="Line 51" descr="© INSCALE GmbH, 26.05.2010&#10;http://www.presentationload.com/">
                <a:extLst>
                  <a:ext uri="{FF2B5EF4-FFF2-40B4-BE49-F238E27FC236}">
                    <a16:creationId xmlns:a16="http://schemas.microsoft.com/office/drawing/2014/main" id="{736EB0B6-2C01-4A5A-8388-87C0335D2571}"/>
                  </a:ext>
                </a:extLst>
              </p:cNvPr>
              <p:cNvSpPr>
                <a:spLocks noChangeShapeType="1"/>
              </p:cNvSpPr>
              <p:nvPr/>
            </p:nvSpPr>
            <p:spPr bwMode="gray">
              <a:xfrm flipV="1">
                <a:off x="222249" y="2857308"/>
                <a:ext cx="2880000" cy="0"/>
              </a:xfrm>
              <a:prstGeom prst="line">
                <a:avLst/>
              </a:prstGeom>
              <a:noFill/>
              <a:ln w="9525">
                <a:solidFill>
                  <a:srgbClr val="938481"/>
                </a:solidFill>
                <a:prstDash val="solid"/>
                <a:round/>
                <a:headEnd/>
                <a:tailEnd/>
              </a:ln>
            </p:spPr>
            <p:txBody>
              <a:bodyPr/>
              <a:lstStyle/>
              <a:p>
                <a:pPr>
                  <a:defRPr/>
                </a:pPr>
                <a:endParaRPr lang="en-GB" kern="0" noProof="1">
                  <a:solidFill>
                    <a:srgbClr val="5F5F5F"/>
                  </a:solidFill>
                  <a:latin typeface="Tahoma"/>
                </a:endParaRPr>
              </a:p>
            </p:txBody>
          </p:sp>
          <p:sp>
            <p:nvSpPr>
              <p:cNvPr id="67" name="Text Box 52" descr="© INSCALE GmbH, 26.05.2010&#10;http://www.presentationload.com/">
                <a:extLst>
                  <a:ext uri="{FF2B5EF4-FFF2-40B4-BE49-F238E27FC236}">
                    <a16:creationId xmlns:a16="http://schemas.microsoft.com/office/drawing/2014/main" id="{FE18040F-C98C-4E4C-B601-2A786A83618C}"/>
                  </a:ext>
                </a:extLst>
              </p:cNvPr>
              <p:cNvSpPr txBox="1">
                <a:spLocks noChangeArrowheads="1"/>
              </p:cNvSpPr>
              <p:nvPr/>
            </p:nvSpPr>
            <p:spPr bwMode="gray">
              <a:xfrm>
                <a:off x="6336186" y="5096145"/>
                <a:ext cx="2577233" cy="1477014"/>
              </a:xfrm>
              <a:prstGeom prst="rect">
                <a:avLst/>
              </a:prstGeom>
              <a:noFill/>
              <a:ln w="9525">
                <a:noFill/>
                <a:miter lim="800000"/>
                <a:headEnd/>
                <a:tailEnd/>
              </a:ln>
            </p:spPr>
            <p:txBody>
              <a:bodyPr lIns="0" tIns="72000" rIns="0" bIns="0">
                <a:noAutofit/>
              </a:bodyPr>
              <a:lstStyle/>
              <a:p>
                <a:pPr algn="r" defTabSz="801688">
                  <a:spcBef>
                    <a:spcPct val="20000"/>
                  </a:spcBef>
                  <a:defRPr/>
                </a:pPr>
                <a:r>
                  <a:rPr lang="fr-FR" sz="1100" kern="0" noProof="1">
                    <a:solidFill>
                      <a:srgbClr val="5F5F5F"/>
                    </a:solidFill>
                    <a:latin typeface="Tahoma"/>
                    <a:cs typeface="Arial" charset="0"/>
                  </a:rPr>
                  <a:t>Les ARS priorisent les besoins « d’urgence » des populations issues du territoire, ce qui implique une stratégie d’attribution des financements et des places d’HT aux EHPAD/FAM et aux maisons de répit plutôt qu’aux centres de répit. Cette tendance semble avoir été renforcée par la Covid-19. </a:t>
                </a:r>
              </a:p>
            </p:txBody>
          </p:sp>
        </p:grpSp>
        <p:grpSp>
          <p:nvGrpSpPr>
            <p:cNvPr id="45" name="Group 24">
              <a:extLst>
                <a:ext uri="{FF2B5EF4-FFF2-40B4-BE49-F238E27FC236}">
                  <a16:creationId xmlns:a16="http://schemas.microsoft.com/office/drawing/2014/main" id="{D7695129-6B6A-4748-AD52-71BF996CF357}"/>
                </a:ext>
              </a:extLst>
            </p:cNvPr>
            <p:cNvGrpSpPr/>
            <p:nvPr/>
          </p:nvGrpSpPr>
          <p:grpSpPr>
            <a:xfrm>
              <a:off x="229510" y="2844416"/>
              <a:ext cx="8661664" cy="2253480"/>
              <a:chOff x="229510" y="2844416"/>
              <a:chExt cx="8661664" cy="2253480"/>
            </a:xfrm>
          </p:grpSpPr>
          <p:sp>
            <p:nvSpPr>
              <p:cNvPr id="62" name="Text Box 52" descr="© INSCALE GmbH, 26.05.2010&#10;http://www.presentationload.com/">
                <a:extLst>
                  <a:ext uri="{FF2B5EF4-FFF2-40B4-BE49-F238E27FC236}">
                    <a16:creationId xmlns:a16="http://schemas.microsoft.com/office/drawing/2014/main" id="{714B95C1-718B-416C-A32A-A24CB4F9CE93}"/>
                  </a:ext>
                </a:extLst>
              </p:cNvPr>
              <p:cNvSpPr txBox="1">
                <a:spLocks noChangeArrowheads="1"/>
              </p:cNvSpPr>
              <p:nvPr/>
            </p:nvSpPr>
            <p:spPr bwMode="gray">
              <a:xfrm>
                <a:off x="6669584" y="2844416"/>
                <a:ext cx="2221590" cy="1020493"/>
              </a:xfrm>
              <a:prstGeom prst="rect">
                <a:avLst/>
              </a:prstGeom>
              <a:noFill/>
              <a:ln w="9525">
                <a:noFill/>
                <a:miter lim="800000"/>
                <a:headEnd/>
                <a:tailEnd/>
              </a:ln>
            </p:spPr>
            <p:txBody>
              <a:bodyPr lIns="0" tIns="72000" rIns="0" bIns="0">
                <a:noAutofit/>
              </a:bodyPr>
              <a:lstStyle/>
              <a:p>
                <a:pPr algn="r" fontAlgn="ctr">
                  <a:spcAft>
                    <a:spcPts val="300"/>
                  </a:spcAft>
                  <a:defRPr/>
                </a:pPr>
                <a:r>
                  <a:rPr lang="fr-FR" sz="1100" kern="0" noProof="1">
                    <a:solidFill>
                      <a:srgbClr val="5F5F5F"/>
                    </a:solidFill>
                    <a:latin typeface="Tahoma"/>
                    <a:cs typeface="Arial" charset="0"/>
                  </a:rPr>
                  <a:t>La dotation des</a:t>
                </a:r>
                <a:r>
                  <a:rPr lang="fr-FR" sz="1100" kern="0">
                    <a:solidFill>
                      <a:srgbClr val="5F5F5F"/>
                    </a:solidFill>
                    <a:latin typeface="Tahoma"/>
                    <a:cs typeface="Arial" charset="0"/>
                  </a:rPr>
                  <a:t> acteurs publics (et notamment des ARS) a diminué, les obligeant ainsi à prioriser leurs actions.</a:t>
                </a:r>
              </a:p>
            </p:txBody>
          </p:sp>
          <p:sp>
            <p:nvSpPr>
              <p:cNvPr id="63" name="Text Box 118" descr="© INSCALE GmbH, 26.05.2010&#10;http://www.presentationload.com/">
                <a:extLst>
                  <a:ext uri="{FF2B5EF4-FFF2-40B4-BE49-F238E27FC236}">
                    <a16:creationId xmlns:a16="http://schemas.microsoft.com/office/drawing/2014/main" id="{3A06FA50-66EA-455F-ABD7-E61E17696CAD}"/>
                  </a:ext>
                </a:extLst>
              </p:cNvPr>
              <p:cNvSpPr txBox="1">
                <a:spLocks noChangeArrowheads="1"/>
              </p:cNvSpPr>
              <p:nvPr/>
            </p:nvSpPr>
            <p:spPr bwMode="gray">
              <a:xfrm>
                <a:off x="229510" y="4820897"/>
                <a:ext cx="2617788" cy="276999"/>
              </a:xfrm>
              <a:prstGeom prst="rect">
                <a:avLst/>
              </a:prstGeom>
              <a:noFill/>
              <a:ln w="9525">
                <a:noFill/>
                <a:miter lim="800000"/>
                <a:headEnd/>
                <a:tailEnd/>
              </a:ln>
            </p:spPr>
            <p:txBody>
              <a:bodyPr lIns="0" tIns="0" rIns="0" bIns="72000" anchor="b" anchorCtr="0">
                <a:noAutofit/>
              </a:bodyPr>
              <a:lstStyle/>
              <a:p>
                <a:pPr defTabSz="801688">
                  <a:spcBef>
                    <a:spcPct val="20000"/>
                  </a:spcBef>
                  <a:defRPr/>
                </a:pPr>
                <a:r>
                  <a:rPr lang="fr-FR" sz="1400" kern="0" noProof="1">
                    <a:solidFill>
                      <a:srgbClr val="503078"/>
                    </a:solidFill>
                    <a:latin typeface="Tahoma"/>
                    <a:cs typeface="Arial" charset="0"/>
                  </a:rPr>
                  <a:t>Un manque de visibilité</a:t>
                </a:r>
              </a:p>
            </p:txBody>
          </p:sp>
          <p:cxnSp>
            <p:nvCxnSpPr>
              <p:cNvPr id="64" name="Gerade Verbindung 15">
                <a:extLst>
                  <a:ext uri="{FF2B5EF4-FFF2-40B4-BE49-F238E27FC236}">
                    <a16:creationId xmlns:a16="http://schemas.microsoft.com/office/drawing/2014/main" id="{70420329-A793-42CB-9DB1-C5157B75FC8A}"/>
                  </a:ext>
                </a:extLst>
              </p:cNvPr>
              <p:cNvCxnSpPr/>
              <p:nvPr/>
            </p:nvCxnSpPr>
            <p:spPr bwMode="gray">
              <a:xfrm>
                <a:off x="229510" y="5096145"/>
                <a:ext cx="3169298" cy="0"/>
              </a:xfrm>
              <a:prstGeom prst="line">
                <a:avLst/>
              </a:prstGeom>
              <a:noFill/>
              <a:ln w="9525">
                <a:solidFill>
                  <a:srgbClr val="938481"/>
                </a:solidFill>
                <a:prstDash val="solid"/>
                <a:round/>
                <a:headEnd/>
                <a:tailEnd/>
              </a:ln>
            </p:spPr>
          </p:cxnSp>
        </p:grpSp>
        <p:grpSp>
          <p:nvGrpSpPr>
            <p:cNvPr id="46" name="Group 23">
              <a:extLst>
                <a:ext uri="{FF2B5EF4-FFF2-40B4-BE49-F238E27FC236}">
                  <a16:creationId xmlns:a16="http://schemas.microsoft.com/office/drawing/2014/main" id="{C8D905D3-BB20-44B3-9C01-60B9280D8AEF}"/>
                </a:ext>
              </a:extLst>
            </p:cNvPr>
            <p:cNvGrpSpPr/>
            <p:nvPr/>
          </p:nvGrpSpPr>
          <p:grpSpPr>
            <a:xfrm>
              <a:off x="239035" y="2869437"/>
              <a:ext cx="8729559" cy="2228460"/>
              <a:chOff x="239035" y="2869437"/>
              <a:chExt cx="8729559" cy="2228460"/>
            </a:xfrm>
          </p:grpSpPr>
          <p:sp>
            <p:nvSpPr>
              <p:cNvPr id="59" name="Text Box 52" descr="© INSCALE GmbH, 26.05.2010&#10;http://www.presentationload.com/">
                <a:extLst>
                  <a:ext uri="{FF2B5EF4-FFF2-40B4-BE49-F238E27FC236}">
                    <a16:creationId xmlns:a16="http://schemas.microsoft.com/office/drawing/2014/main" id="{E0CD02E8-B551-479B-91D4-B06611275F5C}"/>
                  </a:ext>
                </a:extLst>
              </p:cNvPr>
              <p:cNvSpPr txBox="1">
                <a:spLocks noChangeArrowheads="1"/>
              </p:cNvSpPr>
              <p:nvPr/>
            </p:nvSpPr>
            <p:spPr bwMode="gray">
              <a:xfrm>
                <a:off x="239035" y="2869437"/>
                <a:ext cx="2532742" cy="1525751"/>
              </a:xfrm>
              <a:prstGeom prst="rect">
                <a:avLst/>
              </a:prstGeom>
              <a:noFill/>
              <a:ln w="9525">
                <a:noFill/>
                <a:miter lim="800000"/>
                <a:headEnd/>
                <a:tailEnd/>
              </a:ln>
            </p:spPr>
            <p:txBody>
              <a:bodyPr lIns="0" tIns="72000" rIns="0" bIns="0">
                <a:noAutofit/>
              </a:bodyPr>
              <a:lstStyle/>
              <a:p>
                <a:pPr defTabSz="801688">
                  <a:spcBef>
                    <a:spcPct val="20000"/>
                  </a:spcBef>
                  <a:defRPr/>
                </a:pPr>
                <a:r>
                  <a:rPr lang="fr-FR" sz="1100" kern="0" noProof="1">
                    <a:solidFill>
                      <a:srgbClr val="5F5F5F"/>
                    </a:solidFill>
                    <a:latin typeface="Tahoma"/>
                    <a:cs typeface="Arial" charset="0"/>
                  </a:rPr>
                  <a:t>Les collectivités territoriales et les ARS ont des réserves </a:t>
                </a:r>
                <a:r>
                  <a:rPr lang="fr-FR" sz="1100" kern="0">
                    <a:solidFill>
                      <a:srgbClr val="5F5F5F"/>
                    </a:solidFill>
                    <a:latin typeface="Tahoma"/>
                    <a:cs typeface="Arial" charset="0"/>
                  </a:rPr>
                  <a:t>à s'impliquer dans les projets de séjours de répit partagé, face à un modèle novateur n'ayant pas encore « fait ses preuves », sur le plan économique et stratégique.</a:t>
                </a:r>
              </a:p>
              <a:p>
                <a:pPr defTabSz="801688">
                  <a:spcBef>
                    <a:spcPct val="20000"/>
                  </a:spcBef>
                  <a:defRPr/>
                </a:pPr>
                <a:endParaRPr lang="fr-FR" sz="1100" kern="0" noProof="1">
                  <a:solidFill>
                    <a:srgbClr val="5F5F5F"/>
                  </a:solidFill>
                  <a:latin typeface="Tahoma"/>
                  <a:cs typeface="Arial" charset="0"/>
                </a:endParaRPr>
              </a:p>
            </p:txBody>
          </p:sp>
          <p:sp>
            <p:nvSpPr>
              <p:cNvPr id="60" name="Text Box 118" descr="© INSCALE GmbH, 26.05.2010&#10;http://www.presentationload.com/">
                <a:extLst>
                  <a:ext uri="{FF2B5EF4-FFF2-40B4-BE49-F238E27FC236}">
                    <a16:creationId xmlns:a16="http://schemas.microsoft.com/office/drawing/2014/main" id="{BEE80CD1-28B2-4857-82C1-90C1FA02117F}"/>
                  </a:ext>
                </a:extLst>
              </p:cNvPr>
              <p:cNvSpPr txBox="1">
                <a:spLocks noChangeArrowheads="1"/>
              </p:cNvSpPr>
              <p:nvPr/>
            </p:nvSpPr>
            <p:spPr bwMode="gray">
              <a:xfrm>
                <a:off x="6358432" y="4793117"/>
                <a:ext cx="2532741" cy="304780"/>
              </a:xfrm>
              <a:prstGeom prst="rect">
                <a:avLst/>
              </a:prstGeom>
              <a:noFill/>
              <a:ln w="9525">
                <a:noFill/>
                <a:miter lim="800000"/>
                <a:headEnd/>
                <a:tailEnd/>
              </a:ln>
            </p:spPr>
            <p:txBody>
              <a:bodyPr lIns="0" tIns="0" rIns="0" bIns="72000" anchor="b" anchorCtr="0">
                <a:noAutofit/>
              </a:bodyPr>
              <a:lstStyle/>
              <a:p>
                <a:pPr algn="r" defTabSz="801688">
                  <a:spcBef>
                    <a:spcPct val="20000"/>
                  </a:spcBef>
                  <a:defRPr/>
                </a:pPr>
                <a:r>
                  <a:rPr lang="fr-FR" sz="1400" kern="0" noProof="1">
                    <a:solidFill>
                      <a:srgbClr val="503078"/>
                    </a:solidFill>
                    <a:latin typeface="Tahoma"/>
                    <a:cs typeface="Arial" charset="0"/>
                  </a:rPr>
                  <a:t>Des priorités divergentes</a:t>
                </a:r>
              </a:p>
            </p:txBody>
          </p:sp>
          <p:cxnSp>
            <p:nvCxnSpPr>
              <p:cNvPr id="61" name="Gerade Verbindung 27">
                <a:extLst>
                  <a:ext uri="{FF2B5EF4-FFF2-40B4-BE49-F238E27FC236}">
                    <a16:creationId xmlns:a16="http://schemas.microsoft.com/office/drawing/2014/main" id="{200B9291-9B10-4D6A-965E-06EFA139F521}"/>
                  </a:ext>
                </a:extLst>
              </p:cNvPr>
              <p:cNvCxnSpPr/>
              <p:nvPr/>
            </p:nvCxnSpPr>
            <p:spPr bwMode="gray">
              <a:xfrm>
                <a:off x="5800594" y="5096145"/>
                <a:ext cx="3168000" cy="0"/>
              </a:xfrm>
              <a:prstGeom prst="line">
                <a:avLst/>
              </a:prstGeom>
              <a:noFill/>
              <a:ln w="9525">
                <a:solidFill>
                  <a:srgbClr val="938481"/>
                </a:solidFill>
                <a:prstDash val="solid"/>
                <a:round/>
                <a:headEnd/>
                <a:tailEnd/>
              </a:ln>
              <a:effectLst/>
            </p:spPr>
          </p:cxnSp>
        </p:grpSp>
        <p:grpSp>
          <p:nvGrpSpPr>
            <p:cNvPr id="47" name="Group 17">
              <a:extLst>
                <a:ext uri="{FF2B5EF4-FFF2-40B4-BE49-F238E27FC236}">
                  <a16:creationId xmlns:a16="http://schemas.microsoft.com/office/drawing/2014/main" id="{38F9CE02-1A37-4929-B914-DD8F34B66E67}"/>
                </a:ext>
              </a:extLst>
            </p:cNvPr>
            <p:cNvGrpSpPr/>
            <p:nvPr/>
          </p:nvGrpSpPr>
          <p:grpSpPr>
            <a:xfrm>
              <a:off x="239035" y="2579312"/>
              <a:ext cx="8652139" cy="3688086"/>
              <a:chOff x="239035" y="2579312"/>
              <a:chExt cx="8652139" cy="3688086"/>
            </a:xfrm>
          </p:grpSpPr>
          <p:sp>
            <p:nvSpPr>
              <p:cNvPr id="56" name="Text Box 53" descr="© INSCALE GmbH, 26.05.2010&#10;http://www.presentationload.com/">
                <a:extLst>
                  <a:ext uri="{FF2B5EF4-FFF2-40B4-BE49-F238E27FC236}">
                    <a16:creationId xmlns:a16="http://schemas.microsoft.com/office/drawing/2014/main" id="{46EB9887-4350-4702-A49F-BED6DE9A66D7}"/>
                  </a:ext>
                </a:extLst>
              </p:cNvPr>
              <p:cNvSpPr txBox="1">
                <a:spLocks noChangeArrowheads="1"/>
              </p:cNvSpPr>
              <p:nvPr/>
            </p:nvSpPr>
            <p:spPr bwMode="gray">
              <a:xfrm>
                <a:off x="239035" y="5096145"/>
                <a:ext cx="2568780" cy="1171253"/>
              </a:xfrm>
              <a:prstGeom prst="rect">
                <a:avLst/>
              </a:prstGeom>
              <a:noFill/>
              <a:ln w="9525">
                <a:noFill/>
                <a:miter lim="800000"/>
                <a:headEnd/>
                <a:tailEnd/>
              </a:ln>
            </p:spPr>
            <p:txBody>
              <a:bodyPr lIns="0" tIns="72000" rIns="0" bIns="0">
                <a:noAutofit/>
              </a:bodyPr>
              <a:lstStyle/>
              <a:p>
                <a:pPr defTabSz="801688">
                  <a:spcBef>
                    <a:spcPct val="20000"/>
                  </a:spcBef>
                  <a:defRPr/>
                </a:pPr>
                <a:r>
                  <a:rPr lang="fr-FR" sz="1100" kern="0">
                    <a:solidFill>
                      <a:srgbClr val="5F5F5F"/>
                    </a:solidFill>
                    <a:latin typeface="Tahoma"/>
                    <a:cs typeface="Arial" charset="0"/>
                  </a:rPr>
                  <a:t>La DGCS et la CNSA manquent de visibilité sur les projets menés au niveau des ARS (par exemple : absence d’une vision qualitative sur le type de projets de répit développés grâce à l’enveloppe Agir pour les Aidants). Par ailleurs, les porteurs de projet interagissent peu avec les acteurs institutionnels. </a:t>
                </a:r>
                <a:endParaRPr lang="fr-FR" sz="1100" kern="0" noProof="1">
                  <a:solidFill>
                    <a:srgbClr val="5F5F5F"/>
                  </a:solidFill>
                  <a:latin typeface="Tahoma"/>
                  <a:cs typeface="Arial" charset="0"/>
                </a:endParaRPr>
              </a:p>
            </p:txBody>
          </p:sp>
          <p:sp>
            <p:nvSpPr>
              <p:cNvPr id="57" name="Text Box 91" descr="© INSCALE GmbH, 26.05.2010&#10;http://www.presentationload.com/">
                <a:extLst>
                  <a:ext uri="{FF2B5EF4-FFF2-40B4-BE49-F238E27FC236}">
                    <a16:creationId xmlns:a16="http://schemas.microsoft.com/office/drawing/2014/main" id="{B02F3F37-8CB0-4C32-9B13-6038622DC661}"/>
                  </a:ext>
                </a:extLst>
              </p:cNvPr>
              <p:cNvSpPr txBox="1">
                <a:spLocks noChangeArrowheads="1"/>
              </p:cNvSpPr>
              <p:nvPr/>
            </p:nvSpPr>
            <p:spPr bwMode="gray">
              <a:xfrm>
                <a:off x="6358433" y="2579312"/>
                <a:ext cx="2532741" cy="277200"/>
              </a:xfrm>
              <a:prstGeom prst="rect">
                <a:avLst/>
              </a:prstGeom>
              <a:noFill/>
              <a:ln w="9525">
                <a:noFill/>
                <a:miter lim="800000"/>
                <a:headEnd/>
                <a:tailEnd/>
              </a:ln>
            </p:spPr>
            <p:txBody>
              <a:bodyPr wrap="square" lIns="0" tIns="0" rIns="0" bIns="72000" anchor="b" anchorCtr="0">
                <a:noAutofit/>
              </a:bodyPr>
              <a:lstStyle/>
              <a:p>
                <a:pPr algn="r" defTabSz="801688">
                  <a:spcBef>
                    <a:spcPct val="20000"/>
                  </a:spcBef>
                  <a:defRPr/>
                </a:pPr>
                <a:r>
                  <a:rPr lang="fr-FR" sz="1400" kern="0" noProof="1">
                    <a:solidFill>
                      <a:srgbClr val="503078"/>
                    </a:solidFill>
                    <a:latin typeface="Tahoma"/>
                    <a:cs typeface="Arial" charset="0"/>
                  </a:rPr>
                  <a:t>Des ressources financières en diminution</a:t>
                </a:r>
              </a:p>
            </p:txBody>
          </p:sp>
          <p:sp>
            <p:nvSpPr>
              <p:cNvPr id="58" name="Line 51" descr="© INSCALE GmbH, 26.05.2010&#10;http://www.presentationload.com/">
                <a:extLst>
                  <a:ext uri="{FF2B5EF4-FFF2-40B4-BE49-F238E27FC236}">
                    <a16:creationId xmlns:a16="http://schemas.microsoft.com/office/drawing/2014/main" id="{5AE12EC3-A421-4E52-B8AC-3967B2065FA1}"/>
                  </a:ext>
                </a:extLst>
              </p:cNvPr>
              <p:cNvSpPr>
                <a:spLocks noChangeShapeType="1"/>
              </p:cNvSpPr>
              <p:nvPr/>
            </p:nvSpPr>
            <p:spPr bwMode="gray">
              <a:xfrm flipV="1">
                <a:off x="6054725" y="2857308"/>
                <a:ext cx="2836449" cy="0"/>
              </a:xfrm>
              <a:prstGeom prst="line">
                <a:avLst/>
              </a:prstGeom>
              <a:noFill/>
              <a:ln w="9525">
                <a:solidFill>
                  <a:srgbClr val="938481"/>
                </a:solidFill>
                <a:prstDash val="solid"/>
                <a:round/>
                <a:headEnd/>
                <a:tailEnd/>
              </a:ln>
            </p:spPr>
            <p:txBody>
              <a:bodyPr/>
              <a:lstStyle/>
              <a:p>
                <a:pPr>
                  <a:defRPr/>
                </a:pPr>
                <a:endParaRPr lang="en-GB" kern="0" noProof="1">
                  <a:solidFill>
                    <a:srgbClr val="5F5F5F"/>
                  </a:solidFill>
                  <a:latin typeface="Tahoma"/>
                </a:endParaRPr>
              </a:p>
            </p:txBody>
          </p:sp>
        </p:grpSp>
        <p:grpSp>
          <p:nvGrpSpPr>
            <p:cNvPr id="48" name="Gruppieren 16">
              <a:extLst>
                <a:ext uri="{FF2B5EF4-FFF2-40B4-BE49-F238E27FC236}">
                  <a16:creationId xmlns:a16="http://schemas.microsoft.com/office/drawing/2014/main" id="{F62D77D9-C75C-4C6F-9CC3-0A36E4BC4764}"/>
                </a:ext>
              </a:extLst>
            </p:cNvPr>
            <p:cNvGrpSpPr/>
            <p:nvPr/>
          </p:nvGrpSpPr>
          <p:grpSpPr bwMode="gray">
            <a:xfrm>
              <a:off x="2801466" y="2062066"/>
              <a:ext cx="3541068" cy="3539476"/>
              <a:chOff x="2801466" y="2062066"/>
              <a:chExt cx="3541068" cy="3539476"/>
            </a:xfrm>
          </p:grpSpPr>
          <p:sp>
            <p:nvSpPr>
              <p:cNvPr id="49" name="Freeform 152">
                <a:extLst>
                  <a:ext uri="{FF2B5EF4-FFF2-40B4-BE49-F238E27FC236}">
                    <a16:creationId xmlns:a16="http://schemas.microsoft.com/office/drawing/2014/main" id="{3D67E597-2104-47AB-B125-8AAC8DA1A644}"/>
                  </a:ext>
                </a:extLst>
              </p:cNvPr>
              <p:cNvSpPr>
                <a:spLocks/>
              </p:cNvSpPr>
              <p:nvPr/>
            </p:nvSpPr>
            <p:spPr bwMode="gray">
              <a:xfrm>
                <a:off x="2807815" y="2062066"/>
                <a:ext cx="1960206" cy="1633239"/>
              </a:xfrm>
              <a:custGeom>
                <a:avLst/>
                <a:gdLst>
                  <a:gd name="T0" fmla="*/ 401 w 1550"/>
                  <a:gd name="T1" fmla="*/ 1293 h 1293"/>
                  <a:gd name="T2" fmla="*/ 1395 w 1550"/>
                  <a:gd name="T3" fmla="*/ 400 h 1293"/>
                  <a:gd name="T4" fmla="*/ 1550 w 1550"/>
                  <a:gd name="T5" fmla="*/ 200 h 1293"/>
                  <a:gd name="T6" fmla="*/ 1395 w 1550"/>
                  <a:gd name="T7" fmla="*/ 0 h 1293"/>
                  <a:gd name="T8" fmla="*/ 1395 w 1550"/>
                  <a:gd name="T9" fmla="*/ 0 h 1293"/>
                  <a:gd name="T10" fmla="*/ 0 w 1550"/>
                  <a:gd name="T11" fmla="*/ 1284 h 1293"/>
                  <a:gd name="T12" fmla="*/ 195 w 1550"/>
                  <a:gd name="T13" fmla="*/ 1133 h 1293"/>
                  <a:gd name="T14" fmla="*/ 401 w 1550"/>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0" h="1293">
                    <a:moveTo>
                      <a:pt x="401" y="1293"/>
                    </a:moveTo>
                    <a:cubicBezTo>
                      <a:pt x="454" y="791"/>
                      <a:pt x="879" y="400"/>
                      <a:pt x="1395" y="400"/>
                    </a:cubicBezTo>
                    <a:cubicBezTo>
                      <a:pt x="1550" y="200"/>
                      <a:pt x="1550" y="200"/>
                      <a:pt x="1550" y="200"/>
                    </a:cubicBezTo>
                    <a:cubicBezTo>
                      <a:pt x="1395" y="0"/>
                      <a:pt x="1395" y="0"/>
                      <a:pt x="1395" y="0"/>
                    </a:cubicBezTo>
                    <a:cubicBezTo>
                      <a:pt x="1395" y="0"/>
                      <a:pt x="1395" y="0"/>
                      <a:pt x="1395" y="0"/>
                    </a:cubicBezTo>
                    <a:cubicBezTo>
                      <a:pt x="661" y="0"/>
                      <a:pt x="58" y="565"/>
                      <a:pt x="0" y="1284"/>
                    </a:cubicBezTo>
                    <a:cubicBezTo>
                      <a:pt x="195" y="1133"/>
                      <a:pt x="195" y="1133"/>
                      <a:pt x="195" y="1133"/>
                    </a:cubicBezTo>
                    <a:lnTo>
                      <a:pt x="401" y="1293"/>
                    </a:lnTo>
                    <a:close/>
                  </a:path>
                </a:pathLst>
              </a:custGeom>
              <a:solidFill>
                <a:srgbClr val="8C9B9C">
                  <a:lumMod val="20000"/>
                  <a:lumOff val="80000"/>
                </a:srgbClr>
              </a:solidFill>
              <a:ln w="12700"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a:defRPr/>
                </a:pPr>
                <a:endParaRPr lang="en-GB" kern="0">
                  <a:solidFill>
                    <a:prstClr val="black"/>
                  </a:solidFill>
                  <a:latin typeface="Tahoma"/>
                </a:endParaRPr>
              </a:p>
            </p:txBody>
          </p:sp>
          <p:sp>
            <p:nvSpPr>
              <p:cNvPr id="50" name="Freeform 153">
                <a:extLst>
                  <a:ext uri="{FF2B5EF4-FFF2-40B4-BE49-F238E27FC236}">
                    <a16:creationId xmlns:a16="http://schemas.microsoft.com/office/drawing/2014/main" id="{3285540B-9669-424A-91D2-1CB4EB59B819}"/>
                  </a:ext>
                </a:extLst>
              </p:cNvPr>
              <p:cNvSpPr>
                <a:spLocks/>
              </p:cNvSpPr>
              <p:nvPr/>
            </p:nvSpPr>
            <p:spPr bwMode="gray">
              <a:xfrm>
                <a:off x="4706120" y="2068415"/>
                <a:ext cx="1636414" cy="1958615"/>
              </a:xfrm>
              <a:custGeom>
                <a:avLst/>
                <a:gdLst>
                  <a:gd name="T0" fmla="*/ 0 w 1293"/>
                  <a:gd name="T1" fmla="*/ 401 h 1550"/>
                  <a:gd name="T2" fmla="*/ 893 w 1293"/>
                  <a:gd name="T3" fmla="*/ 1395 h 1550"/>
                  <a:gd name="T4" fmla="*/ 1093 w 1293"/>
                  <a:gd name="T5" fmla="*/ 1550 h 1550"/>
                  <a:gd name="T6" fmla="*/ 1293 w 1293"/>
                  <a:gd name="T7" fmla="*/ 1395 h 1550"/>
                  <a:gd name="T8" fmla="*/ 1293 w 1293"/>
                  <a:gd name="T9" fmla="*/ 1395 h 1550"/>
                  <a:gd name="T10" fmla="*/ 9 w 1293"/>
                  <a:gd name="T11" fmla="*/ 0 h 1550"/>
                  <a:gd name="T12" fmla="*/ 160 w 1293"/>
                  <a:gd name="T13" fmla="*/ 195 h 1550"/>
                  <a:gd name="T14" fmla="*/ 0 w 1293"/>
                  <a:gd name="T15" fmla="*/ 401 h 15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3" h="1550">
                    <a:moveTo>
                      <a:pt x="0" y="401"/>
                    </a:moveTo>
                    <a:cubicBezTo>
                      <a:pt x="502" y="454"/>
                      <a:pt x="893" y="879"/>
                      <a:pt x="893" y="1395"/>
                    </a:cubicBezTo>
                    <a:cubicBezTo>
                      <a:pt x="1093" y="1550"/>
                      <a:pt x="1093" y="1550"/>
                      <a:pt x="1093" y="1550"/>
                    </a:cubicBezTo>
                    <a:cubicBezTo>
                      <a:pt x="1293" y="1395"/>
                      <a:pt x="1293" y="1395"/>
                      <a:pt x="1293" y="1395"/>
                    </a:cubicBezTo>
                    <a:cubicBezTo>
                      <a:pt x="1293" y="1395"/>
                      <a:pt x="1293" y="1395"/>
                      <a:pt x="1293" y="1395"/>
                    </a:cubicBezTo>
                    <a:cubicBezTo>
                      <a:pt x="1293" y="661"/>
                      <a:pt x="728" y="58"/>
                      <a:pt x="9" y="0"/>
                    </a:cubicBezTo>
                    <a:cubicBezTo>
                      <a:pt x="160" y="195"/>
                      <a:pt x="160" y="195"/>
                      <a:pt x="160" y="195"/>
                    </a:cubicBezTo>
                    <a:lnTo>
                      <a:pt x="0" y="401"/>
                    </a:lnTo>
                    <a:close/>
                  </a:path>
                </a:pathLst>
              </a:custGeom>
              <a:solidFill>
                <a:srgbClr val="503078"/>
              </a:solidFill>
              <a:ln w="12700"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a:defRPr/>
                </a:pPr>
                <a:endParaRPr lang="en-GB" kern="0">
                  <a:solidFill>
                    <a:prstClr val="black"/>
                  </a:solidFill>
                  <a:latin typeface="Tahoma"/>
                </a:endParaRPr>
              </a:p>
            </p:txBody>
          </p:sp>
          <p:sp>
            <p:nvSpPr>
              <p:cNvPr id="54" name="Freeform 154">
                <a:extLst>
                  <a:ext uri="{FF2B5EF4-FFF2-40B4-BE49-F238E27FC236}">
                    <a16:creationId xmlns:a16="http://schemas.microsoft.com/office/drawing/2014/main" id="{D0A5A131-D299-434A-BC04-C8F8552FA73A}"/>
                  </a:ext>
                </a:extLst>
              </p:cNvPr>
              <p:cNvSpPr>
                <a:spLocks/>
              </p:cNvSpPr>
              <p:nvPr/>
            </p:nvSpPr>
            <p:spPr bwMode="gray">
              <a:xfrm>
                <a:off x="2801466" y="3634990"/>
                <a:ext cx="1634827" cy="1960203"/>
              </a:xfrm>
              <a:custGeom>
                <a:avLst/>
                <a:gdLst>
                  <a:gd name="T0" fmla="*/ 1293 w 1293"/>
                  <a:gd name="T1" fmla="*/ 1149 h 1550"/>
                  <a:gd name="T2" fmla="*/ 400 w 1293"/>
                  <a:gd name="T3" fmla="*/ 155 h 1550"/>
                  <a:gd name="T4" fmla="*/ 400 w 1293"/>
                  <a:gd name="T5" fmla="*/ 155 h 1550"/>
                  <a:gd name="T6" fmla="*/ 200 w 1293"/>
                  <a:gd name="T7" fmla="*/ 0 h 1550"/>
                  <a:gd name="T8" fmla="*/ 0 w 1293"/>
                  <a:gd name="T9" fmla="*/ 155 h 1550"/>
                  <a:gd name="T10" fmla="*/ 0 w 1293"/>
                  <a:gd name="T11" fmla="*/ 155 h 1550"/>
                  <a:gd name="T12" fmla="*/ 1284 w 1293"/>
                  <a:gd name="T13" fmla="*/ 1550 h 1550"/>
                  <a:gd name="T14" fmla="*/ 1133 w 1293"/>
                  <a:gd name="T15" fmla="*/ 1355 h 1550"/>
                  <a:gd name="T16" fmla="*/ 1293 w 1293"/>
                  <a:gd name="T17" fmla="*/ 1149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3" h="1550">
                    <a:moveTo>
                      <a:pt x="1293" y="1149"/>
                    </a:moveTo>
                    <a:cubicBezTo>
                      <a:pt x="791" y="1096"/>
                      <a:pt x="400" y="671"/>
                      <a:pt x="400" y="155"/>
                    </a:cubicBezTo>
                    <a:cubicBezTo>
                      <a:pt x="400" y="155"/>
                      <a:pt x="400" y="155"/>
                      <a:pt x="400" y="155"/>
                    </a:cubicBezTo>
                    <a:cubicBezTo>
                      <a:pt x="200" y="0"/>
                      <a:pt x="200" y="0"/>
                      <a:pt x="200" y="0"/>
                    </a:cubicBezTo>
                    <a:cubicBezTo>
                      <a:pt x="0" y="155"/>
                      <a:pt x="0" y="155"/>
                      <a:pt x="0" y="155"/>
                    </a:cubicBezTo>
                    <a:cubicBezTo>
                      <a:pt x="0" y="155"/>
                      <a:pt x="0" y="155"/>
                      <a:pt x="0" y="155"/>
                    </a:cubicBezTo>
                    <a:cubicBezTo>
                      <a:pt x="0" y="889"/>
                      <a:pt x="565" y="1492"/>
                      <a:pt x="1284" y="1550"/>
                    </a:cubicBezTo>
                    <a:cubicBezTo>
                      <a:pt x="1133" y="1355"/>
                      <a:pt x="1133" y="1355"/>
                      <a:pt x="1133" y="1355"/>
                    </a:cubicBezTo>
                    <a:lnTo>
                      <a:pt x="1293" y="1149"/>
                    </a:lnTo>
                    <a:close/>
                  </a:path>
                </a:pathLst>
              </a:custGeom>
              <a:solidFill>
                <a:srgbClr val="FFFFFF">
                  <a:lumMod val="85000"/>
                </a:srgbClr>
              </a:solidFill>
              <a:ln w="12700"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a:defRPr/>
                </a:pPr>
                <a:endParaRPr lang="en-GB" kern="0">
                  <a:solidFill>
                    <a:prstClr val="black"/>
                  </a:solidFill>
                  <a:latin typeface="Tahoma"/>
                </a:endParaRPr>
              </a:p>
            </p:txBody>
          </p:sp>
          <p:sp>
            <p:nvSpPr>
              <p:cNvPr id="55" name="Freeform 155">
                <a:extLst>
                  <a:ext uri="{FF2B5EF4-FFF2-40B4-BE49-F238E27FC236}">
                    <a16:creationId xmlns:a16="http://schemas.microsoft.com/office/drawing/2014/main" id="{DD8982ED-F73E-44AA-8E5C-342981F17DE5}"/>
                  </a:ext>
                </a:extLst>
              </p:cNvPr>
              <p:cNvSpPr>
                <a:spLocks/>
              </p:cNvSpPr>
              <p:nvPr/>
            </p:nvSpPr>
            <p:spPr bwMode="gray">
              <a:xfrm>
                <a:off x="4375980" y="3966717"/>
                <a:ext cx="1960206" cy="1634825"/>
              </a:xfrm>
              <a:custGeom>
                <a:avLst/>
                <a:gdLst>
                  <a:gd name="T0" fmla="*/ 1355 w 1550"/>
                  <a:gd name="T1" fmla="*/ 160 h 1293"/>
                  <a:gd name="T2" fmla="*/ 1149 w 1550"/>
                  <a:gd name="T3" fmla="*/ 0 h 1293"/>
                  <a:gd name="T4" fmla="*/ 155 w 1550"/>
                  <a:gd name="T5" fmla="*/ 893 h 1293"/>
                  <a:gd name="T6" fmla="*/ 0 w 1550"/>
                  <a:gd name="T7" fmla="*/ 1093 h 1293"/>
                  <a:gd name="T8" fmla="*/ 155 w 1550"/>
                  <a:gd name="T9" fmla="*/ 1293 h 1293"/>
                  <a:gd name="T10" fmla="*/ 155 w 1550"/>
                  <a:gd name="T11" fmla="*/ 1293 h 1293"/>
                  <a:gd name="T12" fmla="*/ 1550 w 1550"/>
                  <a:gd name="T13" fmla="*/ 9 h 1293"/>
                  <a:gd name="T14" fmla="*/ 1355 w 1550"/>
                  <a:gd name="T15" fmla="*/ 160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0" h="1293">
                    <a:moveTo>
                      <a:pt x="1355" y="160"/>
                    </a:moveTo>
                    <a:cubicBezTo>
                      <a:pt x="1149" y="0"/>
                      <a:pt x="1149" y="0"/>
                      <a:pt x="1149" y="0"/>
                    </a:cubicBezTo>
                    <a:cubicBezTo>
                      <a:pt x="1096" y="502"/>
                      <a:pt x="671" y="893"/>
                      <a:pt x="155" y="893"/>
                    </a:cubicBezTo>
                    <a:cubicBezTo>
                      <a:pt x="0" y="1093"/>
                      <a:pt x="0" y="1093"/>
                      <a:pt x="0" y="1093"/>
                    </a:cubicBezTo>
                    <a:cubicBezTo>
                      <a:pt x="155" y="1293"/>
                      <a:pt x="155" y="1293"/>
                      <a:pt x="155" y="1293"/>
                    </a:cubicBezTo>
                    <a:cubicBezTo>
                      <a:pt x="155" y="1293"/>
                      <a:pt x="155" y="1293"/>
                      <a:pt x="155" y="1293"/>
                    </a:cubicBezTo>
                    <a:cubicBezTo>
                      <a:pt x="889" y="1293"/>
                      <a:pt x="1492" y="728"/>
                      <a:pt x="1550" y="9"/>
                    </a:cubicBezTo>
                    <a:lnTo>
                      <a:pt x="1355" y="160"/>
                    </a:lnTo>
                    <a:close/>
                  </a:path>
                </a:pathLst>
              </a:custGeom>
              <a:solidFill>
                <a:srgbClr val="503078">
                  <a:lumMod val="40000"/>
                  <a:lumOff val="60000"/>
                </a:srgbClr>
              </a:solidFill>
              <a:ln w="12700"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a:defRPr/>
                </a:pPr>
                <a:endParaRPr lang="en-GB" kern="0">
                  <a:solidFill>
                    <a:prstClr val="black"/>
                  </a:solidFill>
                  <a:latin typeface="Tahoma"/>
                </a:endParaRPr>
              </a:p>
            </p:txBody>
          </p:sp>
        </p:grpSp>
      </p:grpSp>
      <p:grpSp>
        <p:nvGrpSpPr>
          <p:cNvPr id="68" name="Group 31">
            <a:extLst>
              <a:ext uri="{FF2B5EF4-FFF2-40B4-BE49-F238E27FC236}">
                <a16:creationId xmlns:a16="http://schemas.microsoft.com/office/drawing/2014/main" id="{60D6C581-6595-4261-8FDB-7E616D9A5B39}"/>
              </a:ext>
            </a:extLst>
          </p:cNvPr>
          <p:cNvGrpSpPr>
            <a:grpSpLocks/>
          </p:cNvGrpSpPr>
          <p:nvPr/>
        </p:nvGrpSpPr>
        <p:grpSpPr>
          <a:xfrm>
            <a:off x="1488001" y="1153124"/>
            <a:ext cx="9215999" cy="5565217"/>
            <a:chOff x="44017" y="1611826"/>
            <a:chExt cx="3789479" cy="2350832"/>
          </a:xfrm>
          <a:solidFill>
            <a:srgbClr val="8C9B9C">
              <a:lumMod val="60000"/>
              <a:lumOff val="40000"/>
            </a:srgbClr>
          </a:solidFill>
        </p:grpSpPr>
        <p:sp>
          <p:nvSpPr>
            <p:cNvPr id="69" name="Rectangle 68">
              <a:extLst>
                <a:ext uri="{FF2B5EF4-FFF2-40B4-BE49-F238E27FC236}">
                  <a16:creationId xmlns:a16="http://schemas.microsoft.com/office/drawing/2014/main" id="{7A8D81BC-2DCB-474B-91FC-34EA2ECB36C0}"/>
                </a:ext>
              </a:extLst>
            </p:cNvPr>
            <p:cNvSpPr>
              <a:spLocks/>
            </p:cNvSpPr>
            <p:nvPr/>
          </p:nvSpPr>
          <p:spPr>
            <a:xfrm>
              <a:off x="44017" y="1611826"/>
              <a:ext cx="3789479" cy="277294"/>
            </a:xfrm>
            <a:prstGeom prst="rect">
              <a:avLst/>
            </a:prstGeom>
            <a:solidFill>
              <a:srgbClr val="FFFFFF">
                <a:lumMod val="95000"/>
              </a:srgbClr>
            </a:solidFill>
            <a:ln w="9525" cap="flat" cmpd="sng" algn="ctr">
              <a:solidFill>
                <a:srgbClr val="CAC5B8">
                  <a:lumMod val="60000"/>
                  <a:lumOff val="40000"/>
                </a:srgbClr>
              </a:solidFill>
              <a:prstDash val="solid"/>
              <a:miter lim="800000"/>
              <a:headEnd type="none" w="med" len="med"/>
              <a:tailEnd type="none" w="med" len="med"/>
            </a:ln>
            <a:effectLst/>
          </p:spPr>
          <p:txBody>
            <a:bodyPr rot="0" spcFirstLastPara="0" vertOverflow="overflow" horzOverflow="overflow" vert="horz" wrap="square" lIns="72000" tIns="58500" rIns="72000" bIns="58500" numCol="1" spcCol="0" rtlCol="0" fromWordArt="0" anchor="ctr" anchorCtr="0" forceAA="0" compatLnSpc="1">
              <a:prstTxWarp prst="textNoShape">
                <a:avLst/>
              </a:prstTxWarp>
              <a:noAutofit/>
            </a:bodyPr>
            <a:lstStyle/>
            <a:p>
              <a:pPr algn="just">
                <a:defRPr/>
              </a:pPr>
              <a:r>
                <a:rPr lang="fr-FR" sz="1200" b="1" kern="0" dirty="0">
                  <a:solidFill>
                    <a:srgbClr val="503078"/>
                  </a:solidFill>
                  <a:latin typeface="Tahoma"/>
                  <a:cs typeface="Arial" charset="0"/>
                </a:rPr>
                <a:t>Des freins institutionnels entravent le développement de l’offre des centres de répit, entraînant des difficultés notamment au niveau de l’obtention des places d’hébergement temporaire (ARS) et des financements requis (ARS, CR, CD). </a:t>
              </a:r>
            </a:p>
          </p:txBody>
        </p:sp>
        <p:grpSp>
          <p:nvGrpSpPr>
            <p:cNvPr id="70" name="Group 33">
              <a:extLst>
                <a:ext uri="{FF2B5EF4-FFF2-40B4-BE49-F238E27FC236}">
                  <a16:creationId xmlns:a16="http://schemas.microsoft.com/office/drawing/2014/main" id="{7AD689FC-1F8F-4174-A0B6-1B16F0C9F4D0}"/>
                </a:ext>
              </a:extLst>
            </p:cNvPr>
            <p:cNvGrpSpPr>
              <a:grpSpLocks noChangeAspect="1"/>
            </p:cNvGrpSpPr>
            <p:nvPr>
              <p:custDataLst>
                <p:tags r:id="rId5"/>
              </p:custDataLst>
            </p:nvPr>
          </p:nvGrpSpPr>
          <p:grpSpPr>
            <a:xfrm>
              <a:off x="920562" y="3620024"/>
              <a:ext cx="342633" cy="342634"/>
              <a:chOff x="1050149" y="987498"/>
              <a:chExt cx="1619250" cy="1619250"/>
            </a:xfrm>
            <a:grpFill/>
          </p:grpSpPr>
          <p:pic>
            <p:nvPicPr>
              <p:cNvPr id="71" name="Graphic 2 [2]" hidden="1">
                <a:extLst>
                  <a:ext uri="{FF2B5EF4-FFF2-40B4-BE49-F238E27FC236}">
                    <a16:creationId xmlns:a16="http://schemas.microsoft.com/office/drawing/2014/main" id="{C77B0D1E-3FC0-4857-81D8-1D8CA4289740}"/>
                  </a:ext>
                </a:extLst>
              </p:cNvPr>
              <p:cNvPicPr>
                <a:picLocks noChangeAspect="1"/>
              </p:cNvPicPr>
              <p:nvPr>
                <p:custDataLst>
                  <p:tags r:id="rId6"/>
                </p:custDataLst>
              </p:nvPr>
            </p:nvPicPr>
            <p:blipFill>
              <a:blip r:embed="rId10">
                <a:extLst>
                  <a:ext uri="{96DAC541-7B7A-43D3-8B79-37D633B846F1}">
                    <asvg:svgBlip xmlns:asvg="http://schemas.microsoft.com/office/drawing/2016/SVG/main" r:embed="rId11"/>
                  </a:ext>
                </a:extLst>
              </a:blip>
              <a:stretch>
                <a:fillRect/>
              </a:stretch>
            </p:blipFill>
            <p:spPr>
              <a:xfrm>
                <a:off x="1050149" y="987498"/>
                <a:ext cx="1619250" cy="1619250"/>
              </a:xfrm>
              <a:prstGeom prst="rect">
                <a:avLst/>
              </a:prstGeom>
            </p:spPr>
          </p:pic>
          <p:pic>
            <p:nvPicPr>
              <p:cNvPr id="72" name="Graphic 4 [0]" hidden="1">
                <a:extLst>
                  <a:ext uri="{FF2B5EF4-FFF2-40B4-BE49-F238E27FC236}">
                    <a16:creationId xmlns:a16="http://schemas.microsoft.com/office/drawing/2014/main" id="{FAF09D51-BCE9-4E28-9FED-4209317DE529}"/>
                  </a:ext>
                </a:extLst>
              </p:cNvPr>
              <p:cNvPicPr>
                <a:picLocks noChangeAspect="1"/>
              </p:cNvPicPr>
              <p:nvPr>
                <p:custDataLst>
                  <p:tags r:id="rId7"/>
                </p:custDataLst>
              </p:nvPr>
            </p:nvPicPr>
            <p:blipFill>
              <a:blip r:embed="rId12">
                <a:extLst>
                  <a:ext uri="{96DAC541-7B7A-43D3-8B79-37D633B846F1}">
                    <asvg:svgBlip xmlns:asvg="http://schemas.microsoft.com/office/drawing/2016/SVG/main" r:embed="rId13"/>
                  </a:ext>
                </a:extLst>
              </a:blip>
              <a:stretch>
                <a:fillRect/>
              </a:stretch>
            </p:blipFill>
            <p:spPr>
              <a:xfrm>
                <a:off x="1050149" y="987498"/>
                <a:ext cx="1619250" cy="1619250"/>
              </a:xfrm>
              <a:prstGeom prst="rect">
                <a:avLst/>
              </a:prstGeom>
            </p:spPr>
          </p:pic>
          <p:pic>
            <p:nvPicPr>
              <p:cNvPr id="73" name="Graphic 8 [1]" hidden="1">
                <a:extLst>
                  <a:ext uri="{FF2B5EF4-FFF2-40B4-BE49-F238E27FC236}">
                    <a16:creationId xmlns:a16="http://schemas.microsoft.com/office/drawing/2014/main" id="{F64B4196-43D1-42D9-A48F-258D1B09844B}"/>
                  </a:ext>
                </a:extLst>
              </p:cNvPr>
              <p:cNvPicPr>
                <a:picLocks noChangeAspect="1"/>
              </p:cNvPicPr>
              <p:nvPr>
                <p:custDataLst>
                  <p:tags r:id="rId8"/>
                </p:custDataLst>
              </p:nvPr>
            </p:nvPicPr>
            <p:blipFill>
              <a:blip r:embed="rId14">
                <a:extLst>
                  <a:ext uri="{96DAC541-7B7A-43D3-8B79-37D633B846F1}">
                    <asvg:svgBlip xmlns:asvg="http://schemas.microsoft.com/office/drawing/2016/SVG/main" r:embed="rId15"/>
                  </a:ext>
                </a:extLst>
              </a:blip>
              <a:stretch>
                <a:fillRect/>
              </a:stretch>
            </p:blipFill>
            <p:spPr>
              <a:xfrm>
                <a:off x="1050149" y="987498"/>
                <a:ext cx="1619250" cy="1619250"/>
              </a:xfrm>
              <a:prstGeom prst="rect">
                <a:avLst/>
              </a:prstGeom>
            </p:spPr>
          </p:pic>
        </p:grpSp>
      </p:grpSp>
      <p:grpSp>
        <p:nvGrpSpPr>
          <p:cNvPr id="74" name="Group 33">
            <a:extLst>
              <a:ext uri="{FF2B5EF4-FFF2-40B4-BE49-F238E27FC236}">
                <a16:creationId xmlns:a16="http://schemas.microsoft.com/office/drawing/2014/main" id="{4E63B4D9-907F-49BF-9ABE-72D79EE80E01}"/>
              </a:ext>
            </a:extLst>
          </p:cNvPr>
          <p:cNvGrpSpPr>
            <a:grpSpLocks noChangeAspect="1"/>
          </p:cNvGrpSpPr>
          <p:nvPr>
            <p:custDataLst>
              <p:tags r:id="rId1"/>
            </p:custDataLst>
          </p:nvPr>
        </p:nvGrpSpPr>
        <p:grpSpPr>
          <a:xfrm>
            <a:off x="3291444" y="6105780"/>
            <a:ext cx="436105" cy="811131"/>
            <a:chOff x="1050149" y="987498"/>
            <a:chExt cx="1619250" cy="1619250"/>
          </a:xfrm>
          <a:solidFill>
            <a:srgbClr val="8C9B9C">
              <a:lumMod val="60000"/>
              <a:lumOff val="40000"/>
            </a:srgbClr>
          </a:solidFill>
        </p:grpSpPr>
        <p:pic>
          <p:nvPicPr>
            <p:cNvPr id="75" name="Graphic 2 [2]" hidden="1">
              <a:extLst>
                <a:ext uri="{FF2B5EF4-FFF2-40B4-BE49-F238E27FC236}">
                  <a16:creationId xmlns:a16="http://schemas.microsoft.com/office/drawing/2014/main" id="{664C0E39-F912-4204-81A8-0439551068E0}"/>
                </a:ext>
              </a:extLst>
            </p:cNvPr>
            <p:cNvPicPr>
              <a:picLocks noChangeAspect="1"/>
            </p:cNvPicPr>
            <p:nvPr>
              <p:custDataLst>
                <p:tags r:id="rId2"/>
              </p:custDataLst>
            </p:nvPr>
          </p:nvPicPr>
          <p:blipFill>
            <a:blip r:embed="rId16">
              <a:extLst>
                <a:ext uri="{96DAC541-7B7A-43D3-8B79-37D633B846F1}">
                  <asvg:svgBlip xmlns:asvg="http://schemas.microsoft.com/office/drawing/2016/SVG/main" r:embed="rId17"/>
                </a:ext>
              </a:extLst>
            </a:blip>
            <a:stretch>
              <a:fillRect/>
            </a:stretch>
          </p:blipFill>
          <p:spPr>
            <a:xfrm>
              <a:off x="1050149" y="987498"/>
              <a:ext cx="1619250" cy="1619250"/>
            </a:xfrm>
            <a:prstGeom prst="rect">
              <a:avLst/>
            </a:prstGeom>
          </p:spPr>
        </p:pic>
        <p:pic>
          <p:nvPicPr>
            <p:cNvPr id="76" name="Graphic 4 [0]" hidden="1">
              <a:extLst>
                <a:ext uri="{FF2B5EF4-FFF2-40B4-BE49-F238E27FC236}">
                  <a16:creationId xmlns:a16="http://schemas.microsoft.com/office/drawing/2014/main" id="{0DF313AB-6970-4626-A65E-1C45B9BC44A1}"/>
                </a:ext>
              </a:extLst>
            </p:cNvPr>
            <p:cNvPicPr>
              <a:picLocks noChangeAspect="1"/>
            </p:cNvPicPr>
            <p:nvPr>
              <p:custDataLst>
                <p:tags r:id="rId3"/>
              </p:custDataLst>
            </p:nvPr>
          </p:nvPicPr>
          <p:blipFill>
            <a:blip r:embed="rId18">
              <a:extLst>
                <a:ext uri="{96DAC541-7B7A-43D3-8B79-37D633B846F1}">
                  <asvg:svgBlip xmlns:asvg="http://schemas.microsoft.com/office/drawing/2016/SVG/main" r:embed="rId19"/>
                </a:ext>
              </a:extLst>
            </a:blip>
            <a:stretch>
              <a:fillRect/>
            </a:stretch>
          </p:blipFill>
          <p:spPr>
            <a:xfrm>
              <a:off x="1050149" y="987498"/>
              <a:ext cx="1619250" cy="1619250"/>
            </a:xfrm>
            <a:prstGeom prst="rect">
              <a:avLst/>
            </a:prstGeom>
          </p:spPr>
        </p:pic>
        <p:pic>
          <p:nvPicPr>
            <p:cNvPr id="77" name="Graphic 8 [1]" hidden="1">
              <a:extLst>
                <a:ext uri="{FF2B5EF4-FFF2-40B4-BE49-F238E27FC236}">
                  <a16:creationId xmlns:a16="http://schemas.microsoft.com/office/drawing/2014/main" id="{10467B1C-B3EA-4F44-B749-F19C94D73B77}"/>
                </a:ext>
              </a:extLst>
            </p:cNvPr>
            <p:cNvPicPr>
              <a:picLocks noChangeAspect="1"/>
            </p:cNvPicPr>
            <p:nvPr>
              <p:custDataLst>
                <p:tags r:id="rId4"/>
              </p:custDataLst>
            </p:nvPr>
          </p:nvPicPr>
          <p:blipFill>
            <a:blip r:embed="rId20">
              <a:extLst>
                <a:ext uri="{96DAC541-7B7A-43D3-8B79-37D633B846F1}">
                  <asvg:svgBlip xmlns:asvg="http://schemas.microsoft.com/office/drawing/2016/SVG/main" r:embed="rId21"/>
                </a:ext>
              </a:extLst>
            </a:blip>
            <a:stretch>
              <a:fillRect/>
            </a:stretch>
          </p:blipFill>
          <p:spPr>
            <a:xfrm>
              <a:off x="1050149" y="987498"/>
              <a:ext cx="1619250" cy="1619250"/>
            </a:xfrm>
            <a:prstGeom prst="rect">
              <a:avLst/>
            </a:prstGeom>
          </p:spPr>
        </p:pic>
      </p:grpSp>
    </p:spTree>
    <p:extLst>
      <p:ext uri="{BB962C8B-B14F-4D97-AF65-F5344CB8AC3E}">
        <p14:creationId xmlns:p14="http://schemas.microsoft.com/office/powerpoint/2010/main" val="28906468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re 1">
            <a:extLst>
              <a:ext uri="{FF2B5EF4-FFF2-40B4-BE49-F238E27FC236}">
                <a16:creationId xmlns:a16="http://schemas.microsoft.com/office/drawing/2014/main" id="{1D619397-7AFA-43D6-BD0F-75435241C547}"/>
              </a:ext>
            </a:extLst>
          </p:cNvPr>
          <p:cNvSpPr txBox="1">
            <a:spLocks/>
          </p:cNvSpPr>
          <p:nvPr/>
        </p:nvSpPr>
        <p:spPr>
          <a:xfrm>
            <a:off x="1437026" y="301414"/>
            <a:ext cx="9317949" cy="487701"/>
          </a:xfrm>
          <a:prstGeom prst="rect">
            <a:avLst/>
          </a:prstGeom>
        </p:spPr>
        <p:txBody>
          <a:bodyPr vert="horz" lIns="108000" tIns="0" rIns="108000" bIns="0" rtlCol="0" anchor="ctr">
            <a:normAutofit/>
          </a:bodyPr>
          <a:lstStyle>
            <a:lvl1pPr algn="l" defTabSz="914400" rtl="0" eaLnBrk="1" latinLnBrk="0" hangingPunct="1">
              <a:lnSpc>
                <a:spcPct val="90000"/>
              </a:lnSpc>
              <a:spcBef>
                <a:spcPct val="0"/>
              </a:spcBef>
              <a:buNone/>
              <a:defRPr sz="1650" kern="1200" baseline="0">
                <a:solidFill>
                  <a:schemeClr val="bg2"/>
                </a:solidFill>
                <a:latin typeface="+mj-lt"/>
                <a:ea typeface="+mj-ea"/>
                <a:cs typeface="+mj-cs"/>
              </a:defRPr>
            </a:lvl1pPr>
          </a:lstStyle>
          <a:p>
            <a:r>
              <a:rPr lang="fr-FR" sz="2200">
                <a:solidFill>
                  <a:srgbClr val="503078"/>
                </a:solidFill>
                <a:latin typeface="Tahoma" panose="020B0604030504040204" pitchFamily="34" charset="0"/>
                <a:ea typeface="Tahoma" panose="020B0604030504040204" pitchFamily="34" charset="0"/>
                <a:cs typeface="Tahoma" panose="020B0604030504040204" pitchFamily="34" charset="0"/>
              </a:rPr>
              <a:t>Des incertitudes sur le modèle évoquées par les institutionnels </a:t>
            </a:r>
          </a:p>
        </p:txBody>
      </p:sp>
      <p:sp>
        <p:nvSpPr>
          <p:cNvPr id="37" name="Espace réservé du texte 2">
            <a:extLst>
              <a:ext uri="{FF2B5EF4-FFF2-40B4-BE49-F238E27FC236}">
                <a16:creationId xmlns:a16="http://schemas.microsoft.com/office/drawing/2014/main" id="{2A433FC5-EA2D-4845-A737-79D8F847BC5D}"/>
              </a:ext>
            </a:extLst>
          </p:cNvPr>
          <p:cNvSpPr txBox="1">
            <a:spLocks/>
          </p:cNvSpPr>
          <p:nvPr/>
        </p:nvSpPr>
        <p:spPr>
          <a:xfrm>
            <a:off x="1488601" y="89231"/>
            <a:ext cx="6126729" cy="260350"/>
          </a:xfrm>
          <a:prstGeom prst="rect">
            <a:avLst/>
          </a:prstGeom>
        </p:spPr>
        <p:txBody>
          <a:bodyPr vert="horz" lIns="108000" tIns="0" rIns="108000" bIns="0" rtlCol="0" anchor="b">
            <a:noAutofit/>
          </a:bodyPr>
          <a:lstStyle>
            <a:lvl1pPr marL="0" indent="0" algn="just" defTabSz="914400" rtl="0" eaLnBrk="1" latinLnBrk="0" hangingPunct="1">
              <a:lnSpc>
                <a:spcPct val="100000"/>
              </a:lnSpc>
              <a:spcBef>
                <a:spcPts val="0"/>
              </a:spcBef>
              <a:buFont typeface="Arial" panose="020B0604020202020204" pitchFamily="34" charset="0"/>
              <a:buNone/>
              <a:tabLst/>
              <a:defRPr sz="1000" i="0" kern="1200" cap="all" baseline="0">
                <a:solidFill>
                  <a:schemeClr val="accent4"/>
                </a:solidFill>
                <a:latin typeface="+mj-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0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fr-FR">
                <a:solidFill>
                  <a:srgbClr val="938481"/>
                </a:solidFill>
                <a:latin typeface="Tahoma" panose="020B0604030504040204" pitchFamily="34" charset="0"/>
                <a:ea typeface="Tahoma" panose="020B0604030504040204" pitchFamily="34" charset="0"/>
                <a:cs typeface="Tahoma" panose="020B0604030504040204" pitchFamily="34" charset="0"/>
              </a:rPr>
              <a:t>État des lieux des modèles existants</a:t>
            </a:r>
          </a:p>
        </p:txBody>
      </p:sp>
      <p:grpSp>
        <p:nvGrpSpPr>
          <p:cNvPr id="2" name="Groupe 1">
            <a:extLst>
              <a:ext uri="{FF2B5EF4-FFF2-40B4-BE49-F238E27FC236}">
                <a16:creationId xmlns:a16="http://schemas.microsoft.com/office/drawing/2014/main" id="{40B024EB-C622-4022-B9CC-2AE587CD145C}"/>
              </a:ext>
            </a:extLst>
          </p:cNvPr>
          <p:cNvGrpSpPr/>
          <p:nvPr/>
        </p:nvGrpSpPr>
        <p:grpSpPr>
          <a:xfrm>
            <a:off x="1634654" y="1490153"/>
            <a:ext cx="8959309" cy="5066435"/>
            <a:chOff x="547783" y="1512534"/>
            <a:chExt cx="8959309" cy="5066435"/>
          </a:xfrm>
        </p:grpSpPr>
        <p:grpSp>
          <p:nvGrpSpPr>
            <p:cNvPr id="5" name="Group 3">
              <a:extLst>
                <a:ext uri="{FF2B5EF4-FFF2-40B4-BE49-F238E27FC236}">
                  <a16:creationId xmlns:a16="http://schemas.microsoft.com/office/drawing/2014/main" id="{AFFAA331-C6B9-492C-B036-A28A1B838648}"/>
                </a:ext>
              </a:extLst>
            </p:cNvPr>
            <p:cNvGrpSpPr>
              <a:grpSpLocks/>
            </p:cNvGrpSpPr>
            <p:nvPr/>
          </p:nvGrpSpPr>
          <p:grpSpPr>
            <a:xfrm>
              <a:off x="547783" y="1612085"/>
              <a:ext cx="8959309" cy="4966884"/>
              <a:chOff x="602750" y="1323658"/>
              <a:chExt cx="8717279" cy="4966884"/>
            </a:xfrm>
          </p:grpSpPr>
          <p:sp>
            <p:nvSpPr>
              <p:cNvPr id="6" name="Inhaltsplatzhalter 17">
                <a:extLst>
                  <a:ext uri="{FF2B5EF4-FFF2-40B4-BE49-F238E27FC236}">
                    <a16:creationId xmlns:a16="http://schemas.microsoft.com/office/drawing/2014/main" id="{086024E4-FD93-4765-9BB1-473E2E3E700B}"/>
                  </a:ext>
                </a:extLst>
              </p:cNvPr>
              <p:cNvSpPr txBox="1">
                <a:spLocks/>
              </p:cNvSpPr>
              <p:nvPr/>
            </p:nvSpPr>
            <p:spPr bwMode="gray">
              <a:xfrm>
                <a:off x="602750" y="1593688"/>
                <a:ext cx="4324349" cy="2100027"/>
              </a:xfrm>
              <a:prstGeom prst="rect">
                <a:avLst/>
              </a:prstGeom>
            </p:spPr>
            <p:txBody>
              <a:bodyPr lIns="108000" tIns="108000" rIns="432000" bIns="360000"/>
              <a:lstStyle>
                <a:lvl1pPr marL="0" indent="0" algn="l" defTabSz="914400" rtl="0" eaLnBrk="1" latinLnBrk="0" hangingPunct="1">
                  <a:spcBef>
                    <a:spcPts val="0"/>
                  </a:spcBef>
                  <a:spcAft>
                    <a:spcPts val="500"/>
                  </a:spcAft>
                  <a:buFont typeface="Arial" panose="020B0604020202020204" pitchFamily="34" charset="0"/>
                  <a:buNone/>
                  <a:defRPr sz="2000" kern="1200" baseline="0">
                    <a:solidFill>
                      <a:schemeClr val="tx2"/>
                    </a:solidFill>
                    <a:latin typeface="+mn-lt"/>
                    <a:ea typeface="+mn-ea"/>
                    <a:cs typeface="+mn-cs"/>
                  </a:defRPr>
                </a:lvl1pPr>
                <a:lvl2pPr marL="0" indent="0" algn="l" defTabSz="914400" rtl="0" eaLnBrk="1" latinLnBrk="0" hangingPunct="1">
                  <a:spcBef>
                    <a:spcPts val="500"/>
                  </a:spcBef>
                  <a:buClr>
                    <a:schemeClr val="tx2"/>
                  </a:buClr>
                  <a:buSzPct val="105000"/>
                  <a:buFontTx/>
                  <a:buNone/>
                  <a:defRPr sz="1800" kern="1200">
                    <a:solidFill>
                      <a:srgbClr val="6D6D6D"/>
                    </a:solidFill>
                    <a:latin typeface="+mn-lt"/>
                    <a:ea typeface="+mn-ea"/>
                    <a:cs typeface="+mn-cs"/>
                  </a:defRPr>
                </a:lvl2pPr>
                <a:lvl3pPr marL="180000" indent="-180000" algn="l" defTabSz="914400" rtl="0" eaLnBrk="1" latinLnBrk="0" hangingPunct="1">
                  <a:spcBef>
                    <a:spcPts val="500"/>
                  </a:spcBef>
                  <a:buClr>
                    <a:schemeClr val="tx2"/>
                  </a:buClr>
                  <a:buFont typeface="Calibri" panose="020F0502020204030204" pitchFamily="34" charset="0"/>
                  <a:buChar char="›"/>
                  <a:defRPr sz="1600" kern="1200">
                    <a:solidFill>
                      <a:srgbClr val="6D6D6D"/>
                    </a:solidFill>
                    <a:latin typeface="+mn-lt"/>
                    <a:ea typeface="+mn-ea"/>
                    <a:cs typeface="+mn-cs"/>
                  </a:defRPr>
                </a:lvl3pPr>
                <a:lvl4pPr marL="367200" indent="-187200" algn="l" defTabSz="914400" rtl="0" eaLnBrk="1" latinLnBrk="0" hangingPunct="1">
                  <a:spcBef>
                    <a:spcPts val="500"/>
                  </a:spcBef>
                  <a:buFont typeface="Symbol" panose="05050102010706020507" pitchFamily="18" charset="2"/>
                  <a:buChar char="-"/>
                  <a:defRPr sz="1600" kern="1200">
                    <a:solidFill>
                      <a:srgbClr val="6D6D6D"/>
                    </a:solidFill>
                    <a:latin typeface="+mn-lt"/>
                    <a:ea typeface="+mn-ea"/>
                    <a:cs typeface="+mn-cs"/>
                  </a:defRPr>
                </a:lvl4pPr>
                <a:lvl5pPr marL="576000" indent="-187200" algn="l" defTabSz="914400" rtl="0" eaLnBrk="1" latinLnBrk="0" hangingPunct="1">
                  <a:spcBef>
                    <a:spcPts val="500"/>
                  </a:spcBef>
                  <a:buClr>
                    <a:schemeClr val="tx1"/>
                  </a:buClr>
                  <a:buFont typeface="Symbol" panose="05050102010706020507" pitchFamily="18" charset="2"/>
                  <a:buChar char="-"/>
                  <a:defRPr sz="1400" kern="1200">
                    <a:solidFill>
                      <a:srgbClr val="6D6D6D"/>
                    </a:solidFill>
                    <a:latin typeface="+mn-lt"/>
                    <a:ea typeface="+mn-ea"/>
                    <a:cs typeface="+mn-cs"/>
                  </a:defRPr>
                </a:lvl5pPr>
                <a:lvl6pPr marL="766763" indent="-185738" algn="l" defTabSz="914400" rtl="0" eaLnBrk="1" latinLnBrk="0" hangingPunct="1">
                  <a:spcBef>
                    <a:spcPts val="500"/>
                  </a:spcBef>
                  <a:buClr>
                    <a:schemeClr val="tx2"/>
                  </a:buClr>
                  <a:buFont typeface="Calibri" panose="020F0502020204030204" pitchFamily="34" charset="0"/>
                  <a:buChar char="»"/>
                  <a:defRPr sz="1400" kern="1200">
                    <a:solidFill>
                      <a:srgbClr val="6D6D6D"/>
                    </a:solidFill>
                    <a:latin typeface="+mn-lt"/>
                    <a:ea typeface="+mn-ea"/>
                    <a:cs typeface="+mn-cs"/>
                  </a:defRPr>
                </a:lvl6pPr>
                <a:lvl7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7pPr>
                <a:lvl8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8pPr>
                <a:lvl9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9pPr>
              </a:lstStyle>
              <a:p>
                <a:r>
                  <a:rPr lang="fr-FR" sz="1200" b="1" dirty="0">
                    <a:solidFill>
                      <a:srgbClr val="503078"/>
                    </a:solidFill>
                    <a:latin typeface="Tahoma" panose="020B0604030504040204" pitchFamily="34" charset="0"/>
                    <a:ea typeface="Tahoma" panose="020B0604030504040204" pitchFamily="34" charset="0"/>
                    <a:cs typeface="Tahoma" panose="020B0604030504040204" pitchFamily="34" charset="0"/>
                  </a:rPr>
                  <a:t>Un dimensionnement de l’offre de séjours difficile à estimer</a:t>
                </a:r>
              </a:p>
              <a:p>
                <a:pPr marL="358775" lvl="1" indent="-358775" algn="just">
                  <a:spcBef>
                    <a:spcPts val="300"/>
                  </a:spcBef>
                  <a:buClr>
                    <a:srgbClr val="503078"/>
                  </a:buClr>
                  <a:buFont typeface="Tempus Sans ITC" panose="04020404030D07020202" pitchFamily="82" charset="0"/>
                  <a:buChar char="/"/>
                </a:pPr>
                <a:r>
                  <a:rPr lang="fr-FR" sz="1100" dirty="0">
                    <a:solidFill>
                      <a:srgbClr val="5F5F5F"/>
                    </a:solidFill>
                    <a:latin typeface="Tahoma" panose="020B0604030504040204" pitchFamily="34" charset="0"/>
                    <a:ea typeface="Tahoma" panose="020B0604030504040204" pitchFamily="34" charset="0"/>
                    <a:cs typeface="Tahoma" panose="020B0604030504040204" pitchFamily="34" charset="0"/>
                  </a:rPr>
                  <a:t>Un équilibre reste à trouver sur le nombre de places d’accueil (enjeu d’atteindre une masse critique tout en gardant une structure simple à gérer)</a:t>
                </a:r>
              </a:p>
              <a:p>
                <a:pPr marL="358775" lvl="1" indent="-358775" algn="just">
                  <a:spcBef>
                    <a:spcPts val="300"/>
                  </a:spcBef>
                  <a:buClr>
                    <a:srgbClr val="503078"/>
                  </a:buClr>
                  <a:buFont typeface="Tempus Sans ITC" panose="04020404030D07020202" pitchFamily="82" charset="0"/>
                  <a:buChar char="/"/>
                </a:pPr>
                <a:r>
                  <a:rPr lang="fr-FR" sz="1100" dirty="0">
                    <a:solidFill>
                      <a:srgbClr val="5F5F5F"/>
                    </a:solidFill>
                    <a:latin typeface="Tahoma" panose="020B0604030504040204" pitchFamily="34" charset="0"/>
                    <a:ea typeface="Tahoma" panose="020B0604030504040204" pitchFamily="34" charset="0"/>
                    <a:cs typeface="Tahoma" panose="020B0604030504040204" pitchFamily="34" charset="0"/>
                  </a:rPr>
                  <a:t>Les effets de saisonnalité rendent les taux d’occupation variables, créant une incertitude sur l’équilibre économique à long-terme </a:t>
                </a:r>
              </a:p>
              <a:p>
                <a:pPr marL="358775" lvl="1" indent="-358775" algn="just">
                  <a:spcBef>
                    <a:spcPts val="300"/>
                  </a:spcBef>
                  <a:buClr>
                    <a:srgbClr val="503078"/>
                  </a:buClr>
                  <a:buFont typeface="Tempus Sans ITC" panose="04020404030D07020202" pitchFamily="82" charset="0"/>
                  <a:buChar char="/"/>
                </a:pPr>
                <a:r>
                  <a:rPr lang="fr-FR" sz="1100" dirty="0">
                    <a:solidFill>
                      <a:srgbClr val="5F5F5F"/>
                    </a:solidFill>
                    <a:latin typeface="Tahoma" panose="020B0604030504040204" pitchFamily="34" charset="0"/>
                    <a:ea typeface="Tahoma" panose="020B0604030504040204" pitchFamily="34" charset="0"/>
                    <a:cs typeface="Tahoma" panose="020B0604030504040204" pitchFamily="34" charset="0"/>
                  </a:rPr>
                  <a:t>Le tarif de la nuitée doit pouvoir couvrir les frais d’exploitation tout en restant accessible pour les publics</a:t>
                </a:r>
              </a:p>
              <a:p>
                <a:pPr lvl="2">
                  <a:buClr>
                    <a:srgbClr val="F4F3F0"/>
                  </a:buClr>
                </a:pPr>
                <a:endParaRPr lang="fr-FR" sz="1100" dirty="0">
                  <a:solidFill>
                    <a:srgbClr val="5F5F5F"/>
                  </a:solidFill>
                  <a:latin typeface="Tahoma" panose="020B0604030504040204" pitchFamily="34" charset="0"/>
                  <a:ea typeface="Tahoma" panose="020B0604030504040204" pitchFamily="34" charset="0"/>
                  <a:cs typeface="Tahoma" panose="020B0604030504040204" pitchFamily="34" charset="0"/>
                </a:endParaRPr>
              </a:p>
            </p:txBody>
          </p:sp>
          <p:grpSp>
            <p:nvGrpSpPr>
              <p:cNvPr id="7" name="Group 5">
                <a:extLst>
                  <a:ext uri="{FF2B5EF4-FFF2-40B4-BE49-F238E27FC236}">
                    <a16:creationId xmlns:a16="http://schemas.microsoft.com/office/drawing/2014/main" id="{592B7255-BF7A-4745-BA05-F22A0B4F358A}"/>
                  </a:ext>
                </a:extLst>
              </p:cNvPr>
              <p:cNvGrpSpPr/>
              <p:nvPr/>
            </p:nvGrpSpPr>
            <p:grpSpPr>
              <a:xfrm>
                <a:off x="623323" y="1323658"/>
                <a:ext cx="8551644" cy="4944502"/>
                <a:chOff x="623323" y="1323658"/>
                <a:chExt cx="8551644" cy="4944502"/>
              </a:xfrm>
            </p:grpSpPr>
            <p:grpSp>
              <p:nvGrpSpPr>
                <p:cNvPr id="11" name="Groupe 5">
                  <a:extLst>
                    <a:ext uri="{FF2B5EF4-FFF2-40B4-BE49-F238E27FC236}">
                      <a16:creationId xmlns:a16="http://schemas.microsoft.com/office/drawing/2014/main" id="{B6F30AA9-56F5-4DCF-B872-800C0A858838}"/>
                    </a:ext>
                  </a:extLst>
                </p:cNvPr>
                <p:cNvGrpSpPr/>
                <p:nvPr/>
              </p:nvGrpSpPr>
              <p:grpSpPr bwMode="gray">
                <a:xfrm>
                  <a:off x="623323" y="1323658"/>
                  <a:ext cx="8551644" cy="4944502"/>
                  <a:chOff x="614934" y="1411142"/>
                  <a:chExt cx="8551644" cy="4944502"/>
                </a:xfrm>
              </p:grpSpPr>
              <p:cxnSp>
                <p:nvCxnSpPr>
                  <p:cNvPr id="15" name="Gerade Verbindung 15">
                    <a:extLst>
                      <a:ext uri="{FF2B5EF4-FFF2-40B4-BE49-F238E27FC236}">
                        <a16:creationId xmlns:a16="http://schemas.microsoft.com/office/drawing/2014/main" id="{DF972ECD-93EC-48A1-8E8F-846DD723305A}"/>
                      </a:ext>
                    </a:extLst>
                  </p:cNvPr>
                  <p:cNvCxnSpPr/>
                  <p:nvPr/>
                </p:nvCxnSpPr>
                <p:spPr bwMode="gray">
                  <a:xfrm>
                    <a:off x="4953000" y="1411142"/>
                    <a:ext cx="0" cy="4944502"/>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Gerade Verbindung 17">
                    <a:extLst>
                      <a:ext uri="{FF2B5EF4-FFF2-40B4-BE49-F238E27FC236}">
                        <a16:creationId xmlns:a16="http://schemas.microsoft.com/office/drawing/2014/main" id="{1185894B-67B8-472A-81E8-8170E7BD63C6}"/>
                      </a:ext>
                    </a:extLst>
                  </p:cNvPr>
                  <p:cNvCxnSpPr/>
                  <p:nvPr/>
                </p:nvCxnSpPr>
                <p:spPr bwMode="gray">
                  <a:xfrm flipH="1" flipV="1">
                    <a:off x="614934" y="3883393"/>
                    <a:ext cx="8551644"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2" name="Groupe 24">
                  <a:extLst>
                    <a:ext uri="{FF2B5EF4-FFF2-40B4-BE49-F238E27FC236}">
                      <a16:creationId xmlns:a16="http://schemas.microsoft.com/office/drawing/2014/main" id="{97DE0566-9887-4342-B202-A85795A5DA41}"/>
                    </a:ext>
                  </a:extLst>
                </p:cNvPr>
                <p:cNvGrpSpPr/>
                <p:nvPr/>
              </p:nvGrpSpPr>
              <p:grpSpPr bwMode="gray">
                <a:xfrm>
                  <a:off x="4520050" y="3354570"/>
                  <a:ext cx="882678" cy="882678"/>
                  <a:chOff x="4977258" y="2102037"/>
                  <a:chExt cx="1225825" cy="1225825"/>
                </a:xfrm>
              </p:grpSpPr>
              <p:sp>
                <p:nvSpPr>
                  <p:cNvPr id="13" name="Ellipse 25">
                    <a:extLst>
                      <a:ext uri="{FF2B5EF4-FFF2-40B4-BE49-F238E27FC236}">
                        <a16:creationId xmlns:a16="http://schemas.microsoft.com/office/drawing/2014/main" id="{B13EDA79-FBD1-4453-BA96-8300511EC2AC}"/>
                      </a:ext>
                    </a:extLst>
                  </p:cNvPr>
                  <p:cNvSpPr/>
                  <p:nvPr/>
                </p:nvSpPr>
                <p:spPr bwMode="gray">
                  <a:xfrm>
                    <a:off x="4977258" y="2102037"/>
                    <a:ext cx="1225825" cy="1225825"/>
                  </a:xfrm>
                  <a:prstGeom prst="ellipse">
                    <a:avLst/>
                  </a:prstGeom>
                  <a:solidFill>
                    <a:srgbClr val="FFFFFF"/>
                  </a:solidFill>
                  <a:ln w="38100" cap="flat" cmpd="sng" algn="ctr">
                    <a:solidFill>
                      <a:schemeClr val="bg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100" kern="0">
                      <a:solidFill>
                        <a:srgbClr val="503078"/>
                      </a:solidFill>
                      <a:latin typeface="Tahoma" panose="020B0604030504040204" pitchFamily="34" charset="0"/>
                      <a:ea typeface="Tahoma" panose="020B0604030504040204" pitchFamily="34" charset="0"/>
                      <a:cs typeface="Tahoma" panose="020B0604030504040204" pitchFamily="34" charset="0"/>
                    </a:endParaRPr>
                  </a:p>
                </p:txBody>
              </p:sp>
              <p:pic>
                <p:nvPicPr>
                  <p:cNvPr id="14" name="Picture 2" descr="W:\Projets internes\Wavestone\Supports\Logo Wavestone\Logo hors nom+pastille\EXE_NOUVELLE MARQUE - Hors logo+pastille\EXE_NOUVELLE MARQUE\3–LOGOTYPE AVEC MONOGRAMME\4–BUREAUTIQUE–OFFICE USE\W + WAVESTONE–RGB.png">
                    <a:extLst>
                      <a:ext uri="{FF2B5EF4-FFF2-40B4-BE49-F238E27FC236}">
                        <a16:creationId xmlns:a16="http://schemas.microsoft.com/office/drawing/2014/main" id="{79DB54A6-4496-4949-874D-F771FD933673}"/>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Props>
                      </a:ext>
                      <a:ext uri="{28A0092B-C50C-407E-A947-70E740481C1C}">
                        <a14:useLocalDpi xmlns:a14="http://schemas.microsoft.com/office/drawing/2010/main"/>
                      </a:ext>
                    </a:extLst>
                  </a:blip>
                  <a:srcRect/>
                  <a:stretch/>
                </p:blipFill>
                <p:spPr bwMode="gray">
                  <a:xfrm>
                    <a:off x="5013579" y="2157756"/>
                    <a:ext cx="1153182" cy="1114386"/>
                  </a:xfrm>
                  <a:prstGeom prst="rect">
                    <a:avLst/>
                  </a:prstGeom>
                  <a:noFill/>
                  <a:ln w="38100">
                    <a:solidFill>
                      <a:schemeClr val="bg1"/>
                    </a:solidFill>
                  </a:ln>
                  <a:extLst>
                    <a:ext uri="{909E8E84-426E-40DD-AFC4-6F175D3DCCD1}">
                      <a14:hiddenFill xmlns:a14="http://schemas.microsoft.com/office/drawing/2010/main">
                        <a:solidFill>
                          <a:srgbClr val="FFFFFF"/>
                        </a:solidFill>
                      </a14:hiddenFill>
                    </a:ext>
                  </a:extLst>
                </p:spPr>
              </p:pic>
            </p:grpSp>
          </p:grpSp>
          <p:sp>
            <p:nvSpPr>
              <p:cNvPr id="8" name="Inhaltsplatzhalter 17">
                <a:extLst>
                  <a:ext uri="{FF2B5EF4-FFF2-40B4-BE49-F238E27FC236}">
                    <a16:creationId xmlns:a16="http://schemas.microsoft.com/office/drawing/2014/main" id="{CB067A31-A88B-4C4D-A371-F24014212A43}"/>
                  </a:ext>
                </a:extLst>
              </p:cNvPr>
              <p:cNvSpPr txBox="1">
                <a:spLocks/>
              </p:cNvSpPr>
              <p:nvPr/>
            </p:nvSpPr>
            <p:spPr bwMode="gray">
              <a:xfrm>
                <a:off x="623321" y="3822923"/>
                <a:ext cx="4338068" cy="2397978"/>
              </a:xfrm>
              <a:prstGeom prst="rect">
                <a:avLst/>
              </a:prstGeom>
            </p:spPr>
            <p:txBody>
              <a:bodyPr lIns="108000" tIns="108000" rIns="432000" bIns="360000"/>
              <a:lstStyle>
                <a:lvl1pPr marL="0" indent="0" algn="l" defTabSz="914400" rtl="0" eaLnBrk="1" latinLnBrk="0" hangingPunct="1">
                  <a:spcBef>
                    <a:spcPts val="0"/>
                  </a:spcBef>
                  <a:spcAft>
                    <a:spcPts val="500"/>
                  </a:spcAft>
                  <a:buFont typeface="Arial" panose="020B0604020202020204" pitchFamily="34" charset="0"/>
                  <a:buNone/>
                  <a:defRPr sz="2000" kern="1200" baseline="0">
                    <a:solidFill>
                      <a:schemeClr val="tx2"/>
                    </a:solidFill>
                    <a:latin typeface="+mn-lt"/>
                    <a:ea typeface="+mn-ea"/>
                    <a:cs typeface="+mn-cs"/>
                  </a:defRPr>
                </a:lvl1pPr>
                <a:lvl2pPr marL="0" indent="0" algn="l" defTabSz="914400" rtl="0" eaLnBrk="1" latinLnBrk="0" hangingPunct="1">
                  <a:spcBef>
                    <a:spcPts val="500"/>
                  </a:spcBef>
                  <a:buClr>
                    <a:schemeClr val="tx2"/>
                  </a:buClr>
                  <a:buSzPct val="105000"/>
                  <a:buFontTx/>
                  <a:buNone/>
                  <a:defRPr sz="1800" kern="1200">
                    <a:solidFill>
                      <a:srgbClr val="6D6D6D"/>
                    </a:solidFill>
                    <a:latin typeface="+mn-lt"/>
                    <a:ea typeface="+mn-ea"/>
                    <a:cs typeface="+mn-cs"/>
                  </a:defRPr>
                </a:lvl2pPr>
                <a:lvl3pPr marL="180000" indent="-180000" algn="l" defTabSz="914400" rtl="0" eaLnBrk="1" latinLnBrk="0" hangingPunct="1">
                  <a:spcBef>
                    <a:spcPts val="500"/>
                  </a:spcBef>
                  <a:buClr>
                    <a:schemeClr val="tx2"/>
                  </a:buClr>
                  <a:buFont typeface="Calibri" panose="020F0502020204030204" pitchFamily="34" charset="0"/>
                  <a:buChar char="›"/>
                  <a:defRPr sz="1600" kern="1200">
                    <a:solidFill>
                      <a:srgbClr val="6D6D6D"/>
                    </a:solidFill>
                    <a:latin typeface="+mn-lt"/>
                    <a:ea typeface="+mn-ea"/>
                    <a:cs typeface="+mn-cs"/>
                  </a:defRPr>
                </a:lvl3pPr>
                <a:lvl4pPr marL="367200" indent="-187200" algn="l" defTabSz="914400" rtl="0" eaLnBrk="1" latinLnBrk="0" hangingPunct="1">
                  <a:spcBef>
                    <a:spcPts val="500"/>
                  </a:spcBef>
                  <a:buFont typeface="Symbol" panose="05050102010706020507" pitchFamily="18" charset="2"/>
                  <a:buChar char="-"/>
                  <a:defRPr sz="1600" kern="1200">
                    <a:solidFill>
                      <a:srgbClr val="6D6D6D"/>
                    </a:solidFill>
                    <a:latin typeface="+mn-lt"/>
                    <a:ea typeface="+mn-ea"/>
                    <a:cs typeface="+mn-cs"/>
                  </a:defRPr>
                </a:lvl4pPr>
                <a:lvl5pPr marL="576000" indent="-187200" algn="l" defTabSz="914400" rtl="0" eaLnBrk="1" latinLnBrk="0" hangingPunct="1">
                  <a:spcBef>
                    <a:spcPts val="500"/>
                  </a:spcBef>
                  <a:buClr>
                    <a:schemeClr val="tx1"/>
                  </a:buClr>
                  <a:buFont typeface="Symbol" panose="05050102010706020507" pitchFamily="18" charset="2"/>
                  <a:buChar char="-"/>
                  <a:defRPr sz="1400" kern="1200">
                    <a:solidFill>
                      <a:srgbClr val="6D6D6D"/>
                    </a:solidFill>
                    <a:latin typeface="+mn-lt"/>
                    <a:ea typeface="+mn-ea"/>
                    <a:cs typeface="+mn-cs"/>
                  </a:defRPr>
                </a:lvl5pPr>
                <a:lvl6pPr marL="766763" indent="-185738" algn="l" defTabSz="914400" rtl="0" eaLnBrk="1" latinLnBrk="0" hangingPunct="1">
                  <a:spcBef>
                    <a:spcPts val="500"/>
                  </a:spcBef>
                  <a:buClr>
                    <a:schemeClr val="tx2"/>
                  </a:buClr>
                  <a:buFont typeface="Calibri" panose="020F0502020204030204" pitchFamily="34" charset="0"/>
                  <a:buChar char="»"/>
                  <a:defRPr sz="1400" kern="1200">
                    <a:solidFill>
                      <a:srgbClr val="6D6D6D"/>
                    </a:solidFill>
                    <a:latin typeface="+mn-lt"/>
                    <a:ea typeface="+mn-ea"/>
                    <a:cs typeface="+mn-cs"/>
                  </a:defRPr>
                </a:lvl6pPr>
                <a:lvl7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7pPr>
                <a:lvl8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8pPr>
                <a:lvl9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9pPr>
              </a:lstStyle>
              <a:p>
                <a:r>
                  <a:rPr lang="fr-FR" sz="1200" b="1">
                    <a:solidFill>
                      <a:srgbClr val="503078"/>
                    </a:solidFill>
                    <a:latin typeface="Tahoma" panose="020B0604030504040204" pitchFamily="34" charset="0"/>
                    <a:ea typeface="Tahoma" panose="020B0604030504040204" pitchFamily="34" charset="0"/>
                    <a:cs typeface="Tahoma" panose="020B0604030504040204" pitchFamily="34" charset="0"/>
                  </a:rPr>
                  <a:t>Le choix de la localisation de l’offre de séjour</a:t>
                </a:r>
              </a:p>
              <a:p>
                <a:pPr marL="358775" lvl="1" indent="-358775" algn="just">
                  <a:spcBef>
                    <a:spcPts val="300"/>
                  </a:spcBef>
                  <a:buClr>
                    <a:srgbClr val="503078"/>
                  </a:buClr>
                  <a:buFont typeface="Tempus Sans ITC" panose="04020404030D07020202" pitchFamily="82" charset="0"/>
                  <a:buChar char="/"/>
                </a:pPr>
                <a:r>
                  <a:rPr lang="fr-FR" sz="1100">
                    <a:solidFill>
                      <a:srgbClr val="5F5F5F"/>
                    </a:solidFill>
                    <a:latin typeface="Tahoma" panose="020B0604030504040204" pitchFamily="34" charset="0"/>
                    <a:ea typeface="Tahoma" panose="020B0604030504040204" pitchFamily="34" charset="0"/>
                    <a:cs typeface="Tahoma" panose="020B0604030504040204" pitchFamily="34" charset="0"/>
                  </a:rPr>
                  <a:t>L’offre de séjour doit être accessible et adaptée à des personnes à mobilité réduite (accessibilité en transports publics – exemple : gare à proximité), offre de transports locale) et être située dans une zone offrant des activités touristiques et des infrastructures d’accueil</a:t>
                </a:r>
              </a:p>
              <a:p>
                <a:pPr marL="358775" lvl="1" indent="-358775" algn="just">
                  <a:spcBef>
                    <a:spcPts val="300"/>
                  </a:spcBef>
                  <a:buClr>
                    <a:srgbClr val="503078"/>
                  </a:buClr>
                  <a:buFont typeface="Tempus Sans ITC" panose="04020404030D07020202" pitchFamily="82" charset="0"/>
                  <a:buChar char="/"/>
                </a:pPr>
                <a:r>
                  <a:rPr lang="fr-FR" sz="1100">
                    <a:solidFill>
                      <a:srgbClr val="5F5F5F"/>
                    </a:solidFill>
                    <a:latin typeface="Tahoma" panose="020B0604030504040204" pitchFamily="34" charset="0"/>
                    <a:ea typeface="Tahoma" panose="020B0604030504040204" pitchFamily="34" charset="0"/>
                    <a:cs typeface="Tahoma" panose="020B0604030504040204" pitchFamily="34" charset="0"/>
                  </a:rPr>
                  <a:t>Le centre doit pouvoir bénéficier d’un bassin d’emploi pour pouvoir recruter les personnels hôteliers et médico-sociaux</a:t>
                </a:r>
              </a:p>
              <a:p>
                <a:pPr marL="358775" lvl="1" indent="-358775" algn="just">
                  <a:spcBef>
                    <a:spcPts val="300"/>
                  </a:spcBef>
                  <a:buClr>
                    <a:srgbClr val="503078"/>
                  </a:buClr>
                  <a:buFont typeface="Tempus Sans ITC" panose="04020404030D07020202" pitchFamily="82" charset="0"/>
                  <a:buChar char="/"/>
                </a:pPr>
                <a:r>
                  <a:rPr lang="fr-FR" sz="1100">
                    <a:solidFill>
                      <a:srgbClr val="5F5F5F"/>
                    </a:solidFill>
                    <a:latin typeface="Tahoma" panose="020B0604030504040204" pitchFamily="34" charset="0"/>
                    <a:ea typeface="Tahoma" panose="020B0604030504040204" pitchFamily="34" charset="0"/>
                    <a:cs typeface="Tahoma" panose="020B0604030504040204" pitchFamily="34" charset="0"/>
                  </a:rPr>
                  <a:t>Un équilibre est donc à trouver entre prix du foncier (en cas d’acquisition) et dynamisme / attractivité du territoire</a:t>
                </a:r>
              </a:p>
            </p:txBody>
          </p:sp>
          <p:sp>
            <p:nvSpPr>
              <p:cNvPr id="9" name="Inhaltsplatzhalter 17">
                <a:extLst>
                  <a:ext uri="{FF2B5EF4-FFF2-40B4-BE49-F238E27FC236}">
                    <a16:creationId xmlns:a16="http://schemas.microsoft.com/office/drawing/2014/main" id="{D083E9FF-C6FA-4C19-A1BF-C49A1F1DEB9E}"/>
                  </a:ext>
                </a:extLst>
              </p:cNvPr>
              <p:cNvSpPr txBox="1">
                <a:spLocks/>
              </p:cNvSpPr>
              <p:nvPr/>
            </p:nvSpPr>
            <p:spPr bwMode="gray">
              <a:xfrm>
                <a:off x="5021834" y="3837745"/>
                <a:ext cx="4298195" cy="2452797"/>
              </a:xfrm>
              <a:prstGeom prst="rect">
                <a:avLst/>
              </a:prstGeom>
            </p:spPr>
            <p:txBody>
              <a:bodyPr lIns="432000" tIns="108000" rIns="108000" bIns="360000"/>
              <a:lstStyle>
                <a:lvl1pPr marL="0" indent="0" algn="l" defTabSz="914400" rtl="0" eaLnBrk="1" latinLnBrk="0" hangingPunct="1">
                  <a:spcBef>
                    <a:spcPts val="0"/>
                  </a:spcBef>
                  <a:spcAft>
                    <a:spcPts val="500"/>
                  </a:spcAft>
                  <a:buFont typeface="Arial" panose="020B0604020202020204" pitchFamily="34" charset="0"/>
                  <a:buNone/>
                  <a:defRPr sz="2000" kern="1200" baseline="0">
                    <a:solidFill>
                      <a:schemeClr val="tx2"/>
                    </a:solidFill>
                    <a:latin typeface="+mn-lt"/>
                    <a:ea typeface="+mn-ea"/>
                    <a:cs typeface="+mn-cs"/>
                  </a:defRPr>
                </a:lvl1pPr>
                <a:lvl2pPr marL="0" indent="0" algn="l" defTabSz="914400" rtl="0" eaLnBrk="1" latinLnBrk="0" hangingPunct="1">
                  <a:spcBef>
                    <a:spcPts val="500"/>
                  </a:spcBef>
                  <a:buClr>
                    <a:schemeClr val="tx2"/>
                  </a:buClr>
                  <a:buSzPct val="105000"/>
                  <a:buFontTx/>
                  <a:buNone/>
                  <a:defRPr sz="1800" kern="1200">
                    <a:solidFill>
                      <a:srgbClr val="6D6D6D"/>
                    </a:solidFill>
                    <a:latin typeface="+mn-lt"/>
                    <a:ea typeface="+mn-ea"/>
                    <a:cs typeface="+mn-cs"/>
                  </a:defRPr>
                </a:lvl2pPr>
                <a:lvl3pPr marL="180000" indent="-180000" algn="l" defTabSz="914400" rtl="0" eaLnBrk="1" latinLnBrk="0" hangingPunct="1">
                  <a:spcBef>
                    <a:spcPts val="500"/>
                  </a:spcBef>
                  <a:buClr>
                    <a:schemeClr val="tx2"/>
                  </a:buClr>
                  <a:buFont typeface="Calibri" panose="020F0502020204030204" pitchFamily="34" charset="0"/>
                  <a:buChar char="›"/>
                  <a:defRPr sz="1600" kern="1200">
                    <a:solidFill>
                      <a:srgbClr val="6D6D6D"/>
                    </a:solidFill>
                    <a:latin typeface="+mn-lt"/>
                    <a:ea typeface="+mn-ea"/>
                    <a:cs typeface="+mn-cs"/>
                  </a:defRPr>
                </a:lvl3pPr>
                <a:lvl4pPr marL="367200" indent="-187200" algn="l" defTabSz="914400" rtl="0" eaLnBrk="1" latinLnBrk="0" hangingPunct="1">
                  <a:spcBef>
                    <a:spcPts val="500"/>
                  </a:spcBef>
                  <a:buFont typeface="Symbol" panose="05050102010706020507" pitchFamily="18" charset="2"/>
                  <a:buChar char="-"/>
                  <a:defRPr sz="1600" kern="1200">
                    <a:solidFill>
                      <a:srgbClr val="6D6D6D"/>
                    </a:solidFill>
                    <a:latin typeface="+mn-lt"/>
                    <a:ea typeface="+mn-ea"/>
                    <a:cs typeface="+mn-cs"/>
                  </a:defRPr>
                </a:lvl4pPr>
                <a:lvl5pPr marL="576000" indent="-187200" algn="l" defTabSz="914400" rtl="0" eaLnBrk="1" latinLnBrk="0" hangingPunct="1">
                  <a:spcBef>
                    <a:spcPts val="500"/>
                  </a:spcBef>
                  <a:buClr>
                    <a:schemeClr val="tx1"/>
                  </a:buClr>
                  <a:buFont typeface="Symbol" panose="05050102010706020507" pitchFamily="18" charset="2"/>
                  <a:buChar char="-"/>
                  <a:defRPr sz="1400" kern="1200">
                    <a:solidFill>
                      <a:srgbClr val="6D6D6D"/>
                    </a:solidFill>
                    <a:latin typeface="+mn-lt"/>
                    <a:ea typeface="+mn-ea"/>
                    <a:cs typeface="+mn-cs"/>
                  </a:defRPr>
                </a:lvl5pPr>
                <a:lvl6pPr marL="766763" indent="-185738" algn="l" defTabSz="914400" rtl="0" eaLnBrk="1" latinLnBrk="0" hangingPunct="1">
                  <a:spcBef>
                    <a:spcPts val="500"/>
                  </a:spcBef>
                  <a:buClr>
                    <a:schemeClr val="tx2"/>
                  </a:buClr>
                  <a:buFont typeface="Calibri" panose="020F0502020204030204" pitchFamily="34" charset="0"/>
                  <a:buChar char="»"/>
                  <a:defRPr sz="1400" kern="1200">
                    <a:solidFill>
                      <a:srgbClr val="6D6D6D"/>
                    </a:solidFill>
                    <a:latin typeface="+mn-lt"/>
                    <a:ea typeface="+mn-ea"/>
                    <a:cs typeface="+mn-cs"/>
                  </a:defRPr>
                </a:lvl6pPr>
                <a:lvl7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7pPr>
                <a:lvl8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8pPr>
                <a:lvl9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9pPr>
              </a:lstStyle>
              <a:p>
                <a:r>
                  <a:rPr lang="fr-FR" sz="1200" b="1" dirty="0">
                    <a:solidFill>
                      <a:srgbClr val="503078"/>
                    </a:solidFill>
                    <a:latin typeface="Tahoma" panose="020B0604030504040204" pitchFamily="34" charset="0"/>
                    <a:ea typeface="Tahoma" panose="020B0604030504040204" pitchFamily="34" charset="0"/>
                    <a:cs typeface="Tahoma" panose="020B0604030504040204" pitchFamily="34" charset="0"/>
                  </a:rPr>
                  <a:t>Un manque d’orientation politique claire</a:t>
                </a:r>
                <a:endParaRPr lang="fr-FR" sz="1100" dirty="0">
                  <a:solidFill>
                    <a:srgbClr val="5F5F5F"/>
                  </a:solidFill>
                  <a:latin typeface="Tahoma" panose="020B0604030504040204" pitchFamily="34" charset="0"/>
                  <a:ea typeface="Tahoma" panose="020B0604030504040204" pitchFamily="34" charset="0"/>
                  <a:cs typeface="Tahoma" panose="020B0604030504040204" pitchFamily="34" charset="0"/>
                </a:endParaRPr>
              </a:p>
              <a:p>
                <a:pPr marL="358775" lvl="1" indent="-358775" algn="just">
                  <a:spcBef>
                    <a:spcPts val="300"/>
                  </a:spcBef>
                  <a:buClr>
                    <a:srgbClr val="503078"/>
                  </a:buClr>
                  <a:buFont typeface="Tempus Sans ITC" panose="04020404030D07020202" pitchFamily="82" charset="0"/>
                  <a:buChar char="/"/>
                </a:pPr>
                <a:r>
                  <a:rPr lang="fr-FR" sz="1100" dirty="0">
                    <a:solidFill>
                      <a:srgbClr val="5F5F5F"/>
                    </a:solidFill>
                    <a:latin typeface="Tahoma" panose="020B0604030504040204" pitchFamily="34" charset="0"/>
                    <a:ea typeface="Tahoma" panose="020B0604030504040204" pitchFamily="34" charset="0"/>
                    <a:cs typeface="Tahoma" panose="020B0604030504040204" pitchFamily="34" charset="0"/>
                  </a:rPr>
                  <a:t>Aucune ligne budgétaire n’est dédiée aux séjours de répit. Les enveloppes de la stratégie Agir pour les Aidants englobaient l’ensemble des solutions de répit (PFR, accueils de jour, …). Ainsi, le développement de séjours de répit n’a généralement pas été priorisé par les pouvoirs publics. </a:t>
                </a:r>
              </a:p>
              <a:p>
                <a:pPr marL="358775" lvl="1" indent="-358775" algn="just">
                  <a:spcBef>
                    <a:spcPts val="300"/>
                  </a:spcBef>
                  <a:buClr>
                    <a:srgbClr val="503078"/>
                  </a:buClr>
                  <a:buFont typeface="Tempus Sans ITC" panose="04020404030D07020202" pitchFamily="82" charset="0"/>
                  <a:buChar char="/"/>
                </a:pPr>
                <a:r>
                  <a:rPr lang="fr-FR" sz="1100" dirty="0">
                    <a:solidFill>
                      <a:srgbClr val="5F5F5F"/>
                    </a:solidFill>
                    <a:latin typeface="Tahoma" panose="020B0604030504040204" pitchFamily="34" charset="0"/>
                    <a:ea typeface="Tahoma" panose="020B0604030504040204" pitchFamily="34" charset="0"/>
                    <a:cs typeface="Tahoma" panose="020B0604030504040204" pitchFamily="34" charset="0"/>
                  </a:rPr>
                  <a:t>Bien que les séjours de répit nécessitent des coopérations inter-territoires, il existe actuellement peu de réseaux nationaux, bien que des groupes de travail soient en cours de montage (par exemple entre ARS ou entre CD)</a:t>
                </a:r>
              </a:p>
            </p:txBody>
          </p:sp>
          <p:sp>
            <p:nvSpPr>
              <p:cNvPr id="10" name="Inhaltsplatzhalter 17">
                <a:extLst>
                  <a:ext uri="{FF2B5EF4-FFF2-40B4-BE49-F238E27FC236}">
                    <a16:creationId xmlns:a16="http://schemas.microsoft.com/office/drawing/2014/main" id="{661D6756-51B6-4F86-8E5F-F8FBCE6FBFA0}"/>
                  </a:ext>
                </a:extLst>
              </p:cNvPr>
              <p:cNvSpPr txBox="1">
                <a:spLocks/>
              </p:cNvSpPr>
              <p:nvPr/>
            </p:nvSpPr>
            <p:spPr bwMode="gray">
              <a:xfrm>
                <a:off x="4927351" y="1607885"/>
                <a:ext cx="4338066" cy="2223301"/>
              </a:xfrm>
              <a:prstGeom prst="rect">
                <a:avLst/>
              </a:prstGeom>
            </p:spPr>
            <p:txBody>
              <a:bodyPr lIns="432000" tIns="108000" rIns="108000" bIns="360000"/>
              <a:lstStyle>
                <a:lvl1pPr marL="0" indent="0" algn="l" defTabSz="914400" rtl="0" eaLnBrk="1" latinLnBrk="0" hangingPunct="1">
                  <a:spcBef>
                    <a:spcPts val="0"/>
                  </a:spcBef>
                  <a:spcAft>
                    <a:spcPts val="500"/>
                  </a:spcAft>
                  <a:buFont typeface="Arial" panose="020B0604020202020204" pitchFamily="34" charset="0"/>
                  <a:buNone/>
                  <a:defRPr sz="2000" kern="1200" baseline="0">
                    <a:solidFill>
                      <a:schemeClr val="tx2"/>
                    </a:solidFill>
                    <a:latin typeface="+mn-lt"/>
                    <a:ea typeface="+mn-ea"/>
                    <a:cs typeface="+mn-cs"/>
                  </a:defRPr>
                </a:lvl1pPr>
                <a:lvl2pPr marL="0" indent="0" algn="l" defTabSz="914400" rtl="0" eaLnBrk="1" latinLnBrk="0" hangingPunct="1">
                  <a:spcBef>
                    <a:spcPts val="500"/>
                  </a:spcBef>
                  <a:buClr>
                    <a:schemeClr val="tx2"/>
                  </a:buClr>
                  <a:buSzPct val="105000"/>
                  <a:buFontTx/>
                  <a:buNone/>
                  <a:defRPr sz="1800" kern="1200">
                    <a:solidFill>
                      <a:srgbClr val="6D6D6D"/>
                    </a:solidFill>
                    <a:latin typeface="+mn-lt"/>
                    <a:ea typeface="+mn-ea"/>
                    <a:cs typeface="+mn-cs"/>
                  </a:defRPr>
                </a:lvl2pPr>
                <a:lvl3pPr marL="180000" indent="-180000" algn="l" defTabSz="914400" rtl="0" eaLnBrk="1" latinLnBrk="0" hangingPunct="1">
                  <a:spcBef>
                    <a:spcPts val="500"/>
                  </a:spcBef>
                  <a:buClr>
                    <a:schemeClr val="tx2"/>
                  </a:buClr>
                  <a:buFont typeface="Calibri" panose="020F0502020204030204" pitchFamily="34" charset="0"/>
                  <a:buChar char="›"/>
                  <a:defRPr sz="1600" kern="1200">
                    <a:solidFill>
                      <a:srgbClr val="6D6D6D"/>
                    </a:solidFill>
                    <a:latin typeface="+mn-lt"/>
                    <a:ea typeface="+mn-ea"/>
                    <a:cs typeface="+mn-cs"/>
                  </a:defRPr>
                </a:lvl3pPr>
                <a:lvl4pPr marL="367200" indent="-187200" algn="l" defTabSz="914400" rtl="0" eaLnBrk="1" latinLnBrk="0" hangingPunct="1">
                  <a:spcBef>
                    <a:spcPts val="500"/>
                  </a:spcBef>
                  <a:buFont typeface="Symbol" panose="05050102010706020507" pitchFamily="18" charset="2"/>
                  <a:buChar char="-"/>
                  <a:defRPr sz="1600" kern="1200">
                    <a:solidFill>
                      <a:srgbClr val="6D6D6D"/>
                    </a:solidFill>
                    <a:latin typeface="+mn-lt"/>
                    <a:ea typeface="+mn-ea"/>
                    <a:cs typeface="+mn-cs"/>
                  </a:defRPr>
                </a:lvl4pPr>
                <a:lvl5pPr marL="576000" indent="-187200" algn="l" defTabSz="914400" rtl="0" eaLnBrk="1" latinLnBrk="0" hangingPunct="1">
                  <a:spcBef>
                    <a:spcPts val="500"/>
                  </a:spcBef>
                  <a:buClr>
                    <a:schemeClr val="tx1"/>
                  </a:buClr>
                  <a:buFont typeface="Symbol" panose="05050102010706020507" pitchFamily="18" charset="2"/>
                  <a:buChar char="-"/>
                  <a:defRPr sz="1400" kern="1200">
                    <a:solidFill>
                      <a:srgbClr val="6D6D6D"/>
                    </a:solidFill>
                    <a:latin typeface="+mn-lt"/>
                    <a:ea typeface="+mn-ea"/>
                    <a:cs typeface="+mn-cs"/>
                  </a:defRPr>
                </a:lvl5pPr>
                <a:lvl6pPr marL="766763" indent="-185738" algn="l" defTabSz="914400" rtl="0" eaLnBrk="1" latinLnBrk="0" hangingPunct="1">
                  <a:spcBef>
                    <a:spcPts val="500"/>
                  </a:spcBef>
                  <a:buClr>
                    <a:schemeClr val="tx2"/>
                  </a:buClr>
                  <a:buFont typeface="Calibri" panose="020F0502020204030204" pitchFamily="34" charset="0"/>
                  <a:buChar char="»"/>
                  <a:defRPr sz="1400" kern="1200">
                    <a:solidFill>
                      <a:srgbClr val="6D6D6D"/>
                    </a:solidFill>
                    <a:latin typeface="+mn-lt"/>
                    <a:ea typeface="+mn-ea"/>
                    <a:cs typeface="+mn-cs"/>
                  </a:defRPr>
                </a:lvl6pPr>
                <a:lvl7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7pPr>
                <a:lvl8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8pPr>
                <a:lvl9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9pPr>
              </a:lstStyle>
              <a:p>
                <a:r>
                  <a:rPr lang="fr-FR" sz="1200" b="1" dirty="0">
                    <a:solidFill>
                      <a:srgbClr val="503078"/>
                    </a:solidFill>
                    <a:latin typeface="Tahoma" panose="020B0604030504040204" pitchFamily="34" charset="0"/>
                    <a:ea typeface="Tahoma" panose="020B0604030504040204" pitchFamily="34" charset="0"/>
                    <a:cs typeface="Tahoma" panose="020B0604030504040204" pitchFamily="34" charset="0"/>
                  </a:rPr>
                  <a:t>Une offre non destinée aux habitants du territoire</a:t>
                </a:r>
              </a:p>
              <a:p>
                <a:pPr marL="358775" lvl="1" indent="-358775" algn="just">
                  <a:spcBef>
                    <a:spcPts val="300"/>
                  </a:spcBef>
                  <a:buClr>
                    <a:srgbClr val="503078"/>
                  </a:buClr>
                  <a:buFont typeface="Tempus Sans ITC" panose="04020404030D07020202" pitchFamily="82" charset="0"/>
                  <a:buChar char="/"/>
                </a:pPr>
                <a:r>
                  <a:rPr lang="fr-FR" sz="1100" dirty="0">
                    <a:solidFill>
                      <a:srgbClr val="5F5F5F"/>
                    </a:solidFill>
                    <a:latin typeface="Tahoma" panose="020B0604030504040204" pitchFamily="34" charset="0"/>
                    <a:ea typeface="Tahoma" panose="020B0604030504040204" pitchFamily="34" charset="0"/>
                    <a:cs typeface="Tahoma" panose="020B0604030504040204" pitchFamily="34" charset="0"/>
                  </a:rPr>
                  <a:t>La création d’un centre de répit fait l’objet d’une ouverture de places d’AT / HT, au même titre que d’autres ESMS (FAM, EHPAD, …). </a:t>
                </a:r>
              </a:p>
              <a:p>
                <a:pPr marL="358775" lvl="1" indent="-358775" algn="just">
                  <a:spcBef>
                    <a:spcPts val="300"/>
                  </a:spcBef>
                  <a:buClr>
                    <a:srgbClr val="503078"/>
                  </a:buClr>
                  <a:buFont typeface="Tempus Sans ITC" panose="04020404030D07020202" pitchFamily="82" charset="0"/>
                  <a:buChar char="/"/>
                </a:pPr>
                <a:r>
                  <a:rPr lang="fr-FR" sz="1100" dirty="0">
                    <a:solidFill>
                      <a:srgbClr val="5F5F5F"/>
                    </a:solidFill>
                    <a:latin typeface="Tahoma" panose="020B0604030504040204" pitchFamily="34" charset="0"/>
                    <a:ea typeface="Tahoma" panose="020B0604030504040204" pitchFamily="34" charset="0"/>
                    <a:cs typeface="Tahoma" panose="020B0604030504040204" pitchFamily="34" charset="0"/>
                  </a:rPr>
                  <a:t>Ainsi, les ARS et CD craignent que l’attribution de places d’AT / HT pour des séjours de répit n’impacte le taux d’équipement de la région, d’autant plus que le public bénéficiaire des séjours de répit provient généralement de l’extérieur du territoire d’implantation du centre.</a:t>
                </a:r>
              </a:p>
            </p:txBody>
          </p:sp>
        </p:grpSp>
        <p:sp>
          <p:nvSpPr>
            <p:cNvPr id="17" name="Rectangle 16">
              <a:extLst>
                <a:ext uri="{FF2B5EF4-FFF2-40B4-BE49-F238E27FC236}">
                  <a16:creationId xmlns:a16="http://schemas.microsoft.com/office/drawing/2014/main" id="{A599FA84-5337-4D72-A0DD-D73ADCE945E0}"/>
                </a:ext>
              </a:extLst>
            </p:cNvPr>
            <p:cNvSpPr>
              <a:spLocks/>
            </p:cNvSpPr>
            <p:nvPr/>
          </p:nvSpPr>
          <p:spPr>
            <a:xfrm>
              <a:off x="949184" y="1512534"/>
              <a:ext cx="3515933" cy="3651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fr-FR" sz="1400" cap="small">
                  <a:solidFill>
                    <a:srgbClr val="FFFFFF"/>
                  </a:solidFill>
                  <a:latin typeface="Tahoma" panose="020B0604030504040204" pitchFamily="34" charset="0"/>
                  <a:ea typeface="Tahoma" panose="020B0604030504040204" pitchFamily="34" charset="0"/>
                  <a:cs typeface="Tahoma" panose="020B0604030504040204" pitchFamily="34" charset="0"/>
                </a:rPr>
                <a:t>Freins opérationnels sur le modèle</a:t>
              </a:r>
            </a:p>
          </p:txBody>
        </p:sp>
        <p:sp>
          <p:nvSpPr>
            <p:cNvPr id="20" name="Rectangle 19">
              <a:extLst>
                <a:ext uri="{FF2B5EF4-FFF2-40B4-BE49-F238E27FC236}">
                  <a16:creationId xmlns:a16="http://schemas.microsoft.com/office/drawing/2014/main" id="{63AB7EC7-55FE-4EB4-9A66-F3BB61D20764}"/>
                </a:ext>
              </a:extLst>
            </p:cNvPr>
            <p:cNvSpPr>
              <a:spLocks/>
            </p:cNvSpPr>
            <p:nvPr/>
          </p:nvSpPr>
          <p:spPr>
            <a:xfrm>
              <a:off x="5463743" y="1512534"/>
              <a:ext cx="3515933" cy="3651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fr-FR" sz="1400" cap="small">
                  <a:solidFill>
                    <a:srgbClr val="FFFFFF"/>
                  </a:solidFill>
                  <a:latin typeface="Tahoma" panose="020B0604030504040204" pitchFamily="34" charset="0"/>
                  <a:ea typeface="Tahoma" panose="020B0604030504040204" pitchFamily="34" charset="0"/>
                  <a:cs typeface="Tahoma" panose="020B0604030504040204" pitchFamily="34" charset="0"/>
                </a:rPr>
                <a:t>Freins politiques </a:t>
              </a:r>
            </a:p>
          </p:txBody>
        </p:sp>
      </p:grpSp>
      <p:sp>
        <p:nvSpPr>
          <p:cNvPr id="22" name="ZoneTexte 21">
            <a:extLst>
              <a:ext uri="{FF2B5EF4-FFF2-40B4-BE49-F238E27FC236}">
                <a16:creationId xmlns:a16="http://schemas.microsoft.com/office/drawing/2014/main" id="{BE305158-9908-4C18-B690-5F7792449DFD}"/>
              </a:ext>
            </a:extLst>
          </p:cNvPr>
          <p:cNvSpPr txBox="1"/>
          <p:nvPr/>
        </p:nvSpPr>
        <p:spPr>
          <a:xfrm>
            <a:off x="1577342" y="810915"/>
            <a:ext cx="9016621" cy="523220"/>
          </a:xfrm>
          <a:prstGeom prst="rect">
            <a:avLst/>
          </a:prstGeom>
          <a:noFill/>
          <a:ln w="28575" cap="flat" cmpd="sng" algn="ctr">
            <a:solidFill>
              <a:schemeClr val="tx1">
                <a:lumMod val="100000"/>
              </a:schemeClr>
            </a:solidFill>
            <a:prstDash val="sysDot"/>
            <a:round/>
            <a:headEnd type="none" w="med" len="med"/>
            <a:tailEnd type="none" w="med" len="med"/>
          </a:ln>
        </p:spPr>
        <p:txBody>
          <a:bodyPr wrap="square" lIns="108000" rIns="108000" rtlCol="0">
            <a:spAutoFit/>
          </a:bodyPr>
          <a:lstStyle/>
          <a:p>
            <a:pPr algn="ctr"/>
            <a:r>
              <a:rPr lang="fr-FR" sz="1400" b="1" dirty="0">
                <a:solidFill>
                  <a:srgbClr val="503078"/>
                </a:solidFill>
                <a:latin typeface="Calibri" panose="020F0502020204030204"/>
              </a:rPr>
              <a:t>Si les pouvoirs publics se saisissent de plus en plus du sujet et ont conscience des besoins des aidants, ils identifient néanmoins des points de vigilance</a:t>
            </a:r>
            <a:r>
              <a:rPr lang="fr-FR" sz="1400" b="1" baseline="30000" dirty="0">
                <a:solidFill>
                  <a:srgbClr val="503078"/>
                </a:solidFill>
                <a:latin typeface="Calibri" panose="020F0502020204030204"/>
              </a:rPr>
              <a:t>1</a:t>
            </a:r>
            <a:r>
              <a:rPr lang="fr-FR" sz="1400" b="1" dirty="0">
                <a:solidFill>
                  <a:srgbClr val="503078"/>
                </a:solidFill>
                <a:latin typeface="Calibri" panose="020F0502020204030204"/>
              </a:rPr>
              <a:t> à lever vis-à-vis des séjours de répit pour pouvoir impulser ce type d’offre. </a:t>
            </a:r>
          </a:p>
        </p:txBody>
      </p:sp>
      <p:sp>
        <p:nvSpPr>
          <p:cNvPr id="23" name="ZoneTexte 22">
            <a:extLst>
              <a:ext uri="{FF2B5EF4-FFF2-40B4-BE49-F238E27FC236}">
                <a16:creationId xmlns:a16="http://schemas.microsoft.com/office/drawing/2014/main" id="{46FB3720-4F9E-4990-8D26-7A64886FE1FD}"/>
              </a:ext>
            </a:extLst>
          </p:cNvPr>
          <p:cNvSpPr txBox="1"/>
          <p:nvPr/>
        </p:nvSpPr>
        <p:spPr>
          <a:xfrm>
            <a:off x="1766050" y="6619094"/>
            <a:ext cx="9656783" cy="200055"/>
          </a:xfrm>
          <a:prstGeom prst="rect">
            <a:avLst/>
          </a:prstGeom>
          <a:noFill/>
        </p:spPr>
        <p:txBody>
          <a:bodyPr wrap="square">
            <a:spAutoFit/>
          </a:bodyPr>
          <a:lstStyle/>
          <a:p>
            <a:pPr marL="228600" indent="-228600">
              <a:buFontTx/>
              <a:buAutoNum type="arabicPeriod"/>
            </a:pPr>
            <a:r>
              <a:rPr lang="fr-FR" sz="700">
                <a:solidFill>
                  <a:srgbClr val="5F5F5F">
                    <a:lumMod val="60000"/>
                    <a:lumOff val="40000"/>
                  </a:srgbClr>
                </a:solidFill>
                <a:latin typeface="Tahoma"/>
              </a:rPr>
              <a:t>Comptes-rendus d’entretiens avec la DGCS, l’ARS Nouvelle-Aquitaine et le Conseil Départemental des Pyrénées-Atlantiques.</a:t>
            </a:r>
          </a:p>
        </p:txBody>
      </p:sp>
    </p:spTree>
    <p:extLst>
      <p:ext uri="{BB962C8B-B14F-4D97-AF65-F5344CB8AC3E}">
        <p14:creationId xmlns:p14="http://schemas.microsoft.com/office/powerpoint/2010/main" val="33011770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9CE3E545-0A95-4337-B466-956C6A45E4D1}"/>
              </a:ext>
            </a:extLst>
          </p:cNvPr>
          <p:cNvSpPr>
            <a:spLocks noChangeArrowheads="1"/>
          </p:cNvSpPr>
          <p:nvPr>
            <p:custDataLst>
              <p:tags r:id="rId1"/>
            </p:custDataLst>
          </p:nvPr>
        </p:nvSpPr>
        <p:spPr bwMode="auto">
          <a:xfrm>
            <a:off x="4379749" y="890585"/>
            <a:ext cx="3422072" cy="5666002"/>
          </a:xfrm>
          <a:prstGeom prst="rect">
            <a:avLst/>
          </a:prstGeom>
          <a:solidFill>
            <a:schemeClr val="bg2"/>
          </a:solidFill>
          <a:ln w="6350" algn="ctr">
            <a:noFill/>
            <a:miter lim="800000"/>
            <a:headEnd/>
            <a:tailEnd/>
          </a:ln>
        </p:spPr>
        <p:txBody>
          <a:bodyPr lIns="108000" tIns="108000" rIns="108000" bIns="108000" anchor="ctr"/>
          <a:lstStyle/>
          <a:p>
            <a:pPr algn="ctr">
              <a:defRPr/>
            </a:pPr>
            <a:endParaRPr lang="fr-FR" altLang="ja-JP">
              <a:solidFill>
                <a:srgbClr val="FFFFFF"/>
              </a:solidFill>
              <a:latin typeface="Calibri" panose="020F0502020204030204"/>
              <a:ea typeface="ＭＳ Ｐゴシック" pitchFamily="50" charset="-128"/>
            </a:endParaRPr>
          </a:p>
        </p:txBody>
      </p:sp>
      <p:sp>
        <p:nvSpPr>
          <p:cNvPr id="36" name="Titre 1">
            <a:extLst>
              <a:ext uri="{FF2B5EF4-FFF2-40B4-BE49-F238E27FC236}">
                <a16:creationId xmlns:a16="http://schemas.microsoft.com/office/drawing/2014/main" id="{1D619397-7AFA-43D6-BD0F-75435241C547}"/>
              </a:ext>
            </a:extLst>
          </p:cNvPr>
          <p:cNvSpPr txBox="1">
            <a:spLocks/>
          </p:cNvSpPr>
          <p:nvPr/>
        </p:nvSpPr>
        <p:spPr>
          <a:xfrm>
            <a:off x="1437026" y="301414"/>
            <a:ext cx="9611975" cy="487701"/>
          </a:xfrm>
          <a:prstGeom prst="rect">
            <a:avLst/>
          </a:prstGeom>
        </p:spPr>
        <p:txBody>
          <a:bodyPr vert="horz" lIns="108000" tIns="0" rIns="108000" bIns="0" rtlCol="0" anchor="ctr">
            <a:normAutofit/>
          </a:bodyPr>
          <a:lstStyle>
            <a:lvl1pPr algn="l" defTabSz="914400" rtl="0" eaLnBrk="1" latinLnBrk="0" hangingPunct="1">
              <a:lnSpc>
                <a:spcPct val="90000"/>
              </a:lnSpc>
              <a:spcBef>
                <a:spcPct val="0"/>
              </a:spcBef>
              <a:buNone/>
              <a:defRPr sz="1650" kern="1200" baseline="0">
                <a:solidFill>
                  <a:schemeClr val="bg2"/>
                </a:solidFill>
                <a:latin typeface="+mj-lt"/>
                <a:ea typeface="+mj-ea"/>
                <a:cs typeface="+mj-cs"/>
              </a:defRPr>
            </a:lvl1pPr>
          </a:lstStyle>
          <a:p>
            <a:r>
              <a:rPr lang="fr-FR" sz="2200">
                <a:solidFill>
                  <a:srgbClr val="503078"/>
                </a:solidFill>
                <a:latin typeface="Tahoma" panose="020B0604030504040204" pitchFamily="34" charset="0"/>
                <a:ea typeface="Tahoma" panose="020B0604030504040204" pitchFamily="34" charset="0"/>
                <a:cs typeface="Tahoma" panose="020B0604030504040204" pitchFamily="34" charset="0"/>
              </a:rPr>
              <a:t>De nombreux acteurs publics et privés mobilisables pour des financements</a:t>
            </a:r>
          </a:p>
        </p:txBody>
      </p:sp>
      <p:sp>
        <p:nvSpPr>
          <p:cNvPr id="37" name="Espace réservé du texte 2">
            <a:extLst>
              <a:ext uri="{FF2B5EF4-FFF2-40B4-BE49-F238E27FC236}">
                <a16:creationId xmlns:a16="http://schemas.microsoft.com/office/drawing/2014/main" id="{2A433FC5-EA2D-4845-A737-79D8F847BC5D}"/>
              </a:ext>
            </a:extLst>
          </p:cNvPr>
          <p:cNvSpPr txBox="1">
            <a:spLocks/>
          </p:cNvSpPr>
          <p:nvPr/>
        </p:nvSpPr>
        <p:spPr>
          <a:xfrm>
            <a:off x="1488601" y="89231"/>
            <a:ext cx="6126729" cy="260350"/>
          </a:xfrm>
          <a:prstGeom prst="rect">
            <a:avLst/>
          </a:prstGeom>
        </p:spPr>
        <p:txBody>
          <a:bodyPr vert="horz" lIns="108000" tIns="0" rIns="108000" bIns="0" rtlCol="0" anchor="b">
            <a:noAutofit/>
          </a:bodyPr>
          <a:lstStyle>
            <a:lvl1pPr marL="0" indent="0" algn="just" defTabSz="914400" rtl="0" eaLnBrk="1" latinLnBrk="0" hangingPunct="1">
              <a:lnSpc>
                <a:spcPct val="100000"/>
              </a:lnSpc>
              <a:spcBef>
                <a:spcPts val="0"/>
              </a:spcBef>
              <a:buFont typeface="Arial" panose="020B0604020202020204" pitchFamily="34" charset="0"/>
              <a:buNone/>
              <a:tabLst/>
              <a:defRPr sz="1000" i="0" kern="1200" cap="all" baseline="0">
                <a:solidFill>
                  <a:schemeClr val="accent4"/>
                </a:solidFill>
                <a:latin typeface="+mj-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0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fr-FR">
                <a:solidFill>
                  <a:srgbClr val="938481"/>
                </a:solidFill>
                <a:latin typeface="Tahoma" panose="020B0604030504040204" pitchFamily="34" charset="0"/>
                <a:ea typeface="Tahoma" panose="020B0604030504040204" pitchFamily="34" charset="0"/>
                <a:cs typeface="Tahoma" panose="020B0604030504040204" pitchFamily="34" charset="0"/>
              </a:rPr>
              <a:t>État des lieux des modèles existants</a:t>
            </a:r>
          </a:p>
        </p:txBody>
      </p:sp>
      <p:sp>
        <p:nvSpPr>
          <p:cNvPr id="23" name="Rectangle 22">
            <a:extLst>
              <a:ext uri="{FF2B5EF4-FFF2-40B4-BE49-F238E27FC236}">
                <a16:creationId xmlns:a16="http://schemas.microsoft.com/office/drawing/2014/main" id="{FAD0DCB7-A914-45C0-9BC5-B96D5C089363}"/>
              </a:ext>
            </a:extLst>
          </p:cNvPr>
          <p:cNvSpPr>
            <a:spLocks noChangeArrowheads="1"/>
          </p:cNvSpPr>
          <p:nvPr>
            <p:custDataLst>
              <p:tags r:id="rId2"/>
            </p:custDataLst>
          </p:nvPr>
        </p:nvSpPr>
        <p:spPr bwMode="auto">
          <a:xfrm>
            <a:off x="4381849" y="890585"/>
            <a:ext cx="3422072" cy="5878184"/>
          </a:xfrm>
          <a:prstGeom prst="rect">
            <a:avLst/>
          </a:prstGeom>
          <a:solidFill>
            <a:schemeClr val="bg2"/>
          </a:solidFill>
          <a:ln w="6350" algn="ctr">
            <a:noFill/>
            <a:miter lim="800000"/>
            <a:headEnd/>
            <a:tailEnd/>
          </a:ln>
        </p:spPr>
        <p:txBody>
          <a:bodyPr lIns="108000" tIns="108000" rIns="108000" bIns="108000" anchor="ctr"/>
          <a:lstStyle/>
          <a:p>
            <a:pPr algn="ctr">
              <a:defRPr/>
            </a:pPr>
            <a:endParaRPr lang="fr-FR" altLang="ja-JP">
              <a:solidFill>
                <a:srgbClr val="FFFFFF"/>
              </a:solidFill>
              <a:latin typeface="Calibri" panose="020F0502020204030204"/>
              <a:ea typeface="ＭＳ Ｐゴシック" pitchFamily="50" charset="-128"/>
            </a:endParaRPr>
          </a:p>
        </p:txBody>
      </p:sp>
      <p:sp>
        <p:nvSpPr>
          <p:cNvPr id="27" name="Text Box 9">
            <a:extLst>
              <a:ext uri="{FF2B5EF4-FFF2-40B4-BE49-F238E27FC236}">
                <a16:creationId xmlns:a16="http://schemas.microsoft.com/office/drawing/2014/main" id="{75C30F86-1F24-4824-B0BE-9F22C83ABA66}"/>
              </a:ext>
            </a:extLst>
          </p:cNvPr>
          <p:cNvSpPr txBox="1">
            <a:spLocks noChangeArrowheads="1"/>
          </p:cNvSpPr>
          <p:nvPr/>
        </p:nvSpPr>
        <p:spPr bwMode="gray">
          <a:xfrm>
            <a:off x="2056728" y="2559498"/>
            <a:ext cx="3147687" cy="631769"/>
          </a:xfrm>
          <a:prstGeom prst="homePlate">
            <a:avLst>
              <a:gd name="adj" fmla="val 23776"/>
            </a:avLst>
          </a:prstGeom>
          <a:solidFill>
            <a:schemeClr val="bg2">
              <a:lumMod val="40000"/>
              <a:lumOff val="60000"/>
            </a:schemeClr>
          </a:solidFill>
          <a:ln>
            <a:noFill/>
          </a:ln>
          <a:effectLst/>
        </p:spPr>
        <p:txBody>
          <a:bodyPr wrap="square" lIns="108000" tIns="108000" rIns="108000" bIns="108000" anchor="ctr" anchorCtr="0"/>
          <a:lstStyle/>
          <a:p>
            <a:pPr>
              <a:spcAft>
                <a:spcPts val="300"/>
              </a:spcAft>
            </a:pPr>
            <a:r>
              <a:rPr lang="fr-FR" altLang="de-DE" sz="1400" b="1" noProof="1">
                <a:solidFill>
                  <a:srgbClr val="FFFFFF"/>
                </a:solidFill>
                <a:latin typeface="Calibri" panose="020F0502020204030204"/>
              </a:rPr>
              <a:t>Agences Régionales de Santé </a:t>
            </a:r>
          </a:p>
          <a:p>
            <a:pPr marL="176213" lvl="1" indent="-176213" algn="just">
              <a:spcBef>
                <a:spcPts val="300"/>
              </a:spcBef>
              <a:spcAft>
                <a:spcPts val="300"/>
              </a:spcAft>
              <a:buClr>
                <a:srgbClr val="503078"/>
              </a:buClr>
              <a:buSzPct val="105000"/>
              <a:buFont typeface="Tempus Sans ITC" panose="04020404030D07020202" pitchFamily="82" charset="0"/>
              <a:buChar char="/"/>
            </a:pPr>
            <a:r>
              <a:rPr lang="fr-FR" altLang="de-DE" sz="1200" noProof="1">
                <a:solidFill>
                  <a:srgbClr val="FFFFFF"/>
                </a:solidFill>
                <a:latin typeface="Calibri" panose="020F0502020204030204"/>
              </a:rPr>
              <a:t>Agrément places d’AT / HT</a:t>
            </a:r>
          </a:p>
        </p:txBody>
      </p:sp>
      <p:sp>
        <p:nvSpPr>
          <p:cNvPr id="29" name="Text Box 9">
            <a:extLst>
              <a:ext uri="{FF2B5EF4-FFF2-40B4-BE49-F238E27FC236}">
                <a16:creationId xmlns:a16="http://schemas.microsoft.com/office/drawing/2014/main" id="{F3B99A55-7F92-4445-A875-6C25ECE3CC43}"/>
              </a:ext>
            </a:extLst>
          </p:cNvPr>
          <p:cNvSpPr txBox="1">
            <a:spLocks noChangeArrowheads="1"/>
          </p:cNvSpPr>
          <p:nvPr/>
        </p:nvSpPr>
        <p:spPr bwMode="gray">
          <a:xfrm>
            <a:off x="2056730" y="3274542"/>
            <a:ext cx="3300088" cy="1330324"/>
          </a:xfrm>
          <a:prstGeom prst="homePlate">
            <a:avLst>
              <a:gd name="adj" fmla="val 23776"/>
            </a:avLst>
          </a:prstGeom>
          <a:solidFill>
            <a:schemeClr val="bg2">
              <a:lumMod val="40000"/>
              <a:lumOff val="60000"/>
            </a:schemeClr>
          </a:solidFill>
          <a:ln>
            <a:noFill/>
          </a:ln>
          <a:effectLst/>
        </p:spPr>
        <p:txBody>
          <a:bodyPr wrap="square" lIns="108000" tIns="108000" rIns="108000" bIns="108000" anchor="ctr" anchorCtr="0"/>
          <a:lstStyle/>
          <a:p>
            <a:pPr>
              <a:spcAft>
                <a:spcPts val="300"/>
              </a:spcAft>
            </a:pPr>
            <a:r>
              <a:rPr lang="fr-FR" altLang="de-DE" sz="1400" b="1" noProof="1">
                <a:solidFill>
                  <a:srgbClr val="FFFFFF"/>
                </a:solidFill>
                <a:latin typeface="Calibri" panose="020F0502020204030204"/>
              </a:rPr>
              <a:t>Conseils départementaux</a:t>
            </a:r>
          </a:p>
          <a:p>
            <a:pPr marL="176213" lvl="1" indent="-176213" algn="just">
              <a:spcAft>
                <a:spcPts val="300"/>
              </a:spcAft>
              <a:buClr>
                <a:srgbClr val="503078"/>
              </a:buClr>
              <a:buSzPct val="105000"/>
              <a:buFont typeface="Tempus Sans ITC" panose="04020404030D07020202" pitchFamily="82" charset="0"/>
              <a:buChar char="/"/>
            </a:pPr>
            <a:r>
              <a:rPr lang="fr-FR" altLang="de-DE" sz="1200" noProof="1">
                <a:solidFill>
                  <a:srgbClr val="FFFFFF"/>
                </a:solidFill>
                <a:latin typeface="Calibri" panose="020F0502020204030204"/>
              </a:rPr>
              <a:t>Financement d’aides pour l’autonomie</a:t>
            </a:r>
          </a:p>
          <a:p>
            <a:pPr marL="176213" lvl="1" indent="-176213" algn="just">
              <a:spcAft>
                <a:spcPts val="300"/>
              </a:spcAft>
              <a:buClr>
                <a:srgbClr val="503078"/>
              </a:buClr>
              <a:buSzPct val="105000"/>
              <a:buFont typeface="Tempus Sans ITC" panose="04020404030D07020202" pitchFamily="82" charset="0"/>
              <a:buChar char="/"/>
            </a:pPr>
            <a:r>
              <a:rPr lang="fr-FR" altLang="de-DE" sz="1200" noProof="1">
                <a:solidFill>
                  <a:srgbClr val="FFFFFF"/>
                </a:solidFill>
                <a:latin typeface="Calibri" panose="020F0502020204030204"/>
              </a:rPr>
              <a:t>Soutien à l’investissement (rénovation)</a:t>
            </a:r>
          </a:p>
          <a:p>
            <a:pPr marL="176213" lvl="1" indent="-176213" algn="just">
              <a:spcAft>
                <a:spcPts val="300"/>
              </a:spcAft>
              <a:buClr>
                <a:srgbClr val="503078"/>
              </a:buClr>
              <a:buSzPct val="105000"/>
              <a:buFont typeface="Tempus Sans ITC" panose="04020404030D07020202" pitchFamily="82" charset="0"/>
              <a:buChar char="/"/>
            </a:pPr>
            <a:r>
              <a:rPr lang="fr-FR" altLang="de-DE" sz="1200" noProof="1">
                <a:solidFill>
                  <a:srgbClr val="FFFFFF"/>
                </a:solidFill>
                <a:latin typeface="Calibri" panose="020F0502020204030204"/>
              </a:rPr>
              <a:t>Soutien à l’investissement à l’echelle de la collectivité (activités, etc…)</a:t>
            </a:r>
          </a:p>
        </p:txBody>
      </p:sp>
      <p:sp>
        <p:nvSpPr>
          <p:cNvPr id="28" name="Text Box 9">
            <a:extLst>
              <a:ext uri="{FF2B5EF4-FFF2-40B4-BE49-F238E27FC236}">
                <a16:creationId xmlns:a16="http://schemas.microsoft.com/office/drawing/2014/main" id="{D251A71D-A08A-4125-BDDD-C3D275203C55}"/>
              </a:ext>
            </a:extLst>
          </p:cNvPr>
          <p:cNvSpPr txBox="1">
            <a:spLocks noChangeArrowheads="1"/>
          </p:cNvSpPr>
          <p:nvPr/>
        </p:nvSpPr>
        <p:spPr bwMode="gray">
          <a:xfrm>
            <a:off x="2060422" y="1026378"/>
            <a:ext cx="3146400" cy="623201"/>
          </a:xfrm>
          <a:prstGeom prst="homePlate">
            <a:avLst>
              <a:gd name="adj" fmla="val 23776"/>
            </a:avLst>
          </a:prstGeom>
          <a:solidFill>
            <a:schemeClr val="bg2">
              <a:lumMod val="40000"/>
              <a:lumOff val="60000"/>
            </a:schemeClr>
          </a:solidFill>
          <a:ln>
            <a:noFill/>
          </a:ln>
          <a:effectLst/>
        </p:spPr>
        <p:txBody>
          <a:bodyPr wrap="square" lIns="108000" tIns="108000" rIns="108000" bIns="108000" anchor="ctr" anchorCtr="0"/>
          <a:lstStyle/>
          <a:p>
            <a:pPr>
              <a:spcAft>
                <a:spcPts val="300"/>
              </a:spcAft>
            </a:pPr>
            <a:r>
              <a:rPr lang="fr-FR" altLang="de-DE" sz="1400" b="1" noProof="1">
                <a:solidFill>
                  <a:srgbClr val="FFFFFF"/>
                </a:solidFill>
                <a:latin typeface="Calibri" panose="020F0502020204030204"/>
              </a:rPr>
              <a:t>DGCS / CNSA </a:t>
            </a:r>
          </a:p>
          <a:p>
            <a:pPr marL="176213" lvl="1" indent="-176213" algn="just">
              <a:spcBef>
                <a:spcPts val="300"/>
              </a:spcBef>
              <a:spcAft>
                <a:spcPts val="300"/>
              </a:spcAft>
              <a:buClr>
                <a:srgbClr val="503078"/>
              </a:buClr>
              <a:buSzPct val="105000"/>
              <a:buFont typeface="Tempus Sans ITC" panose="04020404030D07020202" pitchFamily="82" charset="0"/>
              <a:buChar char="/"/>
              <a:tabLst>
                <a:tab pos="176213" algn="l"/>
              </a:tabLst>
            </a:pPr>
            <a:r>
              <a:rPr lang="fr-FR" sz="1200">
                <a:solidFill>
                  <a:srgbClr val="FFFFFF"/>
                </a:solidFill>
                <a:latin typeface="Calibri" panose="020F0502020204030204"/>
              </a:rPr>
              <a:t>Création et financement des places d’HT</a:t>
            </a:r>
          </a:p>
        </p:txBody>
      </p:sp>
      <p:sp>
        <p:nvSpPr>
          <p:cNvPr id="31" name="Rectangle 30">
            <a:extLst>
              <a:ext uri="{FF2B5EF4-FFF2-40B4-BE49-F238E27FC236}">
                <a16:creationId xmlns:a16="http://schemas.microsoft.com/office/drawing/2014/main" id="{4ABA0B03-1EAC-4BA4-9A8C-AF911081CFDB}"/>
              </a:ext>
            </a:extLst>
          </p:cNvPr>
          <p:cNvSpPr>
            <a:spLocks/>
          </p:cNvSpPr>
          <p:nvPr/>
        </p:nvSpPr>
        <p:spPr>
          <a:xfrm rot="16200000">
            <a:off x="-1084727" y="3663235"/>
            <a:ext cx="5645157" cy="32446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fr-FR" sz="1600" cap="small">
                <a:solidFill>
                  <a:srgbClr val="FFFFFF"/>
                </a:solidFill>
                <a:latin typeface="Calibri" panose="020F0502020204030204"/>
              </a:rPr>
              <a:t>INSTITUTIONNELS</a:t>
            </a:r>
          </a:p>
        </p:txBody>
      </p:sp>
      <p:sp>
        <p:nvSpPr>
          <p:cNvPr id="32" name="Rectangle 31">
            <a:extLst>
              <a:ext uri="{FF2B5EF4-FFF2-40B4-BE49-F238E27FC236}">
                <a16:creationId xmlns:a16="http://schemas.microsoft.com/office/drawing/2014/main" id="{14AF0819-B248-44FF-B6EA-1289642F2E54}"/>
              </a:ext>
            </a:extLst>
          </p:cNvPr>
          <p:cNvSpPr>
            <a:spLocks/>
          </p:cNvSpPr>
          <p:nvPr/>
        </p:nvSpPr>
        <p:spPr>
          <a:xfrm rot="5400000">
            <a:off x="7626209" y="3657874"/>
            <a:ext cx="5638732" cy="34161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fr-FR" sz="1600" cap="small">
                <a:solidFill>
                  <a:srgbClr val="FFFFFF"/>
                </a:solidFill>
                <a:latin typeface="Calibri" panose="020F0502020204030204"/>
              </a:rPr>
              <a:t>ACTEURS PRIVES</a:t>
            </a:r>
          </a:p>
        </p:txBody>
      </p:sp>
      <p:grpSp>
        <p:nvGrpSpPr>
          <p:cNvPr id="79" name="3 Text Blocks + Influencing Arrows">
            <a:extLst>
              <a:ext uri="{FF2B5EF4-FFF2-40B4-BE49-F238E27FC236}">
                <a16:creationId xmlns:a16="http://schemas.microsoft.com/office/drawing/2014/main" id="{C5A3D2EA-3409-4670-9AAC-1FA2DD4A6F83}"/>
              </a:ext>
            </a:extLst>
          </p:cNvPr>
          <p:cNvGrpSpPr>
            <a:grpSpLocks noChangeAspect="1"/>
          </p:cNvGrpSpPr>
          <p:nvPr/>
        </p:nvGrpSpPr>
        <p:grpSpPr>
          <a:xfrm>
            <a:off x="6963298" y="1009313"/>
            <a:ext cx="3146428" cy="5666002"/>
            <a:chOff x="5833554" y="1752738"/>
            <a:chExt cx="3146428" cy="5666002"/>
          </a:xfrm>
        </p:grpSpPr>
        <p:sp>
          <p:nvSpPr>
            <p:cNvPr id="80" name="Text Placeholder 5">
              <a:extLst>
                <a:ext uri="{FF2B5EF4-FFF2-40B4-BE49-F238E27FC236}">
                  <a16:creationId xmlns:a16="http://schemas.microsoft.com/office/drawing/2014/main" id="{C7DB836B-A092-49FB-8A6A-6DA78C7A304F}"/>
                </a:ext>
              </a:extLst>
            </p:cNvPr>
            <p:cNvSpPr txBox="1">
              <a:spLocks/>
            </p:cNvSpPr>
            <p:nvPr/>
          </p:nvSpPr>
          <p:spPr>
            <a:xfrm flipH="1">
              <a:off x="5833557" y="3226335"/>
              <a:ext cx="3146425" cy="1330325"/>
            </a:xfrm>
            <a:prstGeom prst="homePlate">
              <a:avLst>
                <a:gd name="adj" fmla="val 22028"/>
              </a:avLst>
            </a:prstGeom>
            <a:solidFill>
              <a:schemeClr val="accent1"/>
            </a:solidFill>
            <a:ln>
              <a:noFill/>
            </a:ln>
          </p:spPr>
          <p:txBody>
            <a:bodyPr wrap="square" lIns="108000" tIns="108000" rIns="108000" bIns="108000" anchor="ctr" anchorCtr="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r" defTabSz="914400">
                <a:spcBef>
                  <a:spcPts val="0"/>
                </a:spcBef>
                <a:spcAft>
                  <a:spcPts val="300"/>
                </a:spcAft>
              </a:pPr>
              <a:r>
                <a:rPr lang="fr-FR" b="1" dirty="0">
                  <a:solidFill>
                    <a:srgbClr val="FFFFFF"/>
                  </a:solidFill>
                  <a:latin typeface="Calibri" panose="020F0502020204030204"/>
                </a:rPr>
                <a:t>Mutuelles et assurance (MGEN, AG2R, Pro BTP…)</a:t>
              </a:r>
            </a:p>
            <a:p>
              <a:pPr marL="176213" lvl="1" indent="-176213" defTabSz="914400">
                <a:spcBef>
                  <a:spcPts val="0"/>
                </a:spcBef>
                <a:spcAft>
                  <a:spcPts val="300"/>
                </a:spcAft>
                <a:buClr>
                  <a:srgbClr val="503078"/>
                </a:buClr>
                <a:buSzPct val="105000"/>
                <a:buFont typeface="Tempus Sans ITC" panose="04020404030D07020202" pitchFamily="82" charset="0"/>
                <a:buChar char="/"/>
              </a:pPr>
              <a:r>
                <a:rPr lang="fr-FR" sz="1200" dirty="0">
                  <a:solidFill>
                    <a:srgbClr val="FFFFFF"/>
                  </a:solidFill>
                  <a:latin typeface="Calibri" panose="020F0502020204030204"/>
                </a:rPr>
                <a:t>Mise à disposition de foncier / investissements immobiliers</a:t>
              </a:r>
            </a:p>
            <a:p>
              <a:pPr marL="176213" lvl="1" indent="-176213" defTabSz="914400">
                <a:spcBef>
                  <a:spcPts val="300"/>
                </a:spcBef>
                <a:buClr>
                  <a:srgbClr val="503078"/>
                </a:buClr>
                <a:buSzPct val="105000"/>
                <a:buFont typeface="Tempus Sans ITC" panose="04020404030D07020202" pitchFamily="82" charset="0"/>
                <a:buChar char="/"/>
              </a:pPr>
              <a:r>
                <a:rPr lang="fr-FR" sz="1200" dirty="0">
                  <a:solidFill>
                    <a:srgbClr val="FFFFFF"/>
                  </a:solidFill>
                  <a:latin typeface="Calibri" panose="020F0502020204030204"/>
                </a:rPr>
                <a:t>Prise en charge d’une partie des frais de séjour de leurs adhérents</a:t>
              </a:r>
            </a:p>
          </p:txBody>
        </p:sp>
        <p:sp>
          <p:nvSpPr>
            <p:cNvPr id="81" name="Text Placeholder 5">
              <a:extLst>
                <a:ext uri="{FF2B5EF4-FFF2-40B4-BE49-F238E27FC236}">
                  <a16:creationId xmlns:a16="http://schemas.microsoft.com/office/drawing/2014/main" id="{DDACEA91-4676-4082-90B1-BEF0B36647B0}"/>
                </a:ext>
              </a:extLst>
            </p:cNvPr>
            <p:cNvSpPr txBox="1">
              <a:spLocks/>
            </p:cNvSpPr>
            <p:nvPr/>
          </p:nvSpPr>
          <p:spPr>
            <a:xfrm flipH="1">
              <a:off x="5833554" y="6088415"/>
              <a:ext cx="3146425" cy="1330325"/>
            </a:xfrm>
            <a:prstGeom prst="homePlate">
              <a:avLst>
                <a:gd name="adj" fmla="val 22028"/>
              </a:avLst>
            </a:prstGeom>
            <a:solidFill>
              <a:schemeClr val="accent1"/>
            </a:solidFill>
            <a:ln>
              <a:noFill/>
            </a:ln>
          </p:spPr>
          <p:txBody>
            <a:bodyPr wrap="square" lIns="108000" tIns="108000" rIns="108000" bIns="108000" anchor="ctr" anchorCtr="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r" defTabSz="914400">
                <a:spcAft>
                  <a:spcPts val="300"/>
                </a:spcAft>
              </a:pPr>
              <a:r>
                <a:rPr lang="fr-FR" b="1">
                  <a:solidFill>
                    <a:srgbClr val="FFFFFF"/>
                  </a:solidFill>
                  <a:latin typeface="Calibri" panose="020F0502020204030204"/>
                </a:rPr>
                <a:t>Fonds d’investissement </a:t>
              </a:r>
            </a:p>
            <a:p>
              <a:pPr marL="176213" lvl="1" indent="-176213" defTabSz="914400">
                <a:spcBef>
                  <a:spcPts val="300"/>
                </a:spcBef>
                <a:spcAft>
                  <a:spcPts val="300"/>
                </a:spcAft>
                <a:buClr>
                  <a:srgbClr val="503078"/>
                </a:buClr>
                <a:buSzPct val="105000"/>
                <a:buFont typeface="Tempus Sans ITC" panose="04020404030D07020202" pitchFamily="82" charset="0"/>
                <a:buChar char="/"/>
              </a:pPr>
              <a:r>
                <a:rPr lang="fr-FR" sz="1200">
                  <a:solidFill>
                    <a:srgbClr val="FFFFFF"/>
                  </a:solidFill>
                  <a:latin typeface="Calibri" panose="020F0502020204030204"/>
                </a:rPr>
                <a:t>Soutien financier à l’investissement (foncier, rénovation et l’aménagement) </a:t>
              </a:r>
            </a:p>
          </p:txBody>
        </p:sp>
        <p:sp>
          <p:nvSpPr>
            <p:cNvPr id="82" name="Text Placeholder 5">
              <a:extLst>
                <a:ext uri="{FF2B5EF4-FFF2-40B4-BE49-F238E27FC236}">
                  <a16:creationId xmlns:a16="http://schemas.microsoft.com/office/drawing/2014/main" id="{A4DC6D49-821D-412E-A137-8F80E4A87DC4}"/>
                </a:ext>
              </a:extLst>
            </p:cNvPr>
            <p:cNvSpPr txBox="1">
              <a:spLocks/>
            </p:cNvSpPr>
            <p:nvPr/>
          </p:nvSpPr>
          <p:spPr>
            <a:xfrm flipH="1">
              <a:off x="5833556" y="1752738"/>
              <a:ext cx="3146425" cy="1377294"/>
            </a:xfrm>
            <a:prstGeom prst="homePlate">
              <a:avLst>
                <a:gd name="adj" fmla="val 22028"/>
              </a:avLst>
            </a:prstGeom>
            <a:solidFill>
              <a:schemeClr val="accent1"/>
            </a:solidFill>
            <a:ln>
              <a:noFill/>
            </a:ln>
          </p:spPr>
          <p:txBody>
            <a:bodyPr wrap="square" lIns="108000" tIns="108000" rIns="108000" bIns="108000" anchor="ctr" anchorCtr="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r" defTabSz="914400">
                <a:spcAft>
                  <a:spcPts val="300"/>
                </a:spcAft>
              </a:pPr>
              <a:r>
                <a:rPr lang="fr-FR" b="1" dirty="0">
                  <a:solidFill>
                    <a:srgbClr val="FFFFFF"/>
                  </a:solidFill>
                  <a:latin typeface="Calibri" panose="020F0502020204030204"/>
                </a:rPr>
                <a:t>Caisses de retraite (CARSAT, Agirc </a:t>
              </a:r>
              <a:r>
                <a:rPr lang="fr-FR" b="1" dirty="0" err="1">
                  <a:solidFill>
                    <a:srgbClr val="FFFFFF"/>
                  </a:solidFill>
                  <a:latin typeface="Calibri" panose="020F0502020204030204"/>
                </a:rPr>
                <a:t>Arcco</a:t>
              </a:r>
              <a:r>
                <a:rPr lang="fr-FR" b="1" dirty="0">
                  <a:solidFill>
                    <a:srgbClr val="FFFFFF"/>
                  </a:solidFill>
                  <a:latin typeface="Calibri" panose="020F0502020204030204"/>
                </a:rPr>
                <a:t>)</a:t>
              </a:r>
            </a:p>
            <a:p>
              <a:pPr marL="176213" lvl="1" indent="-176213" defTabSz="914400">
                <a:spcBef>
                  <a:spcPts val="300"/>
                </a:spcBef>
                <a:spcAft>
                  <a:spcPts val="300"/>
                </a:spcAft>
                <a:buClr>
                  <a:srgbClr val="503078"/>
                </a:buClr>
                <a:buSzPct val="105000"/>
                <a:buFont typeface="Tempus Sans ITC" panose="04020404030D07020202" pitchFamily="82" charset="0"/>
                <a:buChar char="/"/>
              </a:pPr>
              <a:r>
                <a:rPr lang="fr-FR" sz="1200" dirty="0">
                  <a:solidFill>
                    <a:srgbClr val="FFFFFF"/>
                  </a:solidFill>
                  <a:latin typeface="Calibri" panose="020F0502020204030204"/>
                </a:rPr>
                <a:t>Prise en charge d’une partie des frais de séjour des allocataires </a:t>
              </a:r>
              <a:r>
                <a:rPr lang="fr-FR" sz="1200" dirty="0">
                  <a:solidFill>
                    <a:srgbClr val="F4F3F0"/>
                  </a:solidFill>
                  <a:latin typeface="Calibri" panose="020F0502020204030204"/>
                </a:rPr>
                <a:t>en fonction du statut d'imposition</a:t>
              </a:r>
              <a:endParaRPr lang="fr-FR" sz="1200" dirty="0">
                <a:solidFill>
                  <a:srgbClr val="FFFFFF"/>
                </a:solidFill>
                <a:latin typeface="Calibri" panose="020F0502020204030204"/>
              </a:endParaRPr>
            </a:p>
          </p:txBody>
        </p:sp>
      </p:grpSp>
      <p:sp>
        <p:nvSpPr>
          <p:cNvPr id="85" name="Text Box 9">
            <a:extLst>
              <a:ext uri="{FF2B5EF4-FFF2-40B4-BE49-F238E27FC236}">
                <a16:creationId xmlns:a16="http://schemas.microsoft.com/office/drawing/2014/main" id="{ABDEC2C6-BFFD-4628-B0A6-921A8118C0C5}"/>
              </a:ext>
            </a:extLst>
          </p:cNvPr>
          <p:cNvSpPr txBox="1">
            <a:spLocks noChangeArrowheads="1"/>
          </p:cNvSpPr>
          <p:nvPr/>
        </p:nvSpPr>
        <p:spPr bwMode="gray">
          <a:xfrm>
            <a:off x="2056729" y="1732855"/>
            <a:ext cx="3147687" cy="743367"/>
          </a:xfrm>
          <a:prstGeom prst="homePlate">
            <a:avLst>
              <a:gd name="adj" fmla="val 23776"/>
            </a:avLst>
          </a:prstGeom>
          <a:solidFill>
            <a:schemeClr val="bg2">
              <a:lumMod val="40000"/>
              <a:lumOff val="60000"/>
            </a:schemeClr>
          </a:solidFill>
          <a:ln>
            <a:noFill/>
          </a:ln>
          <a:effectLst/>
        </p:spPr>
        <p:txBody>
          <a:bodyPr wrap="square" lIns="108000" tIns="108000" rIns="108000" bIns="108000" anchor="ctr" anchorCtr="0"/>
          <a:lstStyle/>
          <a:p>
            <a:pPr marL="0" lvl="1" algn="just">
              <a:spcAft>
                <a:spcPts val="300"/>
              </a:spcAft>
              <a:buClr>
                <a:srgbClr val="503078"/>
              </a:buClr>
              <a:buSzPct val="105000"/>
            </a:pPr>
            <a:r>
              <a:rPr lang="fr-FR" altLang="de-DE" sz="1400" b="1" noProof="1">
                <a:solidFill>
                  <a:srgbClr val="FFFFFF"/>
                </a:solidFill>
                <a:latin typeface="Calibri" panose="020F0502020204030204"/>
              </a:rPr>
              <a:t>Caisse nationale d’assurance maladie</a:t>
            </a:r>
          </a:p>
          <a:p>
            <a:pPr marL="176213" lvl="1" indent="-176213" algn="just">
              <a:spcAft>
                <a:spcPts val="300"/>
              </a:spcAft>
              <a:buClr>
                <a:srgbClr val="503078"/>
              </a:buClr>
              <a:buSzPct val="105000"/>
              <a:buFont typeface="Tempus Sans ITC" panose="04020404030D07020202" pitchFamily="82" charset="0"/>
              <a:buChar char="/"/>
            </a:pPr>
            <a:r>
              <a:rPr lang="fr-FR" sz="1200">
                <a:solidFill>
                  <a:srgbClr val="FFFFFF"/>
                </a:solidFill>
                <a:latin typeface="Calibri" panose="020F0502020204030204"/>
              </a:rPr>
              <a:t>Prise en charge des frais médico-sociaux des vacanciers</a:t>
            </a:r>
            <a:endParaRPr lang="fr-FR" altLang="de-DE" sz="1400" b="1" noProof="1">
              <a:solidFill>
                <a:srgbClr val="FFFFFF"/>
              </a:solidFill>
              <a:latin typeface="Calibri" panose="020F0502020204030204"/>
            </a:endParaRPr>
          </a:p>
        </p:txBody>
      </p:sp>
      <p:sp>
        <p:nvSpPr>
          <p:cNvPr id="86" name="Text Placeholder 5">
            <a:extLst>
              <a:ext uri="{FF2B5EF4-FFF2-40B4-BE49-F238E27FC236}">
                <a16:creationId xmlns:a16="http://schemas.microsoft.com/office/drawing/2014/main" id="{6F1E3FDC-DBEE-4F81-A8EA-6627C2DEC221}"/>
              </a:ext>
            </a:extLst>
          </p:cNvPr>
          <p:cNvSpPr txBox="1">
            <a:spLocks/>
          </p:cNvSpPr>
          <p:nvPr/>
        </p:nvSpPr>
        <p:spPr>
          <a:xfrm flipH="1">
            <a:off x="6963300" y="3909539"/>
            <a:ext cx="3146425" cy="1330325"/>
          </a:xfrm>
          <a:prstGeom prst="homePlate">
            <a:avLst>
              <a:gd name="adj" fmla="val 22028"/>
            </a:avLst>
          </a:prstGeom>
          <a:solidFill>
            <a:schemeClr val="accent1"/>
          </a:solidFill>
          <a:ln>
            <a:noFill/>
          </a:ln>
        </p:spPr>
        <p:txBody>
          <a:bodyPr wrap="square" lIns="108000" tIns="108000" rIns="108000" bIns="108000" anchor="ctr" anchorCtr="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r" defTabSz="914400">
              <a:spcAft>
                <a:spcPts val="300"/>
              </a:spcAft>
            </a:pPr>
            <a:r>
              <a:rPr lang="fr-FR" b="1">
                <a:solidFill>
                  <a:srgbClr val="FFFFFF"/>
                </a:solidFill>
                <a:latin typeface="Calibri" panose="020F0502020204030204"/>
              </a:rPr>
              <a:t>Associations et fondations (AFM, Fondation Crédit Agricole,…) </a:t>
            </a:r>
          </a:p>
          <a:p>
            <a:pPr marL="176213" lvl="1" indent="-176213" defTabSz="914400">
              <a:spcBef>
                <a:spcPts val="300"/>
              </a:spcBef>
              <a:spcAft>
                <a:spcPts val="300"/>
              </a:spcAft>
              <a:buClr>
                <a:srgbClr val="503078"/>
              </a:buClr>
              <a:buSzPct val="105000"/>
              <a:buFont typeface="Tempus Sans ITC" panose="04020404030D07020202" pitchFamily="82" charset="0"/>
              <a:buChar char="/"/>
            </a:pPr>
            <a:r>
              <a:rPr lang="fr-FR" sz="1200">
                <a:solidFill>
                  <a:srgbClr val="FFFFFF"/>
                </a:solidFill>
                <a:latin typeface="Calibri" panose="020F0502020204030204"/>
              </a:rPr>
              <a:t>Financement du fonctionnement de la structure</a:t>
            </a:r>
          </a:p>
        </p:txBody>
      </p:sp>
      <p:sp>
        <p:nvSpPr>
          <p:cNvPr id="47" name="Text Box 9">
            <a:extLst>
              <a:ext uri="{FF2B5EF4-FFF2-40B4-BE49-F238E27FC236}">
                <a16:creationId xmlns:a16="http://schemas.microsoft.com/office/drawing/2014/main" id="{F19106C8-B7BA-4843-883C-307798BAB91E}"/>
              </a:ext>
            </a:extLst>
          </p:cNvPr>
          <p:cNvSpPr txBox="1">
            <a:spLocks noChangeArrowheads="1"/>
          </p:cNvSpPr>
          <p:nvPr/>
        </p:nvSpPr>
        <p:spPr bwMode="gray">
          <a:xfrm>
            <a:off x="2056731" y="4688143"/>
            <a:ext cx="3147687" cy="859043"/>
          </a:xfrm>
          <a:prstGeom prst="homePlate">
            <a:avLst>
              <a:gd name="adj" fmla="val 23776"/>
            </a:avLst>
          </a:prstGeom>
          <a:solidFill>
            <a:schemeClr val="bg2">
              <a:lumMod val="40000"/>
              <a:lumOff val="60000"/>
            </a:schemeClr>
          </a:solidFill>
          <a:ln>
            <a:noFill/>
          </a:ln>
          <a:effectLst/>
        </p:spPr>
        <p:txBody>
          <a:bodyPr wrap="square" lIns="108000" tIns="108000" rIns="108000" bIns="108000" anchor="ctr" anchorCtr="0"/>
          <a:lstStyle/>
          <a:p>
            <a:pPr>
              <a:spcAft>
                <a:spcPts val="300"/>
              </a:spcAft>
            </a:pPr>
            <a:r>
              <a:rPr lang="fr-FR" altLang="de-DE" sz="1400" b="1" noProof="1">
                <a:solidFill>
                  <a:srgbClr val="FFFFFF"/>
                </a:solidFill>
                <a:latin typeface="Calibri" panose="020F0502020204030204"/>
              </a:rPr>
              <a:t>Municipalités</a:t>
            </a:r>
          </a:p>
          <a:p>
            <a:pPr marL="176213" lvl="1" indent="-176213" algn="just">
              <a:spcAft>
                <a:spcPts val="300"/>
              </a:spcAft>
              <a:buClr>
                <a:srgbClr val="503078"/>
              </a:buClr>
              <a:buSzPct val="105000"/>
              <a:buFont typeface="Tempus Sans ITC" panose="04020404030D07020202" pitchFamily="82" charset="0"/>
              <a:buChar char="/"/>
            </a:pPr>
            <a:r>
              <a:rPr lang="fr-FR" altLang="de-DE" sz="1200" noProof="1">
                <a:solidFill>
                  <a:srgbClr val="FFFFFF"/>
                </a:solidFill>
                <a:latin typeface="Calibri" panose="020F0502020204030204"/>
              </a:rPr>
              <a:t>Mise à disposition de terrains / bâtiments non utilisés </a:t>
            </a:r>
          </a:p>
        </p:txBody>
      </p:sp>
      <p:sp>
        <p:nvSpPr>
          <p:cNvPr id="48" name="Text Box 9">
            <a:extLst>
              <a:ext uri="{FF2B5EF4-FFF2-40B4-BE49-F238E27FC236}">
                <a16:creationId xmlns:a16="http://schemas.microsoft.com/office/drawing/2014/main" id="{FF51EC68-2140-475C-908F-F465A23659F5}"/>
              </a:ext>
            </a:extLst>
          </p:cNvPr>
          <p:cNvSpPr txBox="1">
            <a:spLocks noChangeArrowheads="1"/>
          </p:cNvSpPr>
          <p:nvPr/>
        </p:nvSpPr>
        <p:spPr bwMode="gray">
          <a:xfrm>
            <a:off x="2056727" y="5630460"/>
            <a:ext cx="3147687" cy="1022800"/>
          </a:xfrm>
          <a:prstGeom prst="homePlate">
            <a:avLst>
              <a:gd name="adj" fmla="val 23776"/>
            </a:avLst>
          </a:prstGeom>
          <a:solidFill>
            <a:schemeClr val="bg2">
              <a:lumMod val="40000"/>
              <a:lumOff val="60000"/>
            </a:schemeClr>
          </a:solidFill>
          <a:ln>
            <a:noFill/>
          </a:ln>
          <a:effectLst/>
        </p:spPr>
        <p:txBody>
          <a:bodyPr wrap="square" lIns="108000" tIns="108000" rIns="108000" bIns="108000" anchor="ctr" anchorCtr="0"/>
          <a:lstStyle/>
          <a:p>
            <a:pPr>
              <a:spcAft>
                <a:spcPts val="300"/>
              </a:spcAft>
            </a:pPr>
            <a:r>
              <a:rPr lang="fr-FR" altLang="de-DE" sz="1400" b="1" noProof="1">
                <a:solidFill>
                  <a:srgbClr val="FFFFFF"/>
                </a:solidFill>
                <a:latin typeface="Calibri" panose="020F0502020204030204"/>
              </a:rPr>
              <a:t>Agence Nationale des Chèques Vacances</a:t>
            </a:r>
          </a:p>
          <a:p>
            <a:pPr marL="176213" lvl="1" indent="-176213" algn="just">
              <a:spcAft>
                <a:spcPts val="300"/>
              </a:spcAft>
              <a:buClr>
                <a:srgbClr val="503078"/>
              </a:buClr>
              <a:buSzPct val="105000"/>
              <a:buFont typeface="Tempus Sans ITC" panose="04020404030D07020202" pitchFamily="82" charset="0"/>
              <a:buChar char="/"/>
            </a:pPr>
            <a:r>
              <a:rPr lang="fr-FR" altLang="de-DE" sz="1200" noProof="1">
                <a:solidFill>
                  <a:srgbClr val="FFFFFF"/>
                </a:solidFill>
                <a:latin typeface="Calibri" panose="020F0502020204030204"/>
              </a:rPr>
              <a:t>Financement des séjours de vacances</a:t>
            </a:r>
          </a:p>
          <a:p>
            <a:pPr marL="176213" lvl="1" indent="-176213" algn="just">
              <a:spcAft>
                <a:spcPts val="300"/>
              </a:spcAft>
              <a:buClr>
                <a:srgbClr val="503078"/>
              </a:buClr>
              <a:buSzPct val="105000"/>
              <a:buFont typeface="Tempus Sans ITC" panose="04020404030D07020202" pitchFamily="82" charset="0"/>
              <a:buChar char="/"/>
            </a:pPr>
            <a:r>
              <a:rPr lang="fr-FR" altLang="de-DE" sz="1200" noProof="1">
                <a:solidFill>
                  <a:srgbClr val="FFFFFF"/>
                </a:solidFill>
                <a:latin typeface="Calibri" panose="020F0502020204030204"/>
              </a:rPr>
              <a:t>Aides aux porteurs de projet</a:t>
            </a:r>
          </a:p>
        </p:txBody>
      </p:sp>
    </p:spTree>
    <p:extLst>
      <p:ext uri="{BB962C8B-B14F-4D97-AF65-F5344CB8AC3E}">
        <p14:creationId xmlns:p14="http://schemas.microsoft.com/office/powerpoint/2010/main" val="29070424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D39720F2-7EEA-4EE4-934D-7BB9FD708939}"/>
              </a:ext>
            </a:extLst>
          </p:cNvPr>
          <p:cNvGrpSpPr/>
          <p:nvPr/>
        </p:nvGrpSpPr>
        <p:grpSpPr>
          <a:xfrm>
            <a:off x="1663130" y="5967314"/>
            <a:ext cx="1095194" cy="784831"/>
            <a:chOff x="218441" y="6256779"/>
            <a:chExt cx="1501737" cy="1361260"/>
          </a:xfrm>
        </p:grpSpPr>
        <p:sp>
          <p:nvSpPr>
            <p:cNvPr id="9" name="Rectangle 8">
              <a:extLst>
                <a:ext uri="{FF2B5EF4-FFF2-40B4-BE49-F238E27FC236}">
                  <a16:creationId xmlns:a16="http://schemas.microsoft.com/office/drawing/2014/main" id="{823CD0C1-7E36-4F0B-A8B7-7AE2A4B2298F}"/>
                </a:ext>
              </a:extLst>
            </p:cNvPr>
            <p:cNvSpPr/>
            <p:nvPr/>
          </p:nvSpPr>
          <p:spPr>
            <a:xfrm>
              <a:off x="218441" y="6256779"/>
              <a:ext cx="1501737" cy="43086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700">
                  <a:solidFill>
                    <a:srgbClr val="503078"/>
                  </a:solidFill>
                  <a:latin typeface="Tahoma"/>
                </a:rPr>
                <a:t>Acteurs publics </a:t>
              </a:r>
            </a:p>
          </p:txBody>
        </p:sp>
        <p:sp>
          <p:nvSpPr>
            <p:cNvPr id="16" name="Rectangle 15">
              <a:extLst>
                <a:ext uri="{FF2B5EF4-FFF2-40B4-BE49-F238E27FC236}">
                  <a16:creationId xmlns:a16="http://schemas.microsoft.com/office/drawing/2014/main" id="{D9297EC2-7C7E-4765-817F-2EE8B0E548F8}"/>
                </a:ext>
              </a:extLst>
            </p:cNvPr>
            <p:cNvSpPr/>
            <p:nvPr/>
          </p:nvSpPr>
          <p:spPr>
            <a:xfrm>
              <a:off x="218441" y="7187172"/>
              <a:ext cx="1501736" cy="43086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700">
                  <a:solidFill>
                    <a:srgbClr val="503078"/>
                  </a:solidFill>
                  <a:latin typeface="Tahoma"/>
                </a:rPr>
                <a:t>Autres acteurs privés </a:t>
              </a:r>
            </a:p>
          </p:txBody>
        </p:sp>
        <p:sp>
          <p:nvSpPr>
            <p:cNvPr id="17" name="Rectangle 16">
              <a:extLst>
                <a:ext uri="{FF2B5EF4-FFF2-40B4-BE49-F238E27FC236}">
                  <a16:creationId xmlns:a16="http://schemas.microsoft.com/office/drawing/2014/main" id="{ABEF9040-2CDE-4D79-B122-DFB3F33943BC}"/>
                </a:ext>
              </a:extLst>
            </p:cNvPr>
            <p:cNvSpPr/>
            <p:nvPr/>
          </p:nvSpPr>
          <p:spPr>
            <a:xfrm>
              <a:off x="218441" y="6716549"/>
              <a:ext cx="1501737" cy="43086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700">
                  <a:solidFill>
                    <a:srgbClr val="503078"/>
                  </a:solidFill>
                  <a:latin typeface="Tahoma"/>
                </a:rPr>
                <a:t>Associations </a:t>
              </a:r>
            </a:p>
          </p:txBody>
        </p:sp>
      </p:grpSp>
      <p:sp>
        <p:nvSpPr>
          <p:cNvPr id="28" name="ZoneTexte 27">
            <a:extLst>
              <a:ext uri="{FF2B5EF4-FFF2-40B4-BE49-F238E27FC236}">
                <a16:creationId xmlns:a16="http://schemas.microsoft.com/office/drawing/2014/main" id="{97CAB7CD-7292-4BE1-8036-762E0EE006E0}"/>
              </a:ext>
            </a:extLst>
          </p:cNvPr>
          <p:cNvSpPr txBox="1"/>
          <p:nvPr/>
        </p:nvSpPr>
        <p:spPr>
          <a:xfrm>
            <a:off x="3197733" y="5951347"/>
            <a:ext cx="3790868" cy="261610"/>
          </a:xfrm>
          <a:prstGeom prst="rect">
            <a:avLst/>
          </a:prstGeom>
          <a:noFill/>
        </p:spPr>
        <p:txBody>
          <a:bodyPr wrap="square" rtlCol="0">
            <a:spAutoFit/>
          </a:bodyPr>
          <a:lstStyle/>
          <a:p>
            <a:pPr defTabSz="457200"/>
            <a:r>
              <a:rPr lang="fr-FR" sz="1050" b="1">
                <a:solidFill>
                  <a:srgbClr val="5F5F5F"/>
                </a:solidFill>
                <a:latin typeface="Calibri" panose="020F0502020204030204"/>
              </a:rPr>
              <a:t>Personnes en situation de handicap</a:t>
            </a:r>
          </a:p>
        </p:txBody>
      </p:sp>
      <p:sp>
        <p:nvSpPr>
          <p:cNvPr id="29" name="ZoneTexte 28">
            <a:extLst>
              <a:ext uri="{FF2B5EF4-FFF2-40B4-BE49-F238E27FC236}">
                <a16:creationId xmlns:a16="http://schemas.microsoft.com/office/drawing/2014/main" id="{5750053C-886F-44A9-BB17-0CC943A89C0F}"/>
              </a:ext>
            </a:extLst>
          </p:cNvPr>
          <p:cNvSpPr txBox="1"/>
          <p:nvPr/>
        </p:nvSpPr>
        <p:spPr>
          <a:xfrm>
            <a:off x="3197733" y="6129510"/>
            <a:ext cx="3790868" cy="261610"/>
          </a:xfrm>
          <a:prstGeom prst="rect">
            <a:avLst/>
          </a:prstGeom>
          <a:noFill/>
        </p:spPr>
        <p:txBody>
          <a:bodyPr wrap="square" rtlCol="0">
            <a:spAutoFit/>
          </a:bodyPr>
          <a:lstStyle/>
          <a:p>
            <a:pPr defTabSz="457200"/>
            <a:r>
              <a:rPr lang="fr-FR" sz="1050" b="1">
                <a:solidFill>
                  <a:srgbClr val="5F5F5F"/>
                </a:solidFill>
                <a:latin typeface="Calibri" panose="020F0502020204030204"/>
              </a:rPr>
              <a:t>Seniors dépendants </a:t>
            </a:r>
          </a:p>
        </p:txBody>
      </p:sp>
      <p:sp>
        <p:nvSpPr>
          <p:cNvPr id="32" name="ZoneTexte 31">
            <a:extLst>
              <a:ext uri="{FF2B5EF4-FFF2-40B4-BE49-F238E27FC236}">
                <a16:creationId xmlns:a16="http://schemas.microsoft.com/office/drawing/2014/main" id="{7FAB69E9-51ED-4F09-AE42-CDF55F983DF0}"/>
              </a:ext>
            </a:extLst>
          </p:cNvPr>
          <p:cNvSpPr txBox="1"/>
          <p:nvPr/>
        </p:nvSpPr>
        <p:spPr>
          <a:xfrm>
            <a:off x="3197733" y="6307673"/>
            <a:ext cx="3790868" cy="261610"/>
          </a:xfrm>
          <a:prstGeom prst="rect">
            <a:avLst/>
          </a:prstGeom>
          <a:noFill/>
        </p:spPr>
        <p:txBody>
          <a:bodyPr wrap="square" rtlCol="0">
            <a:spAutoFit/>
          </a:bodyPr>
          <a:lstStyle/>
          <a:p>
            <a:pPr defTabSz="457200"/>
            <a:r>
              <a:rPr lang="fr-FR" sz="1050" b="1">
                <a:solidFill>
                  <a:srgbClr val="5F5F5F"/>
                </a:solidFill>
                <a:latin typeface="Calibri" panose="020F0502020204030204"/>
              </a:rPr>
              <a:t>Pathologies spécifiques</a:t>
            </a:r>
          </a:p>
        </p:txBody>
      </p:sp>
      <p:sp>
        <p:nvSpPr>
          <p:cNvPr id="36" name="Titre 1">
            <a:extLst>
              <a:ext uri="{FF2B5EF4-FFF2-40B4-BE49-F238E27FC236}">
                <a16:creationId xmlns:a16="http://schemas.microsoft.com/office/drawing/2014/main" id="{1D619397-7AFA-43D6-BD0F-75435241C547}"/>
              </a:ext>
            </a:extLst>
          </p:cNvPr>
          <p:cNvSpPr txBox="1">
            <a:spLocks/>
          </p:cNvSpPr>
          <p:nvPr/>
        </p:nvSpPr>
        <p:spPr>
          <a:xfrm>
            <a:off x="1488600" y="283479"/>
            <a:ext cx="9690498" cy="487701"/>
          </a:xfrm>
          <a:prstGeom prst="rect">
            <a:avLst/>
          </a:prstGeom>
        </p:spPr>
        <p:txBody>
          <a:bodyPr vert="horz" lIns="108000" tIns="0" rIns="108000" bIns="0" rtlCol="0" anchor="ctr">
            <a:normAutofit/>
          </a:bodyPr>
          <a:lstStyle>
            <a:lvl1pPr algn="l" defTabSz="914400" rtl="0" eaLnBrk="1" latinLnBrk="0" hangingPunct="1">
              <a:lnSpc>
                <a:spcPct val="90000"/>
              </a:lnSpc>
              <a:spcBef>
                <a:spcPct val="0"/>
              </a:spcBef>
              <a:buNone/>
              <a:defRPr sz="1650" kern="1200" baseline="0">
                <a:solidFill>
                  <a:schemeClr val="bg2"/>
                </a:solidFill>
                <a:latin typeface="+mj-lt"/>
                <a:ea typeface="+mj-ea"/>
                <a:cs typeface="+mj-cs"/>
              </a:defRPr>
            </a:lvl1pPr>
          </a:lstStyle>
          <a:p>
            <a:r>
              <a:rPr lang="fr-FR" sz="2200">
                <a:solidFill>
                  <a:srgbClr val="503078"/>
                </a:solidFill>
                <a:latin typeface="Tahoma" panose="020B0604030504040204" pitchFamily="34" charset="0"/>
                <a:ea typeface="Tahoma" panose="020B0604030504040204" pitchFamily="34" charset="0"/>
                <a:cs typeface="Tahoma" panose="020B0604030504040204" pitchFamily="34" charset="0"/>
              </a:rPr>
              <a:t>Cartographie des acteurs de l’écosystème des séjours de répit</a:t>
            </a:r>
          </a:p>
        </p:txBody>
      </p:sp>
      <p:sp>
        <p:nvSpPr>
          <p:cNvPr id="37" name="Espace réservé du texte 2">
            <a:extLst>
              <a:ext uri="{FF2B5EF4-FFF2-40B4-BE49-F238E27FC236}">
                <a16:creationId xmlns:a16="http://schemas.microsoft.com/office/drawing/2014/main" id="{2A433FC5-EA2D-4845-A737-79D8F847BC5D}"/>
              </a:ext>
            </a:extLst>
          </p:cNvPr>
          <p:cNvSpPr txBox="1">
            <a:spLocks/>
          </p:cNvSpPr>
          <p:nvPr/>
        </p:nvSpPr>
        <p:spPr>
          <a:xfrm>
            <a:off x="1488601" y="89231"/>
            <a:ext cx="6126729" cy="260350"/>
          </a:xfrm>
          <a:prstGeom prst="rect">
            <a:avLst/>
          </a:prstGeom>
        </p:spPr>
        <p:txBody>
          <a:bodyPr vert="horz" lIns="108000" tIns="0" rIns="108000" bIns="0" rtlCol="0" anchor="b">
            <a:noAutofit/>
          </a:bodyPr>
          <a:lstStyle>
            <a:lvl1pPr marL="0" indent="0" algn="just" defTabSz="914400" rtl="0" eaLnBrk="1" latinLnBrk="0" hangingPunct="1">
              <a:lnSpc>
                <a:spcPct val="100000"/>
              </a:lnSpc>
              <a:spcBef>
                <a:spcPts val="0"/>
              </a:spcBef>
              <a:buFont typeface="Arial" panose="020B0604020202020204" pitchFamily="34" charset="0"/>
              <a:buNone/>
              <a:tabLst/>
              <a:defRPr sz="1000" i="0" kern="1200" cap="all" baseline="0">
                <a:solidFill>
                  <a:schemeClr val="accent4"/>
                </a:solidFill>
                <a:latin typeface="+mj-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0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r>
              <a:rPr lang="fr-FR">
                <a:solidFill>
                  <a:srgbClr val="938481"/>
                </a:solidFill>
                <a:latin typeface="Tahoma" panose="020B0604030504040204" pitchFamily="34" charset="0"/>
                <a:ea typeface="Tahoma" panose="020B0604030504040204" pitchFamily="34" charset="0"/>
                <a:cs typeface="Tahoma" panose="020B0604030504040204" pitchFamily="34" charset="0"/>
              </a:rPr>
              <a:t>État des lieux des modèles existants</a:t>
            </a:r>
          </a:p>
        </p:txBody>
      </p:sp>
      <p:sp>
        <p:nvSpPr>
          <p:cNvPr id="76" name="Ellipse 75">
            <a:extLst>
              <a:ext uri="{FF2B5EF4-FFF2-40B4-BE49-F238E27FC236}">
                <a16:creationId xmlns:a16="http://schemas.microsoft.com/office/drawing/2014/main" id="{0EDB25B0-5EF6-4538-B53C-52AD00F229AF}"/>
              </a:ext>
            </a:extLst>
          </p:cNvPr>
          <p:cNvSpPr/>
          <p:nvPr/>
        </p:nvSpPr>
        <p:spPr>
          <a:xfrm>
            <a:off x="3047183" y="6028704"/>
            <a:ext cx="108000" cy="108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sz="1400">
              <a:solidFill>
                <a:srgbClr val="FFFFFF"/>
              </a:solidFill>
              <a:latin typeface="Calibri" panose="020F0502020204030204"/>
            </a:endParaRPr>
          </a:p>
        </p:txBody>
      </p:sp>
      <p:sp>
        <p:nvSpPr>
          <p:cNvPr id="77" name="Ellipse 76">
            <a:extLst>
              <a:ext uri="{FF2B5EF4-FFF2-40B4-BE49-F238E27FC236}">
                <a16:creationId xmlns:a16="http://schemas.microsoft.com/office/drawing/2014/main" id="{FD6704F5-EC04-433E-BB46-58255C72DDC2}"/>
              </a:ext>
            </a:extLst>
          </p:cNvPr>
          <p:cNvSpPr/>
          <p:nvPr/>
        </p:nvSpPr>
        <p:spPr>
          <a:xfrm>
            <a:off x="3042666" y="6201583"/>
            <a:ext cx="108000" cy="108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sz="1400">
              <a:solidFill>
                <a:srgbClr val="FFFFFF"/>
              </a:solidFill>
              <a:latin typeface="Calibri" panose="020F0502020204030204"/>
            </a:endParaRPr>
          </a:p>
        </p:txBody>
      </p:sp>
      <p:sp>
        <p:nvSpPr>
          <p:cNvPr id="78" name="Ellipse 77">
            <a:extLst>
              <a:ext uri="{FF2B5EF4-FFF2-40B4-BE49-F238E27FC236}">
                <a16:creationId xmlns:a16="http://schemas.microsoft.com/office/drawing/2014/main" id="{A6F829B1-148C-4A11-A678-EA2E1FC9BFEB}"/>
              </a:ext>
            </a:extLst>
          </p:cNvPr>
          <p:cNvSpPr/>
          <p:nvPr/>
        </p:nvSpPr>
        <p:spPr>
          <a:xfrm>
            <a:off x="3049756" y="6374462"/>
            <a:ext cx="108000" cy="10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sz="1400">
              <a:solidFill>
                <a:srgbClr val="FFFFFF"/>
              </a:solidFill>
              <a:latin typeface="Calibri" panose="020F0502020204030204"/>
            </a:endParaRPr>
          </a:p>
        </p:txBody>
      </p:sp>
      <p:sp>
        <p:nvSpPr>
          <p:cNvPr id="18" name="Rectangle 17">
            <a:extLst>
              <a:ext uri="{FF2B5EF4-FFF2-40B4-BE49-F238E27FC236}">
                <a16:creationId xmlns:a16="http://schemas.microsoft.com/office/drawing/2014/main" id="{7D948054-D999-4AAE-8058-F4293DF91B00}"/>
              </a:ext>
            </a:extLst>
          </p:cNvPr>
          <p:cNvSpPr/>
          <p:nvPr/>
        </p:nvSpPr>
        <p:spPr>
          <a:xfrm>
            <a:off x="5517298" y="3179109"/>
            <a:ext cx="5180020" cy="2231922"/>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5" name="Rectangle 4">
            <a:extLst>
              <a:ext uri="{FF2B5EF4-FFF2-40B4-BE49-F238E27FC236}">
                <a16:creationId xmlns:a16="http://schemas.microsoft.com/office/drawing/2014/main" id="{CF177C2F-E05C-41C1-9E59-E097AB5F2EEA}"/>
              </a:ext>
            </a:extLst>
          </p:cNvPr>
          <p:cNvSpPr/>
          <p:nvPr/>
        </p:nvSpPr>
        <p:spPr>
          <a:xfrm>
            <a:off x="1583011" y="865140"/>
            <a:ext cx="3790868" cy="2231922"/>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6" name="ZoneTexte 5">
            <a:extLst>
              <a:ext uri="{FF2B5EF4-FFF2-40B4-BE49-F238E27FC236}">
                <a16:creationId xmlns:a16="http://schemas.microsoft.com/office/drawing/2014/main" id="{ACCED927-1866-4346-A7DD-B0AF0B363EA0}"/>
              </a:ext>
            </a:extLst>
          </p:cNvPr>
          <p:cNvSpPr txBox="1"/>
          <p:nvPr/>
        </p:nvSpPr>
        <p:spPr>
          <a:xfrm>
            <a:off x="1611077" y="865142"/>
            <a:ext cx="3790868" cy="646331"/>
          </a:xfrm>
          <a:prstGeom prst="rect">
            <a:avLst/>
          </a:prstGeom>
          <a:noFill/>
        </p:spPr>
        <p:txBody>
          <a:bodyPr wrap="square" rtlCol="0">
            <a:spAutoFit/>
          </a:bodyPr>
          <a:lstStyle/>
          <a:p>
            <a:pPr defTabSz="457200"/>
            <a:r>
              <a:rPr lang="fr-FR" sz="1200" b="1">
                <a:solidFill>
                  <a:srgbClr val="503078"/>
                </a:solidFill>
                <a:latin typeface="Calibri" panose="020F0502020204030204"/>
              </a:rPr>
              <a:t>Définition et orientation des politiques publiques en matière d’autonomie, de handicap et de répit (aidants, autonomie, handicap,…)</a:t>
            </a:r>
          </a:p>
        </p:txBody>
      </p:sp>
      <p:sp>
        <p:nvSpPr>
          <p:cNvPr id="7" name="Rectangle 6">
            <a:extLst>
              <a:ext uri="{FF2B5EF4-FFF2-40B4-BE49-F238E27FC236}">
                <a16:creationId xmlns:a16="http://schemas.microsoft.com/office/drawing/2014/main" id="{D3E77FF9-9BDC-4F01-96A4-7CE7026B54A2}"/>
              </a:ext>
            </a:extLst>
          </p:cNvPr>
          <p:cNvSpPr>
            <a:spLocks/>
          </p:cNvSpPr>
          <p:nvPr/>
        </p:nvSpPr>
        <p:spPr>
          <a:xfrm>
            <a:off x="1886812" y="1538503"/>
            <a:ext cx="1224000" cy="4176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CNSA</a:t>
            </a:r>
          </a:p>
        </p:txBody>
      </p:sp>
      <p:sp>
        <p:nvSpPr>
          <p:cNvPr id="10" name="Rectangle 9">
            <a:extLst>
              <a:ext uri="{FF2B5EF4-FFF2-40B4-BE49-F238E27FC236}">
                <a16:creationId xmlns:a16="http://schemas.microsoft.com/office/drawing/2014/main" id="{EBD1D166-EB8D-476F-9046-991C17A38620}"/>
              </a:ext>
            </a:extLst>
          </p:cNvPr>
          <p:cNvSpPr/>
          <p:nvPr/>
        </p:nvSpPr>
        <p:spPr>
          <a:xfrm>
            <a:off x="5517298" y="865140"/>
            <a:ext cx="5180020" cy="2231922"/>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11" name="ZoneTexte 10">
            <a:extLst>
              <a:ext uri="{FF2B5EF4-FFF2-40B4-BE49-F238E27FC236}">
                <a16:creationId xmlns:a16="http://schemas.microsoft.com/office/drawing/2014/main" id="{00A3BEA6-904F-4D5C-8937-A92F19DD7038}"/>
              </a:ext>
            </a:extLst>
          </p:cNvPr>
          <p:cNvSpPr txBox="1"/>
          <p:nvPr/>
        </p:nvSpPr>
        <p:spPr>
          <a:xfrm>
            <a:off x="6523987" y="871776"/>
            <a:ext cx="3471108" cy="276999"/>
          </a:xfrm>
          <a:prstGeom prst="rect">
            <a:avLst/>
          </a:prstGeom>
          <a:noFill/>
        </p:spPr>
        <p:txBody>
          <a:bodyPr wrap="square" rtlCol="0">
            <a:spAutoFit/>
          </a:bodyPr>
          <a:lstStyle/>
          <a:p>
            <a:pPr defTabSz="457200"/>
            <a:r>
              <a:rPr lang="fr-FR" sz="1200" b="1">
                <a:solidFill>
                  <a:srgbClr val="503078"/>
                </a:solidFill>
                <a:latin typeface="Calibri" panose="020F0502020204030204"/>
              </a:rPr>
              <a:t>Financement (investissement et /ou exploitation)</a:t>
            </a:r>
          </a:p>
        </p:txBody>
      </p:sp>
      <p:sp>
        <p:nvSpPr>
          <p:cNvPr id="12" name="Rectangle 11">
            <a:extLst>
              <a:ext uri="{FF2B5EF4-FFF2-40B4-BE49-F238E27FC236}">
                <a16:creationId xmlns:a16="http://schemas.microsoft.com/office/drawing/2014/main" id="{79F723FE-ABCB-4C55-A6CC-3AF17E094C84}"/>
              </a:ext>
            </a:extLst>
          </p:cNvPr>
          <p:cNvSpPr>
            <a:spLocks/>
          </p:cNvSpPr>
          <p:nvPr/>
        </p:nvSpPr>
        <p:spPr>
          <a:xfrm>
            <a:off x="6351073" y="1538503"/>
            <a:ext cx="1224000" cy="4176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Sécurité sociale</a:t>
            </a:r>
          </a:p>
        </p:txBody>
      </p:sp>
      <p:sp>
        <p:nvSpPr>
          <p:cNvPr id="13" name="Rectangle 12">
            <a:extLst>
              <a:ext uri="{FF2B5EF4-FFF2-40B4-BE49-F238E27FC236}">
                <a16:creationId xmlns:a16="http://schemas.microsoft.com/office/drawing/2014/main" id="{9E987D51-92A3-48F5-8D4C-26C2E71D0040}"/>
              </a:ext>
            </a:extLst>
          </p:cNvPr>
          <p:cNvSpPr/>
          <p:nvPr/>
        </p:nvSpPr>
        <p:spPr>
          <a:xfrm>
            <a:off x="7839160" y="1538503"/>
            <a:ext cx="1224000" cy="4176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Agirc Arrco</a:t>
            </a:r>
          </a:p>
        </p:txBody>
      </p:sp>
      <p:sp>
        <p:nvSpPr>
          <p:cNvPr id="14" name="Rectangle 13">
            <a:extLst>
              <a:ext uri="{FF2B5EF4-FFF2-40B4-BE49-F238E27FC236}">
                <a16:creationId xmlns:a16="http://schemas.microsoft.com/office/drawing/2014/main" id="{68DA49D9-0C61-4826-95D1-26CB96876E93}"/>
              </a:ext>
            </a:extLst>
          </p:cNvPr>
          <p:cNvSpPr>
            <a:spLocks/>
          </p:cNvSpPr>
          <p:nvPr/>
        </p:nvSpPr>
        <p:spPr>
          <a:xfrm>
            <a:off x="7842583" y="2889552"/>
            <a:ext cx="1224000" cy="4176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6462" rIns="0" bIns="66462" numCol="1" spcCol="0" rtlCol="0" fromWordArt="0" anchor="ctr" anchorCtr="0" forceAA="0" compatLnSpc="1">
            <a:prstTxWarp prst="textNoShape">
              <a:avLst/>
            </a:prstTxWarp>
            <a:noAutofit/>
          </a:bodyPr>
          <a:lstStyle/>
          <a:p>
            <a:pPr algn="ctr" defTabSz="844083">
              <a:defRPr/>
            </a:pPr>
            <a:r>
              <a:rPr lang="fr-FR" sz="1020">
                <a:solidFill>
                  <a:srgbClr val="503078"/>
                </a:solidFill>
                <a:latin typeface="Tahoma"/>
              </a:rPr>
              <a:t>MSA</a:t>
            </a:r>
          </a:p>
        </p:txBody>
      </p:sp>
      <p:sp>
        <p:nvSpPr>
          <p:cNvPr id="15" name="Rectangle 14">
            <a:extLst>
              <a:ext uri="{FF2B5EF4-FFF2-40B4-BE49-F238E27FC236}">
                <a16:creationId xmlns:a16="http://schemas.microsoft.com/office/drawing/2014/main" id="{D38B3D63-6464-4057-B10D-E0F604AAA54A}"/>
              </a:ext>
            </a:extLst>
          </p:cNvPr>
          <p:cNvSpPr>
            <a:spLocks/>
          </p:cNvSpPr>
          <p:nvPr/>
        </p:nvSpPr>
        <p:spPr>
          <a:xfrm>
            <a:off x="6334208" y="2888262"/>
            <a:ext cx="1224000" cy="4176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MGEN</a:t>
            </a:r>
          </a:p>
        </p:txBody>
      </p:sp>
      <p:sp>
        <p:nvSpPr>
          <p:cNvPr id="19" name="ZoneTexte 18">
            <a:extLst>
              <a:ext uri="{FF2B5EF4-FFF2-40B4-BE49-F238E27FC236}">
                <a16:creationId xmlns:a16="http://schemas.microsoft.com/office/drawing/2014/main" id="{5EA70E47-A494-4C01-BE0F-FA6A8B6B1048}"/>
              </a:ext>
            </a:extLst>
          </p:cNvPr>
          <p:cNvSpPr txBox="1"/>
          <p:nvPr/>
        </p:nvSpPr>
        <p:spPr>
          <a:xfrm>
            <a:off x="7352543" y="5407805"/>
            <a:ext cx="3790868" cy="276999"/>
          </a:xfrm>
          <a:prstGeom prst="rect">
            <a:avLst/>
          </a:prstGeom>
          <a:noFill/>
        </p:spPr>
        <p:txBody>
          <a:bodyPr wrap="square" rtlCol="0">
            <a:spAutoFit/>
          </a:bodyPr>
          <a:lstStyle/>
          <a:p>
            <a:pPr defTabSz="457200"/>
            <a:r>
              <a:rPr lang="fr-FR" sz="1200" b="1">
                <a:solidFill>
                  <a:srgbClr val="503078"/>
                </a:solidFill>
                <a:latin typeface="Calibri" panose="020F0502020204030204"/>
              </a:rPr>
              <a:t>Organisation de séjours de répit</a:t>
            </a:r>
          </a:p>
        </p:txBody>
      </p:sp>
      <p:sp>
        <p:nvSpPr>
          <p:cNvPr id="20" name="Rectangle 19">
            <a:extLst>
              <a:ext uri="{FF2B5EF4-FFF2-40B4-BE49-F238E27FC236}">
                <a16:creationId xmlns:a16="http://schemas.microsoft.com/office/drawing/2014/main" id="{E37E6874-E166-4931-99D5-96D6CB9C5AF9}"/>
              </a:ext>
            </a:extLst>
          </p:cNvPr>
          <p:cNvSpPr>
            <a:spLocks/>
          </p:cNvSpPr>
          <p:nvPr/>
        </p:nvSpPr>
        <p:spPr>
          <a:xfrm>
            <a:off x="7839160" y="4149945"/>
            <a:ext cx="1224000" cy="417600"/>
          </a:xfrm>
          <a:prstGeom prst="rect">
            <a:avLst/>
          </a:prstGeom>
          <a:solidFill>
            <a:srgbClr val="F6F0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Vacances répit Famille</a:t>
            </a:r>
          </a:p>
        </p:txBody>
      </p:sp>
      <p:sp>
        <p:nvSpPr>
          <p:cNvPr id="24" name="Rectangle 23">
            <a:extLst>
              <a:ext uri="{FF2B5EF4-FFF2-40B4-BE49-F238E27FC236}">
                <a16:creationId xmlns:a16="http://schemas.microsoft.com/office/drawing/2014/main" id="{E1162777-AC74-4754-9806-9D589FBDD894}"/>
              </a:ext>
            </a:extLst>
          </p:cNvPr>
          <p:cNvSpPr>
            <a:spLocks/>
          </p:cNvSpPr>
          <p:nvPr/>
        </p:nvSpPr>
        <p:spPr>
          <a:xfrm>
            <a:off x="7839160" y="3506451"/>
            <a:ext cx="1224000" cy="417600"/>
          </a:xfrm>
          <a:prstGeom prst="rect">
            <a:avLst/>
          </a:prstGeom>
          <a:solidFill>
            <a:srgbClr val="F6F0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Centre les Bruyères</a:t>
            </a:r>
          </a:p>
        </p:txBody>
      </p:sp>
      <p:sp>
        <p:nvSpPr>
          <p:cNvPr id="38" name="Rectangle 37">
            <a:extLst>
              <a:ext uri="{FF2B5EF4-FFF2-40B4-BE49-F238E27FC236}">
                <a16:creationId xmlns:a16="http://schemas.microsoft.com/office/drawing/2014/main" id="{BFBA53BF-03DF-42AB-904D-A8D111638115}"/>
              </a:ext>
            </a:extLst>
          </p:cNvPr>
          <p:cNvSpPr/>
          <p:nvPr/>
        </p:nvSpPr>
        <p:spPr>
          <a:xfrm>
            <a:off x="7839160" y="2075757"/>
            <a:ext cx="1224000" cy="4176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CARSAT</a:t>
            </a:r>
          </a:p>
        </p:txBody>
      </p:sp>
      <p:cxnSp>
        <p:nvCxnSpPr>
          <p:cNvPr id="39" name="Connecteur droit 38">
            <a:extLst>
              <a:ext uri="{FF2B5EF4-FFF2-40B4-BE49-F238E27FC236}">
                <a16:creationId xmlns:a16="http://schemas.microsoft.com/office/drawing/2014/main" id="{2D4D025A-C398-409D-9E67-7E025049F833}"/>
              </a:ext>
            </a:extLst>
          </p:cNvPr>
          <p:cNvCxnSpPr>
            <a:cxnSpLocks/>
          </p:cNvCxnSpPr>
          <p:nvPr/>
        </p:nvCxnSpPr>
        <p:spPr>
          <a:xfrm>
            <a:off x="6954807" y="3291959"/>
            <a:ext cx="0" cy="171391"/>
          </a:xfrm>
          <a:prstGeom prst="line">
            <a:avLst/>
          </a:prstGeom>
          <a:ln w="28575" cap="flat" cmpd="sng" algn="ctr">
            <a:solidFill>
              <a:schemeClr val="accent1">
                <a:lumMod val="100000"/>
              </a:schemeClr>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Connecteur droit 41">
            <a:extLst>
              <a:ext uri="{FF2B5EF4-FFF2-40B4-BE49-F238E27FC236}">
                <a16:creationId xmlns:a16="http://schemas.microsoft.com/office/drawing/2014/main" id="{EF06AE9A-FFAD-47E8-B421-78B045BE871E}"/>
              </a:ext>
            </a:extLst>
          </p:cNvPr>
          <p:cNvCxnSpPr>
            <a:cxnSpLocks/>
          </p:cNvCxnSpPr>
          <p:nvPr/>
        </p:nvCxnSpPr>
        <p:spPr>
          <a:xfrm>
            <a:off x="6954807" y="3830984"/>
            <a:ext cx="0" cy="171391"/>
          </a:xfrm>
          <a:prstGeom prst="line">
            <a:avLst/>
          </a:prstGeom>
          <a:ln w="28575" cap="flat" cmpd="sng" algn="ctr">
            <a:solidFill>
              <a:schemeClr val="accent1">
                <a:lumMod val="100000"/>
              </a:schemeClr>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BB04611D-5E8D-43AA-8583-30EBF68704FB}"/>
              </a:ext>
            </a:extLst>
          </p:cNvPr>
          <p:cNvSpPr>
            <a:spLocks/>
          </p:cNvSpPr>
          <p:nvPr/>
        </p:nvSpPr>
        <p:spPr>
          <a:xfrm>
            <a:off x="6335131" y="4129868"/>
            <a:ext cx="1224000" cy="417600"/>
          </a:xfrm>
          <a:prstGeom prst="rect">
            <a:avLst/>
          </a:prstGeom>
          <a:solidFill>
            <a:srgbClr val="F6F0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Réseau passerelles</a:t>
            </a:r>
          </a:p>
        </p:txBody>
      </p:sp>
      <p:sp>
        <p:nvSpPr>
          <p:cNvPr id="43" name="Rectangle 42">
            <a:extLst>
              <a:ext uri="{FF2B5EF4-FFF2-40B4-BE49-F238E27FC236}">
                <a16:creationId xmlns:a16="http://schemas.microsoft.com/office/drawing/2014/main" id="{4BF462FE-E71D-41C7-9D67-FDB866387264}"/>
              </a:ext>
            </a:extLst>
          </p:cNvPr>
          <p:cNvSpPr/>
          <p:nvPr/>
        </p:nvSpPr>
        <p:spPr>
          <a:xfrm>
            <a:off x="1583011" y="3179787"/>
            <a:ext cx="3790868" cy="2231922"/>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cxnSp>
        <p:nvCxnSpPr>
          <p:cNvPr id="45" name="Connecteur droit 44">
            <a:extLst>
              <a:ext uri="{FF2B5EF4-FFF2-40B4-BE49-F238E27FC236}">
                <a16:creationId xmlns:a16="http://schemas.microsoft.com/office/drawing/2014/main" id="{432242F0-D907-45E9-936C-63DBDDFB67FD}"/>
              </a:ext>
            </a:extLst>
          </p:cNvPr>
          <p:cNvCxnSpPr>
            <a:cxnSpLocks/>
          </p:cNvCxnSpPr>
          <p:nvPr/>
        </p:nvCxnSpPr>
        <p:spPr>
          <a:xfrm>
            <a:off x="8139436" y="4520148"/>
            <a:ext cx="0" cy="700329"/>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3FCE06D0-EE6F-40AA-BED1-4E299FFCD105}"/>
              </a:ext>
            </a:extLst>
          </p:cNvPr>
          <p:cNvCxnSpPr/>
          <p:nvPr/>
        </p:nvCxnSpPr>
        <p:spPr>
          <a:xfrm>
            <a:off x="8139436" y="4734701"/>
            <a:ext cx="228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Connecteur droit 48">
            <a:extLst>
              <a:ext uri="{FF2B5EF4-FFF2-40B4-BE49-F238E27FC236}">
                <a16:creationId xmlns:a16="http://schemas.microsoft.com/office/drawing/2014/main" id="{18D9CFD0-938E-4351-A435-80C530C7260F}"/>
              </a:ext>
            </a:extLst>
          </p:cNvPr>
          <p:cNvCxnSpPr/>
          <p:nvPr/>
        </p:nvCxnSpPr>
        <p:spPr>
          <a:xfrm>
            <a:off x="8139436" y="4972826"/>
            <a:ext cx="228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Connecteur droit 49">
            <a:extLst>
              <a:ext uri="{FF2B5EF4-FFF2-40B4-BE49-F238E27FC236}">
                <a16:creationId xmlns:a16="http://schemas.microsoft.com/office/drawing/2014/main" id="{166E7C78-0EC0-4FB5-BBFE-9890B2DC783F}"/>
              </a:ext>
            </a:extLst>
          </p:cNvPr>
          <p:cNvCxnSpPr/>
          <p:nvPr/>
        </p:nvCxnSpPr>
        <p:spPr>
          <a:xfrm>
            <a:off x="8139436" y="5220476"/>
            <a:ext cx="228600" cy="0"/>
          </a:xfrm>
          <a:prstGeom prst="line">
            <a:avLst/>
          </a:prstGeom>
        </p:spPr>
        <p:style>
          <a:lnRef idx="1">
            <a:schemeClr val="accent1"/>
          </a:lnRef>
          <a:fillRef idx="0">
            <a:schemeClr val="accent1"/>
          </a:fillRef>
          <a:effectRef idx="0">
            <a:schemeClr val="accent1"/>
          </a:effectRef>
          <a:fontRef idx="minor">
            <a:schemeClr val="tx1"/>
          </a:fontRef>
        </p:style>
      </p:cxnSp>
      <p:sp>
        <p:nvSpPr>
          <p:cNvPr id="51" name="ZoneTexte 50">
            <a:extLst>
              <a:ext uri="{FF2B5EF4-FFF2-40B4-BE49-F238E27FC236}">
                <a16:creationId xmlns:a16="http://schemas.microsoft.com/office/drawing/2014/main" id="{349CCE66-53AC-44B2-A14B-310B085806A6}"/>
              </a:ext>
            </a:extLst>
          </p:cNvPr>
          <p:cNvSpPr txBox="1"/>
          <p:nvPr/>
        </p:nvSpPr>
        <p:spPr>
          <a:xfrm>
            <a:off x="8333260" y="4596075"/>
            <a:ext cx="3790868" cy="261610"/>
          </a:xfrm>
          <a:prstGeom prst="rect">
            <a:avLst/>
          </a:prstGeom>
          <a:noFill/>
        </p:spPr>
        <p:txBody>
          <a:bodyPr wrap="square" rtlCol="0">
            <a:spAutoFit/>
          </a:bodyPr>
          <a:lstStyle/>
          <a:p>
            <a:pPr defTabSz="457200"/>
            <a:r>
              <a:rPr lang="fr-FR" sz="1050" dirty="0">
                <a:solidFill>
                  <a:srgbClr val="503078"/>
                </a:solidFill>
                <a:latin typeface="Calibri" panose="020F0502020204030204"/>
              </a:rPr>
              <a:t>VRF Touraine</a:t>
            </a:r>
          </a:p>
        </p:txBody>
      </p:sp>
      <p:sp>
        <p:nvSpPr>
          <p:cNvPr id="52" name="ZoneTexte 51">
            <a:extLst>
              <a:ext uri="{FF2B5EF4-FFF2-40B4-BE49-F238E27FC236}">
                <a16:creationId xmlns:a16="http://schemas.microsoft.com/office/drawing/2014/main" id="{94D308AC-4B52-4E1E-B0B7-8A8C71168B20}"/>
              </a:ext>
            </a:extLst>
          </p:cNvPr>
          <p:cNvSpPr txBox="1"/>
          <p:nvPr/>
        </p:nvSpPr>
        <p:spPr>
          <a:xfrm>
            <a:off x="8333260" y="4827211"/>
            <a:ext cx="3790868" cy="261610"/>
          </a:xfrm>
          <a:prstGeom prst="rect">
            <a:avLst/>
          </a:prstGeom>
          <a:noFill/>
        </p:spPr>
        <p:txBody>
          <a:bodyPr wrap="square" rtlCol="0">
            <a:spAutoFit/>
          </a:bodyPr>
          <a:lstStyle/>
          <a:p>
            <a:pPr defTabSz="457200"/>
            <a:r>
              <a:rPr lang="fr-FR" sz="1050" dirty="0">
                <a:solidFill>
                  <a:srgbClr val="503078"/>
                </a:solidFill>
                <a:latin typeface="Calibri" panose="020F0502020204030204"/>
              </a:rPr>
              <a:t>VRF Salamandre</a:t>
            </a:r>
          </a:p>
        </p:txBody>
      </p:sp>
      <p:sp>
        <p:nvSpPr>
          <p:cNvPr id="53" name="ZoneTexte 52">
            <a:extLst>
              <a:ext uri="{FF2B5EF4-FFF2-40B4-BE49-F238E27FC236}">
                <a16:creationId xmlns:a16="http://schemas.microsoft.com/office/drawing/2014/main" id="{3D99DF2E-26A0-4016-8E1A-A310548B74E0}"/>
              </a:ext>
            </a:extLst>
          </p:cNvPr>
          <p:cNvSpPr txBox="1"/>
          <p:nvPr/>
        </p:nvSpPr>
        <p:spPr>
          <a:xfrm>
            <a:off x="8333260" y="5054392"/>
            <a:ext cx="3790868" cy="261610"/>
          </a:xfrm>
          <a:prstGeom prst="rect">
            <a:avLst/>
          </a:prstGeom>
          <a:noFill/>
        </p:spPr>
        <p:txBody>
          <a:bodyPr wrap="square" rtlCol="0">
            <a:spAutoFit/>
          </a:bodyPr>
          <a:lstStyle/>
          <a:p>
            <a:pPr defTabSz="457200"/>
            <a:r>
              <a:rPr lang="fr-FR" sz="1050" dirty="0">
                <a:solidFill>
                  <a:srgbClr val="503078"/>
                </a:solidFill>
                <a:latin typeface="Calibri" panose="020F0502020204030204"/>
              </a:rPr>
              <a:t>VRF Les </a:t>
            </a:r>
            <a:r>
              <a:rPr lang="fr-FR" sz="1050" dirty="0" err="1">
                <a:solidFill>
                  <a:srgbClr val="503078"/>
                </a:solidFill>
                <a:latin typeface="Calibri" panose="020F0502020204030204"/>
              </a:rPr>
              <a:t>Cizes</a:t>
            </a:r>
            <a:endParaRPr lang="fr-FR" sz="1050" dirty="0">
              <a:solidFill>
                <a:srgbClr val="503078"/>
              </a:solidFill>
              <a:latin typeface="Calibri" panose="020F0502020204030204"/>
            </a:endParaRPr>
          </a:p>
        </p:txBody>
      </p:sp>
      <p:sp>
        <p:nvSpPr>
          <p:cNvPr id="54" name="Rectangle 53">
            <a:extLst>
              <a:ext uri="{FF2B5EF4-FFF2-40B4-BE49-F238E27FC236}">
                <a16:creationId xmlns:a16="http://schemas.microsoft.com/office/drawing/2014/main" id="{F7A4CBCF-8A96-43C0-943E-E501446A2991}"/>
              </a:ext>
            </a:extLst>
          </p:cNvPr>
          <p:cNvSpPr>
            <a:spLocks/>
          </p:cNvSpPr>
          <p:nvPr/>
        </p:nvSpPr>
        <p:spPr>
          <a:xfrm>
            <a:off x="6334206" y="4750671"/>
            <a:ext cx="1224000" cy="417600"/>
          </a:xfrm>
          <a:prstGeom prst="rect">
            <a:avLst/>
          </a:prstGeom>
          <a:solidFill>
            <a:srgbClr val="F6F0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Les bobos à la ferme</a:t>
            </a:r>
          </a:p>
        </p:txBody>
      </p:sp>
      <p:cxnSp>
        <p:nvCxnSpPr>
          <p:cNvPr id="55" name="Connecteur droit 54">
            <a:extLst>
              <a:ext uri="{FF2B5EF4-FFF2-40B4-BE49-F238E27FC236}">
                <a16:creationId xmlns:a16="http://schemas.microsoft.com/office/drawing/2014/main" id="{22F4B41F-41F2-401D-8F6A-7B1E4FD29246}"/>
              </a:ext>
            </a:extLst>
          </p:cNvPr>
          <p:cNvCxnSpPr>
            <a:cxnSpLocks/>
          </p:cNvCxnSpPr>
          <p:nvPr/>
        </p:nvCxnSpPr>
        <p:spPr>
          <a:xfrm>
            <a:off x="6954807" y="4357853"/>
            <a:ext cx="0" cy="171391"/>
          </a:xfrm>
          <a:prstGeom prst="line">
            <a:avLst/>
          </a:prstGeom>
          <a:ln w="28575" cap="flat" cmpd="sng" algn="ctr">
            <a:solidFill>
              <a:schemeClr val="accent1">
                <a:lumMod val="100000"/>
              </a:schemeClr>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13EFE19D-CD48-48C8-B84D-7C127D74316E}"/>
              </a:ext>
            </a:extLst>
          </p:cNvPr>
          <p:cNvSpPr>
            <a:spLocks/>
          </p:cNvSpPr>
          <p:nvPr/>
        </p:nvSpPr>
        <p:spPr>
          <a:xfrm>
            <a:off x="9327249" y="2888262"/>
            <a:ext cx="1224000" cy="417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6462" rIns="0" bIns="66462" numCol="1" spcCol="0" rtlCol="0" fromWordArt="0" anchor="ctr" anchorCtr="0" forceAA="0" compatLnSpc="1">
            <a:prstTxWarp prst="textNoShape">
              <a:avLst/>
            </a:prstTxWarp>
            <a:noAutofit/>
          </a:bodyPr>
          <a:lstStyle/>
          <a:p>
            <a:pPr algn="ctr" defTabSz="844083">
              <a:defRPr/>
            </a:pPr>
            <a:r>
              <a:rPr lang="fr-FR" sz="1020">
                <a:solidFill>
                  <a:srgbClr val="503078"/>
                </a:solidFill>
                <a:latin typeface="Tahoma"/>
              </a:rPr>
              <a:t>ANCV</a:t>
            </a:r>
          </a:p>
        </p:txBody>
      </p:sp>
      <p:sp>
        <p:nvSpPr>
          <p:cNvPr id="57" name="Rectangle 56">
            <a:extLst>
              <a:ext uri="{FF2B5EF4-FFF2-40B4-BE49-F238E27FC236}">
                <a16:creationId xmlns:a16="http://schemas.microsoft.com/office/drawing/2014/main" id="{89D28541-DACF-4507-A5C5-14596AFE008A}"/>
              </a:ext>
            </a:extLst>
          </p:cNvPr>
          <p:cNvSpPr/>
          <p:nvPr/>
        </p:nvSpPr>
        <p:spPr>
          <a:xfrm>
            <a:off x="4861487" y="2610842"/>
            <a:ext cx="1224001" cy="4176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ARS</a:t>
            </a:r>
          </a:p>
        </p:txBody>
      </p:sp>
      <p:sp>
        <p:nvSpPr>
          <p:cNvPr id="58" name="Rectangle 57">
            <a:extLst>
              <a:ext uri="{FF2B5EF4-FFF2-40B4-BE49-F238E27FC236}">
                <a16:creationId xmlns:a16="http://schemas.microsoft.com/office/drawing/2014/main" id="{D5AA1DCC-C4A7-4E31-9AE5-AA961B87EDB1}"/>
              </a:ext>
            </a:extLst>
          </p:cNvPr>
          <p:cNvSpPr>
            <a:spLocks/>
          </p:cNvSpPr>
          <p:nvPr/>
        </p:nvSpPr>
        <p:spPr>
          <a:xfrm>
            <a:off x="4862986" y="1538503"/>
            <a:ext cx="1224000" cy="4176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Conseils départementaux</a:t>
            </a:r>
          </a:p>
        </p:txBody>
      </p:sp>
      <p:sp>
        <p:nvSpPr>
          <p:cNvPr id="46" name="Rectangle 45">
            <a:extLst>
              <a:ext uri="{FF2B5EF4-FFF2-40B4-BE49-F238E27FC236}">
                <a16:creationId xmlns:a16="http://schemas.microsoft.com/office/drawing/2014/main" id="{C9A9CFBD-1183-48E3-B9F6-DC73C1AAD5BB}"/>
              </a:ext>
            </a:extLst>
          </p:cNvPr>
          <p:cNvSpPr/>
          <p:nvPr/>
        </p:nvSpPr>
        <p:spPr>
          <a:xfrm>
            <a:off x="4862986" y="2072910"/>
            <a:ext cx="1224000" cy="4176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Municipalités</a:t>
            </a:r>
          </a:p>
        </p:txBody>
      </p:sp>
      <p:sp>
        <p:nvSpPr>
          <p:cNvPr id="47" name="ZoneTexte 46">
            <a:extLst>
              <a:ext uri="{FF2B5EF4-FFF2-40B4-BE49-F238E27FC236}">
                <a16:creationId xmlns:a16="http://schemas.microsoft.com/office/drawing/2014/main" id="{7A8C6A1F-563D-435E-B2AC-A62474D03324}"/>
              </a:ext>
            </a:extLst>
          </p:cNvPr>
          <p:cNvSpPr txBox="1"/>
          <p:nvPr/>
        </p:nvSpPr>
        <p:spPr>
          <a:xfrm>
            <a:off x="2154516" y="5399097"/>
            <a:ext cx="3790868" cy="276999"/>
          </a:xfrm>
          <a:prstGeom prst="rect">
            <a:avLst/>
          </a:prstGeom>
          <a:noFill/>
        </p:spPr>
        <p:txBody>
          <a:bodyPr wrap="square" rtlCol="0">
            <a:spAutoFit/>
          </a:bodyPr>
          <a:lstStyle/>
          <a:p>
            <a:pPr defTabSz="457200"/>
            <a:r>
              <a:rPr lang="fr-FR" sz="1200" b="1">
                <a:solidFill>
                  <a:srgbClr val="503078"/>
                </a:solidFill>
                <a:latin typeface="Calibri" panose="020F0502020204030204"/>
              </a:rPr>
              <a:t>Information / Orientation des personnes</a:t>
            </a:r>
          </a:p>
        </p:txBody>
      </p:sp>
      <p:sp>
        <p:nvSpPr>
          <p:cNvPr id="59" name="Rectangle 58">
            <a:extLst>
              <a:ext uri="{FF2B5EF4-FFF2-40B4-BE49-F238E27FC236}">
                <a16:creationId xmlns:a16="http://schemas.microsoft.com/office/drawing/2014/main" id="{880600A1-2370-4B24-9950-5C6EFA0940D4}"/>
              </a:ext>
            </a:extLst>
          </p:cNvPr>
          <p:cNvSpPr>
            <a:spLocks/>
          </p:cNvSpPr>
          <p:nvPr/>
        </p:nvSpPr>
        <p:spPr>
          <a:xfrm>
            <a:off x="1886812" y="4140507"/>
            <a:ext cx="1224000" cy="4176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CLIC</a:t>
            </a:r>
          </a:p>
        </p:txBody>
      </p:sp>
      <p:sp>
        <p:nvSpPr>
          <p:cNvPr id="61" name="Rectangle 60">
            <a:extLst>
              <a:ext uri="{FF2B5EF4-FFF2-40B4-BE49-F238E27FC236}">
                <a16:creationId xmlns:a16="http://schemas.microsoft.com/office/drawing/2014/main" id="{C9044F13-5002-466B-8744-6E7FF10BCE2B}"/>
              </a:ext>
            </a:extLst>
          </p:cNvPr>
          <p:cNvSpPr>
            <a:spLocks/>
          </p:cNvSpPr>
          <p:nvPr/>
        </p:nvSpPr>
        <p:spPr>
          <a:xfrm>
            <a:off x="9326723" y="4151102"/>
            <a:ext cx="1224000" cy="417600"/>
          </a:xfrm>
          <a:prstGeom prst="rect">
            <a:avLst/>
          </a:prstGeom>
          <a:solidFill>
            <a:srgbClr val="F6F0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Association France Alzheimer</a:t>
            </a:r>
          </a:p>
        </p:txBody>
      </p:sp>
      <p:sp>
        <p:nvSpPr>
          <p:cNvPr id="62" name="Rectangle 61">
            <a:extLst>
              <a:ext uri="{FF2B5EF4-FFF2-40B4-BE49-F238E27FC236}">
                <a16:creationId xmlns:a16="http://schemas.microsoft.com/office/drawing/2014/main" id="{F758D75D-BAA6-48B3-820D-89A81B3300E1}"/>
              </a:ext>
            </a:extLst>
          </p:cNvPr>
          <p:cNvSpPr>
            <a:spLocks/>
          </p:cNvSpPr>
          <p:nvPr/>
        </p:nvSpPr>
        <p:spPr>
          <a:xfrm>
            <a:off x="3372279" y="4137604"/>
            <a:ext cx="1224000" cy="4176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MDPH</a:t>
            </a:r>
          </a:p>
        </p:txBody>
      </p:sp>
      <p:sp>
        <p:nvSpPr>
          <p:cNvPr id="65" name="Rectangle 64">
            <a:extLst>
              <a:ext uri="{FF2B5EF4-FFF2-40B4-BE49-F238E27FC236}">
                <a16:creationId xmlns:a16="http://schemas.microsoft.com/office/drawing/2014/main" id="{EF1998E3-F415-4B95-AE73-E29A3C21FD46}"/>
              </a:ext>
            </a:extLst>
          </p:cNvPr>
          <p:cNvSpPr>
            <a:spLocks/>
          </p:cNvSpPr>
          <p:nvPr/>
        </p:nvSpPr>
        <p:spPr>
          <a:xfrm>
            <a:off x="1871792" y="4697606"/>
            <a:ext cx="1224000" cy="417600"/>
          </a:xfrm>
          <a:prstGeom prst="rect">
            <a:avLst/>
          </a:prstGeom>
          <a:solidFill>
            <a:srgbClr val="F6F0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Fondation France Répit</a:t>
            </a:r>
          </a:p>
        </p:txBody>
      </p:sp>
      <p:sp>
        <p:nvSpPr>
          <p:cNvPr id="66" name="Rectangle 65">
            <a:extLst>
              <a:ext uri="{FF2B5EF4-FFF2-40B4-BE49-F238E27FC236}">
                <a16:creationId xmlns:a16="http://schemas.microsoft.com/office/drawing/2014/main" id="{11E295A0-1004-472E-8331-7B268CE03DFF}"/>
              </a:ext>
            </a:extLst>
          </p:cNvPr>
          <p:cNvSpPr>
            <a:spLocks/>
          </p:cNvSpPr>
          <p:nvPr/>
        </p:nvSpPr>
        <p:spPr>
          <a:xfrm>
            <a:off x="4861487" y="4699179"/>
            <a:ext cx="1224000" cy="417600"/>
          </a:xfrm>
          <a:prstGeom prst="rect">
            <a:avLst/>
          </a:prstGeom>
          <a:solidFill>
            <a:srgbClr val="F6F0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INTACT</a:t>
            </a:r>
          </a:p>
        </p:txBody>
      </p:sp>
      <p:sp>
        <p:nvSpPr>
          <p:cNvPr id="73" name="Ellipse 72">
            <a:extLst>
              <a:ext uri="{FF2B5EF4-FFF2-40B4-BE49-F238E27FC236}">
                <a16:creationId xmlns:a16="http://schemas.microsoft.com/office/drawing/2014/main" id="{4D4627B9-3B2B-4502-A759-18A073D7721E}"/>
              </a:ext>
            </a:extLst>
          </p:cNvPr>
          <p:cNvSpPr/>
          <p:nvPr/>
        </p:nvSpPr>
        <p:spPr>
          <a:xfrm>
            <a:off x="9356029" y="4918657"/>
            <a:ext cx="108000" cy="108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74" name="Ellipse 73">
            <a:extLst>
              <a:ext uri="{FF2B5EF4-FFF2-40B4-BE49-F238E27FC236}">
                <a16:creationId xmlns:a16="http://schemas.microsoft.com/office/drawing/2014/main" id="{FD29023A-E684-4361-8A5A-6442A4142BA5}"/>
              </a:ext>
            </a:extLst>
          </p:cNvPr>
          <p:cNvSpPr/>
          <p:nvPr/>
        </p:nvSpPr>
        <p:spPr>
          <a:xfrm>
            <a:off x="9356029" y="5157765"/>
            <a:ext cx="108000" cy="108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75" name="Ellipse 74">
            <a:extLst>
              <a:ext uri="{FF2B5EF4-FFF2-40B4-BE49-F238E27FC236}">
                <a16:creationId xmlns:a16="http://schemas.microsoft.com/office/drawing/2014/main" id="{E63419AE-488A-4C43-AA43-AE005A265AC2}"/>
              </a:ext>
            </a:extLst>
          </p:cNvPr>
          <p:cNvSpPr/>
          <p:nvPr/>
        </p:nvSpPr>
        <p:spPr>
          <a:xfrm>
            <a:off x="9356029" y="4683728"/>
            <a:ext cx="108000" cy="108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79" name="Ellipse 78">
            <a:extLst>
              <a:ext uri="{FF2B5EF4-FFF2-40B4-BE49-F238E27FC236}">
                <a16:creationId xmlns:a16="http://schemas.microsoft.com/office/drawing/2014/main" id="{560E5E06-4235-45B0-A2E2-6D155155D7A0}"/>
              </a:ext>
            </a:extLst>
          </p:cNvPr>
          <p:cNvSpPr/>
          <p:nvPr/>
        </p:nvSpPr>
        <p:spPr>
          <a:xfrm>
            <a:off x="10525309" y="4121846"/>
            <a:ext cx="108000" cy="10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83" name="Ellipse 82">
            <a:extLst>
              <a:ext uri="{FF2B5EF4-FFF2-40B4-BE49-F238E27FC236}">
                <a16:creationId xmlns:a16="http://schemas.microsoft.com/office/drawing/2014/main" id="{BC2979A1-9C01-4EEE-A076-D00673DD4DB0}"/>
              </a:ext>
            </a:extLst>
          </p:cNvPr>
          <p:cNvSpPr/>
          <p:nvPr/>
        </p:nvSpPr>
        <p:spPr>
          <a:xfrm>
            <a:off x="8984126" y="2841025"/>
            <a:ext cx="108000" cy="108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84" name="Ellipse 83">
            <a:extLst>
              <a:ext uri="{FF2B5EF4-FFF2-40B4-BE49-F238E27FC236}">
                <a16:creationId xmlns:a16="http://schemas.microsoft.com/office/drawing/2014/main" id="{11B7D7C8-7135-4E2F-AB6E-449C517A9215}"/>
              </a:ext>
            </a:extLst>
          </p:cNvPr>
          <p:cNvSpPr/>
          <p:nvPr/>
        </p:nvSpPr>
        <p:spPr>
          <a:xfrm>
            <a:off x="8984126" y="3216518"/>
            <a:ext cx="108000" cy="108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85" name="Ellipse 84">
            <a:extLst>
              <a:ext uri="{FF2B5EF4-FFF2-40B4-BE49-F238E27FC236}">
                <a16:creationId xmlns:a16="http://schemas.microsoft.com/office/drawing/2014/main" id="{64CFAB9D-076B-4994-A11E-199E6DD5AE34}"/>
              </a:ext>
            </a:extLst>
          </p:cNvPr>
          <p:cNvSpPr/>
          <p:nvPr/>
        </p:nvSpPr>
        <p:spPr>
          <a:xfrm>
            <a:off x="7488092" y="4121846"/>
            <a:ext cx="108000" cy="108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87" name="Ellipse 86">
            <a:extLst>
              <a:ext uri="{FF2B5EF4-FFF2-40B4-BE49-F238E27FC236}">
                <a16:creationId xmlns:a16="http://schemas.microsoft.com/office/drawing/2014/main" id="{35A1F817-6454-49D8-ABBB-7A588D8FEEF1}"/>
              </a:ext>
            </a:extLst>
          </p:cNvPr>
          <p:cNvSpPr/>
          <p:nvPr/>
        </p:nvSpPr>
        <p:spPr>
          <a:xfrm>
            <a:off x="3041538" y="4121846"/>
            <a:ext cx="108000" cy="108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90" name="Ellipse 89">
            <a:extLst>
              <a:ext uri="{FF2B5EF4-FFF2-40B4-BE49-F238E27FC236}">
                <a16:creationId xmlns:a16="http://schemas.microsoft.com/office/drawing/2014/main" id="{4074363A-1C56-4791-945F-5AF600D81D3F}"/>
              </a:ext>
            </a:extLst>
          </p:cNvPr>
          <p:cNvSpPr/>
          <p:nvPr/>
        </p:nvSpPr>
        <p:spPr>
          <a:xfrm>
            <a:off x="4510000" y="4121846"/>
            <a:ext cx="108000" cy="108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91" name="Ellipse 90">
            <a:extLst>
              <a:ext uri="{FF2B5EF4-FFF2-40B4-BE49-F238E27FC236}">
                <a16:creationId xmlns:a16="http://schemas.microsoft.com/office/drawing/2014/main" id="{7AF69373-B2F3-4D84-933B-D47AD0F2BA33}"/>
              </a:ext>
            </a:extLst>
          </p:cNvPr>
          <p:cNvSpPr/>
          <p:nvPr/>
        </p:nvSpPr>
        <p:spPr>
          <a:xfrm>
            <a:off x="4505612" y="4454318"/>
            <a:ext cx="108000" cy="10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92" name="Ellipse 91">
            <a:extLst>
              <a:ext uri="{FF2B5EF4-FFF2-40B4-BE49-F238E27FC236}">
                <a16:creationId xmlns:a16="http://schemas.microsoft.com/office/drawing/2014/main" id="{5E7C1447-D092-410D-9E54-4B0C487CD58F}"/>
              </a:ext>
            </a:extLst>
          </p:cNvPr>
          <p:cNvSpPr/>
          <p:nvPr/>
        </p:nvSpPr>
        <p:spPr>
          <a:xfrm>
            <a:off x="8984126" y="1506733"/>
            <a:ext cx="108000" cy="108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93" name="Ellipse 92">
            <a:extLst>
              <a:ext uri="{FF2B5EF4-FFF2-40B4-BE49-F238E27FC236}">
                <a16:creationId xmlns:a16="http://schemas.microsoft.com/office/drawing/2014/main" id="{66CD7CE1-DB71-4F22-87B4-5ED144B4D374}"/>
              </a:ext>
            </a:extLst>
          </p:cNvPr>
          <p:cNvSpPr/>
          <p:nvPr/>
        </p:nvSpPr>
        <p:spPr>
          <a:xfrm>
            <a:off x="8984126" y="2039835"/>
            <a:ext cx="108000" cy="108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94" name="Rectangle 93">
            <a:extLst>
              <a:ext uri="{FF2B5EF4-FFF2-40B4-BE49-F238E27FC236}">
                <a16:creationId xmlns:a16="http://schemas.microsoft.com/office/drawing/2014/main" id="{D8308473-F514-441F-8EF4-DD0EF4F36669}"/>
              </a:ext>
            </a:extLst>
          </p:cNvPr>
          <p:cNvSpPr>
            <a:spLocks/>
          </p:cNvSpPr>
          <p:nvPr/>
        </p:nvSpPr>
        <p:spPr>
          <a:xfrm>
            <a:off x="6348376" y="2071549"/>
            <a:ext cx="1224000" cy="4176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Groupes de protection sociale</a:t>
            </a:r>
          </a:p>
        </p:txBody>
      </p:sp>
      <p:sp>
        <p:nvSpPr>
          <p:cNvPr id="95" name="Rectangle 94">
            <a:extLst>
              <a:ext uri="{FF2B5EF4-FFF2-40B4-BE49-F238E27FC236}">
                <a16:creationId xmlns:a16="http://schemas.microsoft.com/office/drawing/2014/main" id="{E4E0D24A-905F-47EC-B327-0C619ECB23E9}"/>
              </a:ext>
            </a:extLst>
          </p:cNvPr>
          <p:cNvSpPr>
            <a:spLocks/>
          </p:cNvSpPr>
          <p:nvPr/>
        </p:nvSpPr>
        <p:spPr>
          <a:xfrm>
            <a:off x="9327249" y="2080442"/>
            <a:ext cx="1224000" cy="4176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lnSpc>
                <a:spcPts val="1000"/>
              </a:lnSpc>
              <a:defRPr/>
            </a:pPr>
            <a:r>
              <a:rPr lang="fr-FR" sz="1015">
                <a:solidFill>
                  <a:srgbClr val="503078"/>
                </a:solidFill>
                <a:latin typeface="Tahoma"/>
              </a:rPr>
              <a:t>Fondations / grands groupes </a:t>
            </a:r>
            <a:r>
              <a:rPr lang="fr-FR" sz="800">
                <a:solidFill>
                  <a:srgbClr val="503078"/>
                </a:solidFill>
                <a:latin typeface="Tahoma"/>
              </a:rPr>
              <a:t>(mécénat)</a:t>
            </a:r>
            <a:endParaRPr lang="fr-FR" sz="1015">
              <a:solidFill>
                <a:srgbClr val="503078"/>
              </a:solidFill>
              <a:latin typeface="Tahoma"/>
            </a:endParaRPr>
          </a:p>
        </p:txBody>
      </p:sp>
      <p:pic>
        <p:nvPicPr>
          <p:cNvPr id="98" name="Graphique 97" descr="Loupe avec un remplissage uni">
            <a:hlinkClick r:id="rId2" action="ppaction://hlinksldjump"/>
            <a:extLst>
              <a:ext uri="{FF2B5EF4-FFF2-40B4-BE49-F238E27FC236}">
                <a16:creationId xmlns:a16="http://schemas.microsoft.com/office/drawing/2014/main" id="{E573D784-EDF6-4458-B3DE-7FDD4360DA1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6280831" y="3909197"/>
            <a:ext cx="171391" cy="171391"/>
          </a:xfrm>
          <a:prstGeom prst="rect">
            <a:avLst/>
          </a:prstGeom>
        </p:spPr>
      </p:pic>
      <p:pic>
        <p:nvPicPr>
          <p:cNvPr id="99" name="Graphique 98" descr="Loupe avec un remplissage uni">
            <a:hlinkClick r:id="rId2" action="ppaction://hlinksldjump"/>
            <a:extLst>
              <a:ext uri="{FF2B5EF4-FFF2-40B4-BE49-F238E27FC236}">
                <a16:creationId xmlns:a16="http://schemas.microsoft.com/office/drawing/2014/main" id="{BB6DCFA8-9707-479A-855F-1B176170F45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6298563" y="4442299"/>
            <a:ext cx="171391" cy="171391"/>
          </a:xfrm>
          <a:prstGeom prst="rect">
            <a:avLst/>
          </a:prstGeom>
        </p:spPr>
      </p:pic>
      <p:pic>
        <p:nvPicPr>
          <p:cNvPr id="100" name="Graphique 99" descr="Loupe avec un remplissage uni">
            <a:hlinkClick r:id="rId2" action="ppaction://hlinksldjump"/>
            <a:extLst>
              <a:ext uri="{FF2B5EF4-FFF2-40B4-BE49-F238E27FC236}">
                <a16:creationId xmlns:a16="http://schemas.microsoft.com/office/drawing/2014/main" id="{2353552D-C44A-4708-9310-74783AB0A9B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4800506" y="4664636"/>
            <a:ext cx="171391" cy="171391"/>
          </a:xfrm>
          <a:prstGeom prst="rect">
            <a:avLst/>
          </a:prstGeom>
        </p:spPr>
      </p:pic>
      <p:pic>
        <p:nvPicPr>
          <p:cNvPr id="101" name="Graphique 100" descr="Loupe avec un remplissage uni">
            <a:hlinkClick r:id="rId2" action="ppaction://hlinksldjump"/>
            <a:extLst>
              <a:ext uri="{FF2B5EF4-FFF2-40B4-BE49-F238E27FC236}">
                <a16:creationId xmlns:a16="http://schemas.microsoft.com/office/drawing/2014/main" id="{3909432D-1EB7-422B-99C1-FE788101BA5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7763372" y="3438116"/>
            <a:ext cx="171391" cy="171391"/>
          </a:xfrm>
          <a:prstGeom prst="rect">
            <a:avLst/>
          </a:prstGeom>
        </p:spPr>
      </p:pic>
      <p:pic>
        <p:nvPicPr>
          <p:cNvPr id="102" name="Graphique 101" descr="Loupe avec un remplissage uni">
            <a:hlinkClick r:id="rId2" action="ppaction://hlinksldjump"/>
            <a:extLst>
              <a:ext uri="{FF2B5EF4-FFF2-40B4-BE49-F238E27FC236}">
                <a16:creationId xmlns:a16="http://schemas.microsoft.com/office/drawing/2014/main" id="{753B15C7-8BE5-4E8C-BEEC-84ED46BA984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7772700" y="4069053"/>
            <a:ext cx="171391" cy="171391"/>
          </a:xfrm>
          <a:prstGeom prst="rect">
            <a:avLst/>
          </a:prstGeom>
        </p:spPr>
      </p:pic>
      <p:pic>
        <p:nvPicPr>
          <p:cNvPr id="103" name="Graphique 102" descr="Loupe avec un remplissage uni">
            <a:hlinkClick r:id="rId2" action="ppaction://hlinksldjump"/>
            <a:extLst>
              <a:ext uri="{FF2B5EF4-FFF2-40B4-BE49-F238E27FC236}">
                <a16:creationId xmlns:a16="http://schemas.microsoft.com/office/drawing/2014/main" id="{8C927382-C0BB-406B-A085-BE3C95212C5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9248613" y="4069228"/>
            <a:ext cx="171391" cy="171391"/>
          </a:xfrm>
          <a:prstGeom prst="rect">
            <a:avLst/>
          </a:prstGeom>
        </p:spPr>
      </p:pic>
      <p:pic>
        <p:nvPicPr>
          <p:cNvPr id="104" name="Graphique 103" descr="Loupe avec un remplissage uni">
            <a:hlinkClick r:id="rId2" action="ppaction://hlinksldjump"/>
            <a:extLst>
              <a:ext uri="{FF2B5EF4-FFF2-40B4-BE49-F238E27FC236}">
                <a16:creationId xmlns:a16="http://schemas.microsoft.com/office/drawing/2014/main" id="{A06DB860-0894-4FB5-A2A9-BAAC35DF7F3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9267085" y="2796529"/>
            <a:ext cx="171391" cy="171391"/>
          </a:xfrm>
          <a:prstGeom prst="rect">
            <a:avLst/>
          </a:prstGeom>
        </p:spPr>
      </p:pic>
      <p:pic>
        <p:nvPicPr>
          <p:cNvPr id="105" name="Graphique 104" descr="Loupe avec un remplissage uni">
            <a:hlinkClick r:id="rId2" action="ppaction://hlinksldjump"/>
            <a:extLst>
              <a:ext uri="{FF2B5EF4-FFF2-40B4-BE49-F238E27FC236}">
                <a16:creationId xmlns:a16="http://schemas.microsoft.com/office/drawing/2014/main" id="{E43D0F35-065B-4341-A859-3EF4759602F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7693708" y="2790777"/>
            <a:ext cx="171391" cy="171391"/>
          </a:xfrm>
          <a:prstGeom prst="rect">
            <a:avLst/>
          </a:prstGeom>
        </p:spPr>
      </p:pic>
      <p:sp>
        <p:nvSpPr>
          <p:cNvPr id="106" name="Rectangle 105">
            <a:extLst>
              <a:ext uri="{FF2B5EF4-FFF2-40B4-BE49-F238E27FC236}">
                <a16:creationId xmlns:a16="http://schemas.microsoft.com/office/drawing/2014/main" id="{FA812AD5-B955-4F3F-9F57-843E24D0B0B9}"/>
              </a:ext>
            </a:extLst>
          </p:cNvPr>
          <p:cNvSpPr>
            <a:spLocks/>
          </p:cNvSpPr>
          <p:nvPr/>
        </p:nvSpPr>
        <p:spPr>
          <a:xfrm>
            <a:off x="9327249" y="3472645"/>
            <a:ext cx="1224000" cy="417600"/>
          </a:xfrm>
          <a:prstGeom prst="rect">
            <a:avLst/>
          </a:prstGeom>
          <a:solidFill>
            <a:srgbClr val="F6F0E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UTB</a:t>
            </a:r>
          </a:p>
        </p:txBody>
      </p:sp>
      <p:sp>
        <p:nvSpPr>
          <p:cNvPr id="111" name="Rectangle 110">
            <a:extLst>
              <a:ext uri="{FF2B5EF4-FFF2-40B4-BE49-F238E27FC236}">
                <a16:creationId xmlns:a16="http://schemas.microsoft.com/office/drawing/2014/main" id="{932251BB-AAA7-45E6-A0AF-146CE2D0B21C}"/>
              </a:ext>
            </a:extLst>
          </p:cNvPr>
          <p:cNvSpPr>
            <a:spLocks/>
          </p:cNvSpPr>
          <p:nvPr/>
        </p:nvSpPr>
        <p:spPr>
          <a:xfrm>
            <a:off x="9327249" y="1537607"/>
            <a:ext cx="1224000" cy="4176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Associations (dons)</a:t>
            </a:r>
          </a:p>
        </p:txBody>
      </p:sp>
      <p:sp>
        <p:nvSpPr>
          <p:cNvPr id="82" name="Ellipse 81">
            <a:extLst>
              <a:ext uri="{FF2B5EF4-FFF2-40B4-BE49-F238E27FC236}">
                <a16:creationId xmlns:a16="http://schemas.microsoft.com/office/drawing/2014/main" id="{47DE44E0-1EDA-4F61-AEFD-CC4836F3374E}"/>
              </a:ext>
            </a:extLst>
          </p:cNvPr>
          <p:cNvSpPr/>
          <p:nvPr/>
        </p:nvSpPr>
        <p:spPr>
          <a:xfrm>
            <a:off x="10494825" y="3435985"/>
            <a:ext cx="108000" cy="10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118" name="Rectangle 117">
            <a:extLst>
              <a:ext uri="{FF2B5EF4-FFF2-40B4-BE49-F238E27FC236}">
                <a16:creationId xmlns:a16="http://schemas.microsoft.com/office/drawing/2014/main" id="{D694D6A2-723C-4AAA-B1B5-43BEF98EA980}"/>
              </a:ext>
            </a:extLst>
          </p:cNvPr>
          <p:cNvSpPr>
            <a:spLocks/>
          </p:cNvSpPr>
          <p:nvPr/>
        </p:nvSpPr>
        <p:spPr>
          <a:xfrm>
            <a:off x="6334208" y="3509065"/>
            <a:ext cx="1224000" cy="4176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Domaine de Porte-neuve</a:t>
            </a:r>
          </a:p>
        </p:txBody>
      </p:sp>
      <p:sp>
        <p:nvSpPr>
          <p:cNvPr id="119" name="Rectangle 118">
            <a:extLst>
              <a:ext uri="{FF2B5EF4-FFF2-40B4-BE49-F238E27FC236}">
                <a16:creationId xmlns:a16="http://schemas.microsoft.com/office/drawing/2014/main" id="{426C949A-4208-4835-9178-58BE31D765B5}"/>
              </a:ext>
            </a:extLst>
          </p:cNvPr>
          <p:cNvSpPr>
            <a:spLocks/>
          </p:cNvSpPr>
          <p:nvPr/>
        </p:nvSpPr>
        <p:spPr>
          <a:xfrm>
            <a:off x="1882330" y="3582373"/>
            <a:ext cx="1224000" cy="4176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Offices de tourisme</a:t>
            </a:r>
          </a:p>
        </p:txBody>
      </p:sp>
      <p:pic>
        <p:nvPicPr>
          <p:cNvPr id="97" name="Graphique 96" descr="Loupe avec un remplissage uni">
            <a:hlinkClick r:id="rId2" action="ppaction://hlinksldjump"/>
            <a:extLst>
              <a:ext uri="{FF2B5EF4-FFF2-40B4-BE49-F238E27FC236}">
                <a16:creationId xmlns:a16="http://schemas.microsoft.com/office/drawing/2014/main" id="{DF3769E6-66DD-4838-99B3-134A3E98415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6296958" y="3382768"/>
            <a:ext cx="171391" cy="171391"/>
          </a:xfrm>
          <a:prstGeom prst="rect">
            <a:avLst/>
          </a:prstGeom>
        </p:spPr>
      </p:pic>
      <p:sp>
        <p:nvSpPr>
          <p:cNvPr id="70" name="Ellipse 69">
            <a:extLst>
              <a:ext uri="{FF2B5EF4-FFF2-40B4-BE49-F238E27FC236}">
                <a16:creationId xmlns:a16="http://schemas.microsoft.com/office/drawing/2014/main" id="{7B263F33-AFDD-41ED-843E-4EA35ADF7B7D}"/>
              </a:ext>
            </a:extLst>
          </p:cNvPr>
          <p:cNvSpPr/>
          <p:nvPr/>
        </p:nvSpPr>
        <p:spPr>
          <a:xfrm>
            <a:off x="7488092" y="3468462"/>
            <a:ext cx="108000" cy="108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121" name="Rectangle 120">
            <a:extLst>
              <a:ext uri="{FF2B5EF4-FFF2-40B4-BE49-F238E27FC236}">
                <a16:creationId xmlns:a16="http://schemas.microsoft.com/office/drawing/2014/main" id="{7904DCFE-3E2F-42E9-A7FD-A4DA0CFF8AE8}"/>
              </a:ext>
            </a:extLst>
          </p:cNvPr>
          <p:cNvSpPr>
            <a:spLocks/>
          </p:cNvSpPr>
          <p:nvPr/>
        </p:nvSpPr>
        <p:spPr>
          <a:xfrm>
            <a:off x="3374899" y="1538503"/>
            <a:ext cx="1224000" cy="4176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DGCS</a:t>
            </a:r>
          </a:p>
        </p:txBody>
      </p:sp>
      <p:sp>
        <p:nvSpPr>
          <p:cNvPr id="60" name="Rectangle 59">
            <a:extLst>
              <a:ext uri="{FF2B5EF4-FFF2-40B4-BE49-F238E27FC236}">
                <a16:creationId xmlns:a16="http://schemas.microsoft.com/office/drawing/2014/main" id="{6F7A4A45-6F3E-4471-A143-A572461B4372}"/>
              </a:ext>
            </a:extLst>
          </p:cNvPr>
          <p:cNvSpPr/>
          <p:nvPr/>
        </p:nvSpPr>
        <p:spPr>
          <a:xfrm>
            <a:off x="4861525" y="4133144"/>
            <a:ext cx="1224000" cy="4176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9692" tIns="66462" rIns="99692" bIns="66462" numCol="1" spcCol="0" rtlCol="0" fromWordArt="0" anchor="ctr" anchorCtr="0" forceAA="0" compatLnSpc="1">
            <a:prstTxWarp prst="textNoShape">
              <a:avLst/>
            </a:prstTxWarp>
            <a:noAutofit/>
          </a:bodyPr>
          <a:lstStyle/>
          <a:p>
            <a:pPr algn="ctr" defTabSz="844083">
              <a:defRPr/>
            </a:pPr>
            <a:r>
              <a:rPr lang="fr-FR" sz="1015">
                <a:solidFill>
                  <a:srgbClr val="503078"/>
                </a:solidFill>
                <a:latin typeface="Tahoma"/>
              </a:rPr>
              <a:t>PFR</a:t>
            </a:r>
          </a:p>
        </p:txBody>
      </p:sp>
      <p:sp>
        <p:nvSpPr>
          <p:cNvPr id="88" name="Ellipse 87">
            <a:extLst>
              <a:ext uri="{FF2B5EF4-FFF2-40B4-BE49-F238E27FC236}">
                <a16:creationId xmlns:a16="http://schemas.microsoft.com/office/drawing/2014/main" id="{56755795-2A3B-41AA-8E4F-A501A514C0A0}"/>
              </a:ext>
            </a:extLst>
          </p:cNvPr>
          <p:cNvSpPr/>
          <p:nvPr/>
        </p:nvSpPr>
        <p:spPr>
          <a:xfrm>
            <a:off x="6031487" y="4121846"/>
            <a:ext cx="108000" cy="108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89" name="Ellipse 88">
            <a:extLst>
              <a:ext uri="{FF2B5EF4-FFF2-40B4-BE49-F238E27FC236}">
                <a16:creationId xmlns:a16="http://schemas.microsoft.com/office/drawing/2014/main" id="{AE89926C-D64B-43E4-96DC-DCBE1A77F7BB}"/>
              </a:ext>
            </a:extLst>
          </p:cNvPr>
          <p:cNvSpPr/>
          <p:nvPr/>
        </p:nvSpPr>
        <p:spPr>
          <a:xfrm>
            <a:off x="6031084" y="4454318"/>
            <a:ext cx="108000" cy="108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pic>
        <p:nvPicPr>
          <p:cNvPr id="107" name="Graphique 106" descr="Loupe avec un remplissage uni">
            <a:hlinkClick r:id="rId2" action="ppaction://hlinksldjump"/>
            <a:extLst>
              <a:ext uri="{FF2B5EF4-FFF2-40B4-BE49-F238E27FC236}">
                <a16:creationId xmlns:a16="http://schemas.microsoft.com/office/drawing/2014/main" id="{BB0D6D49-3C29-42C3-A348-F38D8EDAF39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3010098" y="6547343"/>
            <a:ext cx="171391" cy="171391"/>
          </a:xfrm>
          <a:prstGeom prst="rect">
            <a:avLst/>
          </a:prstGeom>
        </p:spPr>
      </p:pic>
      <p:sp>
        <p:nvSpPr>
          <p:cNvPr id="108" name="ZoneTexte 107">
            <a:extLst>
              <a:ext uri="{FF2B5EF4-FFF2-40B4-BE49-F238E27FC236}">
                <a16:creationId xmlns:a16="http://schemas.microsoft.com/office/drawing/2014/main" id="{914466AC-277E-4FC0-B1BF-5BDC8DA77EF1}"/>
              </a:ext>
            </a:extLst>
          </p:cNvPr>
          <p:cNvSpPr txBox="1"/>
          <p:nvPr/>
        </p:nvSpPr>
        <p:spPr>
          <a:xfrm>
            <a:off x="3194835" y="6485835"/>
            <a:ext cx="3790868" cy="261610"/>
          </a:xfrm>
          <a:prstGeom prst="rect">
            <a:avLst/>
          </a:prstGeom>
          <a:noFill/>
        </p:spPr>
        <p:txBody>
          <a:bodyPr wrap="square" rtlCol="0">
            <a:spAutoFit/>
          </a:bodyPr>
          <a:lstStyle/>
          <a:p>
            <a:pPr defTabSz="457200"/>
            <a:r>
              <a:rPr lang="fr-FR" sz="1050" b="1">
                <a:solidFill>
                  <a:srgbClr val="5F5F5F"/>
                </a:solidFill>
                <a:latin typeface="Calibri" panose="020F0502020204030204"/>
              </a:rPr>
              <a:t>Fiche initiative disponible en annexe </a:t>
            </a:r>
          </a:p>
        </p:txBody>
      </p:sp>
      <p:sp>
        <p:nvSpPr>
          <p:cNvPr id="109" name="Rectangle 108">
            <a:extLst>
              <a:ext uri="{FF2B5EF4-FFF2-40B4-BE49-F238E27FC236}">
                <a16:creationId xmlns:a16="http://schemas.microsoft.com/office/drawing/2014/main" id="{82489690-17F2-4D64-8365-CDA006D14605}"/>
              </a:ext>
            </a:extLst>
          </p:cNvPr>
          <p:cNvSpPr/>
          <p:nvPr/>
        </p:nvSpPr>
        <p:spPr>
          <a:xfrm>
            <a:off x="1516666" y="5671539"/>
            <a:ext cx="4832574" cy="1122046"/>
          </a:xfrm>
          <a:prstGeom prst="rect">
            <a:avLst/>
          </a:prstGeom>
          <a:noFill/>
          <a:ln>
            <a:solidFill>
              <a:schemeClr val="bg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110" name="ZoneTexte 109">
            <a:extLst>
              <a:ext uri="{FF2B5EF4-FFF2-40B4-BE49-F238E27FC236}">
                <a16:creationId xmlns:a16="http://schemas.microsoft.com/office/drawing/2014/main" id="{C725953E-D6D0-4911-BF8E-E4BA8BAD61CF}"/>
              </a:ext>
            </a:extLst>
          </p:cNvPr>
          <p:cNvSpPr txBox="1"/>
          <p:nvPr/>
        </p:nvSpPr>
        <p:spPr>
          <a:xfrm>
            <a:off x="1583011" y="5684804"/>
            <a:ext cx="3790868" cy="276999"/>
          </a:xfrm>
          <a:prstGeom prst="rect">
            <a:avLst/>
          </a:prstGeom>
          <a:noFill/>
        </p:spPr>
        <p:txBody>
          <a:bodyPr wrap="square" rtlCol="0">
            <a:spAutoFit/>
          </a:bodyPr>
          <a:lstStyle/>
          <a:p>
            <a:pPr defTabSz="457200"/>
            <a:r>
              <a:rPr lang="fr-FR" sz="1200" b="1">
                <a:solidFill>
                  <a:srgbClr val="5F5F5F"/>
                </a:solidFill>
                <a:latin typeface="Calibri" panose="020F0502020204030204"/>
              </a:rPr>
              <a:t>Légende</a:t>
            </a:r>
          </a:p>
        </p:txBody>
      </p:sp>
      <p:sp>
        <p:nvSpPr>
          <p:cNvPr id="80" name="Ellipse 79">
            <a:extLst>
              <a:ext uri="{FF2B5EF4-FFF2-40B4-BE49-F238E27FC236}">
                <a16:creationId xmlns:a16="http://schemas.microsoft.com/office/drawing/2014/main" id="{F4872737-6D00-4330-8260-6115A9DAB692}"/>
              </a:ext>
            </a:extLst>
          </p:cNvPr>
          <p:cNvSpPr/>
          <p:nvPr/>
        </p:nvSpPr>
        <p:spPr>
          <a:xfrm>
            <a:off x="7488092" y="3845422"/>
            <a:ext cx="108000" cy="108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96" name="Ellipse 95">
            <a:extLst>
              <a:ext uri="{FF2B5EF4-FFF2-40B4-BE49-F238E27FC236}">
                <a16:creationId xmlns:a16="http://schemas.microsoft.com/office/drawing/2014/main" id="{EC419B2C-7BD3-42B2-BFC1-AA3A1B264F2D}"/>
              </a:ext>
            </a:extLst>
          </p:cNvPr>
          <p:cNvSpPr/>
          <p:nvPr/>
        </p:nvSpPr>
        <p:spPr>
          <a:xfrm>
            <a:off x="7488092" y="4719211"/>
            <a:ext cx="108000" cy="108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112" name="Ellipse 111">
            <a:extLst>
              <a:ext uri="{FF2B5EF4-FFF2-40B4-BE49-F238E27FC236}">
                <a16:creationId xmlns:a16="http://schemas.microsoft.com/office/drawing/2014/main" id="{F1A52D42-F57A-40AB-9EB2-D46134AFF862}"/>
              </a:ext>
            </a:extLst>
          </p:cNvPr>
          <p:cNvSpPr/>
          <p:nvPr/>
        </p:nvSpPr>
        <p:spPr>
          <a:xfrm>
            <a:off x="7488092" y="5106810"/>
            <a:ext cx="108000" cy="108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113" name="Ellipse 112">
            <a:extLst>
              <a:ext uri="{FF2B5EF4-FFF2-40B4-BE49-F238E27FC236}">
                <a16:creationId xmlns:a16="http://schemas.microsoft.com/office/drawing/2014/main" id="{A39F0689-1623-4229-B70F-2D24B76387C5}"/>
              </a:ext>
            </a:extLst>
          </p:cNvPr>
          <p:cNvSpPr/>
          <p:nvPr/>
        </p:nvSpPr>
        <p:spPr>
          <a:xfrm>
            <a:off x="8980948" y="3458252"/>
            <a:ext cx="108000" cy="108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
        <p:nvSpPr>
          <p:cNvPr id="114" name="Ellipse 113">
            <a:extLst>
              <a:ext uri="{FF2B5EF4-FFF2-40B4-BE49-F238E27FC236}">
                <a16:creationId xmlns:a16="http://schemas.microsoft.com/office/drawing/2014/main" id="{77E48223-EA5D-4B00-B04A-C37190883E80}"/>
              </a:ext>
            </a:extLst>
          </p:cNvPr>
          <p:cNvSpPr/>
          <p:nvPr/>
        </p:nvSpPr>
        <p:spPr>
          <a:xfrm>
            <a:off x="8980948" y="3833745"/>
            <a:ext cx="108000" cy="10800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FFFFFF"/>
              </a:solidFill>
              <a:latin typeface="Calibri" panose="020F0502020204030204"/>
            </a:endParaRPr>
          </a:p>
        </p:txBody>
      </p:sp>
    </p:spTree>
    <p:extLst>
      <p:ext uri="{BB962C8B-B14F-4D97-AF65-F5344CB8AC3E}">
        <p14:creationId xmlns:p14="http://schemas.microsoft.com/office/powerpoint/2010/main" val="12592088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CAC8D55-8FB4-49D2-87D0-CBDC655E1BEF}"/>
              </a:ext>
            </a:extLst>
          </p:cNvPr>
          <p:cNvSpPr/>
          <p:nvPr/>
        </p:nvSpPr>
        <p:spPr>
          <a:xfrm>
            <a:off x="8926212" y="5733027"/>
            <a:ext cx="2122788" cy="11272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3" name="Rectangle 12">
            <a:extLst>
              <a:ext uri="{FF2B5EF4-FFF2-40B4-BE49-F238E27FC236}">
                <a16:creationId xmlns:a16="http://schemas.microsoft.com/office/drawing/2014/main" id="{251212F7-6379-4508-8825-B024AB9C1A95}"/>
              </a:ext>
            </a:extLst>
          </p:cNvPr>
          <p:cNvSpPr>
            <a:spLocks/>
          </p:cNvSpPr>
          <p:nvPr/>
        </p:nvSpPr>
        <p:spPr>
          <a:xfrm>
            <a:off x="1282657" y="3747762"/>
            <a:ext cx="9618302" cy="2748336"/>
          </a:xfrm>
          <a:prstGeom prst="rect">
            <a:avLst/>
          </a:prstGeom>
          <a:solidFill>
            <a:schemeClr val="bg1"/>
          </a:solidFill>
          <a:ln w="38100" cap="flat" cmpd="sng" algn="ctr">
            <a:solidFill>
              <a:srgbClr val="B0ADCC"/>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defTabSz="742950">
              <a:spcBef>
                <a:spcPts val="200"/>
              </a:spcBef>
            </a:pPr>
            <a:endParaRPr lang="fr-FR" sz="1050" b="1" noProof="1">
              <a:solidFill>
                <a:srgbClr val="503078"/>
              </a:solidFill>
              <a:latin typeface="Tahoma"/>
            </a:endParaRPr>
          </a:p>
        </p:txBody>
      </p:sp>
      <p:sp>
        <p:nvSpPr>
          <p:cNvPr id="5" name="Titre 4">
            <a:extLst>
              <a:ext uri="{FF2B5EF4-FFF2-40B4-BE49-F238E27FC236}">
                <a16:creationId xmlns:a16="http://schemas.microsoft.com/office/drawing/2014/main" id="{C5D441CD-F319-4D1E-9975-9E3176A20627}"/>
              </a:ext>
            </a:extLst>
          </p:cNvPr>
          <p:cNvSpPr>
            <a:spLocks noGrp="1"/>
          </p:cNvSpPr>
          <p:nvPr>
            <p:ph type="title"/>
          </p:nvPr>
        </p:nvSpPr>
        <p:spPr>
          <a:xfrm>
            <a:off x="1488600" y="345844"/>
            <a:ext cx="9543900" cy="863748"/>
          </a:xfrm>
        </p:spPr>
        <p:txBody>
          <a:bodyPr/>
          <a:lstStyle/>
          <a:p>
            <a:r>
              <a:rPr lang="fr-FR" sz="2400"/>
              <a:t>Facteurs clés de succès par typologie d’acteurs</a:t>
            </a:r>
          </a:p>
        </p:txBody>
      </p:sp>
      <p:sp>
        <p:nvSpPr>
          <p:cNvPr id="6" name="Espace réservé du texte 5">
            <a:extLst>
              <a:ext uri="{FF2B5EF4-FFF2-40B4-BE49-F238E27FC236}">
                <a16:creationId xmlns:a16="http://schemas.microsoft.com/office/drawing/2014/main" id="{DFF68991-3228-40A4-B9DE-328003106F88}"/>
              </a:ext>
            </a:extLst>
          </p:cNvPr>
          <p:cNvSpPr>
            <a:spLocks noGrp="1"/>
          </p:cNvSpPr>
          <p:nvPr>
            <p:ph type="body" sz="quarter" idx="13"/>
          </p:nvPr>
        </p:nvSpPr>
        <p:spPr/>
        <p:txBody>
          <a:bodyPr/>
          <a:lstStyle/>
          <a:p>
            <a:r>
              <a:rPr lang="fr-FR"/>
              <a:t>Etat des lieux </a:t>
            </a:r>
            <a:r>
              <a:rPr lang="fr-FR">
                <a:latin typeface="Tahoma" panose="020B0604030504040204" pitchFamily="34" charset="0"/>
                <a:ea typeface="Tahoma" panose="020B0604030504040204" pitchFamily="34" charset="0"/>
                <a:cs typeface="Tahoma" panose="020B0604030504040204" pitchFamily="34" charset="0"/>
              </a:rPr>
              <a:t>des modèles existants</a:t>
            </a:r>
            <a:endParaRPr lang="fr-FR"/>
          </a:p>
        </p:txBody>
      </p:sp>
      <p:sp>
        <p:nvSpPr>
          <p:cNvPr id="27" name="Espace réservé du contenu 3">
            <a:extLst>
              <a:ext uri="{FF2B5EF4-FFF2-40B4-BE49-F238E27FC236}">
                <a16:creationId xmlns:a16="http://schemas.microsoft.com/office/drawing/2014/main" id="{07F0CC2E-B62A-4D9C-AB19-B227A656E36D}"/>
              </a:ext>
            </a:extLst>
          </p:cNvPr>
          <p:cNvSpPr txBox="1">
            <a:spLocks/>
          </p:cNvSpPr>
          <p:nvPr/>
        </p:nvSpPr>
        <p:spPr>
          <a:xfrm>
            <a:off x="1311589" y="3797868"/>
            <a:ext cx="5082919" cy="3283081"/>
          </a:xfrm>
          <a:prstGeom prst="rect">
            <a:avLst/>
          </a:prstGeom>
          <a:noFill/>
          <a:ln w="9525">
            <a:noFill/>
          </a:ln>
        </p:spPr>
        <p:txBody>
          <a:bodyPr lIns="108000" tIns="108000" rIns="108000" bIns="10800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pPr lvl="1">
              <a:spcBef>
                <a:spcPts val="300"/>
              </a:spcBef>
              <a:buClr>
                <a:srgbClr val="503078"/>
              </a:buClr>
              <a:defRPr/>
            </a:pPr>
            <a:r>
              <a:rPr lang="fr-FR" sz="1050" b="1">
                <a:solidFill>
                  <a:srgbClr val="9F9BC1"/>
                </a:solidFill>
                <a:latin typeface="Tahoma"/>
              </a:rPr>
              <a:t>Favoriser et développer une offre de séjours de répit lisible et sûre</a:t>
            </a:r>
            <a:r>
              <a:rPr lang="fr-FR" sz="1050" b="1">
                <a:solidFill>
                  <a:srgbClr val="048B9A"/>
                </a:solidFill>
                <a:latin typeface="Tahoma"/>
              </a:rPr>
              <a:t> </a:t>
            </a:r>
          </a:p>
          <a:p>
            <a:pPr marL="531450" lvl="2" indent="-171450">
              <a:spcBef>
                <a:spcPts val="300"/>
              </a:spcBef>
              <a:buFont typeface="Courier New" panose="02070309020205020404" pitchFamily="49" charset="0"/>
              <a:buChar char="o"/>
            </a:pPr>
            <a:r>
              <a:rPr lang="fr-FR" sz="1050">
                <a:solidFill>
                  <a:srgbClr val="5F5F5F"/>
                </a:solidFill>
                <a:latin typeface="Tahoma"/>
              </a:rPr>
              <a:t>Etablir l’offre en concertation avec les pouvoirs publics</a:t>
            </a:r>
          </a:p>
          <a:p>
            <a:pPr marL="531450" lvl="2" indent="-171450">
              <a:spcBef>
                <a:spcPts val="300"/>
              </a:spcBef>
              <a:buFont typeface="Courier New" panose="02070309020205020404" pitchFamily="49" charset="0"/>
              <a:buChar char="o"/>
            </a:pPr>
            <a:r>
              <a:rPr lang="fr-FR" sz="1050">
                <a:solidFill>
                  <a:srgbClr val="5F5F5F"/>
                </a:solidFill>
                <a:latin typeface="Tahoma"/>
              </a:rPr>
              <a:t>Intégrer les séjours de répit avec les actions de solidarité existantes (articulation APA, protection sociale complémentaire, mutualisation et prévoyance…)</a:t>
            </a:r>
          </a:p>
          <a:p>
            <a:pPr>
              <a:spcBef>
                <a:spcPts val="0"/>
              </a:spcBef>
              <a:defRPr/>
            </a:pPr>
            <a:endParaRPr lang="fr-FR" sz="1050" b="1">
              <a:solidFill>
                <a:srgbClr val="048B9A"/>
              </a:solidFill>
              <a:latin typeface="Tahoma"/>
            </a:endParaRPr>
          </a:p>
          <a:p>
            <a:pPr lvl="1">
              <a:spcBef>
                <a:spcPts val="300"/>
              </a:spcBef>
              <a:buClr>
                <a:srgbClr val="503078"/>
              </a:buClr>
              <a:defRPr/>
            </a:pPr>
            <a:r>
              <a:rPr lang="fr-FR" sz="1050" b="1">
                <a:solidFill>
                  <a:srgbClr val="9F9BC1"/>
                </a:solidFill>
                <a:latin typeface="Tahoma"/>
              </a:rPr>
              <a:t>Développer les partenariats et l’écosystème autour des séjours de répit </a:t>
            </a:r>
          </a:p>
          <a:p>
            <a:pPr marL="531450" lvl="2" indent="-171450">
              <a:spcBef>
                <a:spcPts val="300"/>
              </a:spcBef>
              <a:buFont typeface="Courier New" panose="02070309020205020404" pitchFamily="49" charset="0"/>
              <a:buChar char="o"/>
              <a:defRPr/>
            </a:pPr>
            <a:r>
              <a:rPr lang="fr-FR" sz="1050">
                <a:solidFill>
                  <a:srgbClr val="5F5F5F"/>
                </a:solidFill>
                <a:latin typeface="Tahoma"/>
              </a:rPr>
              <a:t>Développer une dynamique collective (labellisation, franchise, approche collective, groupe de travail, …) </a:t>
            </a:r>
          </a:p>
          <a:p>
            <a:pPr marL="531450" lvl="2" indent="-171450">
              <a:spcBef>
                <a:spcPts val="300"/>
              </a:spcBef>
              <a:buFont typeface="Courier New" panose="02070309020205020404" pitchFamily="49" charset="0"/>
              <a:buChar char="o"/>
              <a:defRPr/>
            </a:pPr>
            <a:r>
              <a:rPr lang="fr-FR" sz="1050">
                <a:solidFill>
                  <a:srgbClr val="5F5F5F"/>
                </a:solidFill>
                <a:latin typeface="Tahoma"/>
              </a:rPr>
              <a:t>Mutualiser les retours d’expérience relatifs aux solutions déployées</a:t>
            </a:r>
          </a:p>
          <a:p>
            <a:pPr marL="531450" lvl="2" indent="-171450">
              <a:spcBef>
                <a:spcPts val="300"/>
              </a:spcBef>
              <a:buFont typeface="Courier New" panose="02070309020205020404" pitchFamily="49" charset="0"/>
              <a:buChar char="o"/>
              <a:defRPr/>
            </a:pPr>
            <a:endParaRPr lang="fr-FR" sz="1050">
              <a:solidFill>
                <a:srgbClr val="5F5F5F"/>
              </a:solidFill>
              <a:latin typeface="Tahoma"/>
            </a:endParaRPr>
          </a:p>
          <a:p>
            <a:pPr lvl="1">
              <a:spcBef>
                <a:spcPts val="300"/>
              </a:spcBef>
              <a:buClr>
                <a:srgbClr val="503078"/>
              </a:buClr>
              <a:defRPr/>
            </a:pPr>
            <a:r>
              <a:rPr lang="fr-FR" sz="1050" b="1">
                <a:solidFill>
                  <a:srgbClr val="9F9BC1"/>
                </a:solidFill>
                <a:latin typeface="Tahoma"/>
              </a:rPr>
              <a:t>Coordonner de manière efficiente les différentes solutions pour les aidants</a:t>
            </a:r>
          </a:p>
          <a:p>
            <a:pPr lvl="2">
              <a:spcBef>
                <a:spcPts val="300"/>
              </a:spcBef>
              <a:defRPr/>
            </a:pPr>
            <a:endParaRPr lang="fr-FR" sz="1000">
              <a:solidFill>
                <a:srgbClr val="5F5F5F"/>
              </a:solidFill>
              <a:latin typeface="Tahoma"/>
            </a:endParaRPr>
          </a:p>
          <a:p>
            <a:pPr marL="0" lvl="1" indent="0">
              <a:spcBef>
                <a:spcPts val="300"/>
              </a:spcBef>
              <a:buClr>
                <a:srgbClr val="503078"/>
              </a:buClr>
              <a:buNone/>
              <a:defRPr/>
            </a:pPr>
            <a:endParaRPr lang="fr-FR" sz="900">
              <a:solidFill>
                <a:srgbClr val="5F5F5F"/>
              </a:solidFill>
              <a:latin typeface="Tahoma"/>
            </a:endParaRPr>
          </a:p>
        </p:txBody>
      </p:sp>
      <p:sp>
        <p:nvSpPr>
          <p:cNvPr id="14" name="Rectangle 13">
            <a:extLst>
              <a:ext uri="{FF2B5EF4-FFF2-40B4-BE49-F238E27FC236}">
                <a16:creationId xmlns:a16="http://schemas.microsoft.com/office/drawing/2014/main" id="{A9A356D0-FB94-4760-858B-91F2E330FCCA}"/>
              </a:ext>
            </a:extLst>
          </p:cNvPr>
          <p:cNvSpPr>
            <a:spLocks/>
          </p:cNvSpPr>
          <p:nvPr/>
        </p:nvSpPr>
        <p:spPr>
          <a:xfrm>
            <a:off x="1282657" y="1000890"/>
            <a:ext cx="9618302" cy="2468396"/>
          </a:xfrm>
          <a:prstGeom prst="rect">
            <a:avLst/>
          </a:prstGeom>
          <a:solidFill>
            <a:schemeClr val="bg1"/>
          </a:solidFill>
          <a:ln w="38100" cap="flat" cmpd="sng" algn="ctr">
            <a:solidFill>
              <a:schemeClr val="bg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defTabSz="742950">
              <a:spcBef>
                <a:spcPts val="200"/>
              </a:spcBef>
            </a:pPr>
            <a:endParaRPr lang="fr-FR" sz="1050" b="1" noProof="1">
              <a:solidFill>
                <a:srgbClr val="503078"/>
              </a:solidFill>
              <a:latin typeface="Tahoma"/>
            </a:endParaRPr>
          </a:p>
        </p:txBody>
      </p:sp>
      <p:sp>
        <p:nvSpPr>
          <p:cNvPr id="15" name="Espace réservé du contenu 3">
            <a:extLst>
              <a:ext uri="{FF2B5EF4-FFF2-40B4-BE49-F238E27FC236}">
                <a16:creationId xmlns:a16="http://schemas.microsoft.com/office/drawing/2014/main" id="{53104903-8C77-4AFD-B450-812278770DB4}"/>
              </a:ext>
            </a:extLst>
          </p:cNvPr>
          <p:cNvSpPr txBox="1">
            <a:spLocks/>
          </p:cNvSpPr>
          <p:nvPr/>
        </p:nvSpPr>
        <p:spPr>
          <a:xfrm>
            <a:off x="1303206" y="1012075"/>
            <a:ext cx="5070752" cy="2770217"/>
          </a:xfrm>
          <a:prstGeom prst="rect">
            <a:avLst/>
          </a:prstGeom>
          <a:noFill/>
          <a:ln w="9525">
            <a:noFill/>
          </a:ln>
        </p:spPr>
        <p:txBody>
          <a:bodyPr lIns="108000" tIns="108000" rIns="108000" bIns="10800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pPr lvl="1">
              <a:spcBef>
                <a:spcPts val="0"/>
              </a:spcBef>
              <a:buClr>
                <a:srgbClr val="503078"/>
              </a:buClr>
              <a:defRPr/>
            </a:pPr>
            <a:r>
              <a:rPr lang="fr-FR" sz="1050" b="1">
                <a:solidFill>
                  <a:srgbClr val="503078"/>
                </a:solidFill>
                <a:latin typeface="Tahoma"/>
              </a:rPr>
              <a:t>Renforcer la reconnaissance juridique de l’aidant</a:t>
            </a:r>
          </a:p>
          <a:p>
            <a:pPr marL="531450" lvl="2" indent="-171450">
              <a:spcBef>
                <a:spcPts val="0"/>
              </a:spcBef>
              <a:buFont typeface="Courier New" panose="02070309020205020404" pitchFamily="49" charset="0"/>
              <a:buChar char="o"/>
            </a:pPr>
            <a:r>
              <a:rPr lang="fr-FR" sz="1050">
                <a:solidFill>
                  <a:srgbClr val="5F5F5F"/>
                </a:solidFill>
                <a:latin typeface="Tahoma"/>
              </a:rPr>
              <a:t>Converger vers une définition d’aidant claire et exhaustive</a:t>
            </a:r>
          </a:p>
          <a:p>
            <a:pPr marL="531450" lvl="2" indent="-171450">
              <a:spcBef>
                <a:spcPts val="0"/>
              </a:spcBef>
              <a:buFont typeface="Courier New" panose="02070309020205020404" pitchFamily="49" charset="0"/>
              <a:buChar char="o"/>
            </a:pPr>
            <a:r>
              <a:rPr lang="fr-FR" sz="1050">
                <a:solidFill>
                  <a:srgbClr val="5F5F5F"/>
                </a:solidFill>
                <a:latin typeface="Tahoma"/>
              </a:rPr>
              <a:t>Renforcer les aides en faveur des aidants (aides directes, congés / aménagements d’horaires)</a:t>
            </a:r>
          </a:p>
          <a:p>
            <a:pPr marL="531450" lvl="2" indent="-171450">
              <a:spcBef>
                <a:spcPts val="0"/>
              </a:spcBef>
              <a:buFont typeface="Courier New" panose="02070309020205020404" pitchFamily="49" charset="0"/>
              <a:buChar char="o"/>
            </a:pPr>
            <a:endParaRPr lang="fr-FR" sz="1050">
              <a:solidFill>
                <a:srgbClr val="5F5F5F"/>
              </a:solidFill>
              <a:latin typeface="Tahoma"/>
            </a:endParaRPr>
          </a:p>
          <a:p>
            <a:pPr lvl="1">
              <a:spcBef>
                <a:spcPts val="0"/>
              </a:spcBef>
              <a:buClr>
                <a:srgbClr val="503078"/>
              </a:buClr>
              <a:defRPr/>
            </a:pPr>
            <a:r>
              <a:rPr lang="fr-FR" sz="1050" b="1">
                <a:solidFill>
                  <a:srgbClr val="503078"/>
                </a:solidFill>
                <a:latin typeface="Tahoma"/>
              </a:rPr>
              <a:t>Décloisonner les politiques en faveur du répit des aidants de personnes âgées et des personnes en situation de handicap</a:t>
            </a:r>
          </a:p>
          <a:p>
            <a:pPr marL="531450" lvl="2" indent="-171450">
              <a:spcBef>
                <a:spcPts val="0"/>
              </a:spcBef>
              <a:buFont typeface="Courier New" panose="02070309020205020404" pitchFamily="49" charset="0"/>
              <a:buChar char="o"/>
              <a:defRPr/>
            </a:pPr>
            <a:r>
              <a:rPr lang="fr-FR" sz="1050">
                <a:solidFill>
                  <a:srgbClr val="5F5F5F"/>
                </a:solidFill>
                <a:latin typeface="Tahoma"/>
              </a:rPr>
              <a:t>Distinguer les places d’AT / HT autorisées pour les séjours de répit du taux d’équipement « classique » pour inciter les ARS et CD à accorder des autorisations au centres de répit</a:t>
            </a:r>
          </a:p>
          <a:p>
            <a:pPr lvl="1">
              <a:spcBef>
                <a:spcPts val="0"/>
              </a:spcBef>
              <a:buClr>
                <a:srgbClr val="503078"/>
              </a:buClr>
              <a:defRPr/>
            </a:pPr>
            <a:endParaRPr lang="fr-FR" sz="1050" b="1">
              <a:solidFill>
                <a:srgbClr val="503078"/>
              </a:solidFill>
              <a:latin typeface="Tahoma"/>
            </a:endParaRPr>
          </a:p>
          <a:p>
            <a:pPr lvl="1">
              <a:spcBef>
                <a:spcPts val="0"/>
              </a:spcBef>
              <a:buClr>
                <a:srgbClr val="503078"/>
              </a:buClr>
              <a:defRPr/>
            </a:pPr>
            <a:r>
              <a:rPr lang="fr-FR" sz="1050" b="1">
                <a:solidFill>
                  <a:srgbClr val="503078"/>
                </a:solidFill>
                <a:latin typeface="Tahoma"/>
              </a:rPr>
              <a:t>Diffuser une culture de la prévention </a:t>
            </a:r>
          </a:p>
          <a:p>
            <a:pPr marL="531450" lvl="2" indent="-171450">
              <a:spcBef>
                <a:spcPts val="0"/>
              </a:spcBef>
              <a:buFont typeface="Courier New" panose="02070309020205020404" pitchFamily="49" charset="0"/>
              <a:buChar char="o"/>
              <a:defRPr/>
            </a:pPr>
            <a:r>
              <a:rPr lang="fr-FR" sz="1050">
                <a:solidFill>
                  <a:srgbClr val="5F5F5F"/>
                </a:solidFill>
                <a:latin typeface="Tahoma"/>
              </a:rPr>
              <a:t>Repérer et prévenir les situations de fragilité pour mieux détecter les aidants</a:t>
            </a:r>
          </a:p>
          <a:p>
            <a:pPr marL="0" lvl="1" indent="0">
              <a:spcBef>
                <a:spcPts val="0"/>
              </a:spcBef>
              <a:buClr>
                <a:srgbClr val="503078"/>
              </a:buClr>
              <a:buNone/>
              <a:defRPr/>
            </a:pPr>
            <a:endParaRPr lang="fr-FR" sz="900">
              <a:solidFill>
                <a:srgbClr val="5F5F5F"/>
              </a:solidFill>
              <a:latin typeface="Tahoma"/>
            </a:endParaRPr>
          </a:p>
          <a:p>
            <a:pPr marL="0" lvl="1" indent="0">
              <a:spcBef>
                <a:spcPts val="300"/>
              </a:spcBef>
              <a:buClr>
                <a:srgbClr val="503078"/>
              </a:buClr>
              <a:buNone/>
              <a:defRPr/>
            </a:pPr>
            <a:endParaRPr lang="fr-FR" sz="900" b="1">
              <a:solidFill>
                <a:srgbClr val="9F9BC1"/>
              </a:solidFill>
              <a:latin typeface="Tahoma"/>
            </a:endParaRPr>
          </a:p>
        </p:txBody>
      </p:sp>
      <p:sp>
        <p:nvSpPr>
          <p:cNvPr id="16" name="Rectangle 15">
            <a:extLst>
              <a:ext uri="{FF2B5EF4-FFF2-40B4-BE49-F238E27FC236}">
                <a16:creationId xmlns:a16="http://schemas.microsoft.com/office/drawing/2014/main" id="{103346EB-7FD5-42D6-AA5B-E4B7390E4D90}"/>
              </a:ext>
            </a:extLst>
          </p:cNvPr>
          <p:cNvSpPr/>
          <p:nvPr/>
        </p:nvSpPr>
        <p:spPr>
          <a:xfrm>
            <a:off x="2207488" y="757252"/>
            <a:ext cx="2188280" cy="3451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300" b="1" noProof="1">
                <a:solidFill>
                  <a:srgbClr val="503078"/>
                </a:solidFill>
                <a:latin typeface="Tahoma"/>
              </a:rPr>
              <a:t>INSTITUTIONS</a:t>
            </a:r>
          </a:p>
        </p:txBody>
      </p:sp>
      <p:sp>
        <p:nvSpPr>
          <p:cNvPr id="17" name="Rectangle 16">
            <a:extLst>
              <a:ext uri="{FF2B5EF4-FFF2-40B4-BE49-F238E27FC236}">
                <a16:creationId xmlns:a16="http://schemas.microsoft.com/office/drawing/2014/main" id="{661B89DB-E338-4ED1-9478-8ED0808B2F7C}"/>
              </a:ext>
            </a:extLst>
          </p:cNvPr>
          <p:cNvSpPr/>
          <p:nvPr/>
        </p:nvSpPr>
        <p:spPr>
          <a:xfrm>
            <a:off x="2217763" y="3576487"/>
            <a:ext cx="2721869" cy="3451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300" b="1" noProof="1">
                <a:solidFill>
                  <a:srgbClr val="9F9BC1"/>
                </a:solidFill>
                <a:latin typeface="Tahoma"/>
              </a:rPr>
              <a:t>AIDANTS ET ASSOCIATIONS</a:t>
            </a:r>
          </a:p>
        </p:txBody>
      </p:sp>
      <p:sp>
        <p:nvSpPr>
          <p:cNvPr id="21" name="Espace réservé du contenu 3">
            <a:extLst>
              <a:ext uri="{FF2B5EF4-FFF2-40B4-BE49-F238E27FC236}">
                <a16:creationId xmlns:a16="http://schemas.microsoft.com/office/drawing/2014/main" id="{5C49D2D1-C85F-4454-B4DB-30E1F6A761A0}"/>
              </a:ext>
            </a:extLst>
          </p:cNvPr>
          <p:cNvSpPr txBox="1">
            <a:spLocks/>
          </p:cNvSpPr>
          <p:nvPr/>
        </p:nvSpPr>
        <p:spPr>
          <a:xfrm>
            <a:off x="6414217" y="1049274"/>
            <a:ext cx="4384841" cy="1835380"/>
          </a:xfrm>
          <a:prstGeom prst="rect">
            <a:avLst/>
          </a:prstGeom>
          <a:noFill/>
          <a:ln w="9525">
            <a:noFill/>
          </a:ln>
        </p:spPr>
        <p:txBody>
          <a:bodyPr lIns="108000" tIns="108000" rIns="108000" bIns="10800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pPr lvl="1">
              <a:spcBef>
                <a:spcPts val="0"/>
              </a:spcBef>
              <a:buClr>
                <a:srgbClr val="503078"/>
              </a:buClr>
              <a:defRPr/>
            </a:pPr>
            <a:r>
              <a:rPr lang="fr-FR" sz="1050" b="1">
                <a:solidFill>
                  <a:srgbClr val="503078"/>
                </a:solidFill>
                <a:latin typeface="Tahoma"/>
              </a:rPr>
              <a:t>Rapprocher les secteurs sanitaire, médicosocial et social sur la thématique de l’autonomie</a:t>
            </a:r>
          </a:p>
          <a:p>
            <a:pPr marL="531450" lvl="2" indent="-171450">
              <a:spcBef>
                <a:spcPts val="0"/>
              </a:spcBef>
              <a:buFont typeface="Courier New" panose="02070309020205020404" pitchFamily="49" charset="0"/>
              <a:buChar char="o"/>
              <a:defRPr/>
            </a:pPr>
            <a:r>
              <a:rPr lang="fr-FR" sz="1050">
                <a:solidFill>
                  <a:srgbClr val="5F5F5F"/>
                </a:solidFill>
                <a:latin typeface="Tahoma"/>
              </a:rPr>
              <a:t>Mettre en place des maisons départementales de l’autonomie </a:t>
            </a:r>
          </a:p>
          <a:p>
            <a:pPr marL="531450" lvl="2" indent="-171450">
              <a:spcBef>
                <a:spcPts val="0"/>
              </a:spcBef>
              <a:buFont typeface="Courier New" panose="02070309020205020404" pitchFamily="49" charset="0"/>
              <a:buChar char="o"/>
              <a:defRPr/>
            </a:pPr>
            <a:r>
              <a:rPr lang="fr-FR" sz="1050">
                <a:solidFill>
                  <a:srgbClr val="5F5F5F"/>
                </a:solidFill>
                <a:latin typeface="Tahoma"/>
              </a:rPr>
              <a:t>Favoriser la transversalité et l’intégration des réponses d’aide et de soin dans les séjours de répit </a:t>
            </a:r>
          </a:p>
          <a:p>
            <a:pPr marL="0" lvl="1" indent="0">
              <a:spcBef>
                <a:spcPts val="0"/>
              </a:spcBef>
              <a:buClr>
                <a:srgbClr val="503078"/>
              </a:buClr>
              <a:buNone/>
              <a:defRPr/>
            </a:pPr>
            <a:endParaRPr lang="fr-FR" sz="1050">
              <a:solidFill>
                <a:srgbClr val="5F5F5F"/>
              </a:solidFill>
              <a:latin typeface="Tahoma"/>
            </a:endParaRPr>
          </a:p>
          <a:p>
            <a:pPr lvl="1">
              <a:spcBef>
                <a:spcPts val="0"/>
              </a:spcBef>
              <a:buClr>
                <a:srgbClr val="503078"/>
              </a:buClr>
              <a:defRPr/>
            </a:pPr>
            <a:r>
              <a:rPr lang="fr-FR" sz="1050" b="1">
                <a:solidFill>
                  <a:srgbClr val="503078"/>
                </a:solidFill>
                <a:latin typeface="Tahoma"/>
              </a:rPr>
              <a:t>Etablir un diagnostic des besoins des aidants</a:t>
            </a:r>
          </a:p>
          <a:p>
            <a:pPr lvl="1">
              <a:spcBef>
                <a:spcPts val="0"/>
              </a:spcBef>
              <a:buClr>
                <a:srgbClr val="503078"/>
              </a:buClr>
              <a:defRPr/>
            </a:pPr>
            <a:endParaRPr lang="fr-FR" sz="1050" b="1">
              <a:solidFill>
                <a:srgbClr val="503078"/>
              </a:solidFill>
              <a:latin typeface="Tahoma"/>
            </a:endParaRPr>
          </a:p>
          <a:p>
            <a:pPr lvl="1">
              <a:spcBef>
                <a:spcPts val="0"/>
              </a:spcBef>
              <a:buClr>
                <a:srgbClr val="503078"/>
              </a:buClr>
              <a:defRPr/>
            </a:pPr>
            <a:r>
              <a:rPr lang="fr-FR" sz="1050" b="1">
                <a:solidFill>
                  <a:srgbClr val="503078"/>
                </a:solidFill>
                <a:latin typeface="Tahoma"/>
              </a:rPr>
              <a:t>Elaborer des feuilles de route au plus près du contexte local</a:t>
            </a:r>
          </a:p>
          <a:p>
            <a:pPr marL="0" lvl="1" indent="0">
              <a:spcBef>
                <a:spcPts val="300"/>
              </a:spcBef>
              <a:buClr>
                <a:srgbClr val="503078"/>
              </a:buClr>
              <a:buNone/>
              <a:defRPr/>
            </a:pPr>
            <a:endParaRPr lang="fr-FR" sz="1050">
              <a:solidFill>
                <a:srgbClr val="5F5F5F"/>
              </a:solidFill>
              <a:latin typeface="Tahoma"/>
            </a:endParaRPr>
          </a:p>
          <a:p>
            <a:pPr marL="0" lvl="1" indent="0">
              <a:spcBef>
                <a:spcPts val="300"/>
              </a:spcBef>
              <a:buClr>
                <a:srgbClr val="503078"/>
              </a:buClr>
              <a:buNone/>
              <a:defRPr/>
            </a:pPr>
            <a:endParaRPr lang="fr-FR" sz="900" b="1">
              <a:solidFill>
                <a:srgbClr val="9F9BC1"/>
              </a:solidFill>
              <a:latin typeface="Tahoma"/>
            </a:endParaRPr>
          </a:p>
        </p:txBody>
      </p:sp>
      <p:sp>
        <p:nvSpPr>
          <p:cNvPr id="22" name="Espace réservé du contenu 3">
            <a:extLst>
              <a:ext uri="{FF2B5EF4-FFF2-40B4-BE49-F238E27FC236}">
                <a16:creationId xmlns:a16="http://schemas.microsoft.com/office/drawing/2014/main" id="{74FE7AFF-2F9B-4DC1-B943-E6ACBF3074E4}"/>
              </a:ext>
            </a:extLst>
          </p:cNvPr>
          <p:cNvSpPr txBox="1">
            <a:spLocks/>
          </p:cNvSpPr>
          <p:nvPr/>
        </p:nvSpPr>
        <p:spPr>
          <a:xfrm>
            <a:off x="6445039" y="3820975"/>
            <a:ext cx="4384841" cy="2257708"/>
          </a:xfrm>
          <a:prstGeom prst="rect">
            <a:avLst/>
          </a:prstGeom>
          <a:noFill/>
          <a:ln w="9525">
            <a:noFill/>
          </a:ln>
        </p:spPr>
        <p:txBody>
          <a:bodyPr lIns="108000" tIns="108000" rIns="108000" bIns="10800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pPr lvl="1">
              <a:spcBef>
                <a:spcPts val="300"/>
              </a:spcBef>
              <a:buClr>
                <a:srgbClr val="503078"/>
              </a:buClr>
              <a:defRPr/>
            </a:pPr>
            <a:r>
              <a:rPr lang="fr-FR" sz="1050" b="1">
                <a:solidFill>
                  <a:srgbClr val="9F9BC1"/>
                </a:solidFill>
                <a:latin typeface="Tahoma"/>
              </a:rPr>
              <a:t>Favoriser la représentativité et visibilité des aidants</a:t>
            </a:r>
          </a:p>
          <a:p>
            <a:pPr marL="531450" lvl="2" indent="-171450">
              <a:spcBef>
                <a:spcPts val="300"/>
              </a:spcBef>
              <a:buFont typeface="Courier New" panose="02070309020205020404" pitchFamily="49" charset="0"/>
              <a:buChar char="o"/>
              <a:defRPr/>
            </a:pPr>
            <a:r>
              <a:rPr lang="fr-FR" sz="1050">
                <a:solidFill>
                  <a:srgbClr val="5F5F5F"/>
                </a:solidFill>
                <a:latin typeface="Tahoma"/>
              </a:rPr>
              <a:t>Communiquer de façon claire et accessible </a:t>
            </a:r>
          </a:p>
          <a:p>
            <a:pPr marL="531450" lvl="2" indent="-171450">
              <a:spcBef>
                <a:spcPts val="300"/>
              </a:spcBef>
              <a:buFont typeface="Courier New" panose="02070309020205020404" pitchFamily="49" charset="0"/>
              <a:buChar char="o"/>
              <a:defRPr/>
            </a:pPr>
            <a:r>
              <a:rPr lang="fr-FR" sz="1050">
                <a:solidFill>
                  <a:srgbClr val="5F5F5F"/>
                </a:solidFill>
                <a:latin typeface="Tahoma"/>
              </a:rPr>
              <a:t>Atteindre les personnes fragiles et isolées</a:t>
            </a:r>
          </a:p>
          <a:p>
            <a:pPr marL="531450" lvl="2" indent="-171450">
              <a:spcBef>
                <a:spcPts val="300"/>
              </a:spcBef>
              <a:buFont typeface="Courier New" panose="02070309020205020404" pitchFamily="49" charset="0"/>
              <a:buChar char="o"/>
              <a:defRPr/>
            </a:pPr>
            <a:r>
              <a:rPr lang="fr-FR" sz="1050">
                <a:solidFill>
                  <a:srgbClr val="5F5F5F"/>
                </a:solidFill>
                <a:latin typeface="Tahoma"/>
              </a:rPr>
              <a:t>Informer sur les structures (adresses à proximité du logement, horaires) et les aides, plateformes d’entraide et réseaux sociaux…)</a:t>
            </a:r>
          </a:p>
          <a:p>
            <a:pPr lvl="1">
              <a:spcBef>
                <a:spcPts val="300"/>
              </a:spcBef>
              <a:buClr>
                <a:srgbClr val="503078"/>
              </a:buClr>
              <a:defRPr/>
            </a:pPr>
            <a:endParaRPr lang="fr-FR" sz="1050">
              <a:solidFill>
                <a:srgbClr val="5F5F5F"/>
              </a:solidFill>
              <a:latin typeface="Tahoma"/>
            </a:endParaRPr>
          </a:p>
          <a:p>
            <a:pPr lvl="1">
              <a:spcBef>
                <a:spcPts val="300"/>
              </a:spcBef>
              <a:buClr>
                <a:srgbClr val="503078"/>
              </a:buClr>
              <a:defRPr/>
            </a:pPr>
            <a:r>
              <a:rPr lang="fr-FR" sz="1050" b="1">
                <a:solidFill>
                  <a:srgbClr val="9F9BC1"/>
                </a:solidFill>
                <a:latin typeface="Tahoma"/>
              </a:rPr>
              <a:t>Mettre en œuvre une stratégie cohérente pour développer des solutions adaptées au contexte local </a:t>
            </a:r>
          </a:p>
          <a:p>
            <a:pPr marL="531450" lvl="2" indent="-171450">
              <a:spcBef>
                <a:spcPts val="300"/>
              </a:spcBef>
              <a:buFont typeface="Courier New" panose="02070309020205020404" pitchFamily="49" charset="0"/>
              <a:buChar char="o"/>
              <a:defRPr/>
            </a:pPr>
            <a:r>
              <a:rPr lang="fr-FR" sz="1050">
                <a:solidFill>
                  <a:srgbClr val="5F5F5F"/>
                </a:solidFill>
                <a:latin typeface="Tahoma"/>
              </a:rPr>
              <a:t>Travailler en coopération avec les collectivités, et à partir des diagnostics territoriaux pour pouvoir prendre en compte les spécificités éventuelles</a:t>
            </a:r>
          </a:p>
          <a:p>
            <a:pPr marL="0" lvl="1" indent="0">
              <a:spcBef>
                <a:spcPts val="300"/>
              </a:spcBef>
              <a:buClr>
                <a:srgbClr val="503078"/>
              </a:buClr>
              <a:buNone/>
              <a:defRPr/>
            </a:pPr>
            <a:endParaRPr lang="fr-FR" sz="1000" b="1">
              <a:solidFill>
                <a:srgbClr val="048B9A"/>
              </a:solidFill>
              <a:latin typeface="Tahoma"/>
            </a:endParaRPr>
          </a:p>
        </p:txBody>
      </p:sp>
    </p:spTree>
    <p:extLst>
      <p:ext uri="{BB962C8B-B14F-4D97-AF65-F5344CB8AC3E}">
        <p14:creationId xmlns:p14="http://schemas.microsoft.com/office/powerpoint/2010/main" val="14202206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45E749-14D8-42BA-A566-C272C57C4B42}"/>
              </a:ext>
            </a:extLst>
          </p:cNvPr>
          <p:cNvSpPr>
            <a:spLocks noGrp="1"/>
          </p:cNvSpPr>
          <p:nvPr>
            <p:ph type="title"/>
          </p:nvPr>
        </p:nvSpPr>
        <p:spPr/>
        <p:txBody>
          <a:bodyPr/>
          <a:lstStyle/>
          <a:p>
            <a:r>
              <a:rPr lang="fr-FR"/>
              <a:t>Dimensionnement des besoins et du marché</a:t>
            </a:r>
          </a:p>
        </p:txBody>
      </p:sp>
      <p:sp>
        <p:nvSpPr>
          <p:cNvPr id="3" name="Espace réservé du texte 2">
            <a:extLst>
              <a:ext uri="{FF2B5EF4-FFF2-40B4-BE49-F238E27FC236}">
                <a16:creationId xmlns:a16="http://schemas.microsoft.com/office/drawing/2014/main" id="{56CE6F7E-B7E2-4D0A-84E0-E9105A72B01A}"/>
              </a:ext>
            </a:extLst>
          </p:cNvPr>
          <p:cNvSpPr>
            <a:spLocks noGrp="1"/>
          </p:cNvSpPr>
          <p:nvPr>
            <p:ph type="body" sz="quarter" idx="38"/>
          </p:nvPr>
        </p:nvSpPr>
        <p:spPr/>
        <p:txBody>
          <a:bodyPr/>
          <a:lstStyle/>
          <a:p>
            <a:r>
              <a:rPr lang="fr-FR"/>
              <a:t>03</a:t>
            </a:r>
          </a:p>
        </p:txBody>
      </p:sp>
    </p:spTree>
    <p:extLst>
      <p:ext uri="{BB962C8B-B14F-4D97-AF65-F5344CB8AC3E}">
        <p14:creationId xmlns:p14="http://schemas.microsoft.com/office/powerpoint/2010/main" val="12528783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32785C9B-761E-462C-8E31-8FCE19E26F18}"/>
              </a:ext>
            </a:extLst>
          </p:cNvPr>
          <p:cNvSpPr/>
          <p:nvPr/>
        </p:nvSpPr>
        <p:spPr>
          <a:xfrm>
            <a:off x="8926212" y="5733027"/>
            <a:ext cx="2122788" cy="11272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2" name="Title 1">
            <a:extLst>
              <a:ext uri="{FF2B5EF4-FFF2-40B4-BE49-F238E27FC236}">
                <a16:creationId xmlns:a16="http://schemas.microsoft.com/office/drawing/2014/main" id="{374D7AC9-CA0F-426C-81D7-D30AD6E6F743}"/>
              </a:ext>
            </a:extLst>
          </p:cNvPr>
          <p:cNvSpPr>
            <a:spLocks noGrp="1"/>
          </p:cNvSpPr>
          <p:nvPr>
            <p:ph type="title"/>
          </p:nvPr>
        </p:nvSpPr>
        <p:spPr/>
        <p:txBody>
          <a:bodyPr/>
          <a:lstStyle/>
          <a:p>
            <a:r>
              <a:rPr lang="fr-FR"/>
              <a:t>Une définition d’aidant à construire </a:t>
            </a:r>
          </a:p>
        </p:txBody>
      </p:sp>
      <p:sp>
        <p:nvSpPr>
          <p:cNvPr id="3" name="Text Placeholder 2">
            <a:extLst>
              <a:ext uri="{FF2B5EF4-FFF2-40B4-BE49-F238E27FC236}">
                <a16:creationId xmlns:a16="http://schemas.microsoft.com/office/drawing/2014/main" id="{484E61FE-D9EE-4826-A1EB-418442FDE365}"/>
              </a:ext>
            </a:extLst>
          </p:cNvPr>
          <p:cNvSpPr>
            <a:spLocks noGrp="1"/>
          </p:cNvSpPr>
          <p:nvPr>
            <p:ph type="body" sz="quarter" idx="13"/>
          </p:nvPr>
        </p:nvSpPr>
        <p:spPr/>
        <p:txBody>
          <a:bodyPr/>
          <a:lstStyle/>
          <a:p>
            <a:r>
              <a:rPr lang="fr-FR">
                <a:solidFill>
                  <a:srgbClr val="938481"/>
                </a:solidFill>
              </a:rPr>
              <a:t>Dimensionnement des besoins et du marché</a:t>
            </a:r>
          </a:p>
        </p:txBody>
      </p:sp>
      <p:grpSp>
        <p:nvGrpSpPr>
          <p:cNvPr id="17" name="Groupe 16">
            <a:extLst>
              <a:ext uri="{FF2B5EF4-FFF2-40B4-BE49-F238E27FC236}">
                <a16:creationId xmlns:a16="http://schemas.microsoft.com/office/drawing/2014/main" id="{67602B66-30FC-4BEB-AC41-6AADE37FCC30}"/>
              </a:ext>
            </a:extLst>
          </p:cNvPr>
          <p:cNvGrpSpPr/>
          <p:nvPr/>
        </p:nvGrpSpPr>
        <p:grpSpPr>
          <a:xfrm>
            <a:off x="1449394" y="1495909"/>
            <a:ext cx="9293213" cy="4617808"/>
            <a:chOff x="242371" y="1098469"/>
            <a:chExt cx="9293124" cy="5418279"/>
          </a:xfrm>
        </p:grpSpPr>
        <p:sp>
          <p:nvSpPr>
            <p:cNvPr id="4" name="AutoShape 8">
              <a:extLst>
                <a:ext uri="{FF2B5EF4-FFF2-40B4-BE49-F238E27FC236}">
                  <a16:creationId xmlns:a16="http://schemas.microsoft.com/office/drawing/2014/main" id="{DE1572E2-BB44-4091-AD6C-CD818315388D}"/>
                </a:ext>
              </a:extLst>
            </p:cNvPr>
            <p:cNvSpPr>
              <a:spLocks noChangeArrowheads="1"/>
            </p:cNvSpPr>
            <p:nvPr/>
          </p:nvSpPr>
          <p:spPr bwMode="gray">
            <a:xfrm>
              <a:off x="344488" y="1147352"/>
              <a:ext cx="2813650" cy="1146438"/>
            </a:xfrm>
            <a:prstGeom prst="homePlate">
              <a:avLst>
                <a:gd name="adj" fmla="val 22260"/>
              </a:avLst>
            </a:prstGeom>
            <a:solidFill>
              <a:schemeClr val="bg2"/>
            </a:solidFill>
            <a:ln w="1905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r>
                <a:rPr lang="fr-FR" altLang="de-DE" sz="1200" b="1">
                  <a:solidFill>
                    <a:srgbClr val="FFFFFF"/>
                  </a:solidFill>
                  <a:latin typeface="Tahoma"/>
                </a:rPr>
                <a:t>Code de l’Action Sociale </a:t>
              </a:r>
            </a:p>
            <a:p>
              <a:pPr algn="ctr" eaLnBrk="0" hangingPunct="0"/>
              <a:r>
                <a:rPr lang="fr-FR" altLang="de-DE" sz="1200" b="1">
                  <a:solidFill>
                    <a:srgbClr val="FFFFFF"/>
                  </a:solidFill>
                  <a:latin typeface="Tahoma"/>
                </a:rPr>
                <a:t>et des Familles</a:t>
              </a:r>
            </a:p>
          </p:txBody>
        </p:sp>
        <p:sp>
          <p:nvSpPr>
            <p:cNvPr id="5" name="Espace réservé du texte 3">
              <a:extLst>
                <a:ext uri="{FF2B5EF4-FFF2-40B4-BE49-F238E27FC236}">
                  <a16:creationId xmlns:a16="http://schemas.microsoft.com/office/drawing/2014/main" id="{921F421F-43B7-4133-AD40-0DD7D4A71C76}"/>
                </a:ext>
              </a:extLst>
            </p:cNvPr>
            <p:cNvSpPr txBox="1">
              <a:spLocks/>
            </p:cNvSpPr>
            <p:nvPr/>
          </p:nvSpPr>
          <p:spPr>
            <a:xfrm>
              <a:off x="3370933" y="1098469"/>
              <a:ext cx="6164562" cy="1494119"/>
            </a:xfrm>
            <a:prstGeom prst="rect">
              <a:avLst/>
            </a:prstGeom>
            <a:ln>
              <a:noFill/>
            </a:ln>
          </p:spPr>
          <p:txBody>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sz="1050">
                  <a:solidFill>
                    <a:srgbClr val="5F5F5F"/>
                  </a:solidFill>
                  <a:latin typeface="Tahoma"/>
                </a:rPr>
                <a:t>« Est considéré comme un aidant familial </a:t>
              </a:r>
              <a:r>
                <a:rPr lang="fr-FR" sz="1050" b="1">
                  <a:solidFill>
                    <a:srgbClr val="5F5F5F"/>
                  </a:solidFill>
                  <a:latin typeface="Tahoma"/>
                </a:rPr>
                <a:t>le conjoint, le concubin, la personne avec laquelle la personne handicapée a conclu un pacte civil de solidarité, l'ascendant, le descendant ou le collatéral</a:t>
              </a:r>
              <a:r>
                <a:rPr lang="fr-FR" sz="1050">
                  <a:solidFill>
                    <a:srgbClr val="5F5F5F"/>
                  </a:solidFill>
                  <a:latin typeface="Tahoma"/>
                </a:rPr>
                <a:t> jusqu'au quatrième degré de la personne handicapée, ou l'ascendant, le descendant ou le collatéral jusqu'au quatrième degré de l'autre membre du couple </a:t>
              </a:r>
              <a:r>
                <a:rPr lang="fr-FR" sz="1050" b="1">
                  <a:solidFill>
                    <a:srgbClr val="5F5F5F"/>
                  </a:solidFill>
                  <a:latin typeface="Tahoma"/>
                </a:rPr>
                <a:t>qui apporte l'aide humaine définie </a:t>
              </a:r>
              <a:r>
                <a:rPr lang="fr-FR" sz="1050">
                  <a:solidFill>
                    <a:srgbClr val="5F5F5F"/>
                  </a:solidFill>
                  <a:latin typeface="Tahoma"/>
                </a:rPr>
                <a:t>en application des dispositions de l'article L. 245-3 du présent code de l’action sociale et des familles et qui n'est pas salarié pour cette aide. »</a:t>
              </a:r>
            </a:p>
          </p:txBody>
        </p:sp>
        <p:sp>
          <p:nvSpPr>
            <p:cNvPr id="6" name="AutoShape 8">
              <a:extLst>
                <a:ext uri="{FF2B5EF4-FFF2-40B4-BE49-F238E27FC236}">
                  <a16:creationId xmlns:a16="http://schemas.microsoft.com/office/drawing/2014/main" id="{47A05014-73F2-4CF9-BCFA-D473D24CF657}"/>
                </a:ext>
              </a:extLst>
            </p:cNvPr>
            <p:cNvSpPr>
              <a:spLocks noChangeArrowheads="1"/>
            </p:cNvSpPr>
            <p:nvPr/>
          </p:nvSpPr>
          <p:spPr bwMode="gray">
            <a:xfrm>
              <a:off x="344488" y="2568110"/>
              <a:ext cx="2813650" cy="1146438"/>
            </a:xfrm>
            <a:prstGeom prst="homePlate">
              <a:avLst>
                <a:gd name="adj" fmla="val 22260"/>
              </a:avLst>
            </a:prstGeom>
            <a:solidFill>
              <a:schemeClr val="accent2"/>
            </a:solidFill>
            <a:ln w="1905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r>
                <a:rPr lang="fr-FR" sz="1200" b="1">
                  <a:solidFill>
                    <a:srgbClr val="FFFFFF"/>
                  </a:solidFill>
                  <a:latin typeface="Tahoma"/>
                </a:rPr>
                <a:t>Article 51 de la loi d’Adaptation de la Société au Vieillissement de 2015</a:t>
              </a:r>
              <a:endParaRPr lang="fr-FR" altLang="de-DE" sz="1200" b="1">
                <a:solidFill>
                  <a:srgbClr val="FFFFFF"/>
                </a:solidFill>
                <a:latin typeface="Tahoma"/>
              </a:endParaRPr>
            </a:p>
          </p:txBody>
        </p:sp>
        <p:sp>
          <p:nvSpPr>
            <p:cNvPr id="7" name="Espace réservé du texte 3">
              <a:extLst>
                <a:ext uri="{FF2B5EF4-FFF2-40B4-BE49-F238E27FC236}">
                  <a16:creationId xmlns:a16="http://schemas.microsoft.com/office/drawing/2014/main" id="{96024D03-94EB-4B00-9F3C-E406930245B1}"/>
                </a:ext>
              </a:extLst>
            </p:cNvPr>
            <p:cNvSpPr txBox="1">
              <a:spLocks/>
            </p:cNvSpPr>
            <p:nvPr/>
          </p:nvSpPr>
          <p:spPr>
            <a:xfrm>
              <a:off x="3381951" y="2552339"/>
              <a:ext cx="6142617" cy="1162209"/>
            </a:xfrm>
            <a:prstGeom prst="rect">
              <a:avLst/>
            </a:prstGeom>
            <a:ln>
              <a:noFill/>
            </a:ln>
          </p:spPr>
          <p:txBody>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sz="1050">
                  <a:solidFill>
                    <a:srgbClr val="5F5F5F"/>
                  </a:solidFill>
                  <a:latin typeface="Tahoma"/>
                </a:rPr>
                <a:t>« Est considéré comme proche aidant d’une personne âgée : </a:t>
              </a:r>
              <a:r>
                <a:rPr lang="fr-FR" sz="1050" b="1">
                  <a:solidFill>
                    <a:srgbClr val="5F5F5F"/>
                  </a:solidFill>
                  <a:latin typeface="Tahoma"/>
                </a:rPr>
                <a:t>son conjoint, le partenaire avec qui elle a conclu un pacte civil de solidarité ou son concubin, un parent ou un allié</a:t>
              </a:r>
              <a:r>
                <a:rPr lang="fr-FR" sz="1050">
                  <a:solidFill>
                    <a:srgbClr val="5F5F5F"/>
                  </a:solidFill>
                  <a:latin typeface="Tahoma"/>
                </a:rPr>
                <a:t>, définis comme aidants familiaux, ou une personne résidant avec elle ou entretenant avec elle des liens étroits et stables, </a:t>
              </a:r>
              <a:r>
                <a:rPr lang="fr-FR" sz="1050" b="1">
                  <a:solidFill>
                    <a:srgbClr val="5F5F5F"/>
                  </a:solidFill>
                  <a:latin typeface="Tahoma"/>
                </a:rPr>
                <a:t>qui lui vient en aide, de manière régulière et fréquente, à titre non professionnel, pour accomplir tout ou partie des actes ou des activités de la vie quotidienne</a:t>
              </a:r>
              <a:r>
                <a:rPr lang="fr-FR" sz="1050">
                  <a:solidFill>
                    <a:srgbClr val="5F5F5F"/>
                  </a:solidFill>
                  <a:latin typeface="Tahoma"/>
                </a:rPr>
                <a:t>. » </a:t>
              </a:r>
            </a:p>
          </p:txBody>
        </p:sp>
        <p:sp>
          <p:nvSpPr>
            <p:cNvPr id="8" name="AutoShape 8">
              <a:extLst>
                <a:ext uri="{FF2B5EF4-FFF2-40B4-BE49-F238E27FC236}">
                  <a16:creationId xmlns:a16="http://schemas.microsoft.com/office/drawing/2014/main" id="{0C8A514B-3072-44F5-A861-E20D2DE88982}"/>
                </a:ext>
              </a:extLst>
            </p:cNvPr>
            <p:cNvSpPr>
              <a:spLocks noChangeArrowheads="1"/>
            </p:cNvSpPr>
            <p:nvPr/>
          </p:nvSpPr>
          <p:spPr bwMode="gray">
            <a:xfrm>
              <a:off x="344488" y="3988868"/>
              <a:ext cx="2813650" cy="1146438"/>
            </a:xfrm>
            <a:prstGeom prst="homePlate">
              <a:avLst>
                <a:gd name="adj" fmla="val 22260"/>
              </a:avLst>
            </a:prstGeom>
            <a:solidFill>
              <a:schemeClr val="accent1"/>
            </a:solidFill>
            <a:ln w="1905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r>
                <a:rPr lang="fr-FR" sz="1200" b="1">
                  <a:solidFill>
                    <a:srgbClr val="FFFFFF"/>
                  </a:solidFill>
                  <a:latin typeface="Tahoma"/>
                </a:rPr>
                <a:t>Charte Européenne de l’aidant Familial (2007)</a:t>
              </a:r>
              <a:endParaRPr lang="fr-FR" altLang="de-DE" sz="1200" b="1">
                <a:solidFill>
                  <a:srgbClr val="FFFFFF"/>
                </a:solidFill>
                <a:latin typeface="Tahoma"/>
              </a:endParaRPr>
            </a:p>
          </p:txBody>
        </p:sp>
        <p:sp>
          <p:nvSpPr>
            <p:cNvPr id="9" name="Espace réservé du texte 3">
              <a:extLst>
                <a:ext uri="{FF2B5EF4-FFF2-40B4-BE49-F238E27FC236}">
                  <a16:creationId xmlns:a16="http://schemas.microsoft.com/office/drawing/2014/main" id="{70AD1AA7-D4A8-46B0-96A3-5B1252B6FB07}"/>
                </a:ext>
              </a:extLst>
            </p:cNvPr>
            <p:cNvSpPr txBox="1">
              <a:spLocks/>
            </p:cNvSpPr>
            <p:nvPr/>
          </p:nvSpPr>
          <p:spPr>
            <a:xfrm>
              <a:off x="3381951" y="4144313"/>
              <a:ext cx="6142528" cy="857338"/>
            </a:xfrm>
            <a:prstGeom prst="rect">
              <a:avLst/>
            </a:prstGeom>
            <a:ln>
              <a:noFill/>
            </a:ln>
          </p:spPr>
          <p:txBody>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sz="1050">
                  <a:solidFill>
                    <a:srgbClr val="5F5F5F"/>
                  </a:solidFill>
                  <a:latin typeface="Tahoma"/>
                </a:rPr>
                <a:t>« </a:t>
              </a:r>
              <a:r>
                <a:rPr lang="fr-FR" sz="1050" b="1">
                  <a:solidFill>
                    <a:srgbClr val="5F5F5F"/>
                  </a:solidFill>
                  <a:latin typeface="Tahoma"/>
                </a:rPr>
                <a:t>La personne non-professionnelle qui vient en aide à titre principal, pour partie ou totalement, à une personne dépendante de son entourage, pour les activités de la vie quotidienne</a:t>
              </a:r>
              <a:r>
                <a:rPr lang="fr-FR" sz="1050">
                  <a:solidFill>
                    <a:srgbClr val="5F5F5F"/>
                  </a:solidFill>
                  <a:latin typeface="Tahoma"/>
                </a:rPr>
                <a:t>. Cette aide régulière peut être prodiguée de façon permanente ou non et peut prendre plusieurs formes (…). »</a:t>
              </a:r>
            </a:p>
          </p:txBody>
        </p:sp>
        <p:sp>
          <p:nvSpPr>
            <p:cNvPr id="10" name="AutoShape 8">
              <a:extLst>
                <a:ext uri="{FF2B5EF4-FFF2-40B4-BE49-F238E27FC236}">
                  <a16:creationId xmlns:a16="http://schemas.microsoft.com/office/drawing/2014/main" id="{B40EB2B5-B2FE-4549-BA8F-30A2DB7DD55D}"/>
                </a:ext>
              </a:extLst>
            </p:cNvPr>
            <p:cNvSpPr>
              <a:spLocks noChangeArrowheads="1"/>
            </p:cNvSpPr>
            <p:nvPr/>
          </p:nvSpPr>
          <p:spPr bwMode="gray">
            <a:xfrm>
              <a:off x="344488" y="5409626"/>
              <a:ext cx="2813650" cy="1107122"/>
            </a:xfrm>
            <a:prstGeom prst="homePlate">
              <a:avLst>
                <a:gd name="adj" fmla="val 22260"/>
              </a:avLst>
            </a:prstGeom>
            <a:solidFill>
              <a:schemeClr val="accent4"/>
            </a:solidFill>
            <a:ln w="19050">
              <a:noFill/>
              <a:miter lim="800000"/>
              <a:headEnd/>
              <a:tailEnd/>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r>
                <a:rPr lang="fr-FR" altLang="de-DE" sz="1200" b="1">
                  <a:solidFill>
                    <a:srgbClr val="FFFFFF"/>
                  </a:solidFill>
                  <a:latin typeface="Tahoma"/>
                </a:rPr>
                <a:t>Définition de l’OCDE</a:t>
              </a:r>
            </a:p>
          </p:txBody>
        </p:sp>
        <p:sp>
          <p:nvSpPr>
            <p:cNvPr id="12" name="Espace réservé du texte 3">
              <a:extLst>
                <a:ext uri="{FF2B5EF4-FFF2-40B4-BE49-F238E27FC236}">
                  <a16:creationId xmlns:a16="http://schemas.microsoft.com/office/drawing/2014/main" id="{10086AC8-B714-44B7-972F-318E39CFCFE6}"/>
                </a:ext>
              </a:extLst>
            </p:cNvPr>
            <p:cNvSpPr txBox="1">
              <a:spLocks/>
            </p:cNvSpPr>
            <p:nvPr/>
          </p:nvSpPr>
          <p:spPr>
            <a:xfrm>
              <a:off x="3381954" y="5513954"/>
              <a:ext cx="6142525" cy="886846"/>
            </a:xfrm>
            <a:prstGeom prst="rect">
              <a:avLst/>
            </a:prstGeom>
            <a:ln>
              <a:noFill/>
            </a:ln>
          </p:spPr>
          <p:txBody>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sz="1050">
                  <a:solidFill>
                    <a:srgbClr val="5F5F5F"/>
                  </a:solidFill>
                  <a:latin typeface="Tahoma"/>
                </a:rPr>
                <a:t>« Individus qui dispensent, chez eux ou à l’extérieur, </a:t>
              </a:r>
              <a:r>
                <a:rPr lang="fr-FR" sz="1050" b="1">
                  <a:solidFill>
                    <a:srgbClr val="5F5F5F"/>
                  </a:solidFill>
                  <a:latin typeface="Tahoma"/>
                </a:rPr>
                <a:t>des soins quotidiens ou hebdomadaires aux membres de leur famille</a:t>
              </a:r>
              <a:r>
                <a:rPr lang="fr-FR" sz="1050">
                  <a:solidFill>
                    <a:srgbClr val="5F5F5F"/>
                  </a:solidFill>
                  <a:latin typeface="Tahoma"/>
                </a:rPr>
                <a:t>, à leurs amis ou aux membres de leur réseau de relations qui nécessitent une aide dans les </a:t>
              </a:r>
              <a:r>
                <a:rPr lang="fr-FR" sz="1050" b="1">
                  <a:solidFill>
                    <a:srgbClr val="5F5F5F"/>
                  </a:solidFill>
                  <a:latin typeface="Tahoma"/>
                </a:rPr>
                <a:t>activités élémentaires de la vie quotidienne </a:t>
              </a:r>
              <a:r>
                <a:rPr lang="fr-FR" sz="1050">
                  <a:solidFill>
                    <a:srgbClr val="5F5F5F"/>
                  </a:solidFill>
                  <a:latin typeface="Tahoma"/>
                </a:rPr>
                <a:t>(AVQ) et les activités instrumentales de la vie quotidienne... »</a:t>
              </a:r>
            </a:p>
          </p:txBody>
        </p:sp>
        <p:cxnSp>
          <p:nvCxnSpPr>
            <p:cNvPr id="14" name="Connecteur droit 13">
              <a:extLst>
                <a:ext uri="{FF2B5EF4-FFF2-40B4-BE49-F238E27FC236}">
                  <a16:creationId xmlns:a16="http://schemas.microsoft.com/office/drawing/2014/main" id="{4D047FA9-C5AA-4D76-A19C-399493002E1C}"/>
                </a:ext>
              </a:extLst>
            </p:cNvPr>
            <p:cNvCxnSpPr/>
            <p:nvPr/>
          </p:nvCxnSpPr>
          <p:spPr>
            <a:xfrm>
              <a:off x="242371" y="2430952"/>
              <a:ext cx="9224901" cy="0"/>
            </a:xfrm>
            <a:prstGeom prst="line">
              <a:avLst/>
            </a:prstGeom>
            <a:ln w="6350" cap="flat" cmpd="sng" algn="ctr">
              <a:solidFill>
                <a:schemeClr val="bg2">
                  <a:lumMod val="100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2734B658-E93B-419E-8D42-4C5E3072192E}"/>
                </a:ext>
              </a:extLst>
            </p:cNvPr>
            <p:cNvCxnSpPr/>
            <p:nvPr/>
          </p:nvCxnSpPr>
          <p:spPr>
            <a:xfrm>
              <a:off x="242371" y="3850292"/>
              <a:ext cx="9224901" cy="0"/>
            </a:xfrm>
            <a:prstGeom prst="line">
              <a:avLst/>
            </a:prstGeom>
            <a:ln w="6350" cap="flat" cmpd="sng" algn="ctr">
              <a:solidFill>
                <a:schemeClr val="bg2">
                  <a:lumMod val="100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ABD4DB5F-9095-4DC4-919B-783D0F65FB6A}"/>
                </a:ext>
              </a:extLst>
            </p:cNvPr>
            <p:cNvCxnSpPr/>
            <p:nvPr/>
          </p:nvCxnSpPr>
          <p:spPr>
            <a:xfrm>
              <a:off x="273585" y="5269630"/>
              <a:ext cx="9224901" cy="0"/>
            </a:xfrm>
            <a:prstGeom prst="line">
              <a:avLst/>
            </a:prstGeom>
            <a:ln w="6350" cap="flat" cmpd="sng" algn="ctr">
              <a:solidFill>
                <a:schemeClr val="bg2">
                  <a:lumMod val="100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1" name="ZoneTexte 30">
            <a:extLst>
              <a:ext uri="{FF2B5EF4-FFF2-40B4-BE49-F238E27FC236}">
                <a16:creationId xmlns:a16="http://schemas.microsoft.com/office/drawing/2014/main" id="{734B974D-71D6-4079-8474-39E62CD21364}"/>
              </a:ext>
            </a:extLst>
          </p:cNvPr>
          <p:cNvSpPr txBox="1"/>
          <p:nvPr/>
        </p:nvSpPr>
        <p:spPr>
          <a:xfrm>
            <a:off x="1580528" y="856600"/>
            <a:ext cx="9122872" cy="600164"/>
          </a:xfrm>
          <a:prstGeom prst="rect">
            <a:avLst/>
          </a:prstGeom>
          <a:solidFill>
            <a:schemeClr val="bg1">
              <a:lumMod val="95000"/>
            </a:schemeClr>
          </a:solidFill>
          <a:ln w="28575" cap="flat" cmpd="sng" algn="ctr">
            <a:noFill/>
            <a:prstDash val="sysDot"/>
            <a:round/>
            <a:headEnd type="none" w="med" len="med"/>
            <a:tailEnd type="none" w="med" len="med"/>
          </a:ln>
        </p:spPr>
        <p:txBody>
          <a:bodyPr wrap="square" lIns="108000" rIns="108000" rtlCol="0">
            <a:spAutoFit/>
          </a:bodyPr>
          <a:lstStyle/>
          <a:p>
            <a:r>
              <a:rPr lang="fr-FR" sz="1100" b="1">
                <a:solidFill>
                  <a:srgbClr val="503078"/>
                </a:solidFill>
                <a:latin typeface="Tahoma"/>
              </a:rPr>
              <a:t>Plusieurs définitions ont été proposées au niveaux national et communautaire. </a:t>
            </a:r>
            <a:r>
              <a:rPr lang="fr-FR" sz="1100">
                <a:solidFill>
                  <a:srgbClr val="503078"/>
                </a:solidFill>
                <a:latin typeface="Tahoma"/>
              </a:rPr>
              <a:t>Dans les textes législatifs français apparaît une distinction forte entre les aidants de personnes âgées et les aidants de personnes en situation de handicap, qui complexifie l’appréhension de la problématique des aidants.</a:t>
            </a:r>
          </a:p>
        </p:txBody>
      </p:sp>
      <p:grpSp>
        <p:nvGrpSpPr>
          <p:cNvPr id="19" name="Group 15">
            <a:extLst>
              <a:ext uri="{FF2B5EF4-FFF2-40B4-BE49-F238E27FC236}">
                <a16:creationId xmlns:a16="http://schemas.microsoft.com/office/drawing/2014/main" id="{D9676506-0681-4E2A-8B77-63A86C509ACD}"/>
              </a:ext>
            </a:extLst>
          </p:cNvPr>
          <p:cNvGrpSpPr>
            <a:grpSpLocks/>
          </p:cNvGrpSpPr>
          <p:nvPr>
            <p:custDataLst>
              <p:tags r:id="rId2"/>
            </p:custDataLst>
          </p:nvPr>
        </p:nvGrpSpPr>
        <p:grpSpPr>
          <a:xfrm>
            <a:off x="10369595" y="4749848"/>
            <a:ext cx="585810" cy="646374"/>
            <a:chOff x="1469330" y="809625"/>
            <a:chExt cx="1619250" cy="1619250"/>
          </a:xfrm>
        </p:grpSpPr>
        <p:pic>
          <p:nvPicPr>
            <p:cNvPr id="20" name="Graphic 2 [2]" hidden="1">
              <a:extLst>
                <a:ext uri="{FF2B5EF4-FFF2-40B4-BE49-F238E27FC236}">
                  <a16:creationId xmlns:a16="http://schemas.microsoft.com/office/drawing/2014/main" id="{5A802271-5FE2-44B0-A24F-82FAB62158B6}"/>
                </a:ext>
              </a:extLst>
            </p:cNvPr>
            <p:cNvPicPr>
              <a:picLocks noChangeAspect="1"/>
            </p:cNvPicPr>
            <p:nvPr>
              <p:custDataLst>
                <p:tags r:id="rId3"/>
              </p:custDataLst>
            </p:nvPr>
          </p:nvPicPr>
          <p:blipFill>
            <a:blip r:embed="rId8">
              <a:extLst>
                <a:ext uri="{96DAC541-7B7A-43D3-8B79-37D633B846F1}">
                  <asvg:svgBlip xmlns:asvg="http://schemas.microsoft.com/office/drawing/2016/SVG/main" r:embed="rId9"/>
                </a:ext>
              </a:extLst>
            </a:blip>
            <a:stretch>
              <a:fillRect/>
            </a:stretch>
          </p:blipFill>
          <p:spPr>
            <a:xfrm>
              <a:off x="1469330" y="809625"/>
              <a:ext cx="1619250" cy="1619250"/>
            </a:xfrm>
            <a:prstGeom prst="rect">
              <a:avLst/>
            </a:prstGeom>
          </p:spPr>
        </p:pic>
        <p:pic>
          <p:nvPicPr>
            <p:cNvPr id="22" name="Graphic 6 [3]" hidden="1">
              <a:extLst>
                <a:ext uri="{FF2B5EF4-FFF2-40B4-BE49-F238E27FC236}">
                  <a16:creationId xmlns:a16="http://schemas.microsoft.com/office/drawing/2014/main" id="{9B9C6F8F-BA2C-4AA0-BAB5-DF3901AB747C}"/>
                </a:ext>
              </a:extLst>
            </p:cNvPr>
            <p:cNvPicPr>
              <a:picLocks noChangeAspect="1"/>
            </p:cNvPicPr>
            <p:nvPr>
              <p:custDataLst>
                <p:tags r:id="rId4"/>
              </p:custDataLst>
            </p:nvPr>
          </p:nvPicPr>
          <p:blipFill>
            <a:blip r:embed="rId10">
              <a:extLst>
                <a:ext uri="{96DAC541-7B7A-43D3-8B79-37D633B846F1}">
                  <asvg:svgBlip xmlns:asvg="http://schemas.microsoft.com/office/drawing/2016/SVG/main" r:embed="rId11"/>
                </a:ext>
              </a:extLst>
            </a:blip>
            <a:stretch>
              <a:fillRect/>
            </a:stretch>
          </p:blipFill>
          <p:spPr>
            <a:xfrm>
              <a:off x="1469330" y="809625"/>
              <a:ext cx="1619250" cy="1619250"/>
            </a:xfrm>
            <a:prstGeom prst="rect">
              <a:avLst/>
            </a:prstGeom>
          </p:spPr>
        </p:pic>
        <p:pic>
          <p:nvPicPr>
            <p:cNvPr id="23" name="Graphic 12 [1]" hidden="1">
              <a:extLst>
                <a:ext uri="{FF2B5EF4-FFF2-40B4-BE49-F238E27FC236}">
                  <a16:creationId xmlns:a16="http://schemas.microsoft.com/office/drawing/2014/main" id="{D6577BC1-0CAC-469B-9C09-8393BACA9F94}"/>
                </a:ext>
              </a:extLst>
            </p:cNvPr>
            <p:cNvPicPr>
              <a:picLocks noChangeAspect="1"/>
            </p:cNvPicPr>
            <p:nvPr>
              <p:custDataLst>
                <p:tags r:id="rId5"/>
              </p:custDataLst>
            </p:nvPr>
          </p:nvPicPr>
          <p:blipFill>
            <a:blip r:embed="rId12">
              <a:extLst>
                <a:ext uri="{96DAC541-7B7A-43D3-8B79-37D633B846F1}">
                  <asvg:svgBlip xmlns:asvg="http://schemas.microsoft.com/office/drawing/2016/SVG/main" r:embed="rId13"/>
                </a:ext>
              </a:extLst>
            </a:blip>
            <a:stretch>
              <a:fillRect/>
            </a:stretch>
          </p:blipFill>
          <p:spPr>
            <a:xfrm>
              <a:off x="1469330" y="809625"/>
              <a:ext cx="1619250" cy="1619250"/>
            </a:xfrm>
            <a:prstGeom prst="rect">
              <a:avLst/>
            </a:prstGeom>
          </p:spPr>
        </p:pic>
      </p:grpSp>
      <p:sp>
        <p:nvSpPr>
          <p:cNvPr id="24" name="ZoneTexte 23">
            <a:extLst>
              <a:ext uri="{FF2B5EF4-FFF2-40B4-BE49-F238E27FC236}">
                <a16:creationId xmlns:a16="http://schemas.microsoft.com/office/drawing/2014/main" id="{D4D6BB99-6C05-4074-9B19-3A8935E39AF0}"/>
              </a:ext>
            </a:extLst>
          </p:cNvPr>
          <p:cNvSpPr txBox="1"/>
          <p:nvPr/>
        </p:nvSpPr>
        <p:spPr>
          <a:xfrm>
            <a:off x="1270001" y="6642608"/>
            <a:ext cx="7734300" cy="200055"/>
          </a:xfrm>
          <a:prstGeom prst="rect">
            <a:avLst/>
          </a:prstGeom>
          <a:solidFill>
            <a:schemeClr val="bg1"/>
          </a:solidFill>
        </p:spPr>
        <p:txBody>
          <a:bodyPr wrap="square">
            <a:spAutoFit/>
          </a:bodyPr>
          <a:lstStyle/>
          <a:p>
            <a:pPr>
              <a:defRPr/>
            </a:pPr>
            <a:r>
              <a:rPr lang="fr-FR" sz="700">
                <a:solidFill>
                  <a:srgbClr val="5F5F5F">
                    <a:lumMod val="60000"/>
                    <a:lumOff val="40000"/>
                  </a:srgbClr>
                </a:solidFill>
                <a:latin typeface="Tahoma"/>
              </a:rPr>
              <a:t>1. Note de cadrage, Répit des aidants, 2022, Haute Autorité de Santé.</a:t>
            </a:r>
          </a:p>
        </p:txBody>
      </p:sp>
      <p:sp>
        <p:nvSpPr>
          <p:cNvPr id="18" name="ZoneTexte 17">
            <a:extLst>
              <a:ext uri="{FF2B5EF4-FFF2-40B4-BE49-F238E27FC236}">
                <a16:creationId xmlns:a16="http://schemas.microsoft.com/office/drawing/2014/main" id="{D3F19FFC-E5EE-4D31-A407-C3CDEF5B412F}"/>
              </a:ext>
            </a:extLst>
          </p:cNvPr>
          <p:cNvSpPr txBox="1"/>
          <p:nvPr/>
        </p:nvSpPr>
        <p:spPr>
          <a:xfrm>
            <a:off x="4679830" y="6155156"/>
            <a:ext cx="5994552" cy="600164"/>
          </a:xfrm>
          <a:prstGeom prst="rect">
            <a:avLst/>
          </a:prstGeom>
          <a:noFill/>
          <a:ln w="28575" cap="flat" cmpd="sng" algn="ctr">
            <a:solidFill>
              <a:schemeClr val="tx1">
                <a:lumMod val="100000"/>
              </a:schemeClr>
            </a:solidFill>
            <a:prstDash val="sysDot"/>
            <a:round/>
            <a:headEnd type="none" w="med" len="med"/>
            <a:tailEnd type="none" w="med" len="med"/>
          </a:ln>
        </p:spPr>
        <p:txBody>
          <a:bodyPr wrap="square" lIns="108000" rIns="108000" rtlCol="0">
            <a:spAutoFit/>
          </a:bodyPr>
          <a:lstStyle/>
          <a:p>
            <a:r>
              <a:rPr lang="fr-FR" sz="1050" dirty="0">
                <a:solidFill>
                  <a:srgbClr val="503078"/>
                </a:solidFill>
                <a:latin typeface="Tahoma"/>
              </a:rPr>
              <a:t>L’enjeu est de </a:t>
            </a:r>
            <a:r>
              <a:rPr lang="fr-FR" sz="1050" b="1" dirty="0">
                <a:solidFill>
                  <a:srgbClr val="503078"/>
                </a:solidFill>
                <a:latin typeface="Tahoma"/>
              </a:rPr>
              <a:t>converger vers une définition claire du proche aidant, </a:t>
            </a:r>
            <a:r>
              <a:rPr lang="fr-FR" sz="1050" dirty="0">
                <a:solidFill>
                  <a:srgbClr val="503078"/>
                </a:solidFill>
                <a:latin typeface="Tahoma"/>
              </a:rPr>
              <a:t>recouvrant l’ensemble des situations vécues : </a:t>
            </a:r>
            <a:r>
              <a:rPr lang="fr-FR" sz="1050" dirty="0">
                <a:solidFill>
                  <a:srgbClr val="503078"/>
                </a:solidFill>
                <a:latin typeface="Tahoma"/>
                <a:hlinkClick r:id="rId14"/>
              </a:rPr>
              <a:t>une étude est actuellement menée par la Haute Autorité de Santé </a:t>
            </a:r>
            <a:r>
              <a:rPr lang="fr-FR" sz="1050" dirty="0">
                <a:solidFill>
                  <a:srgbClr val="503078"/>
                </a:solidFill>
                <a:latin typeface="Tahoma"/>
              </a:rPr>
              <a:t>à ce sujet</a:t>
            </a:r>
            <a:r>
              <a:rPr lang="fr-FR" sz="1200" dirty="0">
                <a:solidFill>
                  <a:srgbClr val="503078"/>
                </a:solidFill>
                <a:latin typeface="Tahoma"/>
              </a:rPr>
              <a:t>.</a:t>
            </a:r>
            <a:r>
              <a:rPr lang="fr-FR" sz="1200" baseline="30000" dirty="0">
                <a:solidFill>
                  <a:srgbClr val="503078"/>
                </a:solidFill>
                <a:latin typeface="Tahoma"/>
              </a:rPr>
              <a:t>1</a:t>
            </a:r>
          </a:p>
        </p:txBody>
      </p:sp>
    </p:spTree>
    <p:custDataLst>
      <p:tags r:id="rId1"/>
    </p:custDataLst>
    <p:extLst>
      <p:ext uri="{BB962C8B-B14F-4D97-AF65-F5344CB8AC3E}">
        <p14:creationId xmlns:p14="http://schemas.microsoft.com/office/powerpoint/2010/main" val="26055948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2689997E-763F-41EE-92A2-E8A25B005753}"/>
              </a:ext>
            </a:extLst>
          </p:cNvPr>
          <p:cNvSpPr>
            <a:spLocks noGrp="1"/>
          </p:cNvSpPr>
          <p:nvPr>
            <p:ph type="title"/>
          </p:nvPr>
        </p:nvSpPr>
        <p:spPr/>
        <p:txBody>
          <a:bodyPr/>
          <a:lstStyle/>
          <a:p>
            <a:r>
              <a:rPr lang="fr-FR" dirty="0"/>
              <a:t>Entre 8,3 et 11 millions d’aidants en France soit 1 français sur 6 </a:t>
            </a:r>
          </a:p>
        </p:txBody>
      </p:sp>
      <p:sp>
        <p:nvSpPr>
          <p:cNvPr id="3" name="Espace réservé du texte 2">
            <a:extLst>
              <a:ext uri="{FF2B5EF4-FFF2-40B4-BE49-F238E27FC236}">
                <a16:creationId xmlns:a16="http://schemas.microsoft.com/office/drawing/2014/main" id="{120CAE43-622C-4D87-BF98-1721B6F2A21E}"/>
              </a:ext>
            </a:extLst>
          </p:cNvPr>
          <p:cNvSpPr>
            <a:spLocks noGrp="1"/>
          </p:cNvSpPr>
          <p:nvPr>
            <p:ph type="body" sz="quarter" idx="13"/>
          </p:nvPr>
        </p:nvSpPr>
        <p:spPr/>
        <p:txBody>
          <a:bodyPr/>
          <a:lstStyle/>
          <a:p>
            <a:r>
              <a:rPr lang="fr-FR" dirty="0">
                <a:solidFill>
                  <a:srgbClr val="938481"/>
                </a:solidFill>
              </a:rPr>
              <a:t>Dimensionnement des besoins et du marché</a:t>
            </a:r>
          </a:p>
        </p:txBody>
      </p:sp>
      <p:sp>
        <p:nvSpPr>
          <p:cNvPr id="9" name="Rectangle : avec coins arrondis en diagonale 8">
            <a:extLst>
              <a:ext uri="{FF2B5EF4-FFF2-40B4-BE49-F238E27FC236}">
                <a16:creationId xmlns:a16="http://schemas.microsoft.com/office/drawing/2014/main" id="{115123D5-DE74-4ABC-B384-9F8A2AE36DDF}"/>
              </a:ext>
            </a:extLst>
          </p:cNvPr>
          <p:cNvSpPr/>
          <p:nvPr/>
        </p:nvSpPr>
        <p:spPr>
          <a:xfrm>
            <a:off x="1354443" y="832682"/>
            <a:ext cx="9471176" cy="1521709"/>
          </a:xfrm>
          <a:prstGeom prst="round2DiagRect">
            <a:avLst/>
          </a:prstGeom>
          <a:solidFill>
            <a:srgbClr val="F3ED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defRPr/>
            </a:pPr>
            <a:r>
              <a:rPr lang="fr-FR" sz="1200" b="1" dirty="0">
                <a:solidFill>
                  <a:srgbClr val="503078"/>
                </a:solidFill>
                <a:latin typeface="Tahoma"/>
              </a:rPr>
              <a:t>8,3 millions de personnes de 16 ans ou plus occupent la fonction d’aidant</a:t>
            </a:r>
            <a:r>
              <a:rPr lang="fr-FR" sz="1200" b="1" kern="0" baseline="30000" dirty="0">
                <a:solidFill>
                  <a:srgbClr val="503078"/>
                </a:solidFill>
                <a:latin typeface="Tahoma"/>
              </a:rPr>
              <a:t>1</a:t>
            </a:r>
            <a:r>
              <a:rPr lang="fr-FR" sz="1200" b="1">
                <a:solidFill>
                  <a:srgbClr val="503078"/>
                </a:solidFill>
                <a:latin typeface="Tahoma"/>
              </a:rPr>
              <a:t> </a:t>
            </a:r>
            <a:r>
              <a:rPr lang="fr-FR" sz="1200" b="1" dirty="0">
                <a:solidFill>
                  <a:srgbClr val="503078"/>
                </a:solidFill>
                <a:latin typeface="Tahoma"/>
              </a:rPr>
              <a:t>(un chiffre estimé par certaines études à 11 millions</a:t>
            </a:r>
            <a:r>
              <a:rPr lang="fr-FR" sz="1200" b="1" kern="0" baseline="30000" dirty="0">
                <a:solidFill>
                  <a:srgbClr val="503078"/>
                </a:solidFill>
                <a:latin typeface="Tahoma"/>
              </a:rPr>
              <a:t>2</a:t>
            </a:r>
            <a:r>
              <a:rPr lang="fr-FR" sz="1200" b="1" dirty="0">
                <a:solidFill>
                  <a:srgbClr val="503078"/>
                </a:solidFill>
                <a:latin typeface="Tahoma"/>
              </a:rPr>
              <a:t>) : </a:t>
            </a:r>
          </a:p>
          <a:p>
            <a:pPr marL="285750" indent="-285750">
              <a:buFont typeface="Tahoma" panose="020B0604030504040204" pitchFamily="34" charset="0"/>
              <a:buChar char="⁄"/>
              <a:defRPr/>
            </a:pPr>
            <a:r>
              <a:rPr lang="fr-FR" sz="1200" b="1" dirty="0">
                <a:solidFill>
                  <a:srgbClr val="503078"/>
                </a:solidFill>
                <a:latin typeface="Tahoma"/>
              </a:rPr>
              <a:t>4,3 millions </a:t>
            </a:r>
            <a:r>
              <a:rPr lang="fr-FR" sz="1200" dirty="0">
                <a:solidFill>
                  <a:srgbClr val="503078"/>
                </a:solidFill>
                <a:latin typeface="Tahoma"/>
              </a:rPr>
              <a:t>auprès de personnes en situation de dépendance âgées de 60 ans ou plus vivant à domicile (dont 3,4 millions pour des actes de la vie quotidienne) </a:t>
            </a:r>
          </a:p>
          <a:p>
            <a:pPr marL="285750" indent="-285750">
              <a:buFont typeface="Tahoma" panose="020B0604030504040204" pitchFamily="34" charset="0"/>
              <a:buChar char="⁄"/>
              <a:defRPr/>
            </a:pPr>
            <a:r>
              <a:rPr lang="fr-FR" sz="1200" b="1" dirty="0">
                <a:solidFill>
                  <a:srgbClr val="503078"/>
                </a:solidFill>
                <a:latin typeface="Tahoma"/>
              </a:rPr>
              <a:t>4 millions </a:t>
            </a:r>
            <a:r>
              <a:rPr lang="fr-FR" sz="1200" dirty="0">
                <a:solidFill>
                  <a:srgbClr val="503078"/>
                </a:solidFill>
                <a:latin typeface="Tahoma"/>
              </a:rPr>
              <a:t>auprès de personnes en situation de dépendance de moins de 60 ans </a:t>
            </a:r>
          </a:p>
          <a:p>
            <a:pPr marL="285750" indent="-285750">
              <a:buFont typeface="Tahoma" panose="020B0604030504040204" pitchFamily="34" charset="0"/>
              <a:buChar char="⁄"/>
              <a:defRPr/>
            </a:pPr>
            <a:endParaRPr lang="fr-FR" sz="1200" dirty="0">
              <a:solidFill>
                <a:srgbClr val="503078"/>
              </a:solidFill>
              <a:latin typeface="Tahoma"/>
            </a:endParaRPr>
          </a:p>
          <a:p>
            <a:pPr>
              <a:defRPr/>
            </a:pPr>
            <a:r>
              <a:rPr lang="fr-FR" sz="1200" b="1" dirty="0">
                <a:solidFill>
                  <a:srgbClr val="503078"/>
                </a:solidFill>
                <a:latin typeface="Tahoma"/>
              </a:rPr>
              <a:t>Les aidants ont en moyenne 52 ans.</a:t>
            </a:r>
          </a:p>
        </p:txBody>
      </p:sp>
      <p:sp>
        <p:nvSpPr>
          <p:cNvPr id="18" name="TextBox 2">
            <a:extLst>
              <a:ext uri="{FF2B5EF4-FFF2-40B4-BE49-F238E27FC236}">
                <a16:creationId xmlns:a16="http://schemas.microsoft.com/office/drawing/2014/main" id="{56F48E3C-4B5E-4820-ACA8-4BF7844B80E8}"/>
              </a:ext>
            </a:extLst>
          </p:cNvPr>
          <p:cNvSpPr txBox="1">
            <a:spLocks/>
          </p:cNvSpPr>
          <p:nvPr/>
        </p:nvSpPr>
        <p:spPr>
          <a:xfrm>
            <a:off x="-1404137" y="2485006"/>
            <a:ext cx="3508050" cy="246221"/>
          </a:xfrm>
          <a:prstGeom prst="rect">
            <a:avLst/>
          </a:prstGeom>
          <a:noFill/>
        </p:spPr>
        <p:txBody>
          <a:bodyPr wrap="square" lIns="108000" rIns="108000" rtlCol="0">
            <a:spAutoFit/>
          </a:bodyPr>
          <a:lstStyle/>
          <a:p>
            <a:pPr>
              <a:defRPr/>
            </a:pPr>
            <a:endParaRPr lang="fr-FR" sz="1000">
              <a:solidFill>
                <a:srgbClr val="5F5F5F">
                  <a:lumMod val="60000"/>
                  <a:lumOff val="40000"/>
                </a:srgbClr>
              </a:solidFill>
              <a:latin typeface="Tahoma"/>
            </a:endParaRPr>
          </a:p>
        </p:txBody>
      </p:sp>
      <p:sp>
        <p:nvSpPr>
          <p:cNvPr id="19" name="ZoneTexte 18">
            <a:extLst>
              <a:ext uri="{FF2B5EF4-FFF2-40B4-BE49-F238E27FC236}">
                <a16:creationId xmlns:a16="http://schemas.microsoft.com/office/drawing/2014/main" id="{A871B128-682F-473C-BBF5-1483DE7A0AF4}"/>
              </a:ext>
            </a:extLst>
          </p:cNvPr>
          <p:cNvSpPr txBox="1"/>
          <p:nvPr/>
        </p:nvSpPr>
        <p:spPr>
          <a:xfrm>
            <a:off x="1143001" y="6218144"/>
            <a:ext cx="9132395" cy="630942"/>
          </a:xfrm>
          <a:prstGeom prst="rect">
            <a:avLst/>
          </a:prstGeom>
          <a:solidFill>
            <a:schemeClr val="bg1"/>
          </a:solidFill>
        </p:spPr>
        <p:txBody>
          <a:bodyPr wrap="square">
            <a:spAutoFit/>
          </a:bodyPr>
          <a:lstStyle/>
          <a:p>
            <a:pPr>
              <a:defRPr/>
            </a:pPr>
            <a:r>
              <a:rPr lang="fr-FR" sz="700" dirty="0">
                <a:solidFill>
                  <a:srgbClr val="5F5F5F">
                    <a:lumMod val="60000"/>
                    <a:lumOff val="40000"/>
                  </a:srgbClr>
                </a:solidFill>
                <a:latin typeface="Tahoma"/>
              </a:rPr>
              <a:t>1. Enquête Handicap-Santé auprès des aidants informels, DREES, 2008. Enquête Handicap-Santé, volet ménages, INSEE</a:t>
            </a:r>
          </a:p>
          <a:p>
            <a:pPr>
              <a:defRPr/>
            </a:pPr>
            <a:r>
              <a:rPr lang="fr-FR" sz="700" dirty="0">
                <a:solidFill>
                  <a:srgbClr val="5F5F5F">
                    <a:lumMod val="60000"/>
                    <a:lumOff val="40000"/>
                  </a:srgbClr>
                </a:solidFill>
                <a:latin typeface="Tahoma"/>
              </a:rPr>
              <a:t>2. Baromètre des aidants, 2021, Fondation April avec l’Institut BVA</a:t>
            </a:r>
          </a:p>
          <a:p>
            <a:r>
              <a:rPr lang="fr-FR" sz="700" dirty="0">
                <a:solidFill>
                  <a:srgbClr val="5F5F5F">
                    <a:lumMod val="60000"/>
                    <a:lumOff val="40000"/>
                  </a:srgbClr>
                </a:solidFill>
                <a:latin typeface="Tahoma"/>
              </a:rPr>
              <a:t>3. Étude de la politique de l’aide aux aidants et évaluation des dispositifs d’aide aux aidants subventionnés par la CNSA au titre des sections IV et V de son budget, </a:t>
            </a:r>
            <a:r>
              <a:rPr lang="fr-FR" sz="700" dirty="0" err="1">
                <a:solidFill>
                  <a:srgbClr val="5F5F5F">
                    <a:lumMod val="60000"/>
                    <a:lumOff val="40000"/>
                  </a:srgbClr>
                </a:solidFill>
                <a:latin typeface="Tahoma"/>
              </a:rPr>
              <a:t>Eneis</a:t>
            </a:r>
            <a:r>
              <a:rPr lang="fr-FR" sz="700" dirty="0">
                <a:solidFill>
                  <a:srgbClr val="5F5F5F">
                    <a:lumMod val="60000"/>
                    <a:lumOff val="40000"/>
                  </a:srgbClr>
                </a:solidFill>
                <a:latin typeface="Tahoma"/>
              </a:rPr>
              <a:t> Conseil et CNSA, 2015.</a:t>
            </a:r>
          </a:p>
          <a:p>
            <a:r>
              <a:rPr lang="fr-FR" sz="700" dirty="0">
                <a:solidFill>
                  <a:srgbClr val="5F5F5F">
                    <a:lumMod val="60000"/>
                    <a:lumOff val="40000"/>
                  </a:srgbClr>
                </a:solidFill>
                <a:latin typeface="Tahoma"/>
              </a:rPr>
              <a:t>4. Insee, </a:t>
            </a:r>
            <a:r>
              <a:rPr lang="fr-FR" sz="700" dirty="0">
                <a:solidFill>
                  <a:srgbClr val="5F5F5F">
                    <a:lumMod val="60000"/>
                    <a:lumOff val="40000"/>
                  </a:srgbClr>
                </a:solidFill>
                <a:latin typeface="Tahoma"/>
                <a:hlinkClick r:id="rId3">
                  <a:extLst>
                    <a:ext uri="{A12FA001-AC4F-418D-AE19-62706E023703}">
                      <ahyp:hlinkClr xmlns:ahyp="http://schemas.microsoft.com/office/drawing/2018/hyperlinkcolor" val="tx"/>
                    </a:ext>
                  </a:extLst>
                </a:hlinkClick>
              </a:rPr>
              <a:t>4 millions de seniors seraient en perte d’autonomie en 2050 </a:t>
            </a:r>
            <a:r>
              <a:rPr lang="fr-FR" sz="700" dirty="0">
                <a:solidFill>
                  <a:srgbClr val="5F5F5F">
                    <a:lumMod val="60000"/>
                    <a:lumOff val="40000"/>
                  </a:srgbClr>
                </a:solidFill>
                <a:latin typeface="Tahoma"/>
              </a:rPr>
              <a:t>- juillet 2019 – Infographie : </a:t>
            </a:r>
            <a:r>
              <a:rPr lang="fr-FR" sz="700" dirty="0">
                <a:solidFill>
                  <a:srgbClr val="5F5F5F">
                    <a:lumMod val="60000"/>
                    <a:lumOff val="40000"/>
                  </a:srgbClr>
                </a:solidFill>
                <a:latin typeface="Tahoma"/>
                <a:hlinkClick r:id="rId4">
                  <a:extLst>
                    <a:ext uri="{A12FA001-AC4F-418D-AE19-62706E023703}">
                      <ahyp:hlinkClr xmlns:ahyp="http://schemas.microsoft.com/office/drawing/2018/hyperlinkcolor" val="tx"/>
                    </a:ext>
                  </a:extLst>
                </a:hlinkClick>
              </a:rPr>
              <a:t>Le Monde</a:t>
            </a:r>
            <a:endParaRPr lang="fr-FR" sz="700" dirty="0">
              <a:solidFill>
                <a:srgbClr val="5F5F5F">
                  <a:lumMod val="60000"/>
                  <a:lumOff val="40000"/>
                </a:srgbClr>
              </a:solidFill>
              <a:latin typeface="Tahoma"/>
            </a:endParaRPr>
          </a:p>
          <a:p>
            <a:r>
              <a:rPr lang="fr-FR" sz="700" dirty="0">
                <a:solidFill>
                  <a:srgbClr val="5F5F5F">
                    <a:lumMod val="60000"/>
                    <a:lumOff val="40000"/>
                  </a:srgbClr>
                </a:solidFill>
                <a:latin typeface="Tahoma"/>
              </a:rPr>
              <a:t>5. DREES, décembre 2020 </a:t>
            </a:r>
            <a:r>
              <a:rPr lang="fr-FR" sz="700" dirty="0">
                <a:solidFill>
                  <a:srgbClr val="5F5F5F">
                    <a:lumMod val="60000"/>
                    <a:lumOff val="40000"/>
                  </a:srgbClr>
                </a:solidFill>
                <a:latin typeface="Tahoma"/>
                <a:hlinkClick r:id="rId5">
                  <a:extLst>
                    <a:ext uri="{A12FA001-AC4F-418D-AE19-62706E023703}">
                      <ahyp:hlinkClr xmlns:ahyp="http://schemas.microsoft.com/office/drawing/2018/hyperlinkcolor" val="tx"/>
                    </a:ext>
                  </a:extLst>
                </a:hlinkClick>
              </a:rPr>
              <a:t>Projections de population âgée en perte d’autonomie selon le modèle Lieux de vie et autonomie (LIVIA)</a:t>
            </a:r>
            <a:endParaRPr lang="fr-FR" sz="700" dirty="0">
              <a:solidFill>
                <a:srgbClr val="5F5F5F">
                  <a:lumMod val="60000"/>
                  <a:lumOff val="40000"/>
                </a:srgbClr>
              </a:solidFill>
              <a:latin typeface="Tahoma"/>
            </a:endParaRPr>
          </a:p>
        </p:txBody>
      </p:sp>
      <p:sp>
        <p:nvSpPr>
          <p:cNvPr id="15" name="ZoneTexte 14">
            <a:extLst>
              <a:ext uri="{FF2B5EF4-FFF2-40B4-BE49-F238E27FC236}">
                <a16:creationId xmlns:a16="http://schemas.microsoft.com/office/drawing/2014/main" id="{9ECF7B00-E64B-41E4-A279-22AB25CDD423}"/>
              </a:ext>
            </a:extLst>
          </p:cNvPr>
          <p:cNvSpPr txBox="1"/>
          <p:nvPr/>
        </p:nvSpPr>
        <p:spPr>
          <a:xfrm>
            <a:off x="1346201" y="5363056"/>
            <a:ext cx="9479418" cy="738664"/>
          </a:xfrm>
          <a:prstGeom prst="rect">
            <a:avLst/>
          </a:prstGeom>
          <a:noFill/>
          <a:ln>
            <a:solidFill>
              <a:schemeClr val="bg2"/>
            </a:solidFill>
          </a:ln>
        </p:spPr>
        <p:txBody>
          <a:bodyPr wrap="square">
            <a:spAutoFit/>
          </a:bodyPr>
          <a:lstStyle/>
          <a:p>
            <a:pPr algn="just">
              <a:defRPr/>
            </a:pPr>
            <a:r>
              <a:rPr lang="fr-FR" sz="1050" dirty="0">
                <a:solidFill>
                  <a:srgbClr val="5F5F5F"/>
                </a:solidFill>
                <a:latin typeface="Tahoma"/>
              </a:rPr>
              <a:t>Le vieillissement de la population française conduira dans les années à venir à une </a:t>
            </a:r>
            <a:r>
              <a:rPr lang="fr-FR" sz="1050" b="1">
                <a:solidFill>
                  <a:srgbClr val="503078"/>
                </a:solidFill>
                <a:latin typeface="Tahoma"/>
              </a:rPr>
              <a:t>augmentation du nombre de personnes âgées dépendantes</a:t>
            </a:r>
            <a:r>
              <a:rPr lang="fr-FR" sz="1050" dirty="0">
                <a:solidFill>
                  <a:srgbClr val="5F5F5F"/>
                </a:solidFill>
                <a:latin typeface="Tahoma"/>
              </a:rPr>
              <a:t>. L’Insee</a:t>
            </a:r>
            <a:r>
              <a:rPr lang="fr-FR" sz="1050" baseline="30000" dirty="0">
                <a:solidFill>
                  <a:srgbClr val="5F5F5F"/>
                </a:solidFill>
                <a:latin typeface="Tahoma"/>
              </a:rPr>
              <a:t>4</a:t>
            </a:r>
            <a:r>
              <a:rPr lang="fr-FR" sz="1050" dirty="0">
                <a:solidFill>
                  <a:srgbClr val="5F5F5F"/>
                </a:solidFill>
                <a:latin typeface="Tahoma"/>
              </a:rPr>
              <a:t> estime que si ces tendances démographiques couplées à un accroissement de l’espérance de vie se poursuivent, la France hors Mayotte compterait </a:t>
            </a:r>
            <a:r>
              <a:rPr lang="fr-FR" sz="1050" b="1" dirty="0">
                <a:solidFill>
                  <a:srgbClr val="503078"/>
                </a:solidFill>
                <a:latin typeface="Tahoma"/>
              </a:rPr>
              <a:t>4 millions de seniors en perte d’autonomie en 2050 (contre 800 000 actuellement)</a:t>
            </a:r>
            <a:r>
              <a:rPr lang="fr-FR" sz="1050" dirty="0">
                <a:solidFill>
                  <a:srgbClr val="5F5F5F"/>
                </a:solidFill>
                <a:latin typeface="Tahoma"/>
              </a:rPr>
              <a:t>, soit </a:t>
            </a:r>
            <a:r>
              <a:rPr lang="fr-FR" sz="1050" b="1" dirty="0">
                <a:solidFill>
                  <a:srgbClr val="503078"/>
                </a:solidFill>
                <a:latin typeface="Tahoma"/>
              </a:rPr>
              <a:t>16,4%</a:t>
            </a:r>
            <a:r>
              <a:rPr lang="fr-FR" sz="1050" dirty="0">
                <a:solidFill>
                  <a:srgbClr val="5F5F5F"/>
                </a:solidFill>
                <a:latin typeface="Tahoma"/>
              </a:rPr>
              <a:t> des seniors. Ce chiffre est estimé à 2,2 millions par la DREES</a:t>
            </a:r>
            <a:r>
              <a:rPr lang="fr-FR" sz="1050" baseline="30000" dirty="0">
                <a:solidFill>
                  <a:srgbClr val="5F5F5F"/>
                </a:solidFill>
                <a:latin typeface="Tahoma"/>
              </a:rPr>
              <a:t>5</a:t>
            </a:r>
            <a:r>
              <a:rPr lang="fr-FR" sz="1050" dirty="0">
                <a:solidFill>
                  <a:srgbClr val="5F5F5F"/>
                </a:solidFill>
                <a:latin typeface="Tahoma"/>
              </a:rPr>
              <a:t>. Ces projections laissent entrevoir une forte croissance du nombre d’aidants à horizon 2050. </a:t>
            </a:r>
            <a:endParaRPr lang="fr-FR" sz="1050" dirty="0">
              <a:solidFill>
                <a:srgbClr val="503078"/>
              </a:solidFill>
              <a:latin typeface="Tahoma"/>
            </a:endParaRPr>
          </a:p>
        </p:txBody>
      </p:sp>
      <p:graphicFrame>
        <p:nvGraphicFramePr>
          <p:cNvPr id="27" name="Object 3">
            <a:extLst>
              <a:ext uri="{FF2B5EF4-FFF2-40B4-BE49-F238E27FC236}">
                <a16:creationId xmlns:a16="http://schemas.microsoft.com/office/drawing/2014/main" id="{18FD40C8-F19C-4E64-A17E-76384077E92A}"/>
              </a:ext>
            </a:extLst>
          </p:cNvPr>
          <p:cNvGraphicFramePr>
            <a:graphicFrameLocks noChangeAspect="1"/>
          </p:cNvGraphicFramePr>
          <p:nvPr/>
        </p:nvGraphicFramePr>
        <p:xfrm>
          <a:off x="2103913" y="2659430"/>
          <a:ext cx="2324080" cy="253607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Object 3">
            <a:extLst>
              <a:ext uri="{FF2B5EF4-FFF2-40B4-BE49-F238E27FC236}">
                <a16:creationId xmlns:a16="http://schemas.microsoft.com/office/drawing/2014/main" id="{6D985563-7A81-488A-B7C7-DB1AE58C52D0}"/>
              </a:ext>
            </a:extLst>
          </p:cNvPr>
          <p:cNvGraphicFramePr>
            <a:graphicFrameLocks noChangeAspect="1"/>
          </p:cNvGraphicFramePr>
          <p:nvPr/>
        </p:nvGraphicFramePr>
        <p:xfrm>
          <a:off x="5000290" y="2649222"/>
          <a:ext cx="2342286" cy="25559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0" name="Object 3">
            <a:extLst>
              <a:ext uri="{FF2B5EF4-FFF2-40B4-BE49-F238E27FC236}">
                <a16:creationId xmlns:a16="http://schemas.microsoft.com/office/drawing/2014/main" id="{1229AF5E-0E31-4028-9073-C54999ED89FF}"/>
              </a:ext>
            </a:extLst>
          </p:cNvPr>
          <p:cNvGraphicFramePr>
            <a:graphicFrameLocks noChangeAspect="1"/>
          </p:cNvGraphicFramePr>
          <p:nvPr/>
        </p:nvGraphicFramePr>
        <p:xfrm>
          <a:off x="7910498" y="2659429"/>
          <a:ext cx="2342286" cy="2555940"/>
        </p:xfrm>
        <a:graphic>
          <a:graphicData uri="http://schemas.openxmlformats.org/drawingml/2006/chart">
            <c:chart xmlns:c="http://schemas.openxmlformats.org/drawingml/2006/chart" xmlns:r="http://schemas.openxmlformats.org/officeDocument/2006/relationships" r:id="rId8"/>
          </a:graphicData>
        </a:graphic>
      </p:graphicFrame>
      <p:sp>
        <p:nvSpPr>
          <p:cNvPr id="16" name="ZoneTexte 15">
            <a:extLst>
              <a:ext uri="{FF2B5EF4-FFF2-40B4-BE49-F238E27FC236}">
                <a16:creationId xmlns:a16="http://schemas.microsoft.com/office/drawing/2014/main" id="{CFB0579A-33CF-4B01-9B7D-B04F616DC927}"/>
              </a:ext>
            </a:extLst>
          </p:cNvPr>
          <p:cNvSpPr txBox="1"/>
          <p:nvPr/>
        </p:nvSpPr>
        <p:spPr>
          <a:xfrm>
            <a:off x="1601907" y="2368327"/>
            <a:ext cx="1950194" cy="307777"/>
          </a:xfrm>
          <a:prstGeom prst="rect">
            <a:avLst/>
          </a:prstGeom>
          <a:noFill/>
        </p:spPr>
        <p:txBody>
          <a:bodyPr wrap="square">
            <a:spAutoFit/>
          </a:bodyPr>
          <a:lstStyle/>
          <a:p>
            <a:pPr>
              <a:defRPr/>
            </a:pPr>
            <a:r>
              <a:rPr lang="fr-FR" sz="1400" b="1" dirty="0">
                <a:solidFill>
                  <a:srgbClr val="503078"/>
                </a:solidFill>
                <a:latin typeface="Tahoma"/>
              </a:rPr>
              <a:t>Profil des aidants</a:t>
            </a:r>
            <a:r>
              <a:rPr lang="fr-FR" sz="1400" b="1" kern="0" baseline="30000" dirty="0">
                <a:solidFill>
                  <a:srgbClr val="503078"/>
                </a:solidFill>
                <a:latin typeface="Tahoma"/>
              </a:rPr>
              <a:t>3</a:t>
            </a:r>
            <a:endParaRPr lang="fr-FR" sz="1400" b="1" dirty="0">
              <a:solidFill>
                <a:srgbClr val="503078"/>
              </a:solidFill>
              <a:latin typeface="Tahoma"/>
            </a:endParaRPr>
          </a:p>
        </p:txBody>
      </p:sp>
    </p:spTree>
    <p:extLst>
      <p:ext uri="{BB962C8B-B14F-4D97-AF65-F5344CB8AC3E}">
        <p14:creationId xmlns:p14="http://schemas.microsoft.com/office/powerpoint/2010/main" val="26813138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6" name="Rectangle 385">
            <a:extLst>
              <a:ext uri="{FF2B5EF4-FFF2-40B4-BE49-F238E27FC236}">
                <a16:creationId xmlns:a16="http://schemas.microsoft.com/office/drawing/2014/main" id="{01FE2EFD-6D95-4EA5-A4E6-171C7CC8616F}"/>
              </a:ext>
            </a:extLst>
          </p:cNvPr>
          <p:cNvSpPr/>
          <p:nvPr/>
        </p:nvSpPr>
        <p:spPr>
          <a:xfrm>
            <a:off x="8926212" y="5733027"/>
            <a:ext cx="2122788" cy="11272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 name="Titre 6">
            <a:extLst>
              <a:ext uri="{FF2B5EF4-FFF2-40B4-BE49-F238E27FC236}">
                <a16:creationId xmlns:a16="http://schemas.microsoft.com/office/drawing/2014/main" id="{2689997E-763F-41EE-92A2-E8A25B005753}"/>
              </a:ext>
            </a:extLst>
          </p:cNvPr>
          <p:cNvSpPr>
            <a:spLocks noGrp="1"/>
          </p:cNvSpPr>
          <p:nvPr>
            <p:ph type="title"/>
          </p:nvPr>
        </p:nvSpPr>
        <p:spPr/>
        <p:txBody>
          <a:bodyPr/>
          <a:lstStyle/>
          <a:p>
            <a:pPr algn="l" fontAlgn="base"/>
            <a:r>
              <a:rPr lang="fr-FR"/>
              <a:t>Personnes âgées en perte de dépendance : bénéficiaires de l’APA </a:t>
            </a:r>
          </a:p>
        </p:txBody>
      </p:sp>
      <p:sp>
        <p:nvSpPr>
          <p:cNvPr id="3" name="Espace réservé du texte 2">
            <a:extLst>
              <a:ext uri="{FF2B5EF4-FFF2-40B4-BE49-F238E27FC236}">
                <a16:creationId xmlns:a16="http://schemas.microsoft.com/office/drawing/2014/main" id="{120CAE43-622C-4D87-BF98-1721B6F2A21E}"/>
              </a:ext>
            </a:extLst>
          </p:cNvPr>
          <p:cNvSpPr>
            <a:spLocks noGrp="1"/>
          </p:cNvSpPr>
          <p:nvPr>
            <p:ph type="body" sz="quarter" idx="13"/>
          </p:nvPr>
        </p:nvSpPr>
        <p:spPr/>
        <p:txBody>
          <a:bodyPr/>
          <a:lstStyle/>
          <a:p>
            <a:r>
              <a:rPr lang="fr-FR">
                <a:solidFill>
                  <a:srgbClr val="938481"/>
                </a:solidFill>
              </a:rPr>
              <a:t>Dimensionnement des besoins et du marché</a:t>
            </a:r>
          </a:p>
        </p:txBody>
      </p:sp>
      <p:sp>
        <p:nvSpPr>
          <p:cNvPr id="14" name="ZoneTexte 13">
            <a:extLst>
              <a:ext uri="{FF2B5EF4-FFF2-40B4-BE49-F238E27FC236}">
                <a16:creationId xmlns:a16="http://schemas.microsoft.com/office/drawing/2014/main" id="{48EAF199-1185-42B2-9970-611033E5722D}"/>
              </a:ext>
            </a:extLst>
          </p:cNvPr>
          <p:cNvSpPr txBox="1"/>
          <p:nvPr/>
        </p:nvSpPr>
        <p:spPr>
          <a:xfrm>
            <a:off x="1165528" y="2020298"/>
            <a:ext cx="5033174" cy="338554"/>
          </a:xfrm>
          <a:prstGeom prst="rect">
            <a:avLst/>
          </a:prstGeom>
          <a:noFill/>
        </p:spPr>
        <p:txBody>
          <a:bodyPr wrap="square">
            <a:spAutoFit/>
          </a:bodyPr>
          <a:lstStyle/>
          <a:p>
            <a:r>
              <a:rPr lang="fr-FR" sz="800" u="sng" kern="0">
                <a:solidFill>
                  <a:srgbClr val="5F5F5F"/>
                </a:solidFill>
                <a:latin typeface="Tahoma"/>
              </a:rPr>
              <a:t>Source des données </a:t>
            </a:r>
            <a:r>
              <a:rPr lang="fr-FR" sz="800" kern="0">
                <a:solidFill>
                  <a:srgbClr val="5F5F5F"/>
                </a:solidFill>
                <a:latin typeface="Tahoma"/>
              </a:rPr>
              <a:t>: DREES, </a:t>
            </a:r>
            <a:r>
              <a:rPr lang="fr-FR" sz="800" kern="0">
                <a:solidFill>
                  <a:srgbClr val="5F5F5F"/>
                </a:solidFill>
                <a:latin typeface="Tahoma"/>
                <a:hlinkClick r:id="rId3"/>
              </a:rPr>
              <a:t>Panorama statistique de la cohésion sociale, du travail et de l’emploi 2021</a:t>
            </a:r>
            <a:endParaRPr lang="fr-FR" sz="800" kern="0">
              <a:solidFill>
                <a:srgbClr val="5F5F5F"/>
              </a:solidFill>
              <a:latin typeface="Tahoma"/>
            </a:endParaRPr>
          </a:p>
          <a:p>
            <a:endParaRPr lang="fr-FR" sz="800" kern="0">
              <a:solidFill>
                <a:srgbClr val="5F5F5F"/>
              </a:solidFill>
              <a:latin typeface="Tahoma"/>
            </a:endParaRPr>
          </a:p>
        </p:txBody>
      </p:sp>
      <p:grpSp>
        <p:nvGrpSpPr>
          <p:cNvPr id="145" name="France - 13 Regions Department level">
            <a:extLst>
              <a:ext uri="{FF2B5EF4-FFF2-40B4-BE49-F238E27FC236}">
                <a16:creationId xmlns:a16="http://schemas.microsoft.com/office/drawing/2014/main" id="{8C79DF32-6CCA-415D-A9DD-5EB8AA63AB4F}"/>
              </a:ext>
            </a:extLst>
          </p:cNvPr>
          <p:cNvGrpSpPr/>
          <p:nvPr/>
        </p:nvGrpSpPr>
        <p:grpSpPr>
          <a:xfrm>
            <a:off x="1630131" y="2235536"/>
            <a:ext cx="3938765" cy="3925962"/>
            <a:chOff x="4773804" y="1329043"/>
            <a:chExt cx="4930967" cy="4726302"/>
          </a:xfrm>
        </p:grpSpPr>
        <p:grpSp>
          <p:nvGrpSpPr>
            <p:cNvPr id="146" name="Provence Alpes Côte d'Azure (formes)">
              <a:extLst>
                <a:ext uri="{FF2B5EF4-FFF2-40B4-BE49-F238E27FC236}">
                  <a16:creationId xmlns:a16="http://schemas.microsoft.com/office/drawing/2014/main" id="{CC175B0D-69FF-4228-B0FD-F7D37690C005}"/>
                </a:ext>
              </a:extLst>
            </p:cNvPr>
            <p:cNvGrpSpPr/>
            <p:nvPr/>
          </p:nvGrpSpPr>
          <p:grpSpPr>
            <a:xfrm>
              <a:off x="7944071" y="4433411"/>
              <a:ext cx="1312230" cy="1101644"/>
              <a:chOff x="7190615" y="4602796"/>
              <a:chExt cx="1312230" cy="1101644"/>
            </a:xfrm>
            <a:solidFill>
              <a:srgbClr val="CAC5B8"/>
            </a:solidFill>
          </p:grpSpPr>
          <p:sp>
            <p:nvSpPr>
              <p:cNvPr id="380" name="84">
                <a:extLst>
                  <a:ext uri="{FF2B5EF4-FFF2-40B4-BE49-F238E27FC236}">
                    <a16:creationId xmlns:a16="http://schemas.microsoft.com/office/drawing/2014/main" id="{0B29D6CF-BB0C-463D-ABA1-09ADF7CAC0ED}"/>
                  </a:ext>
                </a:extLst>
              </p:cNvPr>
              <p:cNvSpPr>
                <a:spLocks/>
              </p:cNvSpPr>
              <p:nvPr/>
            </p:nvSpPr>
            <p:spPr bwMode="gray">
              <a:xfrm>
                <a:off x="7342467" y="5038296"/>
                <a:ext cx="426904" cy="340951"/>
              </a:xfrm>
              <a:custGeom>
                <a:avLst/>
                <a:gdLst>
                  <a:gd name="T0" fmla="*/ 2 w 298"/>
                  <a:gd name="T1" fmla="*/ 17 h 238"/>
                  <a:gd name="T2" fmla="*/ 2 w 298"/>
                  <a:gd name="T3" fmla="*/ 0 h 238"/>
                  <a:gd name="T4" fmla="*/ 43 w 298"/>
                  <a:gd name="T5" fmla="*/ 8 h 238"/>
                  <a:gd name="T6" fmla="*/ 47 w 298"/>
                  <a:gd name="T7" fmla="*/ 36 h 238"/>
                  <a:gd name="T8" fmla="*/ 136 w 298"/>
                  <a:gd name="T9" fmla="*/ 4 h 238"/>
                  <a:gd name="T10" fmla="*/ 138 w 298"/>
                  <a:gd name="T11" fmla="*/ 36 h 238"/>
                  <a:gd name="T12" fmla="*/ 187 w 298"/>
                  <a:gd name="T13" fmla="*/ 38 h 238"/>
                  <a:gd name="T14" fmla="*/ 226 w 298"/>
                  <a:gd name="T15" fmla="*/ 74 h 238"/>
                  <a:gd name="T16" fmla="*/ 228 w 298"/>
                  <a:gd name="T17" fmla="*/ 91 h 238"/>
                  <a:gd name="T18" fmla="*/ 230 w 298"/>
                  <a:gd name="T19" fmla="*/ 134 h 238"/>
                  <a:gd name="T20" fmla="*/ 255 w 298"/>
                  <a:gd name="T21" fmla="*/ 146 h 238"/>
                  <a:gd name="T22" fmla="*/ 243 w 298"/>
                  <a:gd name="T23" fmla="*/ 180 h 238"/>
                  <a:gd name="T24" fmla="*/ 268 w 298"/>
                  <a:gd name="T25" fmla="*/ 178 h 238"/>
                  <a:gd name="T26" fmla="*/ 298 w 298"/>
                  <a:gd name="T27" fmla="*/ 210 h 238"/>
                  <a:gd name="T28" fmla="*/ 298 w 298"/>
                  <a:gd name="T29" fmla="*/ 214 h 238"/>
                  <a:gd name="T30" fmla="*/ 257 w 298"/>
                  <a:gd name="T31" fmla="*/ 238 h 238"/>
                  <a:gd name="T32" fmla="*/ 228 w 298"/>
                  <a:gd name="T33" fmla="*/ 236 h 238"/>
                  <a:gd name="T34" fmla="*/ 179 w 298"/>
                  <a:gd name="T35" fmla="*/ 212 h 238"/>
                  <a:gd name="T36" fmla="*/ 147 w 298"/>
                  <a:gd name="T37" fmla="*/ 214 h 238"/>
                  <a:gd name="T38" fmla="*/ 92 w 298"/>
                  <a:gd name="T39" fmla="*/ 168 h 238"/>
                  <a:gd name="T40" fmla="*/ 28 w 298"/>
                  <a:gd name="T41" fmla="*/ 148 h 238"/>
                  <a:gd name="T42" fmla="*/ 53 w 298"/>
                  <a:gd name="T43" fmla="*/ 114 h 238"/>
                  <a:gd name="T44" fmla="*/ 17 w 298"/>
                  <a:gd name="T45" fmla="*/ 80 h 238"/>
                  <a:gd name="T46" fmla="*/ 22 w 298"/>
                  <a:gd name="T47" fmla="*/ 51 h 238"/>
                  <a:gd name="T48" fmla="*/ 0 w 298"/>
                  <a:gd name="T49" fmla="*/ 19 h 238"/>
                  <a:gd name="T50" fmla="*/ 2 w 298"/>
                  <a:gd name="T51" fmla="*/ 1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8" h="238">
                    <a:moveTo>
                      <a:pt x="2" y="17"/>
                    </a:moveTo>
                    <a:lnTo>
                      <a:pt x="2" y="0"/>
                    </a:lnTo>
                    <a:lnTo>
                      <a:pt x="43" y="8"/>
                    </a:lnTo>
                    <a:lnTo>
                      <a:pt x="47" y="36"/>
                    </a:lnTo>
                    <a:lnTo>
                      <a:pt x="136" y="4"/>
                    </a:lnTo>
                    <a:lnTo>
                      <a:pt x="138" y="36"/>
                    </a:lnTo>
                    <a:lnTo>
                      <a:pt x="187" y="38"/>
                    </a:lnTo>
                    <a:lnTo>
                      <a:pt x="226" y="74"/>
                    </a:lnTo>
                    <a:lnTo>
                      <a:pt x="228" y="91"/>
                    </a:lnTo>
                    <a:lnTo>
                      <a:pt x="230" y="134"/>
                    </a:lnTo>
                    <a:lnTo>
                      <a:pt x="255" y="146"/>
                    </a:lnTo>
                    <a:lnTo>
                      <a:pt x="243" y="180"/>
                    </a:lnTo>
                    <a:lnTo>
                      <a:pt x="268" y="178"/>
                    </a:lnTo>
                    <a:lnTo>
                      <a:pt x="298" y="210"/>
                    </a:lnTo>
                    <a:lnTo>
                      <a:pt x="298" y="214"/>
                    </a:lnTo>
                    <a:lnTo>
                      <a:pt x="257" y="238"/>
                    </a:lnTo>
                    <a:lnTo>
                      <a:pt x="228" y="236"/>
                    </a:lnTo>
                    <a:lnTo>
                      <a:pt x="179" y="212"/>
                    </a:lnTo>
                    <a:lnTo>
                      <a:pt x="147" y="214"/>
                    </a:lnTo>
                    <a:lnTo>
                      <a:pt x="92" y="168"/>
                    </a:lnTo>
                    <a:lnTo>
                      <a:pt x="28" y="148"/>
                    </a:lnTo>
                    <a:lnTo>
                      <a:pt x="53" y="114"/>
                    </a:lnTo>
                    <a:lnTo>
                      <a:pt x="17" y="80"/>
                    </a:lnTo>
                    <a:lnTo>
                      <a:pt x="22" y="51"/>
                    </a:lnTo>
                    <a:lnTo>
                      <a:pt x="0" y="19"/>
                    </a:lnTo>
                    <a:lnTo>
                      <a:pt x="2" y="17"/>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81" name="06">
                <a:extLst>
                  <a:ext uri="{FF2B5EF4-FFF2-40B4-BE49-F238E27FC236}">
                    <a16:creationId xmlns:a16="http://schemas.microsoft.com/office/drawing/2014/main" id="{87DDD9B5-2843-4E02-9FFD-1DF849E90B89}"/>
                  </a:ext>
                </a:extLst>
              </p:cNvPr>
              <p:cNvSpPr>
                <a:spLocks/>
              </p:cNvSpPr>
              <p:nvPr/>
            </p:nvSpPr>
            <p:spPr bwMode="gray">
              <a:xfrm>
                <a:off x="8101727" y="4995319"/>
                <a:ext cx="401118" cy="459854"/>
              </a:xfrm>
              <a:custGeom>
                <a:avLst/>
                <a:gdLst>
                  <a:gd name="T0" fmla="*/ 0 w 280"/>
                  <a:gd name="T1" fmla="*/ 212 h 321"/>
                  <a:gd name="T2" fmla="*/ 19 w 280"/>
                  <a:gd name="T3" fmla="*/ 204 h 321"/>
                  <a:gd name="T4" fmla="*/ 8 w 280"/>
                  <a:gd name="T5" fmla="*/ 176 h 321"/>
                  <a:gd name="T6" fmla="*/ 80 w 280"/>
                  <a:gd name="T7" fmla="*/ 168 h 321"/>
                  <a:gd name="T8" fmla="*/ 25 w 280"/>
                  <a:gd name="T9" fmla="*/ 119 h 321"/>
                  <a:gd name="T10" fmla="*/ 8 w 280"/>
                  <a:gd name="T11" fmla="*/ 72 h 321"/>
                  <a:gd name="T12" fmla="*/ 59 w 280"/>
                  <a:gd name="T13" fmla="*/ 0 h 321"/>
                  <a:gd name="T14" fmla="*/ 93 w 280"/>
                  <a:gd name="T15" fmla="*/ 47 h 321"/>
                  <a:gd name="T16" fmla="*/ 159 w 280"/>
                  <a:gd name="T17" fmla="*/ 72 h 321"/>
                  <a:gd name="T18" fmla="*/ 204 w 280"/>
                  <a:gd name="T19" fmla="*/ 83 h 321"/>
                  <a:gd name="T20" fmla="*/ 270 w 280"/>
                  <a:gd name="T21" fmla="*/ 57 h 321"/>
                  <a:gd name="T22" fmla="*/ 280 w 280"/>
                  <a:gd name="T23" fmla="*/ 91 h 321"/>
                  <a:gd name="T24" fmla="*/ 227 w 280"/>
                  <a:gd name="T25" fmla="*/ 168 h 321"/>
                  <a:gd name="T26" fmla="*/ 236 w 280"/>
                  <a:gd name="T27" fmla="*/ 202 h 321"/>
                  <a:gd name="T28" fmla="*/ 184 w 280"/>
                  <a:gd name="T29" fmla="*/ 244 h 321"/>
                  <a:gd name="T30" fmla="*/ 180 w 280"/>
                  <a:gd name="T31" fmla="*/ 234 h 321"/>
                  <a:gd name="T32" fmla="*/ 138 w 280"/>
                  <a:gd name="T33" fmla="*/ 255 h 321"/>
                  <a:gd name="T34" fmla="*/ 138 w 280"/>
                  <a:gd name="T35" fmla="*/ 293 h 321"/>
                  <a:gd name="T36" fmla="*/ 89 w 280"/>
                  <a:gd name="T37" fmla="*/ 300 h 321"/>
                  <a:gd name="T38" fmla="*/ 82 w 280"/>
                  <a:gd name="T39" fmla="*/ 321 h 321"/>
                  <a:gd name="T40" fmla="*/ 68 w 280"/>
                  <a:gd name="T41" fmla="*/ 304 h 321"/>
                  <a:gd name="T42" fmla="*/ 76 w 280"/>
                  <a:gd name="T43" fmla="*/ 278 h 321"/>
                  <a:gd name="T44" fmla="*/ 46 w 280"/>
                  <a:gd name="T45" fmla="*/ 268 h 321"/>
                  <a:gd name="T46" fmla="*/ 31 w 280"/>
                  <a:gd name="T47" fmla="*/ 229 h 321"/>
                  <a:gd name="T48" fmla="*/ 0 w 280"/>
                  <a:gd name="T49" fmla="*/ 215 h 321"/>
                  <a:gd name="T50" fmla="*/ 0 w 280"/>
                  <a:gd name="T51" fmla="*/ 21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0" h="321">
                    <a:moveTo>
                      <a:pt x="0" y="212"/>
                    </a:moveTo>
                    <a:lnTo>
                      <a:pt x="19" y="204"/>
                    </a:lnTo>
                    <a:lnTo>
                      <a:pt x="8" y="176"/>
                    </a:lnTo>
                    <a:lnTo>
                      <a:pt x="80" y="168"/>
                    </a:lnTo>
                    <a:lnTo>
                      <a:pt x="25" y="119"/>
                    </a:lnTo>
                    <a:lnTo>
                      <a:pt x="8" y="72"/>
                    </a:lnTo>
                    <a:lnTo>
                      <a:pt x="59" y="0"/>
                    </a:lnTo>
                    <a:lnTo>
                      <a:pt x="93" y="47"/>
                    </a:lnTo>
                    <a:lnTo>
                      <a:pt x="159" y="72"/>
                    </a:lnTo>
                    <a:lnTo>
                      <a:pt x="204" y="83"/>
                    </a:lnTo>
                    <a:lnTo>
                      <a:pt x="270" y="57"/>
                    </a:lnTo>
                    <a:lnTo>
                      <a:pt x="280" y="91"/>
                    </a:lnTo>
                    <a:lnTo>
                      <a:pt x="227" y="168"/>
                    </a:lnTo>
                    <a:lnTo>
                      <a:pt x="236" y="202"/>
                    </a:lnTo>
                    <a:lnTo>
                      <a:pt x="184" y="244"/>
                    </a:lnTo>
                    <a:lnTo>
                      <a:pt x="180" y="234"/>
                    </a:lnTo>
                    <a:lnTo>
                      <a:pt x="138" y="255"/>
                    </a:lnTo>
                    <a:lnTo>
                      <a:pt x="138" y="293"/>
                    </a:lnTo>
                    <a:lnTo>
                      <a:pt x="89" y="300"/>
                    </a:lnTo>
                    <a:lnTo>
                      <a:pt x="82" y="321"/>
                    </a:lnTo>
                    <a:lnTo>
                      <a:pt x="68" y="304"/>
                    </a:lnTo>
                    <a:lnTo>
                      <a:pt x="76" y="278"/>
                    </a:lnTo>
                    <a:lnTo>
                      <a:pt x="46" y="268"/>
                    </a:lnTo>
                    <a:lnTo>
                      <a:pt x="31" y="229"/>
                    </a:lnTo>
                    <a:lnTo>
                      <a:pt x="0" y="215"/>
                    </a:lnTo>
                    <a:lnTo>
                      <a:pt x="0" y="212"/>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82" name="04">
                <a:extLst>
                  <a:ext uri="{FF2B5EF4-FFF2-40B4-BE49-F238E27FC236}">
                    <a16:creationId xmlns:a16="http://schemas.microsoft.com/office/drawing/2014/main" id="{C70982B1-E09B-4A29-BDDC-1F0B025DC677}"/>
                  </a:ext>
                </a:extLst>
              </p:cNvPr>
              <p:cNvSpPr>
                <a:spLocks/>
              </p:cNvSpPr>
              <p:nvPr/>
            </p:nvSpPr>
            <p:spPr bwMode="gray">
              <a:xfrm>
                <a:off x="7666227" y="4839170"/>
                <a:ext cx="550105" cy="530049"/>
              </a:xfrm>
              <a:custGeom>
                <a:avLst/>
                <a:gdLst>
                  <a:gd name="T0" fmla="*/ 2 w 384"/>
                  <a:gd name="T1" fmla="*/ 230 h 370"/>
                  <a:gd name="T2" fmla="*/ 4 w 384"/>
                  <a:gd name="T3" fmla="*/ 273 h 370"/>
                  <a:gd name="T4" fmla="*/ 29 w 384"/>
                  <a:gd name="T5" fmla="*/ 285 h 370"/>
                  <a:gd name="T6" fmla="*/ 17 w 384"/>
                  <a:gd name="T7" fmla="*/ 319 h 370"/>
                  <a:gd name="T8" fmla="*/ 42 w 384"/>
                  <a:gd name="T9" fmla="*/ 317 h 370"/>
                  <a:gd name="T10" fmla="*/ 72 w 384"/>
                  <a:gd name="T11" fmla="*/ 349 h 370"/>
                  <a:gd name="T12" fmla="*/ 116 w 384"/>
                  <a:gd name="T13" fmla="*/ 341 h 370"/>
                  <a:gd name="T14" fmla="*/ 144 w 384"/>
                  <a:gd name="T15" fmla="*/ 370 h 370"/>
                  <a:gd name="T16" fmla="*/ 193 w 384"/>
                  <a:gd name="T17" fmla="*/ 321 h 370"/>
                  <a:gd name="T18" fmla="*/ 229 w 384"/>
                  <a:gd name="T19" fmla="*/ 343 h 370"/>
                  <a:gd name="T20" fmla="*/ 253 w 384"/>
                  <a:gd name="T21" fmla="*/ 319 h 370"/>
                  <a:gd name="T22" fmla="*/ 304 w 384"/>
                  <a:gd name="T23" fmla="*/ 321 h 370"/>
                  <a:gd name="T24" fmla="*/ 323 w 384"/>
                  <a:gd name="T25" fmla="*/ 313 h 370"/>
                  <a:gd name="T26" fmla="*/ 312 w 384"/>
                  <a:gd name="T27" fmla="*/ 285 h 370"/>
                  <a:gd name="T28" fmla="*/ 384 w 384"/>
                  <a:gd name="T29" fmla="*/ 277 h 370"/>
                  <a:gd name="T30" fmla="*/ 329 w 384"/>
                  <a:gd name="T31" fmla="*/ 228 h 370"/>
                  <a:gd name="T32" fmla="*/ 312 w 384"/>
                  <a:gd name="T33" fmla="*/ 181 h 370"/>
                  <a:gd name="T34" fmla="*/ 363 w 384"/>
                  <a:gd name="T35" fmla="*/ 109 h 370"/>
                  <a:gd name="T36" fmla="*/ 376 w 384"/>
                  <a:gd name="T37" fmla="*/ 83 h 370"/>
                  <a:gd name="T38" fmla="*/ 350 w 384"/>
                  <a:gd name="T39" fmla="*/ 47 h 370"/>
                  <a:gd name="T40" fmla="*/ 369 w 384"/>
                  <a:gd name="T41" fmla="*/ 30 h 370"/>
                  <a:gd name="T42" fmla="*/ 372 w 384"/>
                  <a:gd name="T43" fmla="*/ 0 h 370"/>
                  <a:gd name="T44" fmla="*/ 306 w 384"/>
                  <a:gd name="T45" fmla="*/ 45 h 370"/>
                  <a:gd name="T46" fmla="*/ 293 w 384"/>
                  <a:gd name="T47" fmla="*/ 81 h 370"/>
                  <a:gd name="T48" fmla="*/ 255 w 384"/>
                  <a:gd name="T49" fmla="*/ 81 h 370"/>
                  <a:gd name="T50" fmla="*/ 223 w 384"/>
                  <a:gd name="T51" fmla="*/ 56 h 370"/>
                  <a:gd name="T52" fmla="*/ 212 w 384"/>
                  <a:gd name="T53" fmla="*/ 77 h 370"/>
                  <a:gd name="T54" fmla="*/ 189 w 384"/>
                  <a:gd name="T55" fmla="*/ 79 h 370"/>
                  <a:gd name="T56" fmla="*/ 189 w 384"/>
                  <a:gd name="T57" fmla="*/ 109 h 370"/>
                  <a:gd name="T58" fmla="*/ 148 w 384"/>
                  <a:gd name="T59" fmla="*/ 75 h 370"/>
                  <a:gd name="T60" fmla="*/ 102 w 384"/>
                  <a:gd name="T61" fmla="*/ 134 h 370"/>
                  <a:gd name="T62" fmla="*/ 108 w 384"/>
                  <a:gd name="T63" fmla="*/ 160 h 370"/>
                  <a:gd name="T64" fmla="*/ 87 w 384"/>
                  <a:gd name="T65" fmla="*/ 143 h 370"/>
                  <a:gd name="T66" fmla="*/ 104 w 384"/>
                  <a:gd name="T67" fmla="*/ 181 h 370"/>
                  <a:gd name="T68" fmla="*/ 46 w 384"/>
                  <a:gd name="T69" fmla="*/ 183 h 370"/>
                  <a:gd name="T70" fmla="*/ 48 w 384"/>
                  <a:gd name="T71" fmla="*/ 198 h 370"/>
                  <a:gd name="T72" fmla="*/ 21 w 384"/>
                  <a:gd name="T73" fmla="*/ 183 h 370"/>
                  <a:gd name="T74" fmla="*/ 0 w 384"/>
                  <a:gd name="T75" fmla="*/ 213 h 370"/>
                  <a:gd name="T76" fmla="*/ 2 w 384"/>
                  <a:gd name="T77" fmla="*/ 23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4" h="370">
                    <a:moveTo>
                      <a:pt x="2" y="230"/>
                    </a:moveTo>
                    <a:lnTo>
                      <a:pt x="4" y="273"/>
                    </a:lnTo>
                    <a:lnTo>
                      <a:pt x="29" y="285"/>
                    </a:lnTo>
                    <a:lnTo>
                      <a:pt x="17" y="319"/>
                    </a:lnTo>
                    <a:lnTo>
                      <a:pt x="42" y="317"/>
                    </a:lnTo>
                    <a:lnTo>
                      <a:pt x="72" y="349"/>
                    </a:lnTo>
                    <a:lnTo>
                      <a:pt x="116" y="341"/>
                    </a:lnTo>
                    <a:lnTo>
                      <a:pt x="144" y="370"/>
                    </a:lnTo>
                    <a:lnTo>
                      <a:pt x="193" y="321"/>
                    </a:lnTo>
                    <a:lnTo>
                      <a:pt x="229" y="343"/>
                    </a:lnTo>
                    <a:lnTo>
                      <a:pt x="253" y="319"/>
                    </a:lnTo>
                    <a:lnTo>
                      <a:pt x="304" y="321"/>
                    </a:lnTo>
                    <a:lnTo>
                      <a:pt x="323" y="313"/>
                    </a:lnTo>
                    <a:lnTo>
                      <a:pt x="312" y="285"/>
                    </a:lnTo>
                    <a:lnTo>
                      <a:pt x="384" y="277"/>
                    </a:lnTo>
                    <a:lnTo>
                      <a:pt x="329" y="228"/>
                    </a:lnTo>
                    <a:lnTo>
                      <a:pt x="312" y="181"/>
                    </a:lnTo>
                    <a:lnTo>
                      <a:pt x="363" y="109"/>
                    </a:lnTo>
                    <a:lnTo>
                      <a:pt x="376" y="83"/>
                    </a:lnTo>
                    <a:lnTo>
                      <a:pt x="350" y="47"/>
                    </a:lnTo>
                    <a:lnTo>
                      <a:pt x="369" y="30"/>
                    </a:lnTo>
                    <a:lnTo>
                      <a:pt x="372" y="0"/>
                    </a:lnTo>
                    <a:lnTo>
                      <a:pt x="306" y="45"/>
                    </a:lnTo>
                    <a:lnTo>
                      <a:pt x="293" y="81"/>
                    </a:lnTo>
                    <a:lnTo>
                      <a:pt x="255" y="81"/>
                    </a:lnTo>
                    <a:lnTo>
                      <a:pt x="223" y="56"/>
                    </a:lnTo>
                    <a:lnTo>
                      <a:pt x="212" y="77"/>
                    </a:lnTo>
                    <a:lnTo>
                      <a:pt x="189" y="79"/>
                    </a:lnTo>
                    <a:lnTo>
                      <a:pt x="189" y="109"/>
                    </a:lnTo>
                    <a:lnTo>
                      <a:pt x="148" y="75"/>
                    </a:lnTo>
                    <a:lnTo>
                      <a:pt x="102" y="134"/>
                    </a:lnTo>
                    <a:lnTo>
                      <a:pt x="108" y="160"/>
                    </a:lnTo>
                    <a:lnTo>
                      <a:pt x="87" y="143"/>
                    </a:lnTo>
                    <a:lnTo>
                      <a:pt x="104" y="181"/>
                    </a:lnTo>
                    <a:lnTo>
                      <a:pt x="46" y="183"/>
                    </a:lnTo>
                    <a:lnTo>
                      <a:pt x="48" y="198"/>
                    </a:lnTo>
                    <a:lnTo>
                      <a:pt x="21" y="183"/>
                    </a:lnTo>
                    <a:lnTo>
                      <a:pt x="0" y="213"/>
                    </a:lnTo>
                    <a:lnTo>
                      <a:pt x="2" y="230"/>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83" name="05">
                <a:extLst>
                  <a:ext uri="{FF2B5EF4-FFF2-40B4-BE49-F238E27FC236}">
                    <a16:creationId xmlns:a16="http://schemas.microsoft.com/office/drawing/2014/main" id="{0D2ADC49-5EE9-4C12-A3EC-58EE0FAC9CBB}"/>
                  </a:ext>
                </a:extLst>
              </p:cNvPr>
              <p:cNvSpPr>
                <a:spLocks/>
              </p:cNvSpPr>
              <p:nvPr/>
            </p:nvSpPr>
            <p:spPr bwMode="gray">
              <a:xfrm>
                <a:off x="7631845" y="4602796"/>
                <a:ext cx="618868" cy="498532"/>
              </a:xfrm>
              <a:custGeom>
                <a:avLst/>
                <a:gdLst>
                  <a:gd name="T0" fmla="*/ 4 w 432"/>
                  <a:gd name="T1" fmla="*/ 270 h 348"/>
                  <a:gd name="T2" fmla="*/ 21 w 432"/>
                  <a:gd name="T3" fmla="*/ 295 h 348"/>
                  <a:gd name="T4" fmla="*/ 55 w 432"/>
                  <a:gd name="T5" fmla="*/ 295 h 348"/>
                  <a:gd name="T6" fmla="*/ 70 w 432"/>
                  <a:gd name="T7" fmla="*/ 348 h 348"/>
                  <a:gd name="T8" fmla="*/ 128 w 432"/>
                  <a:gd name="T9" fmla="*/ 346 h 348"/>
                  <a:gd name="T10" fmla="*/ 111 w 432"/>
                  <a:gd name="T11" fmla="*/ 308 h 348"/>
                  <a:gd name="T12" fmla="*/ 132 w 432"/>
                  <a:gd name="T13" fmla="*/ 325 h 348"/>
                  <a:gd name="T14" fmla="*/ 126 w 432"/>
                  <a:gd name="T15" fmla="*/ 299 h 348"/>
                  <a:gd name="T16" fmla="*/ 172 w 432"/>
                  <a:gd name="T17" fmla="*/ 240 h 348"/>
                  <a:gd name="T18" fmla="*/ 213 w 432"/>
                  <a:gd name="T19" fmla="*/ 274 h 348"/>
                  <a:gd name="T20" fmla="*/ 213 w 432"/>
                  <a:gd name="T21" fmla="*/ 244 h 348"/>
                  <a:gd name="T22" fmla="*/ 236 w 432"/>
                  <a:gd name="T23" fmla="*/ 242 h 348"/>
                  <a:gd name="T24" fmla="*/ 247 w 432"/>
                  <a:gd name="T25" fmla="*/ 221 h 348"/>
                  <a:gd name="T26" fmla="*/ 279 w 432"/>
                  <a:gd name="T27" fmla="*/ 246 h 348"/>
                  <a:gd name="T28" fmla="*/ 317 w 432"/>
                  <a:gd name="T29" fmla="*/ 246 h 348"/>
                  <a:gd name="T30" fmla="*/ 330 w 432"/>
                  <a:gd name="T31" fmla="*/ 210 h 348"/>
                  <a:gd name="T32" fmla="*/ 396 w 432"/>
                  <a:gd name="T33" fmla="*/ 165 h 348"/>
                  <a:gd name="T34" fmla="*/ 432 w 432"/>
                  <a:gd name="T35" fmla="*/ 155 h 348"/>
                  <a:gd name="T36" fmla="*/ 413 w 432"/>
                  <a:gd name="T37" fmla="*/ 104 h 348"/>
                  <a:gd name="T38" fmla="*/ 342 w 432"/>
                  <a:gd name="T39" fmla="*/ 76 h 348"/>
                  <a:gd name="T40" fmla="*/ 336 w 432"/>
                  <a:gd name="T41" fmla="*/ 36 h 348"/>
                  <a:gd name="T42" fmla="*/ 319 w 432"/>
                  <a:gd name="T43" fmla="*/ 34 h 348"/>
                  <a:gd name="T44" fmla="*/ 306 w 432"/>
                  <a:gd name="T45" fmla="*/ 2 h 348"/>
                  <a:gd name="T46" fmla="*/ 274 w 432"/>
                  <a:gd name="T47" fmla="*/ 6 h 348"/>
                  <a:gd name="T48" fmla="*/ 262 w 432"/>
                  <a:gd name="T49" fmla="*/ 25 h 348"/>
                  <a:gd name="T50" fmla="*/ 211 w 432"/>
                  <a:gd name="T51" fmla="*/ 0 h 348"/>
                  <a:gd name="T52" fmla="*/ 198 w 432"/>
                  <a:gd name="T53" fmla="*/ 42 h 348"/>
                  <a:gd name="T54" fmla="*/ 228 w 432"/>
                  <a:gd name="T55" fmla="*/ 44 h 348"/>
                  <a:gd name="T56" fmla="*/ 240 w 432"/>
                  <a:gd name="T57" fmla="*/ 97 h 348"/>
                  <a:gd name="T58" fmla="*/ 151 w 432"/>
                  <a:gd name="T59" fmla="*/ 110 h 348"/>
                  <a:gd name="T60" fmla="*/ 98 w 432"/>
                  <a:gd name="T61" fmla="*/ 159 h 348"/>
                  <a:gd name="T62" fmla="*/ 94 w 432"/>
                  <a:gd name="T63" fmla="*/ 178 h 348"/>
                  <a:gd name="T64" fmla="*/ 55 w 432"/>
                  <a:gd name="T65" fmla="*/ 180 h 348"/>
                  <a:gd name="T66" fmla="*/ 45 w 432"/>
                  <a:gd name="T67" fmla="*/ 219 h 348"/>
                  <a:gd name="T68" fmla="*/ 62 w 432"/>
                  <a:gd name="T69" fmla="*/ 233 h 348"/>
                  <a:gd name="T70" fmla="*/ 49 w 432"/>
                  <a:gd name="T71" fmla="*/ 246 h 348"/>
                  <a:gd name="T72" fmla="*/ 9 w 432"/>
                  <a:gd name="T73" fmla="*/ 238 h 348"/>
                  <a:gd name="T74" fmla="*/ 19 w 432"/>
                  <a:gd name="T75" fmla="*/ 263 h 348"/>
                  <a:gd name="T76" fmla="*/ 0 w 432"/>
                  <a:gd name="T77" fmla="*/ 265 h 348"/>
                  <a:gd name="T78" fmla="*/ 4 w 432"/>
                  <a:gd name="T79" fmla="*/ 27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2" h="348">
                    <a:moveTo>
                      <a:pt x="4" y="270"/>
                    </a:moveTo>
                    <a:lnTo>
                      <a:pt x="21" y="295"/>
                    </a:lnTo>
                    <a:lnTo>
                      <a:pt x="55" y="295"/>
                    </a:lnTo>
                    <a:lnTo>
                      <a:pt x="70" y="348"/>
                    </a:lnTo>
                    <a:lnTo>
                      <a:pt x="128" y="346"/>
                    </a:lnTo>
                    <a:lnTo>
                      <a:pt x="111" y="308"/>
                    </a:lnTo>
                    <a:lnTo>
                      <a:pt x="132" y="325"/>
                    </a:lnTo>
                    <a:lnTo>
                      <a:pt x="126" y="299"/>
                    </a:lnTo>
                    <a:lnTo>
                      <a:pt x="172" y="240"/>
                    </a:lnTo>
                    <a:lnTo>
                      <a:pt x="213" y="274"/>
                    </a:lnTo>
                    <a:lnTo>
                      <a:pt x="213" y="244"/>
                    </a:lnTo>
                    <a:lnTo>
                      <a:pt x="236" y="242"/>
                    </a:lnTo>
                    <a:lnTo>
                      <a:pt x="247" y="221"/>
                    </a:lnTo>
                    <a:lnTo>
                      <a:pt x="279" y="246"/>
                    </a:lnTo>
                    <a:lnTo>
                      <a:pt x="317" y="246"/>
                    </a:lnTo>
                    <a:lnTo>
                      <a:pt x="330" y="210"/>
                    </a:lnTo>
                    <a:lnTo>
                      <a:pt x="396" y="165"/>
                    </a:lnTo>
                    <a:lnTo>
                      <a:pt x="432" y="155"/>
                    </a:lnTo>
                    <a:lnTo>
                      <a:pt x="413" y="104"/>
                    </a:lnTo>
                    <a:lnTo>
                      <a:pt x="342" y="76"/>
                    </a:lnTo>
                    <a:lnTo>
                      <a:pt x="336" y="36"/>
                    </a:lnTo>
                    <a:lnTo>
                      <a:pt x="319" y="34"/>
                    </a:lnTo>
                    <a:lnTo>
                      <a:pt x="306" y="2"/>
                    </a:lnTo>
                    <a:lnTo>
                      <a:pt x="274" y="6"/>
                    </a:lnTo>
                    <a:lnTo>
                      <a:pt x="262" y="25"/>
                    </a:lnTo>
                    <a:lnTo>
                      <a:pt x="211" y="0"/>
                    </a:lnTo>
                    <a:lnTo>
                      <a:pt x="198" y="42"/>
                    </a:lnTo>
                    <a:lnTo>
                      <a:pt x="228" y="44"/>
                    </a:lnTo>
                    <a:lnTo>
                      <a:pt x="240" y="97"/>
                    </a:lnTo>
                    <a:lnTo>
                      <a:pt x="151" y="110"/>
                    </a:lnTo>
                    <a:lnTo>
                      <a:pt x="98" y="159"/>
                    </a:lnTo>
                    <a:lnTo>
                      <a:pt x="94" y="178"/>
                    </a:lnTo>
                    <a:lnTo>
                      <a:pt x="55" y="180"/>
                    </a:lnTo>
                    <a:lnTo>
                      <a:pt x="45" y="219"/>
                    </a:lnTo>
                    <a:lnTo>
                      <a:pt x="62" y="233"/>
                    </a:lnTo>
                    <a:lnTo>
                      <a:pt x="49" y="246"/>
                    </a:lnTo>
                    <a:lnTo>
                      <a:pt x="9" y="238"/>
                    </a:lnTo>
                    <a:lnTo>
                      <a:pt x="19" y="263"/>
                    </a:lnTo>
                    <a:lnTo>
                      <a:pt x="0" y="265"/>
                    </a:lnTo>
                    <a:lnTo>
                      <a:pt x="4" y="270"/>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84" name="13">
                <a:extLst>
                  <a:ext uri="{FF2B5EF4-FFF2-40B4-BE49-F238E27FC236}">
                    <a16:creationId xmlns:a16="http://schemas.microsoft.com/office/drawing/2014/main" id="{A0DB511E-3BDE-42D2-BB27-E1922FD32E15}"/>
                  </a:ext>
                </a:extLst>
              </p:cNvPr>
              <p:cNvSpPr>
                <a:spLocks/>
              </p:cNvSpPr>
              <p:nvPr/>
            </p:nvSpPr>
            <p:spPr bwMode="gray">
              <a:xfrm>
                <a:off x="7190615" y="5250317"/>
                <a:ext cx="593082" cy="381062"/>
              </a:xfrm>
              <a:custGeom>
                <a:avLst/>
                <a:gdLst>
                  <a:gd name="T0" fmla="*/ 2 w 414"/>
                  <a:gd name="T1" fmla="*/ 160 h 266"/>
                  <a:gd name="T2" fmla="*/ 64 w 414"/>
                  <a:gd name="T3" fmla="*/ 122 h 266"/>
                  <a:gd name="T4" fmla="*/ 53 w 414"/>
                  <a:gd name="T5" fmla="*/ 111 h 266"/>
                  <a:gd name="T6" fmla="*/ 68 w 414"/>
                  <a:gd name="T7" fmla="*/ 83 h 266"/>
                  <a:gd name="T8" fmla="*/ 104 w 414"/>
                  <a:gd name="T9" fmla="*/ 85 h 266"/>
                  <a:gd name="T10" fmla="*/ 108 w 414"/>
                  <a:gd name="T11" fmla="*/ 20 h 266"/>
                  <a:gd name="T12" fmla="*/ 134 w 414"/>
                  <a:gd name="T13" fmla="*/ 0 h 266"/>
                  <a:gd name="T14" fmla="*/ 198 w 414"/>
                  <a:gd name="T15" fmla="*/ 20 h 266"/>
                  <a:gd name="T16" fmla="*/ 253 w 414"/>
                  <a:gd name="T17" fmla="*/ 66 h 266"/>
                  <a:gd name="T18" fmla="*/ 285 w 414"/>
                  <a:gd name="T19" fmla="*/ 64 h 266"/>
                  <a:gd name="T20" fmla="*/ 334 w 414"/>
                  <a:gd name="T21" fmla="*/ 88 h 266"/>
                  <a:gd name="T22" fmla="*/ 363 w 414"/>
                  <a:gd name="T23" fmla="*/ 90 h 266"/>
                  <a:gd name="T24" fmla="*/ 404 w 414"/>
                  <a:gd name="T25" fmla="*/ 66 h 266"/>
                  <a:gd name="T26" fmla="*/ 414 w 414"/>
                  <a:gd name="T27" fmla="*/ 90 h 266"/>
                  <a:gd name="T28" fmla="*/ 395 w 414"/>
                  <a:gd name="T29" fmla="*/ 92 h 266"/>
                  <a:gd name="T30" fmla="*/ 380 w 414"/>
                  <a:gd name="T31" fmla="*/ 120 h 266"/>
                  <a:gd name="T32" fmla="*/ 380 w 414"/>
                  <a:gd name="T33" fmla="*/ 124 h 266"/>
                  <a:gd name="T34" fmla="*/ 397 w 414"/>
                  <a:gd name="T35" fmla="*/ 130 h 266"/>
                  <a:gd name="T36" fmla="*/ 391 w 414"/>
                  <a:gd name="T37" fmla="*/ 156 h 266"/>
                  <a:gd name="T38" fmla="*/ 414 w 414"/>
                  <a:gd name="T39" fmla="*/ 177 h 266"/>
                  <a:gd name="T40" fmla="*/ 387 w 414"/>
                  <a:gd name="T41" fmla="*/ 185 h 266"/>
                  <a:gd name="T42" fmla="*/ 387 w 414"/>
                  <a:gd name="T43" fmla="*/ 215 h 266"/>
                  <a:gd name="T44" fmla="*/ 410 w 414"/>
                  <a:gd name="T45" fmla="*/ 234 h 266"/>
                  <a:gd name="T46" fmla="*/ 387 w 414"/>
                  <a:gd name="T47" fmla="*/ 266 h 266"/>
                  <a:gd name="T48" fmla="*/ 298 w 414"/>
                  <a:gd name="T49" fmla="*/ 258 h 266"/>
                  <a:gd name="T50" fmla="*/ 304 w 414"/>
                  <a:gd name="T51" fmla="*/ 219 h 266"/>
                  <a:gd name="T52" fmla="*/ 287 w 414"/>
                  <a:gd name="T53" fmla="*/ 202 h 266"/>
                  <a:gd name="T54" fmla="*/ 217 w 414"/>
                  <a:gd name="T55" fmla="*/ 215 h 266"/>
                  <a:gd name="T56" fmla="*/ 204 w 414"/>
                  <a:gd name="T57" fmla="*/ 196 h 266"/>
                  <a:gd name="T58" fmla="*/ 240 w 414"/>
                  <a:gd name="T59" fmla="*/ 190 h 266"/>
                  <a:gd name="T60" fmla="*/ 266 w 414"/>
                  <a:gd name="T61" fmla="*/ 160 h 266"/>
                  <a:gd name="T62" fmla="*/ 249 w 414"/>
                  <a:gd name="T63" fmla="*/ 171 h 266"/>
                  <a:gd name="T64" fmla="*/ 210 w 414"/>
                  <a:gd name="T65" fmla="*/ 132 h 266"/>
                  <a:gd name="T66" fmla="*/ 221 w 414"/>
                  <a:gd name="T67" fmla="*/ 188 h 266"/>
                  <a:gd name="T68" fmla="*/ 185 w 414"/>
                  <a:gd name="T69" fmla="*/ 179 h 266"/>
                  <a:gd name="T70" fmla="*/ 164 w 414"/>
                  <a:gd name="T71" fmla="*/ 217 h 266"/>
                  <a:gd name="T72" fmla="*/ 91 w 414"/>
                  <a:gd name="T73" fmla="*/ 205 h 266"/>
                  <a:gd name="T74" fmla="*/ 100 w 414"/>
                  <a:gd name="T75" fmla="*/ 190 h 266"/>
                  <a:gd name="T76" fmla="*/ 85 w 414"/>
                  <a:gd name="T77" fmla="*/ 175 h 266"/>
                  <a:gd name="T78" fmla="*/ 0 w 414"/>
                  <a:gd name="T79" fmla="*/ 173 h 266"/>
                  <a:gd name="T80" fmla="*/ 2 w 414"/>
                  <a:gd name="T81" fmla="*/ 16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266">
                    <a:moveTo>
                      <a:pt x="2" y="160"/>
                    </a:moveTo>
                    <a:lnTo>
                      <a:pt x="64" y="122"/>
                    </a:lnTo>
                    <a:lnTo>
                      <a:pt x="53" y="111"/>
                    </a:lnTo>
                    <a:lnTo>
                      <a:pt x="68" y="83"/>
                    </a:lnTo>
                    <a:lnTo>
                      <a:pt x="104" y="85"/>
                    </a:lnTo>
                    <a:lnTo>
                      <a:pt x="108" y="20"/>
                    </a:lnTo>
                    <a:lnTo>
                      <a:pt x="134" y="0"/>
                    </a:lnTo>
                    <a:lnTo>
                      <a:pt x="198" y="20"/>
                    </a:lnTo>
                    <a:lnTo>
                      <a:pt x="253" y="66"/>
                    </a:lnTo>
                    <a:lnTo>
                      <a:pt x="285" y="64"/>
                    </a:lnTo>
                    <a:lnTo>
                      <a:pt x="334" y="88"/>
                    </a:lnTo>
                    <a:lnTo>
                      <a:pt x="363" y="90"/>
                    </a:lnTo>
                    <a:lnTo>
                      <a:pt x="404" y="66"/>
                    </a:lnTo>
                    <a:lnTo>
                      <a:pt x="414" y="90"/>
                    </a:lnTo>
                    <a:lnTo>
                      <a:pt x="395" y="92"/>
                    </a:lnTo>
                    <a:lnTo>
                      <a:pt x="380" y="120"/>
                    </a:lnTo>
                    <a:lnTo>
                      <a:pt x="380" y="124"/>
                    </a:lnTo>
                    <a:lnTo>
                      <a:pt x="397" y="130"/>
                    </a:lnTo>
                    <a:lnTo>
                      <a:pt x="391" y="156"/>
                    </a:lnTo>
                    <a:lnTo>
                      <a:pt x="414" y="177"/>
                    </a:lnTo>
                    <a:lnTo>
                      <a:pt x="387" y="185"/>
                    </a:lnTo>
                    <a:lnTo>
                      <a:pt x="387" y="215"/>
                    </a:lnTo>
                    <a:lnTo>
                      <a:pt x="410" y="234"/>
                    </a:lnTo>
                    <a:lnTo>
                      <a:pt x="387" y="266"/>
                    </a:lnTo>
                    <a:lnTo>
                      <a:pt x="298" y="258"/>
                    </a:lnTo>
                    <a:lnTo>
                      <a:pt x="304" y="219"/>
                    </a:lnTo>
                    <a:lnTo>
                      <a:pt x="287" y="202"/>
                    </a:lnTo>
                    <a:lnTo>
                      <a:pt x="217" y="215"/>
                    </a:lnTo>
                    <a:lnTo>
                      <a:pt x="204" y="196"/>
                    </a:lnTo>
                    <a:lnTo>
                      <a:pt x="240" y="190"/>
                    </a:lnTo>
                    <a:lnTo>
                      <a:pt x="266" y="160"/>
                    </a:lnTo>
                    <a:lnTo>
                      <a:pt x="249" y="171"/>
                    </a:lnTo>
                    <a:lnTo>
                      <a:pt x="210" y="132"/>
                    </a:lnTo>
                    <a:lnTo>
                      <a:pt x="221" y="188"/>
                    </a:lnTo>
                    <a:lnTo>
                      <a:pt x="185" y="179"/>
                    </a:lnTo>
                    <a:lnTo>
                      <a:pt x="164" y="217"/>
                    </a:lnTo>
                    <a:lnTo>
                      <a:pt x="91" y="205"/>
                    </a:lnTo>
                    <a:lnTo>
                      <a:pt x="100" y="190"/>
                    </a:lnTo>
                    <a:lnTo>
                      <a:pt x="85" y="175"/>
                    </a:lnTo>
                    <a:lnTo>
                      <a:pt x="0" y="173"/>
                    </a:lnTo>
                    <a:lnTo>
                      <a:pt x="2" y="160"/>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85" name="83">
                <a:extLst>
                  <a:ext uri="{FF2B5EF4-FFF2-40B4-BE49-F238E27FC236}">
                    <a16:creationId xmlns:a16="http://schemas.microsoft.com/office/drawing/2014/main" id="{FF4880B0-28BF-4028-88BE-65A18BCF3A25}"/>
                  </a:ext>
                </a:extLst>
              </p:cNvPr>
              <p:cNvSpPr>
                <a:spLocks/>
              </p:cNvSpPr>
              <p:nvPr/>
            </p:nvSpPr>
            <p:spPr bwMode="gray">
              <a:xfrm>
                <a:off x="7734990" y="5296159"/>
                <a:ext cx="484207" cy="408281"/>
              </a:xfrm>
              <a:custGeom>
                <a:avLst/>
                <a:gdLst>
                  <a:gd name="T0" fmla="*/ 0 w 338"/>
                  <a:gd name="T1" fmla="*/ 92 h 285"/>
                  <a:gd name="T2" fmla="*/ 17 w 338"/>
                  <a:gd name="T3" fmla="*/ 98 h 285"/>
                  <a:gd name="T4" fmla="*/ 11 w 338"/>
                  <a:gd name="T5" fmla="*/ 124 h 285"/>
                  <a:gd name="T6" fmla="*/ 34 w 338"/>
                  <a:gd name="T7" fmla="*/ 145 h 285"/>
                  <a:gd name="T8" fmla="*/ 7 w 338"/>
                  <a:gd name="T9" fmla="*/ 153 h 285"/>
                  <a:gd name="T10" fmla="*/ 7 w 338"/>
                  <a:gd name="T11" fmla="*/ 183 h 285"/>
                  <a:gd name="T12" fmla="*/ 30 w 338"/>
                  <a:gd name="T13" fmla="*/ 202 h 285"/>
                  <a:gd name="T14" fmla="*/ 7 w 338"/>
                  <a:gd name="T15" fmla="*/ 234 h 285"/>
                  <a:gd name="T16" fmla="*/ 43 w 338"/>
                  <a:gd name="T17" fmla="*/ 258 h 285"/>
                  <a:gd name="T18" fmla="*/ 49 w 338"/>
                  <a:gd name="T19" fmla="*/ 279 h 285"/>
                  <a:gd name="T20" fmla="*/ 83 w 338"/>
                  <a:gd name="T21" fmla="*/ 272 h 285"/>
                  <a:gd name="T22" fmla="*/ 73 w 338"/>
                  <a:gd name="T23" fmla="*/ 253 h 285"/>
                  <a:gd name="T24" fmla="*/ 130 w 338"/>
                  <a:gd name="T25" fmla="*/ 266 h 285"/>
                  <a:gd name="T26" fmla="*/ 124 w 338"/>
                  <a:gd name="T27" fmla="*/ 285 h 285"/>
                  <a:gd name="T28" fmla="*/ 137 w 338"/>
                  <a:gd name="T29" fmla="*/ 285 h 285"/>
                  <a:gd name="T30" fmla="*/ 149 w 338"/>
                  <a:gd name="T31" fmla="*/ 253 h 285"/>
                  <a:gd name="T32" fmla="*/ 192 w 338"/>
                  <a:gd name="T33" fmla="*/ 262 h 285"/>
                  <a:gd name="T34" fmla="*/ 194 w 338"/>
                  <a:gd name="T35" fmla="*/ 243 h 285"/>
                  <a:gd name="T36" fmla="*/ 268 w 338"/>
                  <a:gd name="T37" fmla="*/ 226 h 285"/>
                  <a:gd name="T38" fmla="*/ 281 w 338"/>
                  <a:gd name="T39" fmla="*/ 192 h 285"/>
                  <a:gd name="T40" fmla="*/ 251 w 338"/>
                  <a:gd name="T41" fmla="*/ 187 h 285"/>
                  <a:gd name="T42" fmla="*/ 290 w 338"/>
                  <a:gd name="T43" fmla="*/ 136 h 285"/>
                  <a:gd name="T44" fmla="*/ 328 w 338"/>
                  <a:gd name="T45" fmla="*/ 132 h 285"/>
                  <a:gd name="T46" fmla="*/ 338 w 338"/>
                  <a:gd name="T47" fmla="*/ 111 h 285"/>
                  <a:gd name="T48" fmla="*/ 324 w 338"/>
                  <a:gd name="T49" fmla="*/ 94 h 285"/>
                  <a:gd name="T50" fmla="*/ 332 w 338"/>
                  <a:gd name="T51" fmla="*/ 68 h 285"/>
                  <a:gd name="T52" fmla="*/ 302 w 338"/>
                  <a:gd name="T53" fmla="*/ 58 h 285"/>
                  <a:gd name="T54" fmla="*/ 287 w 338"/>
                  <a:gd name="T55" fmla="*/ 19 h 285"/>
                  <a:gd name="T56" fmla="*/ 256 w 338"/>
                  <a:gd name="T57" fmla="*/ 5 h 285"/>
                  <a:gd name="T58" fmla="*/ 256 w 338"/>
                  <a:gd name="T59" fmla="*/ 2 h 285"/>
                  <a:gd name="T60" fmla="*/ 205 w 338"/>
                  <a:gd name="T61" fmla="*/ 0 h 285"/>
                  <a:gd name="T62" fmla="*/ 181 w 338"/>
                  <a:gd name="T63" fmla="*/ 24 h 285"/>
                  <a:gd name="T64" fmla="*/ 145 w 338"/>
                  <a:gd name="T65" fmla="*/ 2 h 285"/>
                  <a:gd name="T66" fmla="*/ 96 w 338"/>
                  <a:gd name="T67" fmla="*/ 51 h 285"/>
                  <a:gd name="T68" fmla="*/ 68 w 338"/>
                  <a:gd name="T69" fmla="*/ 22 h 285"/>
                  <a:gd name="T70" fmla="*/ 24 w 338"/>
                  <a:gd name="T71" fmla="*/ 30 h 285"/>
                  <a:gd name="T72" fmla="*/ 24 w 338"/>
                  <a:gd name="T73" fmla="*/ 34 h 285"/>
                  <a:gd name="T74" fmla="*/ 34 w 338"/>
                  <a:gd name="T75" fmla="*/ 58 h 285"/>
                  <a:gd name="T76" fmla="*/ 15 w 338"/>
                  <a:gd name="T77" fmla="*/ 60 h 285"/>
                  <a:gd name="T78" fmla="*/ 0 w 338"/>
                  <a:gd name="T79" fmla="*/ 88 h 285"/>
                  <a:gd name="T80" fmla="*/ 0 w 338"/>
                  <a:gd name="T81" fmla="*/ 9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8" h="285">
                    <a:moveTo>
                      <a:pt x="0" y="92"/>
                    </a:moveTo>
                    <a:lnTo>
                      <a:pt x="17" y="98"/>
                    </a:lnTo>
                    <a:lnTo>
                      <a:pt x="11" y="124"/>
                    </a:lnTo>
                    <a:lnTo>
                      <a:pt x="34" y="145"/>
                    </a:lnTo>
                    <a:lnTo>
                      <a:pt x="7" y="153"/>
                    </a:lnTo>
                    <a:lnTo>
                      <a:pt x="7" y="183"/>
                    </a:lnTo>
                    <a:lnTo>
                      <a:pt x="30" y="202"/>
                    </a:lnTo>
                    <a:lnTo>
                      <a:pt x="7" y="234"/>
                    </a:lnTo>
                    <a:lnTo>
                      <a:pt x="43" y="258"/>
                    </a:lnTo>
                    <a:lnTo>
                      <a:pt x="49" y="279"/>
                    </a:lnTo>
                    <a:lnTo>
                      <a:pt x="83" y="272"/>
                    </a:lnTo>
                    <a:lnTo>
                      <a:pt x="73" y="253"/>
                    </a:lnTo>
                    <a:lnTo>
                      <a:pt x="130" y="266"/>
                    </a:lnTo>
                    <a:lnTo>
                      <a:pt x="124" y="285"/>
                    </a:lnTo>
                    <a:lnTo>
                      <a:pt x="137" y="285"/>
                    </a:lnTo>
                    <a:lnTo>
                      <a:pt x="149" y="253"/>
                    </a:lnTo>
                    <a:lnTo>
                      <a:pt x="192" y="262"/>
                    </a:lnTo>
                    <a:lnTo>
                      <a:pt x="194" y="243"/>
                    </a:lnTo>
                    <a:lnTo>
                      <a:pt x="268" y="226"/>
                    </a:lnTo>
                    <a:lnTo>
                      <a:pt x="281" y="192"/>
                    </a:lnTo>
                    <a:lnTo>
                      <a:pt x="251" y="187"/>
                    </a:lnTo>
                    <a:lnTo>
                      <a:pt x="290" y="136"/>
                    </a:lnTo>
                    <a:lnTo>
                      <a:pt x="328" y="132"/>
                    </a:lnTo>
                    <a:lnTo>
                      <a:pt x="338" y="111"/>
                    </a:lnTo>
                    <a:lnTo>
                      <a:pt x="324" y="94"/>
                    </a:lnTo>
                    <a:lnTo>
                      <a:pt x="332" y="68"/>
                    </a:lnTo>
                    <a:lnTo>
                      <a:pt x="302" y="58"/>
                    </a:lnTo>
                    <a:lnTo>
                      <a:pt x="287" y="19"/>
                    </a:lnTo>
                    <a:lnTo>
                      <a:pt x="256" y="5"/>
                    </a:lnTo>
                    <a:lnTo>
                      <a:pt x="256" y="2"/>
                    </a:lnTo>
                    <a:lnTo>
                      <a:pt x="205" y="0"/>
                    </a:lnTo>
                    <a:lnTo>
                      <a:pt x="181" y="24"/>
                    </a:lnTo>
                    <a:lnTo>
                      <a:pt x="145" y="2"/>
                    </a:lnTo>
                    <a:lnTo>
                      <a:pt x="96" y="51"/>
                    </a:lnTo>
                    <a:lnTo>
                      <a:pt x="68" y="22"/>
                    </a:lnTo>
                    <a:lnTo>
                      <a:pt x="24" y="30"/>
                    </a:lnTo>
                    <a:lnTo>
                      <a:pt x="24" y="34"/>
                    </a:lnTo>
                    <a:lnTo>
                      <a:pt x="34" y="58"/>
                    </a:lnTo>
                    <a:lnTo>
                      <a:pt x="15" y="60"/>
                    </a:lnTo>
                    <a:lnTo>
                      <a:pt x="0" y="88"/>
                    </a:lnTo>
                    <a:lnTo>
                      <a:pt x="0" y="92"/>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grpSp>
        <p:grpSp>
          <p:nvGrpSpPr>
            <p:cNvPr id="147" name="Provence Alpes Côte d'Azure (N° Départements)">
              <a:extLst>
                <a:ext uri="{FF2B5EF4-FFF2-40B4-BE49-F238E27FC236}">
                  <a16:creationId xmlns:a16="http://schemas.microsoft.com/office/drawing/2014/main" id="{27442441-D557-49CC-ADE9-789F707C21B5}"/>
                </a:ext>
              </a:extLst>
            </p:cNvPr>
            <p:cNvGrpSpPr/>
            <p:nvPr/>
          </p:nvGrpSpPr>
          <p:grpSpPr>
            <a:xfrm>
              <a:off x="8118816" y="4593867"/>
              <a:ext cx="1021476" cy="810588"/>
              <a:chOff x="7365360" y="4763252"/>
              <a:chExt cx="1021476" cy="810588"/>
            </a:xfrm>
            <a:noFill/>
          </p:grpSpPr>
          <p:sp>
            <p:nvSpPr>
              <p:cNvPr id="374" name="04">
                <a:extLst>
                  <a:ext uri="{FF2B5EF4-FFF2-40B4-BE49-F238E27FC236}">
                    <a16:creationId xmlns:a16="http://schemas.microsoft.com/office/drawing/2014/main" id="{F94E7ECC-96D5-471E-9673-2FFC99B12BD1}"/>
                  </a:ext>
                </a:extLst>
              </p:cNvPr>
              <p:cNvSpPr txBox="1"/>
              <p:nvPr/>
            </p:nvSpPr>
            <p:spPr>
              <a:xfrm>
                <a:off x="7871054" y="5055445"/>
                <a:ext cx="184830" cy="166169"/>
              </a:xfrm>
              <a:prstGeom prst="rect">
                <a:avLst/>
              </a:prstGeom>
              <a:grpFill/>
            </p:spPr>
            <p:txBody>
              <a:bodyPr wrap="none" lIns="0" tIns="0" rIns="0" bIns="0" rtlCol="0">
                <a:noAutofit/>
              </a:bodyPr>
              <a:lstStyle/>
              <a:p>
                <a:r>
                  <a:rPr lang="fr-FR" sz="800">
                    <a:solidFill>
                      <a:srgbClr val="503078"/>
                    </a:solidFill>
                    <a:latin typeface="Tahoma"/>
                  </a:rPr>
                  <a:t>04</a:t>
                </a:r>
              </a:p>
            </p:txBody>
          </p:sp>
          <p:sp>
            <p:nvSpPr>
              <p:cNvPr id="375" name="06">
                <a:extLst>
                  <a:ext uri="{FF2B5EF4-FFF2-40B4-BE49-F238E27FC236}">
                    <a16:creationId xmlns:a16="http://schemas.microsoft.com/office/drawing/2014/main" id="{D3AD2E93-D8FB-44F7-BC29-2BDDA4DC89BE}"/>
                  </a:ext>
                </a:extLst>
              </p:cNvPr>
              <p:cNvSpPr txBox="1"/>
              <p:nvPr/>
            </p:nvSpPr>
            <p:spPr>
              <a:xfrm>
                <a:off x="8202006" y="5142161"/>
                <a:ext cx="184830" cy="166169"/>
              </a:xfrm>
              <a:prstGeom prst="rect">
                <a:avLst/>
              </a:prstGeom>
              <a:grpFill/>
            </p:spPr>
            <p:txBody>
              <a:bodyPr wrap="none" lIns="0" tIns="0" rIns="0" bIns="0" rtlCol="0">
                <a:noAutofit/>
              </a:bodyPr>
              <a:lstStyle/>
              <a:p>
                <a:r>
                  <a:rPr lang="fr-FR" sz="800">
                    <a:solidFill>
                      <a:srgbClr val="503078"/>
                    </a:solidFill>
                    <a:latin typeface="Tahoma"/>
                  </a:rPr>
                  <a:t>06</a:t>
                </a:r>
              </a:p>
            </p:txBody>
          </p:sp>
          <p:sp>
            <p:nvSpPr>
              <p:cNvPr id="376" name="13">
                <a:extLst>
                  <a:ext uri="{FF2B5EF4-FFF2-40B4-BE49-F238E27FC236}">
                    <a16:creationId xmlns:a16="http://schemas.microsoft.com/office/drawing/2014/main" id="{9414CE17-1E8F-4D9D-8634-933E10FB30CE}"/>
                  </a:ext>
                </a:extLst>
              </p:cNvPr>
              <p:cNvSpPr txBox="1"/>
              <p:nvPr/>
            </p:nvSpPr>
            <p:spPr>
              <a:xfrm>
                <a:off x="7365360" y="5324587"/>
                <a:ext cx="184830" cy="166169"/>
              </a:xfrm>
              <a:prstGeom prst="rect">
                <a:avLst/>
              </a:prstGeom>
              <a:grpFill/>
            </p:spPr>
            <p:txBody>
              <a:bodyPr wrap="none" lIns="0" tIns="0" rIns="0" bIns="0" rtlCol="0">
                <a:noAutofit/>
              </a:bodyPr>
              <a:lstStyle/>
              <a:p>
                <a:r>
                  <a:rPr lang="fr-FR" sz="800">
                    <a:solidFill>
                      <a:srgbClr val="503078"/>
                    </a:solidFill>
                    <a:latin typeface="Tahoma"/>
                  </a:rPr>
                  <a:t>13</a:t>
                </a:r>
              </a:p>
            </p:txBody>
          </p:sp>
          <p:sp>
            <p:nvSpPr>
              <p:cNvPr id="377" name="83">
                <a:extLst>
                  <a:ext uri="{FF2B5EF4-FFF2-40B4-BE49-F238E27FC236}">
                    <a16:creationId xmlns:a16="http://schemas.microsoft.com/office/drawing/2014/main" id="{DB29CEE6-7F3D-4DA0-8326-E25A883E2F27}"/>
                  </a:ext>
                </a:extLst>
              </p:cNvPr>
              <p:cNvSpPr txBox="1"/>
              <p:nvPr/>
            </p:nvSpPr>
            <p:spPr>
              <a:xfrm>
                <a:off x="7871054" y="5407671"/>
                <a:ext cx="184830" cy="166169"/>
              </a:xfrm>
              <a:prstGeom prst="rect">
                <a:avLst/>
              </a:prstGeom>
              <a:grpFill/>
            </p:spPr>
            <p:txBody>
              <a:bodyPr wrap="none" lIns="0" tIns="0" rIns="0" bIns="0" rtlCol="0">
                <a:noAutofit/>
              </a:bodyPr>
              <a:lstStyle/>
              <a:p>
                <a:r>
                  <a:rPr lang="fr-FR" sz="800">
                    <a:solidFill>
                      <a:srgbClr val="503078"/>
                    </a:solidFill>
                    <a:latin typeface="Tahoma"/>
                  </a:rPr>
                  <a:t>83</a:t>
                </a:r>
              </a:p>
            </p:txBody>
          </p:sp>
          <p:sp>
            <p:nvSpPr>
              <p:cNvPr id="378" name="05">
                <a:extLst>
                  <a:ext uri="{FF2B5EF4-FFF2-40B4-BE49-F238E27FC236}">
                    <a16:creationId xmlns:a16="http://schemas.microsoft.com/office/drawing/2014/main" id="{7596E6AB-FEDD-43FE-A6DB-A522253321F2}"/>
                  </a:ext>
                </a:extLst>
              </p:cNvPr>
              <p:cNvSpPr txBox="1"/>
              <p:nvPr/>
            </p:nvSpPr>
            <p:spPr>
              <a:xfrm>
                <a:off x="7871054" y="4763252"/>
                <a:ext cx="184830" cy="166169"/>
              </a:xfrm>
              <a:prstGeom prst="rect">
                <a:avLst/>
              </a:prstGeom>
              <a:grpFill/>
            </p:spPr>
            <p:txBody>
              <a:bodyPr wrap="none" lIns="0" tIns="0" rIns="0" bIns="0" rtlCol="0">
                <a:noAutofit/>
              </a:bodyPr>
              <a:lstStyle/>
              <a:p>
                <a:r>
                  <a:rPr lang="fr-FR" sz="800">
                    <a:solidFill>
                      <a:srgbClr val="503078"/>
                    </a:solidFill>
                    <a:latin typeface="Tahoma"/>
                  </a:rPr>
                  <a:t>05</a:t>
                </a:r>
              </a:p>
            </p:txBody>
          </p:sp>
          <p:sp>
            <p:nvSpPr>
              <p:cNvPr id="379" name="84">
                <a:extLst>
                  <a:ext uri="{FF2B5EF4-FFF2-40B4-BE49-F238E27FC236}">
                    <a16:creationId xmlns:a16="http://schemas.microsoft.com/office/drawing/2014/main" id="{D2A96135-5CB1-4B84-956E-8660CD5894A1}"/>
                  </a:ext>
                </a:extLst>
              </p:cNvPr>
              <p:cNvSpPr txBox="1"/>
              <p:nvPr/>
            </p:nvSpPr>
            <p:spPr>
              <a:xfrm>
                <a:off x="7443649" y="5104194"/>
                <a:ext cx="184830" cy="166169"/>
              </a:xfrm>
              <a:prstGeom prst="rect">
                <a:avLst/>
              </a:prstGeom>
              <a:grpFill/>
            </p:spPr>
            <p:txBody>
              <a:bodyPr wrap="none" lIns="0" tIns="0" rIns="0" bIns="0" rtlCol="0">
                <a:noAutofit/>
              </a:bodyPr>
              <a:lstStyle/>
              <a:p>
                <a:r>
                  <a:rPr lang="fr-FR" sz="800">
                    <a:solidFill>
                      <a:srgbClr val="503078"/>
                    </a:solidFill>
                    <a:latin typeface="Tahoma"/>
                  </a:rPr>
                  <a:t>84</a:t>
                </a:r>
              </a:p>
            </p:txBody>
          </p:sp>
        </p:grpSp>
        <p:grpSp>
          <p:nvGrpSpPr>
            <p:cNvPr id="148" name="Pays de la Loire (Formes)">
              <a:extLst>
                <a:ext uri="{FF2B5EF4-FFF2-40B4-BE49-F238E27FC236}">
                  <a16:creationId xmlns:a16="http://schemas.microsoft.com/office/drawing/2014/main" id="{E6D5B807-18E1-47B0-A8AE-D1A1B5293C60}"/>
                </a:ext>
              </a:extLst>
            </p:cNvPr>
            <p:cNvGrpSpPr/>
            <p:nvPr/>
          </p:nvGrpSpPr>
          <p:grpSpPr>
            <a:xfrm>
              <a:off x="5511575" y="2621217"/>
              <a:ext cx="1244899" cy="1187596"/>
              <a:chOff x="4758119" y="2790602"/>
              <a:chExt cx="1244899" cy="1187596"/>
            </a:xfrm>
            <a:solidFill>
              <a:srgbClr val="8C9B9C"/>
            </a:solidFill>
          </p:grpSpPr>
          <p:sp>
            <p:nvSpPr>
              <p:cNvPr id="369" name="44">
                <a:extLst>
                  <a:ext uri="{FF2B5EF4-FFF2-40B4-BE49-F238E27FC236}">
                    <a16:creationId xmlns:a16="http://schemas.microsoft.com/office/drawing/2014/main" id="{60FD616F-26C4-4D54-A883-33A9DEBD8AF1}"/>
                  </a:ext>
                </a:extLst>
              </p:cNvPr>
              <p:cNvSpPr>
                <a:spLocks/>
              </p:cNvSpPr>
              <p:nvPr/>
            </p:nvSpPr>
            <p:spPr bwMode="gray">
              <a:xfrm>
                <a:off x="4758119" y="3150176"/>
                <a:ext cx="581622" cy="504263"/>
              </a:xfrm>
              <a:custGeom>
                <a:avLst/>
                <a:gdLst>
                  <a:gd name="T0" fmla="*/ 12 w 406"/>
                  <a:gd name="T1" fmla="*/ 165 h 352"/>
                  <a:gd name="T2" fmla="*/ 2 w 406"/>
                  <a:gd name="T3" fmla="*/ 180 h 352"/>
                  <a:gd name="T4" fmla="*/ 61 w 406"/>
                  <a:gd name="T5" fmla="*/ 204 h 352"/>
                  <a:gd name="T6" fmla="*/ 91 w 406"/>
                  <a:gd name="T7" fmla="*/ 184 h 352"/>
                  <a:gd name="T8" fmla="*/ 151 w 406"/>
                  <a:gd name="T9" fmla="*/ 184 h 352"/>
                  <a:gd name="T10" fmla="*/ 187 w 406"/>
                  <a:gd name="T11" fmla="*/ 221 h 352"/>
                  <a:gd name="T12" fmla="*/ 127 w 406"/>
                  <a:gd name="T13" fmla="*/ 189 h 352"/>
                  <a:gd name="T14" fmla="*/ 93 w 406"/>
                  <a:gd name="T15" fmla="*/ 195 h 352"/>
                  <a:gd name="T16" fmla="*/ 91 w 406"/>
                  <a:gd name="T17" fmla="*/ 233 h 352"/>
                  <a:gd name="T18" fmla="*/ 70 w 406"/>
                  <a:gd name="T19" fmla="*/ 242 h 352"/>
                  <a:gd name="T20" fmla="*/ 136 w 406"/>
                  <a:gd name="T21" fmla="*/ 284 h 352"/>
                  <a:gd name="T22" fmla="*/ 193 w 406"/>
                  <a:gd name="T23" fmla="*/ 340 h 352"/>
                  <a:gd name="T24" fmla="*/ 238 w 406"/>
                  <a:gd name="T25" fmla="*/ 352 h 352"/>
                  <a:gd name="T26" fmla="*/ 250 w 406"/>
                  <a:gd name="T27" fmla="*/ 346 h 352"/>
                  <a:gd name="T28" fmla="*/ 240 w 406"/>
                  <a:gd name="T29" fmla="*/ 295 h 352"/>
                  <a:gd name="T30" fmla="*/ 255 w 406"/>
                  <a:gd name="T31" fmla="*/ 289 h 352"/>
                  <a:gd name="T32" fmla="*/ 261 w 406"/>
                  <a:gd name="T33" fmla="*/ 331 h 352"/>
                  <a:gd name="T34" fmla="*/ 312 w 406"/>
                  <a:gd name="T35" fmla="*/ 278 h 352"/>
                  <a:gd name="T36" fmla="*/ 342 w 406"/>
                  <a:gd name="T37" fmla="*/ 299 h 352"/>
                  <a:gd name="T38" fmla="*/ 350 w 406"/>
                  <a:gd name="T39" fmla="*/ 287 h 352"/>
                  <a:gd name="T40" fmla="*/ 316 w 406"/>
                  <a:gd name="T41" fmla="*/ 272 h 352"/>
                  <a:gd name="T42" fmla="*/ 342 w 406"/>
                  <a:gd name="T43" fmla="*/ 244 h 352"/>
                  <a:gd name="T44" fmla="*/ 338 w 406"/>
                  <a:gd name="T45" fmla="*/ 221 h 352"/>
                  <a:gd name="T46" fmla="*/ 299 w 406"/>
                  <a:gd name="T47" fmla="*/ 195 h 352"/>
                  <a:gd name="T48" fmla="*/ 299 w 406"/>
                  <a:gd name="T49" fmla="*/ 193 h 352"/>
                  <a:gd name="T50" fmla="*/ 406 w 406"/>
                  <a:gd name="T51" fmla="*/ 167 h 352"/>
                  <a:gd name="T52" fmla="*/ 393 w 406"/>
                  <a:gd name="T53" fmla="*/ 131 h 352"/>
                  <a:gd name="T54" fmla="*/ 348 w 406"/>
                  <a:gd name="T55" fmla="*/ 121 h 352"/>
                  <a:gd name="T56" fmla="*/ 348 w 406"/>
                  <a:gd name="T57" fmla="*/ 102 h 352"/>
                  <a:gd name="T58" fmla="*/ 389 w 406"/>
                  <a:gd name="T59" fmla="*/ 97 h 352"/>
                  <a:gd name="T60" fmla="*/ 357 w 406"/>
                  <a:gd name="T61" fmla="*/ 82 h 352"/>
                  <a:gd name="T62" fmla="*/ 331 w 406"/>
                  <a:gd name="T63" fmla="*/ 25 h 352"/>
                  <a:gd name="T64" fmla="*/ 280 w 406"/>
                  <a:gd name="T65" fmla="*/ 0 h 352"/>
                  <a:gd name="T66" fmla="*/ 229 w 406"/>
                  <a:gd name="T67" fmla="*/ 40 h 352"/>
                  <a:gd name="T68" fmla="*/ 153 w 406"/>
                  <a:gd name="T69" fmla="*/ 44 h 352"/>
                  <a:gd name="T70" fmla="*/ 119 w 406"/>
                  <a:gd name="T71" fmla="*/ 63 h 352"/>
                  <a:gd name="T72" fmla="*/ 102 w 406"/>
                  <a:gd name="T73" fmla="*/ 112 h 352"/>
                  <a:gd name="T74" fmla="*/ 68 w 406"/>
                  <a:gd name="T75" fmla="*/ 104 h 352"/>
                  <a:gd name="T76" fmla="*/ 63 w 406"/>
                  <a:gd name="T77" fmla="*/ 121 h 352"/>
                  <a:gd name="T78" fmla="*/ 25 w 406"/>
                  <a:gd name="T79" fmla="*/ 123 h 352"/>
                  <a:gd name="T80" fmla="*/ 29 w 406"/>
                  <a:gd name="T81" fmla="*/ 138 h 352"/>
                  <a:gd name="T82" fmla="*/ 0 w 406"/>
                  <a:gd name="T83" fmla="*/ 148 h 352"/>
                  <a:gd name="T84" fmla="*/ 12 w 406"/>
                  <a:gd name="T85" fmla="*/ 165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6" h="352">
                    <a:moveTo>
                      <a:pt x="12" y="165"/>
                    </a:moveTo>
                    <a:lnTo>
                      <a:pt x="2" y="180"/>
                    </a:lnTo>
                    <a:lnTo>
                      <a:pt x="61" y="204"/>
                    </a:lnTo>
                    <a:lnTo>
                      <a:pt x="91" y="184"/>
                    </a:lnTo>
                    <a:lnTo>
                      <a:pt x="151" y="184"/>
                    </a:lnTo>
                    <a:lnTo>
                      <a:pt x="187" y="221"/>
                    </a:lnTo>
                    <a:lnTo>
                      <a:pt x="127" y="189"/>
                    </a:lnTo>
                    <a:lnTo>
                      <a:pt x="93" y="195"/>
                    </a:lnTo>
                    <a:lnTo>
                      <a:pt x="91" y="233"/>
                    </a:lnTo>
                    <a:lnTo>
                      <a:pt x="70" y="242"/>
                    </a:lnTo>
                    <a:lnTo>
                      <a:pt x="136" y="284"/>
                    </a:lnTo>
                    <a:lnTo>
                      <a:pt x="193" y="340"/>
                    </a:lnTo>
                    <a:lnTo>
                      <a:pt x="238" y="352"/>
                    </a:lnTo>
                    <a:lnTo>
                      <a:pt x="250" y="346"/>
                    </a:lnTo>
                    <a:lnTo>
                      <a:pt x="240" y="295"/>
                    </a:lnTo>
                    <a:lnTo>
                      <a:pt x="255" y="289"/>
                    </a:lnTo>
                    <a:lnTo>
                      <a:pt x="261" y="331"/>
                    </a:lnTo>
                    <a:lnTo>
                      <a:pt x="312" y="278"/>
                    </a:lnTo>
                    <a:lnTo>
                      <a:pt x="342" y="299"/>
                    </a:lnTo>
                    <a:lnTo>
                      <a:pt x="350" y="287"/>
                    </a:lnTo>
                    <a:lnTo>
                      <a:pt x="316" y="272"/>
                    </a:lnTo>
                    <a:lnTo>
                      <a:pt x="342" y="244"/>
                    </a:lnTo>
                    <a:lnTo>
                      <a:pt x="338" y="221"/>
                    </a:lnTo>
                    <a:lnTo>
                      <a:pt x="299" y="195"/>
                    </a:lnTo>
                    <a:lnTo>
                      <a:pt x="299" y="193"/>
                    </a:lnTo>
                    <a:lnTo>
                      <a:pt x="406" y="167"/>
                    </a:lnTo>
                    <a:lnTo>
                      <a:pt x="393" y="131"/>
                    </a:lnTo>
                    <a:lnTo>
                      <a:pt x="348" y="121"/>
                    </a:lnTo>
                    <a:lnTo>
                      <a:pt x="348" y="102"/>
                    </a:lnTo>
                    <a:lnTo>
                      <a:pt x="389" y="97"/>
                    </a:lnTo>
                    <a:lnTo>
                      <a:pt x="357" y="82"/>
                    </a:lnTo>
                    <a:lnTo>
                      <a:pt x="331" y="25"/>
                    </a:lnTo>
                    <a:lnTo>
                      <a:pt x="280" y="0"/>
                    </a:lnTo>
                    <a:lnTo>
                      <a:pt x="229" y="40"/>
                    </a:lnTo>
                    <a:lnTo>
                      <a:pt x="153" y="44"/>
                    </a:lnTo>
                    <a:lnTo>
                      <a:pt x="119" y="63"/>
                    </a:lnTo>
                    <a:lnTo>
                      <a:pt x="102" y="112"/>
                    </a:lnTo>
                    <a:lnTo>
                      <a:pt x="68" y="104"/>
                    </a:lnTo>
                    <a:lnTo>
                      <a:pt x="63" y="121"/>
                    </a:lnTo>
                    <a:lnTo>
                      <a:pt x="25" y="123"/>
                    </a:lnTo>
                    <a:lnTo>
                      <a:pt x="29" y="138"/>
                    </a:lnTo>
                    <a:lnTo>
                      <a:pt x="0" y="148"/>
                    </a:lnTo>
                    <a:lnTo>
                      <a:pt x="12" y="165"/>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70" name="72">
                <a:extLst>
                  <a:ext uri="{FF2B5EF4-FFF2-40B4-BE49-F238E27FC236}">
                    <a16:creationId xmlns:a16="http://schemas.microsoft.com/office/drawing/2014/main" id="{774FFCF5-AC0A-4D15-9B6C-D56E84F0E573}"/>
                  </a:ext>
                </a:extLst>
              </p:cNvPr>
              <p:cNvSpPr>
                <a:spLocks/>
              </p:cNvSpPr>
              <p:nvPr/>
            </p:nvSpPr>
            <p:spPr bwMode="gray">
              <a:xfrm>
                <a:off x="5518811" y="2842174"/>
                <a:ext cx="484207" cy="478477"/>
              </a:xfrm>
              <a:custGeom>
                <a:avLst/>
                <a:gdLst>
                  <a:gd name="T0" fmla="*/ 2 w 338"/>
                  <a:gd name="T1" fmla="*/ 234 h 334"/>
                  <a:gd name="T2" fmla="*/ 13 w 338"/>
                  <a:gd name="T3" fmla="*/ 255 h 334"/>
                  <a:gd name="T4" fmla="*/ 17 w 338"/>
                  <a:gd name="T5" fmla="*/ 272 h 334"/>
                  <a:gd name="T6" fmla="*/ 64 w 338"/>
                  <a:gd name="T7" fmla="*/ 276 h 334"/>
                  <a:gd name="T8" fmla="*/ 60 w 338"/>
                  <a:gd name="T9" fmla="*/ 300 h 334"/>
                  <a:gd name="T10" fmla="*/ 83 w 338"/>
                  <a:gd name="T11" fmla="*/ 293 h 334"/>
                  <a:gd name="T12" fmla="*/ 142 w 338"/>
                  <a:gd name="T13" fmla="*/ 327 h 334"/>
                  <a:gd name="T14" fmla="*/ 162 w 338"/>
                  <a:gd name="T15" fmla="*/ 319 h 334"/>
                  <a:gd name="T16" fmla="*/ 198 w 338"/>
                  <a:gd name="T17" fmla="*/ 334 h 334"/>
                  <a:gd name="T18" fmla="*/ 202 w 338"/>
                  <a:gd name="T19" fmla="*/ 308 h 334"/>
                  <a:gd name="T20" fmla="*/ 217 w 338"/>
                  <a:gd name="T21" fmla="*/ 317 h 334"/>
                  <a:gd name="T22" fmla="*/ 259 w 338"/>
                  <a:gd name="T23" fmla="*/ 291 h 334"/>
                  <a:gd name="T24" fmla="*/ 255 w 338"/>
                  <a:gd name="T25" fmla="*/ 293 h 334"/>
                  <a:gd name="T26" fmla="*/ 251 w 338"/>
                  <a:gd name="T27" fmla="*/ 285 h 334"/>
                  <a:gd name="T28" fmla="*/ 298 w 338"/>
                  <a:gd name="T29" fmla="*/ 242 h 334"/>
                  <a:gd name="T30" fmla="*/ 295 w 338"/>
                  <a:gd name="T31" fmla="*/ 219 h 334"/>
                  <a:gd name="T32" fmla="*/ 312 w 338"/>
                  <a:gd name="T33" fmla="*/ 219 h 334"/>
                  <a:gd name="T34" fmla="*/ 306 w 338"/>
                  <a:gd name="T35" fmla="*/ 157 h 334"/>
                  <a:gd name="T36" fmla="*/ 321 w 338"/>
                  <a:gd name="T37" fmla="*/ 142 h 334"/>
                  <a:gd name="T38" fmla="*/ 338 w 338"/>
                  <a:gd name="T39" fmla="*/ 127 h 334"/>
                  <a:gd name="T40" fmla="*/ 308 w 338"/>
                  <a:gd name="T41" fmla="*/ 110 h 334"/>
                  <a:gd name="T42" fmla="*/ 215 w 338"/>
                  <a:gd name="T43" fmla="*/ 61 h 334"/>
                  <a:gd name="T44" fmla="*/ 213 w 338"/>
                  <a:gd name="T45" fmla="*/ 21 h 334"/>
                  <a:gd name="T46" fmla="*/ 189 w 338"/>
                  <a:gd name="T47" fmla="*/ 0 h 334"/>
                  <a:gd name="T48" fmla="*/ 106 w 338"/>
                  <a:gd name="T49" fmla="*/ 36 h 334"/>
                  <a:gd name="T50" fmla="*/ 79 w 338"/>
                  <a:gd name="T51" fmla="*/ 51 h 334"/>
                  <a:gd name="T52" fmla="*/ 79 w 338"/>
                  <a:gd name="T53" fmla="*/ 98 h 334"/>
                  <a:gd name="T54" fmla="*/ 53 w 338"/>
                  <a:gd name="T55" fmla="*/ 112 h 334"/>
                  <a:gd name="T56" fmla="*/ 55 w 338"/>
                  <a:gd name="T57" fmla="*/ 149 h 334"/>
                  <a:gd name="T58" fmla="*/ 30 w 338"/>
                  <a:gd name="T59" fmla="*/ 153 h 334"/>
                  <a:gd name="T60" fmla="*/ 40 w 338"/>
                  <a:gd name="T61" fmla="*/ 187 h 334"/>
                  <a:gd name="T62" fmla="*/ 11 w 338"/>
                  <a:gd name="T63" fmla="*/ 200 h 334"/>
                  <a:gd name="T64" fmla="*/ 19 w 338"/>
                  <a:gd name="T65" fmla="*/ 215 h 334"/>
                  <a:gd name="T66" fmla="*/ 0 w 338"/>
                  <a:gd name="T67" fmla="*/ 229 h 334"/>
                  <a:gd name="T68" fmla="*/ 2 w 338"/>
                  <a:gd name="T69" fmla="*/ 2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8" h="334">
                    <a:moveTo>
                      <a:pt x="2" y="234"/>
                    </a:moveTo>
                    <a:lnTo>
                      <a:pt x="13" y="255"/>
                    </a:lnTo>
                    <a:lnTo>
                      <a:pt x="17" y="272"/>
                    </a:lnTo>
                    <a:lnTo>
                      <a:pt x="64" y="276"/>
                    </a:lnTo>
                    <a:lnTo>
                      <a:pt x="60" y="300"/>
                    </a:lnTo>
                    <a:lnTo>
                      <a:pt x="83" y="293"/>
                    </a:lnTo>
                    <a:lnTo>
                      <a:pt x="142" y="327"/>
                    </a:lnTo>
                    <a:lnTo>
                      <a:pt x="162" y="319"/>
                    </a:lnTo>
                    <a:lnTo>
                      <a:pt x="198" y="334"/>
                    </a:lnTo>
                    <a:lnTo>
                      <a:pt x="202" y="308"/>
                    </a:lnTo>
                    <a:lnTo>
                      <a:pt x="217" y="317"/>
                    </a:lnTo>
                    <a:lnTo>
                      <a:pt x="259" y="291"/>
                    </a:lnTo>
                    <a:lnTo>
                      <a:pt x="255" y="293"/>
                    </a:lnTo>
                    <a:lnTo>
                      <a:pt x="251" y="285"/>
                    </a:lnTo>
                    <a:lnTo>
                      <a:pt x="298" y="242"/>
                    </a:lnTo>
                    <a:lnTo>
                      <a:pt x="295" y="219"/>
                    </a:lnTo>
                    <a:lnTo>
                      <a:pt x="312" y="219"/>
                    </a:lnTo>
                    <a:lnTo>
                      <a:pt x="306" y="157"/>
                    </a:lnTo>
                    <a:lnTo>
                      <a:pt x="321" y="142"/>
                    </a:lnTo>
                    <a:lnTo>
                      <a:pt x="338" y="127"/>
                    </a:lnTo>
                    <a:lnTo>
                      <a:pt x="308" y="110"/>
                    </a:lnTo>
                    <a:lnTo>
                      <a:pt x="215" y="61"/>
                    </a:lnTo>
                    <a:lnTo>
                      <a:pt x="213" y="21"/>
                    </a:lnTo>
                    <a:lnTo>
                      <a:pt x="189" y="0"/>
                    </a:lnTo>
                    <a:lnTo>
                      <a:pt x="106" y="36"/>
                    </a:lnTo>
                    <a:lnTo>
                      <a:pt x="79" y="51"/>
                    </a:lnTo>
                    <a:lnTo>
                      <a:pt x="79" y="98"/>
                    </a:lnTo>
                    <a:lnTo>
                      <a:pt x="53" y="112"/>
                    </a:lnTo>
                    <a:lnTo>
                      <a:pt x="55" y="149"/>
                    </a:lnTo>
                    <a:lnTo>
                      <a:pt x="30" y="153"/>
                    </a:lnTo>
                    <a:lnTo>
                      <a:pt x="40" y="187"/>
                    </a:lnTo>
                    <a:lnTo>
                      <a:pt x="11" y="200"/>
                    </a:lnTo>
                    <a:lnTo>
                      <a:pt x="19" y="215"/>
                    </a:lnTo>
                    <a:lnTo>
                      <a:pt x="0" y="229"/>
                    </a:lnTo>
                    <a:lnTo>
                      <a:pt x="2" y="234"/>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71" name="53">
                <a:extLst>
                  <a:ext uri="{FF2B5EF4-FFF2-40B4-BE49-F238E27FC236}">
                    <a16:creationId xmlns:a16="http://schemas.microsoft.com/office/drawing/2014/main" id="{67A2B7CE-872E-430A-A74D-DEFD82517304}"/>
                  </a:ext>
                </a:extLst>
              </p:cNvPr>
              <p:cNvSpPr>
                <a:spLocks/>
              </p:cNvSpPr>
              <p:nvPr/>
            </p:nvSpPr>
            <p:spPr bwMode="gray">
              <a:xfrm>
                <a:off x="5238028" y="2790602"/>
                <a:ext cx="435500" cy="428337"/>
              </a:xfrm>
              <a:custGeom>
                <a:avLst/>
                <a:gdLst>
                  <a:gd name="T0" fmla="*/ 0 w 304"/>
                  <a:gd name="T1" fmla="*/ 263 h 299"/>
                  <a:gd name="T2" fmla="*/ 143 w 304"/>
                  <a:gd name="T3" fmla="*/ 299 h 299"/>
                  <a:gd name="T4" fmla="*/ 181 w 304"/>
                  <a:gd name="T5" fmla="*/ 282 h 299"/>
                  <a:gd name="T6" fmla="*/ 209 w 304"/>
                  <a:gd name="T7" fmla="*/ 291 h 299"/>
                  <a:gd name="T8" fmla="*/ 198 w 304"/>
                  <a:gd name="T9" fmla="*/ 270 h 299"/>
                  <a:gd name="T10" fmla="*/ 196 w 304"/>
                  <a:gd name="T11" fmla="*/ 265 h 299"/>
                  <a:gd name="T12" fmla="*/ 215 w 304"/>
                  <a:gd name="T13" fmla="*/ 251 h 299"/>
                  <a:gd name="T14" fmla="*/ 207 w 304"/>
                  <a:gd name="T15" fmla="*/ 236 h 299"/>
                  <a:gd name="T16" fmla="*/ 236 w 304"/>
                  <a:gd name="T17" fmla="*/ 223 h 299"/>
                  <a:gd name="T18" fmla="*/ 226 w 304"/>
                  <a:gd name="T19" fmla="*/ 189 h 299"/>
                  <a:gd name="T20" fmla="*/ 251 w 304"/>
                  <a:gd name="T21" fmla="*/ 185 h 299"/>
                  <a:gd name="T22" fmla="*/ 249 w 304"/>
                  <a:gd name="T23" fmla="*/ 148 h 299"/>
                  <a:gd name="T24" fmla="*/ 275 w 304"/>
                  <a:gd name="T25" fmla="*/ 134 h 299"/>
                  <a:gd name="T26" fmla="*/ 275 w 304"/>
                  <a:gd name="T27" fmla="*/ 87 h 299"/>
                  <a:gd name="T28" fmla="*/ 302 w 304"/>
                  <a:gd name="T29" fmla="*/ 72 h 299"/>
                  <a:gd name="T30" fmla="*/ 304 w 304"/>
                  <a:gd name="T31" fmla="*/ 44 h 299"/>
                  <a:gd name="T32" fmla="*/ 283 w 304"/>
                  <a:gd name="T33" fmla="*/ 42 h 299"/>
                  <a:gd name="T34" fmla="*/ 281 w 304"/>
                  <a:gd name="T35" fmla="*/ 15 h 299"/>
                  <a:gd name="T36" fmla="*/ 260 w 304"/>
                  <a:gd name="T37" fmla="*/ 0 h 299"/>
                  <a:gd name="T38" fmla="*/ 230 w 304"/>
                  <a:gd name="T39" fmla="*/ 27 h 299"/>
                  <a:gd name="T40" fmla="*/ 207 w 304"/>
                  <a:gd name="T41" fmla="*/ 17 h 299"/>
                  <a:gd name="T42" fmla="*/ 158 w 304"/>
                  <a:gd name="T43" fmla="*/ 40 h 299"/>
                  <a:gd name="T44" fmla="*/ 153 w 304"/>
                  <a:gd name="T45" fmla="*/ 25 h 299"/>
                  <a:gd name="T46" fmla="*/ 132 w 304"/>
                  <a:gd name="T47" fmla="*/ 40 h 299"/>
                  <a:gd name="T48" fmla="*/ 109 w 304"/>
                  <a:gd name="T49" fmla="*/ 19 h 299"/>
                  <a:gd name="T50" fmla="*/ 56 w 304"/>
                  <a:gd name="T51" fmla="*/ 12 h 299"/>
                  <a:gd name="T52" fmla="*/ 58 w 304"/>
                  <a:gd name="T53" fmla="*/ 78 h 299"/>
                  <a:gd name="T54" fmla="*/ 45 w 304"/>
                  <a:gd name="T55" fmla="*/ 100 h 299"/>
                  <a:gd name="T56" fmla="*/ 60 w 304"/>
                  <a:gd name="T57" fmla="*/ 191 h 299"/>
                  <a:gd name="T58" fmla="*/ 26 w 304"/>
                  <a:gd name="T59" fmla="*/ 206 h 299"/>
                  <a:gd name="T60" fmla="*/ 0 w 304"/>
                  <a:gd name="T61" fmla="*/ 261 h 299"/>
                  <a:gd name="T62" fmla="*/ 0 w 304"/>
                  <a:gd name="T63" fmla="*/ 26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4" h="299">
                    <a:moveTo>
                      <a:pt x="0" y="263"/>
                    </a:moveTo>
                    <a:lnTo>
                      <a:pt x="143" y="299"/>
                    </a:lnTo>
                    <a:lnTo>
                      <a:pt x="181" y="282"/>
                    </a:lnTo>
                    <a:lnTo>
                      <a:pt x="209" y="291"/>
                    </a:lnTo>
                    <a:lnTo>
                      <a:pt x="198" y="270"/>
                    </a:lnTo>
                    <a:lnTo>
                      <a:pt x="196" y="265"/>
                    </a:lnTo>
                    <a:lnTo>
                      <a:pt x="215" y="251"/>
                    </a:lnTo>
                    <a:lnTo>
                      <a:pt x="207" y="236"/>
                    </a:lnTo>
                    <a:lnTo>
                      <a:pt x="236" y="223"/>
                    </a:lnTo>
                    <a:lnTo>
                      <a:pt x="226" y="189"/>
                    </a:lnTo>
                    <a:lnTo>
                      <a:pt x="251" y="185"/>
                    </a:lnTo>
                    <a:lnTo>
                      <a:pt x="249" y="148"/>
                    </a:lnTo>
                    <a:lnTo>
                      <a:pt x="275" y="134"/>
                    </a:lnTo>
                    <a:lnTo>
                      <a:pt x="275" y="87"/>
                    </a:lnTo>
                    <a:lnTo>
                      <a:pt x="302" y="72"/>
                    </a:lnTo>
                    <a:lnTo>
                      <a:pt x="304" y="44"/>
                    </a:lnTo>
                    <a:lnTo>
                      <a:pt x="283" y="42"/>
                    </a:lnTo>
                    <a:lnTo>
                      <a:pt x="281" y="15"/>
                    </a:lnTo>
                    <a:lnTo>
                      <a:pt x="260" y="0"/>
                    </a:lnTo>
                    <a:lnTo>
                      <a:pt x="230" y="27"/>
                    </a:lnTo>
                    <a:lnTo>
                      <a:pt x="207" y="17"/>
                    </a:lnTo>
                    <a:lnTo>
                      <a:pt x="158" y="40"/>
                    </a:lnTo>
                    <a:lnTo>
                      <a:pt x="153" y="25"/>
                    </a:lnTo>
                    <a:lnTo>
                      <a:pt x="132" y="40"/>
                    </a:lnTo>
                    <a:lnTo>
                      <a:pt x="109" y="19"/>
                    </a:lnTo>
                    <a:lnTo>
                      <a:pt x="56" y="12"/>
                    </a:lnTo>
                    <a:lnTo>
                      <a:pt x="58" y="78"/>
                    </a:lnTo>
                    <a:lnTo>
                      <a:pt x="45" y="100"/>
                    </a:lnTo>
                    <a:lnTo>
                      <a:pt x="60" y="191"/>
                    </a:lnTo>
                    <a:lnTo>
                      <a:pt x="26" y="206"/>
                    </a:lnTo>
                    <a:lnTo>
                      <a:pt x="0" y="261"/>
                    </a:lnTo>
                    <a:lnTo>
                      <a:pt x="0" y="263"/>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72" name="49">
                <a:extLst>
                  <a:ext uri="{FF2B5EF4-FFF2-40B4-BE49-F238E27FC236}">
                    <a16:creationId xmlns:a16="http://schemas.microsoft.com/office/drawing/2014/main" id="{A3BBCA34-60C8-48CB-B795-E0F395157106}"/>
                  </a:ext>
                </a:extLst>
              </p:cNvPr>
              <p:cNvSpPr>
                <a:spLocks/>
              </p:cNvSpPr>
              <p:nvPr/>
            </p:nvSpPr>
            <p:spPr bwMode="gray">
              <a:xfrm>
                <a:off x="5186456" y="3167367"/>
                <a:ext cx="564430" cy="442663"/>
              </a:xfrm>
              <a:custGeom>
                <a:avLst/>
                <a:gdLst>
                  <a:gd name="T0" fmla="*/ 0 w 394"/>
                  <a:gd name="T1" fmla="*/ 181 h 309"/>
                  <a:gd name="T2" fmla="*/ 107 w 394"/>
                  <a:gd name="T3" fmla="*/ 155 h 309"/>
                  <a:gd name="T4" fmla="*/ 94 w 394"/>
                  <a:gd name="T5" fmla="*/ 119 h 309"/>
                  <a:gd name="T6" fmla="*/ 49 w 394"/>
                  <a:gd name="T7" fmla="*/ 109 h 309"/>
                  <a:gd name="T8" fmla="*/ 49 w 394"/>
                  <a:gd name="T9" fmla="*/ 90 h 309"/>
                  <a:gd name="T10" fmla="*/ 90 w 394"/>
                  <a:gd name="T11" fmla="*/ 85 h 309"/>
                  <a:gd name="T12" fmla="*/ 58 w 394"/>
                  <a:gd name="T13" fmla="*/ 70 h 309"/>
                  <a:gd name="T14" fmla="*/ 32 w 394"/>
                  <a:gd name="T15" fmla="*/ 13 h 309"/>
                  <a:gd name="T16" fmla="*/ 36 w 394"/>
                  <a:gd name="T17" fmla="*/ 0 h 309"/>
                  <a:gd name="T18" fmla="*/ 179 w 394"/>
                  <a:gd name="T19" fmla="*/ 36 h 309"/>
                  <a:gd name="T20" fmla="*/ 217 w 394"/>
                  <a:gd name="T21" fmla="*/ 19 h 309"/>
                  <a:gd name="T22" fmla="*/ 245 w 394"/>
                  <a:gd name="T23" fmla="*/ 28 h 309"/>
                  <a:gd name="T24" fmla="*/ 249 w 394"/>
                  <a:gd name="T25" fmla="*/ 45 h 309"/>
                  <a:gd name="T26" fmla="*/ 296 w 394"/>
                  <a:gd name="T27" fmla="*/ 49 h 309"/>
                  <a:gd name="T28" fmla="*/ 292 w 394"/>
                  <a:gd name="T29" fmla="*/ 73 h 309"/>
                  <a:gd name="T30" fmla="*/ 315 w 394"/>
                  <a:gd name="T31" fmla="*/ 66 h 309"/>
                  <a:gd name="T32" fmla="*/ 374 w 394"/>
                  <a:gd name="T33" fmla="*/ 100 h 309"/>
                  <a:gd name="T34" fmla="*/ 394 w 394"/>
                  <a:gd name="T35" fmla="*/ 92 h 309"/>
                  <a:gd name="T36" fmla="*/ 345 w 394"/>
                  <a:gd name="T37" fmla="*/ 251 h 309"/>
                  <a:gd name="T38" fmla="*/ 304 w 394"/>
                  <a:gd name="T39" fmla="*/ 287 h 309"/>
                  <a:gd name="T40" fmla="*/ 285 w 394"/>
                  <a:gd name="T41" fmla="*/ 270 h 309"/>
                  <a:gd name="T42" fmla="*/ 211 w 394"/>
                  <a:gd name="T43" fmla="*/ 287 h 309"/>
                  <a:gd name="T44" fmla="*/ 204 w 394"/>
                  <a:gd name="T45" fmla="*/ 277 h 309"/>
                  <a:gd name="T46" fmla="*/ 175 w 394"/>
                  <a:gd name="T47" fmla="*/ 306 h 309"/>
                  <a:gd name="T48" fmla="*/ 107 w 394"/>
                  <a:gd name="T49" fmla="*/ 309 h 309"/>
                  <a:gd name="T50" fmla="*/ 43 w 394"/>
                  <a:gd name="T51" fmla="*/ 287 h 309"/>
                  <a:gd name="T52" fmla="*/ 51 w 394"/>
                  <a:gd name="T53" fmla="*/ 275 h 309"/>
                  <a:gd name="T54" fmla="*/ 17 w 394"/>
                  <a:gd name="T55" fmla="*/ 260 h 309"/>
                  <a:gd name="T56" fmla="*/ 43 w 394"/>
                  <a:gd name="T57" fmla="*/ 232 h 309"/>
                  <a:gd name="T58" fmla="*/ 39 w 394"/>
                  <a:gd name="T59" fmla="*/ 209 h 309"/>
                  <a:gd name="T60" fmla="*/ 0 w 394"/>
                  <a:gd name="T61" fmla="*/ 183 h 309"/>
                  <a:gd name="T62" fmla="*/ 0 w 394"/>
                  <a:gd name="T63" fmla="*/ 18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309">
                    <a:moveTo>
                      <a:pt x="0" y="181"/>
                    </a:moveTo>
                    <a:lnTo>
                      <a:pt x="107" y="155"/>
                    </a:lnTo>
                    <a:lnTo>
                      <a:pt x="94" y="119"/>
                    </a:lnTo>
                    <a:lnTo>
                      <a:pt x="49" y="109"/>
                    </a:lnTo>
                    <a:lnTo>
                      <a:pt x="49" y="90"/>
                    </a:lnTo>
                    <a:lnTo>
                      <a:pt x="90" y="85"/>
                    </a:lnTo>
                    <a:lnTo>
                      <a:pt x="58" y="70"/>
                    </a:lnTo>
                    <a:lnTo>
                      <a:pt x="32" y="13"/>
                    </a:lnTo>
                    <a:lnTo>
                      <a:pt x="36" y="0"/>
                    </a:lnTo>
                    <a:lnTo>
                      <a:pt x="179" y="36"/>
                    </a:lnTo>
                    <a:lnTo>
                      <a:pt x="217" y="19"/>
                    </a:lnTo>
                    <a:lnTo>
                      <a:pt x="245" y="28"/>
                    </a:lnTo>
                    <a:lnTo>
                      <a:pt x="249" y="45"/>
                    </a:lnTo>
                    <a:lnTo>
                      <a:pt x="296" y="49"/>
                    </a:lnTo>
                    <a:lnTo>
                      <a:pt x="292" y="73"/>
                    </a:lnTo>
                    <a:lnTo>
                      <a:pt x="315" y="66"/>
                    </a:lnTo>
                    <a:lnTo>
                      <a:pt x="374" y="100"/>
                    </a:lnTo>
                    <a:lnTo>
                      <a:pt x="394" y="92"/>
                    </a:lnTo>
                    <a:lnTo>
                      <a:pt x="345" y="251"/>
                    </a:lnTo>
                    <a:lnTo>
                      <a:pt x="304" y="287"/>
                    </a:lnTo>
                    <a:lnTo>
                      <a:pt x="285" y="270"/>
                    </a:lnTo>
                    <a:lnTo>
                      <a:pt x="211" y="287"/>
                    </a:lnTo>
                    <a:lnTo>
                      <a:pt x="204" y="277"/>
                    </a:lnTo>
                    <a:lnTo>
                      <a:pt x="175" y="306"/>
                    </a:lnTo>
                    <a:lnTo>
                      <a:pt x="107" y="309"/>
                    </a:lnTo>
                    <a:lnTo>
                      <a:pt x="43" y="287"/>
                    </a:lnTo>
                    <a:lnTo>
                      <a:pt x="51" y="275"/>
                    </a:lnTo>
                    <a:lnTo>
                      <a:pt x="17" y="260"/>
                    </a:lnTo>
                    <a:lnTo>
                      <a:pt x="43" y="232"/>
                    </a:lnTo>
                    <a:lnTo>
                      <a:pt x="39" y="209"/>
                    </a:lnTo>
                    <a:lnTo>
                      <a:pt x="0" y="183"/>
                    </a:lnTo>
                    <a:lnTo>
                      <a:pt x="0" y="181"/>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73" name="85">
                <a:extLst>
                  <a:ext uri="{FF2B5EF4-FFF2-40B4-BE49-F238E27FC236}">
                    <a16:creationId xmlns:a16="http://schemas.microsoft.com/office/drawing/2014/main" id="{F06DAD6F-9DA6-41B6-8400-7C0B3FCFDB6D}"/>
                  </a:ext>
                </a:extLst>
              </p:cNvPr>
              <p:cNvSpPr>
                <a:spLocks/>
              </p:cNvSpPr>
              <p:nvPr/>
            </p:nvSpPr>
            <p:spPr bwMode="gray">
              <a:xfrm>
                <a:off x="4882752" y="3548429"/>
                <a:ext cx="565863" cy="429769"/>
              </a:xfrm>
              <a:custGeom>
                <a:avLst/>
                <a:gdLst>
                  <a:gd name="T0" fmla="*/ 49 w 395"/>
                  <a:gd name="T1" fmla="*/ 6 h 300"/>
                  <a:gd name="T2" fmla="*/ 106 w 395"/>
                  <a:gd name="T3" fmla="*/ 62 h 300"/>
                  <a:gd name="T4" fmla="*/ 151 w 395"/>
                  <a:gd name="T5" fmla="*/ 74 h 300"/>
                  <a:gd name="T6" fmla="*/ 163 w 395"/>
                  <a:gd name="T7" fmla="*/ 68 h 300"/>
                  <a:gd name="T8" fmla="*/ 153 w 395"/>
                  <a:gd name="T9" fmla="*/ 17 h 300"/>
                  <a:gd name="T10" fmla="*/ 168 w 395"/>
                  <a:gd name="T11" fmla="*/ 11 h 300"/>
                  <a:gd name="T12" fmla="*/ 174 w 395"/>
                  <a:gd name="T13" fmla="*/ 53 h 300"/>
                  <a:gd name="T14" fmla="*/ 225 w 395"/>
                  <a:gd name="T15" fmla="*/ 0 h 300"/>
                  <a:gd name="T16" fmla="*/ 255 w 395"/>
                  <a:gd name="T17" fmla="*/ 21 h 300"/>
                  <a:gd name="T18" fmla="*/ 319 w 395"/>
                  <a:gd name="T19" fmla="*/ 43 h 300"/>
                  <a:gd name="T20" fmla="*/ 316 w 395"/>
                  <a:gd name="T21" fmla="*/ 45 h 300"/>
                  <a:gd name="T22" fmla="*/ 363 w 395"/>
                  <a:gd name="T23" fmla="*/ 106 h 300"/>
                  <a:gd name="T24" fmla="*/ 382 w 395"/>
                  <a:gd name="T25" fmla="*/ 206 h 300"/>
                  <a:gd name="T26" fmla="*/ 372 w 395"/>
                  <a:gd name="T27" fmla="*/ 257 h 300"/>
                  <a:gd name="T28" fmla="*/ 395 w 395"/>
                  <a:gd name="T29" fmla="*/ 264 h 300"/>
                  <a:gd name="T30" fmla="*/ 340 w 395"/>
                  <a:gd name="T31" fmla="*/ 291 h 300"/>
                  <a:gd name="T32" fmla="*/ 319 w 395"/>
                  <a:gd name="T33" fmla="*/ 276 h 300"/>
                  <a:gd name="T34" fmla="*/ 293 w 395"/>
                  <a:gd name="T35" fmla="*/ 285 h 300"/>
                  <a:gd name="T36" fmla="*/ 295 w 395"/>
                  <a:gd name="T37" fmla="*/ 266 h 300"/>
                  <a:gd name="T38" fmla="*/ 244 w 395"/>
                  <a:gd name="T39" fmla="*/ 283 h 300"/>
                  <a:gd name="T40" fmla="*/ 221 w 395"/>
                  <a:gd name="T41" fmla="*/ 300 h 300"/>
                  <a:gd name="T42" fmla="*/ 204 w 395"/>
                  <a:gd name="T43" fmla="*/ 291 h 300"/>
                  <a:gd name="T44" fmla="*/ 74 w 395"/>
                  <a:gd name="T45" fmla="*/ 204 h 300"/>
                  <a:gd name="T46" fmla="*/ 64 w 395"/>
                  <a:gd name="T47" fmla="*/ 155 h 300"/>
                  <a:gd name="T48" fmla="*/ 0 w 395"/>
                  <a:gd name="T49" fmla="*/ 77 h 300"/>
                  <a:gd name="T50" fmla="*/ 49 w 395"/>
                  <a:gd name="T51" fmla="*/ 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5" h="300">
                    <a:moveTo>
                      <a:pt x="49" y="6"/>
                    </a:moveTo>
                    <a:lnTo>
                      <a:pt x="106" y="62"/>
                    </a:lnTo>
                    <a:lnTo>
                      <a:pt x="151" y="74"/>
                    </a:lnTo>
                    <a:lnTo>
                      <a:pt x="163" y="68"/>
                    </a:lnTo>
                    <a:lnTo>
                      <a:pt x="153" y="17"/>
                    </a:lnTo>
                    <a:lnTo>
                      <a:pt x="168" y="11"/>
                    </a:lnTo>
                    <a:lnTo>
                      <a:pt x="174" y="53"/>
                    </a:lnTo>
                    <a:lnTo>
                      <a:pt x="225" y="0"/>
                    </a:lnTo>
                    <a:lnTo>
                      <a:pt x="255" y="21"/>
                    </a:lnTo>
                    <a:lnTo>
                      <a:pt x="319" y="43"/>
                    </a:lnTo>
                    <a:lnTo>
                      <a:pt x="316" y="45"/>
                    </a:lnTo>
                    <a:lnTo>
                      <a:pt x="363" y="106"/>
                    </a:lnTo>
                    <a:lnTo>
                      <a:pt x="382" y="206"/>
                    </a:lnTo>
                    <a:lnTo>
                      <a:pt x="372" y="257"/>
                    </a:lnTo>
                    <a:lnTo>
                      <a:pt x="395" y="264"/>
                    </a:lnTo>
                    <a:lnTo>
                      <a:pt x="340" y="291"/>
                    </a:lnTo>
                    <a:lnTo>
                      <a:pt x="319" y="276"/>
                    </a:lnTo>
                    <a:lnTo>
                      <a:pt x="293" y="285"/>
                    </a:lnTo>
                    <a:lnTo>
                      <a:pt x="295" y="266"/>
                    </a:lnTo>
                    <a:lnTo>
                      <a:pt x="244" y="283"/>
                    </a:lnTo>
                    <a:lnTo>
                      <a:pt x="221" y="300"/>
                    </a:lnTo>
                    <a:lnTo>
                      <a:pt x="204" y="291"/>
                    </a:lnTo>
                    <a:lnTo>
                      <a:pt x="74" y="204"/>
                    </a:lnTo>
                    <a:lnTo>
                      <a:pt x="64" y="155"/>
                    </a:lnTo>
                    <a:lnTo>
                      <a:pt x="0" y="77"/>
                    </a:lnTo>
                    <a:lnTo>
                      <a:pt x="49" y="6"/>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grpSp>
        <p:grpSp>
          <p:nvGrpSpPr>
            <p:cNvPr id="149" name="Pays de la Loire (N° Départments)">
              <a:extLst>
                <a:ext uri="{FF2B5EF4-FFF2-40B4-BE49-F238E27FC236}">
                  <a16:creationId xmlns:a16="http://schemas.microsoft.com/office/drawing/2014/main" id="{4828CAB9-3AB9-47A8-9117-B4CE379EAE18}"/>
                </a:ext>
              </a:extLst>
            </p:cNvPr>
            <p:cNvGrpSpPr/>
            <p:nvPr/>
          </p:nvGrpSpPr>
          <p:grpSpPr>
            <a:xfrm>
              <a:off x="5755112" y="2752634"/>
              <a:ext cx="825888" cy="937278"/>
              <a:chOff x="5001656" y="2922019"/>
              <a:chExt cx="825888" cy="937278"/>
            </a:xfrm>
          </p:grpSpPr>
          <p:sp>
            <p:nvSpPr>
              <p:cNvPr id="364" name="49">
                <a:extLst>
                  <a:ext uri="{FF2B5EF4-FFF2-40B4-BE49-F238E27FC236}">
                    <a16:creationId xmlns:a16="http://schemas.microsoft.com/office/drawing/2014/main" id="{06859BA9-64CC-49CB-8C53-D3639AFFFAAD}"/>
                  </a:ext>
                </a:extLst>
              </p:cNvPr>
              <p:cNvSpPr txBox="1"/>
              <p:nvPr/>
            </p:nvSpPr>
            <p:spPr>
              <a:xfrm>
                <a:off x="5415456" y="3320651"/>
                <a:ext cx="184830" cy="166169"/>
              </a:xfrm>
              <a:prstGeom prst="rect">
                <a:avLst/>
              </a:prstGeom>
              <a:noFill/>
            </p:spPr>
            <p:txBody>
              <a:bodyPr wrap="none" lIns="0" tIns="0" rIns="0" bIns="0" rtlCol="0">
                <a:noAutofit/>
              </a:bodyPr>
              <a:lstStyle/>
              <a:p>
                <a:r>
                  <a:rPr lang="fr-FR" sz="800">
                    <a:solidFill>
                      <a:srgbClr val="503078"/>
                    </a:solidFill>
                    <a:latin typeface="Tahoma"/>
                  </a:rPr>
                  <a:t>49</a:t>
                </a:r>
              </a:p>
            </p:txBody>
          </p:sp>
          <p:sp>
            <p:nvSpPr>
              <p:cNvPr id="365" name="72">
                <a:extLst>
                  <a:ext uri="{FF2B5EF4-FFF2-40B4-BE49-F238E27FC236}">
                    <a16:creationId xmlns:a16="http://schemas.microsoft.com/office/drawing/2014/main" id="{4263A76F-31A3-4C57-A148-59207E88E4E8}"/>
                  </a:ext>
                </a:extLst>
              </p:cNvPr>
              <p:cNvSpPr txBox="1"/>
              <p:nvPr/>
            </p:nvSpPr>
            <p:spPr>
              <a:xfrm>
                <a:off x="5642714" y="3005490"/>
                <a:ext cx="184830" cy="166169"/>
              </a:xfrm>
              <a:prstGeom prst="rect">
                <a:avLst/>
              </a:prstGeom>
              <a:noFill/>
            </p:spPr>
            <p:txBody>
              <a:bodyPr wrap="none" lIns="0" tIns="0" rIns="0" bIns="0" rtlCol="0">
                <a:noAutofit/>
              </a:bodyPr>
              <a:lstStyle/>
              <a:p>
                <a:r>
                  <a:rPr lang="fr-FR" sz="800">
                    <a:solidFill>
                      <a:srgbClr val="503078"/>
                    </a:solidFill>
                    <a:latin typeface="Tahoma"/>
                  </a:rPr>
                  <a:t>72</a:t>
                </a:r>
              </a:p>
            </p:txBody>
          </p:sp>
          <p:sp>
            <p:nvSpPr>
              <p:cNvPr id="366" name="53">
                <a:extLst>
                  <a:ext uri="{FF2B5EF4-FFF2-40B4-BE49-F238E27FC236}">
                    <a16:creationId xmlns:a16="http://schemas.microsoft.com/office/drawing/2014/main" id="{C5F5C1FD-41AF-4523-8C8E-FAB1412F29F5}"/>
                  </a:ext>
                </a:extLst>
              </p:cNvPr>
              <p:cNvSpPr txBox="1"/>
              <p:nvPr/>
            </p:nvSpPr>
            <p:spPr>
              <a:xfrm>
                <a:off x="5364737" y="2922019"/>
                <a:ext cx="184830" cy="166169"/>
              </a:xfrm>
              <a:prstGeom prst="rect">
                <a:avLst/>
              </a:prstGeom>
              <a:noFill/>
            </p:spPr>
            <p:txBody>
              <a:bodyPr wrap="none" lIns="0" tIns="0" rIns="0" bIns="0" rtlCol="0">
                <a:noAutofit/>
              </a:bodyPr>
              <a:lstStyle/>
              <a:p>
                <a:r>
                  <a:rPr lang="fr-FR" sz="800">
                    <a:solidFill>
                      <a:srgbClr val="503078"/>
                    </a:solidFill>
                    <a:latin typeface="Tahoma"/>
                  </a:rPr>
                  <a:t>53</a:t>
                </a:r>
              </a:p>
            </p:txBody>
          </p:sp>
          <p:sp>
            <p:nvSpPr>
              <p:cNvPr id="367" name="85">
                <a:extLst>
                  <a:ext uri="{FF2B5EF4-FFF2-40B4-BE49-F238E27FC236}">
                    <a16:creationId xmlns:a16="http://schemas.microsoft.com/office/drawing/2014/main" id="{436439BD-D63F-4080-9E74-B969D26C5ED5}"/>
                  </a:ext>
                </a:extLst>
              </p:cNvPr>
              <p:cNvSpPr txBox="1"/>
              <p:nvPr/>
            </p:nvSpPr>
            <p:spPr>
              <a:xfrm>
                <a:off x="5128914" y="3693128"/>
                <a:ext cx="184830" cy="166169"/>
              </a:xfrm>
              <a:prstGeom prst="rect">
                <a:avLst/>
              </a:prstGeom>
              <a:noFill/>
            </p:spPr>
            <p:txBody>
              <a:bodyPr wrap="none" lIns="0" tIns="0" rIns="0" bIns="0" rtlCol="0">
                <a:noAutofit/>
              </a:bodyPr>
              <a:lstStyle/>
              <a:p>
                <a:r>
                  <a:rPr lang="fr-FR" sz="800">
                    <a:solidFill>
                      <a:srgbClr val="503078"/>
                    </a:solidFill>
                    <a:latin typeface="Tahoma"/>
                  </a:rPr>
                  <a:t>85</a:t>
                </a:r>
              </a:p>
            </p:txBody>
          </p:sp>
          <p:sp>
            <p:nvSpPr>
              <p:cNvPr id="368" name="44">
                <a:extLst>
                  <a:ext uri="{FF2B5EF4-FFF2-40B4-BE49-F238E27FC236}">
                    <a16:creationId xmlns:a16="http://schemas.microsoft.com/office/drawing/2014/main" id="{A2409B43-ECC3-4EC7-92B1-884E4A46762E}"/>
                  </a:ext>
                </a:extLst>
              </p:cNvPr>
              <p:cNvSpPr txBox="1"/>
              <p:nvPr/>
            </p:nvSpPr>
            <p:spPr>
              <a:xfrm>
                <a:off x="5001656" y="3283403"/>
                <a:ext cx="184830" cy="166169"/>
              </a:xfrm>
              <a:prstGeom prst="rect">
                <a:avLst/>
              </a:prstGeom>
              <a:noFill/>
            </p:spPr>
            <p:txBody>
              <a:bodyPr wrap="none" lIns="0" tIns="0" rIns="0" bIns="0" rtlCol="0">
                <a:noAutofit/>
              </a:bodyPr>
              <a:lstStyle/>
              <a:p>
                <a:r>
                  <a:rPr lang="fr-FR" sz="800">
                    <a:solidFill>
                      <a:srgbClr val="503078"/>
                    </a:solidFill>
                    <a:latin typeface="Tahoma"/>
                  </a:rPr>
                  <a:t>44</a:t>
                </a:r>
              </a:p>
            </p:txBody>
          </p:sp>
        </p:grpSp>
        <p:grpSp>
          <p:nvGrpSpPr>
            <p:cNvPr id="150" name="Normandie (Formes)">
              <a:extLst>
                <a:ext uri="{FF2B5EF4-FFF2-40B4-BE49-F238E27FC236}">
                  <a16:creationId xmlns:a16="http://schemas.microsoft.com/office/drawing/2014/main" id="{25F7AE17-58D6-4813-A6B7-062E31A53F38}"/>
                </a:ext>
              </a:extLst>
            </p:cNvPr>
            <p:cNvGrpSpPr/>
            <p:nvPr/>
          </p:nvGrpSpPr>
          <p:grpSpPr>
            <a:xfrm>
              <a:off x="5809549" y="1856227"/>
              <a:ext cx="1269253" cy="974144"/>
              <a:chOff x="5056093" y="2025612"/>
              <a:chExt cx="1269253" cy="974144"/>
            </a:xfrm>
            <a:solidFill>
              <a:srgbClr val="CAC5B8"/>
            </a:solidFill>
          </p:grpSpPr>
          <p:sp>
            <p:nvSpPr>
              <p:cNvPr id="359" name="14">
                <a:extLst>
                  <a:ext uri="{FF2B5EF4-FFF2-40B4-BE49-F238E27FC236}">
                    <a16:creationId xmlns:a16="http://schemas.microsoft.com/office/drawing/2014/main" id="{3E680B07-471A-48D5-B75E-F594B82D11ED}"/>
                  </a:ext>
                </a:extLst>
              </p:cNvPr>
              <p:cNvSpPr>
                <a:spLocks/>
              </p:cNvSpPr>
              <p:nvPr/>
            </p:nvSpPr>
            <p:spPr bwMode="gray">
              <a:xfrm>
                <a:off x="5299630" y="2342209"/>
                <a:ext cx="557269" cy="340951"/>
              </a:xfrm>
              <a:custGeom>
                <a:avLst/>
                <a:gdLst>
                  <a:gd name="T0" fmla="*/ 0 w 389"/>
                  <a:gd name="T1" fmla="*/ 204 h 238"/>
                  <a:gd name="T2" fmla="*/ 34 w 389"/>
                  <a:gd name="T3" fmla="*/ 181 h 238"/>
                  <a:gd name="T4" fmla="*/ 28 w 389"/>
                  <a:gd name="T5" fmla="*/ 160 h 238"/>
                  <a:gd name="T6" fmla="*/ 53 w 389"/>
                  <a:gd name="T7" fmla="*/ 160 h 238"/>
                  <a:gd name="T8" fmla="*/ 72 w 389"/>
                  <a:gd name="T9" fmla="*/ 136 h 238"/>
                  <a:gd name="T10" fmla="*/ 70 w 389"/>
                  <a:gd name="T11" fmla="*/ 98 h 238"/>
                  <a:gd name="T12" fmla="*/ 55 w 389"/>
                  <a:gd name="T13" fmla="*/ 87 h 238"/>
                  <a:gd name="T14" fmla="*/ 70 w 389"/>
                  <a:gd name="T15" fmla="*/ 72 h 238"/>
                  <a:gd name="T16" fmla="*/ 40 w 389"/>
                  <a:gd name="T17" fmla="*/ 70 h 238"/>
                  <a:gd name="T18" fmla="*/ 15 w 389"/>
                  <a:gd name="T19" fmla="*/ 43 h 238"/>
                  <a:gd name="T20" fmla="*/ 19 w 389"/>
                  <a:gd name="T21" fmla="*/ 21 h 238"/>
                  <a:gd name="T22" fmla="*/ 30 w 389"/>
                  <a:gd name="T23" fmla="*/ 2 h 238"/>
                  <a:gd name="T24" fmla="*/ 53 w 389"/>
                  <a:gd name="T25" fmla="*/ 0 h 238"/>
                  <a:gd name="T26" fmla="*/ 234 w 389"/>
                  <a:gd name="T27" fmla="*/ 51 h 238"/>
                  <a:gd name="T28" fmla="*/ 359 w 389"/>
                  <a:gd name="T29" fmla="*/ 0 h 238"/>
                  <a:gd name="T30" fmla="*/ 359 w 389"/>
                  <a:gd name="T31" fmla="*/ 43 h 238"/>
                  <a:gd name="T32" fmla="*/ 359 w 389"/>
                  <a:gd name="T33" fmla="*/ 45 h 238"/>
                  <a:gd name="T34" fmla="*/ 376 w 389"/>
                  <a:gd name="T35" fmla="*/ 58 h 238"/>
                  <a:gd name="T36" fmla="*/ 363 w 389"/>
                  <a:gd name="T37" fmla="*/ 68 h 238"/>
                  <a:gd name="T38" fmla="*/ 387 w 389"/>
                  <a:gd name="T39" fmla="*/ 111 h 238"/>
                  <a:gd name="T40" fmla="*/ 372 w 389"/>
                  <a:gd name="T41" fmla="*/ 140 h 238"/>
                  <a:gd name="T42" fmla="*/ 389 w 389"/>
                  <a:gd name="T43" fmla="*/ 155 h 238"/>
                  <a:gd name="T44" fmla="*/ 378 w 389"/>
                  <a:gd name="T45" fmla="*/ 181 h 238"/>
                  <a:gd name="T46" fmla="*/ 310 w 389"/>
                  <a:gd name="T47" fmla="*/ 177 h 238"/>
                  <a:gd name="T48" fmla="*/ 249 w 389"/>
                  <a:gd name="T49" fmla="*/ 223 h 238"/>
                  <a:gd name="T50" fmla="*/ 200 w 389"/>
                  <a:gd name="T51" fmla="*/ 204 h 238"/>
                  <a:gd name="T52" fmla="*/ 196 w 389"/>
                  <a:gd name="T53" fmla="*/ 217 h 238"/>
                  <a:gd name="T54" fmla="*/ 176 w 389"/>
                  <a:gd name="T55" fmla="*/ 198 h 238"/>
                  <a:gd name="T56" fmla="*/ 142 w 389"/>
                  <a:gd name="T57" fmla="*/ 213 h 238"/>
                  <a:gd name="T58" fmla="*/ 113 w 389"/>
                  <a:gd name="T59" fmla="*/ 204 h 238"/>
                  <a:gd name="T60" fmla="*/ 76 w 389"/>
                  <a:gd name="T61" fmla="*/ 238 h 238"/>
                  <a:gd name="T62" fmla="*/ 23 w 389"/>
                  <a:gd name="T63" fmla="*/ 228 h 238"/>
                  <a:gd name="T64" fmla="*/ 0 w 389"/>
                  <a:gd name="T65" fmla="*/ 204 h 238"/>
                  <a:gd name="T66" fmla="*/ 0 w 389"/>
                  <a:gd name="T67" fmla="*/ 20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 h="238">
                    <a:moveTo>
                      <a:pt x="0" y="204"/>
                    </a:moveTo>
                    <a:lnTo>
                      <a:pt x="34" y="181"/>
                    </a:lnTo>
                    <a:lnTo>
                      <a:pt x="28" y="160"/>
                    </a:lnTo>
                    <a:lnTo>
                      <a:pt x="53" y="160"/>
                    </a:lnTo>
                    <a:lnTo>
                      <a:pt x="72" y="136"/>
                    </a:lnTo>
                    <a:lnTo>
                      <a:pt x="70" y="98"/>
                    </a:lnTo>
                    <a:lnTo>
                      <a:pt x="55" y="87"/>
                    </a:lnTo>
                    <a:lnTo>
                      <a:pt x="70" y="72"/>
                    </a:lnTo>
                    <a:lnTo>
                      <a:pt x="40" y="70"/>
                    </a:lnTo>
                    <a:lnTo>
                      <a:pt x="15" y="43"/>
                    </a:lnTo>
                    <a:lnTo>
                      <a:pt x="19" y="21"/>
                    </a:lnTo>
                    <a:lnTo>
                      <a:pt x="30" y="2"/>
                    </a:lnTo>
                    <a:lnTo>
                      <a:pt x="53" y="0"/>
                    </a:lnTo>
                    <a:lnTo>
                      <a:pt x="234" y="51"/>
                    </a:lnTo>
                    <a:lnTo>
                      <a:pt x="359" y="0"/>
                    </a:lnTo>
                    <a:lnTo>
                      <a:pt x="359" y="43"/>
                    </a:lnTo>
                    <a:lnTo>
                      <a:pt x="359" y="45"/>
                    </a:lnTo>
                    <a:lnTo>
                      <a:pt x="376" y="58"/>
                    </a:lnTo>
                    <a:lnTo>
                      <a:pt x="363" y="68"/>
                    </a:lnTo>
                    <a:lnTo>
                      <a:pt x="387" y="111"/>
                    </a:lnTo>
                    <a:lnTo>
                      <a:pt x="372" y="140"/>
                    </a:lnTo>
                    <a:lnTo>
                      <a:pt x="389" y="155"/>
                    </a:lnTo>
                    <a:lnTo>
                      <a:pt x="378" y="181"/>
                    </a:lnTo>
                    <a:lnTo>
                      <a:pt x="310" y="177"/>
                    </a:lnTo>
                    <a:lnTo>
                      <a:pt x="249" y="223"/>
                    </a:lnTo>
                    <a:lnTo>
                      <a:pt x="200" y="204"/>
                    </a:lnTo>
                    <a:lnTo>
                      <a:pt x="196" y="217"/>
                    </a:lnTo>
                    <a:lnTo>
                      <a:pt x="176" y="198"/>
                    </a:lnTo>
                    <a:lnTo>
                      <a:pt x="142" y="213"/>
                    </a:lnTo>
                    <a:lnTo>
                      <a:pt x="113" y="204"/>
                    </a:lnTo>
                    <a:lnTo>
                      <a:pt x="76" y="238"/>
                    </a:lnTo>
                    <a:lnTo>
                      <a:pt x="23" y="228"/>
                    </a:lnTo>
                    <a:lnTo>
                      <a:pt x="0" y="204"/>
                    </a:lnTo>
                    <a:lnTo>
                      <a:pt x="0" y="204"/>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60" name="50">
                <a:extLst>
                  <a:ext uri="{FF2B5EF4-FFF2-40B4-BE49-F238E27FC236}">
                    <a16:creationId xmlns:a16="http://schemas.microsoft.com/office/drawing/2014/main" id="{BB17023F-C1AF-49B6-BAA8-F1DCEE9F2633}"/>
                  </a:ext>
                </a:extLst>
              </p:cNvPr>
              <p:cNvSpPr>
                <a:spLocks/>
              </p:cNvSpPr>
              <p:nvPr/>
            </p:nvSpPr>
            <p:spPr bwMode="gray">
              <a:xfrm>
                <a:off x="5056093" y="2150246"/>
                <a:ext cx="381062" cy="673305"/>
              </a:xfrm>
              <a:custGeom>
                <a:avLst/>
                <a:gdLst>
                  <a:gd name="T0" fmla="*/ 2 w 266"/>
                  <a:gd name="T1" fmla="*/ 0 h 470"/>
                  <a:gd name="T2" fmla="*/ 76 w 266"/>
                  <a:gd name="T3" fmla="*/ 34 h 470"/>
                  <a:gd name="T4" fmla="*/ 161 w 266"/>
                  <a:gd name="T5" fmla="*/ 21 h 470"/>
                  <a:gd name="T6" fmla="*/ 168 w 266"/>
                  <a:gd name="T7" fmla="*/ 53 h 470"/>
                  <a:gd name="T8" fmla="*/ 149 w 266"/>
                  <a:gd name="T9" fmla="*/ 75 h 470"/>
                  <a:gd name="T10" fmla="*/ 189 w 266"/>
                  <a:gd name="T11" fmla="*/ 155 h 470"/>
                  <a:gd name="T12" fmla="*/ 185 w 266"/>
                  <a:gd name="T13" fmla="*/ 177 h 470"/>
                  <a:gd name="T14" fmla="*/ 210 w 266"/>
                  <a:gd name="T15" fmla="*/ 204 h 470"/>
                  <a:gd name="T16" fmla="*/ 240 w 266"/>
                  <a:gd name="T17" fmla="*/ 206 h 470"/>
                  <a:gd name="T18" fmla="*/ 225 w 266"/>
                  <a:gd name="T19" fmla="*/ 221 h 470"/>
                  <a:gd name="T20" fmla="*/ 240 w 266"/>
                  <a:gd name="T21" fmla="*/ 232 h 470"/>
                  <a:gd name="T22" fmla="*/ 242 w 266"/>
                  <a:gd name="T23" fmla="*/ 270 h 470"/>
                  <a:gd name="T24" fmla="*/ 223 w 266"/>
                  <a:gd name="T25" fmla="*/ 294 h 470"/>
                  <a:gd name="T26" fmla="*/ 198 w 266"/>
                  <a:gd name="T27" fmla="*/ 294 h 470"/>
                  <a:gd name="T28" fmla="*/ 204 w 266"/>
                  <a:gd name="T29" fmla="*/ 315 h 470"/>
                  <a:gd name="T30" fmla="*/ 170 w 266"/>
                  <a:gd name="T31" fmla="*/ 338 h 470"/>
                  <a:gd name="T32" fmla="*/ 170 w 266"/>
                  <a:gd name="T33" fmla="*/ 338 h 470"/>
                  <a:gd name="T34" fmla="*/ 193 w 266"/>
                  <a:gd name="T35" fmla="*/ 362 h 470"/>
                  <a:gd name="T36" fmla="*/ 246 w 266"/>
                  <a:gd name="T37" fmla="*/ 372 h 470"/>
                  <a:gd name="T38" fmla="*/ 266 w 266"/>
                  <a:gd name="T39" fmla="*/ 421 h 470"/>
                  <a:gd name="T40" fmla="*/ 236 w 266"/>
                  <a:gd name="T41" fmla="*/ 462 h 470"/>
                  <a:gd name="T42" fmla="*/ 236 w 266"/>
                  <a:gd name="T43" fmla="*/ 466 h 470"/>
                  <a:gd name="T44" fmla="*/ 183 w 266"/>
                  <a:gd name="T45" fmla="*/ 459 h 470"/>
                  <a:gd name="T46" fmla="*/ 142 w 266"/>
                  <a:gd name="T47" fmla="*/ 442 h 470"/>
                  <a:gd name="T48" fmla="*/ 96 w 266"/>
                  <a:gd name="T49" fmla="*/ 470 h 470"/>
                  <a:gd name="T50" fmla="*/ 66 w 266"/>
                  <a:gd name="T51" fmla="*/ 406 h 470"/>
                  <a:gd name="T52" fmla="*/ 117 w 266"/>
                  <a:gd name="T53" fmla="*/ 406 h 470"/>
                  <a:gd name="T54" fmla="*/ 68 w 266"/>
                  <a:gd name="T55" fmla="*/ 362 h 470"/>
                  <a:gd name="T56" fmla="*/ 72 w 266"/>
                  <a:gd name="T57" fmla="*/ 202 h 470"/>
                  <a:gd name="T58" fmla="*/ 25 w 266"/>
                  <a:gd name="T59" fmla="*/ 130 h 470"/>
                  <a:gd name="T60" fmla="*/ 11 w 266"/>
                  <a:gd name="T61" fmla="*/ 75 h 470"/>
                  <a:gd name="T62" fmla="*/ 23 w 266"/>
                  <a:gd name="T63" fmla="*/ 36 h 470"/>
                  <a:gd name="T64" fmla="*/ 0 w 266"/>
                  <a:gd name="T65" fmla="*/ 17 h 470"/>
                  <a:gd name="T66" fmla="*/ 2 w 266"/>
                  <a:gd name="T67"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470">
                    <a:moveTo>
                      <a:pt x="2" y="0"/>
                    </a:moveTo>
                    <a:lnTo>
                      <a:pt x="76" y="34"/>
                    </a:lnTo>
                    <a:lnTo>
                      <a:pt x="161" y="21"/>
                    </a:lnTo>
                    <a:lnTo>
                      <a:pt x="168" y="53"/>
                    </a:lnTo>
                    <a:lnTo>
                      <a:pt x="149" y="75"/>
                    </a:lnTo>
                    <a:lnTo>
                      <a:pt x="189" y="155"/>
                    </a:lnTo>
                    <a:lnTo>
                      <a:pt x="185" y="177"/>
                    </a:lnTo>
                    <a:lnTo>
                      <a:pt x="210" y="204"/>
                    </a:lnTo>
                    <a:lnTo>
                      <a:pt x="240" y="206"/>
                    </a:lnTo>
                    <a:lnTo>
                      <a:pt x="225" y="221"/>
                    </a:lnTo>
                    <a:lnTo>
                      <a:pt x="240" y="232"/>
                    </a:lnTo>
                    <a:lnTo>
                      <a:pt x="242" y="270"/>
                    </a:lnTo>
                    <a:lnTo>
                      <a:pt x="223" y="294"/>
                    </a:lnTo>
                    <a:lnTo>
                      <a:pt x="198" y="294"/>
                    </a:lnTo>
                    <a:lnTo>
                      <a:pt x="204" y="315"/>
                    </a:lnTo>
                    <a:lnTo>
                      <a:pt x="170" y="338"/>
                    </a:lnTo>
                    <a:lnTo>
                      <a:pt x="170" y="338"/>
                    </a:lnTo>
                    <a:lnTo>
                      <a:pt x="193" y="362"/>
                    </a:lnTo>
                    <a:lnTo>
                      <a:pt x="246" y="372"/>
                    </a:lnTo>
                    <a:lnTo>
                      <a:pt x="266" y="421"/>
                    </a:lnTo>
                    <a:lnTo>
                      <a:pt x="236" y="462"/>
                    </a:lnTo>
                    <a:lnTo>
                      <a:pt x="236" y="466"/>
                    </a:lnTo>
                    <a:lnTo>
                      <a:pt x="183" y="459"/>
                    </a:lnTo>
                    <a:lnTo>
                      <a:pt x="142" y="442"/>
                    </a:lnTo>
                    <a:lnTo>
                      <a:pt x="96" y="470"/>
                    </a:lnTo>
                    <a:lnTo>
                      <a:pt x="66" y="406"/>
                    </a:lnTo>
                    <a:lnTo>
                      <a:pt x="117" y="406"/>
                    </a:lnTo>
                    <a:lnTo>
                      <a:pt x="68" y="362"/>
                    </a:lnTo>
                    <a:lnTo>
                      <a:pt x="72" y="202"/>
                    </a:lnTo>
                    <a:lnTo>
                      <a:pt x="25" y="130"/>
                    </a:lnTo>
                    <a:lnTo>
                      <a:pt x="11" y="75"/>
                    </a:lnTo>
                    <a:lnTo>
                      <a:pt x="23" y="36"/>
                    </a:lnTo>
                    <a:lnTo>
                      <a:pt x="0" y="17"/>
                    </a:lnTo>
                    <a:lnTo>
                      <a:pt x="2" y="0"/>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61" name="61">
                <a:extLst>
                  <a:ext uri="{FF2B5EF4-FFF2-40B4-BE49-F238E27FC236}">
                    <a16:creationId xmlns:a16="http://schemas.microsoft.com/office/drawing/2014/main" id="{122DCEF3-9C6D-4AB0-A933-38CB4FE38E5E}"/>
                  </a:ext>
                </a:extLst>
              </p:cNvPr>
              <p:cNvSpPr>
                <a:spLocks/>
              </p:cNvSpPr>
              <p:nvPr/>
            </p:nvSpPr>
            <p:spPr bwMode="gray">
              <a:xfrm>
                <a:off x="5394179" y="2595773"/>
                <a:ext cx="633194" cy="403983"/>
              </a:xfrm>
              <a:custGeom>
                <a:avLst/>
                <a:gdLst>
                  <a:gd name="T0" fmla="*/ 0 w 442"/>
                  <a:gd name="T1" fmla="*/ 155 h 282"/>
                  <a:gd name="T2" fmla="*/ 23 w 442"/>
                  <a:gd name="T3" fmla="*/ 176 h 282"/>
                  <a:gd name="T4" fmla="*/ 44 w 442"/>
                  <a:gd name="T5" fmla="*/ 161 h 282"/>
                  <a:gd name="T6" fmla="*/ 49 w 442"/>
                  <a:gd name="T7" fmla="*/ 176 h 282"/>
                  <a:gd name="T8" fmla="*/ 98 w 442"/>
                  <a:gd name="T9" fmla="*/ 153 h 282"/>
                  <a:gd name="T10" fmla="*/ 121 w 442"/>
                  <a:gd name="T11" fmla="*/ 163 h 282"/>
                  <a:gd name="T12" fmla="*/ 151 w 442"/>
                  <a:gd name="T13" fmla="*/ 136 h 282"/>
                  <a:gd name="T14" fmla="*/ 172 w 442"/>
                  <a:gd name="T15" fmla="*/ 151 h 282"/>
                  <a:gd name="T16" fmla="*/ 174 w 442"/>
                  <a:gd name="T17" fmla="*/ 178 h 282"/>
                  <a:gd name="T18" fmla="*/ 195 w 442"/>
                  <a:gd name="T19" fmla="*/ 180 h 282"/>
                  <a:gd name="T20" fmla="*/ 193 w 442"/>
                  <a:gd name="T21" fmla="*/ 208 h 282"/>
                  <a:gd name="T22" fmla="*/ 276 w 442"/>
                  <a:gd name="T23" fmla="*/ 172 h 282"/>
                  <a:gd name="T24" fmla="*/ 300 w 442"/>
                  <a:gd name="T25" fmla="*/ 193 h 282"/>
                  <a:gd name="T26" fmla="*/ 302 w 442"/>
                  <a:gd name="T27" fmla="*/ 233 h 282"/>
                  <a:gd name="T28" fmla="*/ 395 w 442"/>
                  <a:gd name="T29" fmla="*/ 282 h 282"/>
                  <a:gd name="T30" fmla="*/ 391 w 442"/>
                  <a:gd name="T31" fmla="*/ 244 h 282"/>
                  <a:gd name="T32" fmla="*/ 389 w 442"/>
                  <a:gd name="T33" fmla="*/ 244 h 282"/>
                  <a:gd name="T34" fmla="*/ 442 w 442"/>
                  <a:gd name="T35" fmla="*/ 193 h 282"/>
                  <a:gd name="T36" fmla="*/ 406 w 442"/>
                  <a:gd name="T37" fmla="*/ 108 h 282"/>
                  <a:gd name="T38" fmla="*/ 357 w 442"/>
                  <a:gd name="T39" fmla="*/ 25 h 282"/>
                  <a:gd name="T40" fmla="*/ 317 w 442"/>
                  <a:gd name="T41" fmla="*/ 25 h 282"/>
                  <a:gd name="T42" fmla="*/ 312 w 442"/>
                  <a:gd name="T43" fmla="*/ 4 h 282"/>
                  <a:gd name="T44" fmla="*/ 244 w 442"/>
                  <a:gd name="T45" fmla="*/ 0 h 282"/>
                  <a:gd name="T46" fmla="*/ 183 w 442"/>
                  <a:gd name="T47" fmla="*/ 46 h 282"/>
                  <a:gd name="T48" fmla="*/ 134 w 442"/>
                  <a:gd name="T49" fmla="*/ 27 h 282"/>
                  <a:gd name="T50" fmla="*/ 130 w 442"/>
                  <a:gd name="T51" fmla="*/ 40 h 282"/>
                  <a:gd name="T52" fmla="*/ 110 w 442"/>
                  <a:gd name="T53" fmla="*/ 21 h 282"/>
                  <a:gd name="T54" fmla="*/ 76 w 442"/>
                  <a:gd name="T55" fmla="*/ 36 h 282"/>
                  <a:gd name="T56" fmla="*/ 47 w 442"/>
                  <a:gd name="T57" fmla="*/ 27 h 282"/>
                  <a:gd name="T58" fmla="*/ 10 w 442"/>
                  <a:gd name="T59" fmla="*/ 61 h 282"/>
                  <a:gd name="T60" fmla="*/ 30 w 442"/>
                  <a:gd name="T61" fmla="*/ 110 h 282"/>
                  <a:gd name="T62" fmla="*/ 0 w 442"/>
                  <a:gd name="T63" fmla="*/ 151 h 282"/>
                  <a:gd name="T64" fmla="*/ 0 w 442"/>
                  <a:gd name="T65" fmla="*/ 155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2" h="282">
                    <a:moveTo>
                      <a:pt x="0" y="155"/>
                    </a:moveTo>
                    <a:lnTo>
                      <a:pt x="23" y="176"/>
                    </a:lnTo>
                    <a:lnTo>
                      <a:pt x="44" y="161"/>
                    </a:lnTo>
                    <a:lnTo>
                      <a:pt x="49" y="176"/>
                    </a:lnTo>
                    <a:lnTo>
                      <a:pt x="98" y="153"/>
                    </a:lnTo>
                    <a:lnTo>
                      <a:pt x="121" y="163"/>
                    </a:lnTo>
                    <a:lnTo>
                      <a:pt x="151" y="136"/>
                    </a:lnTo>
                    <a:lnTo>
                      <a:pt x="172" y="151"/>
                    </a:lnTo>
                    <a:lnTo>
                      <a:pt x="174" y="178"/>
                    </a:lnTo>
                    <a:lnTo>
                      <a:pt x="195" y="180"/>
                    </a:lnTo>
                    <a:lnTo>
                      <a:pt x="193" y="208"/>
                    </a:lnTo>
                    <a:lnTo>
                      <a:pt x="276" y="172"/>
                    </a:lnTo>
                    <a:lnTo>
                      <a:pt x="300" y="193"/>
                    </a:lnTo>
                    <a:lnTo>
                      <a:pt x="302" y="233"/>
                    </a:lnTo>
                    <a:lnTo>
                      <a:pt x="395" y="282"/>
                    </a:lnTo>
                    <a:lnTo>
                      <a:pt x="391" y="244"/>
                    </a:lnTo>
                    <a:lnTo>
                      <a:pt x="389" y="244"/>
                    </a:lnTo>
                    <a:lnTo>
                      <a:pt x="442" y="193"/>
                    </a:lnTo>
                    <a:lnTo>
                      <a:pt x="406" y="108"/>
                    </a:lnTo>
                    <a:lnTo>
                      <a:pt x="357" y="25"/>
                    </a:lnTo>
                    <a:lnTo>
                      <a:pt x="317" y="25"/>
                    </a:lnTo>
                    <a:lnTo>
                      <a:pt x="312" y="4"/>
                    </a:lnTo>
                    <a:lnTo>
                      <a:pt x="244" y="0"/>
                    </a:lnTo>
                    <a:lnTo>
                      <a:pt x="183" y="46"/>
                    </a:lnTo>
                    <a:lnTo>
                      <a:pt x="134" y="27"/>
                    </a:lnTo>
                    <a:lnTo>
                      <a:pt x="130" y="40"/>
                    </a:lnTo>
                    <a:lnTo>
                      <a:pt x="110" y="21"/>
                    </a:lnTo>
                    <a:lnTo>
                      <a:pt x="76" y="36"/>
                    </a:lnTo>
                    <a:lnTo>
                      <a:pt x="47" y="27"/>
                    </a:lnTo>
                    <a:lnTo>
                      <a:pt x="10" y="61"/>
                    </a:lnTo>
                    <a:lnTo>
                      <a:pt x="30" y="110"/>
                    </a:lnTo>
                    <a:lnTo>
                      <a:pt x="0" y="151"/>
                    </a:lnTo>
                    <a:lnTo>
                      <a:pt x="0" y="155"/>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62" name="76">
                <a:extLst>
                  <a:ext uri="{FF2B5EF4-FFF2-40B4-BE49-F238E27FC236}">
                    <a16:creationId xmlns:a16="http://schemas.microsoft.com/office/drawing/2014/main" id="{97FFC334-3956-44DA-8B8A-3E1F8BCB0D7D}"/>
                  </a:ext>
                </a:extLst>
              </p:cNvPr>
              <p:cNvSpPr>
                <a:spLocks/>
              </p:cNvSpPr>
              <p:nvPr/>
            </p:nvSpPr>
            <p:spPr bwMode="gray">
              <a:xfrm>
                <a:off x="5743724" y="2025612"/>
                <a:ext cx="581622" cy="424039"/>
              </a:xfrm>
              <a:custGeom>
                <a:avLst/>
                <a:gdLst>
                  <a:gd name="T0" fmla="*/ 22 w 406"/>
                  <a:gd name="T1" fmla="*/ 130 h 296"/>
                  <a:gd name="T2" fmla="*/ 124 w 406"/>
                  <a:gd name="T3" fmla="*/ 72 h 296"/>
                  <a:gd name="T4" fmla="*/ 249 w 406"/>
                  <a:gd name="T5" fmla="*/ 45 h 296"/>
                  <a:gd name="T6" fmla="*/ 313 w 406"/>
                  <a:gd name="T7" fmla="*/ 0 h 296"/>
                  <a:gd name="T8" fmla="*/ 319 w 406"/>
                  <a:gd name="T9" fmla="*/ 4 h 296"/>
                  <a:gd name="T10" fmla="*/ 385 w 406"/>
                  <a:gd name="T11" fmla="*/ 60 h 296"/>
                  <a:gd name="T12" fmla="*/ 406 w 406"/>
                  <a:gd name="T13" fmla="*/ 115 h 296"/>
                  <a:gd name="T14" fmla="*/ 383 w 406"/>
                  <a:gd name="T15" fmla="*/ 136 h 296"/>
                  <a:gd name="T16" fmla="*/ 398 w 406"/>
                  <a:gd name="T17" fmla="*/ 142 h 296"/>
                  <a:gd name="T18" fmla="*/ 385 w 406"/>
                  <a:gd name="T19" fmla="*/ 155 h 296"/>
                  <a:gd name="T20" fmla="*/ 389 w 406"/>
                  <a:gd name="T21" fmla="*/ 208 h 296"/>
                  <a:gd name="T22" fmla="*/ 404 w 406"/>
                  <a:gd name="T23" fmla="*/ 213 h 296"/>
                  <a:gd name="T24" fmla="*/ 385 w 406"/>
                  <a:gd name="T25" fmla="*/ 242 h 296"/>
                  <a:gd name="T26" fmla="*/ 309 w 406"/>
                  <a:gd name="T27" fmla="*/ 221 h 296"/>
                  <a:gd name="T28" fmla="*/ 281 w 406"/>
                  <a:gd name="T29" fmla="*/ 259 h 296"/>
                  <a:gd name="T30" fmla="*/ 215 w 406"/>
                  <a:gd name="T31" fmla="*/ 296 h 296"/>
                  <a:gd name="T32" fmla="*/ 177 w 406"/>
                  <a:gd name="T33" fmla="*/ 266 h 296"/>
                  <a:gd name="T34" fmla="*/ 198 w 406"/>
                  <a:gd name="T35" fmla="*/ 262 h 296"/>
                  <a:gd name="T36" fmla="*/ 196 w 406"/>
                  <a:gd name="T37" fmla="*/ 249 h 296"/>
                  <a:gd name="T38" fmla="*/ 168 w 406"/>
                  <a:gd name="T39" fmla="*/ 230 h 296"/>
                  <a:gd name="T40" fmla="*/ 134 w 406"/>
                  <a:gd name="T41" fmla="*/ 236 h 296"/>
                  <a:gd name="T42" fmla="*/ 98 w 406"/>
                  <a:gd name="T43" fmla="*/ 206 h 296"/>
                  <a:gd name="T44" fmla="*/ 70 w 406"/>
                  <a:gd name="T45" fmla="*/ 219 h 296"/>
                  <a:gd name="T46" fmla="*/ 0 w 406"/>
                  <a:gd name="T47" fmla="*/ 202 h 296"/>
                  <a:gd name="T48" fmla="*/ 22 w 406"/>
                  <a:gd name="T49"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6" h="296">
                    <a:moveTo>
                      <a:pt x="22" y="130"/>
                    </a:moveTo>
                    <a:lnTo>
                      <a:pt x="124" y="72"/>
                    </a:lnTo>
                    <a:lnTo>
                      <a:pt x="249" y="45"/>
                    </a:lnTo>
                    <a:lnTo>
                      <a:pt x="313" y="0"/>
                    </a:lnTo>
                    <a:lnTo>
                      <a:pt x="319" y="4"/>
                    </a:lnTo>
                    <a:lnTo>
                      <a:pt x="385" y="60"/>
                    </a:lnTo>
                    <a:lnTo>
                      <a:pt x="406" y="115"/>
                    </a:lnTo>
                    <a:lnTo>
                      <a:pt x="383" y="136"/>
                    </a:lnTo>
                    <a:lnTo>
                      <a:pt x="398" y="142"/>
                    </a:lnTo>
                    <a:lnTo>
                      <a:pt x="385" y="155"/>
                    </a:lnTo>
                    <a:lnTo>
                      <a:pt x="389" y="208"/>
                    </a:lnTo>
                    <a:lnTo>
                      <a:pt x="404" y="213"/>
                    </a:lnTo>
                    <a:lnTo>
                      <a:pt x="385" y="242"/>
                    </a:lnTo>
                    <a:lnTo>
                      <a:pt x="309" y="221"/>
                    </a:lnTo>
                    <a:lnTo>
                      <a:pt x="281" y="259"/>
                    </a:lnTo>
                    <a:lnTo>
                      <a:pt x="215" y="296"/>
                    </a:lnTo>
                    <a:lnTo>
                      <a:pt x="177" y="266"/>
                    </a:lnTo>
                    <a:lnTo>
                      <a:pt x="198" y="262"/>
                    </a:lnTo>
                    <a:lnTo>
                      <a:pt x="196" y="249"/>
                    </a:lnTo>
                    <a:lnTo>
                      <a:pt x="168" y="230"/>
                    </a:lnTo>
                    <a:lnTo>
                      <a:pt x="134" y="236"/>
                    </a:lnTo>
                    <a:lnTo>
                      <a:pt x="98" y="206"/>
                    </a:lnTo>
                    <a:lnTo>
                      <a:pt x="70" y="219"/>
                    </a:lnTo>
                    <a:lnTo>
                      <a:pt x="0" y="202"/>
                    </a:lnTo>
                    <a:lnTo>
                      <a:pt x="22" y="130"/>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63" name="27">
                <a:extLst>
                  <a:ext uri="{FF2B5EF4-FFF2-40B4-BE49-F238E27FC236}">
                    <a16:creationId xmlns:a16="http://schemas.microsoft.com/office/drawing/2014/main" id="{AC8CA573-8AE7-4BEA-91D1-945A35F40F82}"/>
                  </a:ext>
                </a:extLst>
              </p:cNvPr>
              <p:cNvSpPr>
                <a:spLocks/>
              </p:cNvSpPr>
              <p:nvPr/>
            </p:nvSpPr>
            <p:spPr bwMode="gray">
              <a:xfrm>
                <a:off x="5813919" y="2320720"/>
                <a:ext cx="511427" cy="429769"/>
              </a:xfrm>
              <a:custGeom>
                <a:avLst/>
                <a:gdLst>
                  <a:gd name="T0" fmla="*/ 0 w 357"/>
                  <a:gd name="T1" fmla="*/ 58 h 300"/>
                  <a:gd name="T2" fmla="*/ 0 w 357"/>
                  <a:gd name="T3" fmla="*/ 15 h 300"/>
                  <a:gd name="T4" fmla="*/ 21 w 357"/>
                  <a:gd name="T5" fmla="*/ 13 h 300"/>
                  <a:gd name="T6" fmla="*/ 49 w 357"/>
                  <a:gd name="T7" fmla="*/ 0 h 300"/>
                  <a:gd name="T8" fmla="*/ 85 w 357"/>
                  <a:gd name="T9" fmla="*/ 30 h 300"/>
                  <a:gd name="T10" fmla="*/ 119 w 357"/>
                  <a:gd name="T11" fmla="*/ 24 h 300"/>
                  <a:gd name="T12" fmla="*/ 147 w 357"/>
                  <a:gd name="T13" fmla="*/ 43 h 300"/>
                  <a:gd name="T14" fmla="*/ 149 w 357"/>
                  <a:gd name="T15" fmla="*/ 56 h 300"/>
                  <a:gd name="T16" fmla="*/ 128 w 357"/>
                  <a:gd name="T17" fmla="*/ 60 h 300"/>
                  <a:gd name="T18" fmla="*/ 166 w 357"/>
                  <a:gd name="T19" fmla="*/ 90 h 300"/>
                  <a:gd name="T20" fmla="*/ 232 w 357"/>
                  <a:gd name="T21" fmla="*/ 53 h 300"/>
                  <a:gd name="T22" fmla="*/ 260 w 357"/>
                  <a:gd name="T23" fmla="*/ 15 h 300"/>
                  <a:gd name="T24" fmla="*/ 336 w 357"/>
                  <a:gd name="T25" fmla="*/ 36 h 300"/>
                  <a:gd name="T26" fmla="*/ 357 w 357"/>
                  <a:gd name="T27" fmla="*/ 87 h 300"/>
                  <a:gd name="T28" fmla="*/ 334 w 357"/>
                  <a:gd name="T29" fmla="*/ 96 h 300"/>
                  <a:gd name="T30" fmla="*/ 334 w 357"/>
                  <a:gd name="T31" fmla="*/ 98 h 300"/>
                  <a:gd name="T32" fmla="*/ 334 w 357"/>
                  <a:gd name="T33" fmla="*/ 100 h 300"/>
                  <a:gd name="T34" fmla="*/ 311 w 357"/>
                  <a:gd name="T35" fmla="*/ 155 h 300"/>
                  <a:gd name="T36" fmla="*/ 270 w 357"/>
                  <a:gd name="T37" fmla="*/ 164 h 300"/>
                  <a:gd name="T38" fmla="*/ 270 w 357"/>
                  <a:gd name="T39" fmla="*/ 166 h 300"/>
                  <a:gd name="T40" fmla="*/ 283 w 357"/>
                  <a:gd name="T41" fmla="*/ 206 h 300"/>
                  <a:gd name="T42" fmla="*/ 240 w 357"/>
                  <a:gd name="T43" fmla="*/ 270 h 300"/>
                  <a:gd name="T44" fmla="*/ 189 w 357"/>
                  <a:gd name="T45" fmla="*/ 260 h 300"/>
                  <a:gd name="T46" fmla="*/ 113 w 357"/>
                  <a:gd name="T47" fmla="*/ 300 h 300"/>
                  <a:gd name="T48" fmla="*/ 64 w 357"/>
                  <a:gd name="T49" fmla="*/ 217 h 300"/>
                  <a:gd name="T50" fmla="*/ 24 w 357"/>
                  <a:gd name="T51" fmla="*/ 217 h 300"/>
                  <a:gd name="T52" fmla="*/ 19 w 357"/>
                  <a:gd name="T53" fmla="*/ 196 h 300"/>
                  <a:gd name="T54" fmla="*/ 30 w 357"/>
                  <a:gd name="T55" fmla="*/ 170 h 300"/>
                  <a:gd name="T56" fmla="*/ 13 w 357"/>
                  <a:gd name="T57" fmla="*/ 155 h 300"/>
                  <a:gd name="T58" fmla="*/ 28 w 357"/>
                  <a:gd name="T59" fmla="*/ 126 h 300"/>
                  <a:gd name="T60" fmla="*/ 4 w 357"/>
                  <a:gd name="T61" fmla="*/ 83 h 300"/>
                  <a:gd name="T62" fmla="*/ 17 w 357"/>
                  <a:gd name="T63" fmla="*/ 73 h 300"/>
                  <a:gd name="T64" fmla="*/ 0 w 357"/>
                  <a:gd name="T65" fmla="*/ 60 h 300"/>
                  <a:gd name="T66" fmla="*/ 0 w 357"/>
                  <a:gd name="T67" fmla="*/ 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7" h="300">
                    <a:moveTo>
                      <a:pt x="0" y="58"/>
                    </a:moveTo>
                    <a:lnTo>
                      <a:pt x="0" y="15"/>
                    </a:lnTo>
                    <a:lnTo>
                      <a:pt x="21" y="13"/>
                    </a:lnTo>
                    <a:lnTo>
                      <a:pt x="49" y="0"/>
                    </a:lnTo>
                    <a:lnTo>
                      <a:pt x="85" y="30"/>
                    </a:lnTo>
                    <a:lnTo>
                      <a:pt x="119" y="24"/>
                    </a:lnTo>
                    <a:lnTo>
                      <a:pt x="147" y="43"/>
                    </a:lnTo>
                    <a:lnTo>
                      <a:pt x="149" y="56"/>
                    </a:lnTo>
                    <a:lnTo>
                      <a:pt x="128" y="60"/>
                    </a:lnTo>
                    <a:lnTo>
                      <a:pt x="166" y="90"/>
                    </a:lnTo>
                    <a:lnTo>
                      <a:pt x="232" y="53"/>
                    </a:lnTo>
                    <a:lnTo>
                      <a:pt x="260" y="15"/>
                    </a:lnTo>
                    <a:lnTo>
                      <a:pt x="336" y="36"/>
                    </a:lnTo>
                    <a:lnTo>
                      <a:pt x="357" y="87"/>
                    </a:lnTo>
                    <a:lnTo>
                      <a:pt x="334" y="96"/>
                    </a:lnTo>
                    <a:lnTo>
                      <a:pt x="334" y="98"/>
                    </a:lnTo>
                    <a:lnTo>
                      <a:pt x="334" y="100"/>
                    </a:lnTo>
                    <a:lnTo>
                      <a:pt x="311" y="155"/>
                    </a:lnTo>
                    <a:lnTo>
                      <a:pt x="270" y="164"/>
                    </a:lnTo>
                    <a:lnTo>
                      <a:pt x="270" y="166"/>
                    </a:lnTo>
                    <a:lnTo>
                      <a:pt x="283" y="206"/>
                    </a:lnTo>
                    <a:lnTo>
                      <a:pt x="240" y="270"/>
                    </a:lnTo>
                    <a:lnTo>
                      <a:pt x="189" y="260"/>
                    </a:lnTo>
                    <a:lnTo>
                      <a:pt x="113" y="300"/>
                    </a:lnTo>
                    <a:lnTo>
                      <a:pt x="64" y="217"/>
                    </a:lnTo>
                    <a:lnTo>
                      <a:pt x="24" y="217"/>
                    </a:lnTo>
                    <a:lnTo>
                      <a:pt x="19" y="196"/>
                    </a:lnTo>
                    <a:lnTo>
                      <a:pt x="30" y="170"/>
                    </a:lnTo>
                    <a:lnTo>
                      <a:pt x="13" y="155"/>
                    </a:lnTo>
                    <a:lnTo>
                      <a:pt x="28" y="126"/>
                    </a:lnTo>
                    <a:lnTo>
                      <a:pt x="4" y="83"/>
                    </a:lnTo>
                    <a:lnTo>
                      <a:pt x="17" y="73"/>
                    </a:lnTo>
                    <a:lnTo>
                      <a:pt x="0" y="60"/>
                    </a:lnTo>
                    <a:lnTo>
                      <a:pt x="0" y="58"/>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grpSp>
        <p:grpSp>
          <p:nvGrpSpPr>
            <p:cNvPr id="151" name="Normandie (N° Départements)">
              <a:extLst>
                <a:ext uri="{FF2B5EF4-FFF2-40B4-BE49-F238E27FC236}">
                  <a16:creationId xmlns:a16="http://schemas.microsoft.com/office/drawing/2014/main" id="{A9E4A6C5-08FB-426A-856E-482C1D6FD1E9}"/>
                </a:ext>
              </a:extLst>
            </p:cNvPr>
            <p:cNvGrpSpPr/>
            <p:nvPr/>
          </p:nvGrpSpPr>
          <p:grpSpPr>
            <a:xfrm>
              <a:off x="5904069" y="1952217"/>
              <a:ext cx="1015609" cy="684033"/>
              <a:chOff x="5150613" y="2121602"/>
              <a:chExt cx="1015609" cy="684033"/>
            </a:xfrm>
          </p:grpSpPr>
          <p:sp>
            <p:nvSpPr>
              <p:cNvPr id="354" name="50">
                <a:extLst>
                  <a:ext uri="{FF2B5EF4-FFF2-40B4-BE49-F238E27FC236}">
                    <a16:creationId xmlns:a16="http://schemas.microsoft.com/office/drawing/2014/main" id="{1C8CAA22-19F0-4E95-91A4-0CFBE581F3F3}"/>
                  </a:ext>
                </a:extLst>
              </p:cNvPr>
              <p:cNvSpPr txBox="1"/>
              <p:nvPr/>
            </p:nvSpPr>
            <p:spPr>
              <a:xfrm>
                <a:off x="5150613" y="2409547"/>
                <a:ext cx="184830" cy="166169"/>
              </a:xfrm>
              <a:prstGeom prst="rect">
                <a:avLst/>
              </a:prstGeom>
              <a:noFill/>
            </p:spPr>
            <p:txBody>
              <a:bodyPr wrap="none" lIns="0" tIns="0" rIns="0" bIns="0" rtlCol="0">
                <a:noAutofit/>
              </a:bodyPr>
              <a:lstStyle/>
              <a:p>
                <a:r>
                  <a:rPr lang="fr-FR" sz="800">
                    <a:solidFill>
                      <a:srgbClr val="503078"/>
                    </a:solidFill>
                    <a:latin typeface="Tahoma"/>
                  </a:rPr>
                  <a:t>50</a:t>
                </a:r>
              </a:p>
            </p:txBody>
          </p:sp>
          <p:sp>
            <p:nvSpPr>
              <p:cNvPr id="355" name="14">
                <a:extLst>
                  <a:ext uri="{FF2B5EF4-FFF2-40B4-BE49-F238E27FC236}">
                    <a16:creationId xmlns:a16="http://schemas.microsoft.com/office/drawing/2014/main" id="{D08FF360-0CA4-4840-B0A9-DF136DAC94BA}"/>
                  </a:ext>
                </a:extLst>
              </p:cNvPr>
              <p:cNvSpPr txBox="1"/>
              <p:nvPr/>
            </p:nvSpPr>
            <p:spPr>
              <a:xfrm>
                <a:off x="5502322" y="2429604"/>
                <a:ext cx="184830" cy="166169"/>
              </a:xfrm>
              <a:prstGeom prst="rect">
                <a:avLst/>
              </a:prstGeom>
              <a:noFill/>
            </p:spPr>
            <p:txBody>
              <a:bodyPr wrap="none" lIns="0" tIns="0" rIns="0" bIns="0" rtlCol="0">
                <a:noAutofit/>
              </a:bodyPr>
              <a:lstStyle/>
              <a:p>
                <a:r>
                  <a:rPr lang="fr-FR" sz="800">
                    <a:solidFill>
                      <a:srgbClr val="503078"/>
                    </a:solidFill>
                    <a:latin typeface="Tahoma"/>
                  </a:rPr>
                  <a:t>14</a:t>
                </a:r>
              </a:p>
            </p:txBody>
          </p:sp>
          <p:sp>
            <p:nvSpPr>
              <p:cNvPr id="356" name="61">
                <a:extLst>
                  <a:ext uri="{FF2B5EF4-FFF2-40B4-BE49-F238E27FC236}">
                    <a16:creationId xmlns:a16="http://schemas.microsoft.com/office/drawing/2014/main" id="{1515E095-F54C-4E54-A42F-39F48DA7DF91}"/>
                  </a:ext>
                </a:extLst>
              </p:cNvPr>
              <p:cNvSpPr txBox="1"/>
              <p:nvPr/>
            </p:nvSpPr>
            <p:spPr>
              <a:xfrm>
                <a:off x="5648884" y="2639466"/>
                <a:ext cx="184830" cy="166169"/>
              </a:xfrm>
              <a:prstGeom prst="rect">
                <a:avLst/>
              </a:prstGeom>
              <a:noFill/>
            </p:spPr>
            <p:txBody>
              <a:bodyPr wrap="none" lIns="0" tIns="0" rIns="0" bIns="0" rtlCol="0">
                <a:noAutofit/>
              </a:bodyPr>
              <a:lstStyle/>
              <a:p>
                <a:r>
                  <a:rPr lang="fr-FR" sz="800">
                    <a:solidFill>
                      <a:srgbClr val="FFFFFF"/>
                    </a:solidFill>
                    <a:latin typeface="Tahoma"/>
                  </a:rPr>
                  <a:t>61</a:t>
                </a:r>
              </a:p>
            </p:txBody>
          </p:sp>
          <p:sp>
            <p:nvSpPr>
              <p:cNvPr id="357" name="27">
                <a:extLst>
                  <a:ext uri="{FF2B5EF4-FFF2-40B4-BE49-F238E27FC236}">
                    <a16:creationId xmlns:a16="http://schemas.microsoft.com/office/drawing/2014/main" id="{FCD6B31E-2B8A-4237-9D97-AFAF702C8992}"/>
                  </a:ext>
                </a:extLst>
              </p:cNvPr>
              <p:cNvSpPr txBox="1"/>
              <p:nvPr/>
            </p:nvSpPr>
            <p:spPr>
              <a:xfrm>
                <a:off x="5951445" y="2458802"/>
                <a:ext cx="184830" cy="166169"/>
              </a:xfrm>
              <a:prstGeom prst="rect">
                <a:avLst/>
              </a:prstGeom>
              <a:noFill/>
            </p:spPr>
            <p:txBody>
              <a:bodyPr wrap="none" lIns="0" tIns="0" rIns="0" bIns="0" rtlCol="0">
                <a:noAutofit/>
              </a:bodyPr>
              <a:lstStyle/>
              <a:p>
                <a:r>
                  <a:rPr lang="fr-FR" sz="800">
                    <a:solidFill>
                      <a:srgbClr val="503078"/>
                    </a:solidFill>
                    <a:latin typeface="Tahoma"/>
                  </a:rPr>
                  <a:t>27</a:t>
                </a:r>
              </a:p>
            </p:txBody>
          </p:sp>
          <p:sp>
            <p:nvSpPr>
              <p:cNvPr id="358" name="76">
                <a:extLst>
                  <a:ext uri="{FF2B5EF4-FFF2-40B4-BE49-F238E27FC236}">
                    <a16:creationId xmlns:a16="http://schemas.microsoft.com/office/drawing/2014/main" id="{FC48A194-D8A7-400B-9A13-64A7DFAAEA38}"/>
                  </a:ext>
                </a:extLst>
              </p:cNvPr>
              <p:cNvSpPr txBox="1"/>
              <p:nvPr/>
            </p:nvSpPr>
            <p:spPr>
              <a:xfrm>
                <a:off x="5981392" y="2121602"/>
                <a:ext cx="184830" cy="166169"/>
              </a:xfrm>
              <a:prstGeom prst="rect">
                <a:avLst/>
              </a:prstGeom>
              <a:noFill/>
            </p:spPr>
            <p:txBody>
              <a:bodyPr wrap="none" lIns="0" tIns="0" rIns="0" bIns="0" rtlCol="0">
                <a:noAutofit/>
              </a:bodyPr>
              <a:lstStyle/>
              <a:p>
                <a:r>
                  <a:rPr lang="fr-FR" sz="800">
                    <a:solidFill>
                      <a:srgbClr val="FFFFFF"/>
                    </a:solidFill>
                    <a:latin typeface="Tahoma"/>
                  </a:rPr>
                  <a:t>76</a:t>
                </a:r>
              </a:p>
            </p:txBody>
          </p:sp>
        </p:grpSp>
        <p:grpSp>
          <p:nvGrpSpPr>
            <p:cNvPr id="152" name="Nord Pas de Calais Picardie (Formes)">
              <a:extLst>
                <a:ext uri="{FF2B5EF4-FFF2-40B4-BE49-F238E27FC236}">
                  <a16:creationId xmlns:a16="http://schemas.microsoft.com/office/drawing/2014/main" id="{6126BAAE-4FFF-4573-83CE-5783433A33E6}"/>
                </a:ext>
              </a:extLst>
            </p:cNvPr>
            <p:cNvGrpSpPr/>
            <p:nvPr/>
          </p:nvGrpSpPr>
          <p:grpSpPr>
            <a:xfrm>
              <a:off x="6945572" y="1329043"/>
              <a:ext cx="961253" cy="1173271"/>
              <a:chOff x="6192116" y="1498428"/>
              <a:chExt cx="961253" cy="1173271"/>
            </a:xfrm>
            <a:solidFill>
              <a:srgbClr val="667E76"/>
            </a:solidFill>
          </p:grpSpPr>
          <p:grpSp>
            <p:nvGrpSpPr>
              <p:cNvPr id="347" name="Picardie (Formes)">
                <a:extLst>
                  <a:ext uri="{FF2B5EF4-FFF2-40B4-BE49-F238E27FC236}">
                    <a16:creationId xmlns:a16="http://schemas.microsoft.com/office/drawing/2014/main" id="{99653605-5EF9-409D-8A19-3B07DADEB47B}"/>
                  </a:ext>
                </a:extLst>
              </p:cNvPr>
              <p:cNvGrpSpPr/>
              <p:nvPr/>
            </p:nvGrpSpPr>
            <p:grpSpPr>
              <a:xfrm>
                <a:off x="6192116" y="1866598"/>
                <a:ext cx="961253" cy="805101"/>
                <a:chOff x="6192116" y="1866598"/>
                <a:chExt cx="961253" cy="805101"/>
              </a:xfrm>
              <a:grpFill/>
            </p:grpSpPr>
            <p:sp>
              <p:nvSpPr>
                <p:cNvPr id="351" name="02">
                  <a:extLst>
                    <a:ext uri="{FF2B5EF4-FFF2-40B4-BE49-F238E27FC236}">
                      <a16:creationId xmlns:a16="http://schemas.microsoft.com/office/drawing/2014/main" id="{CB96CF2D-B898-4A6B-A0CA-245A915E8FB9}"/>
                    </a:ext>
                  </a:extLst>
                </p:cNvPr>
                <p:cNvSpPr>
                  <a:spLocks/>
                </p:cNvSpPr>
                <p:nvPr/>
              </p:nvSpPr>
              <p:spPr bwMode="gray">
                <a:xfrm>
                  <a:off x="6722166" y="2034207"/>
                  <a:ext cx="431203" cy="637492"/>
                </a:xfrm>
                <a:custGeom>
                  <a:avLst/>
                  <a:gdLst>
                    <a:gd name="T0" fmla="*/ 32 w 301"/>
                    <a:gd name="T1" fmla="*/ 334 h 445"/>
                    <a:gd name="T2" fmla="*/ 27 w 301"/>
                    <a:gd name="T3" fmla="*/ 349 h 445"/>
                    <a:gd name="T4" fmla="*/ 49 w 301"/>
                    <a:gd name="T5" fmla="*/ 355 h 445"/>
                    <a:gd name="T6" fmla="*/ 49 w 301"/>
                    <a:gd name="T7" fmla="*/ 383 h 445"/>
                    <a:gd name="T8" fmla="*/ 72 w 301"/>
                    <a:gd name="T9" fmla="*/ 413 h 445"/>
                    <a:gd name="T10" fmla="*/ 125 w 301"/>
                    <a:gd name="T11" fmla="*/ 445 h 445"/>
                    <a:gd name="T12" fmla="*/ 172 w 301"/>
                    <a:gd name="T13" fmla="*/ 385 h 445"/>
                    <a:gd name="T14" fmla="*/ 148 w 301"/>
                    <a:gd name="T15" fmla="*/ 375 h 445"/>
                    <a:gd name="T16" fmla="*/ 159 w 301"/>
                    <a:gd name="T17" fmla="*/ 336 h 445"/>
                    <a:gd name="T18" fmla="*/ 189 w 301"/>
                    <a:gd name="T19" fmla="*/ 332 h 445"/>
                    <a:gd name="T20" fmla="*/ 165 w 301"/>
                    <a:gd name="T21" fmla="*/ 311 h 445"/>
                    <a:gd name="T22" fmla="*/ 163 w 301"/>
                    <a:gd name="T23" fmla="*/ 275 h 445"/>
                    <a:gd name="T24" fmla="*/ 212 w 301"/>
                    <a:gd name="T25" fmla="*/ 264 h 445"/>
                    <a:gd name="T26" fmla="*/ 229 w 301"/>
                    <a:gd name="T27" fmla="*/ 243 h 445"/>
                    <a:gd name="T28" fmla="*/ 257 w 301"/>
                    <a:gd name="T29" fmla="*/ 260 h 445"/>
                    <a:gd name="T30" fmla="*/ 261 w 301"/>
                    <a:gd name="T31" fmla="*/ 241 h 445"/>
                    <a:gd name="T32" fmla="*/ 255 w 301"/>
                    <a:gd name="T33" fmla="*/ 166 h 445"/>
                    <a:gd name="T34" fmla="*/ 255 w 301"/>
                    <a:gd name="T35" fmla="*/ 162 h 445"/>
                    <a:gd name="T36" fmla="*/ 301 w 301"/>
                    <a:gd name="T37" fmla="*/ 124 h 445"/>
                    <a:gd name="T38" fmla="*/ 301 w 301"/>
                    <a:gd name="T39" fmla="*/ 41 h 445"/>
                    <a:gd name="T40" fmla="*/ 280 w 301"/>
                    <a:gd name="T41" fmla="*/ 32 h 445"/>
                    <a:gd name="T42" fmla="*/ 178 w 301"/>
                    <a:gd name="T43" fmla="*/ 0 h 445"/>
                    <a:gd name="T44" fmla="*/ 155 w 301"/>
                    <a:gd name="T45" fmla="*/ 15 h 445"/>
                    <a:gd name="T46" fmla="*/ 142 w 301"/>
                    <a:gd name="T47" fmla="*/ 5 h 445"/>
                    <a:gd name="T48" fmla="*/ 125 w 301"/>
                    <a:gd name="T49" fmla="*/ 20 h 445"/>
                    <a:gd name="T50" fmla="*/ 51 w 301"/>
                    <a:gd name="T51" fmla="*/ 20 h 445"/>
                    <a:gd name="T52" fmla="*/ 59 w 301"/>
                    <a:gd name="T53" fmla="*/ 30 h 445"/>
                    <a:gd name="T54" fmla="*/ 23 w 301"/>
                    <a:gd name="T55" fmla="*/ 88 h 445"/>
                    <a:gd name="T56" fmla="*/ 38 w 301"/>
                    <a:gd name="T57" fmla="*/ 132 h 445"/>
                    <a:gd name="T58" fmla="*/ 34 w 301"/>
                    <a:gd name="T59" fmla="*/ 200 h 445"/>
                    <a:gd name="T60" fmla="*/ 49 w 301"/>
                    <a:gd name="T61" fmla="*/ 228 h 445"/>
                    <a:gd name="T62" fmla="*/ 0 w 301"/>
                    <a:gd name="T63" fmla="*/ 273 h 445"/>
                    <a:gd name="T64" fmla="*/ 19 w 301"/>
                    <a:gd name="T65" fmla="*/ 307 h 445"/>
                    <a:gd name="T66" fmla="*/ 32 w 301"/>
                    <a:gd name="T67" fmla="*/ 33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1" h="445">
                      <a:moveTo>
                        <a:pt x="32" y="334"/>
                      </a:moveTo>
                      <a:lnTo>
                        <a:pt x="27" y="349"/>
                      </a:lnTo>
                      <a:lnTo>
                        <a:pt x="49" y="355"/>
                      </a:lnTo>
                      <a:lnTo>
                        <a:pt x="49" y="383"/>
                      </a:lnTo>
                      <a:lnTo>
                        <a:pt x="72" y="413"/>
                      </a:lnTo>
                      <a:lnTo>
                        <a:pt x="125" y="445"/>
                      </a:lnTo>
                      <a:lnTo>
                        <a:pt x="172" y="385"/>
                      </a:lnTo>
                      <a:lnTo>
                        <a:pt x="148" y="375"/>
                      </a:lnTo>
                      <a:lnTo>
                        <a:pt x="159" y="336"/>
                      </a:lnTo>
                      <a:lnTo>
                        <a:pt x="189" y="332"/>
                      </a:lnTo>
                      <a:lnTo>
                        <a:pt x="165" y="311"/>
                      </a:lnTo>
                      <a:lnTo>
                        <a:pt x="163" y="275"/>
                      </a:lnTo>
                      <a:lnTo>
                        <a:pt x="212" y="264"/>
                      </a:lnTo>
                      <a:lnTo>
                        <a:pt x="229" y="243"/>
                      </a:lnTo>
                      <a:lnTo>
                        <a:pt x="257" y="260"/>
                      </a:lnTo>
                      <a:lnTo>
                        <a:pt x="261" y="241"/>
                      </a:lnTo>
                      <a:lnTo>
                        <a:pt x="255" y="166"/>
                      </a:lnTo>
                      <a:lnTo>
                        <a:pt x="255" y="162"/>
                      </a:lnTo>
                      <a:lnTo>
                        <a:pt x="301" y="124"/>
                      </a:lnTo>
                      <a:lnTo>
                        <a:pt x="301" y="41"/>
                      </a:lnTo>
                      <a:lnTo>
                        <a:pt x="280" y="32"/>
                      </a:lnTo>
                      <a:lnTo>
                        <a:pt x="178" y="0"/>
                      </a:lnTo>
                      <a:lnTo>
                        <a:pt x="155" y="15"/>
                      </a:lnTo>
                      <a:lnTo>
                        <a:pt x="142" y="5"/>
                      </a:lnTo>
                      <a:lnTo>
                        <a:pt x="125" y="20"/>
                      </a:lnTo>
                      <a:lnTo>
                        <a:pt x="51" y="20"/>
                      </a:lnTo>
                      <a:lnTo>
                        <a:pt x="59" y="30"/>
                      </a:lnTo>
                      <a:lnTo>
                        <a:pt x="23" y="88"/>
                      </a:lnTo>
                      <a:lnTo>
                        <a:pt x="38" y="132"/>
                      </a:lnTo>
                      <a:lnTo>
                        <a:pt x="34" y="200"/>
                      </a:lnTo>
                      <a:lnTo>
                        <a:pt x="49" y="228"/>
                      </a:lnTo>
                      <a:lnTo>
                        <a:pt x="0" y="273"/>
                      </a:lnTo>
                      <a:lnTo>
                        <a:pt x="19" y="307"/>
                      </a:lnTo>
                      <a:lnTo>
                        <a:pt x="32" y="334"/>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52" name="80">
                  <a:extLst>
                    <a:ext uri="{FF2B5EF4-FFF2-40B4-BE49-F238E27FC236}">
                      <a16:creationId xmlns:a16="http://schemas.microsoft.com/office/drawing/2014/main" id="{B04E1A8D-8643-477D-A0DE-528B4D43C49B}"/>
                    </a:ext>
                  </a:extLst>
                </p:cNvPr>
                <p:cNvSpPr>
                  <a:spLocks/>
                </p:cNvSpPr>
                <p:nvPr/>
              </p:nvSpPr>
              <p:spPr bwMode="gray">
                <a:xfrm>
                  <a:off x="6192116" y="1866598"/>
                  <a:ext cx="614571" cy="426904"/>
                </a:xfrm>
                <a:custGeom>
                  <a:avLst/>
                  <a:gdLst>
                    <a:gd name="T0" fmla="*/ 6 w 429"/>
                    <a:gd name="T1" fmla="*/ 115 h 298"/>
                    <a:gd name="T2" fmla="*/ 72 w 429"/>
                    <a:gd name="T3" fmla="*/ 171 h 298"/>
                    <a:gd name="T4" fmla="*/ 93 w 429"/>
                    <a:gd name="T5" fmla="*/ 226 h 298"/>
                    <a:gd name="T6" fmla="*/ 108 w 429"/>
                    <a:gd name="T7" fmla="*/ 247 h 298"/>
                    <a:gd name="T8" fmla="*/ 202 w 429"/>
                    <a:gd name="T9" fmla="*/ 249 h 298"/>
                    <a:gd name="T10" fmla="*/ 295 w 429"/>
                    <a:gd name="T11" fmla="*/ 298 h 298"/>
                    <a:gd name="T12" fmla="*/ 306 w 429"/>
                    <a:gd name="T13" fmla="*/ 279 h 298"/>
                    <a:gd name="T14" fmla="*/ 331 w 429"/>
                    <a:gd name="T15" fmla="*/ 281 h 298"/>
                    <a:gd name="T16" fmla="*/ 348 w 429"/>
                    <a:gd name="T17" fmla="*/ 251 h 298"/>
                    <a:gd name="T18" fmla="*/ 370 w 429"/>
                    <a:gd name="T19" fmla="*/ 262 h 298"/>
                    <a:gd name="T20" fmla="*/ 408 w 429"/>
                    <a:gd name="T21" fmla="*/ 249 h 298"/>
                    <a:gd name="T22" fmla="*/ 393 w 429"/>
                    <a:gd name="T23" fmla="*/ 205 h 298"/>
                    <a:gd name="T24" fmla="*/ 429 w 429"/>
                    <a:gd name="T25" fmla="*/ 147 h 298"/>
                    <a:gd name="T26" fmla="*/ 421 w 429"/>
                    <a:gd name="T27" fmla="*/ 137 h 298"/>
                    <a:gd name="T28" fmla="*/ 402 w 429"/>
                    <a:gd name="T29" fmla="*/ 124 h 298"/>
                    <a:gd name="T30" fmla="*/ 346 w 429"/>
                    <a:gd name="T31" fmla="*/ 134 h 298"/>
                    <a:gd name="T32" fmla="*/ 344 w 429"/>
                    <a:gd name="T33" fmla="*/ 113 h 298"/>
                    <a:gd name="T34" fmla="*/ 323 w 429"/>
                    <a:gd name="T35" fmla="*/ 128 h 298"/>
                    <a:gd name="T36" fmla="*/ 329 w 429"/>
                    <a:gd name="T37" fmla="*/ 100 h 298"/>
                    <a:gd name="T38" fmla="*/ 312 w 429"/>
                    <a:gd name="T39" fmla="*/ 96 h 298"/>
                    <a:gd name="T40" fmla="*/ 310 w 429"/>
                    <a:gd name="T41" fmla="*/ 111 h 298"/>
                    <a:gd name="T42" fmla="*/ 282 w 429"/>
                    <a:gd name="T43" fmla="*/ 90 h 298"/>
                    <a:gd name="T44" fmla="*/ 259 w 429"/>
                    <a:gd name="T45" fmla="*/ 90 h 298"/>
                    <a:gd name="T46" fmla="*/ 246 w 429"/>
                    <a:gd name="T47" fmla="*/ 109 h 298"/>
                    <a:gd name="T48" fmla="*/ 238 w 429"/>
                    <a:gd name="T49" fmla="*/ 86 h 298"/>
                    <a:gd name="T50" fmla="*/ 263 w 429"/>
                    <a:gd name="T51" fmla="*/ 69 h 298"/>
                    <a:gd name="T52" fmla="*/ 253 w 429"/>
                    <a:gd name="T53" fmla="*/ 56 h 298"/>
                    <a:gd name="T54" fmla="*/ 183 w 429"/>
                    <a:gd name="T55" fmla="*/ 71 h 298"/>
                    <a:gd name="T56" fmla="*/ 134 w 429"/>
                    <a:gd name="T57" fmla="*/ 17 h 298"/>
                    <a:gd name="T58" fmla="*/ 93 w 429"/>
                    <a:gd name="T59" fmla="*/ 5 h 298"/>
                    <a:gd name="T60" fmla="*/ 70 w 429"/>
                    <a:gd name="T61" fmla="*/ 15 h 298"/>
                    <a:gd name="T62" fmla="*/ 55 w 429"/>
                    <a:gd name="T63" fmla="*/ 0 h 298"/>
                    <a:gd name="T64" fmla="*/ 40 w 429"/>
                    <a:gd name="T65" fmla="*/ 37 h 298"/>
                    <a:gd name="T66" fmla="*/ 72 w 429"/>
                    <a:gd name="T67" fmla="*/ 71 h 298"/>
                    <a:gd name="T68" fmla="*/ 40 w 429"/>
                    <a:gd name="T69" fmla="*/ 58 h 298"/>
                    <a:gd name="T70" fmla="*/ 0 w 429"/>
                    <a:gd name="T71" fmla="*/ 111 h 298"/>
                    <a:gd name="T72" fmla="*/ 6 w 429"/>
                    <a:gd name="T73" fmla="*/ 11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9" h="298">
                      <a:moveTo>
                        <a:pt x="6" y="115"/>
                      </a:moveTo>
                      <a:lnTo>
                        <a:pt x="72" y="171"/>
                      </a:lnTo>
                      <a:lnTo>
                        <a:pt x="93" y="226"/>
                      </a:lnTo>
                      <a:lnTo>
                        <a:pt x="108" y="247"/>
                      </a:lnTo>
                      <a:lnTo>
                        <a:pt x="202" y="249"/>
                      </a:lnTo>
                      <a:lnTo>
                        <a:pt x="295" y="298"/>
                      </a:lnTo>
                      <a:lnTo>
                        <a:pt x="306" y="279"/>
                      </a:lnTo>
                      <a:lnTo>
                        <a:pt x="331" y="281"/>
                      </a:lnTo>
                      <a:lnTo>
                        <a:pt x="348" y="251"/>
                      </a:lnTo>
                      <a:lnTo>
                        <a:pt x="370" y="262"/>
                      </a:lnTo>
                      <a:lnTo>
                        <a:pt x="408" y="249"/>
                      </a:lnTo>
                      <a:lnTo>
                        <a:pt x="393" y="205"/>
                      </a:lnTo>
                      <a:lnTo>
                        <a:pt x="429" y="147"/>
                      </a:lnTo>
                      <a:lnTo>
                        <a:pt x="421" y="137"/>
                      </a:lnTo>
                      <a:lnTo>
                        <a:pt x="402" y="124"/>
                      </a:lnTo>
                      <a:lnTo>
                        <a:pt x="346" y="134"/>
                      </a:lnTo>
                      <a:lnTo>
                        <a:pt x="344" y="113"/>
                      </a:lnTo>
                      <a:lnTo>
                        <a:pt x="323" y="128"/>
                      </a:lnTo>
                      <a:lnTo>
                        <a:pt x="329" y="100"/>
                      </a:lnTo>
                      <a:lnTo>
                        <a:pt x="312" y="96"/>
                      </a:lnTo>
                      <a:lnTo>
                        <a:pt x="310" y="111"/>
                      </a:lnTo>
                      <a:lnTo>
                        <a:pt x="282" y="90"/>
                      </a:lnTo>
                      <a:lnTo>
                        <a:pt x="259" y="90"/>
                      </a:lnTo>
                      <a:lnTo>
                        <a:pt x="246" y="109"/>
                      </a:lnTo>
                      <a:lnTo>
                        <a:pt x="238" y="86"/>
                      </a:lnTo>
                      <a:lnTo>
                        <a:pt x="263" y="69"/>
                      </a:lnTo>
                      <a:lnTo>
                        <a:pt x="253" y="56"/>
                      </a:lnTo>
                      <a:lnTo>
                        <a:pt x="183" y="71"/>
                      </a:lnTo>
                      <a:lnTo>
                        <a:pt x="134" y="17"/>
                      </a:lnTo>
                      <a:lnTo>
                        <a:pt x="93" y="5"/>
                      </a:lnTo>
                      <a:lnTo>
                        <a:pt x="70" y="15"/>
                      </a:lnTo>
                      <a:lnTo>
                        <a:pt x="55" y="0"/>
                      </a:lnTo>
                      <a:lnTo>
                        <a:pt x="40" y="37"/>
                      </a:lnTo>
                      <a:lnTo>
                        <a:pt x="72" y="71"/>
                      </a:lnTo>
                      <a:lnTo>
                        <a:pt x="40" y="58"/>
                      </a:lnTo>
                      <a:lnTo>
                        <a:pt x="0" y="111"/>
                      </a:lnTo>
                      <a:lnTo>
                        <a:pt x="6" y="115"/>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53" name="60">
                  <a:extLst>
                    <a:ext uri="{FF2B5EF4-FFF2-40B4-BE49-F238E27FC236}">
                      <a16:creationId xmlns:a16="http://schemas.microsoft.com/office/drawing/2014/main" id="{715B725C-319F-4FB3-8958-01CF99EEEAEA}"/>
                    </a:ext>
                  </a:extLst>
                </p:cNvPr>
                <p:cNvSpPr>
                  <a:spLocks/>
                </p:cNvSpPr>
                <p:nvPr/>
              </p:nvSpPr>
              <p:spPr bwMode="gray">
                <a:xfrm>
                  <a:off x="6292396" y="2190357"/>
                  <a:ext cx="499966" cy="365305"/>
                </a:xfrm>
                <a:custGeom>
                  <a:avLst/>
                  <a:gdLst>
                    <a:gd name="T0" fmla="*/ 0 w 349"/>
                    <a:gd name="T1" fmla="*/ 187 h 255"/>
                    <a:gd name="T2" fmla="*/ 23 w 349"/>
                    <a:gd name="T3" fmla="*/ 178 h 255"/>
                    <a:gd name="T4" fmla="*/ 2 w 349"/>
                    <a:gd name="T5" fmla="*/ 127 h 255"/>
                    <a:gd name="T6" fmla="*/ 21 w 349"/>
                    <a:gd name="T7" fmla="*/ 98 h 255"/>
                    <a:gd name="T8" fmla="*/ 6 w 349"/>
                    <a:gd name="T9" fmla="*/ 93 h 255"/>
                    <a:gd name="T10" fmla="*/ 2 w 349"/>
                    <a:gd name="T11" fmla="*/ 40 h 255"/>
                    <a:gd name="T12" fmla="*/ 15 w 349"/>
                    <a:gd name="T13" fmla="*/ 27 h 255"/>
                    <a:gd name="T14" fmla="*/ 0 w 349"/>
                    <a:gd name="T15" fmla="*/ 21 h 255"/>
                    <a:gd name="T16" fmla="*/ 23 w 349"/>
                    <a:gd name="T17" fmla="*/ 0 h 255"/>
                    <a:gd name="T18" fmla="*/ 38 w 349"/>
                    <a:gd name="T19" fmla="*/ 21 h 255"/>
                    <a:gd name="T20" fmla="*/ 132 w 349"/>
                    <a:gd name="T21" fmla="*/ 23 h 255"/>
                    <a:gd name="T22" fmla="*/ 225 w 349"/>
                    <a:gd name="T23" fmla="*/ 72 h 255"/>
                    <a:gd name="T24" fmla="*/ 236 w 349"/>
                    <a:gd name="T25" fmla="*/ 53 h 255"/>
                    <a:gd name="T26" fmla="*/ 261 w 349"/>
                    <a:gd name="T27" fmla="*/ 55 h 255"/>
                    <a:gd name="T28" fmla="*/ 278 w 349"/>
                    <a:gd name="T29" fmla="*/ 25 h 255"/>
                    <a:gd name="T30" fmla="*/ 300 w 349"/>
                    <a:gd name="T31" fmla="*/ 36 h 255"/>
                    <a:gd name="T32" fmla="*/ 338 w 349"/>
                    <a:gd name="T33" fmla="*/ 23 h 255"/>
                    <a:gd name="T34" fmla="*/ 334 w 349"/>
                    <a:gd name="T35" fmla="*/ 91 h 255"/>
                    <a:gd name="T36" fmla="*/ 349 w 349"/>
                    <a:gd name="T37" fmla="*/ 119 h 255"/>
                    <a:gd name="T38" fmla="*/ 300 w 349"/>
                    <a:gd name="T39" fmla="*/ 164 h 255"/>
                    <a:gd name="T40" fmla="*/ 319 w 349"/>
                    <a:gd name="T41" fmla="*/ 198 h 255"/>
                    <a:gd name="T42" fmla="*/ 332 w 349"/>
                    <a:gd name="T43" fmla="*/ 225 h 255"/>
                    <a:gd name="T44" fmla="*/ 327 w 349"/>
                    <a:gd name="T45" fmla="*/ 240 h 255"/>
                    <a:gd name="T46" fmla="*/ 306 w 349"/>
                    <a:gd name="T47" fmla="*/ 255 h 255"/>
                    <a:gd name="T48" fmla="*/ 210 w 349"/>
                    <a:gd name="T49" fmla="*/ 253 h 255"/>
                    <a:gd name="T50" fmla="*/ 147 w 349"/>
                    <a:gd name="T51" fmla="*/ 212 h 255"/>
                    <a:gd name="T52" fmla="*/ 121 w 349"/>
                    <a:gd name="T53" fmla="*/ 223 h 255"/>
                    <a:gd name="T54" fmla="*/ 89 w 349"/>
                    <a:gd name="T55" fmla="*/ 204 h 255"/>
                    <a:gd name="T56" fmla="*/ 42 w 349"/>
                    <a:gd name="T57" fmla="*/ 219 h 255"/>
                    <a:gd name="T58" fmla="*/ 8 w 349"/>
                    <a:gd name="T59" fmla="*/ 212 h 255"/>
                    <a:gd name="T60" fmla="*/ 0 w 349"/>
                    <a:gd name="T61" fmla="*/ 191 h 255"/>
                    <a:gd name="T62" fmla="*/ 0 w 349"/>
                    <a:gd name="T63" fmla="*/ 189 h 255"/>
                    <a:gd name="T64" fmla="*/ 0 w 349"/>
                    <a:gd name="T65" fmla="*/ 18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9" h="255">
                      <a:moveTo>
                        <a:pt x="0" y="187"/>
                      </a:moveTo>
                      <a:lnTo>
                        <a:pt x="23" y="178"/>
                      </a:lnTo>
                      <a:lnTo>
                        <a:pt x="2" y="127"/>
                      </a:lnTo>
                      <a:lnTo>
                        <a:pt x="21" y="98"/>
                      </a:lnTo>
                      <a:lnTo>
                        <a:pt x="6" y="93"/>
                      </a:lnTo>
                      <a:lnTo>
                        <a:pt x="2" y="40"/>
                      </a:lnTo>
                      <a:lnTo>
                        <a:pt x="15" y="27"/>
                      </a:lnTo>
                      <a:lnTo>
                        <a:pt x="0" y="21"/>
                      </a:lnTo>
                      <a:lnTo>
                        <a:pt x="23" y="0"/>
                      </a:lnTo>
                      <a:lnTo>
                        <a:pt x="38" y="21"/>
                      </a:lnTo>
                      <a:lnTo>
                        <a:pt x="132" y="23"/>
                      </a:lnTo>
                      <a:lnTo>
                        <a:pt x="225" y="72"/>
                      </a:lnTo>
                      <a:lnTo>
                        <a:pt x="236" y="53"/>
                      </a:lnTo>
                      <a:lnTo>
                        <a:pt x="261" y="55"/>
                      </a:lnTo>
                      <a:lnTo>
                        <a:pt x="278" y="25"/>
                      </a:lnTo>
                      <a:lnTo>
                        <a:pt x="300" y="36"/>
                      </a:lnTo>
                      <a:lnTo>
                        <a:pt x="338" y="23"/>
                      </a:lnTo>
                      <a:lnTo>
                        <a:pt x="334" y="91"/>
                      </a:lnTo>
                      <a:lnTo>
                        <a:pt x="349" y="119"/>
                      </a:lnTo>
                      <a:lnTo>
                        <a:pt x="300" y="164"/>
                      </a:lnTo>
                      <a:lnTo>
                        <a:pt x="319" y="198"/>
                      </a:lnTo>
                      <a:lnTo>
                        <a:pt x="332" y="225"/>
                      </a:lnTo>
                      <a:lnTo>
                        <a:pt x="327" y="240"/>
                      </a:lnTo>
                      <a:lnTo>
                        <a:pt x="306" y="255"/>
                      </a:lnTo>
                      <a:lnTo>
                        <a:pt x="210" y="253"/>
                      </a:lnTo>
                      <a:lnTo>
                        <a:pt x="147" y="212"/>
                      </a:lnTo>
                      <a:lnTo>
                        <a:pt x="121" y="223"/>
                      </a:lnTo>
                      <a:lnTo>
                        <a:pt x="89" y="204"/>
                      </a:lnTo>
                      <a:lnTo>
                        <a:pt x="42" y="219"/>
                      </a:lnTo>
                      <a:lnTo>
                        <a:pt x="8" y="212"/>
                      </a:lnTo>
                      <a:lnTo>
                        <a:pt x="0" y="191"/>
                      </a:lnTo>
                      <a:lnTo>
                        <a:pt x="0" y="189"/>
                      </a:lnTo>
                      <a:lnTo>
                        <a:pt x="0" y="187"/>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grpSp>
          <p:grpSp>
            <p:nvGrpSpPr>
              <p:cNvPr id="348" name="Nord Pas de Calais (Formes)">
                <a:extLst>
                  <a:ext uri="{FF2B5EF4-FFF2-40B4-BE49-F238E27FC236}">
                    <a16:creationId xmlns:a16="http://schemas.microsoft.com/office/drawing/2014/main" id="{0ABE8715-B8C9-439F-8F20-EA739C753CC7}"/>
                  </a:ext>
                </a:extLst>
              </p:cNvPr>
              <p:cNvGrpSpPr/>
              <p:nvPr/>
            </p:nvGrpSpPr>
            <p:grpSpPr>
              <a:xfrm>
                <a:off x="6270908" y="1498428"/>
                <a:ext cx="879595" cy="581621"/>
                <a:chOff x="6270908" y="1498428"/>
                <a:chExt cx="879595" cy="581621"/>
              </a:xfrm>
              <a:grpFill/>
            </p:grpSpPr>
            <p:sp>
              <p:nvSpPr>
                <p:cNvPr id="349" name="59">
                  <a:extLst>
                    <a:ext uri="{FF2B5EF4-FFF2-40B4-BE49-F238E27FC236}">
                      <a16:creationId xmlns:a16="http://schemas.microsoft.com/office/drawing/2014/main" id="{D5F18F77-C882-4E0F-94B0-17715D26B932}"/>
                    </a:ext>
                  </a:extLst>
                </p:cNvPr>
                <p:cNvSpPr>
                  <a:spLocks/>
                </p:cNvSpPr>
                <p:nvPr/>
              </p:nvSpPr>
              <p:spPr bwMode="gray">
                <a:xfrm>
                  <a:off x="6441383" y="1498428"/>
                  <a:ext cx="709120" cy="581621"/>
                </a:xfrm>
                <a:custGeom>
                  <a:avLst/>
                  <a:gdLst>
                    <a:gd name="T0" fmla="*/ 104 w 495"/>
                    <a:gd name="T1" fmla="*/ 0 h 406"/>
                    <a:gd name="T2" fmla="*/ 123 w 495"/>
                    <a:gd name="T3" fmla="*/ 51 h 406"/>
                    <a:gd name="T4" fmla="*/ 117 w 495"/>
                    <a:gd name="T5" fmla="*/ 85 h 406"/>
                    <a:gd name="T6" fmla="*/ 166 w 495"/>
                    <a:gd name="T7" fmla="*/ 136 h 406"/>
                    <a:gd name="T8" fmla="*/ 185 w 495"/>
                    <a:gd name="T9" fmla="*/ 143 h 406"/>
                    <a:gd name="T10" fmla="*/ 213 w 495"/>
                    <a:gd name="T11" fmla="*/ 115 h 406"/>
                    <a:gd name="T12" fmla="*/ 240 w 495"/>
                    <a:gd name="T13" fmla="*/ 111 h 406"/>
                    <a:gd name="T14" fmla="*/ 268 w 495"/>
                    <a:gd name="T15" fmla="*/ 145 h 406"/>
                    <a:gd name="T16" fmla="*/ 274 w 495"/>
                    <a:gd name="T17" fmla="*/ 206 h 406"/>
                    <a:gd name="T18" fmla="*/ 351 w 495"/>
                    <a:gd name="T19" fmla="*/ 217 h 406"/>
                    <a:gd name="T20" fmla="*/ 374 w 495"/>
                    <a:gd name="T21" fmla="*/ 289 h 406"/>
                    <a:gd name="T22" fmla="*/ 381 w 495"/>
                    <a:gd name="T23" fmla="*/ 270 h 406"/>
                    <a:gd name="T24" fmla="*/ 449 w 495"/>
                    <a:gd name="T25" fmla="*/ 268 h 406"/>
                    <a:gd name="T26" fmla="*/ 474 w 495"/>
                    <a:gd name="T27" fmla="*/ 304 h 406"/>
                    <a:gd name="T28" fmla="*/ 491 w 495"/>
                    <a:gd name="T29" fmla="*/ 298 h 406"/>
                    <a:gd name="T30" fmla="*/ 472 w 495"/>
                    <a:gd name="T31" fmla="*/ 349 h 406"/>
                    <a:gd name="T32" fmla="*/ 489 w 495"/>
                    <a:gd name="T33" fmla="*/ 351 h 406"/>
                    <a:gd name="T34" fmla="*/ 495 w 495"/>
                    <a:gd name="T35" fmla="*/ 374 h 406"/>
                    <a:gd name="T36" fmla="*/ 476 w 495"/>
                    <a:gd name="T37" fmla="*/ 406 h 406"/>
                    <a:gd name="T38" fmla="*/ 374 w 495"/>
                    <a:gd name="T39" fmla="*/ 374 h 406"/>
                    <a:gd name="T40" fmla="*/ 351 w 495"/>
                    <a:gd name="T41" fmla="*/ 389 h 406"/>
                    <a:gd name="T42" fmla="*/ 338 w 495"/>
                    <a:gd name="T43" fmla="*/ 379 h 406"/>
                    <a:gd name="T44" fmla="*/ 321 w 495"/>
                    <a:gd name="T45" fmla="*/ 394 h 406"/>
                    <a:gd name="T46" fmla="*/ 247 w 495"/>
                    <a:gd name="T47" fmla="*/ 394 h 406"/>
                    <a:gd name="T48" fmla="*/ 228 w 495"/>
                    <a:gd name="T49" fmla="*/ 381 h 406"/>
                    <a:gd name="T50" fmla="*/ 251 w 495"/>
                    <a:gd name="T51" fmla="*/ 315 h 406"/>
                    <a:gd name="T52" fmla="*/ 211 w 495"/>
                    <a:gd name="T53" fmla="*/ 302 h 406"/>
                    <a:gd name="T54" fmla="*/ 228 w 495"/>
                    <a:gd name="T55" fmla="*/ 285 h 406"/>
                    <a:gd name="T56" fmla="*/ 204 w 495"/>
                    <a:gd name="T57" fmla="*/ 251 h 406"/>
                    <a:gd name="T58" fmla="*/ 225 w 495"/>
                    <a:gd name="T59" fmla="*/ 236 h 406"/>
                    <a:gd name="T60" fmla="*/ 200 w 495"/>
                    <a:gd name="T61" fmla="*/ 211 h 406"/>
                    <a:gd name="T62" fmla="*/ 162 w 495"/>
                    <a:gd name="T63" fmla="*/ 204 h 406"/>
                    <a:gd name="T64" fmla="*/ 177 w 495"/>
                    <a:gd name="T65" fmla="*/ 166 h 406"/>
                    <a:gd name="T66" fmla="*/ 164 w 495"/>
                    <a:gd name="T67" fmla="*/ 153 h 406"/>
                    <a:gd name="T68" fmla="*/ 149 w 495"/>
                    <a:gd name="T69" fmla="*/ 177 h 406"/>
                    <a:gd name="T70" fmla="*/ 62 w 495"/>
                    <a:gd name="T71" fmla="*/ 149 h 406"/>
                    <a:gd name="T72" fmla="*/ 55 w 495"/>
                    <a:gd name="T73" fmla="*/ 126 h 406"/>
                    <a:gd name="T74" fmla="*/ 70 w 495"/>
                    <a:gd name="T75" fmla="*/ 115 h 406"/>
                    <a:gd name="T76" fmla="*/ 26 w 495"/>
                    <a:gd name="T77" fmla="*/ 100 h 406"/>
                    <a:gd name="T78" fmla="*/ 0 w 495"/>
                    <a:gd name="T79" fmla="*/ 30 h 406"/>
                    <a:gd name="T80" fmla="*/ 104 w 495"/>
                    <a:gd name="T81" fmla="*/ 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5" h="406">
                      <a:moveTo>
                        <a:pt x="104" y="0"/>
                      </a:moveTo>
                      <a:lnTo>
                        <a:pt x="123" y="51"/>
                      </a:lnTo>
                      <a:lnTo>
                        <a:pt x="117" y="85"/>
                      </a:lnTo>
                      <a:lnTo>
                        <a:pt x="166" y="136"/>
                      </a:lnTo>
                      <a:lnTo>
                        <a:pt x="185" y="143"/>
                      </a:lnTo>
                      <a:lnTo>
                        <a:pt x="213" y="115"/>
                      </a:lnTo>
                      <a:lnTo>
                        <a:pt x="240" y="111"/>
                      </a:lnTo>
                      <a:lnTo>
                        <a:pt x="268" y="145"/>
                      </a:lnTo>
                      <a:lnTo>
                        <a:pt x="274" y="206"/>
                      </a:lnTo>
                      <a:lnTo>
                        <a:pt x="351" y="217"/>
                      </a:lnTo>
                      <a:lnTo>
                        <a:pt x="374" y="289"/>
                      </a:lnTo>
                      <a:lnTo>
                        <a:pt x="381" y="270"/>
                      </a:lnTo>
                      <a:lnTo>
                        <a:pt x="449" y="268"/>
                      </a:lnTo>
                      <a:lnTo>
                        <a:pt x="474" y="304"/>
                      </a:lnTo>
                      <a:lnTo>
                        <a:pt x="491" y="298"/>
                      </a:lnTo>
                      <a:lnTo>
                        <a:pt x="472" y="349"/>
                      </a:lnTo>
                      <a:lnTo>
                        <a:pt x="489" y="351"/>
                      </a:lnTo>
                      <a:lnTo>
                        <a:pt x="495" y="374"/>
                      </a:lnTo>
                      <a:lnTo>
                        <a:pt x="476" y="406"/>
                      </a:lnTo>
                      <a:lnTo>
                        <a:pt x="374" y="374"/>
                      </a:lnTo>
                      <a:lnTo>
                        <a:pt x="351" y="389"/>
                      </a:lnTo>
                      <a:lnTo>
                        <a:pt x="338" y="379"/>
                      </a:lnTo>
                      <a:lnTo>
                        <a:pt x="321" y="394"/>
                      </a:lnTo>
                      <a:lnTo>
                        <a:pt x="247" y="394"/>
                      </a:lnTo>
                      <a:lnTo>
                        <a:pt x="228" y="381"/>
                      </a:lnTo>
                      <a:lnTo>
                        <a:pt x="251" y="315"/>
                      </a:lnTo>
                      <a:lnTo>
                        <a:pt x="211" y="302"/>
                      </a:lnTo>
                      <a:lnTo>
                        <a:pt x="228" y="285"/>
                      </a:lnTo>
                      <a:lnTo>
                        <a:pt x="204" y="251"/>
                      </a:lnTo>
                      <a:lnTo>
                        <a:pt x="225" y="236"/>
                      </a:lnTo>
                      <a:lnTo>
                        <a:pt x="200" y="211"/>
                      </a:lnTo>
                      <a:lnTo>
                        <a:pt x="162" y="204"/>
                      </a:lnTo>
                      <a:lnTo>
                        <a:pt x="177" y="166"/>
                      </a:lnTo>
                      <a:lnTo>
                        <a:pt x="164" y="153"/>
                      </a:lnTo>
                      <a:lnTo>
                        <a:pt x="149" y="177"/>
                      </a:lnTo>
                      <a:lnTo>
                        <a:pt x="62" y="149"/>
                      </a:lnTo>
                      <a:lnTo>
                        <a:pt x="55" y="126"/>
                      </a:lnTo>
                      <a:lnTo>
                        <a:pt x="70" y="115"/>
                      </a:lnTo>
                      <a:lnTo>
                        <a:pt x="26" y="100"/>
                      </a:lnTo>
                      <a:lnTo>
                        <a:pt x="0" y="30"/>
                      </a:lnTo>
                      <a:lnTo>
                        <a:pt x="104" y="0"/>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50" name="62">
                  <a:extLst>
                    <a:ext uri="{FF2B5EF4-FFF2-40B4-BE49-F238E27FC236}">
                      <a16:creationId xmlns:a16="http://schemas.microsoft.com/office/drawing/2014/main" id="{C6232424-75CC-4774-AA5F-58E6C280420B}"/>
                    </a:ext>
                  </a:extLst>
                </p:cNvPr>
                <p:cNvSpPr>
                  <a:spLocks/>
                </p:cNvSpPr>
                <p:nvPr/>
              </p:nvSpPr>
              <p:spPr bwMode="gray">
                <a:xfrm>
                  <a:off x="6270908" y="1541405"/>
                  <a:ext cx="530049" cy="517157"/>
                </a:xfrm>
                <a:custGeom>
                  <a:avLst/>
                  <a:gdLst>
                    <a:gd name="T0" fmla="*/ 0 w 370"/>
                    <a:gd name="T1" fmla="*/ 227 h 361"/>
                    <a:gd name="T2" fmla="*/ 15 w 370"/>
                    <a:gd name="T3" fmla="*/ 242 h 361"/>
                    <a:gd name="T4" fmla="*/ 38 w 370"/>
                    <a:gd name="T5" fmla="*/ 232 h 361"/>
                    <a:gd name="T6" fmla="*/ 79 w 370"/>
                    <a:gd name="T7" fmla="*/ 244 h 361"/>
                    <a:gd name="T8" fmla="*/ 128 w 370"/>
                    <a:gd name="T9" fmla="*/ 298 h 361"/>
                    <a:gd name="T10" fmla="*/ 198 w 370"/>
                    <a:gd name="T11" fmla="*/ 283 h 361"/>
                    <a:gd name="T12" fmla="*/ 208 w 370"/>
                    <a:gd name="T13" fmla="*/ 296 h 361"/>
                    <a:gd name="T14" fmla="*/ 183 w 370"/>
                    <a:gd name="T15" fmla="*/ 313 h 361"/>
                    <a:gd name="T16" fmla="*/ 191 w 370"/>
                    <a:gd name="T17" fmla="*/ 336 h 361"/>
                    <a:gd name="T18" fmla="*/ 204 w 370"/>
                    <a:gd name="T19" fmla="*/ 317 h 361"/>
                    <a:gd name="T20" fmla="*/ 227 w 370"/>
                    <a:gd name="T21" fmla="*/ 317 h 361"/>
                    <a:gd name="T22" fmla="*/ 255 w 370"/>
                    <a:gd name="T23" fmla="*/ 338 h 361"/>
                    <a:gd name="T24" fmla="*/ 257 w 370"/>
                    <a:gd name="T25" fmla="*/ 323 h 361"/>
                    <a:gd name="T26" fmla="*/ 274 w 370"/>
                    <a:gd name="T27" fmla="*/ 327 h 361"/>
                    <a:gd name="T28" fmla="*/ 268 w 370"/>
                    <a:gd name="T29" fmla="*/ 355 h 361"/>
                    <a:gd name="T30" fmla="*/ 289 w 370"/>
                    <a:gd name="T31" fmla="*/ 340 h 361"/>
                    <a:gd name="T32" fmla="*/ 291 w 370"/>
                    <a:gd name="T33" fmla="*/ 361 h 361"/>
                    <a:gd name="T34" fmla="*/ 347 w 370"/>
                    <a:gd name="T35" fmla="*/ 351 h 361"/>
                    <a:gd name="T36" fmla="*/ 370 w 370"/>
                    <a:gd name="T37" fmla="*/ 285 h 361"/>
                    <a:gd name="T38" fmla="*/ 330 w 370"/>
                    <a:gd name="T39" fmla="*/ 272 h 361"/>
                    <a:gd name="T40" fmla="*/ 347 w 370"/>
                    <a:gd name="T41" fmla="*/ 255 h 361"/>
                    <a:gd name="T42" fmla="*/ 323 w 370"/>
                    <a:gd name="T43" fmla="*/ 221 h 361"/>
                    <a:gd name="T44" fmla="*/ 344 w 370"/>
                    <a:gd name="T45" fmla="*/ 206 h 361"/>
                    <a:gd name="T46" fmla="*/ 319 w 370"/>
                    <a:gd name="T47" fmla="*/ 181 h 361"/>
                    <a:gd name="T48" fmla="*/ 281 w 370"/>
                    <a:gd name="T49" fmla="*/ 174 h 361"/>
                    <a:gd name="T50" fmla="*/ 296 w 370"/>
                    <a:gd name="T51" fmla="*/ 136 h 361"/>
                    <a:gd name="T52" fmla="*/ 283 w 370"/>
                    <a:gd name="T53" fmla="*/ 123 h 361"/>
                    <a:gd name="T54" fmla="*/ 268 w 370"/>
                    <a:gd name="T55" fmla="*/ 147 h 361"/>
                    <a:gd name="T56" fmla="*/ 181 w 370"/>
                    <a:gd name="T57" fmla="*/ 119 h 361"/>
                    <a:gd name="T58" fmla="*/ 174 w 370"/>
                    <a:gd name="T59" fmla="*/ 96 h 361"/>
                    <a:gd name="T60" fmla="*/ 189 w 370"/>
                    <a:gd name="T61" fmla="*/ 85 h 361"/>
                    <a:gd name="T62" fmla="*/ 145 w 370"/>
                    <a:gd name="T63" fmla="*/ 70 h 361"/>
                    <a:gd name="T64" fmla="*/ 119 w 370"/>
                    <a:gd name="T65" fmla="*/ 0 h 361"/>
                    <a:gd name="T66" fmla="*/ 83 w 370"/>
                    <a:gd name="T67" fmla="*/ 2 h 361"/>
                    <a:gd name="T68" fmla="*/ 0 w 370"/>
                    <a:gd name="T69" fmla="*/ 45 h 361"/>
                    <a:gd name="T70" fmla="*/ 0 w 370"/>
                    <a:gd name="T71" fmla="*/ 227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0" h="361">
                      <a:moveTo>
                        <a:pt x="0" y="227"/>
                      </a:moveTo>
                      <a:lnTo>
                        <a:pt x="15" y="242"/>
                      </a:lnTo>
                      <a:lnTo>
                        <a:pt x="38" y="232"/>
                      </a:lnTo>
                      <a:lnTo>
                        <a:pt x="79" y="244"/>
                      </a:lnTo>
                      <a:lnTo>
                        <a:pt x="128" y="298"/>
                      </a:lnTo>
                      <a:lnTo>
                        <a:pt x="198" y="283"/>
                      </a:lnTo>
                      <a:lnTo>
                        <a:pt x="208" y="296"/>
                      </a:lnTo>
                      <a:lnTo>
                        <a:pt x="183" y="313"/>
                      </a:lnTo>
                      <a:lnTo>
                        <a:pt x="191" y="336"/>
                      </a:lnTo>
                      <a:lnTo>
                        <a:pt x="204" y="317"/>
                      </a:lnTo>
                      <a:lnTo>
                        <a:pt x="227" y="317"/>
                      </a:lnTo>
                      <a:lnTo>
                        <a:pt x="255" y="338"/>
                      </a:lnTo>
                      <a:lnTo>
                        <a:pt x="257" y="323"/>
                      </a:lnTo>
                      <a:lnTo>
                        <a:pt x="274" y="327"/>
                      </a:lnTo>
                      <a:lnTo>
                        <a:pt x="268" y="355"/>
                      </a:lnTo>
                      <a:lnTo>
                        <a:pt x="289" y="340"/>
                      </a:lnTo>
                      <a:lnTo>
                        <a:pt x="291" y="361"/>
                      </a:lnTo>
                      <a:lnTo>
                        <a:pt x="347" y="351"/>
                      </a:lnTo>
                      <a:lnTo>
                        <a:pt x="370" y="285"/>
                      </a:lnTo>
                      <a:lnTo>
                        <a:pt x="330" y="272"/>
                      </a:lnTo>
                      <a:lnTo>
                        <a:pt x="347" y="255"/>
                      </a:lnTo>
                      <a:lnTo>
                        <a:pt x="323" y="221"/>
                      </a:lnTo>
                      <a:lnTo>
                        <a:pt x="344" y="206"/>
                      </a:lnTo>
                      <a:lnTo>
                        <a:pt x="319" y="181"/>
                      </a:lnTo>
                      <a:lnTo>
                        <a:pt x="281" y="174"/>
                      </a:lnTo>
                      <a:lnTo>
                        <a:pt x="296" y="136"/>
                      </a:lnTo>
                      <a:lnTo>
                        <a:pt x="283" y="123"/>
                      </a:lnTo>
                      <a:lnTo>
                        <a:pt x="268" y="147"/>
                      </a:lnTo>
                      <a:lnTo>
                        <a:pt x="181" y="119"/>
                      </a:lnTo>
                      <a:lnTo>
                        <a:pt x="174" y="96"/>
                      </a:lnTo>
                      <a:lnTo>
                        <a:pt x="189" y="85"/>
                      </a:lnTo>
                      <a:lnTo>
                        <a:pt x="145" y="70"/>
                      </a:lnTo>
                      <a:lnTo>
                        <a:pt x="119" y="0"/>
                      </a:lnTo>
                      <a:lnTo>
                        <a:pt x="83" y="2"/>
                      </a:lnTo>
                      <a:lnTo>
                        <a:pt x="0" y="45"/>
                      </a:lnTo>
                      <a:lnTo>
                        <a:pt x="0" y="227"/>
                      </a:lnTo>
                    </a:path>
                  </a:pathLst>
                </a:custGeom>
                <a:solidFill>
                  <a:schemeClr val="bg2">
                    <a:lumMod val="75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sz="1050">
                    <a:solidFill>
                      <a:srgbClr val="503078"/>
                    </a:solidFill>
                    <a:latin typeface="Tahoma"/>
                  </a:endParaRPr>
                </a:p>
              </p:txBody>
            </p:sp>
          </p:grpSp>
        </p:grpSp>
        <p:grpSp>
          <p:nvGrpSpPr>
            <p:cNvPr id="153" name="Nord Pas de Calais Picardie (N° Départements)">
              <a:extLst>
                <a:ext uri="{FF2B5EF4-FFF2-40B4-BE49-F238E27FC236}">
                  <a16:creationId xmlns:a16="http://schemas.microsoft.com/office/drawing/2014/main" id="{E7251BE5-32FE-49E0-842F-B1BB7618EBF8}"/>
                </a:ext>
              </a:extLst>
            </p:cNvPr>
            <p:cNvGrpSpPr/>
            <p:nvPr/>
          </p:nvGrpSpPr>
          <p:grpSpPr>
            <a:xfrm>
              <a:off x="7139279" y="1478897"/>
              <a:ext cx="613012" cy="731174"/>
              <a:chOff x="6408405" y="1716898"/>
              <a:chExt cx="613012" cy="731174"/>
            </a:xfrm>
          </p:grpSpPr>
          <p:grpSp>
            <p:nvGrpSpPr>
              <p:cNvPr id="340" name="Picardie (N° Départements)">
                <a:extLst>
                  <a:ext uri="{FF2B5EF4-FFF2-40B4-BE49-F238E27FC236}">
                    <a16:creationId xmlns:a16="http://schemas.microsoft.com/office/drawing/2014/main" id="{38F42574-379B-44D1-9BC2-A2D87359149B}"/>
                  </a:ext>
                </a:extLst>
              </p:cNvPr>
              <p:cNvGrpSpPr/>
              <p:nvPr/>
            </p:nvGrpSpPr>
            <p:grpSpPr>
              <a:xfrm>
                <a:off x="6408405" y="1996965"/>
                <a:ext cx="613012" cy="451107"/>
                <a:chOff x="6408405" y="1996965"/>
                <a:chExt cx="613012" cy="451107"/>
              </a:xfrm>
            </p:grpSpPr>
            <p:sp>
              <p:nvSpPr>
                <p:cNvPr id="344" name="02">
                  <a:extLst>
                    <a:ext uri="{FF2B5EF4-FFF2-40B4-BE49-F238E27FC236}">
                      <a16:creationId xmlns:a16="http://schemas.microsoft.com/office/drawing/2014/main" id="{7698AF3A-85F7-4704-88D4-0B1B3CC3441A}"/>
                    </a:ext>
                  </a:extLst>
                </p:cNvPr>
                <p:cNvSpPr txBox="1"/>
                <p:nvPr/>
              </p:nvSpPr>
              <p:spPr>
                <a:xfrm>
                  <a:off x="6836587" y="2186784"/>
                  <a:ext cx="184830" cy="166169"/>
                </a:xfrm>
                <a:prstGeom prst="rect">
                  <a:avLst/>
                </a:prstGeom>
                <a:noFill/>
              </p:spPr>
              <p:txBody>
                <a:bodyPr wrap="none" lIns="0" tIns="0" rIns="0" bIns="0" rtlCol="0">
                  <a:noAutofit/>
                </a:bodyPr>
                <a:lstStyle/>
                <a:p>
                  <a:r>
                    <a:rPr lang="fr-FR" sz="800">
                      <a:solidFill>
                        <a:srgbClr val="FFFFFF"/>
                      </a:solidFill>
                      <a:latin typeface="Tahoma"/>
                    </a:rPr>
                    <a:t>02</a:t>
                  </a:r>
                </a:p>
              </p:txBody>
            </p:sp>
            <p:sp>
              <p:nvSpPr>
                <p:cNvPr id="345" name="60">
                  <a:extLst>
                    <a:ext uri="{FF2B5EF4-FFF2-40B4-BE49-F238E27FC236}">
                      <a16:creationId xmlns:a16="http://schemas.microsoft.com/office/drawing/2014/main" id="{0F013A1A-0AA2-4501-996E-53C6C5542B86}"/>
                    </a:ext>
                  </a:extLst>
                </p:cNvPr>
                <p:cNvSpPr txBox="1"/>
                <p:nvPr/>
              </p:nvSpPr>
              <p:spPr>
                <a:xfrm>
                  <a:off x="6465737" y="2281903"/>
                  <a:ext cx="184830" cy="166169"/>
                </a:xfrm>
                <a:prstGeom prst="rect">
                  <a:avLst/>
                </a:prstGeom>
                <a:noFill/>
              </p:spPr>
              <p:txBody>
                <a:bodyPr wrap="none" lIns="0" tIns="0" rIns="0" bIns="0" rtlCol="0">
                  <a:noAutofit/>
                </a:bodyPr>
                <a:lstStyle/>
                <a:p>
                  <a:r>
                    <a:rPr lang="fr-FR" sz="800">
                      <a:solidFill>
                        <a:srgbClr val="503078"/>
                      </a:solidFill>
                      <a:latin typeface="Tahoma"/>
                    </a:rPr>
                    <a:t>60</a:t>
                  </a:r>
                </a:p>
              </p:txBody>
            </p:sp>
            <p:sp>
              <p:nvSpPr>
                <p:cNvPr id="346" name="80">
                  <a:extLst>
                    <a:ext uri="{FF2B5EF4-FFF2-40B4-BE49-F238E27FC236}">
                      <a16:creationId xmlns:a16="http://schemas.microsoft.com/office/drawing/2014/main" id="{4F785857-61A9-4C13-93D7-F05D83647164}"/>
                    </a:ext>
                  </a:extLst>
                </p:cNvPr>
                <p:cNvSpPr txBox="1"/>
                <p:nvPr/>
              </p:nvSpPr>
              <p:spPr>
                <a:xfrm>
                  <a:off x="6408405" y="1996965"/>
                  <a:ext cx="184830" cy="166169"/>
                </a:xfrm>
                <a:prstGeom prst="rect">
                  <a:avLst/>
                </a:prstGeom>
                <a:noFill/>
              </p:spPr>
              <p:txBody>
                <a:bodyPr wrap="none" lIns="0" tIns="0" rIns="0" bIns="0" rtlCol="0">
                  <a:noAutofit/>
                </a:bodyPr>
                <a:lstStyle/>
                <a:p>
                  <a:r>
                    <a:rPr lang="fr-FR" sz="800">
                      <a:solidFill>
                        <a:srgbClr val="503078"/>
                      </a:solidFill>
                      <a:latin typeface="Tahoma"/>
                    </a:rPr>
                    <a:t>80</a:t>
                  </a:r>
                </a:p>
              </p:txBody>
            </p:sp>
          </p:grpSp>
          <p:grpSp>
            <p:nvGrpSpPr>
              <p:cNvPr id="341" name="Nord Pas de Calais (N° Départements)">
                <a:extLst>
                  <a:ext uri="{FF2B5EF4-FFF2-40B4-BE49-F238E27FC236}">
                    <a16:creationId xmlns:a16="http://schemas.microsoft.com/office/drawing/2014/main" id="{78AC6888-E19F-446F-A27E-1B6D5AB184A0}"/>
                  </a:ext>
                </a:extLst>
              </p:cNvPr>
              <p:cNvGrpSpPr/>
              <p:nvPr/>
            </p:nvGrpSpPr>
            <p:grpSpPr>
              <a:xfrm>
                <a:off x="6408405" y="1716898"/>
                <a:ext cx="576651" cy="267397"/>
                <a:chOff x="6408405" y="1716898"/>
                <a:chExt cx="576651" cy="267397"/>
              </a:xfrm>
            </p:grpSpPr>
            <p:sp>
              <p:nvSpPr>
                <p:cNvPr id="342" name="59">
                  <a:extLst>
                    <a:ext uri="{FF2B5EF4-FFF2-40B4-BE49-F238E27FC236}">
                      <a16:creationId xmlns:a16="http://schemas.microsoft.com/office/drawing/2014/main" id="{C4D07A8C-28DA-4167-8A11-DFC2FEC8E082}"/>
                    </a:ext>
                  </a:extLst>
                </p:cNvPr>
                <p:cNvSpPr txBox="1"/>
                <p:nvPr/>
              </p:nvSpPr>
              <p:spPr>
                <a:xfrm>
                  <a:off x="6800226" y="1818126"/>
                  <a:ext cx="184830" cy="166169"/>
                </a:xfrm>
                <a:prstGeom prst="rect">
                  <a:avLst/>
                </a:prstGeom>
                <a:noFill/>
              </p:spPr>
              <p:txBody>
                <a:bodyPr wrap="none" lIns="0" tIns="0" rIns="0" bIns="0" rtlCol="0">
                  <a:noAutofit/>
                </a:bodyPr>
                <a:lstStyle/>
                <a:p>
                  <a:r>
                    <a:rPr lang="fr-FR" sz="800">
                      <a:solidFill>
                        <a:srgbClr val="FFFFFF"/>
                      </a:solidFill>
                      <a:latin typeface="Tahoma"/>
                    </a:rPr>
                    <a:t>59</a:t>
                  </a:r>
                </a:p>
              </p:txBody>
            </p:sp>
            <p:sp>
              <p:nvSpPr>
                <p:cNvPr id="343" name="62">
                  <a:extLst>
                    <a:ext uri="{FF2B5EF4-FFF2-40B4-BE49-F238E27FC236}">
                      <a16:creationId xmlns:a16="http://schemas.microsoft.com/office/drawing/2014/main" id="{5CAC8357-BBE3-46B3-B372-A04F3B07C39C}"/>
                    </a:ext>
                  </a:extLst>
                </p:cNvPr>
                <p:cNvSpPr txBox="1"/>
                <p:nvPr/>
              </p:nvSpPr>
              <p:spPr>
                <a:xfrm>
                  <a:off x="6408405" y="1716898"/>
                  <a:ext cx="184830" cy="166169"/>
                </a:xfrm>
                <a:prstGeom prst="rect">
                  <a:avLst/>
                </a:prstGeom>
                <a:noFill/>
              </p:spPr>
              <p:txBody>
                <a:bodyPr wrap="none" lIns="0" tIns="0" rIns="0" bIns="0" rtlCol="0">
                  <a:noAutofit/>
                </a:bodyPr>
                <a:lstStyle/>
                <a:p>
                  <a:r>
                    <a:rPr lang="fr-FR" sz="800">
                      <a:solidFill>
                        <a:srgbClr val="FFFFFF"/>
                      </a:solidFill>
                      <a:latin typeface="Tahoma"/>
                    </a:rPr>
                    <a:t>62</a:t>
                  </a:r>
                </a:p>
              </p:txBody>
            </p:sp>
          </p:grpSp>
        </p:grpSp>
        <p:grpSp>
          <p:nvGrpSpPr>
            <p:cNvPr id="154" name="Midi Pyrénées Languedoc Roussillon (Formes)">
              <a:extLst>
                <a:ext uri="{FF2B5EF4-FFF2-40B4-BE49-F238E27FC236}">
                  <a16:creationId xmlns:a16="http://schemas.microsoft.com/office/drawing/2014/main" id="{41D311A3-6AF3-4495-9037-10FAA0C1B4F8}"/>
                </a:ext>
              </a:extLst>
            </p:cNvPr>
            <p:cNvGrpSpPr/>
            <p:nvPr/>
          </p:nvGrpSpPr>
          <p:grpSpPr>
            <a:xfrm>
              <a:off x="6193477" y="4493580"/>
              <a:ext cx="1978371" cy="1422537"/>
              <a:chOff x="5440021" y="4662965"/>
              <a:chExt cx="1978371" cy="1422537"/>
            </a:xfrm>
            <a:solidFill>
              <a:srgbClr val="667E76"/>
            </a:solidFill>
          </p:grpSpPr>
          <p:grpSp>
            <p:nvGrpSpPr>
              <p:cNvPr id="325" name="Midi Pyrénées (Formes)">
                <a:extLst>
                  <a:ext uri="{FF2B5EF4-FFF2-40B4-BE49-F238E27FC236}">
                    <a16:creationId xmlns:a16="http://schemas.microsoft.com/office/drawing/2014/main" id="{E4E19898-4F9A-4AF2-9794-16EB514496D9}"/>
                  </a:ext>
                </a:extLst>
              </p:cNvPr>
              <p:cNvGrpSpPr/>
              <p:nvPr/>
            </p:nvGrpSpPr>
            <p:grpSpPr>
              <a:xfrm>
                <a:off x="5440021" y="4662965"/>
                <a:ext cx="1452620" cy="1295039"/>
                <a:chOff x="5440021" y="4662965"/>
                <a:chExt cx="1452620" cy="1295039"/>
              </a:xfrm>
              <a:grpFill/>
            </p:grpSpPr>
            <p:sp>
              <p:nvSpPr>
                <p:cNvPr id="332" name="09">
                  <a:extLst>
                    <a:ext uri="{FF2B5EF4-FFF2-40B4-BE49-F238E27FC236}">
                      <a16:creationId xmlns:a16="http://schemas.microsoft.com/office/drawing/2014/main" id="{A579B7CC-10FF-421D-9D2A-D3BA59EB04D2}"/>
                    </a:ext>
                  </a:extLst>
                </p:cNvPr>
                <p:cNvSpPr>
                  <a:spLocks/>
                </p:cNvSpPr>
                <p:nvPr/>
              </p:nvSpPr>
              <p:spPr bwMode="gray">
                <a:xfrm>
                  <a:off x="5884116" y="5568346"/>
                  <a:ext cx="514292" cy="389658"/>
                </a:xfrm>
                <a:custGeom>
                  <a:avLst/>
                  <a:gdLst>
                    <a:gd name="T0" fmla="*/ 0 w 359"/>
                    <a:gd name="T1" fmla="*/ 140 h 272"/>
                    <a:gd name="T2" fmla="*/ 40 w 359"/>
                    <a:gd name="T3" fmla="*/ 119 h 272"/>
                    <a:gd name="T4" fmla="*/ 45 w 359"/>
                    <a:gd name="T5" fmla="*/ 72 h 272"/>
                    <a:gd name="T6" fmla="*/ 64 w 359"/>
                    <a:gd name="T7" fmla="*/ 57 h 272"/>
                    <a:gd name="T8" fmla="*/ 119 w 359"/>
                    <a:gd name="T9" fmla="*/ 76 h 272"/>
                    <a:gd name="T10" fmla="*/ 130 w 359"/>
                    <a:gd name="T11" fmla="*/ 65 h 272"/>
                    <a:gd name="T12" fmla="*/ 111 w 359"/>
                    <a:gd name="T13" fmla="*/ 42 h 272"/>
                    <a:gd name="T14" fmla="*/ 151 w 359"/>
                    <a:gd name="T15" fmla="*/ 29 h 272"/>
                    <a:gd name="T16" fmla="*/ 128 w 359"/>
                    <a:gd name="T17" fmla="*/ 12 h 272"/>
                    <a:gd name="T18" fmla="*/ 136 w 359"/>
                    <a:gd name="T19" fmla="*/ 0 h 272"/>
                    <a:gd name="T20" fmla="*/ 174 w 359"/>
                    <a:gd name="T21" fmla="*/ 36 h 272"/>
                    <a:gd name="T22" fmla="*/ 183 w 359"/>
                    <a:gd name="T23" fmla="*/ 6 h 272"/>
                    <a:gd name="T24" fmla="*/ 221 w 359"/>
                    <a:gd name="T25" fmla="*/ 27 h 272"/>
                    <a:gd name="T26" fmla="*/ 234 w 359"/>
                    <a:gd name="T27" fmla="*/ 14 h 272"/>
                    <a:gd name="T28" fmla="*/ 240 w 359"/>
                    <a:gd name="T29" fmla="*/ 44 h 272"/>
                    <a:gd name="T30" fmla="*/ 302 w 359"/>
                    <a:gd name="T31" fmla="*/ 70 h 272"/>
                    <a:gd name="T32" fmla="*/ 313 w 359"/>
                    <a:gd name="T33" fmla="*/ 104 h 272"/>
                    <a:gd name="T34" fmla="*/ 317 w 359"/>
                    <a:gd name="T35" fmla="*/ 131 h 272"/>
                    <a:gd name="T36" fmla="*/ 298 w 359"/>
                    <a:gd name="T37" fmla="*/ 138 h 272"/>
                    <a:gd name="T38" fmla="*/ 313 w 359"/>
                    <a:gd name="T39" fmla="*/ 161 h 272"/>
                    <a:gd name="T40" fmla="*/ 276 w 359"/>
                    <a:gd name="T41" fmla="*/ 180 h 272"/>
                    <a:gd name="T42" fmla="*/ 302 w 359"/>
                    <a:gd name="T43" fmla="*/ 212 h 272"/>
                    <a:gd name="T44" fmla="*/ 336 w 359"/>
                    <a:gd name="T45" fmla="*/ 206 h 272"/>
                    <a:gd name="T46" fmla="*/ 359 w 359"/>
                    <a:gd name="T47" fmla="*/ 240 h 272"/>
                    <a:gd name="T48" fmla="*/ 315 w 359"/>
                    <a:gd name="T49" fmla="*/ 240 h 272"/>
                    <a:gd name="T50" fmla="*/ 255 w 359"/>
                    <a:gd name="T51" fmla="*/ 272 h 272"/>
                    <a:gd name="T52" fmla="*/ 196 w 359"/>
                    <a:gd name="T53" fmla="*/ 240 h 272"/>
                    <a:gd name="T54" fmla="*/ 162 w 359"/>
                    <a:gd name="T55" fmla="*/ 257 h 272"/>
                    <a:gd name="T56" fmla="*/ 140 w 359"/>
                    <a:gd name="T57" fmla="*/ 214 h 272"/>
                    <a:gd name="T58" fmla="*/ 91 w 359"/>
                    <a:gd name="T59" fmla="*/ 216 h 272"/>
                    <a:gd name="T60" fmla="*/ 66 w 359"/>
                    <a:gd name="T61" fmla="*/ 187 h 272"/>
                    <a:gd name="T62" fmla="*/ 6 w 359"/>
                    <a:gd name="T63" fmla="*/ 170 h 272"/>
                    <a:gd name="T64" fmla="*/ 0 w 359"/>
                    <a:gd name="T65" fmla="*/ 142 h 272"/>
                    <a:gd name="T66" fmla="*/ 0 w 359"/>
                    <a:gd name="T67" fmla="*/ 14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9" h="272">
                      <a:moveTo>
                        <a:pt x="0" y="140"/>
                      </a:moveTo>
                      <a:lnTo>
                        <a:pt x="40" y="119"/>
                      </a:lnTo>
                      <a:lnTo>
                        <a:pt x="45" y="72"/>
                      </a:lnTo>
                      <a:lnTo>
                        <a:pt x="64" y="57"/>
                      </a:lnTo>
                      <a:lnTo>
                        <a:pt x="119" y="76"/>
                      </a:lnTo>
                      <a:lnTo>
                        <a:pt x="130" y="65"/>
                      </a:lnTo>
                      <a:lnTo>
                        <a:pt x="111" y="42"/>
                      </a:lnTo>
                      <a:lnTo>
                        <a:pt x="151" y="29"/>
                      </a:lnTo>
                      <a:lnTo>
                        <a:pt x="128" y="12"/>
                      </a:lnTo>
                      <a:lnTo>
                        <a:pt x="136" y="0"/>
                      </a:lnTo>
                      <a:lnTo>
                        <a:pt x="174" y="36"/>
                      </a:lnTo>
                      <a:lnTo>
                        <a:pt x="183" y="6"/>
                      </a:lnTo>
                      <a:lnTo>
                        <a:pt x="221" y="27"/>
                      </a:lnTo>
                      <a:lnTo>
                        <a:pt x="234" y="14"/>
                      </a:lnTo>
                      <a:lnTo>
                        <a:pt x="240" y="44"/>
                      </a:lnTo>
                      <a:lnTo>
                        <a:pt x="302" y="70"/>
                      </a:lnTo>
                      <a:lnTo>
                        <a:pt x="313" y="104"/>
                      </a:lnTo>
                      <a:lnTo>
                        <a:pt x="317" y="131"/>
                      </a:lnTo>
                      <a:lnTo>
                        <a:pt x="298" y="138"/>
                      </a:lnTo>
                      <a:lnTo>
                        <a:pt x="313" y="161"/>
                      </a:lnTo>
                      <a:lnTo>
                        <a:pt x="276" y="180"/>
                      </a:lnTo>
                      <a:lnTo>
                        <a:pt x="302" y="212"/>
                      </a:lnTo>
                      <a:lnTo>
                        <a:pt x="336" y="206"/>
                      </a:lnTo>
                      <a:lnTo>
                        <a:pt x="359" y="240"/>
                      </a:lnTo>
                      <a:lnTo>
                        <a:pt x="315" y="240"/>
                      </a:lnTo>
                      <a:lnTo>
                        <a:pt x="255" y="272"/>
                      </a:lnTo>
                      <a:lnTo>
                        <a:pt x="196" y="240"/>
                      </a:lnTo>
                      <a:lnTo>
                        <a:pt x="162" y="257"/>
                      </a:lnTo>
                      <a:lnTo>
                        <a:pt x="140" y="214"/>
                      </a:lnTo>
                      <a:lnTo>
                        <a:pt x="91" y="216"/>
                      </a:lnTo>
                      <a:lnTo>
                        <a:pt x="66" y="187"/>
                      </a:lnTo>
                      <a:lnTo>
                        <a:pt x="6" y="170"/>
                      </a:lnTo>
                      <a:lnTo>
                        <a:pt x="0" y="142"/>
                      </a:lnTo>
                      <a:lnTo>
                        <a:pt x="0" y="140"/>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33" name="12">
                  <a:extLst>
                    <a:ext uri="{FF2B5EF4-FFF2-40B4-BE49-F238E27FC236}">
                      <a16:creationId xmlns:a16="http://schemas.microsoft.com/office/drawing/2014/main" id="{2E6F608F-2CE5-4924-BFC3-C81E6427C300}"/>
                    </a:ext>
                  </a:extLst>
                </p:cNvPr>
                <p:cNvSpPr>
                  <a:spLocks/>
                </p:cNvSpPr>
                <p:nvPr/>
              </p:nvSpPr>
              <p:spPr bwMode="gray">
                <a:xfrm>
                  <a:off x="6292396" y="4721700"/>
                  <a:ext cx="600245" cy="650384"/>
                </a:xfrm>
                <a:custGeom>
                  <a:avLst/>
                  <a:gdLst>
                    <a:gd name="T0" fmla="*/ 0 w 419"/>
                    <a:gd name="T1" fmla="*/ 170 h 454"/>
                    <a:gd name="T2" fmla="*/ 6 w 419"/>
                    <a:gd name="T3" fmla="*/ 216 h 454"/>
                    <a:gd name="T4" fmla="*/ 4 w 419"/>
                    <a:gd name="T5" fmla="*/ 233 h 454"/>
                    <a:gd name="T6" fmla="*/ 30 w 419"/>
                    <a:gd name="T7" fmla="*/ 238 h 454"/>
                    <a:gd name="T8" fmla="*/ 8 w 419"/>
                    <a:gd name="T9" fmla="*/ 263 h 454"/>
                    <a:gd name="T10" fmla="*/ 36 w 419"/>
                    <a:gd name="T11" fmla="*/ 284 h 454"/>
                    <a:gd name="T12" fmla="*/ 76 w 419"/>
                    <a:gd name="T13" fmla="*/ 267 h 454"/>
                    <a:gd name="T14" fmla="*/ 98 w 419"/>
                    <a:gd name="T15" fmla="*/ 282 h 454"/>
                    <a:gd name="T16" fmla="*/ 87 w 419"/>
                    <a:gd name="T17" fmla="*/ 291 h 454"/>
                    <a:gd name="T18" fmla="*/ 125 w 419"/>
                    <a:gd name="T19" fmla="*/ 295 h 454"/>
                    <a:gd name="T20" fmla="*/ 168 w 419"/>
                    <a:gd name="T21" fmla="*/ 338 h 454"/>
                    <a:gd name="T22" fmla="*/ 202 w 419"/>
                    <a:gd name="T23" fmla="*/ 423 h 454"/>
                    <a:gd name="T24" fmla="*/ 232 w 419"/>
                    <a:gd name="T25" fmla="*/ 442 h 454"/>
                    <a:gd name="T26" fmla="*/ 274 w 419"/>
                    <a:gd name="T27" fmla="*/ 437 h 454"/>
                    <a:gd name="T28" fmla="*/ 283 w 419"/>
                    <a:gd name="T29" fmla="*/ 454 h 454"/>
                    <a:gd name="T30" fmla="*/ 315 w 419"/>
                    <a:gd name="T31" fmla="*/ 454 h 454"/>
                    <a:gd name="T32" fmla="*/ 317 w 419"/>
                    <a:gd name="T33" fmla="*/ 403 h 454"/>
                    <a:gd name="T34" fmla="*/ 359 w 419"/>
                    <a:gd name="T35" fmla="*/ 410 h 454"/>
                    <a:gd name="T36" fmla="*/ 370 w 419"/>
                    <a:gd name="T37" fmla="*/ 382 h 454"/>
                    <a:gd name="T38" fmla="*/ 395 w 419"/>
                    <a:gd name="T39" fmla="*/ 376 h 454"/>
                    <a:gd name="T40" fmla="*/ 419 w 419"/>
                    <a:gd name="T41" fmla="*/ 338 h 454"/>
                    <a:gd name="T42" fmla="*/ 370 w 419"/>
                    <a:gd name="T43" fmla="*/ 310 h 454"/>
                    <a:gd name="T44" fmla="*/ 372 w 419"/>
                    <a:gd name="T45" fmla="*/ 308 h 454"/>
                    <a:gd name="T46" fmla="*/ 397 w 419"/>
                    <a:gd name="T47" fmla="*/ 282 h 454"/>
                    <a:gd name="T48" fmla="*/ 353 w 419"/>
                    <a:gd name="T49" fmla="*/ 274 h 454"/>
                    <a:gd name="T50" fmla="*/ 359 w 419"/>
                    <a:gd name="T51" fmla="*/ 259 h 454"/>
                    <a:gd name="T52" fmla="*/ 332 w 419"/>
                    <a:gd name="T53" fmla="*/ 248 h 454"/>
                    <a:gd name="T54" fmla="*/ 338 w 419"/>
                    <a:gd name="T55" fmla="*/ 182 h 454"/>
                    <a:gd name="T56" fmla="*/ 295 w 419"/>
                    <a:gd name="T57" fmla="*/ 108 h 454"/>
                    <a:gd name="T58" fmla="*/ 285 w 419"/>
                    <a:gd name="T59" fmla="*/ 57 h 454"/>
                    <a:gd name="T60" fmla="*/ 266 w 419"/>
                    <a:gd name="T61" fmla="*/ 23 h 454"/>
                    <a:gd name="T62" fmla="*/ 242 w 419"/>
                    <a:gd name="T63" fmla="*/ 27 h 454"/>
                    <a:gd name="T64" fmla="*/ 234 w 419"/>
                    <a:gd name="T65" fmla="*/ 0 h 454"/>
                    <a:gd name="T66" fmla="*/ 200 w 419"/>
                    <a:gd name="T67" fmla="*/ 31 h 454"/>
                    <a:gd name="T68" fmla="*/ 166 w 419"/>
                    <a:gd name="T69" fmla="*/ 104 h 454"/>
                    <a:gd name="T70" fmla="*/ 125 w 419"/>
                    <a:gd name="T71" fmla="*/ 97 h 454"/>
                    <a:gd name="T72" fmla="*/ 96 w 419"/>
                    <a:gd name="T73" fmla="*/ 114 h 454"/>
                    <a:gd name="T74" fmla="*/ 0 w 419"/>
                    <a:gd name="T75" fmla="*/ 163 h 454"/>
                    <a:gd name="T76" fmla="*/ 0 w 419"/>
                    <a:gd name="T77" fmla="*/ 1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 h="454">
                      <a:moveTo>
                        <a:pt x="0" y="170"/>
                      </a:moveTo>
                      <a:lnTo>
                        <a:pt x="6" y="216"/>
                      </a:lnTo>
                      <a:lnTo>
                        <a:pt x="4" y="233"/>
                      </a:lnTo>
                      <a:lnTo>
                        <a:pt x="30" y="238"/>
                      </a:lnTo>
                      <a:lnTo>
                        <a:pt x="8" y="263"/>
                      </a:lnTo>
                      <a:lnTo>
                        <a:pt x="36" y="284"/>
                      </a:lnTo>
                      <a:lnTo>
                        <a:pt x="76" y="267"/>
                      </a:lnTo>
                      <a:lnTo>
                        <a:pt x="98" y="282"/>
                      </a:lnTo>
                      <a:lnTo>
                        <a:pt x="87" y="291"/>
                      </a:lnTo>
                      <a:lnTo>
                        <a:pt x="125" y="295"/>
                      </a:lnTo>
                      <a:lnTo>
                        <a:pt x="168" y="338"/>
                      </a:lnTo>
                      <a:lnTo>
                        <a:pt x="202" y="423"/>
                      </a:lnTo>
                      <a:lnTo>
                        <a:pt x="232" y="442"/>
                      </a:lnTo>
                      <a:lnTo>
                        <a:pt x="274" y="437"/>
                      </a:lnTo>
                      <a:lnTo>
                        <a:pt x="283" y="454"/>
                      </a:lnTo>
                      <a:lnTo>
                        <a:pt x="315" y="454"/>
                      </a:lnTo>
                      <a:lnTo>
                        <a:pt x="317" y="403"/>
                      </a:lnTo>
                      <a:lnTo>
                        <a:pt x="359" y="410"/>
                      </a:lnTo>
                      <a:lnTo>
                        <a:pt x="370" y="382"/>
                      </a:lnTo>
                      <a:lnTo>
                        <a:pt x="395" y="376"/>
                      </a:lnTo>
                      <a:lnTo>
                        <a:pt x="419" y="338"/>
                      </a:lnTo>
                      <a:lnTo>
                        <a:pt x="370" y="310"/>
                      </a:lnTo>
                      <a:lnTo>
                        <a:pt x="372" y="308"/>
                      </a:lnTo>
                      <a:lnTo>
                        <a:pt x="397" y="282"/>
                      </a:lnTo>
                      <a:lnTo>
                        <a:pt x="353" y="274"/>
                      </a:lnTo>
                      <a:lnTo>
                        <a:pt x="359" y="259"/>
                      </a:lnTo>
                      <a:lnTo>
                        <a:pt x="332" y="248"/>
                      </a:lnTo>
                      <a:lnTo>
                        <a:pt x="338" y="182"/>
                      </a:lnTo>
                      <a:lnTo>
                        <a:pt x="295" y="108"/>
                      </a:lnTo>
                      <a:lnTo>
                        <a:pt x="285" y="57"/>
                      </a:lnTo>
                      <a:lnTo>
                        <a:pt x="266" y="23"/>
                      </a:lnTo>
                      <a:lnTo>
                        <a:pt x="242" y="27"/>
                      </a:lnTo>
                      <a:lnTo>
                        <a:pt x="234" y="0"/>
                      </a:lnTo>
                      <a:lnTo>
                        <a:pt x="200" y="31"/>
                      </a:lnTo>
                      <a:lnTo>
                        <a:pt x="166" y="104"/>
                      </a:lnTo>
                      <a:lnTo>
                        <a:pt x="125" y="97"/>
                      </a:lnTo>
                      <a:lnTo>
                        <a:pt x="96" y="114"/>
                      </a:lnTo>
                      <a:lnTo>
                        <a:pt x="0" y="163"/>
                      </a:lnTo>
                      <a:lnTo>
                        <a:pt x="0" y="170"/>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34" name="32">
                  <a:extLst>
                    <a:ext uri="{FF2B5EF4-FFF2-40B4-BE49-F238E27FC236}">
                      <a16:creationId xmlns:a16="http://schemas.microsoft.com/office/drawing/2014/main" id="{5C1B1074-78AB-4E67-841C-43328059F092}"/>
                    </a:ext>
                  </a:extLst>
                </p:cNvPr>
                <p:cNvSpPr>
                  <a:spLocks/>
                </p:cNvSpPr>
                <p:nvPr/>
              </p:nvSpPr>
              <p:spPr bwMode="gray">
                <a:xfrm>
                  <a:off x="5475834" y="5152902"/>
                  <a:ext cx="560134" cy="402551"/>
                </a:xfrm>
                <a:custGeom>
                  <a:avLst/>
                  <a:gdLst>
                    <a:gd name="T0" fmla="*/ 0 w 391"/>
                    <a:gd name="T1" fmla="*/ 151 h 281"/>
                    <a:gd name="T2" fmla="*/ 26 w 391"/>
                    <a:gd name="T3" fmla="*/ 115 h 281"/>
                    <a:gd name="T4" fmla="*/ 28 w 391"/>
                    <a:gd name="T5" fmla="*/ 62 h 281"/>
                    <a:gd name="T6" fmla="*/ 15 w 391"/>
                    <a:gd name="T7" fmla="*/ 56 h 281"/>
                    <a:gd name="T8" fmla="*/ 70 w 391"/>
                    <a:gd name="T9" fmla="*/ 30 h 281"/>
                    <a:gd name="T10" fmla="*/ 98 w 391"/>
                    <a:gd name="T11" fmla="*/ 58 h 281"/>
                    <a:gd name="T12" fmla="*/ 100 w 391"/>
                    <a:gd name="T13" fmla="*/ 28 h 281"/>
                    <a:gd name="T14" fmla="*/ 121 w 391"/>
                    <a:gd name="T15" fmla="*/ 34 h 281"/>
                    <a:gd name="T16" fmla="*/ 136 w 391"/>
                    <a:gd name="T17" fmla="*/ 17 h 281"/>
                    <a:gd name="T18" fmla="*/ 160 w 391"/>
                    <a:gd name="T19" fmla="*/ 28 h 281"/>
                    <a:gd name="T20" fmla="*/ 234 w 391"/>
                    <a:gd name="T21" fmla="*/ 0 h 281"/>
                    <a:gd name="T22" fmla="*/ 253 w 391"/>
                    <a:gd name="T23" fmla="*/ 20 h 281"/>
                    <a:gd name="T24" fmla="*/ 277 w 391"/>
                    <a:gd name="T25" fmla="*/ 7 h 281"/>
                    <a:gd name="T26" fmla="*/ 306 w 391"/>
                    <a:gd name="T27" fmla="*/ 15 h 281"/>
                    <a:gd name="T28" fmla="*/ 279 w 391"/>
                    <a:gd name="T29" fmla="*/ 51 h 281"/>
                    <a:gd name="T30" fmla="*/ 313 w 391"/>
                    <a:gd name="T31" fmla="*/ 64 h 281"/>
                    <a:gd name="T32" fmla="*/ 315 w 391"/>
                    <a:gd name="T33" fmla="*/ 109 h 281"/>
                    <a:gd name="T34" fmla="*/ 328 w 391"/>
                    <a:gd name="T35" fmla="*/ 109 h 281"/>
                    <a:gd name="T36" fmla="*/ 391 w 391"/>
                    <a:gd name="T37" fmla="*/ 192 h 281"/>
                    <a:gd name="T38" fmla="*/ 353 w 391"/>
                    <a:gd name="T39" fmla="*/ 200 h 281"/>
                    <a:gd name="T40" fmla="*/ 336 w 391"/>
                    <a:gd name="T41" fmla="*/ 264 h 281"/>
                    <a:gd name="T42" fmla="*/ 272 w 391"/>
                    <a:gd name="T43" fmla="*/ 245 h 281"/>
                    <a:gd name="T44" fmla="*/ 232 w 391"/>
                    <a:gd name="T45" fmla="*/ 281 h 281"/>
                    <a:gd name="T46" fmla="*/ 158 w 391"/>
                    <a:gd name="T47" fmla="*/ 266 h 281"/>
                    <a:gd name="T48" fmla="*/ 149 w 391"/>
                    <a:gd name="T49" fmla="*/ 249 h 281"/>
                    <a:gd name="T50" fmla="*/ 119 w 391"/>
                    <a:gd name="T51" fmla="*/ 256 h 281"/>
                    <a:gd name="T52" fmla="*/ 102 w 391"/>
                    <a:gd name="T53" fmla="*/ 200 h 281"/>
                    <a:gd name="T54" fmla="*/ 68 w 391"/>
                    <a:gd name="T55" fmla="*/ 166 h 281"/>
                    <a:gd name="T56" fmla="*/ 47 w 391"/>
                    <a:gd name="T57" fmla="*/ 175 h 281"/>
                    <a:gd name="T58" fmla="*/ 11 w 391"/>
                    <a:gd name="T59" fmla="*/ 170 h 281"/>
                    <a:gd name="T60" fmla="*/ 0 w 391"/>
                    <a:gd name="T61" fmla="*/ 158 h 281"/>
                    <a:gd name="T62" fmla="*/ 0 w 391"/>
                    <a:gd name="T63" fmla="*/ 15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1" h="281">
                      <a:moveTo>
                        <a:pt x="0" y="151"/>
                      </a:moveTo>
                      <a:lnTo>
                        <a:pt x="26" y="115"/>
                      </a:lnTo>
                      <a:lnTo>
                        <a:pt x="28" y="62"/>
                      </a:lnTo>
                      <a:lnTo>
                        <a:pt x="15" y="56"/>
                      </a:lnTo>
                      <a:lnTo>
                        <a:pt x="70" y="30"/>
                      </a:lnTo>
                      <a:lnTo>
                        <a:pt x="98" y="58"/>
                      </a:lnTo>
                      <a:lnTo>
                        <a:pt x="100" y="28"/>
                      </a:lnTo>
                      <a:lnTo>
                        <a:pt x="121" y="34"/>
                      </a:lnTo>
                      <a:lnTo>
                        <a:pt x="136" y="17"/>
                      </a:lnTo>
                      <a:lnTo>
                        <a:pt x="160" y="28"/>
                      </a:lnTo>
                      <a:lnTo>
                        <a:pt x="234" y="0"/>
                      </a:lnTo>
                      <a:lnTo>
                        <a:pt x="253" y="20"/>
                      </a:lnTo>
                      <a:lnTo>
                        <a:pt x="277" y="7"/>
                      </a:lnTo>
                      <a:lnTo>
                        <a:pt x="306" y="15"/>
                      </a:lnTo>
                      <a:lnTo>
                        <a:pt x="279" y="51"/>
                      </a:lnTo>
                      <a:lnTo>
                        <a:pt x="313" y="64"/>
                      </a:lnTo>
                      <a:lnTo>
                        <a:pt x="315" y="109"/>
                      </a:lnTo>
                      <a:lnTo>
                        <a:pt x="328" y="109"/>
                      </a:lnTo>
                      <a:lnTo>
                        <a:pt x="391" y="192"/>
                      </a:lnTo>
                      <a:lnTo>
                        <a:pt x="353" y="200"/>
                      </a:lnTo>
                      <a:lnTo>
                        <a:pt x="336" y="264"/>
                      </a:lnTo>
                      <a:lnTo>
                        <a:pt x="272" y="245"/>
                      </a:lnTo>
                      <a:lnTo>
                        <a:pt x="232" y="281"/>
                      </a:lnTo>
                      <a:lnTo>
                        <a:pt x="158" y="266"/>
                      </a:lnTo>
                      <a:lnTo>
                        <a:pt x="149" y="249"/>
                      </a:lnTo>
                      <a:lnTo>
                        <a:pt x="119" y="256"/>
                      </a:lnTo>
                      <a:lnTo>
                        <a:pt x="102" y="200"/>
                      </a:lnTo>
                      <a:lnTo>
                        <a:pt x="68" y="166"/>
                      </a:lnTo>
                      <a:lnTo>
                        <a:pt x="47" y="175"/>
                      </a:lnTo>
                      <a:lnTo>
                        <a:pt x="11" y="170"/>
                      </a:lnTo>
                      <a:lnTo>
                        <a:pt x="0" y="158"/>
                      </a:lnTo>
                      <a:lnTo>
                        <a:pt x="0" y="151"/>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35" name="65">
                  <a:extLst>
                    <a:ext uri="{FF2B5EF4-FFF2-40B4-BE49-F238E27FC236}">
                      <a16:creationId xmlns:a16="http://schemas.microsoft.com/office/drawing/2014/main" id="{9CE4959A-C134-4BB7-8C54-7083E8743663}"/>
                    </a:ext>
                  </a:extLst>
                </p:cNvPr>
                <p:cNvSpPr>
                  <a:spLocks/>
                </p:cNvSpPr>
                <p:nvPr/>
              </p:nvSpPr>
              <p:spPr bwMode="gray">
                <a:xfrm>
                  <a:off x="5440021" y="5390708"/>
                  <a:ext cx="376765" cy="494236"/>
                </a:xfrm>
                <a:custGeom>
                  <a:avLst/>
                  <a:gdLst>
                    <a:gd name="T0" fmla="*/ 2 w 263"/>
                    <a:gd name="T1" fmla="*/ 274 h 345"/>
                    <a:gd name="T2" fmla="*/ 42 w 263"/>
                    <a:gd name="T3" fmla="*/ 296 h 345"/>
                    <a:gd name="T4" fmla="*/ 68 w 263"/>
                    <a:gd name="T5" fmla="*/ 334 h 345"/>
                    <a:gd name="T6" fmla="*/ 134 w 263"/>
                    <a:gd name="T7" fmla="*/ 321 h 345"/>
                    <a:gd name="T8" fmla="*/ 163 w 263"/>
                    <a:gd name="T9" fmla="*/ 345 h 345"/>
                    <a:gd name="T10" fmla="*/ 183 w 263"/>
                    <a:gd name="T11" fmla="*/ 328 h 345"/>
                    <a:gd name="T12" fmla="*/ 214 w 263"/>
                    <a:gd name="T13" fmla="*/ 338 h 345"/>
                    <a:gd name="T14" fmla="*/ 206 w 263"/>
                    <a:gd name="T15" fmla="*/ 326 h 345"/>
                    <a:gd name="T16" fmla="*/ 208 w 263"/>
                    <a:gd name="T17" fmla="*/ 319 h 345"/>
                    <a:gd name="T18" fmla="*/ 217 w 263"/>
                    <a:gd name="T19" fmla="*/ 272 h 345"/>
                    <a:gd name="T20" fmla="*/ 238 w 263"/>
                    <a:gd name="T21" fmla="*/ 279 h 345"/>
                    <a:gd name="T22" fmla="*/ 263 w 263"/>
                    <a:gd name="T23" fmla="*/ 243 h 345"/>
                    <a:gd name="T24" fmla="*/ 253 w 263"/>
                    <a:gd name="T25" fmla="*/ 217 h 345"/>
                    <a:gd name="T26" fmla="*/ 229 w 263"/>
                    <a:gd name="T27" fmla="*/ 226 h 345"/>
                    <a:gd name="T28" fmla="*/ 240 w 263"/>
                    <a:gd name="T29" fmla="*/ 200 h 345"/>
                    <a:gd name="T30" fmla="*/ 210 w 263"/>
                    <a:gd name="T31" fmla="*/ 179 h 345"/>
                    <a:gd name="T32" fmla="*/ 257 w 263"/>
                    <a:gd name="T33" fmla="*/ 115 h 345"/>
                    <a:gd name="T34" fmla="*/ 183 w 263"/>
                    <a:gd name="T35" fmla="*/ 100 h 345"/>
                    <a:gd name="T36" fmla="*/ 174 w 263"/>
                    <a:gd name="T37" fmla="*/ 83 h 345"/>
                    <a:gd name="T38" fmla="*/ 144 w 263"/>
                    <a:gd name="T39" fmla="*/ 90 h 345"/>
                    <a:gd name="T40" fmla="*/ 127 w 263"/>
                    <a:gd name="T41" fmla="*/ 34 h 345"/>
                    <a:gd name="T42" fmla="*/ 93 w 263"/>
                    <a:gd name="T43" fmla="*/ 0 h 345"/>
                    <a:gd name="T44" fmla="*/ 72 w 263"/>
                    <a:gd name="T45" fmla="*/ 9 h 345"/>
                    <a:gd name="T46" fmla="*/ 91 w 263"/>
                    <a:gd name="T47" fmla="*/ 49 h 345"/>
                    <a:gd name="T48" fmla="*/ 78 w 263"/>
                    <a:gd name="T49" fmla="*/ 70 h 345"/>
                    <a:gd name="T50" fmla="*/ 95 w 263"/>
                    <a:gd name="T51" fmla="*/ 60 h 345"/>
                    <a:gd name="T52" fmla="*/ 102 w 263"/>
                    <a:gd name="T53" fmla="*/ 98 h 345"/>
                    <a:gd name="T54" fmla="*/ 0 w 263"/>
                    <a:gd name="T55" fmla="*/ 249 h 345"/>
                    <a:gd name="T56" fmla="*/ 2 w 263"/>
                    <a:gd name="T57" fmla="*/ 274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3" h="345">
                      <a:moveTo>
                        <a:pt x="2" y="274"/>
                      </a:moveTo>
                      <a:lnTo>
                        <a:pt x="42" y="296"/>
                      </a:lnTo>
                      <a:lnTo>
                        <a:pt x="68" y="334"/>
                      </a:lnTo>
                      <a:lnTo>
                        <a:pt x="134" y="321"/>
                      </a:lnTo>
                      <a:lnTo>
                        <a:pt x="163" y="345"/>
                      </a:lnTo>
                      <a:lnTo>
                        <a:pt x="183" y="328"/>
                      </a:lnTo>
                      <a:lnTo>
                        <a:pt x="214" y="338"/>
                      </a:lnTo>
                      <a:lnTo>
                        <a:pt x="206" y="326"/>
                      </a:lnTo>
                      <a:lnTo>
                        <a:pt x="208" y="319"/>
                      </a:lnTo>
                      <a:lnTo>
                        <a:pt x="217" y="272"/>
                      </a:lnTo>
                      <a:lnTo>
                        <a:pt x="238" y="279"/>
                      </a:lnTo>
                      <a:lnTo>
                        <a:pt x="263" y="243"/>
                      </a:lnTo>
                      <a:lnTo>
                        <a:pt x="253" y="217"/>
                      </a:lnTo>
                      <a:lnTo>
                        <a:pt x="229" y="226"/>
                      </a:lnTo>
                      <a:lnTo>
                        <a:pt x="240" y="200"/>
                      </a:lnTo>
                      <a:lnTo>
                        <a:pt x="210" y="179"/>
                      </a:lnTo>
                      <a:lnTo>
                        <a:pt x="257" y="115"/>
                      </a:lnTo>
                      <a:lnTo>
                        <a:pt x="183" y="100"/>
                      </a:lnTo>
                      <a:lnTo>
                        <a:pt x="174" y="83"/>
                      </a:lnTo>
                      <a:lnTo>
                        <a:pt x="144" y="90"/>
                      </a:lnTo>
                      <a:lnTo>
                        <a:pt x="127" y="34"/>
                      </a:lnTo>
                      <a:lnTo>
                        <a:pt x="93" y="0"/>
                      </a:lnTo>
                      <a:lnTo>
                        <a:pt x="72" y="9"/>
                      </a:lnTo>
                      <a:lnTo>
                        <a:pt x="91" y="49"/>
                      </a:lnTo>
                      <a:lnTo>
                        <a:pt x="78" y="70"/>
                      </a:lnTo>
                      <a:lnTo>
                        <a:pt x="95" y="60"/>
                      </a:lnTo>
                      <a:lnTo>
                        <a:pt x="102" y="98"/>
                      </a:lnTo>
                      <a:lnTo>
                        <a:pt x="0" y="249"/>
                      </a:lnTo>
                      <a:lnTo>
                        <a:pt x="2" y="274"/>
                      </a:lnTo>
                    </a:path>
                  </a:pathLst>
                </a:custGeom>
                <a:solidFill>
                  <a:schemeClr val="bg2">
                    <a:lumMod val="75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36" name="81">
                  <a:extLst>
                    <a:ext uri="{FF2B5EF4-FFF2-40B4-BE49-F238E27FC236}">
                      <a16:creationId xmlns:a16="http://schemas.microsoft.com/office/drawing/2014/main" id="{7CCCE447-28CA-4131-A179-0D4EBCCF227C}"/>
                    </a:ext>
                  </a:extLst>
                </p:cNvPr>
                <p:cNvSpPr>
                  <a:spLocks/>
                </p:cNvSpPr>
                <p:nvPr/>
              </p:nvSpPr>
              <p:spPr bwMode="gray">
                <a:xfrm>
                  <a:off x="6170629" y="5104195"/>
                  <a:ext cx="527184" cy="429769"/>
                </a:xfrm>
                <a:custGeom>
                  <a:avLst/>
                  <a:gdLst>
                    <a:gd name="T0" fmla="*/ 0 w 368"/>
                    <a:gd name="T1" fmla="*/ 90 h 300"/>
                    <a:gd name="T2" fmla="*/ 4 w 368"/>
                    <a:gd name="T3" fmla="*/ 102 h 300"/>
                    <a:gd name="T4" fmla="*/ 13 w 368"/>
                    <a:gd name="T5" fmla="*/ 139 h 300"/>
                    <a:gd name="T6" fmla="*/ 42 w 368"/>
                    <a:gd name="T7" fmla="*/ 175 h 300"/>
                    <a:gd name="T8" fmla="*/ 32 w 368"/>
                    <a:gd name="T9" fmla="*/ 183 h 300"/>
                    <a:gd name="T10" fmla="*/ 49 w 368"/>
                    <a:gd name="T11" fmla="*/ 194 h 300"/>
                    <a:gd name="T12" fmla="*/ 38 w 368"/>
                    <a:gd name="T13" fmla="*/ 209 h 300"/>
                    <a:gd name="T14" fmla="*/ 96 w 368"/>
                    <a:gd name="T15" fmla="*/ 256 h 300"/>
                    <a:gd name="T16" fmla="*/ 132 w 368"/>
                    <a:gd name="T17" fmla="*/ 256 h 300"/>
                    <a:gd name="T18" fmla="*/ 127 w 368"/>
                    <a:gd name="T19" fmla="*/ 281 h 300"/>
                    <a:gd name="T20" fmla="*/ 174 w 368"/>
                    <a:gd name="T21" fmla="*/ 300 h 300"/>
                    <a:gd name="T22" fmla="*/ 187 w 368"/>
                    <a:gd name="T23" fmla="*/ 273 h 300"/>
                    <a:gd name="T24" fmla="*/ 270 w 368"/>
                    <a:gd name="T25" fmla="*/ 287 h 300"/>
                    <a:gd name="T26" fmla="*/ 297 w 368"/>
                    <a:gd name="T27" fmla="*/ 270 h 300"/>
                    <a:gd name="T28" fmla="*/ 283 w 368"/>
                    <a:gd name="T29" fmla="*/ 234 h 300"/>
                    <a:gd name="T30" fmla="*/ 291 w 368"/>
                    <a:gd name="T31" fmla="*/ 202 h 300"/>
                    <a:gd name="T32" fmla="*/ 319 w 368"/>
                    <a:gd name="T33" fmla="*/ 217 h 300"/>
                    <a:gd name="T34" fmla="*/ 368 w 368"/>
                    <a:gd name="T35" fmla="*/ 187 h 300"/>
                    <a:gd name="T36" fmla="*/ 359 w 368"/>
                    <a:gd name="T37" fmla="*/ 170 h 300"/>
                    <a:gd name="T38" fmla="*/ 317 w 368"/>
                    <a:gd name="T39" fmla="*/ 175 h 300"/>
                    <a:gd name="T40" fmla="*/ 287 w 368"/>
                    <a:gd name="T41" fmla="*/ 156 h 300"/>
                    <a:gd name="T42" fmla="*/ 253 w 368"/>
                    <a:gd name="T43" fmla="*/ 71 h 300"/>
                    <a:gd name="T44" fmla="*/ 210 w 368"/>
                    <a:gd name="T45" fmla="*/ 28 h 300"/>
                    <a:gd name="T46" fmla="*/ 172 w 368"/>
                    <a:gd name="T47" fmla="*/ 24 h 300"/>
                    <a:gd name="T48" fmla="*/ 183 w 368"/>
                    <a:gd name="T49" fmla="*/ 15 h 300"/>
                    <a:gd name="T50" fmla="*/ 161 w 368"/>
                    <a:gd name="T51" fmla="*/ 0 h 300"/>
                    <a:gd name="T52" fmla="*/ 121 w 368"/>
                    <a:gd name="T53" fmla="*/ 17 h 300"/>
                    <a:gd name="T54" fmla="*/ 102 w 368"/>
                    <a:gd name="T55" fmla="*/ 13 h 300"/>
                    <a:gd name="T56" fmla="*/ 64 w 368"/>
                    <a:gd name="T57" fmla="*/ 37 h 300"/>
                    <a:gd name="T58" fmla="*/ 32 w 368"/>
                    <a:gd name="T59" fmla="*/ 30 h 300"/>
                    <a:gd name="T60" fmla="*/ 45 w 368"/>
                    <a:gd name="T61" fmla="*/ 56 h 300"/>
                    <a:gd name="T62" fmla="*/ 21 w 368"/>
                    <a:gd name="T63" fmla="*/ 85 h 300"/>
                    <a:gd name="T64" fmla="*/ 0 w 368"/>
                    <a:gd name="T65" fmla="*/ 88 h 300"/>
                    <a:gd name="T66" fmla="*/ 0 w 368"/>
                    <a:gd name="T67" fmla="*/ 9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8" h="300">
                      <a:moveTo>
                        <a:pt x="0" y="90"/>
                      </a:moveTo>
                      <a:lnTo>
                        <a:pt x="4" y="102"/>
                      </a:lnTo>
                      <a:lnTo>
                        <a:pt x="13" y="139"/>
                      </a:lnTo>
                      <a:lnTo>
                        <a:pt x="42" y="175"/>
                      </a:lnTo>
                      <a:lnTo>
                        <a:pt x="32" y="183"/>
                      </a:lnTo>
                      <a:lnTo>
                        <a:pt x="49" y="194"/>
                      </a:lnTo>
                      <a:lnTo>
                        <a:pt x="38" y="209"/>
                      </a:lnTo>
                      <a:lnTo>
                        <a:pt x="96" y="256"/>
                      </a:lnTo>
                      <a:lnTo>
                        <a:pt x="132" y="256"/>
                      </a:lnTo>
                      <a:lnTo>
                        <a:pt x="127" y="281"/>
                      </a:lnTo>
                      <a:lnTo>
                        <a:pt x="174" y="300"/>
                      </a:lnTo>
                      <a:lnTo>
                        <a:pt x="187" y="273"/>
                      </a:lnTo>
                      <a:lnTo>
                        <a:pt x="270" y="287"/>
                      </a:lnTo>
                      <a:lnTo>
                        <a:pt x="297" y="270"/>
                      </a:lnTo>
                      <a:lnTo>
                        <a:pt x="283" y="234"/>
                      </a:lnTo>
                      <a:lnTo>
                        <a:pt x="291" y="202"/>
                      </a:lnTo>
                      <a:lnTo>
                        <a:pt x="319" y="217"/>
                      </a:lnTo>
                      <a:lnTo>
                        <a:pt x="368" y="187"/>
                      </a:lnTo>
                      <a:lnTo>
                        <a:pt x="359" y="170"/>
                      </a:lnTo>
                      <a:lnTo>
                        <a:pt x="317" y="175"/>
                      </a:lnTo>
                      <a:lnTo>
                        <a:pt x="287" y="156"/>
                      </a:lnTo>
                      <a:lnTo>
                        <a:pt x="253" y="71"/>
                      </a:lnTo>
                      <a:lnTo>
                        <a:pt x="210" y="28"/>
                      </a:lnTo>
                      <a:lnTo>
                        <a:pt x="172" y="24"/>
                      </a:lnTo>
                      <a:lnTo>
                        <a:pt x="183" y="15"/>
                      </a:lnTo>
                      <a:lnTo>
                        <a:pt x="161" y="0"/>
                      </a:lnTo>
                      <a:lnTo>
                        <a:pt x="121" y="17"/>
                      </a:lnTo>
                      <a:lnTo>
                        <a:pt x="102" y="13"/>
                      </a:lnTo>
                      <a:lnTo>
                        <a:pt x="64" y="37"/>
                      </a:lnTo>
                      <a:lnTo>
                        <a:pt x="32" y="30"/>
                      </a:lnTo>
                      <a:lnTo>
                        <a:pt x="45" y="56"/>
                      </a:lnTo>
                      <a:lnTo>
                        <a:pt x="21" y="85"/>
                      </a:lnTo>
                      <a:lnTo>
                        <a:pt x="0" y="88"/>
                      </a:lnTo>
                      <a:lnTo>
                        <a:pt x="0" y="90"/>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37" name="82">
                  <a:extLst>
                    <a:ext uri="{FF2B5EF4-FFF2-40B4-BE49-F238E27FC236}">
                      <a16:creationId xmlns:a16="http://schemas.microsoft.com/office/drawing/2014/main" id="{7191B44B-EC74-4F23-A68A-76D6AC1838C2}"/>
                    </a:ext>
                  </a:extLst>
                </p:cNvPr>
                <p:cNvSpPr>
                  <a:spLocks/>
                </p:cNvSpPr>
                <p:nvPr/>
              </p:nvSpPr>
              <p:spPr bwMode="gray">
                <a:xfrm>
                  <a:off x="5872656" y="4998185"/>
                  <a:ext cx="471314" cy="322328"/>
                </a:xfrm>
                <a:custGeom>
                  <a:avLst/>
                  <a:gdLst>
                    <a:gd name="T0" fmla="*/ 0 w 329"/>
                    <a:gd name="T1" fmla="*/ 106 h 225"/>
                    <a:gd name="T2" fmla="*/ 12 w 329"/>
                    <a:gd name="T3" fmla="*/ 87 h 225"/>
                    <a:gd name="T4" fmla="*/ 36 w 329"/>
                    <a:gd name="T5" fmla="*/ 91 h 225"/>
                    <a:gd name="T6" fmla="*/ 29 w 329"/>
                    <a:gd name="T7" fmla="*/ 74 h 225"/>
                    <a:gd name="T8" fmla="*/ 55 w 329"/>
                    <a:gd name="T9" fmla="*/ 40 h 225"/>
                    <a:gd name="T10" fmla="*/ 36 w 329"/>
                    <a:gd name="T11" fmla="*/ 26 h 225"/>
                    <a:gd name="T12" fmla="*/ 42 w 329"/>
                    <a:gd name="T13" fmla="*/ 4 h 225"/>
                    <a:gd name="T14" fmla="*/ 87 w 329"/>
                    <a:gd name="T15" fmla="*/ 2 h 225"/>
                    <a:gd name="T16" fmla="*/ 104 w 329"/>
                    <a:gd name="T17" fmla="*/ 0 h 225"/>
                    <a:gd name="T18" fmla="*/ 91 w 329"/>
                    <a:gd name="T19" fmla="*/ 13 h 225"/>
                    <a:gd name="T20" fmla="*/ 125 w 329"/>
                    <a:gd name="T21" fmla="*/ 43 h 225"/>
                    <a:gd name="T22" fmla="*/ 146 w 329"/>
                    <a:gd name="T23" fmla="*/ 36 h 225"/>
                    <a:gd name="T24" fmla="*/ 144 w 329"/>
                    <a:gd name="T25" fmla="*/ 55 h 225"/>
                    <a:gd name="T26" fmla="*/ 161 w 329"/>
                    <a:gd name="T27" fmla="*/ 68 h 225"/>
                    <a:gd name="T28" fmla="*/ 193 w 329"/>
                    <a:gd name="T29" fmla="*/ 40 h 225"/>
                    <a:gd name="T30" fmla="*/ 212 w 329"/>
                    <a:gd name="T31" fmla="*/ 60 h 225"/>
                    <a:gd name="T32" fmla="*/ 221 w 329"/>
                    <a:gd name="T33" fmla="*/ 34 h 225"/>
                    <a:gd name="T34" fmla="*/ 236 w 329"/>
                    <a:gd name="T35" fmla="*/ 47 h 225"/>
                    <a:gd name="T36" fmla="*/ 299 w 329"/>
                    <a:gd name="T37" fmla="*/ 23 h 225"/>
                    <a:gd name="T38" fmla="*/ 297 w 329"/>
                    <a:gd name="T39" fmla="*/ 40 h 225"/>
                    <a:gd name="T40" fmla="*/ 323 w 329"/>
                    <a:gd name="T41" fmla="*/ 45 h 225"/>
                    <a:gd name="T42" fmla="*/ 301 w 329"/>
                    <a:gd name="T43" fmla="*/ 70 h 225"/>
                    <a:gd name="T44" fmla="*/ 329 w 329"/>
                    <a:gd name="T45" fmla="*/ 91 h 225"/>
                    <a:gd name="T46" fmla="*/ 310 w 329"/>
                    <a:gd name="T47" fmla="*/ 87 h 225"/>
                    <a:gd name="T48" fmla="*/ 272 w 329"/>
                    <a:gd name="T49" fmla="*/ 111 h 225"/>
                    <a:gd name="T50" fmla="*/ 240 w 329"/>
                    <a:gd name="T51" fmla="*/ 104 h 225"/>
                    <a:gd name="T52" fmla="*/ 253 w 329"/>
                    <a:gd name="T53" fmla="*/ 130 h 225"/>
                    <a:gd name="T54" fmla="*/ 229 w 329"/>
                    <a:gd name="T55" fmla="*/ 159 h 225"/>
                    <a:gd name="T56" fmla="*/ 208 w 329"/>
                    <a:gd name="T57" fmla="*/ 162 h 225"/>
                    <a:gd name="T58" fmla="*/ 208 w 329"/>
                    <a:gd name="T59" fmla="*/ 164 h 225"/>
                    <a:gd name="T60" fmla="*/ 212 w 329"/>
                    <a:gd name="T61" fmla="*/ 176 h 225"/>
                    <a:gd name="T62" fmla="*/ 161 w 329"/>
                    <a:gd name="T63" fmla="*/ 183 h 225"/>
                    <a:gd name="T64" fmla="*/ 144 w 329"/>
                    <a:gd name="T65" fmla="*/ 198 h 225"/>
                    <a:gd name="T66" fmla="*/ 159 w 329"/>
                    <a:gd name="T67" fmla="*/ 208 h 225"/>
                    <a:gd name="T68" fmla="*/ 121 w 329"/>
                    <a:gd name="T69" fmla="*/ 225 h 225"/>
                    <a:gd name="T70" fmla="*/ 104 w 329"/>
                    <a:gd name="T71" fmla="*/ 206 h 225"/>
                    <a:gd name="T72" fmla="*/ 51 w 329"/>
                    <a:gd name="T73" fmla="*/ 217 h 225"/>
                    <a:gd name="T74" fmla="*/ 38 w 329"/>
                    <a:gd name="T75" fmla="*/ 217 h 225"/>
                    <a:gd name="T76" fmla="*/ 36 w 329"/>
                    <a:gd name="T77" fmla="*/ 172 h 225"/>
                    <a:gd name="T78" fmla="*/ 2 w 329"/>
                    <a:gd name="T79" fmla="*/ 159 h 225"/>
                    <a:gd name="T80" fmla="*/ 29 w 329"/>
                    <a:gd name="T81" fmla="*/ 123 h 225"/>
                    <a:gd name="T82" fmla="*/ 0 w 329"/>
                    <a:gd name="T83" fmla="*/ 115 h 225"/>
                    <a:gd name="T84" fmla="*/ 0 w 329"/>
                    <a:gd name="T85" fmla="*/ 10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9" h="225">
                      <a:moveTo>
                        <a:pt x="0" y="106"/>
                      </a:moveTo>
                      <a:lnTo>
                        <a:pt x="12" y="87"/>
                      </a:lnTo>
                      <a:lnTo>
                        <a:pt x="36" y="91"/>
                      </a:lnTo>
                      <a:lnTo>
                        <a:pt x="29" y="74"/>
                      </a:lnTo>
                      <a:lnTo>
                        <a:pt x="55" y="40"/>
                      </a:lnTo>
                      <a:lnTo>
                        <a:pt x="36" y="26"/>
                      </a:lnTo>
                      <a:lnTo>
                        <a:pt x="42" y="4"/>
                      </a:lnTo>
                      <a:lnTo>
                        <a:pt x="87" y="2"/>
                      </a:lnTo>
                      <a:lnTo>
                        <a:pt x="104" y="0"/>
                      </a:lnTo>
                      <a:lnTo>
                        <a:pt x="91" y="13"/>
                      </a:lnTo>
                      <a:lnTo>
                        <a:pt x="125" y="43"/>
                      </a:lnTo>
                      <a:lnTo>
                        <a:pt x="146" y="36"/>
                      </a:lnTo>
                      <a:lnTo>
                        <a:pt x="144" y="55"/>
                      </a:lnTo>
                      <a:lnTo>
                        <a:pt x="161" y="68"/>
                      </a:lnTo>
                      <a:lnTo>
                        <a:pt x="193" y="40"/>
                      </a:lnTo>
                      <a:lnTo>
                        <a:pt x="212" y="60"/>
                      </a:lnTo>
                      <a:lnTo>
                        <a:pt x="221" y="34"/>
                      </a:lnTo>
                      <a:lnTo>
                        <a:pt x="236" y="47"/>
                      </a:lnTo>
                      <a:lnTo>
                        <a:pt x="299" y="23"/>
                      </a:lnTo>
                      <a:lnTo>
                        <a:pt x="297" y="40"/>
                      </a:lnTo>
                      <a:lnTo>
                        <a:pt x="323" y="45"/>
                      </a:lnTo>
                      <a:lnTo>
                        <a:pt x="301" y="70"/>
                      </a:lnTo>
                      <a:lnTo>
                        <a:pt x="329" y="91"/>
                      </a:lnTo>
                      <a:lnTo>
                        <a:pt x="310" y="87"/>
                      </a:lnTo>
                      <a:lnTo>
                        <a:pt x="272" y="111"/>
                      </a:lnTo>
                      <a:lnTo>
                        <a:pt x="240" y="104"/>
                      </a:lnTo>
                      <a:lnTo>
                        <a:pt x="253" y="130"/>
                      </a:lnTo>
                      <a:lnTo>
                        <a:pt x="229" y="159"/>
                      </a:lnTo>
                      <a:lnTo>
                        <a:pt x="208" y="162"/>
                      </a:lnTo>
                      <a:lnTo>
                        <a:pt x="208" y="164"/>
                      </a:lnTo>
                      <a:lnTo>
                        <a:pt x="212" y="176"/>
                      </a:lnTo>
                      <a:lnTo>
                        <a:pt x="161" y="183"/>
                      </a:lnTo>
                      <a:lnTo>
                        <a:pt x="144" y="198"/>
                      </a:lnTo>
                      <a:lnTo>
                        <a:pt x="159" y="208"/>
                      </a:lnTo>
                      <a:lnTo>
                        <a:pt x="121" y="225"/>
                      </a:lnTo>
                      <a:lnTo>
                        <a:pt x="104" y="206"/>
                      </a:lnTo>
                      <a:lnTo>
                        <a:pt x="51" y="217"/>
                      </a:lnTo>
                      <a:lnTo>
                        <a:pt x="38" y="217"/>
                      </a:lnTo>
                      <a:lnTo>
                        <a:pt x="36" y="172"/>
                      </a:lnTo>
                      <a:lnTo>
                        <a:pt x="2" y="159"/>
                      </a:lnTo>
                      <a:lnTo>
                        <a:pt x="29" y="123"/>
                      </a:lnTo>
                      <a:lnTo>
                        <a:pt x="0" y="115"/>
                      </a:lnTo>
                      <a:lnTo>
                        <a:pt x="0" y="106"/>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38" name="31">
                  <a:extLst>
                    <a:ext uri="{FF2B5EF4-FFF2-40B4-BE49-F238E27FC236}">
                      <a16:creationId xmlns:a16="http://schemas.microsoft.com/office/drawing/2014/main" id="{B3F8DCBD-EFD9-446D-A3F7-4801BB5D4DB7}"/>
                    </a:ext>
                  </a:extLst>
                </p:cNvPr>
                <p:cNvSpPr>
                  <a:spLocks/>
                </p:cNvSpPr>
                <p:nvPr/>
              </p:nvSpPr>
              <p:spPr bwMode="gray">
                <a:xfrm>
                  <a:off x="5735129" y="5250317"/>
                  <a:ext cx="624598" cy="631762"/>
                </a:xfrm>
                <a:custGeom>
                  <a:avLst/>
                  <a:gdLst>
                    <a:gd name="T0" fmla="*/ 2 w 436"/>
                    <a:gd name="T1" fmla="*/ 417 h 441"/>
                    <a:gd name="T2" fmla="*/ 11 w 436"/>
                    <a:gd name="T3" fmla="*/ 370 h 441"/>
                    <a:gd name="T4" fmla="*/ 32 w 436"/>
                    <a:gd name="T5" fmla="*/ 377 h 441"/>
                    <a:gd name="T6" fmla="*/ 57 w 436"/>
                    <a:gd name="T7" fmla="*/ 341 h 441"/>
                    <a:gd name="T8" fmla="*/ 47 w 436"/>
                    <a:gd name="T9" fmla="*/ 315 h 441"/>
                    <a:gd name="T10" fmla="*/ 23 w 436"/>
                    <a:gd name="T11" fmla="*/ 324 h 441"/>
                    <a:gd name="T12" fmla="*/ 34 w 436"/>
                    <a:gd name="T13" fmla="*/ 298 h 441"/>
                    <a:gd name="T14" fmla="*/ 4 w 436"/>
                    <a:gd name="T15" fmla="*/ 277 h 441"/>
                    <a:gd name="T16" fmla="*/ 51 w 436"/>
                    <a:gd name="T17" fmla="*/ 213 h 441"/>
                    <a:gd name="T18" fmla="*/ 91 w 436"/>
                    <a:gd name="T19" fmla="*/ 177 h 441"/>
                    <a:gd name="T20" fmla="*/ 155 w 436"/>
                    <a:gd name="T21" fmla="*/ 196 h 441"/>
                    <a:gd name="T22" fmla="*/ 172 w 436"/>
                    <a:gd name="T23" fmla="*/ 132 h 441"/>
                    <a:gd name="T24" fmla="*/ 210 w 436"/>
                    <a:gd name="T25" fmla="*/ 124 h 441"/>
                    <a:gd name="T26" fmla="*/ 147 w 436"/>
                    <a:gd name="T27" fmla="*/ 41 h 441"/>
                    <a:gd name="T28" fmla="*/ 200 w 436"/>
                    <a:gd name="T29" fmla="*/ 30 h 441"/>
                    <a:gd name="T30" fmla="*/ 217 w 436"/>
                    <a:gd name="T31" fmla="*/ 49 h 441"/>
                    <a:gd name="T32" fmla="*/ 255 w 436"/>
                    <a:gd name="T33" fmla="*/ 32 h 441"/>
                    <a:gd name="T34" fmla="*/ 240 w 436"/>
                    <a:gd name="T35" fmla="*/ 22 h 441"/>
                    <a:gd name="T36" fmla="*/ 257 w 436"/>
                    <a:gd name="T37" fmla="*/ 7 h 441"/>
                    <a:gd name="T38" fmla="*/ 308 w 436"/>
                    <a:gd name="T39" fmla="*/ 0 h 441"/>
                    <a:gd name="T40" fmla="*/ 317 w 436"/>
                    <a:gd name="T41" fmla="*/ 37 h 441"/>
                    <a:gd name="T42" fmla="*/ 346 w 436"/>
                    <a:gd name="T43" fmla="*/ 73 h 441"/>
                    <a:gd name="T44" fmla="*/ 336 w 436"/>
                    <a:gd name="T45" fmla="*/ 81 h 441"/>
                    <a:gd name="T46" fmla="*/ 353 w 436"/>
                    <a:gd name="T47" fmla="*/ 92 h 441"/>
                    <a:gd name="T48" fmla="*/ 342 w 436"/>
                    <a:gd name="T49" fmla="*/ 107 h 441"/>
                    <a:gd name="T50" fmla="*/ 400 w 436"/>
                    <a:gd name="T51" fmla="*/ 154 h 441"/>
                    <a:gd name="T52" fmla="*/ 436 w 436"/>
                    <a:gd name="T53" fmla="*/ 154 h 441"/>
                    <a:gd name="T54" fmla="*/ 431 w 436"/>
                    <a:gd name="T55" fmla="*/ 179 h 441"/>
                    <a:gd name="T56" fmla="*/ 397 w 436"/>
                    <a:gd name="T57" fmla="*/ 192 h 441"/>
                    <a:gd name="T58" fmla="*/ 383 w 436"/>
                    <a:gd name="T59" fmla="*/ 175 h 441"/>
                    <a:gd name="T60" fmla="*/ 372 w 436"/>
                    <a:gd name="T61" fmla="*/ 211 h 441"/>
                    <a:gd name="T62" fmla="*/ 351 w 436"/>
                    <a:gd name="T63" fmla="*/ 213 h 441"/>
                    <a:gd name="T64" fmla="*/ 342 w 436"/>
                    <a:gd name="T65" fmla="*/ 232 h 441"/>
                    <a:gd name="T66" fmla="*/ 338 w 436"/>
                    <a:gd name="T67" fmla="*/ 236 h 441"/>
                    <a:gd name="T68" fmla="*/ 325 w 436"/>
                    <a:gd name="T69" fmla="*/ 249 h 441"/>
                    <a:gd name="T70" fmla="*/ 287 w 436"/>
                    <a:gd name="T71" fmla="*/ 228 h 441"/>
                    <a:gd name="T72" fmla="*/ 278 w 436"/>
                    <a:gd name="T73" fmla="*/ 258 h 441"/>
                    <a:gd name="T74" fmla="*/ 240 w 436"/>
                    <a:gd name="T75" fmla="*/ 222 h 441"/>
                    <a:gd name="T76" fmla="*/ 232 w 436"/>
                    <a:gd name="T77" fmla="*/ 234 h 441"/>
                    <a:gd name="T78" fmla="*/ 255 w 436"/>
                    <a:gd name="T79" fmla="*/ 251 h 441"/>
                    <a:gd name="T80" fmla="*/ 215 w 436"/>
                    <a:gd name="T81" fmla="*/ 264 h 441"/>
                    <a:gd name="T82" fmla="*/ 234 w 436"/>
                    <a:gd name="T83" fmla="*/ 287 h 441"/>
                    <a:gd name="T84" fmla="*/ 223 w 436"/>
                    <a:gd name="T85" fmla="*/ 298 h 441"/>
                    <a:gd name="T86" fmla="*/ 168 w 436"/>
                    <a:gd name="T87" fmla="*/ 279 h 441"/>
                    <a:gd name="T88" fmla="*/ 149 w 436"/>
                    <a:gd name="T89" fmla="*/ 294 h 441"/>
                    <a:gd name="T90" fmla="*/ 144 w 436"/>
                    <a:gd name="T91" fmla="*/ 341 h 441"/>
                    <a:gd name="T92" fmla="*/ 104 w 436"/>
                    <a:gd name="T93" fmla="*/ 362 h 441"/>
                    <a:gd name="T94" fmla="*/ 104 w 436"/>
                    <a:gd name="T95" fmla="*/ 364 h 441"/>
                    <a:gd name="T96" fmla="*/ 110 w 436"/>
                    <a:gd name="T97" fmla="*/ 392 h 441"/>
                    <a:gd name="T98" fmla="*/ 64 w 436"/>
                    <a:gd name="T99" fmla="*/ 379 h 441"/>
                    <a:gd name="T100" fmla="*/ 59 w 436"/>
                    <a:gd name="T101" fmla="*/ 441 h 441"/>
                    <a:gd name="T102" fmla="*/ 8 w 436"/>
                    <a:gd name="T103" fmla="*/ 436 h 441"/>
                    <a:gd name="T104" fmla="*/ 0 w 436"/>
                    <a:gd name="T105" fmla="*/ 424 h 441"/>
                    <a:gd name="T106" fmla="*/ 2 w 436"/>
                    <a:gd name="T107" fmla="*/ 417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441">
                      <a:moveTo>
                        <a:pt x="2" y="417"/>
                      </a:moveTo>
                      <a:lnTo>
                        <a:pt x="11" y="370"/>
                      </a:lnTo>
                      <a:lnTo>
                        <a:pt x="32" y="377"/>
                      </a:lnTo>
                      <a:lnTo>
                        <a:pt x="57" y="341"/>
                      </a:lnTo>
                      <a:lnTo>
                        <a:pt x="47" y="315"/>
                      </a:lnTo>
                      <a:lnTo>
                        <a:pt x="23" y="324"/>
                      </a:lnTo>
                      <a:lnTo>
                        <a:pt x="34" y="298"/>
                      </a:lnTo>
                      <a:lnTo>
                        <a:pt x="4" y="277"/>
                      </a:lnTo>
                      <a:lnTo>
                        <a:pt x="51" y="213"/>
                      </a:lnTo>
                      <a:lnTo>
                        <a:pt x="91" y="177"/>
                      </a:lnTo>
                      <a:lnTo>
                        <a:pt x="155" y="196"/>
                      </a:lnTo>
                      <a:lnTo>
                        <a:pt x="172" y="132"/>
                      </a:lnTo>
                      <a:lnTo>
                        <a:pt x="210" y="124"/>
                      </a:lnTo>
                      <a:lnTo>
                        <a:pt x="147" y="41"/>
                      </a:lnTo>
                      <a:lnTo>
                        <a:pt x="200" y="30"/>
                      </a:lnTo>
                      <a:lnTo>
                        <a:pt x="217" y="49"/>
                      </a:lnTo>
                      <a:lnTo>
                        <a:pt x="255" y="32"/>
                      </a:lnTo>
                      <a:lnTo>
                        <a:pt x="240" y="22"/>
                      </a:lnTo>
                      <a:lnTo>
                        <a:pt x="257" y="7"/>
                      </a:lnTo>
                      <a:lnTo>
                        <a:pt x="308" y="0"/>
                      </a:lnTo>
                      <a:lnTo>
                        <a:pt x="317" y="37"/>
                      </a:lnTo>
                      <a:lnTo>
                        <a:pt x="346" y="73"/>
                      </a:lnTo>
                      <a:lnTo>
                        <a:pt x="336" y="81"/>
                      </a:lnTo>
                      <a:lnTo>
                        <a:pt x="353" y="92"/>
                      </a:lnTo>
                      <a:lnTo>
                        <a:pt x="342" y="107"/>
                      </a:lnTo>
                      <a:lnTo>
                        <a:pt x="400" y="154"/>
                      </a:lnTo>
                      <a:lnTo>
                        <a:pt x="436" y="154"/>
                      </a:lnTo>
                      <a:lnTo>
                        <a:pt x="431" y="179"/>
                      </a:lnTo>
                      <a:lnTo>
                        <a:pt x="397" y="192"/>
                      </a:lnTo>
                      <a:lnTo>
                        <a:pt x="383" y="175"/>
                      </a:lnTo>
                      <a:lnTo>
                        <a:pt x="372" y="211"/>
                      </a:lnTo>
                      <a:lnTo>
                        <a:pt x="351" y="213"/>
                      </a:lnTo>
                      <a:lnTo>
                        <a:pt x="342" y="232"/>
                      </a:lnTo>
                      <a:lnTo>
                        <a:pt x="338" y="236"/>
                      </a:lnTo>
                      <a:lnTo>
                        <a:pt x="325" y="249"/>
                      </a:lnTo>
                      <a:lnTo>
                        <a:pt x="287" y="228"/>
                      </a:lnTo>
                      <a:lnTo>
                        <a:pt x="278" y="258"/>
                      </a:lnTo>
                      <a:lnTo>
                        <a:pt x="240" y="222"/>
                      </a:lnTo>
                      <a:lnTo>
                        <a:pt x="232" y="234"/>
                      </a:lnTo>
                      <a:lnTo>
                        <a:pt x="255" y="251"/>
                      </a:lnTo>
                      <a:lnTo>
                        <a:pt x="215" y="264"/>
                      </a:lnTo>
                      <a:lnTo>
                        <a:pt x="234" y="287"/>
                      </a:lnTo>
                      <a:lnTo>
                        <a:pt x="223" y="298"/>
                      </a:lnTo>
                      <a:lnTo>
                        <a:pt x="168" y="279"/>
                      </a:lnTo>
                      <a:lnTo>
                        <a:pt x="149" y="294"/>
                      </a:lnTo>
                      <a:lnTo>
                        <a:pt x="144" y="341"/>
                      </a:lnTo>
                      <a:lnTo>
                        <a:pt x="104" y="362"/>
                      </a:lnTo>
                      <a:lnTo>
                        <a:pt x="104" y="364"/>
                      </a:lnTo>
                      <a:lnTo>
                        <a:pt x="110" y="392"/>
                      </a:lnTo>
                      <a:lnTo>
                        <a:pt x="64" y="379"/>
                      </a:lnTo>
                      <a:lnTo>
                        <a:pt x="59" y="441"/>
                      </a:lnTo>
                      <a:lnTo>
                        <a:pt x="8" y="436"/>
                      </a:lnTo>
                      <a:lnTo>
                        <a:pt x="0" y="424"/>
                      </a:lnTo>
                      <a:lnTo>
                        <a:pt x="2" y="417"/>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39" name="46">
                  <a:extLst>
                    <a:ext uri="{FF2B5EF4-FFF2-40B4-BE49-F238E27FC236}">
                      <a16:creationId xmlns:a16="http://schemas.microsoft.com/office/drawing/2014/main" id="{A3666C50-148A-4DEE-B8DD-C84620172855}"/>
                    </a:ext>
                  </a:extLst>
                </p:cNvPr>
                <p:cNvSpPr>
                  <a:spLocks/>
                </p:cNvSpPr>
                <p:nvPr/>
              </p:nvSpPr>
              <p:spPr bwMode="gray">
                <a:xfrm>
                  <a:off x="5970070" y="4662965"/>
                  <a:ext cx="459854" cy="432635"/>
                </a:xfrm>
                <a:custGeom>
                  <a:avLst/>
                  <a:gdLst>
                    <a:gd name="T0" fmla="*/ 2 w 321"/>
                    <a:gd name="T1" fmla="*/ 174 h 302"/>
                    <a:gd name="T2" fmla="*/ 23 w 321"/>
                    <a:gd name="T3" fmla="*/ 166 h 302"/>
                    <a:gd name="T4" fmla="*/ 123 w 321"/>
                    <a:gd name="T5" fmla="*/ 58 h 302"/>
                    <a:gd name="T6" fmla="*/ 125 w 321"/>
                    <a:gd name="T7" fmla="*/ 4 h 302"/>
                    <a:gd name="T8" fmla="*/ 172 w 321"/>
                    <a:gd name="T9" fmla="*/ 0 h 302"/>
                    <a:gd name="T10" fmla="*/ 208 w 321"/>
                    <a:gd name="T11" fmla="*/ 41 h 302"/>
                    <a:gd name="T12" fmla="*/ 284 w 321"/>
                    <a:gd name="T13" fmla="*/ 24 h 302"/>
                    <a:gd name="T14" fmla="*/ 287 w 321"/>
                    <a:gd name="T15" fmla="*/ 32 h 302"/>
                    <a:gd name="T16" fmla="*/ 312 w 321"/>
                    <a:gd name="T17" fmla="*/ 92 h 302"/>
                    <a:gd name="T18" fmla="*/ 299 w 321"/>
                    <a:gd name="T19" fmla="*/ 126 h 302"/>
                    <a:gd name="T20" fmla="*/ 321 w 321"/>
                    <a:gd name="T21" fmla="*/ 155 h 302"/>
                    <a:gd name="T22" fmla="*/ 225 w 321"/>
                    <a:gd name="T23" fmla="*/ 204 h 302"/>
                    <a:gd name="T24" fmla="*/ 225 w 321"/>
                    <a:gd name="T25" fmla="*/ 211 h 302"/>
                    <a:gd name="T26" fmla="*/ 231 w 321"/>
                    <a:gd name="T27" fmla="*/ 257 h 302"/>
                    <a:gd name="T28" fmla="*/ 168 w 321"/>
                    <a:gd name="T29" fmla="*/ 281 h 302"/>
                    <a:gd name="T30" fmla="*/ 153 w 321"/>
                    <a:gd name="T31" fmla="*/ 268 h 302"/>
                    <a:gd name="T32" fmla="*/ 144 w 321"/>
                    <a:gd name="T33" fmla="*/ 294 h 302"/>
                    <a:gd name="T34" fmla="*/ 125 w 321"/>
                    <a:gd name="T35" fmla="*/ 274 h 302"/>
                    <a:gd name="T36" fmla="*/ 93 w 321"/>
                    <a:gd name="T37" fmla="*/ 302 h 302"/>
                    <a:gd name="T38" fmla="*/ 76 w 321"/>
                    <a:gd name="T39" fmla="*/ 289 h 302"/>
                    <a:gd name="T40" fmla="*/ 78 w 321"/>
                    <a:gd name="T41" fmla="*/ 270 h 302"/>
                    <a:gd name="T42" fmla="*/ 57 w 321"/>
                    <a:gd name="T43" fmla="*/ 277 h 302"/>
                    <a:gd name="T44" fmla="*/ 23 w 321"/>
                    <a:gd name="T45" fmla="*/ 247 h 302"/>
                    <a:gd name="T46" fmla="*/ 36 w 321"/>
                    <a:gd name="T47" fmla="*/ 234 h 302"/>
                    <a:gd name="T48" fmla="*/ 19 w 321"/>
                    <a:gd name="T49" fmla="*/ 236 h 302"/>
                    <a:gd name="T50" fmla="*/ 0 w 321"/>
                    <a:gd name="T51" fmla="*/ 177 h 302"/>
                    <a:gd name="T52" fmla="*/ 2 w 321"/>
                    <a:gd name="T53" fmla="*/ 17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1" h="302">
                      <a:moveTo>
                        <a:pt x="2" y="174"/>
                      </a:moveTo>
                      <a:lnTo>
                        <a:pt x="23" y="166"/>
                      </a:lnTo>
                      <a:lnTo>
                        <a:pt x="123" y="58"/>
                      </a:lnTo>
                      <a:lnTo>
                        <a:pt x="125" y="4"/>
                      </a:lnTo>
                      <a:lnTo>
                        <a:pt x="172" y="0"/>
                      </a:lnTo>
                      <a:lnTo>
                        <a:pt x="208" y="41"/>
                      </a:lnTo>
                      <a:lnTo>
                        <a:pt x="284" y="24"/>
                      </a:lnTo>
                      <a:lnTo>
                        <a:pt x="287" y="32"/>
                      </a:lnTo>
                      <a:lnTo>
                        <a:pt x="312" y="92"/>
                      </a:lnTo>
                      <a:lnTo>
                        <a:pt x="299" y="126"/>
                      </a:lnTo>
                      <a:lnTo>
                        <a:pt x="321" y="155"/>
                      </a:lnTo>
                      <a:lnTo>
                        <a:pt x="225" y="204"/>
                      </a:lnTo>
                      <a:lnTo>
                        <a:pt x="225" y="211"/>
                      </a:lnTo>
                      <a:lnTo>
                        <a:pt x="231" y="257"/>
                      </a:lnTo>
                      <a:lnTo>
                        <a:pt x="168" y="281"/>
                      </a:lnTo>
                      <a:lnTo>
                        <a:pt x="153" y="268"/>
                      </a:lnTo>
                      <a:lnTo>
                        <a:pt x="144" y="294"/>
                      </a:lnTo>
                      <a:lnTo>
                        <a:pt x="125" y="274"/>
                      </a:lnTo>
                      <a:lnTo>
                        <a:pt x="93" y="302"/>
                      </a:lnTo>
                      <a:lnTo>
                        <a:pt x="76" y="289"/>
                      </a:lnTo>
                      <a:lnTo>
                        <a:pt x="78" y="270"/>
                      </a:lnTo>
                      <a:lnTo>
                        <a:pt x="57" y="277"/>
                      </a:lnTo>
                      <a:lnTo>
                        <a:pt x="23" y="247"/>
                      </a:lnTo>
                      <a:lnTo>
                        <a:pt x="36" y="234"/>
                      </a:lnTo>
                      <a:lnTo>
                        <a:pt x="19" y="236"/>
                      </a:lnTo>
                      <a:lnTo>
                        <a:pt x="0" y="177"/>
                      </a:lnTo>
                      <a:lnTo>
                        <a:pt x="2" y="174"/>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grpSp>
          <p:grpSp>
            <p:nvGrpSpPr>
              <p:cNvPr id="326" name="Languedoc Roussillon (Formes)">
                <a:extLst>
                  <a:ext uri="{FF2B5EF4-FFF2-40B4-BE49-F238E27FC236}">
                    <a16:creationId xmlns:a16="http://schemas.microsoft.com/office/drawing/2014/main" id="{846925A6-CDD5-4BE5-95FF-EB8136211891}"/>
                  </a:ext>
                </a:extLst>
              </p:cNvPr>
              <p:cNvGrpSpPr/>
              <p:nvPr/>
            </p:nvGrpSpPr>
            <p:grpSpPr>
              <a:xfrm>
                <a:off x="6219336" y="4705941"/>
                <a:ext cx="1199056" cy="1379561"/>
                <a:chOff x="6219336" y="4705941"/>
                <a:chExt cx="1199056" cy="1379561"/>
              </a:xfrm>
              <a:grpFill/>
            </p:grpSpPr>
            <p:sp>
              <p:nvSpPr>
                <p:cNvPr id="327" name="11">
                  <a:extLst>
                    <a:ext uri="{FF2B5EF4-FFF2-40B4-BE49-F238E27FC236}">
                      <a16:creationId xmlns:a16="http://schemas.microsoft.com/office/drawing/2014/main" id="{4E8CD3E7-8564-4162-8348-0D5DD076E26C}"/>
                    </a:ext>
                  </a:extLst>
                </p:cNvPr>
                <p:cNvSpPr>
                  <a:spLocks/>
                </p:cNvSpPr>
                <p:nvPr/>
              </p:nvSpPr>
              <p:spPr bwMode="gray">
                <a:xfrm>
                  <a:off x="6219336" y="5495285"/>
                  <a:ext cx="593082" cy="416877"/>
                </a:xfrm>
                <a:custGeom>
                  <a:avLst/>
                  <a:gdLst>
                    <a:gd name="T0" fmla="*/ 4 w 414"/>
                    <a:gd name="T1" fmla="*/ 61 h 291"/>
                    <a:gd name="T2" fmla="*/ 13 w 414"/>
                    <a:gd name="T3" fmla="*/ 42 h 291"/>
                    <a:gd name="T4" fmla="*/ 34 w 414"/>
                    <a:gd name="T5" fmla="*/ 40 h 291"/>
                    <a:gd name="T6" fmla="*/ 45 w 414"/>
                    <a:gd name="T7" fmla="*/ 4 h 291"/>
                    <a:gd name="T8" fmla="*/ 59 w 414"/>
                    <a:gd name="T9" fmla="*/ 21 h 291"/>
                    <a:gd name="T10" fmla="*/ 93 w 414"/>
                    <a:gd name="T11" fmla="*/ 8 h 291"/>
                    <a:gd name="T12" fmla="*/ 140 w 414"/>
                    <a:gd name="T13" fmla="*/ 27 h 291"/>
                    <a:gd name="T14" fmla="*/ 153 w 414"/>
                    <a:gd name="T15" fmla="*/ 0 h 291"/>
                    <a:gd name="T16" fmla="*/ 236 w 414"/>
                    <a:gd name="T17" fmla="*/ 14 h 291"/>
                    <a:gd name="T18" fmla="*/ 229 w 414"/>
                    <a:gd name="T19" fmla="*/ 40 h 291"/>
                    <a:gd name="T20" fmla="*/ 227 w 414"/>
                    <a:gd name="T21" fmla="*/ 42 h 291"/>
                    <a:gd name="T22" fmla="*/ 249 w 414"/>
                    <a:gd name="T23" fmla="*/ 63 h 291"/>
                    <a:gd name="T24" fmla="*/ 268 w 414"/>
                    <a:gd name="T25" fmla="*/ 53 h 291"/>
                    <a:gd name="T26" fmla="*/ 285 w 414"/>
                    <a:gd name="T27" fmla="*/ 76 h 291"/>
                    <a:gd name="T28" fmla="*/ 317 w 414"/>
                    <a:gd name="T29" fmla="*/ 31 h 291"/>
                    <a:gd name="T30" fmla="*/ 323 w 414"/>
                    <a:gd name="T31" fmla="*/ 51 h 291"/>
                    <a:gd name="T32" fmla="*/ 414 w 414"/>
                    <a:gd name="T33" fmla="*/ 91 h 291"/>
                    <a:gd name="T34" fmla="*/ 374 w 414"/>
                    <a:gd name="T35" fmla="*/ 146 h 291"/>
                    <a:gd name="T36" fmla="*/ 372 w 414"/>
                    <a:gd name="T37" fmla="*/ 148 h 291"/>
                    <a:gd name="T38" fmla="*/ 359 w 414"/>
                    <a:gd name="T39" fmla="*/ 191 h 291"/>
                    <a:gd name="T40" fmla="*/ 361 w 414"/>
                    <a:gd name="T41" fmla="*/ 229 h 291"/>
                    <a:gd name="T42" fmla="*/ 357 w 414"/>
                    <a:gd name="T43" fmla="*/ 227 h 291"/>
                    <a:gd name="T44" fmla="*/ 342 w 414"/>
                    <a:gd name="T45" fmla="*/ 219 h 291"/>
                    <a:gd name="T46" fmla="*/ 314 w 414"/>
                    <a:gd name="T47" fmla="*/ 199 h 291"/>
                    <a:gd name="T48" fmla="*/ 278 w 414"/>
                    <a:gd name="T49" fmla="*/ 231 h 291"/>
                    <a:gd name="T50" fmla="*/ 181 w 414"/>
                    <a:gd name="T51" fmla="*/ 225 h 291"/>
                    <a:gd name="T52" fmla="*/ 170 w 414"/>
                    <a:gd name="T53" fmla="*/ 229 h 291"/>
                    <a:gd name="T54" fmla="*/ 178 w 414"/>
                    <a:gd name="T55" fmla="*/ 265 h 291"/>
                    <a:gd name="T56" fmla="*/ 125 w 414"/>
                    <a:gd name="T57" fmla="*/ 291 h 291"/>
                    <a:gd name="T58" fmla="*/ 102 w 414"/>
                    <a:gd name="T59" fmla="*/ 257 h 291"/>
                    <a:gd name="T60" fmla="*/ 68 w 414"/>
                    <a:gd name="T61" fmla="*/ 263 h 291"/>
                    <a:gd name="T62" fmla="*/ 42 w 414"/>
                    <a:gd name="T63" fmla="*/ 231 h 291"/>
                    <a:gd name="T64" fmla="*/ 79 w 414"/>
                    <a:gd name="T65" fmla="*/ 212 h 291"/>
                    <a:gd name="T66" fmla="*/ 64 w 414"/>
                    <a:gd name="T67" fmla="*/ 189 h 291"/>
                    <a:gd name="T68" fmla="*/ 83 w 414"/>
                    <a:gd name="T69" fmla="*/ 182 h 291"/>
                    <a:gd name="T70" fmla="*/ 79 w 414"/>
                    <a:gd name="T71" fmla="*/ 155 h 291"/>
                    <a:gd name="T72" fmla="*/ 68 w 414"/>
                    <a:gd name="T73" fmla="*/ 121 h 291"/>
                    <a:gd name="T74" fmla="*/ 6 w 414"/>
                    <a:gd name="T75" fmla="*/ 95 h 291"/>
                    <a:gd name="T76" fmla="*/ 0 w 414"/>
                    <a:gd name="T77" fmla="*/ 65 h 291"/>
                    <a:gd name="T78" fmla="*/ 4 w 414"/>
                    <a:gd name="T79" fmla="*/ 6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4" h="291">
                      <a:moveTo>
                        <a:pt x="4" y="61"/>
                      </a:moveTo>
                      <a:lnTo>
                        <a:pt x="13" y="42"/>
                      </a:lnTo>
                      <a:lnTo>
                        <a:pt x="34" y="40"/>
                      </a:lnTo>
                      <a:lnTo>
                        <a:pt x="45" y="4"/>
                      </a:lnTo>
                      <a:lnTo>
                        <a:pt x="59" y="21"/>
                      </a:lnTo>
                      <a:lnTo>
                        <a:pt x="93" y="8"/>
                      </a:lnTo>
                      <a:lnTo>
                        <a:pt x="140" y="27"/>
                      </a:lnTo>
                      <a:lnTo>
                        <a:pt x="153" y="0"/>
                      </a:lnTo>
                      <a:lnTo>
                        <a:pt x="236" y="14"/>
                      </a:lnTo>
                      <a:lnTo>
                        <a:pt x="229" y="40"/>
                      </a:lnTo>
                      <a:lnTo>
                        <a:pt x="227" y="42"/>
                      </a:lnTo>
                      <a:lnTo>
                        <a:pt x="249" y="63"/>
                      </a:lnTo>
                      <a:lnTo>
                        <a:pt x="268" y="53"/>
                      </a:lnTo>
                      <a:lnTo>
                        <a:pt x="285" y="76"/>
                      </a:lnTo>
                      <a:lnTo>
                        <a:pt x="317" y="31"/>
                      </a:lnTo>
                      <a:lnTo>
                        <a:pt x="323" y="51"/>
                      </a:lnTo>
                      <a:lnTo>
                        <a:pt x="414" y="91"/>
                      </a:lnTo>
                      <a:lnTo>
                        <a:pt x="374" y="146"/>
                      </a:lnTo>
                      <a:lnTo>
                        <a:pt x="372" y="148"/>
                      </a:lnTo>
                      <a:lnTo>
                        <a:pt x="359" y="191"/>
                      </a:lnTo>
                      <a:lnTo>
                        <a:pt x="361" y="229"/>
                      </a:lnTo>
                      <a:lnTo>
                        <a:pt x="357" y="227"/>
                      </a:lnTo>
                      <a:lnTo>
                        <a:pt x="342" y="219"/>
                      </a:lnTo>
                      <a:lnTo>
                        <a:pt x="314" y="199"/>
                      </a:lnTo>
                      <a:lnTo>
                        <a:pt x="278" y="231"/>
                      </a:lnTo>
                      <a:lnTo>
                        <a:pt x="181" y="225"/>
                      </a:lnTo>
                      <a:lnTo>
                        <a:pt x="170" y="229"/>
                      </a:lnTo>
                      <a:lnTo>
                        <a:pt x="178" y="265"/>
                      </a:lnTo>
                      <a:lnTo>
                        <a:pt x="125" y="291"/>
                      </a:lnTo>
                      <a:lnTo>
                        <a:pt x="102" y="257"/>
                      </a:lnTo>
                      <a:lnTo>
                        <a:pt x="68" y="263"/>
                      </a:lnTo>
                      <a:lnTo>
                        <a:pt x="42" y="231"/>
                      </a:lnTo>
                      <a:lnTo>
                        <a:pt x="79" y="212"/>
                      </a:lnTo>
                      <a:lnTo>
                        <a:pt x="64" y="189"/>
                      </a:lnTo>
                      <a:lnTo>
                        <a:pt x="83" y="182"/>
                      </a:lnTo>
                      <a:lnTo>
                        <a:pt x="79" y="155"/>
                      </a:lnTo>
                      <a:lnTo>
                        <a:pt x="68" y="121"/>
                      </a:lnTo>
                      <a:lnTo>
                        <a:pt x="6" y="95"/>
                      </a:lnTo>
                      <a:lnTo>
                        <a:pt x="0" y="65"/>
                      </a:lnTo>
                      <a:lnTo>
                        <a:pt x="4" y="61"/>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28" name="48">
                  <a:extLst>
                    <a:ext uri="{FF2B5EF4-FFF2-40B4-BE49-F238E27FC236}">
                      <a16:creationId xmlns:a16="http://schemas.microsoft.com/office/drawing/2014/main" id="{1CD54537-FBBC-4811-9CA4-E8A83C11266D}"/>
                    </a:ext>
                  </a:extLst>
                </p:cNvPr>
                <p:cNvSpPr>
                  <a:spLocks/>
                </p:cNvSpPr>
                <p:nvPr/>
              </p:nvSpPr>
              <p:spPr bwMode="gray">
                <a:xfrm>
                  <a:off x="6715003" y="4705941"/>
                  <a:ext cx="383927" cy="446960"/>
                </a:xfrm>
                <a:custGeom>
                  <a:avLst/>
                  <a:gdLst>
                    <a:gd name="T0" fmla="*/ 5 w 268"/>
                    <a:gd name="T1" fmla="*/ 113 h 312"/>
                    <a:gd name="T2" fmla="*/ 32 w 268"/>
                    <a:gd name="T3" fmla="*/ 32 h 312"/>
                    <a:gd name="T4" fmla="*/ 54 w 268"/>
                    <a:gd name="T5" fmla="*/ 38 h 312"/>
                    <a:gd name="T6" fmla="*/ 68 w 268"/>
                    <a:gd name="T7" fmla="*/ 11 h 312"/>
                    <a:gd name="T8" fmla="*/ 100 w 268"/>
                    <a:gd name="T9" fmla="*/ 0 h 312"/>
                    <a:gd name="T10" fmla="*/ 130 w 268"/>
                    <a:gd name="T11" fmla="*/ 59 h 312"/>
                    <a:gd name="T12" fmla="*/ 175 w 268"/>
                    <a:gd name="T13" fmla="*/ 34 h 312"/>
                    <a:gd name="T14" fmla="*/ 230 w 268"/>
                    <a:gd name="T15" fmla="*/ 83 h 312"/>
                    <a:gd name="T16" fmla="*/ 230 w 268"/>
                    <a:gd name="T17" fmla="*/ 93 h 312"/>
                    <a:gd name="T18" fmla="*/ 232 w 268"/>
                    <a:gd name="T19" fmla="*/ 100 h 312"/>
                    <a:gd name="T20" fmla="*/ 268 w 268"/>
                    <a:gd name="T21" fmla="*/ 185 h 312"/>
                    <a:gd name="T22" fmla="*/ 238 w 268"/>
                    <a:gd name="T23" fmla="*/ 212 h 312"/>
                    <a:gd name="T24" fmla="*/ 255 w 268"/>
                    <a:gd name="T25" fmla="*/ 232 h 312"/>
                    <a:gd name="T26" fmla="*/ 260 w 268"/>
                    <a:gd name="T27" fmla="*/ 293 h 312"/>
                    <a:gd name="T28" fmla="*/ 215 w 268"/>
                    <a:gd name="T29" fmla="*/ 308 h 312"/>
                    <a:gd name="T30" fmla="*/ 183 w 268"/>
                    <a:gd name="T31" fmla="*/ 287 h 312"/>
                    <a:gd name="T32" fmla="*/ 170 w 268"/>
                    <a:gd name="T33" fmla="*/ 310 h 312"/>
                    <a:gd name="T34" fmla="*/ 149 w 268"/>
                    <a:gd name="T35" fmla="*/ 312 h 312"/>
                    <a:gd name="T36" fmla="*/ 102 w 268"/>
                    <a:gd name="T37" fmla="*/ 293 h 312"/>
                    <a:gd name="T38" fmla="*/ 58 w 268"/>
                    <a:gd name="T39" fmla="*/ 285 h 312"/>
                    <a:gd name="T40" fmla="*/ 64 w 268"/>
                    <a:gd name="T41" fmla="*/ 270 h 312"/>
                    <a:gd name="T42" fmla="*/ 37 w 268"/>
                    <a:gd name="T43" fmla="*/ 259 h 312"/>
                    <a:gd name="T44" fmla="*/ 43 w 268"/>
                    <a:gd name="T45" fmla="*/ 193 h 312"/>
                    <a:gd name="T46" fmla="*/ 0 w 268"/>
                    <a:gd name="T47" fmla="*/ 119 h 312"/>
                    <a:gd name="T48" fmla="*/ 5 w 268"/>
                    <a:gd name="T49" fmla="*/ 11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8" h="312">
                      <a:moveTo>
                        <a:pt x="5" y="113"/>
                      </a:moveTo>
                      <a:lnTo>
                        <a:pt x="32" y="32"/>
                      </a:lnTo>
                      <a:lnTo>
                        <a:pt x="54" y="38"/>
                      </a:lnTo>
                      <a:lnTo>
                        <a:pt x="68" y="11"/>
                      </a:lnTo>
                      <a:lnTo>
                        <a:pt x="100" y="0"/>
                      </a:lnTo>
                      <a:lnTo>
                        <a:pt x="130" y="59"/>
                      </a:lnTo>
                      <a:lnTo>
                        <a:pt x="175" y="34"/>
                      </a:lnTo>
                      <a:lnTo>
                        <a:pt x="230" y="83"/>
                      </a:lnTo>
                      <a:lnTo>
                        <a:pt x="230" y="93"/>
                      </a:lnTo>
                      <a:lnTo>
                        <a:pt x="232" y="100"/>
                      </a:lnTo>
                      <a:lnTo>
                        <a:pt x="268" y="185"/>
                      </a:lnTo>
                      <a:lnTo>
                        <a:pt x="238" y="212"/>
                      </a:lnTo>
                      <a:lnTo>
                        <a:pt x="255" y="232"/>
                      </a:lnTo>
                      <a:lnTo>
                        <a:pt x="260" y="293"/>
                      </a:lnTo>
                      <a:lnTo>
                        <a:pt x="215" y="308"/>
                      </a:lnTo>
                      <a:lnTo>
                        <a:pt x="183" y="287"/>
                      </a:lnTo>
                      <a:lnTo>
                        <a:pt x="170" y="310"/>
                      </a:lnTo>
                      <a:lnTo>
                        <a:pt x="149" y="312"/>
                      </a:lnTo>
                      <a:lnTo>
                        <a:pt x="102" y="293"/>
                      </a:lnTo>
                      <a:lnTo>
                        <a:pt x="58" y="285"/>
                      </a:lnTo>
                      <a:lnTo>
                        <a:pt x="64" y="270"/>
                      </a:lnTo>
                      <a:lnTo>
                        <a:pt x="37" y="259"/>
                      </a:lnTo>
                      <a:lnTo>
                        <a:pt x="43" y="193"/>
                      </a:lnTo>
                      <a:lnTo>
                        <a:pt x="0" y="119"/>
                      </a:lnTo>
                      <a:lnTo>
                        <a:pt x="5" y="113"/>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29" name="30">
                  <a:extLst>
                    <a:ext uri="{FF2B5EF4-FFF2-40B4-BE49-F238E27FC236}">
                      <a16:creationId xmlns:a16="http://schemas.microsoft.com/office/drawing/2014/main" id="{396114FA-DE39-428E-A46B-068D8505C4CB}"/>
                    </a:ext>
                  </a:extLst>
                </p:cNvPr>
                <p:cNvSpPr>
                  <a:spLocks/>
                </p:cNvSpPr>
                <p:nvPr/>
              </p:nvSpPr>
              <p:spPr bwMode="gray">
                <a:xfrm>
                  <a:off x="6822445" y="4970965"/>
                  <a:ext cx="595947" cy="527184"/>
                </a:xfrm>
                <a:custGeom>
                  <a:avLst/>
                  <a:gdLst>
                    <a:gd name="T0" fmla="*/ 2 w 416"/>
                    <a:gd name="T1" fmla="*/ 134 h 368"/>
                    <a:gd name="T2" fmla="*/ 27 w 416"/>
                    <a:gd name="T3" fmla="*/ 108 h 368"/>
                    <a:gd name="T4" fmla="*/ 74 w 416"/>
                    <a:gd name="T5" fmla="*/ 127 h 368"/>
                    <a:gd name="T6" fmla="*/ 95 w 416"/>
                    <a:gd name="T7" fmla="*/ 125 h 368"/>
                    <a:gd name="T8" fmla="*/ 108 w 416"/>
                    <a:gd name="T9" fmla="*/ 102 h 368"/>
                    <a:gd name="T10" fmla="*/ 140 w 416"/>
                    <a:gd name="T11" fmla="*/ 123 h 368"/>
                    <a:gd name="T12" fmla="*/ 185 w 416"/>
                    <a:gd name="T13" fmla="*/ 108 h 368"/>
                    <a:gd name="T14" fmla="*/ 180 w 416"/>
                    <a:gd name="T15" fmla="*/ 47 h 368"/>
                    <a:gd name="T16" fmla="*/ 163 w 416"/>
                    <a:gd name="T17" fmla="*/ 27 h 368"/>
                    <a:gd name="T18" fmla="*/ 193 w 416"/>
                    <a:gd name="T19" fmla="*/ 0 h 368"/>
                    <a:gd name="T20" fmla="*/ 212 w 416"/>
                    <a:gd name="T21" fmla="*/ 21 h 368"/>
                    <a:gd name="T22" fmla="*/ 208 w 416"/>
                    <a:gd name="T23" fmla="*/ 53 h 368"/>
                    <a:gd name="T24" fmla="*/ 227 w 416"/>
                    <a:gd name="T25" fmla="*/ 47 h 368"/>
                    <a:gd name="T26" fmla="*/ 263 w 416"/>
                    <a:gd name="T27" fmla="*/ 72 h 368"/>
                    <a:gd name="T28" fmla="*/ 280 w 416"/>
                    <a:gd name="T29" fmla="*/ 45 h 368"/>
                    <a:gd name="T30" fmla="*/ 295 w 416"/>
                    <a:gd name="T31" fmla="*/ 40 h 368"/>
                    <a:gd name="T32" fmla="*/ 310 w 416"/>
                    <a:gd name="T33" fmla="*/ 64 h 368"/>
                    <a:gd name="T34" fmla="*/ 325 w 416"/>
                    <a:gd name="T35" fmla="*/ 42 h 368"/>
                    <a:gd name="T36" fmla="*/ 363 w 416"/>
                    <a:gd name="T37" fmla="*/ 66 h 368"/>
                    <a:gd name="T38" fmla="*/ 385 w 416"/>
                    <a:gd name="T39" fmla="*/ 98 h 368"/>
                    <a:gd name="T40" fmla="*/ 380 w 416"/>
                    <a:gd name="T41" fmla="*/ 127 h 368"/>
                    <a:gd name="T42" fmla="*/ 416 w 416"/>
                    <a:gd name="T43" fmla="*/ 161 h 368"/>
                    <a:gd name="T44" fmla="*/ 391 w 416"/>
                    <a:gd name="T45" fmla="*/ 195 h 368"/>
                    <a:gd name="T46" fmla="*/ 365 w 416"/>
                    <a:gd name="T47" fmla="*/ 215 h 368"/>
                    <a:gd name="T48" fmla="*/ 361 w 416"/>
                    <a:gd name="T49" fmla="*/ 280 h 368"/>
                    <a:gd name="T50" fmla="*/ 325 w 416"/>
                    <a:gd name="T51" fmla="*/ 278 h 368"/>
                    <a:gd name="T52" fmla="*/ 310 w 416"/>
                    <a:gd name="T53" fmla="*/ 306 h 368"/>
                    <a:gd name="T54" fmla="*/ 321 w 416"/>
                    <a:gd name="T55" fmla="*/ 317 h 368"/>
                    <a:gd name="T56" fmla="*/ 259 w 416"/>
                    <a:gd name="T57" fmla="*/ 355 h 368"/>
                    <a:gd name="T58" fmla="*/ 257 w 416"/>
                    <a:gd name="T59" fmla="*/ 368 h 368"/>
                    <a:gd name="T60" fmla="*/ 231 w 416"/>
                    <a:gd name="T61" fmla="*/ 357 h 368"/>
                    <a:gd name="T62" fmla="*/ 223 w 416"/>
                    <a:gd name="T63" fmla="*/ 332 h 368"/>
                    <a:gd name="T64" fmla="*/ 221 w 416"/>
                    <a:gd name="T65" fmla="*/ 323 h 368"/>
                    <a:gd name="T66" fmla="*/ 221 w 416"/>
                    <a:gd name="T67" fmla="*/ 319 h 368"/>
                    <a:gd name="T68" fmla="*/ 248 w 416"/>
                    <a:gd name="T69" fmla="*/ 300 h 368"/>
                    <a:gd name="T70" fmla="*/ 234 w 416"/>
                    <a:gd name="T71" fmla="*/ 268 h 368"/>
                    <a:gd name="T72" fmla="*/ 183 w 416"/>
                    <a:gd name="T73" fmla="*/ 240 h 368"/>
                    <a:gd name="T74" fmla="*/ 172 w 416"/>
                    <a:gd name="T75" fmla="*/ 212 h 368"/>
                    <a:gd name="T76" fmla="*/ 140 w 416"/>
                    <a:gd name="T77" fmla="*/ 210 h 368"/>
                    <a:gd name="T78" fmla="*/ 138 w 416"/>
                    <a:gd name="T79" fmla="*/ 183 h 368"/>
                    <a:gd name="T80" fmla="*/ 110 w 416"/>
                    <a:gd name="T81" fmla="*/ 187 h 368"/>
                    <a:gd name="T82" fmla="*/ 83 w 416"/>
                    <a:gd name="T83" fmla="*/ 225 h 368"/>
                    <a:gd name="T84" fmla="*/ 25 w 416"/>
                    <a:gd name="T85" fmla="*/ 202 h 368"/>
                    <a:gd name="T86" fmla="*/ 49 w 416"/>
                    <a:gd name="T87" fmla="*/ 164 h 368"/>
                    <a:gd name="T88" fmla="*/ 0 w 416"/>
                    <a:gd name="T89" fmla="*/ 136 h 368"/>
                    <a:gd name="T90" fmla="*/ 2 w 416"/>
                    <a:gd name="T91" fmla="*/ 13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6" h="368">
                      <a:moveTo>
                        <a:pt x="2" y="134"/>
                      </a:moveTo>
                      <a:lnTo>
                        <a:pt x="27" y="108"/>
                      </a:lnTo>
                      <a:lnTo>
                        <a:pt x="74" y="127"/>
                      </a:lnTo>
                      <a:lnTo>
                        <a:pt x="95" y="125"/>
                      </a:lnTo>
                      <a:lnTo>
                        <a:pt x="108" y="102"/>
                      </a:lnTo>
                      <a:lnTo>
                        <a:pt x="140" y="123"/>
                      </a:lnTo>
                      <a:lnTo>
                        <a:pt x="185" y="108"/>
                      </a:lnTo>
                      <a:lnTo>
                        <a:pt x="180" y="47"/>
                      </a:lnTo>
                      <a:lnTo>
                        <a:pt x="163" y="27"/>
                      </a:lnTo>
                      <a:lnTo>
                        <a:pt x="193" y="0"/>
                      </a:lnTo>
                      <a:lnTo>
                        <a:pt x="212" y="21"/>
                      </a:lnTo>
                      <a:lnTo>
                        <a:pt x="208" y="53"/>
                      </a:lnTo>
                      <a:lnTo>
                        <a:pt x="227" y="47"/>
                      </a:lnTo>
                      <a:lnTo>
                        <a:pt x="263" y="72"/>
                      </a:lnTo>
                      <a:lnTo>
                        <a:pt x="280" y="45"/>
                      </a:lnTo>
                      <a:lnTo>
                        <a:pt x="295" y="40"/>
                      </a:lnTo>
                      <a:lnTo>
                        <a:pt x="310" y="64"/>
                      </a:lnTo>
                      <a:lnTo>
                        <a:pt x="325" y="42"/>
                      </a:lnTo>
                      <a:lnTo>
                        <a:pt x="363" y="66"/>
                      </a:lnTo>
                      <a:lnTo>
                        <a:pt x="385" y="98"/>
                      </a:lnTo>
                      <a:lnTo>
                        <a:pt x="380" y="127"/>
                      </a:lnTo>
                      <a:lnTo>
                        <a:pt x="416" y="161"/>
                      </a:lnTo>
                      <a:lnTo>
                        <a:pt x="391" y="195"/>
                      </a:lnTo>
                      <a:lnTo>
                        <a:pt x="365" y="215"/>
                      </a:lnTo>
                      <a:lnTo>
                        <a:pt x="361" y="280"/>
                      </a:lnTo>
                      <a:lnTo>
                        <a:pt x="325" y="278"/>
                      </a:lnTo>
                      <a:lnTo>
                        <a:pt x="310" y="306"/>
                      </a:lnTo>
                      <a:lnTo>
                        <a:pt x="321" y="317"/>
                      </a:lnTo>
                      <a:lnTo>
                        <a:pt x="259" y="355"/>
                      </a:lnTo>
                      <a:lnTo>
                        <a:pt x="257" y="368"/>
                      </a:lnTo>
                      <a:lnTo>
                        <a:pt x="231" y="357"/>
                      </a:lnTo>
                      <a:lnTo>
                        <a:pt x="223" y="332"/>
                      </a:lnTo>
                      <a:lnTo>
                        <a:pt x="221" y="323"/>
                      </a:lnTo>
                      <a:lnTo>
                        <a:pt x="221" y="319"/>
                      </a:lnTo>
                      <a:lnTo>
                        <a:pt x="248" y="300"/>
                      </a:lnTo>
                      <a:lnTo>
                        <a:pt x="234" y="268"/>
                      </a:lnTo>
                      <a:lnTo>
                        <a:pt x="183" y="240"/>
                      </a:lnTo>
                      <a:lnTo>
                        <a:pt x="172" y="212"/>
                      </a:lnTo>
                      <a:lnTo>
                        <a:pt x="140" y="210"/>
                      </a:lnTo>
                      <a:lnTo>
                        <a:pt x="138" y="183"/>
                      </a:lnTo>
                      <a:lnTo>
                        <a:pt x="110" y="187"/>
                      </a:lnTo>
                      <a:lnTo>
                        <a:pt x="83" y="225"/>
                      </a:lnTo>
                      <a:lnTo>
                        <a:pt x="25" y="202"/>
                      </a:lnTo>
                      <a:lnTo>
                        <a:pt x="49" y="164"/>
                      </a:lnTo>
                      <a:lnTo>
                        <a:pt x="0" y="136"/>
                      </a:lnTo>
                      <a:lnTo>
                        <a:pt x="2" y="134"/>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30" name="34">
                  <a:extLst>
                    <a:ext uri="{FF2B5EF4-FFF2-40B4-BE49-F238E27FC236}">
                      <a16:creationId xmlns:a16="http://schemas.microsoft.com/office/drawing/2014/main" id="{0E6C5A51-C5BE-48C0-B106-841354ECB9FB}"/>
                    </a:ext>
                  </a:extLst>
                </p:cNvPr>
                <p:cNvSpPr>
                  <a:spLocks/>
                </p:cNvSpPr>
                <p:nvPr/>
              </p:nvSpPr>
              <p:spPr bwMode="gray">
                <a:xfrm>
                  <a:off x="6544528" y="5233125"/>
                  <a:ext cx="633194" cy="392523"/>
                </a:xfrm>
                <a:custGeom>
                  <a:avLst/>
                  <a:gdLst>
                    <a:gd name="T0" fmla="*/ 2 w 442"/>
                    <a:gd name="T1" fmla="*/ 223 h 274"/>
                    <a:gd name="T2" fmla="*/ 9 w 442"/>
                    <a:gd name="T3" fmla="*/ 197 h 274"/>
                    <a:gd name="T4" fmla="*/ 36 w 442"/>
                    <a:gd name="T5" fmla="*/ 180 h 274"/>
                    <a:gd name="T6" fmla="*/ 22 w 442"/>
                    <a:gd name="T7" fmla="*/ 144 h 274"/>
                    <a:gd name="T8" fmla="*/ 30 w 442"/>
                    <a:gd name="T9" fmla="*/ 112 h 274"/>
                    <a:gd name="T10" fmla="*/ 58 w 442"/>
                    <a:gd name="T11" fmla="*/ 127 h 274"/>
                    <a:gd name="T12" fmla="*/ 107 w 442"/>
                    <a:gd name="T13" fmla="*/ 97 h 274"/>
                    <a:gd name="T14" fmla="*/ 139 w 442"/>
                    <a:gd name="T15" fmla="*/ 97 h 274"/>
                    <a:gd name="T16" fmla="*/ 141 w 442"/>
                    <a:gd name="T17" fmla="*/ 46 h 274"/>
                    <a:gd name="T18" fmla="*/ 183 w 442"/>
                    <a:gd name="T19" fmla="*/ 53 h 274"/>
                    <a:gd name="T20" fmla="*/ 194 w 442"/>
                    <a:gd name="T21" fmla="*/ 25 h 274"/>
                    <a:gd name="T22" fmla="*/ 219 w 442"/>
                    <a:gd name="T23" fmla="*/ 19 h 274"/>
                    <a:gd name="T24" fmla="*/ 277 w 442"/>
                    <a:gd name="T25" fmla="*/ 42 h 274"/>
                    <a:gd name="T26" fmla="*/ 304 w 442"/>
                    <a:gd name="T27" fmla="*/ 4 h 274"/>
                    <a:gd name="T28" fmla="*/ 332 w 442"/>
                    <a:gd name="T29" fmla="*/ 0 h 274"/>
                    <a:gd name="T30" fmla="*/ 334 w 442"/>
                    <a:gd name="T31" fmla="*/ 27 h 274"/>
                    <a:gd name="T32" fmla="*/ 366 w 442"/>
                    <a:gd name="T33" fmla="*/ 29 h 274"/>
                    <a:gd name="T34" fmla="*/ 377 w 442"/>
                    <a:gd name="T35" fmla="*/ 57 h 274"/>
                    <a:gd name="T36" fmla="*/ 428 w 442"/>
                    <a:gd name="T37" fmla="*/ 85 h 274"/>
                    <a:gd name="T38" fmla="*/ 442 w 442"/>
                    <a:gd name="T39" fmla="*/ 117 h 274"/>
                    <a:gd name="T40" fmla="*/ 415 w 442"/>
                    <a:gd name="T41" fmla="*/ 136 h 274"/>
                    <a:gd name="T42" fmla="*/ 415 w 442"/>
                    <a:gd name="T43" fmla="*/ 140 h 274"/>
                    <a:gd name="T44" fmla="*/ 417 w 442"/>
                    <a:gd name="T45" fmla="*/ 149 h 274"/>
                    <a:gd name="T46" fmla="*/ 366 w 442"/>
                    <a:gd name="T47" fmla="*/ 163 h 274"/>
                    <a:gd name="T48" fmla="*/ 260 w 442"/>
                    <a:gd name="T49" fmla="*/ 255 h 274"/>
                    <a:gd name="T50" fmla="*/ 238 w 442"/>
                    <a:gd name="T51" fmla="*/ 248 h 274"/>
                    <a:gd name="T52" fmla="*/ 187 w 442"/>
                    <a:gd name="T53" fmla="*/ 274 h 274"/>
                    <a:gd name="T54" fmla="*/ 96 w 442"/>
                    <a:gd name="T55" fmla="*/ 234 h 274"/>
                    <a:gd name="T56" fmla="*/ 90 w 442"/>
                    <a:gd name="T57" fmla="*/ 214 h 274"/>
                    <a:gd name="T58" fmla="*/ 58 w 442"/>
                    <a:gd name="T59" fmla="*/ 259 h 274"/>
                    <a:gd name="T60" fmla="*/ 41 w 442"/>
                    <a:gd name="T61" fmla="*/ 236 h 274"/>
                    <a:gd name="T62" fmla="*/ 22 w 442"/>
                    <a:gd name="T63" fmla="*/ 246 h 274"/>
                    <a:gd name="T64" fmla="*/ 0 w 442"/>
                    <a:gd name="T65" fmla="*/ 225 h 274"/>
                    <a:gd name="T66" fmla="*/ 2 w 442"/>
                    <a:gd name="T67" fmla="*/ 2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2" h="274">
                      <a:moveTo>
                        <a:pt x="2" y="223"/>
                      </a:moveTo>
                      <a:lnTo>
                        <a:pt x="9" y="197"/>
                      </a:lnTo>
                      <a:lnTo>
                        <a:pt x="36" y="180"/>
                      </a:lnTo>
                      <a:lnTo>
                        <a:pt x="22" y="144"/>
                      </a:lnTo>
                      <a:lnTo>
                        <a:pt x="30" y="112"/>
                      </a:lnTo>
                      <a:lnTo>
                        <a:pt x="58" y="127"/>
                      </a:lnTo>
                      <a:lnTo>
                        <a:pt x="107" y="97"/>
                      </a:lnTo>
                      <a:lnTo>
                        <a:pt x="139" y="97"/>
                      </a:lnTo>
                      <a:lnTo>
                        <a:pt x="141" y="46"/>
                      </a:lnTo>
                      <a:lnTo>
                        <a:pt x="183" y="53"/>
                      </a:lnTo>
                      <a:lnTo>
                        <a:pt x="194" y="25"/>
                      </a:lnTo>
                      <a:lnTo>
                        <a:pt x="219" y="19"/>
                      </a:lnTo>
                      <a:lnTo>
                        <a:pt x="277" y="42"/>
                      </a:lnTo>
                      <a:lnTo>
                        <a:pt x="304" y="4"/>
                      </a:lnTo>
                      <a:lnTo>
                        <a:pt x="332" y="0"/>
                      </a:lnTo>
                      <a:lnTo>
                        <a:pt x="334" y="27"/>
                      </a:lnTo>
                      <a:lnTo>
                        <a:pt x="366" y="29"/>
                      </a:lnTo>
                      <a:lnTo>
                        <a:pt x="377" y="57"/>
                      </a:lnTo>
                      <a:lnTo>
                        <a:pt x="428" y="85"/>
                      </a:lnTo>
                      <a:lnTo>
                        <a:pt x="442" y="117"/>
                      </a:lnTo>
                      <a:lnTo>
                        <a:pt x="415" y="136"/>
                      </a:lnTo>
                      <a:lnTo>
                        <a:pt x="415" y="140"/>
                      </a:lnTo>
                      <a:lnTo>
                        <a:pt x="417" y="149"/>
                      </a:lnTo>
                      <a:lnTo>
                        <a:pt x="366" y="163"/>
                      </a:lnTo>
                      <a:lnTo>
                        <a:pt x="260" y="255"/>
                      </a:lnTo>
                      <a:lnTo>
                        <a:pt x="238" y="248"/>
                      </a:lnTo>
                      <a:lnTo>
                        <a:pt x="187" y="274"/>
                      </a:lnTo>
                      <a:lnTo>
                        <a:pt x="96" y="234"/>
                      </a:lnTo>
                      <a:lnTo>
                        <a:pt x="90" y="214"/>
                      </a:lnTo>
                      <a:lnTo>
                        <a:pt x="58" y="259"/>
                      </a:lnTo>
                      <a:lnTo>
                        <a:pt x="41" y="236"/>
                      </a:lnTo>
                      <a:lnTo>
                        <a:pt x="22" y="246"/>
                      </a:lnTo>
                      <a:lnTo>
                        <a:pt x="0" y="225"/>
                      </a:lnTo>
                      <a:lnTo>
                        <a:pt x="2" y="223"/>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31" name="66">
                  <a:extLst>
                    <a:ext uri="{FF2B5EF4-FFF2-40B4-BE49-F238E27FC236}">
                      <a16:creationId xmlns:a16="http://schemas.microsoft.com/office/drawing/2014/main" id="{3853872E-5FA2-4325-B770-8B44DBAB99CD}"/>
                    </a:ext>
                  </a:extLst>
                </p:cNvPr>
                <p:cNvSpPr>
                  <a:spLocks/>
                </p:cNvSpPr>
                <p:nvPr/>
              </p:nvSpPr>
              <p:spPr bwMode="gray">
                <a:xfrm>
                  <a:off x="6227932" y="5780366"/>
                  <a:ext cx="560134" cy="305136"/>
                </a:xfrm>
                <a:custGeom>
                  <a:avLst/>
                  <a:gdLst>
                    <a:gd name="T0" fmla="*/ 0 w 391"/>
                    <a:gd name="T1" fmla="*/ 151 h 213"/>
                    <a:gd name="T2" fmla="*/ 53 w 391"/>
                    <a:gd name="T3" fmla="*/ 168 h 213"/>
                    <a:gd name="T4" fmla="*/ 77 w 391"/>
                    <a:gd name="T5" fmla="*/ 207 h 213"/>
                    <a:gd name="T6" fmla="*/ 143 w 391"/>
                    <a:gd name="T7" fmla="*/ 175 h 213"/>
                    <a:gd name="T8" fmla="*/ 219 w 391"/>
                    <a:gd name="T9" fmla="*/ 213 h 213"/>
                    <a:gd name="T10" fmla="*/ 255 w 391"/>
                    <a:gd name="T11" fmla="*/ 211 h 213"/>
                    <a:gd name="T12" fmla="*/ 257 w 391"/>
                    <a:gd name="T13" fmla="*/ 187 h 213"/>
                    <a:gd name="T14" fmla="*/ 330 w 391"/>
                    <a:gd name="T15" fmla="*/ 162 h 213"/>
                    <a:gd name="T16" fmla="*/ 391 w 391"/>
                    <a:gd name="T17" fmla="*/ 177 h 213"/>
                    <a:gd name="T18" fmla="*/ 381 w 391"/>
                    <a:gd name="T19" fmla="*/ 149 h 213"/>
                    <a:gd name="T20" fmla="*/ 360 w 391"/>
                    <a:gd name="T21" fmla="*/ 139 h 213"/>
                    <a:gd name="T22" fmla="*/ 355 w 391"/>
                    <a:gd name="T23" fmla="*/ 30 h 213"/>
                    <a:gd name="T24" fmla="*/ 351 w 391"/>
                    <a:gd name="T25" fmla="*/ 28 h 213"/>
                    <a:gd name="T26" fmla="*/ 336 w 391"/>
                    <a:gd name="T27" fmla="*/ 20 h 213"/>
                    <a:gd name="T28" fmla="*/ 308 w 391"/>
                    <a:gd name="T29" fmla="*/ 0 h 213"/>
                    <a:gd name="T30" fmla="*/ 272 w 391"/>
                    <a:gd name="T31" fmla="*/ 32 h 213"/>
                    <a:gd name="T32" fmla="*/ 175 w 391"/>
                    <a:gd name="T33" fmla="*/ 26 h 213"/>
                    <a:gd name="T34" fmla="*/ 164 w 391"/>
                    <a:gd name="T35" fmla="*/ 30 h 213"/>
                    <a:gd name="T36" fmla="*/ 172 w 391"/>
                    <a:gd name="T37" fmla="*/ 66 h 213"/>
                    <a:gd name="T38" fmla="*/ 119 w 391"/>
                    <a:gd name="T39" fmla="*/ 92 h 213"/>
                    <a:gd name="T40" fmla="*/ 75 w 391"/>
                    <a:gd name="T41" fmla="*/ 92 h 213"/>
                    <a:gd name="T42" fmla="*/ 15 w 391"/>
                    <a:gd name="T43" fmla="*/ 124 h 213"/>
                    <a:gd name="T44" fmla="*/ 0 w 391"/>
                    <a:gd name="T45" fmla="*/ 15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1" h="213">
                      <a:moveTo>
                        <a:pt x="0" y="151"/>
                      </a:moveTo>
                      <a:lnTo>
                        <a:pt x="53" y="168"/>
                      </a:lnTo>
                      <a:lnTo>
                        <a:pt x="77" y="207"/>
                      </a:lnTo>
                      <a:lnTo>
                        <a:pt x="143" y="175"/>
                      </a:lnTo>
                      <a:lnTo>
                        <a:pt x="219" y="213"/>
                      </a:lnTo>
                      <a:lnTo>
                        <a:pt x="255" y="211"/>
                      </a:lnTo>
                      <a:lnTo>
                        <a:pt x="257" y="187"/>
                      </a:lnTo>
                      <a:lnTo>
                        <a:pt x="330" y="162"/>
                      </a:lnTo>
                      <a:lnTo>
                        <a:pt x="391" y="177"/>
                      </a:lnTo>
                      <a:lnTo>
                        <a:pt x="381" y="149"/>
                      </a:lnTo>
                      <a:lnTo>
                        <a:pt x="360" y="139"/>
                      </a:lnTo>
                      <a:lnTo>
                        <a:pt x="355" y="30"/>
                      </a:lnTo>
                      <a:lnTo>
                        <a:pt x="351" y="28"/>
                      </a:lnTo>
                      <a:lnTo>
                        <a:pt x="336" y="20"/>
                      </a:lnTo>
                      <a:lnTo>
                        <a:pt x="308" y="0"/>
                      </a:lnTo>
                      <a:lnTo>
                        <a:pt x="272" y="32"/>
                      </a:lnTo>
                      <a:lnTo>
                        <a:pt x="175" y="26"/>
                      </a:lnTo>
                      <a:lnTo>
                        <a:pt x="164" y="30"/>
                      </a:lnTo>
                      <a:lnTo>
                        <a:pt x="172" y="66"/>
                      </a:lnTo>
                      <a:lnTo>
                        <a:pt x="119" y="92"/>
                      </a:lnTo>
                      <a:lnTo>
                        <a:pt x="75" y="92"/>
                      </a:lnTo>
                      <a:lnTo>
                        <a:pt x="15" y="124"/>
                      </a:lnTo>
                      <a:lnTo>
                        <a:pt x="0" y="151"/>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grpSp>
        </p:grpSp>
        <p:grpSp>
          <p:nvGrpSpPr>
            <p:cNvPr id="155" name="Midi Pyrénées Languedoc Roussillon (N° Départements)">
              <a:extLst>
                <a:ext uri="{FF2B5EF4-FFF2-40B4-BE49-F238E27FC236}">
                  <a16:creationId xmlns:a16="http://schemas.microsoft.com/office/drawing/2014/main" id="{D5EB46F2-4BA3-4B9A-B11F-38C5001363D5}"/>
                </a:ext>
              </a:extLst>
            </p:cNvPr>
            <p:cNvGrpSpPr/>
            <p:nvPr/>
          </p:nvGrpSpPr>
          <p:grpSpPr>
            <a:xfrm>
              <a:off x="6289768" y="4655460"/>
              <a:ext cx="1758179" cy="1191173"/>
              <a:chOff x="5536312" y="4824845"/>
              <a:chExt cx="1758179" cy="1191173"/>
            </a:xfrm>
          </p:grpSpPr>
          <p:grpSp>
            <p:nvGrpSpPr>
              <p:cNvPr id="310" name="Midi Pyrénées (N° Départements)">
                <a:extLst>
                  <a:ext uri="{FF2B5EF4-FFF2-40B4-BE49-F238E27FC236}">
                    <a16:creationId xmlns:a16="http://schemas.microsoft.com/office/drawing/2014/main" id="{1849AE38-FB8E-4B4E-944E-0DD1F0F8CDAE}"/>
                  </a:ext>
                </a:extLst>
              </p:cNvPr>
              <p:cNvGrpSpPr/>
              <p:nvPr/>
            </p:nvGrpSpPr>
            <p:grpSpPr>
              <a:xfrm>
                <a:off x="5536312" y="4824845"/>
                <a:ext cx="1178691" cy="1021414"/>
                <a:chOff x="5536312" y="4824845"/>
                <a:chExt cx="1178691" cy="1021414"/>
              </a:xfrm>
            </p:grpSpPr>
            <p:sp>
              <p:nvSpPr>
                <p:cNvPr id="317" name="31">
                  <a:extLst>
                    <a:ext uri="{FF2B5EF4-FFF2-40B4-BE49-F238E27FC236}">
                      <a16:creationId xmlns:a16="http://schemas.microsoft.com/office/drawing/2014/main" id="{46113267-7A11-4704-AF63-97766A9F4980}"/>
                    </a:ext>
                  </a:extLst>
                </p:cNvPr>
                <p:cNvSpPr txBox="1"/>
                <p:nvPr/>
              </p:nvSpPr>
              <p:spPr>
                <a:xfrm>
                  <a:off x="6022788" y="5369203"/>
                  <a:ext cx="184830" cy="166169"/>
                </a:xfrm>
                <a:prstGeom prst="rect">
                  <a:avLst/>
                </a:prstGeom>
                <a:noFill/>
              </p:spPr>
              <p:txBody>
                <a:bodyPr wrap="none" lIns="0" tIns="0" rIns="0" bIns="0" rtlCol="0">
                  <a:noAutofit/>
                </a:bodyPr>
                <a:lstStyle/>
                <a:p>
                  <a:r>
                    <a:rPr lang="fr-FR" sz="800">
                      <a:solidFill>
                        <a:srgbClr val="FFFFFF"/>
                      </a:solidFill>
                      <a:latin typeface="Tahoma"/>
                    </a:rPr>
                    <a:t>31</a:t>
                  </a:r>
                </a:p>
              </p:txBody>
            </p:sp>
            <p:sp>
              <p:nvSpPr>
                <p:cNvPr id="318" name="09">
                  <a:extLst>
                    <a:ext uri="{FF2B5EF4-FFF2-40B4-BE49-F238E27FC236}">
                      <a16:creationId xmlns:a16="http://schemas.microsoft.com/office/drawing/2014/main" id="{CC83EE42-4C78-4020-A513-12649C721424}"/>
                    </a:ext>
                  </a:extLst>
                </p:cNvPr>
                <p:cNvSpPr txBox="1"/>
                <p:nvPr/>
              </p:nvSpPr>
              <p:spPr>
                <a:xfrm>
                  <a:off x="6060264" y="5680090"/>
                  <a:ext cx="184830" cy="166169"/>
                </a:xfrm>
                <a:prstGeom prst="rect">
                  <a:avLst/>
                </a:prstGeom>
                <a:noFill/>
              </p:spPr>
              <p:txBody>
                <a:bodyPr wrap="none" lIns="0" tIns="0" rIns="0" bIns="0" rtlCol="0">
                  <a:noAutofit/>
                </a:bodyPr>
                <a:lstStyle/>
                <a:p>
                  <a:r>
                    <a:rPr lang="fr-FR" sz="800">
                      <a:solidFill>
                        <a:srgbClr val="FFFFFF"/>
                      </a:solidFill>
                      <a:latin typeface="Tahoma"/>
                    </a:rPr>
                    <a:t>09</a:t>
                  </a:r>
                </a:p>
              </p:txBody>
            </p:sp>
            <p:sp>
              <p:nvSpPr>
                <p:cNvPr id="319" name="12">
                  <a:extLst>
                    <a:ext uri="{FF2B5EF4-FFF2-40B4-BE49-F238E27FC236}">
                      <a16:creationId xmlns:a16="http://schemas.microsoft.com/office/drawing/2014/main" id="{37305A5C-6B13-4592-AC2F-18AE5E799A14}"/>
                    </a:ext>
                  </a:extLst>
                </p:cNvPr>
                <p:cNvSpPr txBox="1"/>
                <p:nvPr/>
              </p:nvSpPr>
              <p:spPr>
                <a:xfrm>
                  <a:off x="6530173" y="4955211"/>
                  <a:ext cx="184830" cy="166169"/>
                </a:xfrm>
                <a:prstGeom prst="rect">
                  <a:avLst/>
                </a:prstGeom>
                <a:noFill/>
              </p:spPr>
              <p:txBody>
                <a:bodyPr wrap="none" lIns="0" tIns="0" rIns="0" bIns="0" rtlCol="0">
                  <a:noAutofit/>
                </a:bodyPr>
                <a:lstStyle/>
                <a:p>
                  <a:r>
                    <a:rPr lang="fr-FR" sz="800">
                      <a:solidFill>
                        <a:srgbClr val="FFFFFF"/>
                      </a:solidFill>
                      <a:latin typeface="Tahoma"/>
                    </a:rPr>
                    <a:t>12</a:t>
                  </a:r>
                </a:p>
              </p:txBody>
            </p:sp>
            <p:sp>
              <p:nvSpPr>
                <p:cNvPr id="320" name="46">
                  <a:extLst>
                    <a:ext uri="{FF2B5EF4-FFF2-40B4-BE49-F238E27FC236}">
                      <a16:creationId xmlns:a16="http://schemas.microsoft.com/office/drawing/2014/main" id="{24F6715F-4575-446B-A8A6-BA92383930E8}"/>
                    </a:ext>
                  </a:extLst>
                </p:cNvPr>
                <p:cNvSpPr txBox="1"/>
                <p:nvPr/>
              </p:nvSpPr>
              <p:spPr>
                <a:xfrm>
                  <a:off x="6108313" y="4824845"/>
                  <a:ext cx="184830" cy="166169"/>
                </a:xfrm>
                <a:prstGeom prst="rect">
                  <a:avLst/>
                </a:prstGeom>
                <a:noFill/>
              </p:spPr>
              <p:txBody>
                <a:bodyPr wrap="none" lIns="0" tIns="0" rIns="0" bIns="0" rtlCol="0">
                  <a:noAutofit/>
                </a:bodyPr>
                <a:lstStyle/>
                <a:p>
                  <a:r>
                    <a:rPr lang="fr-FR" sz="800">
                      <a:solidFill>
                        <a:srgbClr val="FFFFFF"/>
                      </a:solidFill>
                      <a:latin typeface="Tahoma"/>
                    </a:rPr>
                    <a:t>46</a:t>
                  </a:r>
                </a:p>
              </p:txBody>
            </p:sp>
            <p:sp>
              <p:nvSpPr>
                <p:cNvPr id="321" name="81">
                  <a:extLst>
                    <a:ext uri="{FF2B5EF4-FFF2-40B4-BE49-F238E27FC236}">
                      <a16:creationId xmlns:a16="http://schemas.microsoft.com/office/drawing/2014/main" id="{E6E552B3-D34B-429C-861E-987C347850D7}"/>
                    </a:ext>
                  </a:extLst>
                </p:cNvPr>
                <p:cNvSpPr txBox="1"/>
                <p:nvPr/>
              </p:nvSpPr>
              <p:spPr>
                <a:xfrm>
                  <a:off x="6318154" y="5215941"/>
                  <a:ext cx="184830" cy="166169"/>
                </a:xfrm>
                <a:prstGeom prst="rect">
                  <a:avLst/>
                </a:prstGeom>
                <a:noFill/>
              </p:spPr>
              <p:txBody>
                <a:bodyPr wrap="none" lIns="0" tIns="0" rIns="0" bIns="0" rtlCol="0">
                  <a:noAutofit/>
                </a:bodyPr>
                <a:lstStyle/>
                <a:p>
                  <a:r>
                    <a:rPr lang="fr-FR" sz="800">
                      <a:solidFill>
                        <a:srgbClr val="FFFFFF"/>
                      </a:solidFill>
                      <a:latin typeface="Tahoma"/>
                    </a:rPr>
                    <a:t>81</a:t>
                  </a:r>
                </a:p>
              </p:txBody>
            </p:sp>
            <p:sp>
              <p:nvSpPr>
                <p:cNvPr id="322" name="65">
                  <a:extLst>
                    <a:ext uri="{FF2B5EF4-FFF2-40B4-BE49-F238E27FC236}">
                      <a16:creationId xmlns:a16="http://schemas.microsoft.com/office/drawing/2014/main" id="{1C58FB82-896E-440E-ADBC-3C9FF282EC1C}"/>
                    </a:ext>
                  </a:extLst>
                </p:cNvPr>
                <p:cNvSpPr txBox="1"/>
                <p:nvPr/>
              </p:nvSpPr>
              <p:spPr>
                <a:xfrm>
                  <a:off x="5536312" y="5608948"/>
                  <a:ext cx="184830" cy="166169"/>
                </a:xfrm>
                <a:prstGeom prst="rect">
                  <a:avLst/>
                </a:prstGeom>
                <a:noFill/>
              </p:spPr>
              <p:txBody>
                <a:bodyPr wrap="none" lIns="0" tIns="0" rIns="0" bIns="0" rtlCol="0">
                  <a:noAutofit/>
                </a:bodyPr>
                <a:lstStyle/>
                <a:p>
                  <a:r>
                    <a:rPr lang="fr-FR" sz="800">
                      <a:solidFill>
                        <a:srgbClr val="FFFFFF"/>
                      </a:solidFill>
                      <a:latin typeface="Tahoma"/>
                    </a:rPr>
                    <a:t>65</a:t>
                  </a:r>
                </a:p>
              </p:txBody>
            </p:sp>
            <p:sp>
              <p:nvSpPr>
                <p:cNvPr id="323" name="32">
                  <a:extLst>
                    <a:ext uri="{FF2B5EF4-FFF2-40B4-BE49-F238E27FC236}">
                      <a16:creationId xmlns:a16="http://schemas.microsoft.com/office/drawing/2014/main" id="{330FED47-22AE-46E3-B7C8-276EEFE12105}"/>
                    </a:ext>
                  </a:extLst>
                </p:cNvPr>
                <p:cNvSpPr txBox="1"/>
                <p:nvPr/>
              </p:nvSpPr>
              <p:spPr>
                <a:xfrm>
                  <a:off x="5680677" y="5274679"/>
                  <a:ext cx="184830" cy="166169"/>
                </a:xfrm>
                <a:prstGeom prst="rect">
                  <a:avLst/>
                </a:prstGeom>
                <a:noFill/>
              </p:spPr>
              <p:txBody>
                <a:bodyPr wrap="none" lIns="0" tIns="0" rIns="0" bIns="0" rtlCol="0">
                  <a:noAutofit/>
                </a:bodyPr>
                <a:lstStyle/>
                <a:p>
                  <a:r>
                    <a:rPr lang="fr-FR" sz="800">
                      <a:solidFill>
                        <a:srgbClr val="FFFFFF"/>
                      </a:solidFill>
                      <a:latin typeface="Tahoma"/>
                    </a:rPr>
                    <a:t>32</a:t>
                  </a:r>
                </a:p>
              </p:txBody>
            </p:sp>
            <p:sp>
              <p:nvSpPr>
                <p:cNvPr id="324" name="82">
                  <a:extLst>
                    <a:ext uri="{FF2B5EF4-FFF2-40B4-BE49-F238E27FC236}">
                      <a16:creationId xmlns:a16="http://schemas.microsoft.com/office/drawing/2014/main" id="{C71177E3-96F2-4087-B5C1-6ECD47390B2C}"/>
                    </a:ext>
                  </a:extLst>
                </p:cNvPr>
                <p:cNvSpPr txBox="1"/>
                <p:nvPr/>
              </p:nvSpPr>
              <p:spPr>
                <a:xfrm>
                  <a:off x="5985798" y="5082709"/>
                  <a:ext cx="184830" cy="166169"/>
                </a:xfrm>
                <a:prstGeom prst="rect">
                  <a:avLst/>
                </a:prstGeom>
                <a:noFill/>
              </p:spPr>
              <p:txBody>
                <a:bodyPr wrap="none" lIns="0" tIns="0" rIns="0" bIns="0" rtlCol="0">
                  <a:noAutofit/>
                </a:bodyPr>
                <a:lstStyle/>
                <a:p>
                  <a:r>
                    <a:rPr lang="fr-FR" sz="800">
                      <a:solidFill>
                        <a:srgbClr val="FFFFFF"/>
                      </a:solidFill>
                      <a:latin typeface="Tahoma"/>
                    </a:rPr>
                    <a:t>82</a:t>
                  </a:r>
                </a:p>
              </p:txBody>
            </p:sp>
          </p:grpSp>
          <p:grpSp>
            <p:nvGrpSpPr>
              <p:cNvPr id="311" name="Languedoc Roussillon (N° Départements)">
                <a:extLst>
                  <a:ext uri="{FF2B5EF4-FFF2-40B4-BE49-F238E27FC236}">
                    <a16:creationId xmlns:a16="http://schemas.microsoft.com/office/drawing/2014/main" id="{81BE417A-1C22-4CE8-8456-D1F0A6F44B47}"/>
                  </a:ext>
                </a:extLst>
              </p:cNvPr>
              <p:cNvGrpSpPr/>
              <p:nvPr/>
            </p:nvGrpSpPr>
            <p:grpSpPr>
              <a:xfrm>
                <a:off x="6423462" y="4881850"/>
                <a:ext cx="871029" cy="1134168"/>
                <a:chOff x="6423462" y="4881850"/>
                <a:chExt cx="871029" cy="1134168"/>
              </a:xfrm>
            </p:grpSpPr>
            <p:sp>
              <p:nvSpPr>
                <p:cNvPr id="312" name="48">
                  <a:extLst>
                    <a:ext uri="{FF2B5EF4-FFF2-40B4-BE49-F238E27FC236}">
                      <a16:creationId xmlns:a16="http://schemas.microsoft.com/office/drawing/2014/main" id="{4B5025B8-F35F-4006-9BB6-ED18E032B3D0}"/>
                    </a:ext>
                  </a:extLst>
                </p:cNvPr>
                <p:cNvSpPr txBox="1"/>
                <p:nvPr/>
              </p:nvSpPr>
              <p:spPr>
                <a:xfrm>
                  <a:off x="6833175" y="4881850"/>
                  <a:ext cx="184830" cy="166169"/>
                </a:xfrm>
                <a:prstGeom prst="rect">
                  <a:avLst/>
                </a:prstGeom>
                <a:noFill/>
              </p:spPr>
              <p:txBody>
                <a:bodyPr wrap="none" lIns="0" tIns="0" rIns="0" bIns="0" rtlCol="0">
                  <a:noAutofit/>
                </a:bodyPr>
                <a:lstStyle/>
                <a:p>
                  <a:r>
                    <a:rPr lang="fr-FR" sz="800">
                      <a:solidFill>
                        <a:srgbClr val="FFFFFF"/>
                      </a:solidFill>
                      <a:latin typeface="Tahoma"/>
                    </a:rPr>
                    <a:t>48</a:t>
                  </a:r>
                </a:p>
              </p:txBody>
            </p:sp>
            <p:sp>
              <p:nvSpPr>
                <p:cNvPr id="313" name="34">
                  <a:extLst>
                    <a:ext uri="{FF2B5EF4-FFF2-40B4-BE49-F238E27FC236}">
                      <a16:creationId xmlns:a16="http://schemas.microsoft.com/office/drawing/2014/main" id="{5B4212C8-9CB7-4019-8565-F46977DADBD3}"/>
                    </a:ext>
                  </a:extLst>
                </p:cNvPr>
                <p:cNvSpPr txBox="1"/>
                <p:nvPr/>
              </p:nvSpPr>
              <p:spPr>
                <a:xfrm>
                  <a:off x="6765846" y="5367520"/>
                  <a:ext cx="184830" cy="166169"/>
                </a:xfrm>
                <a:prstGeom prst="rect">
                  <a:avLst/>
                </a:prstGeom>
                <a:noFill/>
              </p:spPr>
              <p:txBody>
                <a:bodyPr wrap="none" lIns="0" tIns="0" rIns="0" bIns="0" rtlCol="0">
                  <a:noAutofit/>
                </a:bodyPr>
                <a:lstStyle/>
                <a:p>
                  <a:r>
                    <a:rPr lang="fr-FR" sz="800">
                      <a:solidFill>
                        <a:srgbClr val="FFFFFF"/>
                      </a:solidFill>
                      <a:latin typeface="Tahoma"/>
                    </a:rPr>
                    <a:t>34</a:t>
                  </a:r>
                </a:p>
              </p:txBody>
            </p:sp>
            <p:sp>
              <p:nvSpPr>
                <p:cNvPr id="314" name="30">
                  <a:extLst>
                    <a:ext uri="{FF2B5EF4-FFF2-40B4-BE49-F238E27FC236}">
                      <a16:creationId xmlns:a16="http://schemas.microsoft.com/office/drawing/2014/main" id="{156A9F0F-1EBE-4612-9469-DFD5EBC7BBC3}"/>
                    </a:ext>
                  </a:extLst>
                </p:cNvPr>
                <p:cNvSpPr txBox="1"/>
                <p:nvPr/>
              </p:nvSpPr>
              <p:spPr>
                <a:xfrm>
                  <a:off x="7109661" y="5108730"/>
                  <a:ext cx="184830" cy="166169"/>
                </a:xfrm>
                <a:prstGeom prst="rect">
                  <a:avLst/>
                </a:prstGeom>
                <a:noFill/>
              </p:spPr>
              <p:txBody>
                <a:bodyPr wrap="none" lIns="0" tIns="0" rIns="0" bIns="0" rtlCol="0">
                  <a:noAutofit/>
                </a:bodyPr>
                <a:lstStyle/>
                <a:p>
                  <a:r>
                    <a:rPr lang="fr-FR" sz="800">
                      <a:solidFill>
                        <a:srgbClr val="503078"/>
                      </a:solidFill>
                      <a:latin typeface="Tahoma"/>
                    </a:rPr>
                    <a:t>30</a:t>
                  </a:r>
                </a:p>
              </p:txBody>
            </p:sp>
            <p:sp>
              <p:nvSpPr>
                <p:cNvPr id="315" name="11">
                  <a:extLst>
                    <a:ext uri="{FF2B5EF4-FFF2-40B4-BE49-F238E27FC236}">
                      <a16:creationId xmlns:a16="http://schemas.microsoft.com/office/drawing/2014/main" id="{126653B0-CA35-418D-A8A0-14F4AD8AA6F8}"/>
                    </a:ext>
                  </a:extLst>
                </p:cNvPr>
                <p:cNvSpPr txBox="1"/>
                <p:nvPr/>
              </p:nvSpPr>
              <p:spPr>
                <a:xfrm>
                  <a:off x="6423462" y="5614197"/>
                  <a:ext cx="184830" cy="166169"/>
                </a:xfrm>
                <a:prstGeom prst="rect">
                  <a:avLst/>
                </a:prstGeom>
                <a:noFill/>
              </p:spPr>
              <p:txBody>
                <a:bodyPr wrap="none" lIns="0" tIns="0" rIns="0" bIns="0" rtlCol="0">
                  <a:noAutofit/>
                </a:bodyPr>
                <a:lstStyle/>
                <a:p>
                  <a:r>
                    <a:rPr lang="fr-FR" sz="800">
                      <a:solidFill>
                        <a:srgbClr val="503078"/>
                      </a:solidFill>
                      <a:latin typeface="Tahoma"/>
                    </a:rPr>
                    <a:t>11</a:t>
                  </a:r>
                </a:p>
              </p:txBody>
            </p:sp>
            <p:sp>
              <p:nvSpPr>
                <p:cNvPr id="316" name="66">
                  <a:extLst>
                    <a:ext uri="{FF2B5EF4-FFF2-40B4-BE49-F238E27FC236}">
                      <a16:creationId xmlns:a16="http://schemas.microsoft.com/office/drawing/2014/main" id="{5613210A-4C68-49F0-9D24-51F12FD84F1F}"/>
                    </a:ext>
                  </a:extLst>
                </p:cNvPr>
                <p:cNvSpPr txBox="1"/>
                <p:nvPr/>
              </p:nvSpPr>
              <p:spPr>
                <a:xfrm>
                  <a:off x="6481284" y="5849849"/>
                  <a:ext cx="184830" cy="166169"/>
                </a:xfrm>
                <a:prstGeom prst="rect">
                  <a:avLst/>
                </a:prstGeom>
                <a:noFill/>
              </p:spPr>
              <p:txBody>
                <a:bodyPr wrap="none" lIns="0" tIns="0" rIns="0" bIns="0" rtlCol="0">
                  <a:noAutofit/>
                </a:bodyPr>
                <a:lstStyle/>
                <a:p>
                  <a:r>
                    <a:rPr lang="fr-FR" sz="800">
                      <a:solidFill>
                        <a:srgbClr val="503078"/>
                      </a:solidFill>
                      <a:latin typeface="Tahoma"/>
                    </a:rPr>
                    <a:t>66</a:t>
                  </a:r>
                </a:p>
              </p:txBody>
            </p:sp>
          </p:grpSp>
        </p:grpSp>
        <p:grpSp>
          <p:nvGrpSpPr>
            <p:cNvPr id="156" name="Ile de France (Formes)">
              <a:extLst>
                <a:ext uri="{FF2B5EF4-FFF2-40B4-BE49-F238E27FC236}">
                  <a16:creationId xmlns:a16="http://schemas.microsoft.com/office/drawing/2014/main" id="{5A22F3D0-41E6-4074-81A5-D122E51E28FF}"/>
                </a:ext>
              </a:extLst>
            </p:cNvPr>
            <p:cNvGrpSpPr/>
            <p:nvPr/>
          </p:nvGrpSpPr>
          <p:grpSpPr>
            <a:xfrm>
              <a:off x="6954168" y="2294592"/>
              <a:ext cx="724878" cy="584488"/>
              <a:chOff x="6200712" y="2463977"/>
              <a:chExt cx="724878" cy="584488"/>
            </a:xfrm>
            <a:solidFill>
              <a:schemeClr val="tx2">
                <a:lumMod val="60000"/>
                <a:lumOff val="40000"/>
              </a:schemeClr>
            </a:solidFill>
          </p:grpSpPr>
          <p:sp>
            <p:nvSpPr>
              <p:cNvPr id="302" name="93">
                <a:extLst>
                  <a:ext uri="{FF2B5EF4-FFF2-40B4-BE49-F238E27FC236}">
                    <a16:creationId xmlns:a16="http://schemas.microsoft.com/office/drawing/2014/main" id="{E838C189-92FF-4799-A374-D4A47128A558}"/>
                  </a:ext>
                </a:extLst>
              </p:cNvPr>
              <p:cNvSpPr>
                <a:spLocks/>
              </p:cNvSpPr>
              <p:nvPr/>
            </p:nvSpPr>
            <p:spPr bwMode="gray">
              <a:xfrm>
                <a:off x="6441383" y="2615829"/>
                <a:ext cx="61600" cy="107443"/>
              </a:xfrm>
              <a:custGeom>
                <a:avLst/>
                <a:gdLst>
                  <a:gd name="T0" fmla="*/ 0 w 43"/>
                  <a:gd name="T1" fmla="*/ 43 h 75"/>
                  <a:gd name="T2" fmla="*/ 17 w 43"/>
                  <a:gd name="T3" fmla="*/ 64 h 75"/>
                  <a:gd name="T4" fmla="*/ 40 w 43"/>
                  <a:gd name="T5" fmla="*/ 75 h 75"/>
                  <a:gd name="T6" fmla="*/ 38 w 43"/>
                  <a:gd name="T7" fmla="*/ 73 h 75"/>
                  <a:gd name="T8" fmla="*/ 40 w 43"/>
                  <a:gd name="T9" fmla="*/ 69 h 75"/>
                  <a:gd name="T10" fmla="*/ 43 w 43"/>
                  <a:gd name="T11" fmla="*/ 49 h 75"/>
                  <a:gd name="T12" fmla="*/ 19 w 43"/>
                  <a:gd name="T13" fmla="*/ 37 h 75"/>
                  <a:gd name="T14" fmla="*/ 17 w 43"/>
                  <a:gd name="T15" fmla="*/ 34 h 75"/>
                  <a:gd name="T16" fmla="*/ 40 w 43"/>
                  <a:gd name="T17" fmla="*/ 20 h 75"/>
                  <a:gd name="T18" fmla="*/ 34 w 43"/>
                  <a:gd name="T19" fmla="*/ 0 h 75"/>
                  <a:gd name="T20" fmla="*/ 13 w 43"/>
                  <a:gd name="T21" fmla="*/ 15 h 75"/>
                  <a:gd name="T22" fmla="*/ 0 w 43"/>
                  <a:gd name="T23" fmla="*/ 41 h 75"/>
                  <a:gd name="T24" fmla="*/ 0 w 43"/>
                  <a:gd name="T25" fmla="*/ 4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5">
                    <a:moveTo>
                      <a:pt x="0" y="43"/>
                    </a:moveTo>
                    <a:lnTo>
                      <a:pt x="17" y="64"/>
                    </a:lnTo>
                    <a:lnTo>
                      <a:pt x="40" y="75"/>
                    </a:lnTo>
                    <a:lnTo>
                      <a:pt x="38" y="73"/>
                    </a:lnTo>
                    <a:lnTo>
                      <a:pt x="40" y="69"/>
                    </a:lnTo>
                    <a:lnTo>
                      <a:pt x="43" y="49"/>
                    </a:lnTo>
                    <a:lnTo>
                      <a:pt x="19" y="37"/>
                    </a:lnTo>
                    <a:lnTo>
                      <a:pt x="17" y="34"/>
                    </a:lnTo>
                    <a:lnTo>
                      <a:pt x="40" y="20"/>
                    </a:lnTo>
                    <a:lnTo>
                      <a:pt x="34" y="0"/>
                    </a:lnTo>
                    <a:lnTo>
                      <a:pt x="13" y="15"/>
                    </a:lnTo>
                    <a:lnTo>
                      <a:pt x="0" y="41"/>
                    </a:lnTo>
                    <a:lnTo>
                      <a:pt x="0" y="43"/>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03" name="78">
                <a:extLst>
                  <a:ext uri="{FF2B5EF4-FFF2-40B4-BE49-F238E27FC236}">
                    <a16:creationId xmlns:a16="http://schemas.microsoft.com/office/drawing/2014/main" id="{65154DBC-94CD-4D73-9824-33A6021A8A8A}"/>
                  </a:ext>
                </a:extLst>
              </p:cNvPr>
              <p:cNvSpPr>
                <a:spLocks/>
              </p:cNvSpPr>
              <p:nvPr/>
            </p:nvSpPr>
            <p:spPr bwMode="gray">
              <a:xfrm>
                <a:off x="6200712" y="2542769"/>
                <a:ext cx="265025" cy="329490"/>
              </a:xfrm>
              <a:custGeom>
                <a:avLst/>
                <a:gdLst>
                  <a:gd name="T0" fmla="*/ 0 w 185"/>
                  <a:gd name="T1" fmla="*/ 9 h 230"/>
                  <a:gd name="T2" fmla="*/ 41 w 185"/>
                  <a:gd name="T3" fmla="*/ 0 h 230"/>
                  <a:gd name="T4" fmla="*/ 41 w 185"/>
                  <a:gd name="T5" fmla="*/ 5 h 230"/>
                  <a:gd name="T6" fmla="*/ 75 w 185"/>
                  <a:gd name="T7" fmla="*/ 9 h 230"/>
                  <a:gd name="T8" fmla="*/ 77 w 185"/>
                  <a:gd name="T9" fmla="*/ 9 h 230"/>
                  <a:gd name="T10" fmla="*/ 81 w 185"/>
                  <a:gd name="T11" fmla="*/ 11 h 230"/>
                  <a:gd name="T12" fmla="*/ 83 w 185"/>
                  <a:gd name="T13" fmla="*/ 11 h 230"/>
                  <a:gd name="T14" fmla="*/ 140 w 185"/>
                  <a:gd name="T15" fmla="*/ 34 h 230"/>
                  <a:gd name="T16" fmla="*/ 162 w 185"/>
                  <a:gd name="T17" fmla="*/ 28 h 230"/>
                  <a:gd name="T18" fmla="*/ 181 w 185"/>
                  <a:gd name="T19" fmla="*/ 66 h 230"/>
                  <a:gd name="T20" fmla="*/ 168 w 185"/>
                  <a:gd name="T21" fmla="*/ 92 h 230"/>
                  <a:gd name="T22" fmla="*/ 168 w 185"/>
                  <a:gd name="T23" fmla="*/ 94 h 230"/>
                  <a:gd name="T24" fmla="*/ 185 w 185"/>
                  <a:gd name="T25" fmla="*/ 115 h 230"/>
                  <a:gd name="T26" fmla="*/ 132 w 185"/>
                  <a:gd name="T27" fmla="*/ 158 h 230"/>
                  <a:gd name="T28" fmla="*/ 145 w 185"/>
                  <a:gd name="T29" fmla="*/ 173 h 230"/>
                  <a:gd name="T30" fmla="*/ 134 w 185"/>
                  <a:gd name="T31" fmla="*/ 194 h 230"/>
                  <a:gd name="T32" fmla="*/ 115 w 185"/>
                  <a:gd name="T33" fmla="*/ 192 h 230"/>
                  <a:gd name="T34" fmla="*/ 126 w 185"/>
                  <a:gd name="T35" fmla="*/ 202 h 230"/>
                  <a:gd name="T36" fmla="*/ 109 w 185"/>
                  <a:gd name="T37" fmla="*/ 226 h 230"/>
                  <a:gd name="T38" fmla="*/ 111 w 185"/>
                  <a:gd name="T39" fmla="*/ 230 h 230"/>
                  <a:gd name="T40" fmla="*/ 83 w 185"/>
                  <a:gd name="T41" fmla="*/ 226 h 230"/>
                  <a:gd name="T42" fmla="*/ 77 w 185"/>
                  <a:gd name="T43" fmla="*/ 194 h 230"/>
                  <a:gd name="T44" fmla="*/ 34 w 185"/>
                  <a:gd name="T45" fmla="*/ 154 h 230"/>
                  <a:gd name="T46" fmla="*/ 34 w 185"/>
                  <a:gd name="T47" fmla="*/ 90 h 230"/>
                  <a:gd name="T48" fmla="*/ 13 w 185"/>
                  <a:gd name="T49" fmla="*/ 51 h 230"/>
                  <a:gd name="T50" fmla="*/ 0 w 185"/>
                  <a:gd name="T51" fmla="*/ 11 h 230"/>
                  <a:gd name="T52" fmla="*/ 0 w 185"/>
                  <a:gd name="T53" fmla="*/ 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5" h="230">
                    <a:moveTo>
                      <a:pt x="0" y="9"/>
                    </a:moveTo>
                    <a:lnTo>
                      <a:pt x="41" y="0"/>
                    </a:lnTo>
                    <a:lnTo>
                      <a:pt x="41" y="5"/>
                    </a:lnTo>
                    <a:lnTo>
                      <a:pt x="75" y="9"/>
                    </a:lnTo>
                    <a:lnTo>
                      <a:pt x="77" y="9"/>
                    </a:lnTo>
                    <a:lnTo>
                      <a:pt x="81" y="11"/>
                    </a:lnTo>
                    <a:lnTo>
                      <a:pt x="83" y="11"/>
                    </a:lnTo>
                    <a:lnTo>
                      <a:pt x="140" y="34"/>
                    </a:lnTo>
                    <a:lnTo>
                      <a:pt x="162" y="28"/>
                    </a:lnTo>
                    <a:lnTo>
                      <a:pt x="181" y="66"/>
                    </a:lnTo>
                    <a:lnTo>
                      <a:pt x="168" y="92"/>
                    </a:lnTo>
                    <a:lnTo>
                      <a:pt x="168" y="94"/>
                    </a:lnTo>
                    <a:lnTo>
                      <a:pt x="185" y="115"/>
                    </a:lnTo>
                    <a:lnTo>
                      <a:pt x="132" y="158"/>
                    </a:lnTo>
                    <a:lnTo>
                      <a:pt x="145" y="173"/>
                    </a:lnTo>
                    <a:lnTo>
                      <a:pt x="134" y="194"/>
                    </a:lnTo>
                    <a:lnTo>
                      <a:pt x="115" y="192"/>
                    </a:lnTo>
                    <a:lnTo>
                      <a:pt x="126" y="202"/>
                    </a:lnTo>
                    <a:lnTo>
                      <a:pt x="109" y="226"/>
                    </a:lnTo>
                    <a:lnTo>
                      <a:pt x="111" y="230"/>
                    </a:lnTo>
                    <a:lnTo>
                      <a:pt x="83" y="226"/>
                    </a:lnTo>
                    <a:lnTo>
                      <a:pt x="77" y="194"/>
                    </a:lnTo>
                    <a:lnTo>
                      <a:pt x="34" y="154"/>
                    </a:lnTo>
                    <a:lnTo>
                      <a:pt x="34" y="90"/>
                    </a:lnTo>
                    <a:lnTo>
                      <a:pt x="13" y="51"/>
                    </a:lnTo>
                    <a:lnTo>
                      <a:pt x="0" y="11"/>
                    </a:lnTo>
                    <a:lnTo>
                      <a:pt x="0" y="9"/>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04" name="91">
                <a:extLst>
                  <a:ext uri="{FF2B5EF4-FFF2-40B4-BE49-F238E27FC236}">
                    <a16:creationId xmlns:a16="http://schemas.microsoft.com/office/drawing/2014/main" id="{958DEB40-EF6A-4A40-A691-DACD53390371}"/>
                  </a:ext>
                </a:extLst>
              </p:cNvPr>
              <p:cNvSpPr>
                <a:spLocks/>
              </p:cNvSpPr>
              <p:nvPr/>
            </p:nvSpPr>
            <p:spPr bwMode="gray">
              <a:xfrm>
                <a:off x="6356862" y="2702439"/>
                <a:ext cx="230643" cy="261503"/>
              </a:xfrm>
              <a:custGeom>
                <a:avLst/>
                <a:gdLst>
                  <a:gd name="T0" fmla="*/ 2 w 161"/>
                  <a:gd name="T1" fmla="*/ 115 h 179"/>
                  <a:gd name="T2" fmla="*/ 17 w 161"/>
                  <a:gd name="T3" fmla="*/ 179 h 179"/>
                  <a:gd name="T4" fmla="*/ 70 w 161"/>
                  <a:gd name="T5" fmla="*/ 160 h 179"/>
                  <a:gd name="T6" fmla="*/ 78 w 161"/>
                  <a:gd name="T7" fmla="*/ 175 h 179"/>
                  <a:gd name="T8" fmla="*/ 116 w 161"/>
                  <a:gd name="T9" fmla="*/ 168 h 179"/>
                  <a:gd name="T10" fmla="*/ 116 w 161"/>
                  <a:gd name="T11" fmla="*/ 162 h 179"/>
                  <a:gd name="T12" fmla="*/ 150 w 161"/>
                  <a:gd name="T13" fmla="*/ 136 h 179"/>
                  <a:gd name="T14" fmla="*/ 142 w 161"/>
                  <a:gd name="T15" fmla="*/ 96 h 179"/>
                  <a:gd name="T16" fmla="*/ 161 w 161"/>
                  <a:gd name="T17" fmla="*/ 32 h 179"/>
                  <a:gd name="T18" fmla="*/ 99 w 161"/>
                  <a:gd name="T19" fmla="*/ 11 h 179"/>
                  <a:gd name="T20" fmla="*/ 76 w 161"/>
                  <a:gd name="T21" fmla="*/ 0 h 179"/>
                  <a:gd name="T22" fmla="*/ 23 w 161"/>
                  <a:gd name="T23" fmla="*/ 43 h 179"/>
                  <a:gd name="T24" fmla="*/ 36 w 161"/>
                  <a:gd name="T25" fmla="*/ 58 h 179"/>
                  <a:gd name="T26" fmla="*/ 25 w 161"/>
                  <a:gd name="T27" fmla="*/ 79 h 179"/>
                  <a:gd name="T28" fmla="*/ 6 w 161"/>
                  <a:gd name="T29" fmla="*/ 77 h 179"/>
                  <a:gd name="T30" fmla="*/ 17 w 161"/>
                  <a:gd name="T31" fmla="*/ 87 h 179"/>
                  <a:gd name="T32" fmla="*/ 0 w 161"/>
                  <a:gd name="T33" fmla="*/ 111 h 179"/>
                  <a:gd name="T34" fmla="*/ 2 w 161"/>
                  <a:gd name="T35" fmla="*/ 11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1" h="179">
                    <a:moveTo>
                      <a:pt x="2" y="115"/>
                    </a:moveTo>
                    <a:lnTo>
                      <a:pt x="17" y="179"/>
                    </a:lnTo>
                    <a:lnTo>
                      <a:pt x="70" y="160"/>
                    </a:lnTo>
                    <a:lnTo>
                      <a:pt x="78" y="175"/>
                    </a:lnTo>
                    <a:lnTo>
                      <a:pt x="116" y="168"/>
                    </a:lnTo>
                    <a:lnTo>
                      <a:pt x="116" y="162"/>
                    </a:lnTo>
                    <a:lnTo>
                      <a:pt x="150" y="136"/>
                    </a:lnTo>
                    <a:lnTo>
                      <a:pt x="142" y="96"/>
                    </a:lnTo>
                    <a:lnTo>
                      <a:pt x="161" y="32"/>
                    </a:lnTo>
                    <a:lnTo>
                      <a:pt x="99" y="11"/>
                    </a:lnTo>
                    <a:lnTo>
                      <a:pt x="76" y="0"/>
                    </a:lnTo>
                    <a:lnTo>
                      <a:pt x="23" y="43"/>
                    </a:lnTo>
                    <a:lnTo>
                      <a:pt x="36" y="58"/>
                    </a:lnTo>
                    <a:lnTo>
                      <a:pt x="25" y="79"/>
                    </a:lnTo>
                    <a:lnTo>
                      <a:pt x="6" y="77"/>
                    </a:lnTo>
                    <a:lnTo>
                      <a:pt x="17" y="87"/>
                    </a:lnTo>
                    <a:lnTo>
                      <a:pt x="0" y="111"/>
                    </a:lnTo>
                    <a:lnTo>
                      <a:pt x="2" y="115"/>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05" name="92">
                <a:extLst>
                  <a:ext uri="{FF2B5EF4-FFF2-40B4-BE49-F238E27FC236}">
                    <a16:creationId xmlns:a16="http://schemas.microsoft.com/office/drawing/2014/main" id="{4A643BAD-D8F5-4F57-B2C3-65C4A24C7159}"/>
                  </a:ext>
                </a:extLst>
              </p:cNvPr>
              <p:cNvSpPr>
                <a:spLocks/>
              </p:cNvSpPr>
              <p:nvPr/>
            </p:nvSpPr>
            <p:spPr bwMode="gray">
              <a:xfrm>
                <a:off x="6490090" y="2585745"/>
                <a:ext cx="103145" cy="107443"/>
              </a:xfrm>
              <a:custGeom>
                <a:avLst/>
                <a:gdLst>
                  <a:gd name="T0" fmla="*/ 0 w 72"/>
                  <a:gd name="T1" fmla="*/ 21 h 75"/>
                  <a:gd name="T2" fmla="*/ 0 w 72"/>
                  <a:gd name="T3" fmla="*/ 21 h 75"/>
                  <a:gd name="T4" fmla="*/ 6 w 72"/>
                  <a:gd name="T5" fmla="*/ 41 h 75"/>
                  <a:gd name="T6" fmla="*/ 30 w 72"/>
                  <a:gd name="T7" fmla="*/ 60 h 75"/>
                  <a:gd name="T8" fmla="*/ 72 w 72"/>
                  <a:gd name="T9" fmla="*/ 75 h 75"/>
                  <a:gd name="T10" fmla="*/ 64 w 72"/>
                  <a:gd name="T11" fmla="*/ 0 h 75"/>
                  <a:gd name="T12" fmla="*/ 40 w 72"/>
                  <a:gd name="T13" fmla="*/ 19 h 75"/>
                  <a:gd name="T14" fmla="*/ 0 w 72"/>
                  <a:gd name="T15" fmla="*/ 19 h 75"/>
                  <a:gd name="T16" fmla="*/ 0 w 72"/>
                  <a:gd name="T17" fmla="*/ 2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5">
                    <a:moveTo>
                      <a:pt x="0" y="21"/>
                    </a:moveTo>
                    <a:lnTo>
                      <a:pt x="0" y="21"/>
                    </a:lnTo>
                    <a:lnTo>
                      <a:pt x="6" y="41"/>
                    </a:lnTo>
                    <a:lnTo>
                      <a:pt x="30" y="60"/>
                    </a:lnTo>
                    <a:lnTo>
                      <a:pt x="72" y="75"/>
                    </a:lnTo>
                    <a:lnTo>
                      <a:pt x="64" y="0"/>
                    </a:lnTo>
                    <a:lnTo>
                      <a:pt x="40" y="19"/>
                    </a:lnTo>
                    <a:lnTo>
                      <a:pt x="0" y="19"/>
                    </a:lnTo>
                    <a:lnTo>
                      <a:pt x="0" y="21"/>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06" name="94">
                <a:extLst>
                  <a:ext uri="{FF2B5EF4-FFF2-40B4-BE49-F238E27FC236}">
                    <a16:creationId xmlns:a16="http://schemas.microsoft.com/office/drawing/2014/main" id="{3940C17B-92B7-4C63-9FC4-040711027F46}"/>
                  </a:ext>
                </a:extLst>
              </p:cNvPr>
              <p:cNvSpPr>
                <a:spLocks/>
              </p:cNvSpPr>
              <p:nvPr/>
            </p:nvSpPr>
            <p:spPr bwMode="gray">
              <a:xfrm>
                <a:off x="6495821" y="2671699"/>
                <a:ext cx="97414" cy="81657"/>
              </a:xfrm>
              <a:custGeom>
                <a:avLst/>
                <a:gdLst>
                  <a:gd name="T0" fmla="*/ 2 w 68"/>
                  <a:gd name="T1" fmla="*/ 30 h 57"/>
                  <a:gd name="T2" fmla="*/ 5 w 68"/>
                  <a:gd name="T3" fmla="*/ 10 h 57"/>
                  <a:gd name="T4" fmla="*/ 36 w 68"/>
                  <a:gd name="T5" fmla="*/ 10 h 57"/>
                  <a:gd name="T6" fmla="*/ 26 w 68"/>
                  <a:gd name="T7" fmla="*/ 0 h 57"/>
                  <a:gd name="T8" fmla="*/ 68 w 68"/>
                  <a:gd name="T9" fmla="*/ 15 h 57"/>
                  <a:gd name="T10" fmla="*/ 64 w 68"/>
                  <a:gd name="T11" fmla="*/ 57 h 57"/>
                  <a:gd name="T12" fmla="*/ 2 w 68"/>
                  <a:gd name="T13" fmla="*/ 36 h 57"/>
                  <a:gd name="T14" fmla="*/ 0 w 68"/>
                  <a:gd name="T15" fmla="*/ 34 h 57"/>
                  <a:gd name="T16" fmla="*/ 2 w 68"/>
                  <a:gd name="T17" fmla="*/ 3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7">
                    <a:moveTo>
                      <a:pt x="2" y="30"/>
                    </a:moveTo>
                    <a:lnTo>
                      <a:pt x="5" y="10"/>
                    </a:lnTo>
                    <a:lnTo>
                      <a:pt x="36" y="10"/>
                    </a:lnTo>
                    <a:lnTo>
                      <a:pt x="26" y="0"/>
                    </a:lnTo>
                    <a:lnTo>
                      <a:pt x="68" y="15"/>
                    </a:lnTo>
                    <a:lnTo>
                      <a:pt x="64" y="57"/>
                    </a:lnTo>
                    <a:lnTo>
                      <a:pt x="2" y="36"/>
                    </a:lnTo>
                    <a:lnTo>
                      <a:pt x="0" y="34"/>
                    </a:lnTo>
                    <a:lnTo>
                      <a:pt x="2" y="30"/>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07" name="75">
                <a:extLst>
                  <a:ext uri="{FF2B5EF4-FFF2-40B4-BE49-F238E27FC236}">
                    <a16:creationId xmlns:a16="http://schemas.microsoft.com/office/drawing/2014/main" id="{BE279D5E-CE9D-4F4A-B074-765BF506D1D8}"/>
                  </a:ext>
                </a:extLst>
              </p:cNvPr>
              <p:cNvSpPr>
                <a:spLocks/>
              </p:cNvSpPr>
              <p:nvPr/>
            </p:nvSpPr>
            <p:spPr bwMode="gray">
              <a:xfrm>
                <a:off x="6465737" y="2644480"/>
                <a:ext cx="81657" cy="41545"/>
              </a:xfrm>
              <a:custGeom>
                <a:avLst/>
                <a:gdLst>
                  <a:gd name="T0" fmla="*/ 2 w 57"/>
                  <a:gd name="T1" fmla="*/ 17 h 29"/>
                  <a:gd name="T2" fmla="*/ 26 w 57"/>
                  <a:gd name="T3" fmla="*/ 29 h 29"/>
                  <a:gd name="T4" fmla="*/ 57 w 57"/>
                  <a:gd name="T5" fmla="*/ 29 h 29"/>
                  <a:gd name="T6" fmla="*/ 47 w 57"/>
                  <a:gd name="T7" fmla="*/ 19 h 29"/>
                  <a:gd name="T8" fmla="*/ 23 w 57"/>
                  <a:gd name="T9" fmla="*/ 0 h 29"/>
                  <a:gd name="T10" fmla="*/ 0 w 57"/>
                  <a:gd name="T11" fmla="*/ 14 h 29"/>
                  <a:gd name="T12" fmla="*/ 2 w 57"/>
                  <a:gd name="T13" fmla="*/ 17 h 29"/>
                </a:gdLst>
                <a:ahLst/>
                <a:cxnLst>
                  <a:cxn ang="0">
                    <a:pos x="T0" y="T1"/>
                  </a:cxn>
                  <a:cxn ang="0">
                    <a:pos x="T2" y="T3"/>
                  </a:cxn>
                  <a:cxn ang="0">
                    <a:pos x="T4" y="T5"/>
                  </a:cxn>
                  <a:cxn ang="0">
                    <a:pos x="T6" y="T7"/>
                  </a:cxn>
                  <a:cxn ang="0">
                    <a:pos x="T8" y="T9"/>
                  </a:cxn>
                  <a:cxn ang="0">
                    <a:pos x="T10" y="T11"/>
                  </a:cxn>
                  <a:cxn ang="0">
                    <a:pos x="T12" y="T13"/>
                  </a:cxn>
                </a:cxnLst>
                <a:rect l="0" t="0" r="r" b="b"/>
                <a:pathLst>
                  <a:path w="57" h="29">
                    <a:moveTo>
                      <a:pt x="2" y="17"/>
                    </a:moveTo>
                    <a:lnTo>
                      <a:pt x="26" y="29"/>
                    </a:lnTo>
                    <a:lnTo>
                      <a:pt x="57" y="29"/>
                    </a:lnTo>
                    <a:lnTo>
                      <a:pt x="47" y="19"/>
                    </a:lnTo>
                    <a:lnTo>
                      <a:pt x="23" y="0"/>
                    </a:lnTo>
                    <a:lnTo>
                      <a:pt x="0" y="14"/>
                    </a:lnTo>
                    <a:lnTo>
                      <a:pt x="2" y="17"/>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08" name="77">
                <a:extLst>
                  <a:ext uri="{FF2B5EF4-FFF2-40B4-BE49-F238E27FC236}">
                    <a16:creationId xmlns:a16="http://schemas.microsoft.com/office/drawing/2014/main" id="{FA552E27-9A3E-46C1-8CEE-F3A0F3573625}"/>
                  </a:ext>
                </a:extLst>
              </p:cNvPr>
              <p:cNvSpPr>
                <a:spLocks/>
              </p:cNvSpPr>
              <p:nvPr/>
            </p:nvSpPr>
            <p:spPr bwMode="gray">
              <a:xfrm>
                <a:off x="6523039" y="2534173"/>
                <a:ext cx="402551" cy="514292"/>
              </a:xfrm>
              <a:custGeom>
                <a:avLst/>
                <a:gdLst>
                  <a:gd name="T0" fmla="*/ 0 w 281"/>
                  <a:gd name="T1" fmla="*/ 289 h 359"/>
                  <a:gd name="T2" fmla="*/ 30 w 281"/>
                  <a:gd name="T3" fmla="*/ 334 h 359"/>
                  <a:gd name="T4" fmla="*/ 15 w 281"/>
                  <a:gd name="T5" fmla="*/ 359 h 359"/>
                  <a:gd name="T6" fmla="*/ 132 w 281"/>
                  <a:gd name="T7" fmla="*/ 347 h 359"/>
                  <a:gd name="T8" fmla="*/ 158 w 281"/>
                  <a:gd name="T9" fmla="*/ 315 h 359"/>
                  <a:gd name="T10" fmla="*/ 158 w 281"/>
                  <a:gd name="T11" fmla="*/ 276 h 359"/>
                  <a:gd name="T12" fmla="*/ 247 w 281"/>
                  <a:gd name="T13" fmla="*/ 264 h 359"/>
                  <a:gd name="T14" fmla="*/ 245 w 281"/>
                  <a:gd name="T15" fmla="*/ 242 h 359"/>
                  <a:gd name="T16" fmla="*/ 241 w 281"/>
                  <a:gd name="T17" fmla="*/ 232 h 359"/>
                  <a:gd name="T18" fmla="*/ 281 w 281"/>
                  <a:gd name="T19" fmla="*/ 183 h 359"/>
                  <a:gd name="T20" fmla="*/ 258 w 281"/>
                  <a:gd name="T21" fmla="*/ 174 h 359"/>
                  <a:gd name="T22" fmla="*/ 260 w 281"/>
                  <a:gd name="T23" fmla="*/ 138 h 359"/>
                  <a:gd name="T24" fmla="*/ 245 w 281"/>
                  <a:gd name="T25" fmla="*/ 132 h 359"/>
                  <a:gd name="T26" fmla="*/ 245 w 281"/>
                  <a:gd name="T27" fmla="*/ 128 h 359"/>
                  <a:gd name="T28" fmla="*/ 264 w 281"/>
                  <a:gd name="T29" fmla="*/ 96 h 359"/>
                  <a:gd name="T30" fmla="*/ 211 w 281"/>
                  <a:gd name="T31" fmla="*/ 64 h 359"/>
                  <a:gd name="T32" fmla="*/ 188 w 281"/>
                  <a:gd name="T33" fmla="*/ 34 h 359"/>
                  <a:gd name="T34" fmla="*/ 188 w 281"/>
                  <a:gd name="T35" fmla="*/ 6 h 359"/>
                  <a:gd name="T36" fmla="*/ 166 w 281"/>
                  <a:gd name="T37" fmla="*/ 0 h 359"/>
                  <a:gd name="T38" fmla="*/ 145 w 281"/>
                  <a:gd name="T39" fmla="*/ 15 h 359"/>
                  <a:gd name="T40" fmla="*/ 49 w 281"/>
                  <a:gd name="T41" fmla="*/ 13 h 359"/>
                  <a:gd name="T42" fmla="*/ 41 w 281"/>
                  <a:gd name="T43" fmla="*/ 36 h 359"/>
                  <a:gd name="T44" fmla="*/ 49 w 281"/>
                  <a:gd name="T45" fmla="*/ 111 h 359"/>
                  <a:gd name="T46" fmla="*/ 45 w 281"/>
                  <a:gd name="T47" fmla="*/ 153 h 359"/>
                  <a:gd name="T48" fmla="*/ 26 w 281"/>
                  <a:gd name="T49" fmla="*/ 217 h 359"/>
                  <a:gd name="T50" fmla="*/ 34 w 281"/>
                  <a:gd name="T51" fmla="*/ 257 h 359"/>
                  <a:gd name="T52" fmla="*/ 0 w 281"/>
                  <a:gd name="T53" fmla="*/ 283 h 359"/>
                  <a:gd name="T54" fmla="*/ 0 w 281"/>
                  <a:gd name="T55" fmla="*/ 28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1" h="359">
                    <a:moveTo>
                      <a:pt x="0" y="289"/>
                    </a:moveTo>
                    <a:lnTo>
                      <a:pt x="30" y="334"/>
                    </a:lnTo>
                    <a:lnTo>
                      <a:pt x="15" y="359"/>
                    </a:lnTo>
                    <a:lnTo>
                      <a:pt x="132" y="347"/>
                    </a:lnTo>
                    <a:lnTo>
                      <a:pt x="158" y="315"/>
                    </a:lnTo>
                    <a:lnTo>
                      <a:pt x="158" y="276"/>
                    </a:lnTo>
                    <a:lnTo>
                      <a:pt x="247" y="264"/>
                    </a:lnTo>
                    <a:lnTo>
                      <a:pt x="245" y="242"/>
                    </a:lnTo>
                    <a:lnTo>
                      <a:pt x="241" y="232"/>
                    </a:lnTo>
                    <a:lnTo>
                      <a:pt x="281" y="183"/>
                    </a:lnTo>
                    <a:lnTo>
                      <a:pt x="258" y="174"/>
                    </a:lnTo>
                    <a:lnTo>
                      <a:pt x="260" y="138"/>
                    </a:lnTo>
                    <a:lnTo>
                      <a:pt x="245" y="132"/>
                    </a:lnTo>
                    <a:lnTo>
                      <a:pt x="245" y="128"/>
                    </a:lnTo>
                    <a:lnTo>
                      <a:pt x="264" y="96"/>
                    </a:lnTo>
                    <a:lnTo>
                      <a:pt x="211" y="64"/>
                    </a:lnTo>
                    <a:lnTo>
                      <a:pt x="188" y="34"/>
                    </a:lnTo>
                    <a:lnTo>
                      <a:pt x="188" y="6"/>
                    </a:lnTo>
                    <a:lnTo>
                      <a:pt x="166" y="0"/>
                    </a:lnTo>
                    <a:lnTo>
                      <a:pt x="145" y="15"/>
                    </a:lnTo>
                    <a:lnTo>
                      <a:pt x="49" y="13"/>
                    </a:lnTo>
                    <a:lnTo>
                      <a:pt x="41" y="36"/>
                    </a:lnTo>
                    <a:lnTo>
                      <a:pt x="49" y="111"/>
                    </a:lnTo>
                    <a:lnTo>
                      <a:pt x="45" y="153"/>
                    </a:lnTo>
                    <a:lnTo>
                      <a:pt x="26" y="217"/>
                    </a:lnTo>
                    <a:lnTo>
                      <a:pt x="34" y="257"/>
                    </a:lnTo>
                    <a:lnTo>
                      <a:pt x="0" y="283"/>
                    </a:lnTo>
                    <a:lnTo>
                      <a:pt x="0" y="289"/>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309" name="95">
                <a:extLst>
                  <a:ext uri="{FF2B5EF4-FFF2-40B4-BE49-F238E27FC236}">
                    <a16:creationId xmlns:a16="http://schemas.microsoft.com/office/drawing/2014/main" id="{19FC8EB6-3443-44E2-9BE0-38101FD5B3D0}"/>
                  </a:ext>
                </a:extLst>
              </p:cNvPr>
              <p:cNvSpPr>
                <a:spLocks/>
              </p:cNvSpPr>
              <p:nvPr/>
            </p:nvSpPr>
            <p:spPr bwMode="gray">
              <a:xfrm>
                <a:off x="6259447" y="2463977"/>
                <a:ext cx="333788" cy="173341"/>
              </a:xfrm>
              <a:custGeom>
                <a:avLst/>
                <a:gdLst>
                  <a:gd name="T0" fmla="*/ 0 w 233"/>
                  <a:gd name="T1" fmla="*/ 60 h 121"/>
                  <a:gd name="T2" fmla="*/ 34 w 233"/>
                  <a:gd name="T3" fmla="*/ 64 h 121"/>
                  <a:gd name="T4" fmla="*/ 36 w 233"/>
                  <a:gd name="T5" fmla="*/ 64 h 121"/>
                  <a:gd name="T6" fmla="*/ 40 w 233"/>
                  <a:gd name="T7" fmla="*/ 66 h 121"/>
                  <a:gd name="T8" fmla="*/ 42 w 233"/>
                  <a:gd name="T9" fmla="*/ 66 h 121"/>
                  <a:gd name="T10" fmla="*/ 99 w 233"/>
                  <a:gd name="T11" fmla="*/ 89 h 121"/>
                  <a:gd name="T12" fmla="*/ 121 w 233"/>
                  <a:gd name="T13" fmla="*/ 83 h 121"/>
                  <a:gd name="T14" fmla="*/ 140 w 233"/>
                  <a:gd name="T15" fmla="*/ 121 h 121"/>
                  <a:gd name="T16" fmla="*/ 161 w 233"/>
                  <a:gd name="T17" fmla="*/ 106 h 121"/>
                  <a:gd name="T18" fmla="*/ 161 w 233"/>
                  <a:gd name="T19" fmla="*/ 106 h 121"/>
                  <a:gd name="T20" fmla="*/ 161 w 233"/>
                  <a:gd name="T21" fmla="*/ 104 h 121"/>
                  <a:gd name="T22" fmla="*/ 201 w 233"/>
                  <a:gd name="T23" fmla="*/ 104 h 121"/>
                  <a:gd name="T24" fmla="*/ 225 w 233"/>
                  <a:gd name="T25" fmla="*/ 85 h 121"/>
                  <a:gd name="T26" fmla="*/ 233 w 233"/>
                  <a:gd name="T27" fmla="*/ 62 h 121"/>
                  <a:gd name="T28" fmla="*/ 170 w 233"/>
                  <a:gd name="T29" fmla="*/ 21 h 121"/>
                  <a:gd name="T30" fmla="*/ 144 w 233"/>
                  <a:gd name="T31" fmla="*/ 32 h 121"/>
                  <a:gd name="T32" fmla="*/ 112 w 233"/>
                  <a:gd name="T33" fmla="*/ 13 h 121"/>
                  <a:gd name="T34" fmla="*/ 65 w 233"/>
                  <a:gd name="T35" fmla="*/ 28 h 121"/>
                  <a:gd name="T36" fmla="*/ 31 w 233"/>
                  <a:gd name="T37" fmla="*/ 21 h 121"/>
                  <a:gd name="T38" fmla="*/ 23 w 233"/>
                  <a:gd name="T39" fmla="*/ 0 h 121"/>
                  <a:gd name="T40" fmla="*/ 0 w 233"/>
                  <a:gd name="T41" fmla="*/ 55 h 121"/>
                  <a:gd name="T42" fmla="*/ 0 w 233"/>
                  <a:gd name="T43" fmla="*/ 6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3" h="121">
                    <a:moveTo>
                      <a:pt x="0" y="60"/>
                    </a:moveTo>
                    <a:lnTo>
                      <a:pt x="34" y="64"/>
                    </a:lnTo>
                    <a:lnTo>
                      <a:pt x="36" y="64"/>
                    </a:lnTo>
                    <a:lnTo>
                      <a:pt x="40" y="66"/>
                    </a:lnTo>
                    <a:lnTo>
                      <a:pt x="42" y="66"/>
                    </a:lnTo>
                    <a:lnTo>
                      <a:pt x="99" y="89"/>
                    </a:lnTo>
                    <a:lnTo>
                      <a:pt x="121" y="83"/>
                    </a:lnTo>
                    <a:lnTo>
                      <a:pt x="140" y="121"/>
                    </a:lnTo>
                    <a:lnTo>
                      <a:pt x="161" y="106"/>
                    </a:lnTo>
                    <a:lnTo>
                      <a:pt x="161" y="106"/>
                    </a:lnTo>
                    <a:lnTo>
                      <a:pt x="161" y="104"/>
                    </a:lnTo>
                    <a:lnTo>
                      <a:pt x="201" y="104"/>
                    </a:lnTo>
                    <a:lnTo>
                      <a:pt x="225" y="85"/>
                    </a:lnTo>
                    <a:lnTo>
                      <a:pt x="233" y="62"/>
                    </a:lnTo>
                    <a:lnTo>
                      <a:pt x="170" y="21"/>
                    </a:lnTo>
                    <a:lnTo>
                      <a:pt x="144" y="32"/>
                    </a:lnTo>
                    <a:lnTo>
                      <a:pt x="112" y="13"/>
                    </a:lnTo>
                    <a:lnTo>
                      <a:pt x="65" y="28"/>
                    </a:lnTo>
                    <a:lnTo>
                      <a:pt x="31" y="21"/>
                    </a:lnTo>
                    <a:lnTo>
                      <a:pt x="23" y="0"/>
                    </a:lnTo>
                    <a:lnTo>
                      <a:pt x="0" y="55"/>
                    </a:lnTo>
                    <a:lnTo>
                      <a:pt x="0" y="60"/>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grpSp>
        <p:grpSp>
          <p:nvGrpSpPr>
            <p:cNvPr id="157" name="Ile de France (N° Départements)">
              <a:extLst>
                <a:ext uri="{FF2B5EF4-FFF2-40B4-BE49-F238E27FC236}">
                  <a16:creationId xmlns:a16="http://schemas.microsoft.com/office/drawing/2014/main" id="{26E2CAED-7D93-4A12-8815-B4230E9BB276}"/>
                </a:ext>
              </a:extLst>
            </p:cNvPr>
            <p:cNvGrpSpPr/>
            <p:nvPr/>
          </p:nvGrpSpPr>
          <p:grpSpPr>
            <a:xfrm>
              <a:off x="6998550" y="2283134"/>
              <a:ext cx="578070" cy="472739"/>
              <a:chOff x="6245094" y="2452519"/>
              <a:chExt cx="578070" cy="472739"/>
            </a:xfrm>
          </p:grpSpPr>
          <p:sp>
            <p:nvSpPr>
              <p:cNvPr id="298" name="95">
                <a:extLst>
                  <a:ext uri="{FF2B5EF4-FFF2-40B4-BE49-F238E27FC236}">
                    <a16:creationId xmlns:a16="http://schemas.microsoft.com/office/drawing/2014/main" id="{278257DD-0E80-417F-BEB3-CFA0B8C38EFD}"/>
                  </a:ext>
                </a:extLst>
              </p:cNvPr>
              <p:cNvSpPr txBox="1"/>
              <p:nvPr/>
            </p:nvSpPr>
            <p:spPr>
              <a:xfrm>
                <a:off x="6370457" y="2452519"/>
                <a:ext cx="184830" cy="166169"/>
              </a:xfrm>
              <a:prstGeom prst="rect">
                <a:avLst/>
              </a:prstGeom>
              <a:noFill/>
            </p:spPr>
            <p:txBody>
              <a:bodyPr wrap="none" lIns="0" tIns="0" rIns="0" bIns="0" rtlCol="0">
                <a:noAutofit/>
              </a:bodyPr>
              <a:lstStyle/>
              <a:p>
                <a:r>
                  <a:rPr lang="fr-FR" sz="800">
                    <a:solidFill>
                      <a:srgbClr val="503078"/>
                    </a:solidFill>
                    <a:latin typeface="Tahoma"/>
                  </a:rPr>
                  <a:t>95</a:t>
                </a:r>
              </a:p>
            </p:txBody>
          </p:sp>
          <p:sp>
            <p:nvSpPr>
              <p:cNvPr id="299" name="91">
                <a:extLst>
                  <a:ext uri="{FF2B5EF4-FFF2-40B4-BE49-F238E27FC236}">
                    <a16:creationId xmlns:a16="http://schemas.microsoft.com/office/drawing/2014/main" id="{41821954-EF0C-4464-91B1-425BA4B951DF}"/>
                  </a:ext>
                </a:extLst>
              </p:cNvPr>
              <p:cNvSpPr txBox="1"/>
              <p:nvPr/>
            </p:nvSpPr>
            <p:spPr>
              <a:xfrm>
                <a:off x="6370457" y="2759089"/>
                <a:ext cx="184830" cy="166169"/>
              </a:xfrm>
              <a:prstGeom prst="rect">
                <a:avLst/>
              </a:prstGeom>
              <a:noFill/>
            </p:spPr>
            <p:txBody>
              <a:bodyPr wrap="none" lIns="0" tIns="0" rIns="0" bIns="0" rtlCol="0">
                <a:noAutofit/>
              </a:bodyPr>
              <a:lstStyle/>
              <a:p>
                <a:r>
                  <a:rPr lang="fr-FR" sz="800">
                    <a:solidFill>
                      <a:srgbClr val="503078"/>
                    </a:solidFill>
                    <a:latin typeface="Tahoma"/>
                  </a:rPr>
                  <a:t>91</a:t>
                </a:r>
              </a:p>
            </p:txBody>
          </p:sp>
          <p:sp>
            <p:nvSpPr>
              <p:cNvPr id="300" name="78">
                <a:extLst>
                  <a:ext uri="{FF2B5EF4-FFF2-40B4-BE49-F238E27FC236}">
                    <a16:creationId xmlns:a16="http://schemas.microsoft.com/office/drawing/2014/main" id="{A3C2B58F-9BEB-4859-9CF3-2B5647F51FC6}"/>
                  </a:ext>
                </a:extLst>
              </p:cNvPr>
              <p:cNvSpPr txBox="1"/>
              <p:nvPr/>
            </p:nvSpPr>
            <p:spPr>
              <a:xfrm>
                <a:off x="6245094" y="2600075"/>
                <a:ext cx="184830" cy="166169"/>
              </a:xfrm>
              <a:prstGeom prst="rect">
                <a:avLst/>
              </a:prstGeom>
              <a:noFill/>
            </p:spPr>
            <p:txBody>
              <a:bodyPr wrap="none" lIns="0" tIns="0" rIns="0" bIns="0" rtlCol="0">
                <a:noAutofit/>
              </a:bodyPr>
              <a:lstStyle/>
              <a:p>
                <a:r>
                  <a:rPr lang="fr-FR" sz="800">
                    <a:solidFill>
                      <a:srgbClr val="503078"/>
                    </a:solidFill>
                    <a:latin typeface="Tahoma"/>
                  </a:rPr>
                  <a:t>78</a:t>
                </a:r>
              </a:p>
            </p:txBody>
          </p:sp>
          <p:sp>
            <p:nvSpPr>
              <p:cNvPr id="301" name="77">
                <a:extLst>
                  <a:ext uri="{FF2B5EF4-FFF2-40B4-BE49-F238E27FC236}">
                    <a16:creationId xmlns:a16="http://schemas.microsoft.com/office/drawing/2014/main" id="{30DEAB1F-0315-47A5-ABBD-A8A4A7D0AD03}"/>
                  </a:ext>
                </a:extLst>
              </p:cNvPr>
              <p:cNvSpPr txBox="1"/>
              <p:nvPr/>
            </p:nvSpPr>
            <p:spPr>
              <a:xfrm>
                <a:off x="6638334" y="2674577"/>
                <a:ext cx="184830" cy="166169"/>
              </a:xfrm>
              <a:prstGeom prst="rect">
                <a:avLst/>
              </a:prstGeom>
              <a:noFill/>
            </p:spPr>
            <p:txBody>
              <a:bodyPr wrap="none" lIns="0" tIns="0" rIns="0" bIns="0" rtlCol="0">
                <a:noAutofit/>
              </a:bodyPr>
              <a:lstStyle/>
              <a:p>
                <a:r>
                  <a:rPr lang="fr-FR" sz="800">
                    <a:solidFill>
                      <a:srgbClr val="503078"/>
                    </a:solidFill>
                    <a:latin typeface="Tahoma"/>
                  </a:rPr>
                  <a:t>77</a:t>
                </a:r>
              </a:p>
            </p:txBody>
          </p:sp>
        </p:grpSp>
        <p:sp>
          <p:nvSpPr>
            <p:cNvPr id="158" name="Corse (Forme)">
              <a:extLst>
                <a:ext uri="{FF2B5EF4-FFF2-40B4-BE49-F238E27FC236}">
                  <a16:creationId xmlns:a16="http://schemas.microsoft.com/office/drawing/2014/main" id="{BE0778C5-9ED3-441E-8B22-B57F493245CA}"/>
                </a:ext>
              </a:extLst>
            </p:cNvPr>
            <p:cNvSpPr>
              <a:spLocks/>
            </p:cNvSpPr>
            <p:nvPr/>
          </p:nvSpPr>
          <p:spPr bwMode="gray">
            <a:xfrm>
              <a:off x="9366312" y="5190233"/>
              <a:ext cx="338459" cy="865112"/>
            </a:xfrm>
            <a:custGeom>
              <a:avLst/>
              <a:gdLst>
                <a:gd name="T0" fmla="*/ 94 w 98"/>
                <a:gd name="T1" fmla="*/ 81 h 251"/>
                <a:gd name="T2" fmla="*/ 85 w 98"/>
                <a:gd name="T3" fmla="*/ 45 h 251"/>
                <a:gd name="T4" fmla="*/ 84 w 98"/>
                <a:gd name="T5" fmla="*/ 4 h 251"/>
                <a:gd name="T6" fmla="*/ 72 w 98"/>
                <a:gd name="T7" fmla="*/ 5 h 251"/>
                <a:gd name="T8" fmla="*/ 71 w 98"/>
                <a:gd name="T9" fmla="*/ 20 h 251"/>
                <a:gd name="T10" fmla="*/ 70 w 98"/>
                <a:gd name="T11" fmla="*/ 48 h 251"/>
                <a:gd name="T12" fmla="*/ 51 w 98"/>
                <a:gd name="T13" fmla="*/ 42 h 251"/>
                <a:gd name="T14" fmla="*/ 40 w 98"/>
                <a:gd name="T15" fmla="*/ 55 h 251"/>
                <a:gd name="T16" fmla="*/ 29 w 98"/>
                <a:gd name="T17" fmla="*/ 60 h 251"/>
                <a:gd name="T18" fmla="*/ 21 w 98"/>
                <a:gd name="T19" fmla="*/ 68 h 251"/>
                <a:gd name="T20" fmla="*/ 14 w 98"/>
                <a:gd name="T21" fmla="*/ 70 h 251"/>
                <a:gd name="T22" fmla="*/ 11 w 98"/>
                <a:gd name="T23" fmla="*/ 80 h 251"/>
                <a:gd name="T24" fmla="*/ 10 w 98"/>
                <a:gd name="T25" fmla="*/ 88 h 251"/>
                <a:gd name="T26" fmla="*/ 0 w 98"/>
                <a:gd name="T27" fmla="*/ 93 h 251"/>
                <a:gd name="T28" fmla="*/ 5 w 98"/>
                <a:gd name="T29" fmla="*/ 99 h 251"/>
                <a:gd name="T30" fmla="*/ 14 w 98"/>
                <a:gd name="T31" fmla="*/ 110 h 251"/>
                <a:gd name="T32" fmla="*/ 3 w 98"/>
                <a:gd name="T33" fmla="*/ 129 h 251"/>
                <a:gd name="T34" fmla="*/ 10 w 98"/>
                <a:gd name="T35" fmla="*/ 134 h 251"/>
                <a:gd name="T36" fmla="*/ 16 w 98"/>
                <a:gd name="T37" fmla="*/ 136 h 251"/>
                <a:gd name="T38" fmla="*/ 17 w 98"/>
                <a:gd name="T39" fmla="*/ 147 h 251"/>
                <a:gd name="T40" fmla="*/ 8 w 98"/>
                <a:gd name="T41" fmla="*/ 157 h 251"/>
                <a:gd name="T42" fmla="*/ 19 w 98"/>
                <a:gd name="T43" fmla="*/ 165 h 251"/>
                <a:gd name="T44" fmla="*/ 29 w 98"/>
                <a:gd name="T45" fmla="*/ 167 h 251"/>
                <a:gd name="T46" fmla="*/ 24 w 98"/>
                <a:gd name="T47" fmla="*/ 175 h 251"/>
                <a:gd name="T48" fmla="*/ 20 w 98"/>
                <a:gd name="T49" fmla="*/ 183 h 251"/>
                <a:gd name="T50" fmla="*/ 14 w 98"/>
                <a:gd name="T51" fmla="*/ 189 h 251"/>
                <a:gd name="T52" fmla="*/ 25 w 98"/>
                <a:gd name="T53" fmla="*/ 191 h 251"/>
                <a:gd name="T54" fmla="*/ 37 w 98"/>
                <a:gd name="T55" fmla="*/ 202 h 251"/>
                <a:gd name="T56" fmla="*/ 29 w 98"/>
                <a:gd name="T57" fmla="*/ 220 h 251"/>
                <a:gd name="T58" fmla="*/ 39 w 98"/>
                <a:gd name="T59" fmla="*/ 231 h 251"/>
                <a:gd name="T60" fmla="*/ 52 w 98"/>
                <a:gd name="T61" fmla="*/ 236 h 251"/>
                <a:gd name="T62" fmla="*/ 56 w 98"/>
                <a:gd name="T63" fmla="*/ 237 h 251"/>
                <a:gd name="T64" fmla="*/ 57 w 98"/>
                <a:gd name="T65" fmla="*/ 243 h 251"/>
                <a:gd name="T66" fmla="*/ 70 w 98"/>
                <a:gd name="T67" fmla="*/ 251 h 251"/>
                <a:gd name="T68" fmla="*/ 72 w 98"/>
                <a:gd name="T69" fmla="*/ 239 h 251"/>
                <a:gd name="T70" fmla="*/ 76 w 98"/>
                <a:gd name="T71" fmla="*/ 224 h 251"/>
                <a:gd name="T72" fmla="*/ 83 w 98"/>
                <a:gd name="T73" fmla="*/ 213 h 251"/>
                <a:gd name="T74" fmla="*/ 78 w 98"/>
                <a:gd name="T75" fmla="*/ 210 h 251"/>
                <a:gd name="T76" fmla="*/ 88 w 98"/>
                <a:gd name="T77" fmla="*/ 195 h 251"/>
                <a:gd name="T78" fmla="*/ 98 w 98"/>
                <a:gd name="T79" fmla="*/ 134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8" h="251">
                  <a:moveTo>
                    <a:pt x="98" y="134"/>
                  </a:moveTo>
                  <a:cubicBezTo>
                    <a:pt x="98" y="134"/>
                    <a:pt x="92" y="82"/>
                    <a:pt x="94" y="81"/>
                  </a:cubicBezTo>
                  <a:cubicBezTo>
                    <a:pt x="95" y="79"/>
                    <a:pt x="94" y="72"/>
                    <a:pt x="94" y="69"/>
                  </a:cubicBezTo>
                  <a:cubicBezTo>
                    <a:pt x="84" y="61"/>
                    <a:pt x="87" y="46"/>
                    <a:pt x="85" y="45"/>
                  </a:cubicBezTo>
                  <a:cubicBezTo>
                    <a:pt x="88" y="40"/>
                    <a:pt x="87" y="17"/>
                    <a:pt x="84" y="12"/>
                  </a:cubicBezTo>
                  <a:cubicBezTo>
                    <a:pt x="82" y="7"/>
                    <a:pt x="84" y="4"/>
                    <a:pt x="84" y="4"/>
                  </a:cubicBezTo>
                  <a:cubicBezTo>
                    <a:pt x="79" y="0"/>
                    <a:pt x="79" y="0"/>
                    <a:pt x="79" y="0"/>
                  </a:cubicBezTo>
                  <a:cubicBezTo>
                    <a:pt x="79" y="0"/>
                    <a:pt x="74" y="2"/>
                    <a:pt x="72" y="5"/>
                  </a:cubicBezTo>
                  <a:cubicBezTo>
                    <a:pt x="70" y="8"/>
                    <a:pt x="71" y="8"/>
                    <a:pt x="73" y="11"/>
                  </a:cubicBezTo>
                  <a:cubicBezTo>
                    <a:pt x="75" y="15"/>
                    <a:pt x="70" y="16"/>
                    <a:pt x="71" y="20"/>
                  </a:cubicBezTo>
                  <a:cubicBezTo>
                    <a:pt x="71" y="23"/>
                    <a:pt x="71" y="28"/>
                    <a:pt x="71" y="28"/>
                  </a:cubicBezTo>
                  <a:cubicBezTo>
                    <a:pt x="75" y="34"/>
                    <a:pt x="70" y="48"/>
                    <a:pt x="70" y="48"/>
                  </a:cubicBezTo>
                  <a:cubicBezTo>
                    <a:pt x="62" y="43"/>
                    <a:pt x="62" y="43"/>
                    <a:pt x="62" y="43"/>
                  </a:cubicBezTo>
                  <a:cubicBezTo>
                    <a:pt x="51" y="42"/>
                    <a:pt x="51" y="42"/>
                    <a:pt x="51" y="42"/>
                  </a:cubicBezTo>
                  <a:cubicBezTo>
                    <a:pt x="46" y="51"/>
                    <a:pt x="46" y="51"/>
                    <a:pt x="46" y="51"/>
                  </a:cubicBezTo>
                  <a:cubicBezTo>
                    <a:pt x="40" y="55"/>
                    <a:pt x="40" y="55"/>
                    <a:pt x="40" y="55"/>
                  </a:cubicBezTo>
                  <a:cubicBezTo>
                    <a:pt x="33" y="55"/>
                    <a:pt x="33" y="55"/>
                    <a:pt x="33" y="55"/>
                  </a:cubicBezTo>
                  <a:cubicBezTo>
                    <a:pt x="29" y="60"/>
                    <a:pt x="29" y="60"/>
                    <a:pt x="29" y="60"/>
                  </a:cubicBezTo>
                  <a:cubicBezTo>
                    <a:pt x="23" y="60"/>
                    <a:pt x="23" y="60"/>
                    <a:pt x="23" y="60"/>
                  </a:cubicBezTo>
                  <a:cubicBezTo>
                    <a:pt x="21" y="68"/>
                    <a:pt x="21" y="68"/>
                    <a:pt x="21" y="68"/>
                  </a:cubicBezTo>
                  <a:cubicBezTo>
                    <a:pt x="15" y="64"/>
                    <a:pt x="15" y="64"/>
                    <a:pt x="15" y="64"/>
                  </a:cubicBezTo>
                  <a:cubicBezTo>
                    <a:pt x="14" y="70"/>
                    <a:pt x="14" y="70"/>
                    <a:pt x="14" y="70"/>
                  </a:cubicBezTo>
                  <a:cubicBezTo>
                    <a:pt x="8" y="79"/>
                    <a:pt x="8" y="79"/>
                    <a:pt x="8" y="79"/>
                  </a:cubicBezTo>
                  <a:cubicBezTo>
                    <a:pt x="8" y="79"/>
                    <a:pt x="9" y="78"/>
                    <a:pt x="11" y="80"/>
                  </a:cubicBezTo>
                  <a:cubicBezTo>
                    <a:pt x="14" y="82"/>
                    <a:pt x="10" y="83"/>
                    <a:pt x="10" y="83"/>
                  </a:cubicBezTo>
                  <a:cubicBezTo>
                    <a:pt x="10" y="88"/>
                    <a:pt x="10" y="88"/>
                    <a:pt x="10" y="88"/>
                  </a:cubicBezTo>
                  <a:cubicBezTo>
                    <a:pt x="5" y="89"/>
                    <a:pt x="5" y="89"/>
                    <a:pt x="5" y="89"/>
                  </a:cubicBezTo>
                  <a:cubicBezTo>
                    <a:pt x="5" y="92"/>
                    <a:pt x="0" y="93"/>
                    <a:pt x="0" y="93"/>
                  </a:cubicBezTo>
                  <a:cubicBezTo>
                    <a:pt x="0" y="100"/>
                    <a:pt x="0" y="100"/>
                    <a:pt x="0" y="100"/>
                  </a:cubicBezTo>
                  <a:cubicBezTo>
                    <a:pt x="0" y="100"/>
                    <a:pt x="3" y="99"/>
                    <a:pt x="5" y="99"/>
                  </a:cubicBezTo>
                  <a:cubicBezTo>
                    <a:pt x="8" y="99"/>
                    <a:pt x="6" y="104"/>
                    <a:pt x="7" y="104"/>
                  </a:cubicBezTo>
                  <a:cubicBezTo>
                    <a:pt x="8" y="104"/>
                    <a:pt x="14" y="110"/>
                    <a:pt x="14" y="110"/>
                  </a:cubicBezTo>
                  <a:cubicBezTo>
                    <a:pt x="6" y="111"/>
                    <a:pt x="3" y="116"/>
                    <a:pt x="3" y="116"/>
                  </a:cubicBezTo>
                  <a:cubicBezTo>
                    <a:pt x="3" y="129"/>
                    <a:pt x="3" y="129"/>
                    <a:pt x="3" y="129"/>
                  </a:cubicBezTo>
                  <a:cubicBezTo>
                    <a:pt x="5" y="132"/>
                    <a:pt x="5" y="132"/>
                    <a:pt x="5" y="132"/>
                  </a:cubicBezTo>
                  <a:cubicBezTo>
                    <a:pt x="10" y="134"/>
                    <a:pt x="10" y="134"/>
                    <a:pt x="10" y="134"/>
                  </a:cubicBezTo>
                  <a:cubicBezTo>
                    <a:pt x="10" y="134"/>
                    <a:pt x="11" y="135"/>
                    <a:pt x="13" y="137"/>
                  </a:cubicBezTo>
                  <a:cubicBezTo>
                    <a:pt x="14" y="134"/>
                    <a:pt x="15" y="137"/>
                    <a:pt x="16" y="136"/>
                  </a:cubicBezTo>
                  <a:cubicBezTo>
                    <a:pt x="16" y="141"/>
                    <a:pt x="21" y="143"/>
                    <a:pt x="21" y="143"/>
                  </a:cubicBezTo>
                  <a:cubicBezTo>
                    <a:pt x="17" y="147"/>
                    <a:pt x="17" y="147"/>
                    <a:pt x="17" y="147"/>
                  </a:cubicBezTo>
                  <a:cubicBezTo>
                    <a:pt x="12" y="148"/>
                    <a:pt x="13" y="156"/>
                    <a:pt x="13" y="156"/>
                  </a:cubicBezTo>
                  <a:cubicBezTo>
                    <a:pt x="8" y="157"/>
                    <a:pt x="8" y="157"/>
                    <a:pt x="8" y="157"/>
                  </a:cubicBezTo>
                  <a:cubicBezTo>
                    <a:pt x="9" y="166"/>
                    <a:pt x="9" y="166"/>
                    <a:pt x="9" y="166"/>
                  </a:cubicBezTo>
                  <a:cubicBezTo>
                    <a:pt x="19" y="165"/>
                    <a:pt x="19" y="165"/>
                    <a:pt x="19" y="165"/>
                  </a:cubicBezTo>
                  <a:cubicBezTo>
                    <a:pt x="23" y="163"/>
                    <a:pt x="23" y="163"/>
                    <a:pt x="23" y="163"/>
                  </a:cubicBezTo>
                  <a:cubicBezTo>
                    <a:pt x="29" y="167"/>
                    <a:pt x="29" y="167"/>
                    <a:pt x="29" y="167"/>
                  </a:cubicBezTo>
                  <a:cubicBezTo>
                    <a:pt x="27" y="169"/>
                    <a:pt x="27" y="169"/>
                    <a:pt x="27" y="169"/>
                  </a:cubicBezTo>
                  <a:cubicBezTo>
                    <a:pt x="24" y="175"/>
                    <a:pt x="24" y="175"/>
                    <a:pt x="24" y="175"/>
                  </a:cubicBezTo>
                  <a:cubicBezTo>
                    <a:pt x="24" y="179"/>
                    <a:pt x="24" y="179"/>
                    <a:pt x="24" y="179"/>
                  </a:cubicBezTo>
                  <a:cubicBezTo>
                    <a:pt x="20" y="183"/>
                    <a:pt x="20" y="183"/>
                    <a:pt x="20" y="183"/>
                  </a:cubicBezTo>
                  <a:cubicBezTo>
                    <a:pt x="21" y="186"/>
                    <a:pt x="21" y="186"/>
                    <a:pt x="21" y="186"/>
                  </a:cubicBezTo>
                  <a:cubicBezTo>
                    <a:pt x="14" y="189"/>
                    <a:pt x="14" y="189"/>
                    <a:pt x="14" y="189"/>
                  </a:cubicBezTo>
                  <a:cubicBezTo>
                    <a:pt x="20" y="194"/>
                    <a:pt x="20" y="194"/>
                    <a:pt x="20" y="194"/>
                  </a:cubicBezTo>
                  <a:cubicBezTo>
                    <a:pt x="25" y="191"/>
                    <a:pt x="25" y="191"/>
                    <a:pt x="25" y="191"/>
                  </a:cubicBezTo>
                  <a:cubicBezTo>
                    <a:pt x="27" y="196"/>
                    <a:pt x="27" y="196"/>
                    <a:pt x="27" y="196"/>
                  </a:cubicBezTo>
                  <a:cubicBezTo>
                    <a:pt x="27" y="196"/>
                    <a:pt x="37" y="199"/>
                    <a:pt x="37" y="202"/>
                  </a:cubicBezTo>
                  <a:cubicBezTo>
                    <a:pt x="37" y="204"/>
                    <a:pt x="29" y="208"/>
                    <a:pt x="29" y="208"/>
                  </a:cubicBezTo>
                  <a:cubicBezTo>
                    <a:pt x="29" y="208"/>
                    <a:pt x="29" y="218"/>
                    <a:pt x="29" y="220"/>
                  </a:cubicBezTo>
                  <a:cubicBezTo>
                    <a:pt x="29" y="221"/>
                    <a:pt x="33" y="227"/>
                    <a:pt x="35" y="226"/>
                  </a:cubicBezTo>
                  <a:cubicBezTo>
                    <a:pt x="37" y="223"/>
                    <a:pt x="39" y="231"/>
                    <a:pt x="39" y="231"/>
                  </a:cubicBezTo>
                  <a:cubicBezTo>
                    <a:pt x="47" y="231"/>
                    <a:pt x="47" y="231"/>
                    <a:pt x="47" y="231"/>
                  </a:cubicBezTo>
                  <a:cubicBezTo>
                    <a:pt x="52" y="236"/>
                    <a:pt x="52" y="236"/>
                    <a:pt x="52" y="236"/>
                  </a:cubicBezTo>
                  <a:cubicBezTo>
                    <a:pt x="56" y="232"/>
                    <a:pt x="56" y="232"/>
                    <a:pt x="56" y="232"/>
                  </a:cubicBezTo>
                  <a:cubicBezTo>
                    <a:pt x="56" y="237"/>
                    <a:pt x="56" y="237"/>
                    <a:pt x="56" y="237"/>
                  </a:cubicBezTo>
                  <a:cubicBezTo>
                    <a:pt x="61" y="238"/>
                    <a:pt x="61" y="238"/>
                    <a:pt x="61" y="238"/>
                  </a:cubicBezTo>
                  <a:cubicBezTo>
                    <a:pt x="57" y="243"/>
                    <a:pt x="57" y="243"/>
                    <a:pt x="57" y="243"/>
                  </a:cubicBezTo>
                  <a:cubicBezTo>
                    <a:pt x="57" y="243"/>
                    <a:pt x="60" y="249"/>
                    <a:pt x="60" y="246"/>
                  </a:cubicBezTo>
                  <a:cubicBezTo>
                    <a:pt x="60" y="243"/>
                    <a:pt x="70" y="251"/>
                    <a:pt x="70" y="251"/>
                  </a:cubicBezTo>
                  <a:cubicBezTo>
                    <a:pt x="74" y="242"/>
                    <a:pt x="74" y="242"/>
                    <a:pt x="74" y="242"/>
                  </a:cubicBezTo>
                  <a:cubicBezTo>
                    <a:pt x="74" y="242"/>
                    <a:pt x="71" y="239"/>
                    <a:pt x="72" y="239"/>
                  </a:cubicBezTo>
                  <a:cubicBezTo>
                    <a:pt x="74" y="239"/>
                    <a:pt x="77" y="232"/>
                    <a:pt x="77" y="232"/>
                  </a:cubicBezTo>
                  <a:cubicBezTo>
                    <a:pt x="76" y="224"/>
                    <a:pt x="76" y="224"/>
                    <a:pt x="76" y="224"/>
                  </a:cubicBezTo>
                  <a:cubicBezTo>
                    <a:pt x="76" y="224"/>
                    <a:pt x="78" y="223"/>
                    <a:pt x="82" y="221"/>
                  </a:cubicBezTo>
                  <a:cubicBezTo>
                    <a:pt x="86" y="219"/>
                    <a:pt x="84" y="215"/>
                    <a:pt x="83" y="213"/>
                  </a:cubicBezTo>
                  <a:cubicBezTo>
                    <a:pt x="81" y="212"/>
                    <a:pt x="77" y="216"/>
                    <a:pt x="76" y="217"/>
                  </a:cubicBezTo>
                  <a:cubicBezTo>
                    <a:pt x="75" y="217"/>
                    <a:pt x="78" y="210"/>
                    <a:pt x="78" y="210"/>
                  </a:cubicBezTo>
                  <a:cubicBezTo>
                    <a:pt x="78" y="210"/>
                    <a:pt x="85" y="210"/>
                    <a:pt x="85" y="206"/>
                  </a:cubicBezTo>
                  <a:cubicBezTo>
                    <a:pt x="85" y="203"/>
                    <a:pt x="88" y="195"/>
                    <a:pt x="88" y="195"/>
                  </a:cubicBezTo>
                  <a:cubicBezTo>
                    <a:pt x="88" y="195"/>
                    <a:pt x="87" y="161"/>
                    <a:pt x="86" y="160"/>
                  </a:cubicBezTo>
                  <a:cubicBezTo>
                    <a:pt x="92" y="155"/>
                    <a:pt x="98" y="134"/>
                    <a:pt x="98" y="134"/>
                  </a:cubicBezTo>
                  <a:close/>
                </a:path>
              </a:pathLst>
            </a:custGeom>
            <a:solidFill>
              <a:schemeClr val="bg1">
                <a:lumMod val="85000"/>
              </a:schemeClr>
            </a:solidFill>
            <a:ln w="3175" cap="flat" cmpd="sng">
              <a:solidFill>
                <a:schemeClr val="bg1"/>
              </a:solidFill>
              <a:prstDash val="solid"/>
              <a:round/>
              <a:headEnd type="none" w="med" len="med"/>
              <a:tailEnd type="none" w="med" len="med"/>
            </a:ln>
            <a:effectLst>
              <a:outerShdw blurRad="127000" dist="50800" dir="2700000" algn="tl" rotWithShape="0">
                <a:prstClr val="black">
                  <a:alpha val="40000"/>
                </a:prstClr>
              </a:outerShdw>
            </a:effectLst>
          </p:spPr>
          <p:txBody>
            <a:bodyPr/>
            <a:lstStyle/>
            <a:p>
              <a:endParaRPr lang="fr-FR" sz="1050">
                <a:solidFill>
                  <a:srgbClr val="503078"/>
                </a:solidFill>
                <a:latin typeface="Tahoma"/>
              </a:endParaRPr>
            </a:p>
          </p:txBody>
        </p:sp>
        <p:grpSp>
          <p:nvGrpSpPr>
            <p:cNvPr id="159" name="Corse (N° Départements)">
              <a:extLst>
                <a:ext uri="{FF2B5EF4-FFF2-40B4-BE49-F238E27FC236}">
                  <a16:creationId xmlns:a16="http://schemas.microsoft.com/office/drawing/2014/main" id="{5E07D00C-D646-4562-B960-B38641C67A83}"/>
                </a:ext>
              </a:extLst>
            </p:cNvPr>
            <p:cNvGrpSpPr/>
            <p:nvPr/>
          </p:nvGrpSpPr>
          <p:grpSpPr>
            <a:xfrm>
              <a:off x="9470044" y="5460060"/>
              <a:ext cx="187661" cy="412721"/>
              <a:chOff x="8716588" y="5629445"/>
              <a:chExt cx="187661" cy="412721"/>
            </a:xfrm>
          </p:grpSpPr>
          <p:sp>
            <p:nvSpPr>
              <p:cNvPr id="296" name="TextBox 247">
                <a:extLst>
                  <a:ext uri="{FF2B5EF4-FFF2-40B4-BE49-F238E27FC236}">
                    <a16:creationId xmlns:a16="http://schemas.microsoft.com/office/drawing/2014/main" id="{52829557-460E-4657-944A-298D46A10D1E}"/>
                  </a:ext>
                </a:extLst>
              </p:cNvPr>
              <p:cNvSpPr txBox="1"/>
              <p:nvPr/>
            </p:nvSpPr>
            <p:spPr>
              <a:xfrm>
                <a:off x="8719419" y="5869582"/>
                <a:ext cx="184830" cy="172584"/>
              </a:xfrm>
              <a:prstGeom prst="rect">
                <a:avLst/>
              </a:prstGeom>
              <a:noFill/>
            </p:spPr>
            <p:txBody>
              <a:bodyPr wrap="none" lIns="0" tIns="0" rIns="0" bIns="0" rtlCol="0">
                <a:noAutofit/>
              </a:bodyPr>
              <a:lstStyle/>
              <a:p>
                <a:r>
                  <a:rPr lang="fr-FR" sz="800">
                    <a:solidFill>
                      <a:srgbClr val="503078"/>
                    </a:solidFill>
                    <a:latin typeface="Tahoma"/>
                  </a:rPr>
                  <a:t>2A</a:t>
                </a:r>
              </a:p>
            </p:txBody>
          </p:sp>
          <p:sp>
            <p:nvSpPr>
              <p:cNvPr id="297" name="TextBox 248">
                <a:extLst>
                  <a:ext uri="{FF2B5EF4-FFF2-40B4-BE49-F238E27FC236}">
                    <a16:creationId xmlns:a16="http://schemas.microsoft.com/office/drawing/2014/main" id="{C1ACAD65-5D86-4016-B6A8-B0DDA83275A7}"/>
                  </a:ext>
                </a:extLst>
              </p:cNvPr>
              <p:cNvSpPr txBox="1"/>
              <p:nvPr/>
            </p:nvSpPr>
            <p:spPr>
              <a:xfrm>
                <a:off x="8716588" y="5629445"/>
                <a:ext cx="184830" cy="166169"/>
              </a:xfrm>
              <a:prstGeom prst="rect">
                <a:avLst/>
              </a:prstGeom>
              <a:noFill/>
            </p:spPr>
            <p:txBody>
              <a:bodyPr wrap="none" lIns="0" tIns="0" rIns="0" bIns="0" rtlCol="0">
                <a:noAutofit/>
              </a:bodyPr>
              <a:lstStyle/>
              <a:p>
                <a:r>
                  <a:rPr lang="fr-FR" sz="800">
                    <a:solidFill>
                      <a:srgbClr val="503078"/>
                    </a:solidFill>
                    <a:latin typeface="Tahoma"/>
                  </a:rPr>
                  <a:t>2B</a:t>
                </a:r>
              </a:p>
            </p:txBody>
          </p:sp>
        </p:grpSp>
        <p:grpSp>
          <p:nvGrpSpPr>
            <p:cNvPr id="160" name="Centre (Formes)">
              <a:extLst>
                <a:ext uri="{FF2B5EF4-FFF2-40B4-BE49-F238E27FC236}">
                  <a16:creationId xmlns:a16="http://schemas.microsoft.com/office/drawing/2014/main" id="{36B035F1-7DB1-4EA1-9E34-753BF8091811}"/>
                </a:ext>
              </a:extLst>
            </p:cNvPr>
            <p:cNvGrpSpPr/>
            <p:nvPr/>
          </p:nvGrpSpPr>
          <p:grpSpPr>
            <a:xfrm>
              <a:off x="6434148" y="2446444"/>
              <a:ext cx="1094676" cy="1356640"/>
              <a:chOff x="5680692" y="2615829"/>
              <a:chExt cx="1094676" cy="1356640"/>
            </a:xfrm>
            <a:solidFill>
              <a:srgbClr val="048B9A"/>
            </a:solidFill>
          </p:grpSpPr>
          <p:sp>
            <p:nvSpPr>
              <p:cNvPr id="290" name="37">
                <a:extLst>
                  <a:ext uri="{FF2B5EF4-FFF2-40B4-BE49-F238E27FC236}">
                    <a16:creationId xmlns:a16="http://schemas.microsoft.com/office/drawing/2014/main" id="{5CB018F3-8F4D-4845-BDAC-551348DC2C55}"/>
                  </a:ext>
                </a:extLst>
              </p:cNvPr>
              <p:cNvSpPr>
                <a:spLocks/>
              </p:cNvSpPr>
              <p:nvPr/>
            </p:nvSpPr>
            <p:spPr bwMode="gray">
              <a:xfrm>
                <a:off x="5680692" y="3259051"/>
                <a:ext cx="462719" cy="497100"/>
              </a:xfrm>
              <a:custGeom>
                <a:avLst/>
                <a:gdLst>
                  <a:gd name="T0" fmla="*/ 0 w 323"/>
                  <a:gd name="T1" fmla="*/ 191 h 347"/>
                  <a:gd name="T2" fmla="*/ 32 w 323"/>
                  <a:gd name="T3" fmla="*/ 208 h 347"/>
                  <a:gd name="T4" fmla="*/ 27 w 323"/>
                  <a:gd name="T5" fmla="*/ 228 h 347"/>
                  <a:gd name="T6" fmla="*/ 59 w 323"/>
                  <a:gd name="T7" fmla="*/ 232 h 347"/>
                  <a:gd name="T8" fmla="*/ 63 w 323"/>
                  <a:gd name="T9" fmla="*/ 276 h 347"/>
                  <a:gd name="T10" fmla="*/ 131 w 323"/>
                  <a:gd name="T11" fmla="*/ 268 h 347"/>
                  <a:gd name="T12" fmla="*/ 125 w 323"/>
                  <a:gd name="T13" fmla="*/ 251 h 347"/>
                  <a:gd name="T14" fmla="*/ 155 w 323"/>
                  <a:gd name="T15" fmla="*/ 264 h 347"/>
                  <a:gd name="T16" fmla="*/ 197 w 323"/>
                  <a:gd name="T17" fmla="*/ 347 h 347"/>
                  <a:gd name="T18" fmla="*/ 231 w 323"/>
                  <a:gd name="T19" fmla="*/ 344 h 347"/>
                  <a:gd name="T20" fmla="*/ 246 w 323"/>
                  <a:gd name="T21" fmla="*/ 259 h 347"/>
                  <a:gd name="T22" fmla="*/ 272 w 323"/>
                  <a:gd name="T23" fmla="*/ 245 h 347"/>
                  <a:gd name="T24" fmla="*/ 297 w 323"/>
                  <a:gd name="T25" fmla="*/ 251 h 347"/>
                  <a:gd name="T26" fmla="*/ 323 w 323"/>
                  <a:gd name="T27" fmla="*/ 219 h 347"/>
                  <a:gd name="T28" fmla="*/ 319 w 323"/>
                  <a:gd name="T29" fmla="*/ 191 h 347"/>
                  <a:gd name="T30" fmla="*/ 297 w 323"/>
                  <a:gd name="T31" fmla="*/ 153 h 347"/>
                  <a:gd name="T32" fmla="*/ 263 w 323"/>
                  <a:gd name="T33" fmla="*/ 149 h 347"/>
                  <a:gd name="T34" fmla="*/ 272 w 323"/>
                  <a:gd name="T35" fmla="*/ 96 h 347"/>
                  <a:gd name="T36" fmla="*/ 248 w 323"/>
                  <a:gd name="T37" fmla="*/ 36 h 347"/>
                  <a:gd name="T38" fmla="*/ 221 w 323"/>
                  <a:gd name="T39" fmla="*/ 26 h 347"/>
                  <a:gd name="T40" fmla="*/ 206 w 323"/>
                  <a:gd name="T41" fmla="*/ 36 h 347"/>
                  <a:gd name="T42" fmla="*/ 206 w 323"/>
                  <a:gd name="T43" fmla="*/ 6 h 347"/>
                  <a:gd name="T44" fmla="*/ 146 w 323"/>
                  <a:gd name="T45" fmla="*/ 0 h 347"/>
                  <a:gd name="T46" fmla="*/ 104 w 323"/>
                  <a:gd name="T47" fmla="*/ 26 h 347"/>
                  <a:gd name="T48" fmla="*/ 89 w 323"/>
                  <a:gd name="T49" fmla="*/ 17 h 347"/>
                  <a:gd name="T50" fmla="*/ 85 w 323"/>
                  <a:gd name="T51" fmla="*/ 43 h 347"/>
                  <a:gd name="T52" fmla="*/ 49 w 323"/>
                  <a:gd name="T53" fmla="*/ 28 h 347"/>
                  <a:gd name="T54" fmla="*/ 0 w 323"/>
                  <a:gd name="T55" fmla="*/ 187 h 347"/>
                  <a:gd name="T56" fmla="*/ 0 w 323"/>
                  <a:gd name="T57" fmla="*/ 1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3" h="347">
                    <a:moveTo>
                      <a:pt x="0" y="191"/>
                    </a:moveTo>
                    <a:lnTo>
                      <a:pt x="32" y="208"/>
                    </a:lnTo>
                    <a:lnTo>
                      <a:pt x="27" y="228"/>
                    </a:lnTo>
                    <a:lnTo>
                      <a:pt x="59" y="232"/>
                    </a:lnTo>
                    <a:lnTo>
                      <a:pt x="63" y="276"/>
                    </a:lnTo>
                    <a:lnTo>
                      <a:pt x="131" y="268"/>
                    </a:lnTo>
                    <a:lnTo>
                      <a:pt x="125" y="251"/>
                    </a:lnTo>
                    <a:lnTo>
                      <a:pt x="155" y="264"/>
                    </a:lnTo>
                    <a:lnTo>
                      <a:pt x="197" y="347"/>
                    </a:lnTo>
                    <a:lnTo>
                      <a:pt x="231" y="344"/>
                    </a:lnTo>
                    <a:lnTo>
                      <a:pt x="246" y="259"/>
                    </a:lnTo>
                    <a:lnTo>
                      <a:pt x="272" y="245"/>
                    </a:lnTo>
                    <a:lnTo>
                      <a:pt x="297" y="251"/>
                    </a:lnTo>
                    <a:lnTo>
                      <a:pt x="323" y="219"/>
                    </a:lnTo>
                    <a:lnTo>
                      <a:pt x="319" y="191"/>
                    </a:lnTo>
                    <a:lnTo>
                      <a:pt x="297" y="153"/>
                    </a:lnTo>
                    <a:lnTo>
                      <a:pt x="263" y="149"/>
                    </a:lnTo>
                    <a:lnTo>
                      <a:pt x="272" y="96"/>
                    </a:lnTo>
                    <a:lnTo>
                      <a:pt x="248" y="36"/>
                    </a:lnTo>
                    <a:lnTo>
                      <a:pt x="221" y="26"/>
                    </a:lnTo>
                    <a:lnTo>
                      <a:pt x="206" y="36"/>
                    </a:lnTo>
                    <a:lnTo>
                      <a:pt x="206" y="6"/>
                    </a:lnTo>
                    <a:lnTo>
                      <a:pt x="146" y="0"/>
                    </a:lnTo>
                    <a:lnTo>
                      <a:pt x="104" y="26"/>
                    </a:lnTo>
                    <a:lnTo>
                      <a:pt x="89" y="17"/>
                    </a:lnTo>
                    <a:lnTo>
                      <a:pt x="85" y="43"/>
                    </a:lnTo>
                    <a:lnTo>
                      <a:pt x="49" y="28"/>
                    </a:lnTo>
                    <a:lnTo>
                      <a:pt x="0" y="187"/>
                    </a:lnTo>
                    <a:lnTo>
                      <a:pt x="0" y="191"/>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91" name="41">
                <a:extLst>
                  <a:ext uri="{FF2B5EF4-FFF2-40B4-BE49-F238E27FC236}">
                    <a16:creationId xmlns:a16="http://schemas.microsoft.com/office/drawing/2014/main" id="{0198AF4A-C8A4-4FE2-803D-B4CB9A304CDB}"/>
                  </a:ext>
                </a:extLst>
              </p:cNvPr>
              <p:cNvSpPr>
                <a:spLocks/>
              </p:cNvSpPr>
              <p:nvPr/>
            </p:nvSpPr>
            <p:spPr bwMode="gray">
              <a:xfrm>
                <a:off x="5878385" y="3034137"/>
                <a:ext cx="584487" cy="498532"/>
              </a:xfrm>
              <a:custGeom>
                <a:avLst/>
                <a:gdLst>
                  <a:gd name="T0" fmla="*/ 4 w 408"/>
                  <a:gd name="T1" fmla="*/ 159 h 348"/>
                  <a:gd name="T2" fmla="*/ 8 w 408"/>
                  <a:gd name="T3" fmla="*/ 157 h 348"/>
                  <a:gd name="T4" fmla="*/ 68 w 408"/>
                  <a:gd name="T5" fmla="*/ 163 h 348"/>
                  <a:gd name="T6" fmla="*/ 68 w 408"/>
                  <a:gd name="T7" fmla="*/ 193 h 348"/>
                  <a:gd name="T8" fmla="*/ 83 w 408"/>
                  <a:gd name="T9" fmla="*/ 183 h 348"/>
                  <a:gd name="T10" fmla="*/ 110 w 408"/>
                  <a:gd name="T11" fmla="*/ 193 h 348"/>
                  <a:gd name="T12" fmla="*/ 134 w 408"/>
                  <a:gd name="T13" fmla="*/ 253 h 348"/>
                  <a:gd name="T14" fmla="*/ 125 w 408"/>
                  <a:gd name="T15" fmla="*/ 306 h 348"/>
                  <a:gd name="T16" fmla="*/ 159 w 408"/>
                  <a:gd name="T17" fmla="*/ 310 h 348"/>
                  <a:gd name="T18" fmla="*/ 181 w 408"/>
                  <a:gd name="T19" fmla="*/ 348 h 348"/>
                  <a:gd name="T20" fmla="*/ 246 w 408"/>
                  <a:gd name="T21" fmla="*/ 317 h 348"/>
                  <a:gd name="T22" fmla="*/ 306 w 408"/>
                  <a:gd name="T23" fmla="*/ 340 h 348"/>
                  <a:gd name="T24" fmla="*/ 323 w 408"/>
                  <a:gd name="T25" fmla="*/ 338 h 348"/>
                  <a:gd name="T26" fmla="*/ 331 w 408"/>
                  <a:gd name="T27" fmla="*/ 314 h 348"/>
                  <a:gd name="T28" fmla="*/ 385 w 408"/>
                  <a:gd name="T29" fmla="*/ 312 h 348"/>
                  <a:gd name="T30" fmla="*/ 376 w 408"/>
                  <a:gd name="T31" fmla="*/ 268 h 348"/>
                  <a:gd name="T32" fmla="*/ 404 w 408"/>
                  <a:gd name="T33" fmla="*/ 274 h 348"/>
                  <a:gd name="T34" fmla="*/ 408 w 408"/>
                  <a:gd name="T35" fmla="*/ 242 h 348"/>
                  <a:gd name="T36" fmla="*/ 378 w 408"/>
                  <a:gd name="T37" fmla="*/ 208 h 348"/>
                  <a:gd name="T38" fmla="*/ 408 w 408"/>
                  <a:gd name="T39" fmla="*/ 193 h 348"/>
                  <a:gd name="T40" fmla="*/ 399 w 408"/>
                  <a:gd name="T41" fmla="*/ 174 h 348"/>
                  <a:gd name="T42" fmla="*/ 368 w 408"/>
                  <a:gd name="T43" fmla="*/ 172 h 348"/>
                  <a:gd name="T44" fmla="*/ 312 w 408"/>
                  <a:gd name="T45" fmla="*/ 168 h 348"/>
                  <a:gd name="T46" fmla="*/ 297 w 408"/>
                  <a:gd name="T47" fmla="*/ 187 h 348"/>
                  <a:gd name="T48" fmla="*/ 278 w 408"/>
                  <a:gd name="T49" fmla="*/ 151 h 348"/>
                  <a:gd name="T50" fmla="*/ 259 w 408"/>
                  <a:gd name="T51" fmla="*/ 140 h 348"/>
                  <a:gd name="T52" fmla="*/ 246 w 408"/>
                  <a:gd name="T53" fmla="*/ 153 h 348"/>
                  <a:gd name="T54" fmla="*/ 236 w 408"/>
                  <a:gd name="T55" fmla="*/ 115 h 348"/>
                  <a:gd name="T56" fmla="*/ 251 w 408"/>
                  <a:gd name="T57" fmla="*/ 95 h 348"/>
                  <a:gd name="T58" fmla="*/ 234 w 408"/>
                  <a:gd name="T59" fmla="*/ 57 h 348"/>
                  <a:gd name="T60" fmla="*/ 212 w 408"/>
                  <a:gd name="T61" fmla="*/ 49 h 348"/>
                  <a:gd name="T62" fmla="*/ 195 w 408"/>
                  <a:gd name="T63" fmla="*/ 68 h 348"/>
                  <a:gd name="T64" fmla="*/ 155 w 408"/>
                  <a:gd name="T65" fmla="*/ 61 h 348"/>
                  <a:gd name="T66" fmla="*/ 134 w 408"/>
                  <a:gd name="T67" fmla="*/ 21 h 348"/>
                  <a:gd name="T68" fmla="*/ 108 w 408"/>
                  <a:gd name="T69" fmla="*/ 17 h 348"/>
                  <a:gd name="T70" fmla="*/ 115 w 408"/>
                  <a:gd name="T71" fmla="*/ 0 h 348"/>
                  <a:gd name="T72" fmla="*/ 70 w 408"/>
                  <a:gd name="T73" fmla="*/ 8 h 348"/>
                  <a:gd name="T74" fmla="*/ 55 w 408"/>
                  <a:gd name="T75" fmla="*/ 23 h 348"/>
                  <a:gd name="T76" fmla="*/ 61 w 408"/>
                  <a:gd name="T77" fmla="*/ 85 h 348"/>
                  <a:gd name="T78" fmla="*/ 44 w 408"/>
                  <a:gd name="T79" fmla="*/ 85 h 348"/>
                  <a:gd name="T80" fmla="*/ 47 w 408"/>
                  <a:gd name="T81" fmla="*/ 108 h 348"/>
                  <a:gd name="T82" fmla="*/ 0 w 408"/>
                  <a:gd name="T83" fmla="*/ 151 h 348"/>
                  <a:gd name="T84" fmla="*/ 4 w 408"/>
                  <a:gd name="T85" fmla="*/ 15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8" h="348">
                    <a:moveTo>
                      <a:pt x="4" y="159"/>
                    </a:moveTo>
                    <a:lnTo>
                      <a:pt x="8" y="157"/>
                    </a:lnTo>
                    <a:lnTo>
                      <a:pt x="68" y="163"/>
                    </a:lnTo>
                    <a:lnTo>
                      <a:pt x="68" y="193"/>
                    </a:lnTo>
                    <a:lnTo>
                      <a:pt x="83" y="183"/>
                    </a:lnTo>
                    <a:lnTo>
                      <a:pt x="110" y="193"/>
                    </a:lnTo>
                    <a:lnTo>
                      <a:pt x="134" y="253"/>
                    </a:lnTo>
                    <a:lnTo>
                      <a:pt x="125" y="306"/>
                    </a:lnTo>
                    <a:lnTo>
                      <a:pt x="159" y="310"/>
                    </a:lnTo>
                    <a:lnTo>
                      <a:pt x="181" y="348"/>
                    </a:lnTo>
                    <a:lnTo>
                      <a:pt x="246" y="317"/>
                    </a:lnTo>
                    <a:lnTo>
                      <a:pt x="306" y="340"/>
                    </a:lnTo>
                    <a:lnTo>
                      <a:pt x="323" y="338"/>
                    </a:lnTo>
                    <a:lnTo>
                      <a:pt x="331" y="314"/>
                    </a:lnTo>
                    <a:lnTo>
                      <a:pt x="385" y="312"/>
                    </a:lnTo>
                    <a:lnTo>
                      <a:pt x="376" y="268"/>
                    </a:lnTo>
                    <a:lnTo>
                      <a:pt x="404" y="274"/>
                    </a:lnTo>
                    <a:lnTo>
                      <a:pt x="408" y="242"/>
                    </a:lnTo>
                    <a:lnTo>
                      <a:pt x="378" y="208"/>
                    </a:lnTo>
                    <a:lnTo>
                      <a:pt x="408" y="193"/>
                    </a:lnTo>
                    <a:lnTo>
                      <a:pt x="399" y="174"/>
                    </a:lnTo>
                    <a:lnTo>
                      <a:pt x="368" y="172"/>
                    </a:lnTo>
                    <a:lnTo>
                      <a:pt x="312" y="168"/>
                    </a:lnTo>
                    <a:lnTo>
                      <a:pt x="297" y="187"/>
                    </a:lnTo>
                    <a:lnTo>
                      <a:pt x="278" y="151"/>
                    </a:lnTo>
                    <a:lnTo>
                      <a:pt x="259" y="140"/>
                    </a:lnTo>
                    <a:lnTo>
                      <a:pt x="246" y="153"/>
                    </a:lnTo>
                    <a:lnTo>
                      <a:pt x="236" y="115"/>
                    </a:lnTo>
                    <a:lnTo>
                      <a:pt x="251" y="95"/>
                    </a:lnTo>
                    <a:lnTo>
                      <a:pt x="234" y="57"/>
                    </a:lnTo>
                    <a:lnTo>
                      <a:pt x="212" y="49"/>
                    </a:lnTo>
                    <a:lnTo>
                      <a:pt x="195" y="68"/>
                    </a:lnTo>
                    <a:lnTo>
                      <a:pt x="155" y="61"/>
                    </a:lnTo>
                    <a:lnTo>
                      <a:pt x="134" y="21"/>
                    </a:lnTo>
                    <a:lnTo>
                      <a:pt x="108" y="17"/>
                    </a:lnTo>
                    <a:lnTo>
                      <a:pt x="115" y="0"/>
                    </a:lnTo>
                    <a:lnTo>
                      <a:pt x="70" y="8"/>
                    </a:lnTo>
                    <a:lnTo>
                      <a:pt x="55" y="23"/>
                    </a:lnTo>
                    <a:lnTo>
                      <a:pt x="61" y="85"/>
                    </a:lnTo>
                    <a:lnTo>
                      <a:pt x="44" y="85"/>
                    </a:lnTo>
                    <a:lnTo>
                      <a:pt x="47" y="108"/>
                    </a:lnTo>
                    <a:lnTo>
                      <a:pt x="0" y="151"/>
                    </a:lnTo>
                    <a:lnTo>
                      <a:pt x="4" y="159"/>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92" name="28">
                <a:extLst>
                  <a:ext uri="{FF2B5EF4-FFF2-40B4-BE49-F238E27FC236}">
                    <a16:creationId xmlns:a16="http://schemas.microsoft.com/office/drawing/2014/main" id="{39363489-51D6-4765-893B-449FB179BFC5}"/>
                  </a:ext>
                </a:extLst>
              </p:cNvPr>
              <p:cNvSpPr>
                <a:spLocks/>
              </p:cNvSpPr>
              <p:nvPr/>
            </p:nvSpPr>
            <p:spPr bwMode="gray">
              <a:xfrm>
                <a:off x="5951445" y="2615829"/>
                <a:ext cx="429769" cy="515724"/>
              </a:xfrm>
              <a:custGeom>
                <a:avLst/>
                <a:gdLst>
                  <a:gd name="T0" fmla="*/ 2 w 300"/>
                  <a:gd name="T1" fmla="*/ 230 h 360"/>
                  <a:gd name="T2" fmla="*/ 6 w 300"/>
                  <a:gd name="T3" fmla="*/ 268 h 360"/>
                  <a:gd name="T4" fmla="*/ 36 w 300"/>
                  <a:gd name="T5" fmla="*/ 285 h 360"/>
                  <a:gd name="T6" fmla="*/ 19 w 300"/>
                  <a:gd name="T7" fmla="*/ 300 h 360"/>
                  <a:gd name="T8" fmla="*/ 64 w 300"/>
                  <a:gd name="T9" fmla="*/ 292 h 360"/>
                  <a:gd name="T10" fmla="*/ 57 w 300"/>
                  <a:gd name="T11" fmla="*/ 309 h 360"/>
                  <a:gd name="T12" fmla="*/ 83 w 300"/>
                  <a:gd name="T13" fmla="*/ 313 h 360"/>
                  <a:gd name="T14" fmla="*/ 104 w 300"/>
                  <a:gd name="T15" fmla="*/ 353 h 360"/>
                  <a:gd name="T16" fmla="*/ 144 w 300"/>
                  <a:gd name="T17" fmla="*/ 360 h 360"/>
                  <a:gd name="T18" fmla="*/ 161 w 300"/>
                  <a:gd name="T19" fmla="*/ 341 h 360"/>
                  <a:gd name="T20" fmla="*/ 183 w 300"/>
                  <a:gd name="T21" fmla="*/ 349 h 360"/>
                  <a:gd name="T22" fmla="*/ 185 w 300"/>
                  <a:gd name="T23" fmla="*/ 341 h 360"/>
                  <a:gd name="T24" fmla="*/ 215 w 300"/>
                  <a:gd name="T25" fmla="*/ 317 h 360"/>
                  <a:gd name="T26" fmla="*/ 268 w 300"/>
                  <a:gd name="T27" fmla="*/ 315 h 360"/>
                  <a:gd name="T28" fmla="*/ 293 w 300"/>
                  <a:gd name="T29" fmla="*/ 283 h 360"/>
                  <a:gd name="T30" fmla="*/ 300 w 300"/>
                  <a:gd name="T31" fmla="*/ 243 h 360"/>
                  <a:gd name="T32" fmla="*/ 285 w 300"/>
                  <a:gd name="T33" fmla="*/ 179 h 360"/>
                  <a:gd name="T34" fmla="*/ 257 w 300"/>
                  <a:gd name="T35" fmla="*/ 175 h 360"/>
                  <a:gd name="T36" fmla="*/ 251 w 300"/>
                  <a:gd name="T37" fmla="*/ 143 h 360"/>
                  <a:gd name="T38" fmla="*/ 208 w 300"/>
                  <a:gd name="T39" fmla="*/ 103 h 360"/>
                  <a:gd name="T40" fmla="*/ 208 w 300"/>
                  <a:gd name="T41" fmla="*/ 39 h 360"/>
                  <a:gd name="T42" fmla="*/ 187 w 300"/>
                  <a:gd name="T43" fmla="*/ 0 h 360"/>
                  <a:gd name="T44" fmla="*/ 144 w 300"/>
                  <a:gd name="T45" fmla="*/ 64 h 360"/>
                  <a:gd name="T46" fmla="*/ 93 w 300"/>
                  <a:gd name="T47" fmla="*/ 54 h 360"/>
                  <a:gd name="T48" fmla="*/ 17 w 300"/>
                  <a:gd name="T49" fmla="*/ 94 h 360"/>
                  <a:gd name="T50" fmla="*/ 53 w 300"/>
                  <a:gd name="T51" fmla="*/ 179 h 360"/>
                  <a:gd name="T52" fmla="*/ 0 w 300"/>
                  <a:gd name="T53" fmla="*/ 230 h 360"/>
                  <a:gd name="T54" fmla="*/ 2 w 300"/>
                  <a:gd name="T55" fmla="*/ 23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0" h="360">
                    <a:moveTo>
                      <a:pt x="2" y="230"/>
                    </a:moveTo>
                    <a:lnTo>
                      <a:pt x="6" y="268"/>
                    </a:lnTo>
                    <a:lnTo>
                      <a:pt x="36" y="285"/>
                    </a:lnTo>
                    <a:lnTo>
                      <a:pt x="19" y="300"/>
                    </a:lnTo>
                    <a:lnTo>
                      <a:pt x="64" y="292"/>
                    </a:lnTo>
                    <a:lnTo>
                      <a:pt x="57" y="309"/>
                    </a:lnTo>
                    <a:lnTo>
                      <a:pt x="83" y="313"/>
                    </a:lnTo>
                    <a:lnTo>
                      <a:pt x="104" y="353"/>
                    </a:lnTo>
                    <a:lnTo>
                      <a:pt x="144" y="360"/>
                    </a:lnTo>
                    <a:lnTo>
                      <a:pt x="161" y="341"/>
                    </a:lnTo>
                    <a:lnTo>
                      <a:pt x="183" y="349"/>
                    </a:lnTo>
                    <a:lnTo>
                      <a:pt x="185" y="341"/>
                    </a:lnTo>
                    <a:lnTo>
                      <a:pt x="215" y="317"/>
                    </a:lnTo>
                    <a:lnTo>
                      <a:pt x="268" y="315"/>
                    </a:lnTo>
                    <a:lnTo>
                      <a:pt x="293" y="283"/>
                    </a:lnTo>
                    <a:lnTo>
                      <a:pt x="300" y="243"/>
                    </a:lnTo>
                    <a:lnTo>
                      <a:pt x="285" y="179"/>
                    </a:lnTo>
                    <a:lnTo>
                      <a:pt x="257" y="175"/>
                    </a:lnTo>
                    <a:lnTo>
                      <a:pt x="251" y="143"/>
                    </a:lnTo>
                    <a:lnTo>
                      <a:pt x="208" y="103"/>
                    </a:lnTo>
                    <a:lnTo>
                      <a:pt x="208" y="39"/>
                    </a:lnTo>
                    <a:lnTo>
                      <a:pt x="187" y="0"/>
                    </a:lnTo>
                    <a:lnTo>
                      <a:pt x="144" y="64"/>
                    </a:lnTo>
                    <a:lnTo>
                      <a:pt x="93" y="54"/>
                    </a:lnTo>
                    <a:lnTo>
                      <a:pt x="17" y="94"/>
                    </a:lnTo>
                    <a:lnTo>
                      <a:pt x="53" y="179"/>
                    </a:lnTo>
                    <a:lnTo>
                      <a:pt x="0" y="230"/>
                    </a:lnTo>
                    <a:lnTo>
                      <a:pt x="2" y="230"/>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93" name="18">
                <a:extLst>
                  <a:ext uri="{FF2B5EF4-FFF2-40B4-BE49-F238E27FC236}">
                    <a16:creationId xmlns:a16="http://schemas.microsoft.com/office/drawing/2014/main" id="{478F81ED-28C5-40D6-8A27-0A0E672377B3}"/>
                  </a:ext>
                </a:extLst>
              </p:cNvPr>
              <p:cNvSpPr>
                <a:spLocks/>
              </p:cNvSpPr>
              <p:nvPr/>
            </p:nvSpPr>
            <p:spPr bwMode="gray">
              <a:xfrm>
                <a:off x="6292396" y="3310623"/>
                <a:ext cx="465585" cy="630329"/>
              </a:xfrm>
              <a:custGeom>
                <a:avLst/>
                <a:gdLst>
                  <a:gd name="T0" fmla="*/ 2 w 325"/>
                  <a:gd name="T1" fmla="*/ 177 h 440"/>
                  <a:gd name="T2" fmla="*/ 17 w 325"/>
                  <a:gd name="T3" fmla="*/ 147 h 440"/>
                  <a:gd name="T4" fmla="*/ 34 w 325"/>
                  <a:gd name="T5" fmla="*/ 145 h 440"/>
                  <a:gd name="T6" fmla="*/ 42 w 325"/>
                  <a:gd name="T7" fmla="*/ 121 h 440"/>
                  <a:gd name="T8" fmla="*/ 96 w 325"/>
                  <a:gd name="T9" fmla="*/ 119 h 440"/>
                  <a:gd name="T10" fmla="*/ 87 w 325"/>
                  <a:gd name="T11" fmla="*/ 75 h 440"/>
                  <a:gd name="T12" fmla="*/ 115 w 325"/>
                  <a:gd name="T13" fmla="*/ 81 h 440"/>
                  <a:gd name="T14" fmla="*/ 119 w 325"/>
                  <a:gd name="T15" fmla="*/ 49 h 440"/>
                  <a:gd name="T16" fmla="*/ 89 w 325"/>
                  <a:gd name="T17" fmla="*/ 15 h 440"/>
                  <a:gd name="T18" fmla="*/ 119 w 325"/>
                  <a:gd name="T19" fmla="*/ 0 h 440"/>
                  <a:gd name="T20" fmla="*/ 193 w 325"/>
                  <a:gd name="T21" fmla="*/ 19 h 440"/>
                  <a:gd name="T22" fmla="*/ 223 w 325"/>
                  <a:gd name="T23" fmla="*/ 53 h 440"/>
                  <a:gd name="T24" fmla="*/ 240 w 325"/>
                  <a:gd name="T25" fmla="*/ 34 h 440"/>
                  <a:gd name="T26" fmla="*/ 259 w 325"/>
                  <a:gd name="T27" fmla="*/ 49 h 440"/>
                  <a:gd name="T28" fmla="*/ 274 w 325"/>
                  <a:gd name="T29" fmla="*/ 41 h 440"/>
                  <a:gd name="T30" fmla="*/ 289 w 325"/>
                  <a:gd name="T31" fmla="*/ 72 h 440"/>
                  <a:gd name="T32" fmla="*/ 274 w 325"/>
                  <a:gd name="T33" fmla="*/ 109 h 440"/>
                  <a:gd name="T34" fmla="*/ 302 w 325"/>
                  <a:gd name="T35" fmla="*/ 136 h 440"/>
                  <a:gd name="T36" fmla="*/ 325 w 325"/>
                  <a:gd name="T37" fmla="*/ 219 h 440"/>
                  <a:gd name="T38" fmla="*/ 310 w 325"/>
                  <a:gd name="T39" fmla="*/ 304 h 440"/>
                  <a:gd name="T40" fmla="*/ 283 w 325"/>
                  <a:gd name="T41" fmla="*/ 306 h 440"/>
                  <a:gd name="T42" fmla="*/ 266 w 325"/>
                  <a:gd name="T43" fmla="*/ 330 h 440"/>
                  <a:gd name="T44" fmla="*/ 229 w 325"/>
                  <a:gd name="T45" fmla="*/ 325 h 440"/>
                  <a:gd name="T46" fmla="*/ 198 w 325"/>
                  <a:gd name="T47" fmla="*/ 353 h 440"/>
                  <a:gd name="T48" fmla="*/ 208 w 325"/>
                  <a:gd name="T49" fmla="*/ 394 h 440"/>
                  <a:gd name="T50" fmla="*/ 144 w 325"/>
                  <a:gd name="T51" fmla="*/ 406 h 440"/>
                  <a:gd name="T52" fmla="*/ 119 w 325"/>
                  <a:gd name="T53" fmla="*/ 440 h 440"/>
                  <a:gd name="T54" fmla="*/ 93 w 325"/>
                  <a:gd name="T55" fmla="*/ 438 h 440"/>
                  <a:gd name="T56" fmla="*/ 100 w 325"/>
                  <a:gd name="T57" fmla="*/ 357 h 440"/>
                  <a:gd name="T58" fmla="*/ 70 w 325"/>
                  <a:gd name="T59" fmla="*/ 323 h 440"/>
                  <a:gd name="T60" fmla="*/ 83 w 325"/>
                  <a:gd name="T61" fmla="*/ 311 h 440"/>
                  <a:gd name="T62" fmla="*/ 66 w 325"/>
                  <a:gd name="T63" fmla="*/ 289 h 440"/>
                  <a:gd name="T64" fmla="*/ 93 w 325"/>
                  <a:gd name="T65" fmla="*/ 262 h 440"/>
                  <a:gd name="T66" fmla="*/ 72 w 325"/>
                  <a:gd name="T67" fmla="*/ 251 h 440"/>
                  <a:gd name="T68" fmla="*/ 83 w 325"/>
                  <a:gd name="T69" fmla="*/ 228 h 440"/>
                  <a:gd name="T70" fmla="*/ 55 w 325"/>
                  <a:gd name="T71" fmla="*/ 181 h 440"/>
                  <a:gd name="T72" fmla="*/ 0 w 325"/>
                  <a:gd name="T73" fmla="*/ 179 h 440"/>
                  <a:gd name="T74" fmla="*/ 2 w 325"/>
                  <a:gd name="T75" fmla="*/ 177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5" h="440">
                    <a:moveTo>
                      <a:pt x="2" y="177"/>
                    </a:moveTo>
                    <a:lnTo>
                      <a:pt x="17" y="147"/>
                    </a:lnTo>
                    <a:lnTo>
                      <a:pt x="34" y="145"/>
                    </a:lnTo>
                    <a:lnTo>
                      <a:pt x="42" y="121"/>
                    </a:lnTo>
                    <a:lnTo>
                      <a:pt x="96" y="119"/>
                    </a:lnTo>
                    <a:lnTo>
                      <a:pt x="87" y="75"/>
                    </a:lnTo>
                    <a:lnTo>
                      <a:pt x="115" y="81"/>
                    </a:lnTo>
                    <a:lnTo>
                      <a:pt x="119" y="49"/>
                    </a:lnTo>
                    <a:lnTo>
                      <a:pt x="89" y="15"/>
                    </a:lnTo>
                    <a:lnTo>
                      <a:pt x="119" y="0"/>
                    </a:lnTo>
                    <a:lnTo>
                      <a:pt x="193" y="19"/>
                    </a:lnTo>
                    <a:lnTo>
                      <a:pt x="223" y="53"/>
                    </a:lnTo>
                    <a:lnTo>
                      <a:pt x="240" y="34"/>
                    </a:lnTo>
                    <a:lnTo>
                      <a:pt x="259" y="49"/>
                    </a:lnTo>
                    <a:lnTo>
                      <a:pt x="274" y="41"/>
                    </a:lnTo>
                    <a:lnTo>
                      <a:pt x="289" y="72"/>
                    </a:lnTo>
                    <a:lnTo>
                      <a:pt x="274" y="109"/>
                    </a:lnTo>
                    <a:lnTo>
                      <a:pt x="302" y="136"/>
                    </a:lnTo>
                    <a:lnTo>
                      <a:pt x="325" y="219"/>
                    </a:lnTo>
                    <a:lnTo>
                      <a:pt x="310" y="304"/>
                    </a:lnTo>
                    <a:lnTo>
                      <a:pt x="283" y="306"/>
                    </a:lnTo>
                    <a:lnTo>
                      <a:pt x="266" y="330"/>
                    </a:lnTo>
                    <a:lnTo>
                      <a:pt x="229" y="325"/>
                    </a:lnTo>
                    <a:lnTo>
                      <a:pt x="198" y="353"/>
                    </a:lnTo>
                    <a:lnTo>
                      <a:pt x="208" y="394"/>
                    </a:lnTo>
                    <a:lnTo>
                      <a:pt x="144" y="406"/>
                    </a:lnTo>
                    <a:lnTo>
                      <a:pt x="119" y="440"/>
                    </a:lnTo>
                    <a:lnTo>
                      <a:pt x="93" y="438"/>
                    </a:lnTo>
                    <a:lnTo>
                      <a:pt x="100" y="357"/>
                    </a:lnTo>
                    <a:lnTo>
                      <a:pt x="70" y="323"/>
                    </a:lnTo>
                    <a:lnTo>
                      <a:pt x="83" y="311"/>
                    </a:lnTo>
                    <a:lnTo>
                      <a:pt x="66" y="289"/>
                    </a:lnTo>
                    <a:lnTo>
                      <a:pt x="93" y="262"/>
                    </a:lnTo>
                    <a:lnTo>
                      <a:pt x="72" y="251"/>
                    </a:lnTo>
                    <a:lnTo>
                      <a:pt x="83" y="228"/>
                    </a:lnTo>
                    <a:lnTo>
                      <a:pt x="55" y="181"/>
                    </a:lnTo>
                    <a:lnTo>
                      <a:pt x="0" y="179"/>
                    </a:lnTo>
                    <a:lnTo>
                      <a:pt x="2" y="177"/>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94" name="36">
                <a:extLst>
                  <a:ext uri="{FF2B5EF4-FFF2-40B4-BE49-F238E27FC236}">
                    <a16:creationId xmlns:a16="http://schemas.microsoft.com/office/drawing/2014/main" id="{233AE613-173D-4312-A1FA-A8065CDF1646}"/>
                  </a:ext>
                </a:extLst>
              </p:cNvPr>
              <p:cNvSpPr>
                <a:spLocks/>
              </p:cNvSpPr>
              <p:nvPr/>
            </p:nvSpPr>
            <p:spPr bwMode="gray">
              <a:xfrm>
                <a:off x="5962906" y="3488262"/>
                <a:ext cx="472746" cy="484207"/>
              </a:xfrm>
              <a:custGeom>
                <a:avLst/>
                <a:gdLst>
                  <a:gd name="T0" fmla="*/ 2 w 330"/>
                  <a:gd name="T1" fmla="*/ 191 h 338"/>
                  <a:gd name="T2" fmla="*/ 9 w 330"/>
                  <a:gd name="T3" fmla="*/ 244 h 338"/>
                  <a:gd name="T4" fmla="*/ 68 w 330"/>
                  <a:gd name="T5" fmla="*/ 278 h 338"/>
                  <a:gd name="T6" fmla="*/ 68 w 330"/>
                  <a:gd name="T7" fmla="*/ 299 h 338"/>
                  <a:gd name="T8" fmla="*/ 83 w 330"/>
                  <a:gd name="T9" fmla="*/ 306 h 338"/>
                  <a:gd name="T10" fmla="*/ 75 w 330"/>
                  <a:gd name="T11" fmla="*/ 323 h 338"/>
                  <a:gd name="T12" fmla="*/ 119 w 330"/>
                  <a:gd name="T13" fmla="*/ 318 h 338"/>
                  <a:gd name="T14" fmla="*/ 136 w 330"/>
                  <a:gd name="T15" fmla="*/ 338 h 338"/>
                  <a:gd name="T16" fmla="*/ 162 w 330"/>
                  <a:gd name="T17" fmla="*/ 310 h 338"/>
                  <a:gd name="T18" fmla="*/ 211 w 330"/>
                  <a:gd name="T19" fmla="*/ 325 h 338"/>
                  <a:gd name="T20" fmla="*/ 230 w 330"/>
                  <a:gd name="T21" fmla="*/ 301 h 338"/>
                  <a:gd name="T22" fmla="*/ 323 w 330"/>
                  <a:gd name="T23" fmla="*/ 314 h 338"/>
                  <a:gd name="T24" fmla="*/ 330 w 330"/>
                  <a:gd name="T25" fmla="*/ 233 h 338"/>
                  <a:gd name="T26" fmla="*/ 300 w 330"/>
                  <a:gd name="T27" fmla="*/ 199 h 338"/>
                  <a:gd name="T28" fmla="*/ 313 w 330"/>
                  <a:gd name="T29" fmla="*/ 187 h 338"/>
                  <a:gd name="T30" fmla="*/ 296 w 330"/>
                  <a:gd name="T31" fmla="*/ 165 h 338"/>
                  <a:gd name="T32" fmla="*/ 323 w 330"/>
                  <a:gd name="T33" fmla="*/ 138 h 338"/>
                  <a:gd name="T34" fmla="*/ 302 w 330"/>
                  <a:gd name="T35" fmla="*/ 127 h 338"/>
                  <a:gd name="T36" fmla="*/ 313 w 330"/>
                  <a:gd name="T37" fmla="*/ 104 h 338"/>
                  <a:gd name="T38" fmla="*/ 285 w 330"/>
                  <a:gd name="T39" fmla="*/ 57 h 338"/>
                  <a:gd name="T40" fmla="*/ 230 w 330"/>
                  <a:gd name="T41" fmla="*/ 55 h 338"/>
                  <a:gd name="T42" fmla="*/ 232 w 330"/>
                  <a:gd name="T43" fmla="*/ 53 h 338"/>
                  <a:gd name="T44" fmla="*/ 247 w 330"/>
                  <a:gd name="T45" fmla="*/ 23 h 338"/>
                  <a:gd name="T46" fmla="*/ 187 w 330"/>
                  <a:gd name="T47" fmla="*/ 0 h 338"/>
                  <a:gd name="T48" fmla="*/ 122 w 330"/>
                  <a:gd name="T49" fmla="*/ 31 h 338"/>
                  <a:gd name="T50" fmla="*/ 126 w 330"/>
                  <a:gd name="T51" fmla="*/ 59 h 338"/>
                  <a:gd name="T52" fmla="*/ 100 w 330"/>
                  <a:gd name="T53" fmla="*/ 91 h 338"/>
                  <a:gd name="T54" fmla="*/ 75 w 330"/>
                  <a:gd name="T55" fmla="*/ 85 h 338"/>
                  <a:gd name="T56" fmla="*/ 49 w 330"/>
                  <a:gd name="T57" fmla="*/ 99 h 338"/>
                  <a:gd name="T58" fmla="*/ 34 w 330"/>
                  <a:gd name="T59" fmla="*/ 184 h 338"/>
                  <a:gd name="T60" fmla="*/ 0 w 330"/>
                  <a:gd name="T61" fmla="*/ 187 h 338"/>
                  <a:gd name="T62" fmla="*/ 2 w 330"/>
                  <a:gd name="T63" fmla="*/ 19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0" h="338">
                    <a:moveTo>
                      <a:pt x="2" y="191"/>
                    </a:moveTo>
                    <a:lnTo>
                      <a:pt x="9" y="244"/>
                    </a:lnTo>
                    <a:lnTo>
                      <a:pt x="68" y="278"/>
                    </a:lnTo>
                    <a:lnTo>
                      <a:pt x="68" y="299"/>
                    </a:lnTo>
                    <a:lnTo>
                      <a:pt x="83" y="306"/>
                    </a:lnTo>
                    <a:lnTo>
                      <a:pt x="75" y="323"/>
                    </a:lnTo>
                    <a:lnTo>
                      <a:pt x="119" y="318"/>
                    </a:lnTo>
                    <a:lnTo>
                      <a:pt x="136" y="338"/>
                    </a:lnTo>
                    <a:lnTo>
                      <a:pt x="162" y="310"/>
                    </a:lnTo>
                    <a:lnTo>
                      <a:pt x="211" y="325"/>
                    </a:lnTo>
                    <a:lnTo>
                      <a:pt x="230" y="301"/>
                    </a:lnTo>
                    <a:lnTo>
                      <a:pt x="323" y="314"/>
                    </a:lnTo>
                    <a:lnTo>
                      <a:pt x="330" y="233"/>
                    </a:lnTo>
                    <a:lnTo>
                      <a:pt x="300" y="199"/>
                    </a:lnTo>
                    <a:lnTo>
                      <a:pt x="313" y="187"/>
                    </a:lnTo>
                    <a:lnTo>
                      <a:pt x="296" y="165"/>
                    </a:lnTo>
                    <a:lnTo>
                      <a:pt x="323" y="138"/>
                    </a:lnTo>
                    <a:lnTo>
                      <a:pt x="302" y="127"/>
                    </a:lnTo>
                    <a:lnTo>
                      <a:pt x="313" y="104"/>
                    </a:lnTo>
                    <a:lnTo>
                      <a:pt x="285" y="57"/>
                    </a:lnTo>
                    <a:lnTo>
                      <a:pt x="230" y="55"/>
                    </a:lnTo>
                    <a:lnTo>
                      <a:pt x="232" y="53"/>
                    </a:lnTo>
                    <a:lnTo>
                      <a:pt x="247" y="23"/>
                    </a:lnTo>
                    <a:lnTo>
                      <a:pt x="187" y="0"/>
                    </a:lnTo>
                    <a:lnTo>
                      <a:pt x="122" y="31"/>
                    </a:lnTo>
                    <a:lnTo>
                      <a:pt x="126" y="59"/>
                    </a:lnTo>
                    <a:lnTo>
                      <a:pt x="100" y="91"/>
                    </a:lnTo>
                    <a:lnTo>
                      <a:pt x="75" y="85"/>
                    </a:lnTo>
                    <a:lnTo>
                      <a:pt x="49" y="99"/>
                    </a:lnTo>
                    <a:lnTo>
                      <a:pt x="34" y="184"/>
                    </a:lnTo>
                    <a:lnTo>
                      <a:pt x="0" y="187"/>
                    </a:lnTo>
                    <a:lnTo>
                      <a:pt x="2" y="191"/>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95" name="45">
                <a:extLst>
                  <a:ext uri="{FF2B5EF4-FFF2-40B4-BE49-F238E27FC236}">
                    <a16:creationId xmlns:a16="http://schemas.microsoft.com/office/drawing/2014/main" id="{B0BB53B2-A58D-4F60-982C-88B82DD59241}"/>
                  </a:ext>
                </a:extLst>
              </p:cNvPr>
              <p:cNvSpPr>
                <a:spLocks/>
              </p:cNvSpPr>
              <p:nvPr/>
            </p:nvSpPr>
            <p:spPr bwMode="gray">
              <a:xfrm>
                <a:off x="6212370" y="2936718"/>
                <a:ext cx="562998" cy="449825"/>
              </a:xfrm>
              <a:custGeom>
                <a:avLst/>
                <a:gdLst>
                  <a:gd name="T0" fmla="*/ 2 w 393"/>
                  <a:gd name="T1" fmla="*/ 117 h 314"/>
                  <a:gd name="T2" fmla="*/ 32 w 393"/>
                  <a:gd name="T3" fmla="*/ 93 h 314"/>
                  <a:gd name="T4" fmla="*/ 85 w 393"/>
                  <a:gd name="T5" fmla="*/ 91 h 314"/>
                  <a:gd name="T6" fmla="*/ 110 w 393"/>
                  <a:gd name="T7" fmla="*/ 59 h 314"/>
                  <a:gd name="T8" fmla="*/ 117 w 393"/>
                  <a:gd name="T9" fmla="*/ 19 h 314"/>
                  <a:gd name="T10" fmla="*/ 170 w 393"/>
                  <a:gd name="T11" fmla="*/ 0 h 314"/>
                  <a:gd name="T12" fmla="*/ 178 w 393"/>
                  <a:gd name="T13" fmla="*/ 15 h 314"/>
                  <a:gd name="T14" fmla="*/ 216 w 393"/>
                  <a:gd name="T15" fmla="*/ 8 h 314"/>
                  <a:gd name="T16" fmla="*/ 246 w 393"/>
                  <a:gd name="T17" fmla="*/ 53 h 314"/>
                  <a:gd name="T18" fmla="*/ 231 w 393"/>
                  <a:gd name="T19" fmla="*/ 78 h 314"/>
                  <a:gd name="T20" fmla="*/ 348 w 393"/>
                  <a:gd name="T21" fmla="*/ 66 h 314"/>
                  <a:gd name="T22" fmla="*/ 370 w 393"/>
                  <a:gd name="T23" fmla="*/ 76 h 314"/>
                  <a:gd name="T24" fmla="*/ 393 w 393"/>
                  <a:gd name="T25" fmla="*/ 138 h 314"/>
                  <a:gd name="T26" fmla="*/ 363 w 393"/>
                  <a:gd name="T27" fmla="*/ 166 h 314"/>
                  <a:gd name="T28" fmla="*/ 367 w 393"/>
                  <a:gd name="T29" fmla="*/ 204 h 314"/>
                  <a:gd name="T30" fmla="*/ 325 w 393"/>
                  <a:gd name="T31" fmla="*/ 225 h 314"/>
                  <a:gd name="T32" fmla="*/ 325 w 393"/>
                  <a:gd name="T33" fmla="*/ 229 h 314"/>
                  <a:gd name="T34" fmla="*/ 355 w 393"/>
                  <a:gd name="T35" fmla="*/ 282 h 314"/>
                  <a:gd name="T36" fmla="*/ 327 w 393"/>
                  <a:gd name="T37" fmla="*/ 291 h 314"/>
                  <a:gd name="T38" fmla="*/ 323 w 393"/>
                  <a:gd name="T39" fmla="*/ 291 h 314"/>
                  <a:gd name="T40" fmla="*/ 329 w 393"/>
                  <a:gd name="T41" fmla="*/ 302 h 314"/>
                  <a:gd name="T42" fmla="*/ 314 w 393"/>
                  <a:gd name="T43" fmla="*/ 310 h 314"/>
                  <a:gd name="T44" fmla="*/ 295 w 393"/>
                  <a:gd name="T45" fmla="*/ 295 h 314"/>
                  <a:gd name="T46" fmla="*/ 278 w 393"/>
                  <a:gd name="T47" fmla="*/ 314 h 314"/>
                  <a:gd name="T48" fmla="*/ 248 w 393"/>
                  <a:gd name="T49" fmla="*/ 280 h 314"/>
                  <a:gd name="T50" fmla="*/ 174 w 393"/>
                  <a:gd name="T51" fmla="*/ 261 h 314"/>
                  <a:gd name="T52" fmla="*/ 165 w 393"/>
                  <a:gd name="T53" fmla="*/ 242 h 314"/>
                  <a:gd name="T54" fmla="*/ 134 w 393"/>
                  <a:gd name="T55" fmla="*/ 240 h 314"/>
                  <a:gd name="T56" fmla="*/ 78 w 393"/>
                  <a:gd name="T57" fmla="*/ 236 h 314"/>
                  <a:gd name="T58" fmla="*/ 63 w 393"/>
                  <a:gd name="T59" fmla="*/ 255 h 314"/>
                  <a:gd name="T60" fmla="*/ 44 w 393"/>
                  <a:gd name="T61" fmla="*/ 219 h 314"/>
                  <a:gd name="T62" fmla="*/ 25 w 393"/>
                  <a:gd name="T63" fmla="*/ 208 h 314"/>
                  <a:gd name="T64" fmla="*/ 12 w 393"/>
                  <a:gd name="T65" fmla="*/ 221 h 314"/>
                  <a:gd name="T66" fmla="*/ 2 w 393"/>
                  <a:gd name="T67" fmla="*/ 183 h 314"/>
                  <a:gd name="T68" fmla="*/ 17 w 393"/>
                  <a:gd name="T69" fmla="*/ 163 h 314"/>
                  <a:gd name="T70" fmla="*/ 0 w 393"/>
                  <a:gd name="T71" fmla="*/ 125 h 314"/>
                  <a:gd name="T72" fmla="*/ 2 w 393"/>
                  <a:gd name="T73" fmla="*/ 11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3" h="314">
                    <a:moveTo>
                      <a:pt x="2" y="117"/>
                    </a:moveTo>
                    <a:lnTo>
                      <a:pt x="32" y="93"/>
                    </a:lnTo>
                    <a:lnTo>
                      <a:pt x="85" y="91"/>
                    </a:lnTo>
                    <a:lnTo>
                      <a:pt x="110" y="59"/>
                    </a:lnTo>
                    <a:lnTo>
                      <a:pt x="117" y="19"/>
                    </a:lnTo>
                    <a:lnTo>
                      <a:pt x="170" y="0"/>
                    </a:lnTo>
                    <a:lnTo>
                      <a:pt x="178" y="15"/>
                    </a:lnTo>
                    <a:lnTo>
                      <a:pt x="216" y="8"/>
                    </a:lnTo>
                    <a:lnTo>
                      <a:pt x="246" y="53"/>
                    </a:lnTo>
                    <a:lnTo>
                      <a:pt x="231" y="78"/>
                    </a:lnTo>
                    <a:lnTo>
                      <a:pt x="348" y="66"/>
                    </a:lnTo>
                    <a:lnTo>
                      <a:pt x="370" y="76"/>
                    </a:lnTo>
                    <a:lnTo>
                      <a:pt x="393" y="138"/>
                    </a:lnTo>
                    <a:lnTo>
                      <a:pt x="363" y="166"/>
                    </a:lnTo>
                    <a:lnTo>
                      <a:pt x="367" y="204"/>
                    </a:lnTo>
                    <a:lnTo>
                      <a:pt x="325" y="225"/>
                    </a:lnTo>
                    <a:lnTo>
                      <a:pt x="325" y="229"/>
                    </a:lnTo>
                    <a:lnTo>
                      <a:pt x="355" y="282"/>
                    </a:lnTo>
                    <a:lnTo>
                      <a:pt x="327" y="291"/>
                    </a:lnTo>
                    <a:lnTo>
                      <a:pt x="323" y="291"/>
                    </a:lnTo>
                    <a:lnTo>
                      <a:pt x="329" y="302"/>
                    </a:lnTo>
                    <a:lnTo>
                      <a:pt x="314" y="310"/>
                    </a:lnTo>
                    <a:lnTo>
                      <a:pt x="295" y="295"/>
                    </a:lnTo>
                    <a:lnTo>
                      <a:pt x="278" y="314"/>
                    </a:lnTo>
                    <a:lnTo>
                      <a:pt x="248" y="280"/>
                    </a:lnTo>
                    <a:lnTo>
                      <a:pt x="174" y="261"/>
                    </a:lnTo>
                    <a:lnTo>
                      <a:pt x="165" y="242"/>
                    </a:lnTo>
                    <a:lnTo>
                      <a:pt x="134" y="240"/>
                    </a:lnTo>
                    <a:lnTo>
                      <a:pt x="78" y="236"/>
                    </a:lnTo>
                    <a:lnTo>
                      <a:pt x="63" y="255"/>
                    </a:lnTo>
                    <a:lnTo>
                      <a:pt x="44" y="219"/>
                    </a:lnTo>
                    <a:lnTo>
                      <a:pt x="25" y="208"/>
                    </a:lnTo>
                    <a:lnTo>
                      <a:pt x="12" y="221"/>
                    </a:lnTo>
                    <a:lnTo>
                      <a:pt x="2" y="183"/>
                    </a:lnTo>
                    <a:lnTo>
                      <a:pt x="17" y="163"/>
                    </a:lnTo>
                    <a:lnTo>
                      <a:pt x="0" y="125"/>
                    </a:lnTo>
                    <a:lnTo>
                      <a:pt x="2" y="117"/>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grpSp>
        <p:grpSp>
          <p:nvGrpSpPr>
            <p:cNvPr id="161" name="Centre (N° Départements)">
              <a:extLst>
                <a:ext uri="{FF2B5EF4-FFF2-40B4-BE49-F238E27FC236}">
                  <a16:creationId xmlns:a16="http://schemas.microsoft.com/office/drawing/2014/main" id="{EB93956E-2589-4997-8929-85F4F06C8CC4}"/>
                </a:ext>
              </a:extLst>
            </p:cNvPr>
            <p:cNvGrpSpPr/>
            <p:nvPr/>
          </p:nvGrpSpPr>
          <p:grpSpPr>
            <a:xfrm>
              <a:off x="6567375" y="2627861"/>
              <a:ext cx="861001" cy="1031961"/>
              <a:chOff x="5813919" y="2797246"/>
              <a:chExt cx="861001" cy="1031961"/>
            </a:xfrm>
          </p:grpSpPr>
          <p:sp>
            <p:nvSpPr>
              <p:cNvPr id="284" name="18">
                <a:extLst>
                  <a:ext uri="{FF2B5EF4-FFF2-40B4-BE49-F238E27FC236}">
                    <a16:creationId xmlns:a16="http://schemas.microsoft.com/office/drawing/2014/main" id="{495A4FC5-335B-4F8D-9F70-AEE400F2F0CC}"/>
                  </a:ext>
                </a:extLst>
              </p:cNvPr>
              <p:cNvSpPr txBox="1"/>
              <p:nvPr/>
            </p:nvSpPr>
            <p:spPr>
              <a:xfrm>
                <a:off x="6490090" y="3503513"/>
                <a:ext cx="184830" cy="166169"/>
              </a:xfrm>
              <a:prstGeom prst="rect">
                <a:avLst/>
              </a:prstGeom>
              <a:noFill/>
            </p:spPr>
            <p:txBody>
              <a:bodyPr wrap="none" lIns="0" tIns="0" rIns="0" bIns="0" rtlCol="0">
                <a:noAutofit/>
              </a:bodyPr>
              <a:lstStyle/>
              <a:p>
                <a:r>
                  <a:rPr lang="fr-FR" sz="800">
                    <a:solidFill>
                      <a:srgbClr val="503078"/>
                    </a:solidFill>
                    <a:latin typeface="Tahoma"/>
                  </a:rPr>
                  <a:t>18</a:t>
                </a:r>
              </a:p>
            </p:txBody>
          </p:sp>
          <p:sp>
            <p:nvSpPr>
              <p:cNvPr id="285" name="28">
                <a:extLst>
                  <a:ext uri="{FF2B5EF4-FFF2-40B4-BE49-F238E27FC236}">
                    <a16:creationId xmlns:a16="http://schemas.microsoft.com/office/drawing/2014/main" id="{802DEBD4-005A-4AB4-941B-4E8EB8350114}"/>
                  </a:ext>
                </a:extLst>
              </p:cNvPr>
              <p:cNvSpPr txBox="1"/>
              <p:nvPr/>
            </p:nvSpPr>
            <p:spPr>
              <a:xfrm>
                <a:off x="6071068" y="2797246"/>
                <a:ext cx="184830" cy="166169"/>
              </a:xfrm>
              <a:prstGeom prst="rect">
                <a:avLst/>
              </a:prstGeom>
              <a:noFill/>
            </p:spPr>
            <p:txBody>
              <a:bodyPr wrap="none" lIns="0" tIns="0" rIns="0" bIns="0" rtlCol="0">
                <a:noAutofit/>
              </a:bodyPr>
              <a:lstStyle/>
              <a:p>
                <a:r>
                  <a:rPr lang="fr-FR" sz="800">
                    <a:solidFill>
                      <a:srgbClr val="503078"/>
                    </a:solidFill>
                    <a:latin typeface="Tahoma"/>
                  </a:rPr>
                  <a:t>28</a:t>
                </a:r>
              </a:p>
            </p:txBody>
          </p:sp>
          <p:sp>
            <p:nvSpPr>
              <p:cNvPr id="286" name="45">
                <a:extLst>
                  <a:ext uri="{FF2B5EF4-FFF2-40B4-BE49-F238E27FC236}">
                    <a16:creationId xmlns:a16="http://schemas.microsoft.com/office/drawing/2014/main" id="{5D3AFAB9-87D9-4983-9292-6A95D5604E88}"/>
                  </a:ext>
                </a:extLst>
              </p:cNvPr>
              <p:cNvSpPr txBox="1"/>
              <p:nvPr/>
            </p:nvSpPr>
            <p:spPr>
              <a:xfrm>
                <a:off x="6381214" y="3052770"/>
                <a:ext cx="184830" cy="166169"/>
              </a:xfrm>
              <a:prstGeom prst="rect">
                <a:avLst/>
              </a:prstGeom>
              <a:noFill/>
            </p:spPr>
            <p:txBody>
              <a:bodyPr wrap="none" lIns="0" tIns="0" rIns="0" bIns="0" rtlCol="0">
                <a:noAutofit/>
              </a:bodyPr>
              <a:lstStyle/>
              <a:p>
                <a:r>
                  <a:rPr lang="fr-FR" sz="800">
                    <a:solidFill>
                      <a:srgbClr val="503078"/>
                    </a:solidFill>
                    <a:latin typeface="Tahoma"/>
                  </a:rPr>
                  <a:t>45</a:t>
                </a:r>
              </a:p>
            </p:txBody>
          </p:sp>
          <p:sp>
            <p:nvSpPr>
              <p:cNvPr id="287" name="36">
                <a:extLst>
                  <a:ext uri="{FF2B5EF4-FFF2-40B4-BE49-F238E27FC236}">
                    <a16:creationId xmlns:a16="http://schemas.microsoft.com/office/drawing/2014/main" id="{B492683C-656F-4F31-9452-FA632DF2BBA3}"/>
                  </a:ext>
                </a:extLst>
              </p:cNvPr>
              <p:cNvSpPr txBox="1"/>
              <p:nvPr/>
            </p:nvSpPr>
            <p:spPr>
              <a:xfrm>
                <a:off x="6121190" y="3663038"/>
                <a:ext cx="184830" cy="166169"/>
              </a:xfrm>
              <a:prstGeom prst="rect">
                <a:avLst/>
              </a:prstGeom>
              <a:noFill/>
            </p:spPr>
            <p:txBody>
              <a:bodyPr wrap="none" lIns="0" tIns="0" rIns="0" bIns="0" rtlCol="0">
                <a:noAutofit/>
              </a:bodyPr>
              <a:lstStyle/>
              <a:p>
                <a:r>
                  <a:rPr lang="fr-FR" sz="800">
                    <a:solidFill>
                      <a:srgbClr val="503078"/>
                    </a:solidFill>
                    <a:latin typeface="Tahoma"/>
                  </a:rPr>
                  <a:t>36</a:t>
                </a:r>
              </a:p>
            </p:txBody>
          </p:sp>
          <p:sp>
            <p:nvSpPr>
              <p:cNvPr id="288" name="37">
                <a:extLst>
                  <a:ext uri="{FF2B5EF4-FFF2-40B4-BE49-F238E27FC236}">
                    <a16:creationId xmlns:a16="http://schemas.microsoft.com/office/drawing/2014/main" id="{6882EE60-5761-49B9-8E3D-B90762607D5C}"/>
                  </a:ext>
                </a:extLst>
              </p:cNvPr>
              <p:cNvSpPr txBox="1"/>
              <p:nvPr/>
            </p:nvSpPr>
            <p:spPr>
              <a:xfrm>
                <a:off x="5813919" y="3405177"/>
                <a:ext cx="184830" cy="166169"/>
              </a:xfrm>
              <a:prstGeom prst="rect">
                <a:avLst/>
              </a:prstGeom>
              <a:noFill/>
            </p:spPr>
            <p:txBody>
              <a:bodyPr wrap="none" lIns="0" tIns="0" rIns="0" bIns="0" rtlCol="0">
                <a:noAutofit/>
              </a:bodyPr>
              <a:lstStyle/>
              <a:p>
                <a:r>
                  <a:rPr lang="fr-FR" sz="800">
                    <a:solidFill>
                      <a:srgbClr val="503078"/>
                    </a:solidFill>
                    <a:latin typeface="Tahoma"/>
                  </a:rPr>
                  <a:t>37</a:t>
                </a:r>
              </a:p>
            </p:txBody>
          </p:sp>
          <p:sp>
            <p:nvSpPr>
              <p:cNvPr id="289" name="41">
                <a:extLst>
                  <a:ext uri="{FF2B5EF4-FFF2-40B4-BE49-F238E27FC236}">
                    <a16:creationId xmlns:a16="http://schemas.microsoft.com/office/drawing/2014/main" id="{352C317A-0FAC-4354-848B-284888EFA500}"/>
                  </a:ext>
                </a:extLst>
              </p:cNvPr>
              <p:cNvSpPr txBox="1"/>
              <p:nvPr/>
            </p:nvSpPr>
            <p:spPr>
              <a:xfrm>
                <a:off x="6071068" y="3216910"/>
                <a:ext cx="184830" cy="166169"/>
              </a:xfrm>
              <a:prstGeom prst="rect">
                <a:avLst/>
              </a:prstGeom>
              <a:noFill/>
            </p:spPr>
            <p:txBody>
              <a:bodyPr wrap="none" lIns="0" tIns="0" rIns="0" bIns="0" rtlCol="0">
                <a:noAutofit/>
              </a:bodyPr>
              <a:lstStyle/>
              <a:p>
                <a:r>
                  <a:rPr lang="fr-FR" sz="800">
                    <a:solidFill>
                      <a:srgbClr val="FFFFFF"/>
                    </a:solidFill>
                    <a:latin typeface="Tahoma"/>
                  </a:rPr>
                  <a:t>41</a:t>
                </a:r>
              </a:p>
            </p:txBody>
          </p:sp>
        </p:grpSp>
        <p:grpSp>
          <p:nvGrpSpPr>
            <p:cNvPr id="162" name="Bretagne (Formes)">
              <a:extLst>
                <a:ext uri="{FF2B5EF4-FFF2-40B4-BE49-F238E27FC236}">
                  <a16:creationId xmlns:a16="http://schemas.microsoft.com/office/drawing/2014/main" id="{A8F4212F-7B76-479E-A89D-6ED9062B26D4}"/>
                </a:ext>
              </a:extLst>
            </p:cNvPr>
            <p:cNvGrpSpPr/>
            <p:nvPr/>
          </p:nvGrpSpPr>
          <p:grpSpPr>
            <a:xfrm>
              <a:off x="4773804" y="2392006"/>
              <a:ext cx="1303634" cy="764991"/>
              <a:chOff x="4020348" y="2561391"/>
              <a:chExt cx="1303634" cy="764991"/>
            </a:xfrm>
            <a:solidFill>
              <a:srgbClr val="667E76"/>
            </a:solidFill>
          </p:grpSpPr>
          <p:sp>
            <p:nvSpPr>
              <p:cNvPr id="280" name="29">
                <a:extLst>
                  <a:ext uri="{FF2B5EF4-FFF2-40B4-BE49-F238E27FC236}">
                    <a16:creationId xmlns:a16="http://schemas.microsoft.com/office/drawing/2014/main" id="{7E18F559-2269-40B5-A3D6-5740B24DBA18}"/>
                  </a:ext>
                </a:extLst>
              </p:cNvPr>
              <p:cNvSpPr>
                <a:spLocks/>
              </p:cNvSpPr>
              <p:nvPr/>
            </p:nvSpPr>
            <p:spPr bwMode="gray">
              <a:xfrm>
                <a:off x="4020348" y="2612964"/>
                <a:ext cx="469881" cy="518589"/>
              </a:xfrm>
              <a:custGeom>
                <a:avLst/>
                <a:gdLst>
                  <a:gd name="T0" fmla="*/ 111 w 328"/>
                  <a:gd name="T1" fmla="*/ 224 h 362"/>
                  <a:gd name="T2" fmla="*/ 119 w 328"/>
                  <a:gd name="T3" fmla="*/ 204 h 362"/>
                  <a:gd name="T4" fmla="*/ 79 w 328"/>
                  <a:gd name="T5" fmla="*/ 170 h 362"/>
                  <a:gd name="T6" fmla="*/ 51 w 328"/>
                  <a:gd name="T7" fmla="*/ 192 h 362"/>
                  <a:gd name="T8" fmla="*/ 55 w 328"/>
                  <a:gd name="T9" fmla="*/ 160 h 362"/>
                  <a:gd name="T10" fmla="*/ 36 w 328"/>
                  <a:gd name="T11" fmla="*/ 158 h 362"/>
                  <a:gd name="T12" fmla="*/ 58 w 328"/>
                  <a:gd name="T13" fmla="*/ 130 h 362"/>
                  <a:gd name="T14" fmla="*/ 68 w 328"/>
                  <a:gd name="T15" fmla="*/ 151 h 362"/>
                  <a:gd name="T16" fmla="*/ 117 w 328"/>
                  <a:gd name="T17" fmla="*/ 149 h 362"/>
                  <a:gd name="T18" fmla="*/ 109 w 328"/>
                  <a:gd name="T19" fmla="*/ 134 h 362"/>
                  <a:gd name="T20" fmla="*/ 81 w 328"/>
                  <a:gd name="T21" fmla="*/ 136 h 362"/>
                  <a:gd name="T22" fmla="*/ 92 w 328"/>
                  <a:gd name="T23" fmla="*/ 113 h 362"/>
                  <a:gd name="T24" fmla="*/ 4 w 328"/>
                  <a:gd name="T25" fmla="*/ 128 h 362"/>
                  <a:gd name="T26" fmla="*/ 24 w 328"/>
                  <a:gd name="T27" fmla="*/ 45 h 362"/>
                  <a:gd name="T28" fmla="*/ 72 w 328"/>
                  <a:gd name="T29" fmla="*/ 22 h 362"/>
                  <a:gd name="T30" fmla="*/ 126 w 328"/>
                  <a:gd name="T31" fmla="*/ 13 h 362"/>
                  <a:gd name="T32" fmla="*/ 130 w 328"/>
                  <a:gd name="T33" fmla="*/ 26 h 362"/>
                  <a:gd name="T34" fmla="*/ 204 w 328"/>
                  <a:gd name="T35" fmla="*/ 0 h 362"/>
                  <a:gd name="T36" fmla="*/ 236 w 328"/>
                  <a:gd name="T37" fmla="*/ 39 h 362"/>
                  <a:gd name="T38" fmla="*/ 249 w 328"/>
                  <a:gd name="T39" fmla="*/ 11 h 362"/>
                  <a:gd name="T40" fmla="*/ 291 w 328"/>
                  <a:gd name="T41" fmla="*/ 26 h 362"/>
                  <a:gd name="T42" fmla="*/ 283 w 328"/>
                  <a:gd name="T43" fmla="*/ 36 h 362"/>
                  <a:gd name="T44" fmla="*/ 285 w 328"/>
                  <a:gd name="T45" fmla="*/ 39 h 362"/>
                  <a:gd name="T46" fmla="*/ 308 w 328"/>
                  <a:gd name="T47" fmla="*/ 81 h 362"/>
                  <a:gd name="T48" fmla="*/ 294 w 328"/>
                  <a:gd name="T49" fmla="*/ 102 h 362"/>
                  <a:gd name="T50" fmla="*/ 304 w 328"/>
                  <a:gd name="T51" fmla="*/ 113 h 362"/>
                  <a:gd name="T52" fmla="*/ 289 w 328"/>
                  <a:gd name="T53" fmla="*/ 134 h 362"/>
                  <a:gd name="T54" fmla="*/ 308 w 328"/>
                  <a:gd name="T55" fmla="*/ 162 h 362"/>
                  <a:gd name="T56" fmla="*/ 291 w 328"/>
                  <a:gd name="T57" fmla="*/ 207 h 362"/>
                  <a:gd name="T58" fmla="*/ 251 w 328"/>
                  <a:gd name="T59" fmla="*/ 226 h 362"/>
                  <a:gd name="T60" fmla="*/ 249 w 328"/>
                  <a:gd name="T61" fmla="*/ 236 h 362"/>
                  <a:gd name="T62" fmla="*/ 268 w 328"/>
                  <a:gd name="T63" fmla="*/ 277 h 362"/>
                  <a:gd name="T64" fmla="*/ 328 w 328"/>
                  <a:gd name="T65" fmla="*/ 296 h 362"/>
                  <a:gd name="T66" fmla="*/ 321 w 328"/>
                  <a:gd name="T67" fmla="*/ 328 h 362"/>
                  <a:gd name="T68" fmla="*/ 291 w 328"/>
                  <a:gd name="T69" fmla="*/ 334 h 362"/>
                  <a:gd name="T70" fmla="*/ 285 w 328"/>
                  <a:gd name="T71" fmla="*/ 362 h 362"/>
                  <a:gd name="T72" fmla="*/ 208 w 328"/>
                  <a:gd name="T73" fmla="*/ 345 h 362"/>
                  <a:gd name="T74" fmla="*/ 185 w 328"/>
                  <a:gd name="T75" fmla="*/ 302 h 362"/>
                  <a:gd name="T76" fmla="*/ 179 w 328"/>
                  <a:gd name="T77" fmla="*/ 319 h 362"/>
                  <a:gd name="T78" fmla="*/ 138 w 328"/>
                  <a:gd name="T79" fmla="*/ 315 h 362"/>
                  <a:gd name="T80" fmla="*/ 130 w 328"/>
                  <a:gd name="T81" fmla="*/ 334 h 362"/>
                  <a:gd name="T82" fmla="*/ 83 w 328"/>
                  <a:gd name="T83" fmla="*/ 330 h 362"/>
                  <a:gd name="T84" fmla="*/ 89 w 328"/>
                  <a:gd name="T85" fmla="*/ 306 h 362"/>
                  <a:gd name="T86" fmla="*/ 66 w 328"/>
                  <a:gd name="T87" fmla="*/ 258 h 362"/>
                  <a:gd name="T88" fmla="*/ 0 w 328"/>
                  <a:gd name="T89" fmla="*/ 234 h 362"/>
                  <a:gd name="T90" fmla="*/ 111 w 328"/>
                  <a:gd name="T91" fmla="*/ 224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8" h="362">
                    <a:moveTo>
                      <a:pt x="111" y="224"/>
                    </a:moveTo>
                    <a:lnTo>
                      <a:pt x="119" y="204"/>
                    </a:lnTo>
                    <a:lnTo>
                      <a:pt x="79" y="170"/>
                    </a:lnTo>
                    <a:lnTo>
                      <a:pt x="51" y="192"/>
                    </a:lnTo>
                    <a:lnTo>
                      <a:pt x="55" y="160"/>
                    </a:lnTo>
                    <a:lnTo>
                      <a:pt x="36" y="158"/>
                    </a:lnTo>
                    <a:lnTo>
                      <a:pt x="58" y="130"/>
                    </a:lnTo>
                    <a:lnTo>
                      <a:pt x="68" y="151"/>
                    </a:lnTo>
                    <a:lnTo>
                      <a:pt x="117" y="149"/>
                    </a:lnTo>
                    <a:lnTo>
                      <a:pt x="109" y="134"/>
                    </a:lnTo>
                    <a:lnTo>
                      <a:pt x="81" y="136"/>
                    </a:lnTo>
                    <a:lnTo>
                      <a:pt x="92" y="113"/>
                    </a:lnTo>
                    <a:lnTo>
                      <a:pt x="4" y="128"/>
                    </a:lnTo>
                    <a:lnTo>
                      <a:pt x="24" y="45"/>
                    </a:lnTo>
                    <a:lnTo>
                      <a:pt x="72" y="22"/>
                    </a:lnTo>
                    <a:lnTo>
                      <a:pt x="126" y="13"/>
                    </a:lnTo>
                    <a:lnTo>
                      <a:pt x="130" y="26"/>
                    </a:lnTo>
                    <a:lnTo>
                      <a:pt x="204" y="0"/>
                    </a:lnTo>
                    <a:lnTo>
                      <a:pt x="236" y="39"/>
                    </a:lnTo>
                    <a:lnTo>
                      <a:pt x="249" y="11"/>
                    </a:lnTo>
                    <a:lnTo>
                      <a:pt x="291" y="26"/>
                    </a:lnTo>
                    <a:lnTo>
                      <a:pt x="283" y="36"/>
                    </a:lnTo>
                    <a:lnTo>
                      <a:pt x="285" y="39"/>
                    </a:lnTo>
                    <a:lnTo>
                      <a:pt x="308" y="81"/>
                    </a:lnTo>
                    <a:lnTo>
                      <a:pt x="294" y="102"/>
                    </a:lnTo>
                    <a:lnTo>
                      <a:pt x="304" y="113"/>
                    </a:lnTo>
                    <a:lnTo>
                      <a:pt x="289" y="134"/>
                    </a:lnTo>
                    <a:lnTo>
                      <a:pt x="308" y="162"/>
                    </a:lnTo>
                    <a:lnTo>
                      <a:pt x="291" y="207"/>
                    </a:lnTo>
                    <a:lnTo>
                      <a:pt x="251" y="226"/>
                    </a:lnTo>
                    <a:lnTo>
                      <a:pt x="249" y="236"/>
                    </a:lnTo>
                    <a:lnTo>
                      <a:pt x="268" y="277"/>
                    </a:lnTo>
                    <a:lnTo>
                      <a:pt x="328" y="296"/>
                    </a:lnTo>
                    <a:lnTo>
                      <a:pt x="321" y="328"/>
                    </a:lnTo>
                    <a:lnTo>
                      <a:pt x="291" y="334"/>
                    </a:lnTo>
                    <a:lnTo>
                      <a:pt x="285" y="362"/>
                    </a:lnTo>
                    <a:lnTo>
                      <a:pt x="208" y="345"/>
                    </a:lnTo>
                    <a:lnTo>
                      <a:pt x="185" y="302"/>
                    </a:lnTo>
                    <a:lnTo>
                      <a:pt x="179" y="319"/>
                    </a:lnTo>
                    <a:lnTo>
                      <a:pt x="138" y="315"/>
                    </a:lnTo>
                    <a:lnTo>
                      <a:pt x="130" y="334"/>
                    </a:lnTo>
                    <a:lnTo>
                      <a:pt x="83" y="330"/>
                    </a:lnTo>
                    <a:lnTo>
                      <a:pt x="89" y="306"/>
                    </a:lnTo>
                    <a:lnTo>
                      <a:pt x="66" y="258"/>
                    </a:lnTo>
                    <a:lnTo>
                      <a:pt x="0" y="234"/>
                    </a:lnTo>
                    <a:lnTo>
                      <a:pt x="111" y="224"/>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sz="1050">
                  <a:solidFill>
                    <a:srgbClr val="503078"/>
                  </a:solidFill>
                  <a:latin typeface="Tahoma"/>
                </a:endParaRPr>
              </a:p>
            </p:txBody>
          </p:sp>
          <p:sp>
            <p:nvSpPr>
              <p:cNvPr id="281" name="22">
                <a:extLst>
                  <a:ext uri="{FF2B5EF4-FFF2-40B4-BE49-F238E27FC236}">
                    <a16:creationId xmlns:a16="http://schemas.microsoft.com/office/drawing/2014/main" id="{95B5A87A-1A01-46AA-88E7-0508CD182858}"/>
                  </a:ext>
                </a:extLst>
              </p:cNvPr>
              <p:cNvSpPr>
                <a:spLocks/>
              </p:cNvSpPr>
              <p:nvPr/>
            </p:nvSpPr>
            <p:spPr bwMode="gray">
              <a:xfrm>
                <a:off x="4425764" y="2561391"/>
                <a:ext cx="600245" cy="454123"/>
              </a:xfrm>
              <a:custGeom>
                <a:avLst/>
                <a:gdLst>
                  <a:gd name="T0" fmla="*/ 2 w 419"/>
                  <a:gd name="T1" fmla="*/ 75 h 317"/>
                  <a:gd name="T2" fmla="*/ 25 w 419"/>
                  <a:gd name="T3" fmla="*/ 117 h 317"/>
                  <a:gd name="T4" fmla="*/ 11 w 419"/>
                  <a:gd name="T5" fmla="*/ 138 h 317"/>
                  <a:gd name="T6" fmla="*/ 21 w 419"/>
                  <a:gd name="T7" fmla="*/ 149 h 317"/>
                  <a:gd name="T8" fmla="*/ 6 w 419"/>
                  <a:gd name="T9" fmla="*/ 170 h 317"/>
                  <a:gd name="T10" fmla="*/ 25 w 419"/>
                  <a:gd name="T11" fmla="*/ 198 h 317"/>
                  <a:gd name="T12" fmla="*/ 8 w 419"/>
                  <a:gd name="T13" fmla="*/ 243 h 317"/>
                  <a:gd name="T14" fmla="*/ 79 w 419"/>
                  <a:gd name="T15" fmla="*/ 268 h 317"/>
                  <a:gd name="T16" fmla="*/ 130 w 419"/>
                  <a:gd name="T17" fmla="*/ 245 h 317"/>
                  <a:gd name="T18" fmla="*/ 191 w 419"/>
                  <a:gd name="T19" fmla="*/ 272 h 317"/>
                  <a:gd name="T20" fmla="*/ 200 w 419"/>
                  <a:gd name="T21" fmla="*/ 296 h 317"/>
                  <a:gd name="T22" fmla="*/ 229 w 419"/>
                  <a:gd name="T23" fmla="*/ 285 h 317"/>
                  <a:gd name="T24" fmla="*/ 225 w 419"/>
                  <a:gd name="T25" fmla="*/ 317 h 317"/>
                  <a:gd name="T26" fmla="*/ 255 w 419"/>
                  <a:gd name="T27" fmla="*/ 304 h 317"/>
                  <a:gd name="T28" fmla="*/ 261 w 419"/>
                  <a:gd name="T29" fmla="*/ 274 h 317"/>
                  <a:gd name="T30" fmla="*/ 319 w 419"/>
                  <a:gd name="T31" fmla="*/ 289 h 317"/>
                  <a:gd name="T32" fmla="*/ 346 w 419"/>
                  <a:gd name="T33" fmla="*/ 247 h 317"/>
                  <a:gd name="T34" fmla="*/ 404 w 419"/>
                  <a:gd name="T35" fmla="*/ 238 h 317"/>
                  <a:gd name="T36" fmla="*/ 412 w 419"/>
                  <a:gd name="T37" fmla="*/ 215 h 317"/>
                  <a:gd name="T38" fmla="*/ 419 w 419"/>
                  <a:gd name="T39" fmla="*/ 147 h 317"/>
                  <a:gd name="T40" fmla="*/ 370 w 419"/>
                  <a:gd name="T41" fmla="*/ 121 h 317"/>
                  <a:gd name="T42" fmla="*/ 349 w 419"/>
                  <a:gd name="T43" fmla="*/ 128 h 317"/>
                  <a:gd name="T44" fmla="*/ 340 w 419"/>
                  <a:gd name="T45" fmla="*/ 102 h 317"/>
                  <a:gd name="T46" fmla="*/ 321 w 419"/>
                  <a:gd name="T47" fmla="*/ 111 h 317"/>
                  <a:gd name="T48" fmla="*/ 334 w 419"/>
                  <a:gd name="T49" fmla="*/ 94 h 317"/>
                  <a:gd name="T50" fmla="*/ 325 w 419"/>
                  <a:gd name="T51" fmla="*/ 85 h 317"/>
                  <a:gd name="T52" fmla="*/ 285 w 419"/>
                  <a:gd name="T53" fmla="*/ 98 h 317"/>
                  <a:gd name="T54" fmla="*/ 232 w 419"/>
                  <a:gd name="T55" fmla="*/ 147 h 317"/>
                  <a:gd name="T56" fmla="*/ 181 w 419"/>
                  <a:gd name="T57" fmla="*/ 49 h 317"/>
                  <a:gd name="T58" fmla="*/ 149 w 419"/>
                  <a:gd name="T59" fmla="*/ 24 h 317"/>
                  <a:gd name="T60" fmla="*/ 151 w 419"/>
                  <a:gd name="T61" fmla="*/ 0 h 317"/>
                  <a:gd name="T62" fmla="*/ 119 w 419"/>
                  <a:gd name="T63" fmla="*/ 17 h 317"/>
                  <a:gd name="T64" fmla="*/ 113 w 419"/>
                  <a:gd name="T65" fmla="*/ 2 h 317"/>
                  <a:gd name="T66" fmla="*/ 79 w 419"/>
                  <a:gd name="T67" fmla="*/ 17 h 317"/>
                  <a:gd name="T68" fmla="*/ 51 w 419"/>
                  <a:gd name="T69" fmla="*/ 9 h 317"/>
                  <a:gd name="T70" fmla="*/ 25 w 419"/>
                  <a:gd name="T71" fmla="*/ 26 h 317"/>
                  <a:gd name="T72" fmla="*/ 23 w 419"/>
                  <a:gd name="T73" fmla="*/ 66 h 317"/>
                  <a:gd name="T74" fmla="*/ 8 w 419"/>
                  <a:gd name="T75" fmla="*/ 62 h 317"/>
                  <a:gd name="T76" fmla="*/ 0 w 419"/>
                  <a:gd name="T77" fmla="*/ 72 h 317"/>
                  <a:gd name="T78" fmla="*/ 2 w 419"/>
                  <a:gd name="T79" fmla="*/ 75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9" h="317">
                    <a:moveTo>
                      <a:pt x="2" y="75"/>
                    </a:moveTo>
                    <a:lnTo>
                      <a:pt x="25" y="117"/>
                    </a:lnTo>
                    <a:lnTo>
                      <a:pt x="11" y="138"/>
                    </a:lnTo>
                    <a:lnTo>
                      <a:pt x="21" y="149"/>
                    </a:lnTo>
                    <a:lnTo>
                      <a:pt x="6" y="170"/>
                    </a:lnTo>
                    <a:lnTo>
                      <a:pt x="25" y="198"/>
                    </a:lnTo>
                    <a:lnTo>
                      <a:pt x="8" y="243"/>
                    </a:lnTo>
                    <a:lnTo>
                      <a:pt x="79" y="268"/>
                    </a:lnTo>
                    <a:lnTo>
                      <a:pt x="130" y="245"/>
                    </a:lnTo>
                    <a:lnTo>
                      <a:pt x="191" y="272"/>
                    </a:lnTo>
                    <a:lnTo>
                      <a:pt x="200" y="296"/>
                    </a:lnTo>
                    <a:lnTo>
                      <a:pt x="229" y="285"/>
                    </a:lnTo>
                    <a:lnTo>
                      <a:pt x="225" y="317"/>
                    </a:lnTo>
                    <a:lnTo>
                      <a:pt x="255" y="304"/>
                    </a:lnTo>
                    <a:lnTo>
                      <a:pt x="261" y="274"/>
                    </a:lnTo>
                    <a:lnTo>
                      <a:pt x="319" y="289"/>
                    </a:lnTo>
                    <a:lnTo>
                      <a:pt x="346" y="247"/>
                    </a:lnTo>
                    <a:lnTo>
                      <a:pt x="404" y="238"/>
                    </a:lnTo>
                    <a:lnTo>
                      <a:pt x="412" y="215"/>
                    </a:lnTo>
                    <a:lnTo>
                      <a:pt x="419" y="147"/>
                    </a:lnTo>
                    <a:lnTo>
                      <a:pt x="370" y="121"/>
                    </a:lnTo>
                    <a:lnTo>
                      <a:pt x="349" y="128"/>
                    </a:lnTo>
                    <a:lnTo>
                      <a:pt x="340" y="102"/>
                    </a:lnTo>
                    <a:lnTo>
                      <a:pt x="321" y="111"/>
                    </a:lnTo>
                    <a:lnTo>
                      <a:pt x="334" y="94"/>
                    </a:lnTo>
                    <a:lnTo>
                      <a:pt x="325" y="85"/>
                    </a:lnTo>
                    <a:lnTo>
                      <a:pt x="285" y="98"/>
                    </a:lnTo>
                    <a:lnTo>
                      <a:pt x="232" y="147"/>
                    </a:lnTo>
                    <a:lnTo>
                      <a:pt x="181" y="49"/>
                    </a:lnTo>
                    <a:lnTo>
                      <a:pt x="149" y="24"/>
                    </a:lnTo>
                    <a:lnTo>
                      <a:pt x="151" y="0"/>
                    </a:lnTo>
                    <a:lnTo>
                      <a:pt x="119" y="17"/>
                    </a:lnTo>
                    <a:lnTo>
                      <a:pt x="113" y="2"/>
                    </a:lnTo>
                    <a:lnTo>
                      <a:pt x="79" y="17"/>
                    </a:lnTo>
                    <a:lnTo>
                      <a:pt x="51" y="9"/>
                    </a:lnTo>
                    <a:lnTo>
                      <a:pt x="25" y="26"/>
                    </a:lnTo>
                    <a:lnTo>
                      <a:pt x="23" y="66"/>
                    </a:lnTo>
                    <a:lnTo>
                      <a:pt x="8" y="62"/>
                    </a:lnTo>
                    <a:lnTo>
                      <a:pt x="0" y="72"/>
                    </a:lnTo>
                    <a:lnTo>
                      <a:pt x="2" y="75"/>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82" name="56">
                <a:extLst>
                  <a:ext uri="{FF2B5EF4-FFF2-40B4-BE49-F238E27FC236}">
                    <a16:creationId xmlns:a16="http://schemas.microsoft.com/office/drawing/2014/main" id="{9BBCEAA0-85EA-41D7-AD26-BF78C1F9125A}"/>
                  </a:ext>
                </a:extLst>
              </p:cNvPr>
              <p:cNvSpPr>
                <a:spLocks/>
              </p:cNvSpPr>
              <p:nvPr/>
            </p:nvSpPr>
            <p:spPr bwMode="gray">
              <a:xfrm>
                <a:off x="4377057" y="2909505"/>
                <a:ext cx="578756" cy="416877"/>
              </a:xfrm>
              <a:custGeom>
                <a:avLst/>
                <a:gdLst>
                  <a:gd name="T0" fmla="*/ 2 w 404"/>
                  <a:gd name="T1" fmla="*/ 19 h 291"/>
                  <a:gd name="T2" fmla="*/ 42 w 404"/>
                  <a:gd name="T3" fmla="*/ 0 h 291"/>
                  <a:gd name="T4" fmla="*/ 113 w 404"/>
                  <a:gd name="T5" fmla="*/ 25 h 291"/>
                  <a:gd name="T6" fmla="*/ 164 w 404"/>
                  <a:gd name="T7" fmla="*/ 2 h 291"/>
                  <a:gd name="T8" fmla="*/ 225 w 404"/>
                  <a:gd name="T9" fmla="*/ 29 h 291"/>
                  <a:gd name="T10" fmla="*/ 234 w 404"/>
                  <a:gd name="T11" fmla="*/ 53 h 291"/>
                  <a:gd name="T12" fmla="*/ 263 w 404"/>
                  <a:gd name="T13" fmla="*/ 42 h 291"/>
                  <a:gd name="T14" fmla="*/ 259 w 404"/>
                  <a:gd name="T15" fmla="*/ 74 h 291"/>
                  <a:gd name="T16" fmla="*/ 289 w 404"/>
                  <a:gd name="T17" fmla="*/ 61 h 291"/>
                  <a:gd name="T18" fmla="*/ 295 w 404"/>
                  <a:gd name="T19" fmla="*/ 31 h 291"/>
                  <a:gd name="T20" fmla="*/ 353 w 404"/>
                  <a:gd name="T21" fmla="*/ 46 h 291"/>
                  <a:gd name="T22" fmla="*/ 359 w 404"/>
                  <a:gd name="T23" fmla="*/ 72 h 291"/>
                  <a:gd name="T24" fmla="*/ 380 w 404"/>
                  <a:gd name="T25" fmla="*/ 68 h 291"/>
                  <a:gd name="T26" fmla="*/ 353 w 404"/>
                  <a:gd name="T27" fmla="*/ 89 h 291"/>
                  <a:gd name="T28" fmla="*/ 351 w 404"/>
                  <a:gd name="T29" fmla="*/ 95 h 291"/>
                  <a:gd name="T30" fmla="*/ 385 w 404"/>
                  <a:gd name="T31" fmla="*/ 102 h 291"/>
                  <a:gd name="T32" fmla="*/ 397 w 404"/>
                  <a:gd name="T33" fmla="*/ 125 h 291"/>
                  <a:gd name="T34" fmla="*/ 387 w 404"/>
                  <a:gd name="T35" fmla="*/ 151 h 291"/>
                  <a:gd name="T36" fmla="*/ 404 w 404"/>
                  <a:gd name="T37" fmla="*/ 151 h 291"/>
                  <a:gd name="T38" fmla="*/ 383 w 404"/>
                  <a:gd name="T39" fmla="*/ 180 h 291"/>
                  <a:gd name="T40" fmla="*/ 400 w 404"/>
                  <a:gd name="T41" fmla="*/ 189 h 291"/>
                  <a:gd name="T42" fmla="*/ 380 w 404"/>
                  <a:gd name="T43" fmla="*/ 197 h 291"/>
                  <a:gd name="T44" fmla="*/ 385 w 404"/>
                  <a:gd name="T45" fmla="*/ 231 h 291"/>
                  <a:gd name="T46" fmla="*/ 368 w 404"/>
                  <a:gd name="T47" fmla="*/ 280 h 291"/>
                  <a:gd name="T48" fmla="*/ 334 w 404"/>
                  <a:gd name="T49" fmla="*/ 272 h 291"/>
                  <a:gd name="T50" fmla="*/ 329 w 404"/>
                  <a:gd name="T51" fmla="*/ 289 h 291"/>
                  <a:gd name="T52" fmla="*/ 291 w 404"/>
                  <a:gd name="T53" fmla="*/ 291 h 291"/>
                  <a:gd name="T54" fmla="*/ 283 w 404"/>
                  <a:gd name="T55" fmla="*/ 276 h 291"/>
                  <a:gd name="T56" fmla="*/ 302 w 404"/>
                  <a:gd name="T57" fmla="*/ 274 h 291"/>
                  <a:gd name="T58" fmla="*/ 283 w 404"/>
                  <a:gd name="T59" fmla="*/ 263 h 291"/>
                  <a:gd name="T60" fmla="*/ 210 w 404"/>
                  <a:gd name="T61" fmla="*/ 272 h 291"/>
                  <a:gd name="T62" fmla="*/ 183 w 404"/>
                  <a:gd name="T63" fmla="*/ 248 h 291"/>
                  <a:gd name="T64" fmla="*/ 229 w 404"/>
                  <a:gd name="T65" fmla="*/ 253 h 291"/>
                  <a:gd name="T66" fmla="*/ 234 w 404"/>
                  <a:gd name="T67" fmla="*/ 231 h 291"/>
                  <a:gd name="T68" fmla="*/ 198 w 404"/>
                  <a:gd name="T69" fmla="*/ 221 h 291"/>
                  <a:gd name="T70" fmla="*/ 185 w 404"/>
                  <a:gd name="T71" fmla="*/ 233 h 291"/>
                  <a:gd name="T72" fmla="*/ 174 w 404"/>
                  <a:gd name="T73" fmla="*/ 216 h 291"/>
                  <a:gd name="T74" fmla="*/ 176 w 404"/>
                  <a:gd name="T75" fmla="*/ 244 h 291"/>
                  <a:gd name="T76" fmla="*/ 134 w 404"/>
                  <a:gd name="T77" fmla="*/ 227 h 291"/>
                  <a:gd name="T78" fmla="*/ 138 w 404"/>
                  <a:gd name="T79" fmla="*/ 272 h 291"/>
                  <a:gd name="T80" fmla="*/ 127 w 404"/>
                  <a:gd name="T81" fmla="*/ 270 h 291"/>
                  <a:gd name="T82" fmla="*/ 125 w 404"/>
                  <a:gd name="T83" fmla="*/ 221 h 291"/>
                  <a:gd name="T84" fmla="*/ 79 w 404"/>
                  <a:gd name="T85" fmla="*/ 187 h 291"/>
                  <a:gd name="T86" fmla="*/ 96 w 404"/>
                  <a:gd name="T87" fmla="*/ 185 h 291"/>
                  <a:gd name="T88" fmla="*/ 55 w 404"/>
                  <a:gd name="T89" fmla="*/ 180 h 291"/>
                  <a:gd name="T90" fmla="*/ 36 w 404"/>
                  <a:gd name="T91" fmla="*/ 155 h 291"/>
                  <a:gd name="T92" fmla="*/ 42 w 404"/>
                  <a:gd name="T93" fmla="*/ 127 h 291"/>
                  <a:gd name="T94" fmla="*/ 72 w 404"/>
                  <a:gd name="T95" fmla="*/ 121 h 291"/>
                  <a:gd name="T96" fmla="*/ 79 w 404"/>
                  <a:gd name="T97" fmla="*/ 89 h 291"/>
                  <a:gd name="T98" fmla="*/ 19 w 404"/>
                  <a:gd name="T99" fmla="*/ 70 h 291"/>
                  <a:gd name="T100" fmla="*/ 0 w 404"/>
                  <a:gd name="T101" fmla="*/ 29 h 291"/>
                  <a:gd name="T102" fmla="*/ 2 w 404"/>
                  <a:gd name="T103" fmla="*/ 1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4" h="291">
                    <a:moveTo>
                      <a:pt x="2" y="19"/>
                    </a:moveTo>
                    <a:lnTo>
                      <a:pt x="42" y="0"/>
                    </a:lnTo>
                    <a:lnTo>
                      <a:pt x="113" y="25"/>
                    </a:lnTo>
                    <a:lnTo>
                      <a:pt x="164" y="2"/>
                    </a:lnTo>
                    <a:lnTo>
                      <a:pt x="225" y="29"/>
                    </a:lnTo>
                    <a:lnTo>
                      <a:pt x="234" y="53"/>
                    </a:lnTo>
                    <a:lnTo>
                      <a:pt x="263" y="42"/>
                    </a:lnTo>
                    <a:lnTo>
                      <a:pt x="259" y="74"/>
                    </a:lnTo>
                    <a:lnTo>
                      <a:pt x="289" y="61"/>
                    </a:lnTo>
                    <a:lnTo>
                      <a:pt x="295" y="31"/>
                    </a:lnTo>
                    <a:lnTo>
                      <a:pt x="353" y="46"/>
                    </a:lnTo>
                    <a:lnTo>
                      <a:pt x="359" y="72"/>
                    </a:lnTo>
                    <a:lnTo>
                      <a:pt x="380" y="68"/>
                    </a:lnTo>
                    <a:lnTo>
                      <a:pt x="353" y="89"/>
                    </a:lnTo>
                    <a:lnTo>
                      <a:pt x="351" y="95"/>
                    </a:lnTo>
                    <a:lnTo>
                      <a:pt x="385" y="102"/>
                    </a:lnTo>
                    <a:lnTo>
                      <a:pt x="397" y="125"/>
                    </a:lnTo>
                    <a:lnTo>
                      <a:pt x="387" y="151"/>
                    </a:lnTo>
                    <a:lnTo>
                      <a:pt x="404" y="151"/>
                    </a:lnTo>
                    <a:lnTo>
                      <a:pt x="383" y="180"/>
                    </a:lnTo>
                    <a:lnTo>
                      <a:pt x="400" y="189"/>
                    </a:lnTo>
                    <a:lnTo>
                      <a:pt x="380" y="197"/>
                    </a:lnTo>
                    <a:lnTo>
                      <a:pt x="385" y="231"/>
                    </a:lnTo>
                    <a:lnTo>
                      <a:pt x="368" y="280"/>
                    </a:lnTo>
                    <a:lnTo>
                      <a:pt x="334" y="272"/>
                    </a:lnTo>
                    <a:lnTo>
                      <a:pt x="329" y="289"/>
                    </a:lnTo>
                    <a:lnTo>
                      <a:pt x="291" y="291"/>
                    </a:lnTo>
                    <a:lnTo>
                      <a:pt x="283" y="276"/>
                    </a:lnTo>
                    <a:lnTo>
                      <a:pt x="302" y="274"/>
                    </a:lnTo>
                    <a:lnTo>
                      <a:pt x="283" y="263"/>
                    </a:lnTo>
                    <a:lnTo>
                      <a:pt x="210" y="272"/>
                    </a:lnTo>
                    <a:lnTo>
                      <a:pt x="183" y="248"/>
                    </a:lnTo>
                    <a:lnTo>
                      <a:pt x="229" y="253"/>
                    </a:lnTo>
                    <a:lnTo>
                      <a:pt x="234" y="231"/>
                    </a:lnTo>
                    <a:lnTo>
                      <a:pt x="198" y="221"/>
                    </a:lnTo>
                    <a:lnTo>
                      <a:pt x="185" y="233"/>
                    </a:lnTo>
                    <a:lnTo>
                      <a:pt x="174" y="216"/>
                    </a:lnTo>
                    <a:lnTo>
                      <a:pt x="176" y="244"/>
                    </a:lnTo>
                    <a:lnTo>
                      <a:pt x="134" y="227"/>
                    </a:lnTo>
                    <a:lnTo>
                      <a:pt x="138" y="272"/>
                    </a:lnTo>
                    <a:lnTo>
                      <a:pt x="127" y="270"/>
                    </a:lnTo>
                    <a:lnTo>
                      <a:pt x="125" y="221"/>
                    </a:lnTo>
                    <a:lnTo>
                      <a:pt x="79" y="187"/>
                    </a:lnTo>
                    <a:lnTo>
                      <a:pt x="96" y="185"/>
                    </a:lnTo>
                    <a:lnTo>
                      <a:pt x="55" y="180"/>
                    </a:lnTo>
                    <a:lnTo>
                      <a:pt x="36" y="155"/>
                    </a:lnTo>
                    <a:lnTo>
                      <a:pt x="42" y="127"/>
                    </a:lnTo>
                    <a:lnTo>
                      <a:pt x="72" y="121"/>
                    </a:lnTo>
                    <a:lnTo>
                      <a:pt x="79" y="89"/>
                    </a:lnTo>
                    <a:lnTo>
                      <a:pt x="19" y="70"/>
                    </a:lnTo>
                    <a:lnTo>
                      <a:pt x="0" y="29"/>
                    </a:lnTo>
                    <a:lnTo>
                      <a:pt x="2" y="19"/>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83" name="35">
                <a:extLst>
                  <a:ext uri="{FF2B5EF4-FFF2-40B4-BE49-F238E27FC236}">
                    <a16:creationId xmlns:a16="http://schemas.microsoft.com/office/drawing/2014/main" id="{C55B4F99-949A-4BB4-BB48-F86ED0432F94}"/>
                  </a:ext>
                </a:extLst>
              </p:cNvPr>
              <p:cNvSpPr>
                <a:spLocks/>
              </p:cNvSpPr>
              <p:nvPr/>
            </p:nvSpPr>
            <p:spPr bwMode="gray">
              <a:xfrm>
                <a:off x="4879887" y="2683160"/>
                <a:ext cx="444095" cy="557268"/>
              </a:xfrm>
              <a:custGeom>
                <a:avLst/>
                <a:gdLst>
                  <a:gd name="T0" fmla="*/ 2 w 310"/>
                  <a:gd name="T1" fmla="*/ 247 h 389"/>
                  <a:gd name="T2" fmla="*/ 29 w 310"/>
                  <a:gd name="T3" fmla="*/ 226 h 389"/>
                  <a:gd name="T4" fmla="*/ 8 w 310"/>
                  <a:gd name="T5" fmla="*/ 230 h 389"/>
                  <a:gd name="T6" fmla="*/ 2 w 310"/>
                  <a:gd name="T7" fmla="*/ 204 h 389"/>
                  <a:gd name="T8" fmla="*/ 29 w 310"/>
                  <a:gd name="T9" fmla="*/ 162 h 389"/>
                  <a:gd name="T10" fmla="*/ 87 w 310"/>
                  <a:gd name="T11" fmla="*/ 153 h 389"/>
                  <a:gd name="T12" fmla="*/ 95 w 310"/>
                  <a:gd name="T13" fmla="*/ 130 h 389"/>
                  <a:gd name="T14" fmla="*/ 102 w 310"/>
                  <a:gd name="T15" fmla="*/ 62 h 389"/>
                  <a:gd name="T16" fmla="*/ 53 w 310"/>
                  <a:gd name="T17" fmla="*/ 36 h 389"/>
                  <a:gd name="T18" fmla="*/ 49 w 310"/>
                  <a:gd name="T19" fmla="*/ 24 h 389"/>
                  <a:gd name="T20" fmla="*/ 123 w 310"/>
                  <a:gd name="T21" fmla="*/ 0 h 389"/>
                  <a:gd name="T22" fmla="*/ 121 w 310"/>
                  <a:gd name="T23" fmla="*/ 34 h 389"/>
                  <a:gd name="T24" fmla="*/ 189 w 310"/>
                  <a:gd name="T25" fmla="*/ 34 h 389"/>
                  <a:gd name="T26" fmla="*/ 219 w 310"/>
                  <a:gd name="T27" fmla="*/ 98 h 389"/>
                  <a:gd name="T28" fmla="*/ 265 w 310"/>
                  <a:gd name="T29" fmla="*/ 70 h 389"/>
                  <a:gd name="T30" fmla="*/ 306 w 310"/>
                  <a:gd name="T31" fmla="*/ 87 h 389"/>
                  <a:gd name="T32" fmla="*/ 308 w 310"/>
                  <a:gd name="T33" fmla="*/ 153 h 389"/>
                  <a:gd name="T34" fmla="*/ 295 w 310"/>
                  <a:gd name="T35" fmla="*/ 175 h 389"/>
                  <a:gd name="T36" fmla="*/ 310 w 310"/>
                  <a:gd name="T37" fmla="*/ 266 h 389"/>
                  <a:gd name="T38" fmla="*/ 276 w 310"/>
                  <a:gd name="T39" fmla="*/ 281 h 389"/>
                  <a:gd name="T40" fmla="*/ 250 w 310"/>
                  <a:gd name="T41" fmla="*/ 336 h 389"/>
                  <a:gd name="T42" fmla="*/ 250 w 310"/>
                  <a:gd name="T43" fmla="*/ 338 h 389"/>
                  <a:gd name="T44" fmla="*/ 246 w 310"/>
                  <a:gd name="T45" fmla="*/ 351 h 389"/>
                  <a:gd name="T46" fmla="*/ 195 w 310"/>
                  <a:gd name="T47" fmla="*/ 326 h 389"/>
                  <a:gd name="T48" fmla="*/ 144 w 310"/>
                  <a:gd name="T49" fmla="*/ 366 h 389"/>
                  <a:gd name="T50" fmla="*/ 68 w 310"/>
                  <a:gd name="T51" fmla="*/ 370 h 389"/>
                  <a:gd name="T52" fmla="*/ 34 w 310"/>
                  <a:gd name="T53" fmla="*/ 389 h 389"/>
                  <a:gd name="T54" fmla="*/ 29 w 310"/>
                  <a:gd name="T55" fmla="*/ 355 h 389"/>
                  <a:gd name="T56" fmla="*/ 49 w 310"/>
                  <a:gd name="T57" fmla="*/ 347 h 389"/>
                  <a:gd name="T58" fmla="*/ 32 w 310"/>
                  <a:gd name="T59" fmla="*/ 338 h 389"/>
                  <a:gd name="T60" fmla="*/ 53 w 310"/>
                  <a:gd name="T61" fmla="*/ 309 h 389"/>
                  <a:gd name="T62" fmla="*/ 36 w 310"/>
                  <a:gd name="T63" fmla="*/ 309 h 389"/>
                  <a:gd name="T64" fmla="*/ 46 w 310"/>
                  <a:gd name="T65" fmla="*/ 283 h 389"/>
                  <a:gd name="T66" fmla="*/ 34 w 310"/>
                  <a:gd name="T67" fmla="*/ 260 h 389"/>
                  <a:gd name="T68" fmla="*/ 0 w 310"/>
                  <a:gd name="T69" fmla="*/ 253 h 389"/>
                  <a:gd name="T70" fmla="*/ 2 w 310"/>
                  <a:gd name="T71" fmla="*/ 247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0" h="389">
                    <a:moveTo>
                      <a:pt x="2" y="247"/>
                    </a:moveTo>
                    <a:lnTo>
                      <a:pt x="29" y="226"/>
                    </a:lnTo>
                    <a:lnTo>
                      <a:pt x="8" y="230"/>
                    </a:lnTo>
                    <a:lnTo>
                      <a:pt x="2" y="204"/>
                    </a:lnTo>
                    <a:lnTo>
                      <a:pt x="29" y="162"/>
                    </a:lnTo>
                    <a:lnTo>
                      <a:pt x="87" y="153"/>
                    </a:lnTo>
                    <a:lnTo>
                      <a:pt x="95" y="130"/>
                    </a:lnTo>
                    <a:lnTo>
                      <a:pt x="102" y="62"/>
                    </a:lnTo>
                    <a:lnTo>
                      <a:pt x="53" y="36"/>
                    </a:lnTo>
                    <a:lnTo>
                      <a:pt x="49" y="24"/>
                    </a:lnTo>
                    <a:lnTo>
                      <a:pt x="123" y="0"/>
                    </a:lnTo>
                    <a:lnTo>
                      <a:pt x="121" y="34"/>
                    </a:lnTo>
                    <a:lnTo>
                      <a:pt x="189" y="34"/>
                    </a:lnTo>
                    <a:lnTo>
                      <a:pt x="219" y="98"/>
                    </a:lnTo>
                    <a:lnTo>
                      <a:pt x="265" y="70"/>
                    </a:lnTo>
                    <a:lnTo>
                      <a:pt x="306" y="87"/>
                    </a:lnTo>
                    <a:lnTo>
                      <a:pt x="308" y="153"/>
                    </a:lnTo>
                    <a:lnTo>
                      <a:pt x="295" y="175"/>
                    </a:lnTo>
                    <a:lnTo>
                      <a:pt x="310" y="266"/>
                    </a:lnTo>
                    <a:lnTo>
                      <a:pt x="276" y="281"/>
                    </a:lnTo>
                    <a:lnTo>
                      <a:pt x="250" y="336"/>
                    </a:lnTo>
                    <a:lnTo>
                      <a:pt x="250" y="338"/>
                    </a:lnTo>
                    <a:lnTo>
                      <a:pt x="246" y="351"/>
                    </a:lnTo>
                    <a:lnTo>
                      <a:pt x="195" y="326"/>
                    </a:lnTo>
                    <a:lnTo>
                      <a:pt x="144" y="366"/>
                    </a:lnTo>
                    <a:lnTo>
                      <a:pt x="68" y="370"/>
                    </a:lnTo>
                    <a:lnTo>
                      <a:pt x="34" y="389"/>
                    </a:lnTo>
                    <a:lnTo>
                      <a:pt x="29" y="355"/>
                    </a:lnTo>
                    <a:lnTo>
                      <a:pt x="49" y="347"/>
                    </a:lnTo>
                    <a:lnTo>
                      <a:pt x="32" y="338"/>
                    </a:lnTo>
                    <a:lnTo>
                      <a:pt x="53" y="309"/>
                    </a:lnTo>
                    <a:lnTo>
                      <a:pt x="36" y="309"/>
                    </a:lnTo>
                    <a:lnTo>
                      <a:pt x="46" y="283"/>
                    </a:lnTo>
                    <a:lnTo>
                      <a:pt x="34" y="260"/>
                    </a:lnTo>
                    <a:lnTo>
                      <a:pt x="0" y="253"/>
                    </a:lnTo>
                    <a:lnTo>
                      <a:pt x="2" y="247"/>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grpSp>
        <p:grpSp>
          <p:nvGrpSpPr>
            <p:cNvPr id="163" name="Bretagne (N° Départements)">
              <a:extLst>
                <a:ext uri="{FF2B5EF4-FFF2-40B4-BE49-F238E27FC236}">
                  <a16:creationId xmlns:a16="http://schemas.microsoft.com/office/drawing/2014/main" id="{CBFA8B1F-7E67-4BE6-9135-F7C0EC59F679}"/>
                </a:ext>
              </a:extLst>
            </p:cNvPr>
            <p:cNvGrpSpPr/>
            <p:nvPr/>
          </p:nvGrpSpPr>
          <p:grpSpPr>
            <a:xfrm>
              <a:off x="4945684" y="2588277"/>
              <a:ext cx="1041532" cy="461277"/>
              <a:chOff x="4192228" y="2757662"/>
              <a:chExt cx="1041532" cy="461277"/>
            </a:xfrm>
            <a:noFill/>
          </p:grpSpPr>
          <p:sp>
            <p:nvSpPr>
              <p:cNvPr id="276" name="29">
                <a:extLst>
                  <a:ext uri="{FF2B5EF4-FFF2-40B4-BE49-F238E27FC236}">
                    <a16:creationId xmlns:a16="http://schemas.microsoft.com/office/drawing/2014/main" id="{D66B8D3B-6FD5-4C79-8143-9D4670708243}"/>
                  </a:ext>
                </a:extLst>
              </p:cNvPr>
              <p:cNvSpPr txBox="1"/>
              <p:nvPr/>
            </p:nvSpPr>
            <p:spPr>
              <a:xfrm>
                <a:off x="4192228" y="2757662"/>
                <a:ext cx="184830" cy="166169"/>
              </a:xfrm>
              <a:prstGeom prst="rect">
                <a:avLst/>
              </a:prstGeom>
              <a:grpFill/>
            </p:spPr>
            <p:txBody>
              <a:bodyPr wrap="none" lIns="0" tIns="0" rIns="0" bIns="0" rtlCol="0">
                <a:noAutofit/>
              </a:bodyPr>
              <a:lstStyle/>
              <a:p>
                <a:r>
                  <a:rPr lang="fr-FR" sz="800">
                    <a:solidFill>
                      <a:srgbClr val="FFFFFF"/>
                    </a:solidFill>
                    <a:latin typeface="Tahoma"/>
                  </a:rPr>
                  <a:t>29</a:t>
                </a:r>
              </a:p>
            </p:txBody>
          </p:sp>
          <p:sp>
            <p:nvSpPr>
              <p:cNvPr id="277" name="22">
                <a:extLst>
                  <a:ext uri="{FF2B5EF4-FFF2-40B4-BE49-F238E27FC236}">
                    <a16:creationId xmlns:a16="http://schemas.microsoft.com/office/drawing/2014/main" id="{8A1D47A6-D74C-431D-8DF1-4097FC0B78A1}"/>
                  </a:ext>
                </a:extLst>
              </p:cNvPr>
              <p:cNvSpPr txBox="1"/>
              <p:nvPr/>
            </p:nvSpPr>
            <p:spPr>
              <a:xfrm>
                <a:off x="4633471" y="2757662"/>
                <a:ext cx="184830" cy="166169"/>
              </a:xfrm>
              <a:prstGeom prst="rect">
                <a:avLst/>
              </a:prstGeom>
              <a:grpFill/>
            </p:spPr>
            <p:txBody>
              <a:bodyPr wrap="none" lIns="0" tIns="0" rIns="0" bIns="0" rtlCol="0">
                <a:noAutofit/>
              </a:bodyPr>
              <a:lstStyle/>
              <a:p>
                <a:r>
                  <a:rPr lang="fr-FR" sz="800">
                    <a:solidFill>
                      <a:srgbClr val="503078"/>
                    </a:solidFill>
                    <a:latin typeface="Tahoma"/>
                  </a:rPr>
                  <a:t>22</a:t>
                </a:r>
              </a:p>
            </p:txBody>
          </p:sp>
          <p:sp>
            <p:nvSpPr>
              <p:cNvPr id="278" name="56">
                <a:extLst>
                  <a:ext uri="{FF2B5EF4-FFF2-40B4-BE49-F238E27FC236}">
                    <a16:creationId xmlns:a16="http://schemas.microsoft.com/office/drawing/2014/main" id="{0B9FD103-C8A4-47CD-B566-837F8A52B48C}"/>
                  </a:ext>
                </a:extLst>
              </p:cNvPr>
              <p:cNvSpPr txBox="1"/>
              <p:nvPr/>
            </p:nvSpPr>
            <p:spPr>
              <a:xfrm>
                <a:off x="4633471" y="3052770"/>
                <a:ext cx="184830" cy="166169"/>
              </a:xfrm>
              <a:prstGeom prst="rect">
                <a:avLst/>
              </a:prstGeom>
              <a:grpFill/>
            </p:spPr>
            <p:txBody>
              <a:bodyPr wrap="none" lIns="0" tIns="0" rIns="0" bIns="0" rtlCol="0">
                <a:noAutofit/>
              </a:bodyPr>
              <a:lstStyle/>
              <a:p>
                <a:r>
                  <a:rPr lang="fr-FR" sz="800">
                    <a:solidFill>
                      <a:srgbClr val="503078"/>
                    </a:solidFill>
                    <a:latin typeface="Tahoma"/>
                  </a:rPr>
                  <a:t>56</a:t>
                </a:r>
              </a:p>
            </p:txBody>
          </p:sp>
          <p:sp>
            <p:nvSpPr>
              <p:cNvPr id="279" name="35">
                <a:extLst>
                  <a:ext uri="{FF2B5EF4-FFF2-40B4-BE49-F238E27FC236}">
                    <a16:creationId xmlns:a16="http://schemas.microsoft.com/office/drawing/2014/main" id="{0982A5D3-5092-45E7-8BF0-250123BA3087}"/>
                  </a:ext>
                </a:extLst>
              </p:cNvPr>
              <p:cNvSpPr txBox="1"/>
              <p:nvPr/>
            </p:nvSpPr>
            <p:spPr>
              <a:xfrm>
                <a:off x="5048930" y="2909505"/>
                <a:ext cx="184830" cy="166169"/>
              </a:xfrm>
              <a:prstGeom prst="rect">
                <a:avLst/>
              </a:prstGeom>
              <a:grpFill/>
            </p:spPr>
            <p:txBody>
              <a:bodyPr wrap="none" lIns="0" tIns="0" rIns="0" bIns="0" rtlCol="0">
                <a:noAutofit/>
              </a:bodyPr>
              <a:lstStyle/>
              <a:p>
                <a:r>
                  <a:rPr lang="fr-FR" sz="800">
                    <a:solidFill>
                      <a:srgbClr val="503078"/>
                    </a:solidFill>
                    <a:latin typeface="Tahoma"/>
                  </a:rPr>
                  <a:t>35</a:t>
                </a:r>
              </a:p>
            </p:txBody>
          </p:sp>
        </p:grpSp>
        <p:grpSp>
          <p:nvGrpSpPr>
            <p:cNvPr id="164" name="Bourgogne Franche Comté (Formes)">
              <a:extLst>
                <a:ext uri="{FF2B5EF4-FFF2-40B4-BE49-F238E27FC236}">
                  <a16:creationId xmlns:a16="http://schemas.microsoft.com/office/drawing/2014/main" id="{98E90655-9189-4C0C-887B-DD079EF93773}"/>
                </a:ext>
              </a:extLst>
            </p:cNvPr>
            <p:cNvGrpSpPr/>
            <p:nvPr/>
          </p:nvGrpSpPr>
          <p:grpSpPr>
            <a:xfrm>
              <a:off x="7429779" y="2742985"/>
              <a:ext cx="1518520" cy="1168973"/>
              <a:chOff x="6676323" y="2912370"/>
              <a:chExt cx="1518520" cy="1168973"/>
            </a:xfrm>
            <a:solidFill>
              <a:srgbClr val="667E76"/>
            </a:solidFill>
          </p:grpSpPr>
          <p:grpSp>
            <p:nvGrpSpPr>
              <p:cNvPr id="266" name="Franche Comté (Formes)">
                <a:extLst>
                  <a:ext uri="{FF2B5EF4-FFF2-40B4-BE49-F238E27FC236}">
                    <a16:creationId xmlns:a16="http://schemas.microsoft.com/office/drawing/2014/main" id="{60319AD2-1484-4C2A-B630-71CB6B193196}"/>
                  </a:ext>
                </a:extLst>
              </p:cNvPr>
              <p:cNvGrpSpPr/>
              <p:nvPr/>
            </p:nvGrpSpPr>
            <p:grpSpPr>
              <a:xfrm>
                <a:off x="7537296" y="3088575"/>
                <a:ext cx="657547" cy="928301"/>
                <a:chOff x="7537296" y="3088575"/>
                <a:chExt cx="657547" cy="928301"/>
              </a:xfrm>
              <a:grpFill/>
            </p:grpSpPr>
            <p:sp>
              <p:nvSpPr>
                <p:cNvPr id="272" name="90">
                  <a:extLst>
                    <a:ext uri="{FF2B5EF4-FFF2-40B4-BE49-F238E27FC236}">
                      <a16:creationId xmlns:a16="http://schemas.microsoft.com/office/drawing/2014/main" id="{F6F78476-CDC7-46EC-9549-D3EF76CA9C2F}"/>
                    </a:ext>
                  </a:extLst>
                </p:cNvPr>
                <p:cNvSpPr>
                  <a:spLocks/>
                </p:cNvSpPr>
                <p:nvPr/>
              </p:nvSpPr>
              <p:spPr bwMode="gray">
                <a:xfrm>
                  <a:off x="8055884" y="3185989"/>
                  <a:ext cx="138959" cy="200559"/>
                </a:xfrm>
                <a:custGeom>
                  <a:avLst/>
                  <a:gdLst>
                    <a:gd name="T0" fmla="*/ 2 w 97"/>
                    <a:gd name="T1" fmla="*/ 32 h 140"/>
                    <a:gd name="T2" fmla="*/ 17 w 97"/>
                    <a:gd name="T3" fmla="*/ 96 h 140"/>
                    <a:gd name="T4" fmla="*/ 51 w 97"/>
                    <a:gd name="T5" fmla="*/ 113 h 140"/>
                    <a:gd name="T6" fmla="*/ 40 w 97"/>
                    <a:gd name="T7" fmla="*/ 119 h 140"/>
                    <a:gd name="T8" fmla="*/ 51 w 97"/>
                    <a:gd name="T9" fmla="*/ 140 h 140"/>
                    <a:gd name="T10" fmla="*/ 61 w 97"/>
                    <a:gd name="T11" fmla="*/ 119 h 140"/>
                    <a:gd name="T12" fmla="*/ 97 w 97"/>
                    <a:gd name="T13" fmla="*/ 115 h 140"/>
                    <a:gd name="T14" fmla="*/ 83 w 97"/>
                    <a:gd name="T15" fmla="*/ 79 h 140"/>
                    <a:gd name="T16" fmla="*/ 63 w 97"/>
                    <a:gd name="T17" fmla="*/ 81 h 140"/>
                    <a:gd name="T18" fmla="*/ 70 w 97"/>
                    <a:gd name="T19" fmla="*/ 36 h 140"/>
                    <a:gd name="T20" fmla="*/ 23 w 97"/>
                    <a:gd name="T21" fmla="*/ 4 h 140"/>
                    <a:gd name="T22" fmla="*/ 21 w 97"/>
                    <a:gd name="T23" fmla="*/ 0 h 140"/>
                    <a:gd name="T24" fmla="*/ 15 w 97"/>
                    <a:gd name="T25" fmla="*/ 2 h 140"/>
                    <a:gd name="T26" fmla="*/ 0 w 97"/>
                    <a:gd name="T27" fmla="*/ 28 h 140"/>
                    <a:gd name="T28" fmla="*/ 2 w 97"/>
                    <a:gd name="T29" fmla="*/ 3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140">
                      <a:moveTo>
                        <a:pt x="2" y="32"/>
                      </a:moveTo>
                      <a:lnTo>
                        <a:pt x="17" y="96"/>
                      </a:lnTo>
                      <a:lnTo>
                        <a:pt x="51" y="113"/>
                      </a:lnTo>
                      <a:lnTo>
                        <a:pt x="40" y="119"/>
                      </a:lnTo>
                      <a:lnTo>
                        <a:pt x="51" y="140"/>
                      </a:lnTo>
                      <a:lnTo>
                        <a:pt x="61" y="119"/>
                      </a:lnTo>
                      <a:lnTo>
                        <a:pt x="97" y="115"/>
                      </a:lnTo>
                      <a:lnTo>
                        <a:pt x="83" y="79"/>
                      </a:lnTo>
                      <a:lnTo>
                        <a:pt x="63" y="81"/>
                      </a:lnTo>
                      <a:lnTo>
                        <a:pt x="70" y="36"/>
                      </a:lnTo>
                      <a:lnTo>
                        <a:pt x="23" y="4"/>
                      </a:lnTo>
                      <a:lnTo>
                        <a:pt x="21" y="0"/>
                      </a:lnTo>
                      <a:lnTo>
                        <a:pt x="15" y="2"/>
                      </a:lnTo>
                      <a:lnTo>
                        <a:pt x="0" y="28"/>
                      </a:lnTo>
                      <a:lnTo>
                        <a:pt x="2" y="32"/>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73" name="89">
                  <a:extLst>
                    <a:ext uri="{FF2B5EF4-FFF2-40B4-BE49-F238E27FC236}">
                      <a16:creationId xmlns:a16="http://schemas.microsoft.com/office/drawing/2014/main" id="{140E3AE7-EF17-46A2-8484-F2DD321AC3FA}"/>
                    </a:ext>
                  </a:extLst>
                </p:cNvPr>
                <p:cNvSpPr>
                  <a:spLocks/>
                </p:cNvSpPr>
                <p:nvPr/>
              </p:nvSpPr>
              <p:spPr bwMode="gray">
                <a:xfrm>
                  <a:off x="7537296" y="3472502"/>
                  <a:ext cx="345249" cy="544374"/>
                </a:xfrm>
                <a:custGeom>
                  <a:avLst/>
                  <a:gdLst>
                    <a:gd name="T0" fmla="*/ 2 w 241"/>
                    <a:gd name="T1" fmla="*/ 132 h 380"/>
                    <a:gd name="T2" fmla="*/ 0 w 241"/>
                    <a:gd name="T3" fmla="*/ 121 h 380"/>
                    <a:gd name="T4" fmla="*/ 45 w 241"/>
                    <a:gd name="T5" fmla="*/ 59 h 380"/>
                    <a:gd name="T6" fmla="*/ 64 w 241"/>
                    <a:gd name="T7" fmla="*/ 0 h 380"/>
                    <a:gd name="T8" fmla="*/ 79 w 241"/>
                    <a:gd name="T9" fmla="*/ 19 h 380"/>
                    <a:gd name="T10" fmla="*/ 109 w 241"/>
                    <a:gd name="T11" fmla="*/ 13 h 380"/>
                    <a:gd name="T12" fmla="*/ 141 w 241"/>
                    <a:gd name="T13" fmla="*/ 57 h 380"/>
                    <a:gd name="T14" fmla="*/ 124 w 241"/>
                    <a:gd name="T15" fmla="*/ 102 h 380"/>
                    <a:gd name="T16" fmla="*/ 138 w 241"/>
                    <a:gd name="T17" fmla="*/ 91 h 380"/>
                    <a:gd name="T18" fmla="*/ 164 w 241"/>
                    <a:gd name="T19" fmla="*/ 102 h 380"/>
                    <a:gd name="T20" fmla="*/ 194 w 241"/>
                    <a:gd name="T21" fmla="*/ 161 h 380"/>
                    <a:gd name="T22" fmla="*/ 241 w 241"/>
                    <a:gd name="T23" fmla="*/ 189 h 380"/>
                    <a:gd name="T24" fmla="*/ 209 w 241"/>
                    <a:gd name="T25" fmla="*/ 221 h 380"/>
                    <a:gd name="T26" fmla="*/ 202 w 241"/>
                    <a:gd name="T27" fmla="*/ 253 h 380"/>
                    <a:gd name="T28" fmla="*/ 226 w 241"/>
                    <a:gd name="T29" fmla="*/ 270 h 380"/>
                    <a:gd name="T30" fmla="*/ 209 w 241"/>
                    <a:gd name="T31" fmla="*/ 321 h 380"/>
                    <a:gd name="T32" fmla="*/ 162 w 241"/>
                    <a:gd name="T33" fmla="*/ 378 h 380"/>
                    <a:gd name="T34" fmla="*/ 126 w 241"/>
                    <a:gd name="T35" fmla="*/ 380 h 380"/>
                    <a:gd name="T36" fmla="*/ 104 w 241"/>
                    <a:gd name="T37" fmla="*/ 353 h 380"/>
                    <a:gd name="T38" fmla="*/ 70 w 241"/>
                    <a:gd name="T39" fmla="*/ 380 h 380"/>
                    <a:gd name="T40" fmla="*/ 49 w 241"/>
                    <a:gd name="T41" fmla="*/ 351 h 380"/>
                    <a:gd name="T42" fmla="*/ 43 w 241"/>
                    <a:gd name="T43" fmla="*/ 363 h 380"/>
                    <a:gd name="T44" fmla="*/ 19 w 241"/>
                    <a:gd name="T45" fmla="*/ 315 h 380"/>
                    <a:gd name="T46" fmla="*/ 45 w 241"/>
                    <a:gd name="T47" fmla="*/ 302 h 380"/>
                    <a:gd name="T48" fmla="*/ 30 w 241"/>
                    <a:gd name="T49" fmla="*/ 274 h 380"/>
                    <a:gd name="T50" fmla="*/ 49 w 241"/>
                    <a:gd name="T51" fmla="*/ 244 h 380"/>
                    <a:gd name="T52" fmla="*/ 19 w 241"/>
                    <a:gd name="T53" fmla="*/ 183 h 380"/>
                    <a:gd name="T54" fmla="*/ 53 w 241"/>
                    <a:gd name="T55" fmla="*/ 166 h 380"/>
                    <a:gd name="T56" fmla="*/ 0 w 241"/>
                    <a:gd name="T57" fmla="*/ 134 h 380"/>
                    <a:gd name="T58" fmla="*/ 2 w 241"/>
                    <a:gd name="T59" fmla="*/ 13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1" h="380">
                      <a:moveTo>
                        <a:pt x="2" y="132"/>
                      </a:moveTo>
                      <a:lnTo>
                        <a:pt x="0" y="121"/>
                      </a:lnTo>
                      <a:lnTo>
                        <a:pt x="45" y="59"/>
                      </a:lnTo>
                      <a:lnTo>
                        <a:pt x="64" y="0"/>
                      </a:lnTo>
                      <a:lnTo>
                        <a:pt x="79" y="19"/>
                      </a:lnTo>
                      <a:lnTo>
                        <a:pt x="109" y="13"/>
                      </a:lnTo>
                      <a:lnTo>
                        <a:pt x="141" y="57"/>
                      </a:lnTo>
                      <a:lnTo>
                        <a:pt x="124" y="102"/>
                      </a:lnTo>
                      <a:lnTo>
                        <a:pt x="138" y="91"/>
                      </a:lnTo>
                      <a:lnTo>
                        <a:pt x="164" y="102"/>
                      </a:lnTo>
                      <a:lnTo>
                        <a:pt x="194" y="161"/>
                      </a:lnTo>
                      <a:lnTo>
                        <a:pt x="241" y="189"/>
                      </a:lnTo>
                      <a:lnTo>
                        <a:pt x="209" y="221"/>
                      </a:lnTo>
                      <a:lnTo>
                        <a:pt x="202" y="253"/>
                      </a:lnTo>
                      <a:lnTo>
                        <a:pt x="226" y="270"/>
                      </a:lnTo>
                      <a:lnTo>
                        <a:pt x="209" y="321"/>
                      </a:lnTo>
                      <a:lnTo>
                        <a:pt x="162" y="378"/>
                      </a:lnTo>
                      <a:lnTo>
                        <a:pt x="126" y="380"/>
                      </a:lnTo>
                      <a:lnTo>
                        <a:pt x="104" y="353"/>
                      </a:lnTo>
                      <a:lnTo>
                        <a:pt x="70" y="380"/>
                      </a:lnTo>
                      <a:lnTo>
                        <a:pt x="49" y="351"/>
                      </a:lnTo>
                      <a:lnTo>
                        <a:pt x="43" y="363"/>
                      </a:lnTo>
                      <a:lnTo>
                        <a:pt x="19" y="315"/>
                      </a:lnTo>
                      <a:lnTo>
                        <a:pt x="45" y="302"/>
                      </a:lnTo>
                      <a:lnTo>
                        <a:pt x="30" y="274"/>
                      </a:lnTo>
                      <a:lnTo>
                        <a:pt x="49" y="244"/>
                      </a:lnTo>
                      <a:lnTo>
                        <a:pt x="19" y="183"/>
                      </a:lnTo>
                      <a:lnTo>
                        <a:pt x="53" y="166"/>
                      </a:lnTo>
                      <a:lnTo>
                        <a:pt x="0" y="134"/>
                      </a:lnTo>
                      <a:lnTo>
                        <a:pt x="2" y="132"/>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74" name="70">
                  <a:extLst>
                    <a:ext uri="{FF2B5EF4-FFF2-40B4-BE49-F238E27FC236}">
                      <a16:creationId xmlns:a16="http://schemas.microsoft.com/office/drawing/2014/main" id="{14C942F0-6040-4696-82DA-58AA4BDF3498}"/>
                    </a:ext>
                  </a:extLst>
                </p:cNvPr>
                <p:cNvSpPr>
                  <a:spLocks/>
                </p:cNvSpPr>
                <p:nvPr/>
              </p:nvSpPr>
              <p:spPr bwMode="gray">
                <a:xfrm>
                  <a:off x="7571678" y="3088575"/>
                  <a:ext cx="508561" cy="411147"/>
                </a:xfrm>
                <a:custGeom>
                  <a:avLst/>
                  <a:gdLst>
                    <a:gd name="T0" fmla="*/ 0 w 355"/>
                    <a:gd name="T1" fmla="*/ 159 h 287"/>
                    <a:gd name="T2" fmla="*/ 27 w 355"/>
                    <a:gd name="T3" fmla="*/ 159 h 287"/>
                    <a:gd name="T4" fmla="*/ 27 w 355"/>
                    <a:gd name="T5" fmla="*/ 187 h 287"/>
                    <a:gd name="T6" fmla="*/ 2 w 355"/>
                    <a:gd name="T7" fmla="*/ 210 h 287"/>
                    <a:gd name="T8" fmla="*/ 32 w 355"/>
                    <a:gd name="T9" fmla="*/ 236 h 287"/>
                    <a:gd name="T10" fmla="*/ 40 w 355"/>
                    <a:gd name="T11" fmla="*/ 268 h 287"/>
                    <a:gd name="T12" fmla="*/ 55 w 355"/>
                    <a:gd name="T13" fmla="*/ 287 h 287"/>
                    <a:gd name="T14" fmla="*/ 85 w 355"/>
                    <a:gd name="T15" fmla="*/ 281 h 287"/>
                    <a:gd name="T16" fmla="*/ 87 w 355"/>
                    <a:gd name="T17" fmla="*/ 279 h 287"/>
                    <a:gd name="T18" fmla="*/ 217 w 355"/>
                    <a:gd name="T19" fmla="*/ 223 h 287"/>
                    <a:gd name="T20" fmla="*/ 238 w 355"/>
                    <a:gd name="T21" fmla="*/ 189 h 287"/>
                    <a:gd name="T22" fmla="*/ 293 w 355"/>
                    <a:gd name="T23" fmla="*/ 191 h 287"/>
                    <a:gd name="T24" fmla="*/ 319 w 355"/>
                    <a:gd name="T25" fmla="*/ 159 h 287"/>
                    <a:gd name="T26" fmla="*/ 355 w 355"/>
                    <a:gd name="T27" fmla="*/ 164 h 287"/>
                    <a:gd name="T28" fmla="*/ 340 w 355"/>
                    <a:gd name="T29" fmla="*/ 100 h 287"/>
                    <a:gd name="T30" fmla="*/ 338 w 355"/>
                    <a:gd name="T31" fmla="*/ 96 h 287"/>
                    <a:gd name="T32" fmla="*/ 353 w 355"/>
                    <a:gd name="T33" fmla="*/ 70 h 287"/>
                    <a:gd name="T34" fmla="*/ 297 w 355"/>
                    <a:gd name="T35" fmla="*/ 26 h 287"/>
                    <a:gd name="T36" fmla="*/ 268 w 355"/>
                    <a:gd name="T37" fmla="*/ 47 h 287"/>
                    <a:gd name="T38" fmla="*/ 251 w 355"/>
                    <a:gd name="T39" fmla="*/ 28 h 287"/>
                    <a:gd name="T40" fmla="*/ 251 w 355"/>
                    <a:gd name="T41" fmla="*/ 28 h 287"/>
                    <a:gd name="T42" fmla="*/ 202 w 355"/>
                    <a:gd name="T43" fmla="*/ 34 h 287"/>
                    <a:gd name="T44" fmla="*/ 180 w 355"/>
                    <a:gd name="T45" fmla="*/ 0 h 287"/>
                    <a:gd name="T46" fmla="*/ 123 w 355"/>
                    <a:gd name="T47" fmla="*/ 38 h 287"/>
                    <a:gd name="T48" fmla="*/ 108 w 355"/>
                    <a:gd name="T49" fmla="*/ 68 h 287"/>
                    <a:gd name="T50" fmla="*/ 74 w 355"/>
                    <a:gd name="T51" fmla="*/ 81 h 287"/>
                    <a:gd name="T52" fmla="*/ 78 w 355"/>
                    <a:gd name="T53" fmla="*/ 128 h 287"/>
                    <a:gd name="T54" fmla="*/ 12 w 355"/>
                    <a:gd name="T55" fmla="*/ 132 h 287"/>
                    <a:gd name="T56" fmla="*/ 0 w 355"/>
                    <a:gd name="T57" fmla="*/ 153 h 287"/>
                    <a:gd name="T58" fmla="*/ 0 w 355"/>
                    <a:gd name="T59" fmla="*/ 159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5" h="287">
                      <a:moveTo>
                        <a:pt x="0" y="159"/>
                      </a:moveTo>
                      <a:lnTo>
                        <a:pt x="27" y="159"/>
                      </a:lnTo>
                      <a:lnTo>
                        <a:pt x="27" y="187"/>
                      </a:lnTo>
                      <a:lnTo>
                        <a:pt x="2" y="210"/>
                      </a:lnTo>
                      <a:lnTo>
                        <a:pt x="32" y="236"/>
                      </a:lnTo>
                      <a:lnTo>
                        <a:pt x="40" y="268"/>
                      </a:lnTo>
                      <a:lnTo>
                        <a:pt x="55" y="287"/>
                      </a:lnTo>
                      <a:lnTo>
                        <a:pt x="85" y="281"/>
                      </a:lnTo>
                      <a:lnTo>
                        <a:pt x="87" y="279"/>
                      </a:lnTo>
                      <a:lnTo>
                        <a:pt x="217" y="223"/>
                      </a:lnTo>
                      <a:lnTo>
                        <a:pt x="238" y="189"/>
                      </a:lnTo>
                      <a:lnTo>
                        <a:pt x="293" y="191"/>
                      </a:lnTo>
                      <a:lnTo>
                        <a:pt x="319" y="159"/>
                      </a:lnTo>
                      <a:lnTo>
                        <a:pt x="355" y="164"/>
                      </a:lnTo>
                      <a:lnTo>
                        <a:pt x="340" y="100"/>
                      </a:lnTo>
                      <a:lnTo>
                        <a:pt x="338" y="96"/>
                      </a:lnTo>
                      <a:lnTo>
                        <a:pt x="353" y="70"/>
                      </a:lnTo>
                      <a:lnTo>
                        <a:pt x="297" y="26"/>
                      </a:lnTo>
                      <a:lnTo>
                        <a:pt x="268" y="47"/>
                      </a:lnTo>
                      <a:lnTo>
                        <a:pt x="251" y="28"/>
                      </a:lnTo>
                      <a:lnTo>
                        <a:pt x="251" y="28"/>
                      </a:lnTo>
                      <a:lnTo>
                        <a:pt x="202" y="34"/>
                      </a:lnTo>
                      <a:lnTo>
                        <a:pt x="180" y="0"/>
                      </a:lnTo>
                      <a:lnTo>
                        <a:pt x="123" y="38"/>
                      </a:lnTo>
                      <a:lnTo>
                        <a:pt x="108" y="68"/>
                      </a:lnTo>
                      <a:lnTo>
                        <a:pt x="74" y="81"/>
                      </a:lnTo>
                      <a:lnTo>
                        <a:pt x="78" y="128"/>
                      </a:lnTo>
                      <a:lnTo>
                        <a:pt x="12" y="132"/>
                      </a:lnTo>
                      <a:lnTo>
                        <a:pt x="0" y="153"/>
                      </a:lnTo>
                      <a:lnTo>
                        <a:pt x="0" y="159"/>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75" name="25">
                  <a:extLst>
                    <a:ext uri="{FF2B5EF4-FFF2-40B4-BE49-F238E27FC236}">
                      <a16:creationId xmlns:a16="http://schemas.microsoft.com/office/drawing/2014/main" id="{766E569F-1111-448B-A10C-F29B1521A0F7}"/>
                    </a:ext>
                  </a:extLst>
                </p:cNvPr>
                <p:cNvSpPr>
                  <a:spLocks/>
                </p:cNvSpPr>
                <p:nvPr/>
              </p:nvSpPr>
              <p:spPr bwMode="gray">
                <a:xfrm>
                  <a:off x="7693445" y="3316354"/>
                  <a:ext cx="481342" cy="542943"/>
                </a:xfrm>
                <a:custGeom>
                  <a:avLst/>
                  <a:gdLst>
                    <a:gd name="T0" fmla="*/ 2 w 336"/>
                    <a:gd name="T1" fmla="*/ 120 h 379"/>
                    <a:gd name="T2" fmla="*/ 132 w 336"/>
                    <a:gd name="T3" fmla="*/ 64 h 379"/>
                    <a:gd name="T4" fmla="*/ 153 w 336"/>
                    <a:gd name="T5" fmla="*/ 30 h 379"/>
                    <a:gd name="T6" fmla="*/ 208 w 336"/>
                    <a:gd name="T7" fmla="*/ 32 h 379"/>
                    <a:gd name="T8" fmla="*/ 234 w 336"/>
                    <a:gd name="T9" fmla="*/ 0 h 379"/>
                    <a:gd name="T10" fmla="*/ 270 w 336"/>
                    <a:gd name="T11" fmla="*/ 5 h 379"/>
                    <a:gd name="T12" fmla="*/ 304 w 336"/>
                    <a:gd name="T13" fmla="*/ 22 h 379"/>
                    <a:gd name="T14" fmla="*/ 293 w 336"/>
                    <a:gd name="T15" fmla="*/ 28 h 379"/>
                    <a:gd name="T16" fmla="*/ 304 w 336"/>
                    <a:gd name="T17" fmla="*/ 49 h 379"/>
                    <a:gd name="T18" fmla="*/ 291 w 336"/>
                    <a:gd name="T19" fmla="*/ 79 h 379"/>
                    <a:gd name="T20" fmla="*/ 336 w 336"/>
                    <a:gd name="T21" fmla="*/ 81 h 379"/>
                    <a:gd name="T22" fmla="*/ 251 w 336"/>
                    <a:gd name="T23" fmla="*/ 196 h 379"/>
                    <a:gd name="T24" fmla="*/ 187 w 336"/>
                    <a:gd name="T25" fmla="*/ 241 h 379"/>
                    <a:gd name="T26" fmla="*/ 189 w 336"/>
                    <a:gd name="T27" fmla="*/ 300 h 379"/>
                    <a:gd name="T28" fmla="*/ 117 w 336"/>
                    <a:gd name="T29" fmla="*/ 379 h 379"/>
                    <a:gd name="T30" fmla="*/ 93 w 336"/>
                    <a:gd name="T31" fmla="*/ 362 h 379"/>
                    <a:gd name="T32" fmla="*/ 100 w 336"/>
                    <a:gd name="T33" fmla="*/ 330 h 379"/>
                    <a:gd name="T34" fmla="*/ 132 w 336"/>
                    <a:gd name="T35" fmla="*/ 298 h 379"/>
                    <a:gd name="T36" fmla="*/ 85 w 336"/>
                    <a:gd name="T37" fmla="*/ 270 h 379"/>
                    <a:gd name="T38" fmla="*/ 55 w 336"/>
                    <a:gd name="T39" fmla="*/ 211 h 379"/>
                    <a:gd name="T40" fmla="*/ 29 w 336"/>
                    <a:gd name="T41" fmla="*/ 200 h 379"/>
                    <a:gd name="T42" fmla="*/ 15 w 336"/>
                    <a:gd name="T43" fmla="*/ 211 h 379"/>
                    <a:gd name="T44" fmla="*/ 32 w 336"/>
                    <a:gd name="T45" fmla="*/ 166 h 379"/>
                    <a:gd name="T46" fmla="*/ 0 w 336"/>
                    <a:gd name="T47" fmla="*/ 122 h 379"/>
                    <a:gd name="T48" fmla="*/ 2 w 336"/>
                    <a:gd name="T49" fmla="*/ 12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6" h="379">
                      <a:moveTo>
                        <a:pt x="2" y="120"/>
                      </a:moveTo>
                      <a:lnTo>
                        <a:pt x="132" y="64"/>
                      </a:lnTo>
                      <a:lnTo>
                        <a:pt x="153" y="30"/>
                      </a:lnTo>
                      <a:lnTo>
                        <a:pt x="208" y="32"/>
                      </a:lnTo>
                      <a:lnTo>
                        <a:pt x="234" y="0"/>
                      </a:lnTo>
                      <a:lnTo>
                        <a:pt x="270" y="5"/>
                      </a:lnTo>
                      <a:lnTo>
                        <a:pt x="304" y="22"/>
                      </a:lnTo>
                      <a:lnTo>
                        <a:pt x="293" y="28"/>
                      </a:lnTo>
                      <a:lnTo>
                        <a:pt x="304" y="49"/>
                      </a:lnTo>
                      <a:lnTo>
                        <a:pt x="291" y="79"/>
                      </a:lnTo>
                      <a:lnTo>
                        <a:pt x="336" y="81"/>
                      </a:lnTo>
                      <a:lnTo>
                        <a:pt x="251" y="196"/>
                      </a:lnTo>
                      <a:lnTo>
                        <a:pt x="187" y="241"/>
                      </a:lnTo>
                      <a:lnTo>
                        <a:pt x="189" y="300"/>
                      </a:lnTo>
                      <a:lnTo>
                        <a:pt x="117" y="379"/>
                      </a:lnTo>
                      <a:lnTo>
                        <a:pt x="93" y="362"/>
                      </a:lnTo>
                      <a:lnTo>
                        <a:pt x="100" y="330"/>
                      </a:lnTo>
                      <a:lnTo>
                        <a:pt x="132" y="298"/>
                      </a:lnTo>
                      <a:lnTo>
                        <a:pt x="85" y="270"/>
                      </a:lnTo>
                      <a:lnTo>
                        <a:pt x="55" y="211"/>
                      </a:lnTo>
                      <a:lnTo>
                        <a:pt x="29" y="200"/>
                      </a:lnTo>
                      <a:lnTo>
                        <a:pt x="15" y="211"/>
                      </a:lnTo>
                      <a:lnTo>
                        <a:pt x="32" y="166"/>
                      </a:lnTo>
                      <a:lnTo>
                        <a:pt x="0" y="122"/>
                      </a:lnTo>
                      <a:lnTo>
                        <a:pt x="2" y="120"/>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grpSp>
          <p:grpSp>
            <p:nvGrpSpPr>
              <p:cNvPr id="267" name="Bourgogne (Formes)">
                <a:extLst>
                  <a:ext uri="{FF2B5EF4-FFF2-40B4-BE49-F238E27FC236}">
                    <a16:creationId xmlns:a16="http://schemas.microsoft.com/office/drawing/2014/main" id="{FE2A6006-8A9B-4C9B-881B-730415AEAE8C}"/>
                  </a:ext>
                </a:extLst>
              </p:cNvPr>
              <p:cNvGrpSpPr/>
              <p:nvPr/>
            </p:nvGrpSpPr>
            <p:grpSpPr>
              <a:xfrm>
                <a:off x="6676323" y="2912370"/>
                <a:ext cx="952657" cy="1168973"/>
                <a:chOff x="6676323" y="2912370"/>
                <a:chExt cx="952657" cy="1168973"/>
              </a:xfrm>
              <a:grpFill/>
            </p:grpSpPr>
            <p:sp>
              <p:nvSpPr>
                <p:cNvPr id="268" name="58">
                  <a:extLst>
                    <a:ext uri="{FF2B5EF4-FFF2-40B4-BE49-F238E27FC236}">
                      <a16:creationId xmlns:a16="http://schemas.microsoft.com/office/drawing/2014/main" id="{638E1041-06A9-41BC-A588-EE2A5BBA9E9F}"/>
                    </a:ext>
                  </a:extLst>
                </p:cNvPr>
                <p:cNvSpPr>
                  <a:spLocks/>
                </p:cNvSpPr>
                <p:nvPr/>
              </p:nvSpPr>
              <p:spPr bwMode="gray">
                <a:xfrm>
                  <a:off x="6676323" y="3334976"/>
                  <a:ext cx="492802" cy="489937"/>
                </a:xfrm>
                <a:custGeom>
                  <a:avLst/>
                  <a:gdLst>
                    <a:gd name="T0" fmla="*/ 4 w 344"/>
                    <a:gd name="T1" fmla="*/ 13 h 342"/>
                    <a:gd name="T2" fmla="*/ 32 w 344"/>
                    <a:gd name="T3" fmla="*/ 4 h 342"/>
                    <a:gd name="T4" fmla="*/ 66 w 344"/>
                    <a:gd name="T5" fmla="*/ 0 h 342"/>
                    <a:gd name="T6" fmla="*/ 81 w 344"/>
                    <a:gd name="T7" fmla="*/ 24 h 342"/>
                    <a:gd name="T8" fmla="*/ 81 w 344"/>
                    <a:gd name="T9" fmla="*/ 24 h 342"/>
                    <a:gd name="T10" fmla="*/ 125 w 344"/>
                    <a:gd name="T11" fmla="*/ 43 h 342"/>
                    <a:gd name="T12" fmla="*/ 136 w 344"/>
                    <a:gd name="T13" fmla="*/ 28 h 342"/>
                    <a:gd name="T14" fmla="*/ 159 w 344"/>
                    <a:gd name="T15" fmla="*/ 34 h 342"/>
                    <a:gd name="T16" fmla="*/ 161 w 344"/>
                    <a:gd name="T17" fmla="*/ 9 h 342"/>
                    <a:gd name="T18" fmla="*/ 221 w 344"/>
                    <a:gd name="T19" fmla="*/ 68 h 342"/>
                    <a:gd name="T20" fmla="*/ 242 w 344"/>
                    <a:gd name="T21" fmla="*/ 75 h 342"/>
                    <a:gd name="T22" fmla="*/ 255 w 344"/>
                    <a:gd name="T23" fmla="*/ 58 h 342"/>
                    <a:gd name="T24" fmla="*/ 255 w 344"/>
                    <a:gd name="T25" fmla="*/ 79 h 342"/>
                    <a:gd name="T26" fmla="*/ 276 w 344"/>
                    <a:gd name="T27" fmla="*/ 72 h 342"/>
                    <a:gd name="T28" fmla="*/ 289 w 344"/>
                    <a:gd name="T29" fmla="*/ 100 h 342"/>
                    <a:gd name="T30" fmla="*/ 312 w 344"/>
                    <a:gd name="T31" fmla="*/ 89 h 342"/>
                    <a:gd name="T32" fmla="*/ 321 w 344"/>
                    <a:gd name="T33" fmla="*/ 126 h 342"/>
                    <a:gd name="T34" fmla="*/ 344 w 344"/>
                    <a:gd name="T35" fmla="*/ 138 h 342"/>
                    <a:gd name="T36" fmla="*/ 340 w 344"/>
                    <a:gd name="T37" fmla="*/ 158 h 342"/>
                    <a:gd name="T38" fmla="*/ 331 w 344"/>
                    <a:gd name="T39" fmla="*/ 160 h 342"/>
                    <a:gd name="T40" fmla="*/ 316 w 344"/>
                    <a:gd name="T41" fmla="*/ 160 h 342"/>
                    <a:gd name="T42" fmla="*/ 316 w 344"/>
                    <a:gd name="T43" fmla="*/ 168 h 342"/>
                    <a:gd name="T44" fmla="*/ 299 w 344"/>
                    <a:gd name="T45" fmla="*/ 172 h 342"/>
                    <a:gd name="T46" fmla="*/ 306 w 344"/>
                    <a:gd name="T47" fmla="*/ 194 h 342"/>
                    <a:gd name="T48" fmla="*/ 287 w 344"/>
                    <a:gd name="T49" fmla="*/ 221 h 342"/>
                    <a:gd name="T50" fmla="*/ 312 w 344"/>
                    <a:gd name="T51" fmla="*/ 264 h 342"/>
                    <a:gd name="T52" fmla="*/ 304 w 344"/>
                    <a:gd name="T53" fmla="*/ 289 h 342"/>
                    <a:gd name="T54" fmla="*/ 242 w 344"/>
                    <a:gd name="T55" fmla="*/ 323 h 342"/>
                    <a:gd name="T56" fmla="*/ 195 w 344"/>
                    <a:gd name="T57" fmla="*/ 306 h 342"/>
                    <a:gd name="T58" fmla="*/ 151 w 344"/>
                    <a:gd name="T59" fmla="*/ 342 h 342"/>
                    <a:gd name="T60" fmla="*/ 134 w 344"/>
                    <a:gd name="T61" fmla="*/ 317 h 342"/>
                    <a:gd name="T62" fmla="*/ 87 w 344"/>
                    <a:gd name="T63" fmla="*/ 332 h 342"/>
                    <a:gd name="T64" fmla="*/ 42 w 344"/>
                    <a:gd name="T65" fmla="*/ 287 h 342"/>
                    <a:gd name="T66" fmla="*/ 57 w 344"/>
                    <a:gd name="T67" fmla="*/ 202 h 342"/>
                    <a:gd name="T68" fmla="*/ 34 w 344"/>
                    <a:gd name="T69" fmla="*/ 119 h 342"/>
                    <a:gd name="T70" fmla="*/ 6 w 344"/>
                    <a:gd name="T71" fmla="*/ 92 h 342"/>
                    <a:gd name="T72" fmla="*/ 21 w 344"/>
                    <a:gd name="T73" fmla="*/ 55 h 342"/>
                    <a:gd name="T74" fmla="*/ 6 w 344"/>
                    <a:gd name="T75" fmla="*/ 24 h 342"/>
                    <a:gd name="T76" fmla="*/ 0 w 344"/>
                    <a:gd name="T77" fmla="*/ 13 h 342"/>
                    <a:gd name="T78" fmla="*/ 4 w 344"/>
                    <a:gd name="T79" fmla="*/ 13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4" h="342">
                      <a:moveTo>
                        <a:pt x="4" y="13"/>
                      </a:moveTo>
                      <a:lnTo>
                        <a:pt x="32" y="4"/>
                      </a:lnTo>
                      <a:lnTo>
                        <a:pt x="66" y="0"/>
                      </a:lnTo>
                      <a:lnTo>
                        <a:pt x="81" y="24"/>
                      </a:lnTo>
                      <a:lnTo>
                        <a:pt x="81" y="24"/>
                      </a:lnTo>
                      <a:lnTo>
                        <a:pt x="125" y="43"/>
                      </a:lnTo>
                      <a:lnTo>
                        <a:pt x="136" y="28"/>
                      </a:lnTo>
                      <a:lnTo>
                        <a:pt x="159" y="34"/>
                      </a:lnTo>
                      <a:lnTo>
                        <a:pt x="161" y="9"/>
                      </a:lnTo>
                      <a:lnTo>
                        <a:pt x="221" y="68"/>
                      </a:lnTo>
                      <a:lnTo>
                        <a:pt x="242" y="75"/>
                      </a:lnTo>
                      <a:lnTo>
                        <a:pt x="255" y="58"/>
                      </a:lnTo>
                      <a:lnTo>
                        <a:pt x="255" y="79"/>
                      </a:lnTo>
                      <a:lnTo>
                        <a:pt x="276" y="72"/>
                      </a:lnTo>
                      <a:lnTo>
                        <a:pt x="289" y="100"/>
                      </a:lnTo>
                      <a:lnTo>
                        <a:pt x="312" y="89"/>
                      </a:lnTo>
                      <a:lnTo>
                        <a:pt x="321" y="126"/>
                      </a:lnTo>
                      <a:lnTo>
                        <a:pt x="344" y="138"/>
                      </a:lnTo>
                      <a:lnTo>
                        <a:pt x="340" y="158"/>
                      </a:lnTo>
                      <a:lnTo>
                        <a:pt x="331" y="160"/>
                      </a:lnTo>
                      <a:lnTo>
                        <a:pt x="316" y="160"/>
                      </a:lnTo>
                      <a:lnTo>
                        <a:pt x="316" y="168"/>
                      </a:lnTo>
                      <a:lnTo>
                        <a:pt x="299" y="172"/>
                      </a:lnTo>
                      <a:lnTo>
                        <a:pt x="306" y="194"/>
                      </a:lnTo>
                      <a:lnTo>
                        <a:pt x="287" y="221"/>
                      </a:lnTo>
                      <a:lnTo>
                        <a:pt x="312" y="264"/>
                      </a:lnTo>
                      <a:lnTo>
                        <a:pt x="304" y="289"/>
                      </a:lnTo>
                      <a:lnTo>
                        <a:pt x="242" y="323"/>
                      </a:lnTo>
                      <a:lnTo>
                        <a:pt x="195" y="306"/>
                      </a:lnTo>
                      <a:lnTo>
                        <a:pt x="151" y="342"/>
                      </a:lnTo>
                      <a:lnTo>
                        <a:pt x="134" y="317"/>
                      </a:lnTo>
                      <a:lnTo>
                        <a:pt x="87" y="332"/>
                      </a:lnTo>
                      <a:lnTo>
                        <a:pt x="42" y="287"/>
                      </a:lnTo>
                      <a:lnTo>
                        <a:pt x="57" y="202"/>
                      </a:lnTo>
                      <a:lnTo>
                        <a:pt x="34" y="119"/>
                      </a:lnTo>
                      <a:lnTo>
                        <a:pt x="6" y="92"/>
                      </a:lnTo>
                      <a:lnTo>
                        <a:pt x="21" y="55"/>
                      </a:lnTo>
                      <a:lnTo>
                        <a:pt x="6" y="24"/>
                      </a:lnTo>
                      <a:lnTo>
                        <a:pt x="0" y="13"/>
                      </a:lnTo>
                      <a:lnTo>
                        <a:pt x="4" y="13"/>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69" name="71">
                  <a:extLst>
                    <a:ext uri="{FF2B5EF4-FFF2-40B4-BE49-F238E27FC236}">
                      <a16:creationId xmlns:a16="http://schemas.microsoft.com/office/drawing/2014/main" id="{8AC9E952-5894-4A25-BD8D-FF3D80C5012F}"/>
                    </a:ext>
                  </a:extLst>
                </p:cNvPr>
                <p:cNvSpPr>
                  <a:spLocks/>
                </p:cNvSpPr>
                <p:nvPr/>
              </p:nvSpPr>
              <p:spPr bwMode="gray">
                <a:xfrm>
                  <a:off x="6952810" y="3561322"/>
                  <a:ext cx="660413" cy="520021"/>
                </a:xfrm>
                <a:custGeom>
                  <a:avLst/>
                  <a:gdLst>
                    <a:gd name="T0" fmla="*/ 2 w 461"/>
                    <a:gd name="T1" fmla="*/ 148 h 363"/>
                    <a:gd name="T2" fmla="*/ 49 w 461"/>
                    <a:gd name="T3" fmla="*/ 165 h 363"/>
                    <a:gd name="T4" fmla="*/ 111 w 461"/>
                    <a:gd name="T5" fmla="*/ 131 h 363"/>
                    <a:gd name="T6" fmla="*/ 119 w 461"/>
                    <a:gd name="T7" fmla="*/ 106 h 363"/>
                    <a:gd name="T8" fmla="*/ 94 w 461"/>
                    <a:gd name="T9" fmla="*/ 63 h 363"/>
                    <a:gd name="T10" fmla="*/ 113 w 461"/>
                    <a:gd name="T11" fmla="*/ 36 h 363"/>
                    <a:gd name="T12" fmla="*/ 106 w 461"/>
                    <a:gd name="T13" fmla="*/ 14 h 363"/>
                    <a:gd name="T14" fmla="*/ 123 w 461"/>
                    <a:gd name="T15" fmla="*/ 10 h 363"/>
                    <a:gd name="T16" fmla="*/ 138 w 461"/>
                    <a:gd name="T17" fmla="*/ 2 h 363"/>
                    <a:gd name="T18" fmla="*/ 147 w 461"/>
                    <a:gd name="T19" fmla="*/ 0 h 363"/>
                    <a:gd name="T20" fmla="*/ 232 w 461"/>
                    <a:gd name="T21" fmla="*/ 48 h 363"/>
                    <a:gd name="T22" fmla="*/ 268 w 461"/>
                    <a:gd name="T23" fmla="*/ 91 h 363"/>
                    <a:gd name="T24" fmla="*/ 323 w 461"/>
                    <a:gd name="T25" fmla="*/ 65 h 363"/>
                    <a:gd name="T26" fmla="*/ 408 w 461"/>
                    <a:gd name="T27" fmla="*/ 59 h 363"/>
                    <a:gd name="T28" fmla="*/ 410 w 461"/>
                    <a:gd name="T29" fmla="*/ 70 h 363"/>
                    <a:gd name="T30" fmla="*/ 408 w 461"/>
                    <a:gd name="T31" fmla="*/ 72 h 363"/>
                    <a:gd name="T32" fmla="*/ 461 w 461"/>
                    <a:gd name="T33" fmla="*/ 104 h 363"/>
                    <a:gd name="T34" fmla="*/ 427 w 461"/>
                    <a:gd name="T35" fmla="*/ 121 h 363"/>
                    <a:gd name="T36" fmla="*/ 457 w 461"/>
                    <a:gd name="T37" fmla="*/ 182 h 363"/>
                    <a:gd name="T38" fmla="*/ 438 w 461"/>
                    <a:gd name="T39" fmla="*/ 212 h 363"/>
                    <a:gd name="T40" fmla="*/ 453 w 461"/>
                    <a:gd name="T41" fmla="*/ 240 h 363"/>
                    <a:gd name="T42" fmla="*/ 427 w 461"/>
                    <a:gd name="T43" fmla="*/ 253 h 363"/>
                    <a:gd name="T44" fmla="*/ 391 w 461"/>
                    <a:gd name="T45" fmla="*/ 227 h 363"/>
                    <a:gd name="T46" fmla="*/ 362 w 461"/>
                    <a:gd name="T47" fmla="*/ 242 h 363"/>
                    <a:gd name="T48" fmla="*/ 332 w 461"/>
                    <a:gd name="T49" fmla="*/ 231 h 363"/>
                    <a:gd name="T50" fmla="*/ 294 w 461"/>
                    <a:gd name="T51" fmla="*/ 355 h 363"/>
                    <a:gd name="T52" fmla="*/ 281 w 461"/>
                    <a:gd name="T53" fmla="*/ 352 h 363"/>
                    <a:gd name="T54" fmla="*/ 270 w 461"/>
                    <a:gd name="T55" fmla="*/ 308 h 363"/>
                    <a:gd name="T56" fmla="*/ 253 w 461"/>
                    <a:gd name="T57" fmla="*/ 323 h 363"/>
                    <a:gd name="T58" fmla="*/ 204 w 461"/>
                    <a:gd name="T59" fmla="*/ 310 h 363"/>
                    <a:gd name="T60" fmla="*/ 194 w 461"/>
                    <a:gd name="T61" fmla="*/ 340 h 363"/>
                    <a:gd name="T62" fmla="*/ 168 w 461"/>
                    <a:gd name="T63" fmla="*/ 363 h 363"/>
                    <a:gd name="T64" fmla="*/ 123 w 461"/>
                    <a:gd name="T65" fmla="*/ 348 h 363"/>
                    <a:gd name="T66" fmla="*/ 92 w 461"/>
                    <a:gd name="T67" fmla="*/ 359 h 363"/>
                    <a:gd name="T68" fmla="*/ 70 w 461"/>
                    <a:gd name="T69" fmla="*/ 344 h 363"/>
                    <a:gd name="T70" fmla="*/ 70 w 461"/>
                    <a:gd name="T71" fmla="*/ 321 h 363"/>
                    <a:gd name="T72" fmla="*/ 96 w 461"/>
                    <a:gd name="T73" fmla="*/ 304 h 363"/>
                    <a:gd name="T74" fmla="*/ 96 w 461"/>
                    <a:gd name="T75" fmla="*/ 259 h 363"/>
                    <a:gd name="T76" fmla="*/ 30 w 461"/>
                    <a:gd name="T77" fmla="*/ 225 h 363"/>
                    <a:gd name="T78" fmla="*/ 0 w 461"/>
                    <a:gd name="T79" fmla="*/ 150 h 363"/>
                    <a:gd name="T80" fmla="*/ 2 w 461"/>
                    <a:gd name="T81" fmla="*/ 148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1" h="363">
                      <a:moveTo>
                        <a:pt x="2" y="148"/>
                      </a:moveTo>
                      <a:lnTo>
                        <a:pt x="49" y="165"/>
                      </a:lnTo>
                      <a:lnTo>
                        <a:pt x="111" y="131"/>
                      </a:lnTo>
                      <a:lnTo>
                        <a:pt x="119" y="106"/>
                      </a:lnTo>
                      <a:lnTo>
                        <a:pt x="94" y="63"/>
                      </a:lnTo>
                      <a:lnTo>
                        <a:pt x="113" y="36"/>
                      </a:lnTo>
                      <a:lnTo>
                        <a:pt x="106" y="14"/>
                      </a:lnTo>
                      <a:lnTo>
                        <a:pt x="123" y="10"/>
                      </a:lnTo>
                      <a:lnTo>
                        <a:pt x="138" y="2"/>
                      </a:lnTo>
                      <a:lnTo>
                        <a:pt x="147" y="0"/>
                      </a:lnTo>
                      <a:lnTo>
                        <a:pt x="232" y="48"/>
                      </a:lnTo>
                      <a:lnTo>
                        <a:pt x="268" y="91"/>
                      </a:lnTo>
                      <a:lnTo>
                        <a:pt x="323" y="65"/>
                      </a:lnTo>
                      <a:lnTo>
                        <a:pt x="408" y="59"/>
                      </a:lnTo>
                      <a:lnTo>
                        <a:pt x="410" y="70"/>
                      </a:lnTo>
                      <a:lnTo>
                        <a:pt x="408" y="72"/>
                      </a:lnTo>
                      <a:lnTo>
                        <a:pt x="461" y="104"/>
                      </a:lnTo>
                      <a:lnTo>
                        <a:pt x="427" y="121"/>
                      </a:lnTo>
                      <a:lnTo>
                        <a:pt x="457" y="182"/>
                      </a:lnTo>
                      <a:lnTo>
                        <a:pt x="438" y="212"/>
                      </a:lnTo>
                      <a:lnTo>
                        <a:pt x="453" y="240"/>
                      </a:lnTo>
                      <a:lnTo>
                        <a:pt x="427" y="253"/>
                      </a:lnTo>
                      <a:lnTo>
                        <a:pt x="391" y="227"/>
                      </a:lnTo>
                      <a:lnTo>
                        <a:pt x="362" y="242"/>
                      </a:lnTo>
                      <a:lnTo>
                        <a:pt x="332" y="231"/>
                      </a:lnTo>
                      <a:lnTo>
                        <a:pt x="294" y="355"/>
                      </a:lnTo>
                      <a:lnTo>
                        <a:pt x="281" y="352"/>
                      </a:lnTo>
                      <a:lnTo>
                        <a:pt x="270" y="308"/>
                      </a:lnTo>
                      <a:lnTo>
                        <a:pt x="253" y="323"/>
                      </a:lnTo>
                      <a:lnTo>
                        <a:pt x="204" y="310"/>
                      </a:lnTo>
                      <a:lnTo>
                        <a:pt x="194" y="340"/>
                      </a:lnTo>
                      <a:lnTo>
                        <a:pt x="168" y="363"/>
                      </a:lnTo>
                      <a:lnTo>
                        <a:pt x="123" y="348"/>
                      </a:lnTo>
                      <a:lnTo>
                        <a:pt x="92" y="359"/>
                      </a:lnTo>
                      <a:lnTo>
                        <a:pt x="70" y="344"/>
                      </a:lnTo>
                      <a:lnTo>
                        <a:pt x="70" y="321"/>
                      </a:lnTo>
                      <a:lnTo>
                        <a:pt x="96" y="304"/>
                      </a:lnTo>
                      <a:lnTo>
                        <a:pt x="96" y="259"/>
                      </a:lnTo>
                      <a:lnTo>
                        <a:pt x="30" y="225"/>
                      </a:lnTo>
                      <a:lnTo>
                        <a:pt x="0" y="150"/>
                      </a:lnTo>
                      <a:lnTo>
                        <a:pt x="2" y="148"/>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70" name="21">
                  <a:extLst>
                    <a:ext uri="{FF2B5EF4-FFF2-40B4-BE49-F238E27FC236}">
                      <a16:creationId xmlns:a16="http://schemas.microsoft.com/office/drawing/2014/main" id="{F77AF606-8FF1-4D7C-8C42-C29D1A0DEA86}"/>
                    </a:ext>
                  </a:extLst>
                </p:cNvPr>
                <p:cNvSpPr>
                  <a:spLocks/>
                </p:cNvSpPr>
                <p:nvPr/>
              </p:nvSpPr>
              <p:spPr bwMode="gray">
                <a:xfrm>
                  <a:off x="7111824" y="3101469"/>
                  <a:ext cx="517156" cy="590217"/>
                </a:xfrm>
                <a:custGeom>
                  <a:avLst/>
                  <a:gdLst>
                    <a:gd name="T0" fmla="*/ 0 w 361"/>
                    <a:gd name="T1" fmla="*/ 231 h 412"/>
                    <a:gd name="T2" fmla="*/ 8 w 361"/>
                    <a:gd name="T3" fmla="*/ 252 h 412"/>
                    <a:gd name="T4" fmla="*/ 17 w 361"/>
                    <a:gd name="T5" fmla="*/ 289 h 412"/>
                    <a:gd name="T6" fmla="*/ 40 w 361"/>
                    <a:gd name="T7" fmla="*/ 301 h 412"/>
                    <a:gd name="T8" fmla="*/ 36 w 361"/>
                    <a:gd name="T9" fmla="*/ 321 h 412"/>
                    <a:gd name="T10" fmla="*/ 121 w 361"/>
                    <a:gd name="T11" fmla="*/ 369 h 412"/>
                    <a:gd name="T12" fmla="*/ 157 w 361"/>
                    <a:gd name="T13" fmla="*/ 412 h 412"/>
                    <a:gd name="T14" fmla="*/ 212 w 361"/>
                    <a:gd name="T15" fmla="*/ 386 h 412"/>
                    <a:gd name="T16" fmla="*/ 297 w 361"/>
                    <a:gd name="T17" fmla="*/ 380 h 412"/>
                    <a:gd name="T18" fmla="*/ 342 w 361"/>
                    <a:gd name="T19" fmla="*/ 318 h 412"/>
                    <a:gd name="T20" fmla="*/ 361 w 361"/>
                    <a:gd name="T21" fmla="*/ 259 h 412"/>
                    <a:gd name="T22" fmla="*/ 353 w 361"/>
                    <a:gd name="T23" fmla="*/ 227 h 412"/>
                    <a:gd name="T24" fmla="*/ 323 w 361"/>
                    <a:gd name="T25" fmla="*/ 201 h 412"/>
                    <a:gd name="T26" fmla="*/ 348 w 361"/>
                    <a:gd name="T27" fmla="*/ 178 h 412"/>
                    <a:gd name="T28" fmla="*/ 348 w 361"/>
                    <a:gd name="T29" fmla="*/ 150 h 412"/>
                    <a:gd name="T30" fmla="*/ 321 w 361"/>
                    <a:gd name="T31" fmla="*/ 150 h 412"/>
                    <a:gd name="T32" fmla="*/ 293 w 361"/>
                    <a:gd name="T33" fmla="*/ 161 h 412"/>
                    <a:gd name="T34" fmla="*/ 272 w 361"/>
                    <a:gd name="T35" fmla="*/ 125 h 412"/>
                    <a:gd name="T36" fmla="*/ 257 w 361"/>
                    <a:gd name="T37" fmla="*/ 136 h 412"/>
                    <a:gd name="T38" fmla="*/ 234 w 361"/>
                    <a:gd name="T39" fmla="*/ 114 h 412"/>
                    <a:gd name="T40" fmla="*/ 217 w 361"/>
                    <a:gd name="T41" fmla="*/ 119 h 412"/>
                    <a:gd name="T42" fmla="*/ 208 w 361"/>
                    <a:gd name="T43" fmla="*/ 89 h 412"/>
                    <a:gd name="T44" fmla="*/ 225 w 361"/>
                    <a:gd name="T45" fmla="*/ 74 h 412"/>
                    <a:gd name="T46" fmla="*/ 202 w 361"/>
                    <a:gd name="T47" fmla="*/ 38 h 412"/>
                    <a:gd name="T48" fmla="*/ 185 w 361"/>
                    <a:gd name="T49" fmla="*/ 40 h 412"/>
                    <a:gd name="T50" fmla="*/ 180 w 361"/>
                    <a:gd name="T51" fmla="*/ 12 h 412"/>
                    <a:gd name="T52" fmla="*/ 153 w 361"/>
                    <a:gd name="T53" fmla="*/ 2 h 412"/>
                    <a:gd name="T54" fmla="*/ 123 w 361"/>
                    <a:gd name="T55" fmla="*/ 0 h 412"/>
                    <a:gd name="T56" fmla="*/ 117 w 361"/>
                    <a:gd name="T57" fmla="*/ 21 h 412"/>
                    <a:gd name="T58" fmla="*/ 59 w 361"/>
                    <a:gd name="T59" fmla="*/ 25 h 412"/>
                    <a:gd name="T60" fmla="*/ 53 w 361"/>
                    <a:gd name="T61" fmla="*/ 38 h 412"/>
                    <a:gd name="T62" fmla="*/ 42 w 361"/>
                    <a:gd name="T63" fmla="*/ 55 h 412"/>
                    <a:gd name="T64" fmla="*/ 61 w 361"/>
                    <a:gd name="T65" fmla="*/ 65 h 412"/>
                    <a:gd name="T66" fmla="*/ 63 w 361"/>
                    <a:gd name="T67" fmla="*/ 99 h 412"/>
                    <a:gd name="T68" fmla="*/ 40 w 361"/>
                    <a:gd name="T69" fmla="*/ 110 h 412"/>
                    <a:gd name="T70" fmla="*/ 51 w 361"/>
                    <a:gd name="T71" fmla="*/ 125 h 412"/>
                    <a:gd name="T72" fmla="*/ 36 w 361"/>
                    <a:gd name="T73" fmla="*/ 129 h 412"/>
                    <a:gd name="T74" fmla="*/ 0 w 361"/>
                    <a:gd name="T75" fmla="*/ 229 h 412"/>
                    <a:gd name="T76" fmla="*/ 0 w 361"/>
                    <a:gd name="T77" fmla="*/ 231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412">
                      <a:moveTo>
                        <a:pt x="0" y="231"/>
                      </a:moveTo>
                      <a:lnTo>
                        <a:pt x="8" y="252"/>
                      </a:lnTo>
                      <a:lnTo>
                        <a:pt x="17" y="289"/>
                      </a:lnTo>
                      <a:lnTo>
                        <a:pt x="40" y="301"/>
                      </a:lnTo>
                      <a:lnTo>
                        <a:pt x="36" y="321"/>
                      </a:lnTo>
                      <a:lnTo>
                        <a:pt x="121" y="369"/>
                      </a:lnTo>
                      <a:lnTo>
                        <a:pt x="157" y="412"/>
                      </a:lnTo>
                      <a:lnTo>
                        <a:pt x="212" y="386"/>
                      </a:lnTo>
                      <a:lnTo>
                        <a:pt x="297" y="380"/>
                      </a:lnTo>
                      <a:lnTo>
                        <a:pt x="342" y="318"/>
                      </a:lnTo>
                      <a:lnTo>
                        <a:pt x="361" y="259"/>
                      </a:lnTo>
                      <a:lnTo>
                        <a:pt x="353" y="227"/>
                      </a:lnTo>
                      <a:lnTo>
                        <a:pt x="323" y="201"/>
                      </a:lnTo>
                      <a:lnTo>
                        <a:pt x="348" y="178"/>
                      </a:lnTo>
                      <a:lnTo>
                        <a:pt x="348" y="150"/>
                      </a:lnTo>
                      <a:lnTo>
                        <a:pt x="321" y="150"/>
                      </a:lnTo>
                      <a:lnTo>
                        <a:pt x="293" y="161"/>
                      </a:lnTo>
                      <a:lnTo>
                        <a:pt x="272" y="125"/>
                      </a:lnTo>
                      <a:lnTo>
                        <a:pt x="257" y="136"/>
                      </a:lnTo>
                      <a:lnTo>
                        <a:pt x="234" y="114"/>
                      </a:lnTo>
                      <a:lnTo>
                        <a:pt x="217" y="119"/>
                      </a:lnTo>
                      <a:lnTo>
                        <a:pt x="208" y="89"/>
                      </a:lnTo>
                      <a:lnTo>
                        <a:pt x="225" y="74"/>
                      </a:lnTo>
                      <a:lnTo>
                        <a:pt x="202" y="38"/>
                      </a:lnTo>
                      <a:lnTo>
                        <a:pt x="185" y="40"/>
                      </a:lnTo>
                      <a:lnTo>
                        <a:pt x="180" y="12"/>
                      </a:lnTo>
                      <a:lnTo>
                        <a:pt x="153" y="2"/>
                      </a:lnTo>
                      <a:lnTo>
                        <a:pt x="123" y="0"/>
                      </a:lnTo>
                      <a:lnTo>
                        <a:pt x="117" y="21"/>
                      </a:lnTo>
                      <a:lnTo>
                        <a:pt x="59" y="25"/>
                      </a:lnTo>
                      <a:lnTo>
                        <a:pt x="53" y="38"/>
                      </a:lnTo>
                      <a:lnTo>
                        <a:pt x="42" y="55"/>
                      </a:lnTo>
                      <a:lnTo>
                        <a:pt x="61" y="65"/>
                      </a:lnTo>
                      <a:lnTo>
                        <a:pt x="63" y="99"/>
                      </a:lnTo>
                      <a:lnTo>
                        <a:pt x="40" y="110"/>
                      </a:lnTo>
                      <a:lnTo>
                        <a:pt x="51" y="125"/>
                      </a:lnTo>
                      <a:lnTo>
                        <a:pt x="36" y="129"/>
                      </a:lnTo>
                      <a:lnTo>
                        <a:pt x="0" y="229"/>
                      </a:lnTo>
                      <a:lnTo>
                        <a:pt x="0" y="231"/>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71" name="89">
                  <a:extLst>
                    <a:ext uri="{FF2B5EF4-FFF2-40B4-BE49-F238E27FC236}">
                      <a16:creationId xmlns:a16="http://schemas.microsoft.com/office/drawing/2014/main" id="{01E47008-7BDF-4291-BA7E-6ED642E9C593}"/>
                    </a:ext>
                  </a:extLst>
                </p:cNvPr>
                <p:cNvSpPr>
                  <a:spLocks/>
                </p:cNvSpPr>
                <p:nvPr/>
              </p:nvSpPr>
              <p:spPr bwMode="gray">
                <a:xfrm>
                  <a:off x="6679189" y="2912370"/>
                  <a:ext cx="522887" cy="565864"/>
                </a:xfrm>
                <a:custGeom>
                  <a:avLst/>
                  <a:gdLst>
                    <a:gd name="T0" fmla="*/ 0 w 365"/>
                    <a:gd name="T1" fmla="*/ 246 h 395"/>
                    <a:gd name="T2" fmla="*/ 30 w 365"/>
                    <a:gd name="T3" fmla="*/ 299 h 395"/>
                    <a:gd name="T4" fmla="*/ 64 w 365"/>
                    <a:gd name="T5" fmla="*/ 295 h 395"/>
                    <a:gd name="T6" fmla="*/ 79 w 365"/>
                    <a:gd name="T7" fmla="*/ 319 h 395"/>
                    <a:gd name="T8" fmla="*/ 79 w 365"/>
                    <a:gd name="T9" fmla="*/ 319 h 395"/>
                    <a:gd name="T10" fmla="*/ 123 w 365"/>
                    <a:gd name="T11" fmla="*/ 338 h 395"/>
                    <a:gd name="T12" fmla="*/ 134 w 365"/>
                    <a:gd name="T13" fmla="*/ 323 h 395"/>
                    <a:gd name="T14" fmla="*/ 157 w 365"/>
                    <a:gd name="T15" fmla="*/ 329 h 395"/>
                    <a:gd name="T16" fmla="*/ 159 w 365"/>
                    <a:gd name="T17" fmla="*/ 304 h 395"/>
                    <a:gd name="T18" fmla="*/ 219 w 365"/>
                    <a:gd name="T19" fmla="*/ 363 h 395"/>
                    <a:gd name="T20" fmla="*/ 240 w 365"/>
                    <a:gd name="T21" fmla="*/ 370 h 395"/>
                    <a:gd name="T22" fmla="*/ 253 w 365"/>
                    <a:gd name="T23" fmla="*/ 353 h 395"/>
                    <a:gd name="T24" fmla="*/ 253 w 365"/>
                    <a:gd name="T25" fmla="*/ 374 h 395"/>
                    <a:gd name="T26" fmla="*/ 274 w 365"/>
                    <a:gd name="T27" fmla="*/ 367 h 395"/>
                    <a:gd name="T28" fmla="*/ 287 w 365"/>
                    <a:gd name="T29" fmla="*/ 395 h 395"/>
                    <a:gd name="T30" fmla="*/ 310 w 365"/>
                    <a:gd name="T31" fmla="*/ 384 h 395"/>
                    <a:gd name="T32" fmla="*/ 302 w 365"/>
                    <a:gd name="T33" fmla="*/ 363 h 395"/>
                    <a:gd name="T34" fmla="*/ 302 w 365"/>
                    <a:gd name="T35" fmla="*/ 361 h 395"/>
                    <a:gd name="T36" fmla="*/ 338 w 365"/>
                    <a:gd name="T37" fmla="*/ 261 h 395"/>
                    <a:gd name="T38" fmla="*/ 353 w 365"/>
                    <a:gd name="T39" fmla="*/ 257 h 395"/>
                    <a:gd name="T40" fmla="*/ 342 w 365"/>
                    <a:gd name="T41" fmla="*/ 242 h 395"/>
                    <a:gd name="T42" fmla="*/ 365 w 365"/>
                    <a:gd name="T43" fmla="*/ 231 h 395"/>
                    <a:gd name="T44" fmla="*/ 363 w 365"/>
                    <a:gd name="T45" fmla="*/ 197 h 395"/>
                    <a:gd name="T46" fmla="*/ 344 w 365"/>
                    <a:gd name="T47" fmla="*/ 187 h 395"/>
                    <a:gd name="T48" fmla="*/ 355 w 365"/>
                    <a:gd name="T49" fmla="*/ 170 h 395"/>
                    <a:gd name="T50" fmla="*/ 331 w 365"/>
                    <a:gd name="T51" fmla="*/ 153 h 395"/>
                    <a:gd name="T52" fmla="*/ 312 w 365"/>
                    <a:gd name="T53" fmla="*/ 168 h 395"/>
                    <a:gd name="T54" fmla="*/ 257 w 365"/>
                    <a:gd name="T55" fmla="*/ 170 h 395"/>
                    <a:gd name="T56" fmla="*/ 259 w 365"/>
                    <a:gd name="T57" fmla="*/ 146 h 395"/>
                    <a:gd name="T58" fmla="*/ 244 w 365"/>
                    <a:gd name="T59" fmla="*/ 149 h 395"/>
                    <a:gd name="T60" fmla="*/ 219 w 365"/>
                    <a:gd name="T61" fmla="*/ 80 h 395"/>
                    <a:gd name="T62" fmla="*/ 202 w 365"/>
                    <a:gd name="T63" fmla="*/ 91 h 395"/>
                    <a:gd name="T64" fmla="*/ 178 w 365"/>
                    <a:gd name="T65" fmla="*/ 74 h 395"/>
                    <a:gd name="T66" fmla="*/ 191 w 365"/>
                    <a:gd name="T67" fmla="*/ 49 h 395"/>
                    <a:gd name="T68" fmla="*/ 138 w 365"/>
                    <a:gd name="T69" fmla="*/ 0 h 395"/>
                    <a:gd name="T70" fmla="*/ 49 w 365"/>
                    <a:gd name="T71" fmla="*/ 12 h 395"/>
                    <a:gd name="T72" fmla="*/ 49 w 365"/>
                    <a:gd name="T73" fmla="*/ 51 h 395"/>
                    <a:gd name="T74" fmla="*/ 23 w 365"/>
                    <a:gd name="T75" fmla="*/ 83 h 395"/>
                    <a:gd name="T76" fmla="*/ 45 w 365"/>
                    <a:gd name="T77" fmla="*/ 93 h 395"/>
                    <a:gd name="T78" fmla="*/ 68 w 365"/>
                    <a:gd name="T79" fmla="*/ 155 h 395"/>
                    <a:gd name="T80" fmla="*/ 38 w 365"/>
                    <a:gd name="T81" fmla="*/ 183 h 395"/>
                    <a:gd name="T82" fmla="*/ 42 w 365"/>
                    <a:gd name="T83" fmla="*/ 221 h 395"/>
                    <a:gd name="T84" fmla="*/ 0 w 365"/>
                    <a:gd name="T85" fmla="*/ 242 h 395"/>
                    <a:gd name="T86" fmla="*/ 0 w 365"/>
                    <a:gd name="T87" fmla="*/ 246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5" h="395">
                      <a:moveTo>
                        <a:pt x="0" y="246"/>
                      </a:moveTo>
                      <a:lnTo>
                        <a:pt x="30" y="299"/>
                      </a:lnTo>
                      <a:lnTo>
                        <a:pt x="64" y="295"/>
                      </a:lnTo>
                      <a:lnTo>
                        <a:pt x="79" y="319"/>
                      </a:lnTo>
                      <a:lnTo>
                        <a:pt x="79" y="319"/>
                      </a:lnTo>
                      <a:lnTo>
                        <a:pt x="123" y="338"/>
                      </a:lnTo>
                      <a:lnTo>
                        <a:pt x="134" y="323"/>
                      </a:lnTo>
                      <a:lnTo>
                        <a:pt x="157" y="329"/>
                      </a:lnTo>
                      <a:lnTo>
                        <a:pt x="159" y="304"/>
                      </a:lnTo>
                      <a:lnTo>
                        <a:pt x="219" y="363"/>
                      </a:lnTo>
                      <a:lnTo>
                        <a:pt x="240" y="370"/>
                      </a:lnTo>
                      <a:lnTo>
                        <a:pt x="253" y="353"/>
                      </a:lnTo>
                      <a:lnTo>
                        <a:pt x="253" y="374"/>
                      </a:lnTo>
                      <a:lnTo>
                        <a:pt x="274" y="367"/>
                      </a:lnTo>
                      <a:lnTo>
                        <a:pt x="287" y="395"/>
                      </a:lnTo>
                      <a:lnTo>
                        <a:pt x="310" y="384"/>
                      </a:lnTo>
                      <a:lnTo>
                        <a:pt x="302" y="363"/>
                      </a:lnTo>
                      <a:lnTo>
                        <a:pt x="302" y="361"/>
                      </a:lnTo>
                      <a:lnTo>
                        <a:pt x="338" y="261"/>
                      </a:lnTo>
                      <a:lnTo>
                        <a:pt x="353" y="257"/>
                      </a:lnTo>
                      <a:lnTo>
                        <a:pt x="342" y="242"/>
                      </a:lnTo>
                      <a:lnTo>
                        <a:pt x="365" y="231"/>
                      </a:lnTo>
                      <a:lnTo>
                        <a:pt x="363" y="197"/>
                      </a:lnTo>
                      <a:lnTo>
                        <a:pt x="344" y="187"/>
                      </a:lnTo>
                      <a:lnTo>
                        <a:pt x="355" y="170"/>
                      </a:lnTo>
                      <a:lnTo>
                        <a:pt x="331" y="153"/>
                      </a:lnTo>
                      <a:lnTo>
                        <a:pt x="312" y="168"/>
                      </a:lnTo>
                      <a:lnTo>
                        <a:pt x="257" y="170"/>
                      </a:lnTo>
                      <a:lnTo>
                        <a:pt x="259" y="146"/>
                      </a:lnTo>
                      <a:lnTo>
                        <a:pt x="244" y="149"/>
                      </a:lnTo>
                      <a:lnTo>
                        <a:pt x="219" y="80"/>
                      </a:lnTo>
                      <a:lnTo>
                        <a:pt x="202" y="91"/>
                      </a:lnTo>
                      <a:lnTo>
                        <a:pt x="178" y="74"/>
                      </a:lnTo>
                      <a:lnTo>
                        <a:pt x="191" y="49"/>
                      </a:lnTo>
                      <a:lnTo>
                        <a:pt x="138" y="0"/>
                      </a:lnTo>
                      <a:lnTo>
                        <a:pt x="49" y="12"/>
                      </a:lnTo>
                      <a:lnTo>
                        <a:pt x="49" y="51"/>
                      </a:lnTo>
                      <a:lnTo>
                        <a:pt x="23" y="83"/>
                      </a:lnTo>
                      <a:lnTo>
                        <a:pt x="45" y="93"/>
                      </a:lnTo>
                      <a:lnTo>
                        <a:pt x="68" y="155"/>
                      </a:lnTo>
                      <a:lnTo>
                        <a:pt x="38" y="183"/>
                      </a:lnTo>
                      <a:lnTo>
                        <a:pt x="42" y="221"/>
                      </a:lnTo>
                      <a:lnTo>
                        <a:pt x="0" y="242"/>
                      </a:lnTo>
                      <a:lnTo>
                        <a:pt x="0" y="246"/>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grpSp>
        </p:grpSp>
        <p:grpSp>
          <p:nvGrpSpPr>
            <p:cNvPr id="165" name="Bourgogne Franche Comté (N° Départements)">
              <a:extLst>
                <a:ext uri="{FF2B5EF4-FFF2-40B4-BE49-F238E27FC236}">
                  <a16:creationId xmlns:a16="http://schemas.microsoft.com/office/drawing/2014/main" id="{AA4014BC-8920-481C-8DA0-54BCEC705AEF}"/>
                </a:ext>
              </a:extLst>
            </p:cNvPr>
            <p:cNvGrpSpPr/>
            <p:nvPr/>
          </p:nvGrpSpPr>
          <p:grpSpPr>
            <a:xfrm>
              <a:off x="7568007" y="2980800"/>
              <a:ext cx="1365236" cy="736329"/>
              <a:chOff x="6814551" y="3150185"/>
              <a:chExt cx="1365236" cy="736329"/>
            </a:xfrm>
          </p:grpSpPr>
          <p:grpSp>
            <p:nvGrpSpPr>
              <p:cNvPr id="256" name="Franche Comté (N° Départements)">
                <a:extLst>
                  <a:ext uri="{FF2B5EF4-FFF2-40B4-BE49-F238E27FC236}">
                    <a16:creationId xmlns:a16="http://schemas.microsoft.com/office/drawing/2014/main" id="{589353C4-3CBA-4339-9E0A-3265FE2484C3}"/>
                  </a:ext>
                </a:extLst>
              </p:cNvPr>
              <p:cNvGrpSpPr/>
              <p:nvPr/>
            </p:nvGrpSpPr>
            <p:grpSpPr>
              <a:xfrm>
                <a:off x="7613223" y="3177366"/>
                <a:ext cx="566564" cy="661869"/>
                <a:chOff x="7613223" y="3177366"/>
                <a:chExt cx="566564" cy="661869"/>
              </a:xfrm>
            </p:grpSpPr>
            <p:sp>
              <p:nvSpPr>
                <p:cNvPr id="262" name="39">
                  <a:extLst>
                    <a:ext uri="{FF2B5EF4-FFF2-40B4-BE49-F238E27FC236}">
                      <a16:creationId xmlns:a16="http://schemas.microsoft.com/office/drawing/2014/main" id="{2F5B5A38-ADF8-41CF-8AB2-7FBE3AB8D8A2}"/>
                    </a:ext>
                  </a:extLst>
                </p:cNvPr>
                <p:cNvSpPr txBox="1"/>
                <p:nvPr/>
              </p:nvSpPr>
              <p:spPr>
                <a:xfrm>
                  <a:off x="7613223" y="3673066"/>
                  <a:ext cx="184830" cy="166169"/>
                </a:xfrm>
                <a:prstGeom prst="rect">
                  <a:avLst/>
                </a:prstGeom>
                <a:noFill/>
              </p:spPr>
              <p:txBody>
                <a:bodyPr wrap="none" lIns="0" tIns="0" rIns="0" bIns="0" rtlCol="0">
                  <a:noAutofit/>
                </a:bodyPr>
                <a:lstStyle/>
                <a:p>
                  <a:r>
                    <a:rPr lang="fr-FR" sz="800">
                      <a:solidFill>
                        <a:srgbClr val="503078"/>
                      </a:solidFill>
                      <a:latin typeface="Tahoma"/>
                    </a:rPr>
                    <a:t>39</a:t>
                  </a:r>
                </a:p>
              </p:txBody>
            </p:sp>
            <p:sp>
              <p:nvSpPr>
                <p:cNvPr id="263" name="25">
                  <a:extLst>
                    <a:ext uri="{FF2B5EF4-FFF2-40B4-BE49-F238E27FC236}">
                      <a16:creationId xmlns:a16="http://schemas.microsoft.com/office/drawing/2014/main" id="{EDCB80B0-3767-4F02-8F9E-660A08E8518F}"/>
                    </a:ext>
                  </a:extLst>
                </p:cNvPr>
                <p:cNvSpPr txBox="1"/>
                <p:nvPr/>
              </p:nvSpPr>
              <p:spPr>
                <a:xfrm>
                  <a:off x="7833231" y="3442656"/>
                  <a:ext cx="184830" cy="166169"/>
                </a:xfrm>
                <a:prstGeom prst="rect">
                  <a:avLst/>
                </a:prstGeom>
                <a:noFill/>
              </p:spPr>
              <p:txBody>
                <a:bodyPr wrap="none" lIns="0" tIns="0" rIns="0" bIns="0" rtlCol="0">
                  <a:noAutofit/>
                </a:bodyPr>
                <a:lstStyle/>
                <a:p>
                  <a:r>
                    <a:rPr lang="fr-FR" sz="800">
                      <a:solidFill>
                        <a:srgbClr val="503078"/>
                      </a:solidFill>
                      <a:latin typeface="Tahoma"/>
                    </a:rPr>
                    <a:t>25</a:t>
                  </a:r>
                </a:p>
              </p:txBody>
            </p:sp>
            <p:sp>
              <p:nvSpPr>
                <p:cNvPr id="264" name="70">
                  <a:extLst>
                    <a:ext uri="{FF2B5EF4-FFF2-40B4-BE49-F238E27FC236}">
                      <a16:creationId xmlns:a16="http://schemas.microsoft.com/office/drawing/2014/main" id="{1DE05066-7C83-4AC2-A6C7-C0169AC06DDC}"/>
                    </a:ext>
                  </a:extLst>
                </p:cNvPr>
                <p:cNvSpPr txBox="1"/>
                <p:nvPr/>
              </p:nvSpPr>
              <p:spPr>
                <a:xfrm>
                  <a:off x="7720664" y="3177366"/>
                  <a:ext cx="184830" cy="166169"/>
                </a:xfrm>
                <a:prstGeom prst="rect">
                  <a:avLst/>
                </a:prstGeom>
                <a:noFill/>
              </p:spPr>
              <p:txBody>
                <a:bodyPr wrap="none" lIns="0" tIns="0" rIns="0" bIns="0" rtlCol="0">
                  <a:noAutofit/>
                </a:bodyPr>
                <a:lstStyle/>
                <a:p>
                  <a:r>
                    <a:rPr lang="fr-FR" sz="800">
                      <a:solidFill>
                        <a:srgbClr val="503078"/>
                      </a:solidFill>
                      <a:latin typeface="Tahoma"/>
                    </a:rPr>
                    <a:t>70</a:t>
                  </a:r>
                </a:p>
              </p:txBody>
            </p:sp>
            <p:sp>
              <p:nvSpPr>
                <p:cNvPr id="265" name="90">
                  <a:extLst>
                    <a:ext uri="{FF2B5EF4-FFF2-40B4-BE49-F238E27FC236}">
                      <a16:creationId xmlns:a16="http://schemas.microsoft.com/office/drawing/2014/main" id="{4E16FF46-EB27-41E7-B2E2-7DBCA9744732}"/>
                    </a:ext>
                  </a:extLst>
                </p:cNvPr>
                <p:cNvSpPr txBox="1"/>
                <p:nvPr/>
              </p:nvSpPr>
              <p:spPr>
                <a:xfrm>
                  <a:off x="7994957" y="3186793"/>
                  <a:ext cx="184830" cy="157849"/>
                </a:xfrm>
                <a:prstGeom prst="rect">
                  <a:avLst/>
                </a:prstGeom>
                <a:noFill/>
              </p:spPr>
              <p:txBody>
                <a:bodyPr wrap="none" lIns="0" tIns="0" rIns="0" bIns="0" rtlCol="0">
                  <a:noAutofit/>
                </a:bodyPr>
                <a:lstStyle/>
                <a:p>
                  <a:r>
                    <a:rPr lang="fr-FR" sz="800">
                      <a:solidFill>
                        <a:srgbClr val="503078"/>
                      </a:solidFill>
                      <a:latin typeface="Tahoma"/>
                    </a:rPr>
                    <a:t>90</a:t>
                  </a:r>
                </a:p>
              </p:txBody>
            </p:sp>
          </p:grpSp>
          <p:grpSp>
            <p:nvGrpSpPr>
              <p:cNvPr id="257" name="Bourgogne (N° Départements)">
                <a:extLst>
                  <a:ext uri="{FF2B5EF4-FFF2-40B4-BE49-F238E27FC236}">
                    <a16:creationId xmlns:a16="http://schemas.microsoft.com/office/drawing/2014/main" id="{9A675126-4CFA-4D21-95E2-F97D70834C06}"/>
                  </a:ext>
                </a:extLst>
              </p:cNvPr>
              <p:cNvGrpSpPr/>
              <p:nvPr/>
            </p:nvGrpSpPr>
            <p:grpSpPr>
              <a:xfrm>
                <a:off x="6814551" y="3150185"/>
                <a:ext cx="641314" cy="736329"/>
                <a:chOff x="6814551" y="3150185"/>
                <a:chExt cx="641314" cy="736329"/>
              </a:xfrm>
            </p:grpSpPr>
            <p:sp>
              <p:nvSpPr>
                <p:cNvPr id="258" name="71">
                  <a:extLst>
                    <a:ext uri="{FF2B5EF4-FFF2-40B4-BE49-F238E27FC236}">
                      <a16:creationId xmlns:a16="http://schemas.microsoft.com/office/drawing/2014/main" id="{326F6842-C74B-4CB6-B42F-E15A4FFCA690}"/>
                    </a:ext>
                  </a:extLst>
                </p:cNvPr>
                <p:cNvSpPr txBox="1"/>
                <p:nvPr/>
              </p:nvSpPr>
              <p:spPr>
                <a:xfrm>
                  <a:off x="7185572" y="3720345"/>
                  <a:ext cx="184830" cy="166169"/>
                </a:xfrm>
                <a:prstGeom prst="rect">
                  <a:avLst/>
                </a:prstGeom>
                <a:noFill/>
              </p:spPr>
              <p:txBody>
                <a:bodyPr wrap="none" lIns="0" tIns="0" rIns="0" bIns="0" rtlCol="0">
                  <a:noAutofit/>
                </a:bodyPr>
                <a:lstStyle/>
                <a:p>
                  <a:r>
                    <a:rPr lang="fr-FR" sz="800">
                      <a:solidFill>
                        <a:srgbClr val="FFFFFF"/>
                      </a:solidFill>
                      <a:latin typeface="Tahoma"/>
                    </a:rPr>
                    <a:t>71</a:t>
                  </a:r>
                </a:p>
              </p:txBody>
            </p:sp>
            <p:sp>
              <p:nvSpPr>
                <p:cNvPr id="259" name="58">
                  <a:extLst>
                    <a:ext uri="{FF2B5EF4-FFF2-40B4-BE49-F238E27FC236}">
                      <a16:creationId xmlns:a16="http://schemas.microsoft.com/office/drawing/2014/main" id="{488A1BEF-B7E5-4E67-B107-E376638CF58E}"/>
                    </a:ext>
                  </a:extLst>
                </p:cNvPr>
                <p:cNvSpPr txBox="1"/>
                <p:nvPr/>
              </p:nvSpPr>
              <p:spPr>
                <a:xfrm>
                  <a:off x="6814551" y="3508972"/>
                  <a:ext cx="184830" cy="166169"/>
                </a:xfrm>
                <a:prstGeom prst="rect">
                  <a:avLst/>
                </a:prstGeom>
                <a:noFill/>
              </p:spPr>
              <p:txBody>
                <a:bodyPr wrap="none" lIns="0" tIns="0" rIns="0" bIns="0" rtlCol="0">
                  <a:noAutofit/>
                </a:bodyPr>
                <a:lstStyle/>
                <a:p>
                  <a:r>
                    <a:rPr lang="fr-FR" sz="800">
                      <a:solidFill>
                        <a:srgbClr val="FFFFFF"/>
                      </a:solidFill>
                      <a:latin typeface="Tahoma"/>
                    </a:rPr>
                    <a:t>58</a:t>
                  </a:r>
                </a:p>
              </p:txBody>
            </p:sp>
            <p:sp>
              <p:nvSpPr>
                <p:cNvPr id="260" name="89">
                  <a:extLst>
                    <a:ext uri="{FF2B5EF4-FFF2-40B4-BE49-F238E27FC236}">
                      <a16:creationId xmlns:a16="http://schemas.microsoft.com/office/drawing/2014/main" id="{A1F5AC50-EE85-4837-BE5B-1E983A6213F5}"/>
                    </a:ext>
                  </a:extLst>
                </p:cNvPr>
                <p:cNvSpPr txBox="1"/>
                <p:nvPr/>
              </p:nvSpPr>
              <p:spPr>
                <a:xfrm>
                  <a:off x="6833175" y="3150185"/>
                  <a:ext cx="184830" cy="166169"/>
                </a:xfrm>
                <a:prstGeom prst="rect">
                  <a:avLst/>
                </a:prstGeom>
                <a:noFill/>
              </p:spPr>
              <p:txBody>
                <a:bodyPr wrap="none" lIns="0" tIns="0" rIns="0" bIns="0" rtlCol="0">
                  <a:noAutofit/>
                </a:bodyPr>
                <a:lstStyle/>
                <a:p>
                  <a:r>
                    <a:rPr lang="fr-FR" sz="800">
                      <a:solidFill>
                        <a:srgbClr val="503078"/>
                      </a:solidFill>
                      <a:latin typeface="Tahoma"/>
                    </a:rPr>
                    <a:t>89</a:t>
                  </a:r>
                </a:p>
              </p:txBody>
            </p:sp>
            <p:sp>
              <p:nvSpPr>
                <p:cNvPr id="261" name="21">
                  <a:extLst>
                    <a:ext uri="{FF2B5EF4-FFF2-40B4-BE49-F238E27FC236}">
                      <a16:creationId xmlns:a16="http://schemas.microsoft.com/office/drawing/2014/main" id="{80DB01D6-9C2F-4320-8304-5015C065D3FE}"/>
                    </a:ext>
                  </a:extLst>
                </p:cNvPr>
                <p:cNvSpPr txBox="1"/>
                <p:nvPr/>
              </p:nvSpPr>
              <p:spPr>
                <a:xfrm>
                  <a:off x="7271035" y="3341432"/>
                  <a:ext cx="184830" cy="166169"/>
                </a:xfrm>
                <a:prstGeom prst="rect">
                  <a:avLst/>
                </a:prstGeom>
                <a:noFill/>
              </p:spPr>
              <p:txBody>
                <a:bodyPr wrap="none" lIns="0" tIns="0" rIns="0" bIns="0" rtlCol="0">
                  <a:noAutofit/>
                </a:bodyPr>
                <a:lstStyle/>
                <a:p>
                  <a:r>
                    <a:rPr lang="fr-FR" sz="800">
                      <a:solidFill>
                        <a:srgbClr val="503078"/>
                      </a:solidFill>
                      <a:latin typeface="Tahoma"/>
                    </a:rPr>
                    <a:t>21</a:t>
                  </a:r>
                </a:p>
              </p:txBody>
            </p:sp>
          </p:grpSp>
        </p:grpSp>
        <p:grpSp>
          <p:nvGrpSpPr>
            <p:cNvPr id="166" name="Auvergne Rhône Alpes (Formes)">
              <a:extLst>
                <a:ext uri="{FF2B5EF4-FFF2-40B4-BE49-F238E27FC236}">
                  <a16:creationId xmlns:a16="http://schemas.microsoft.com/office/drawing/2014/main" id="{63865A36-3B42-42B0-BCD1-9C6BC094A617}"/>
                </a:ext>
              </a:extLst>
            </p:cNvPr>
            <p:cNvGrpSpPr/>
            <p:nvPr/>
          </p:nvGrpSpPr>
          <p:grpSpPr>
            <a:xfrm>
              <a:off x="7130375" y="3576738"/>
              <a:ext cx="1890985" cy="1398184"/>
              <a:chOff x="6376919" y="3746123"/>
              <a:chExt cx="1890985" cy="1398184"/>
            </a:xfrm>
            <a:solidFill>
              <a:srgbClr val="8C9B9C"/>
            </a:solidFill>
          </p:grpSpPr>
          <p:grpSp>
            <p:nvGrpSpPr>
              <p:cNvPr id="242" name="Rhône Alpes (Formes)">
                <a:extLst>
                  <a:ext uri="{FF2B5EF4-FFF2-40B4-BE49-F238E27FC236}">
                    <a16:creationId xmlns:a16="http://schemas.microsoft.com/office/drawing/2014/main" id="{49E91652-0189-4797-8846-8305A288AE6E}"/>
                  </a:ext>
                </a:extLst>
              </p:cNvPr>
              <p:cNvGrpSpPr/>
              <p:nvPr/>
            </p:nvGrpSpPr>
            <p:grpSpPr>
              <a:xfrm>
                <a:off x="6977163" y="3886514"/>
                <a:ext cx="1290741" cy="1257793"/>
                <a:chOff x="6977163" y="3886514"/>
                <a:chExt cx="1290741" cy="1257793"/>
              </a:xfrm>
              <a:grpFill/>
            </p:grpSpPr>
            <p:sp>
              <p:nvSpPr>
                <p:cNvPr id="248" name="26">
                  <a:extLst>
                    <a:ext uri="{FF2B5EF4-FFF2-40B4-BE49-F238E27FC236}">
                      <a16:creationId xmlns:a16="http://schemas.microsoft.com/office/drawing/2014/main" id="{0BEA0798-9D78-491A-8458-59CE93C4329D}"/>
                    </a:ext>
                  </a:extLst>
                </p:cNvPr>
                <p:cNvSpPr>
                  <a:spLocks/>
                </p:cNvSpPr>
                <p:nvPr/>
              </p:nvSpPr>
              <p:spPr bwMode="gray">
                <a:xfrm>
                  <a:off x="7342467" y="4505383"/>
                  <a:ext cx="429769" cy="638924"/>
                </a:xfrm>
                <a:custGeom>
                  <a:avLst/>
                  <a:gdLst>
                    <a:gd name="T0" fmla="*/ 0 w 300"/>
                    <a:gd name="T1" fmla="*/ 363 h 446"/>
                    <a:gd name="T2" fmla="*/ 13 w 300"/>
                    <a:gd name="T3" fmla="*/ 284 h 446"/>
                    <a:gd name="T4" fmla="*/ 34 w 300"/>
                    <a:gd name="T5" fmla="*/ 253 h 446"/>
                    <a:gd name="T6" fmla="*/ 28 w 300"/>
                    <a:gd name="T7" fmla="*/ 210 h 446"/>
                    <a:gd name="T8" fmla="*/ 58 w 300"/>
                    <a:gd name="T9" fmla="*/ 148 h 446"/>
                    <a:gd name="T10" fmla="*/ 34 w 300"/>
                    <a:gd name="T11" fmla="*/ 17 h 446"/>
                    <a:gd name="T12" fmla="*/ 87 w 300"/>
                    <a:gd name="T13" fmla="*/ 0 h 446"/>
                    <a:gd name="T14" fmla="*/ 104 w 300"/>
                    <a:gd name="T15" fmla="*/ 21 h 446"/>
                    <a:gd name="T16" fmla="*/ 119 w 300"/>
                    <a:gd name="T17" fmla="*/ 17 h 446"/>
                    <a:gd name="T18" fmla="*/ 117 w 300"/>
                    <a:gd name="T19" fmla="*/ 34 h 446"/>
                    <a:gd name="T20" fmla="*/ 136 w 300"/>
                    <a:gd name="T21" fmla="*/ 44 h 446"/>
                    <a:gd name="T22" fmla="*/ 121 w 300"/>
                    <a:gd name="T23" fmla="*/ 97 h 446"/>
                    <a:gd name="T24" fmla="*/ 187 w 300"/>
                    <a:gd name="T25" fmla="*/ 110 h 446"/>
                    <a:gd name="T26" fmla="*/ 213 w 300"/>
                    <a:gd name="T27" fmla="*/ 93 h 446"/>
                    <a:gd name="T28" fmla="*/ 209 w 300"/>
                    <a:gd name="T29" fmla="*/ 195 h 446"/>
                    <a:gd name="T30" fmla="*/ 300 w 300"/>
                    <a:gd name="T31" fmla="*/ 227 h 446"/>
                    <a:gd name="T32" fmla="*/ 296 w 300"/>
                    <a:gd name="T33" fmla="*/ 246 h 446"/>
                    <a:gd name="T34" fmla="*/ 257 w 300"/>
                    <a:gd name="T35" fmla="*/ 248 h 446"/>
                    <a:gd name="T36" fmla="*/ 247 w 300"/>
                    <a:gd name="T37" fmla="*/ 287 h 446"/>
                    <a:gd name="T38" fmla="*/ 264 w 300"/>
                    <a:gd name="T39" fmla="*/ 301 h 446"/>
                    <a:gd name="T40" fmla="*/ 251 w 300"/>
                    <a:gd name="T41" fmla="*/ 314 h 446"/>
                    <a:gd name="T42" fmla="*/ 211 w 300"/>
                    <a:gd name="T43" fmla="*/ 306 h 446"/>
                    <a:gd name="T44" fmla="*/ 221 w 300"/>
                    <a:gd name="T45" fmla="*/ 331 h 446"/>
                    <a:gd name="T46" fmla="*/ 202 w 300"/>
                    <a:gd name="T47" fmla="*/ 333 h 446"/>
                    <a:gd name="T48" fmla="*/ 206 w 300"/>
                    <a:gd name="T49" fmla="*/ 338 h 446"/>
                    <a:gd name="T50" fmla="*/ 223 w 300"/>
                    <a:gd name="T51" fmla="*/ 363 h 446"/>
                    <a:gd name="T52" fmla="*/ 257 w 300"/>
                    <a:gd name="T53" fmla="*/ 363 h 446"/>
                    <a:gd name="T54" fmla="*/ 272 w 300"/>
                    <a:gd name="T55" fmla="*/ 416 h 446"/>
                    <a:gd name="T56" fmla="*/ 274 w 300"/>
                    <a:gd name="T57" fmla="*/ 431 h 446"/>
                    <a:gd name="T58" fmla="*/ 247 w 300"/>
                    <a:gd name="T59" fmla="*/ 416 h 446"/>
                    <a:gd name="T60" fmla="*/ 226 w 300"/>
                    <a:gd name="T61" fmla="*/ 446 h 446"/>
                    <a:gd name="T62" fmla="*/ 187 w 300"/>
                    <a:gd name="T63" fmla="*/ 410 h 446"/>
                    <a:gd name="T64" fmla="*/ 138 w 300"/>
                    <a:gd name="T65" fmla="*/ 408 h 446"/>
                    <a:gd name="T66" fmla="*/ 136 w 300"/>
                    <a:gd name="T67" fmla="*/ 376 h 446"/>
                    <a:gd name="T68" fmla="*/ 47 w 300"/>
                    <a:gd name="T69" fmla="*/ 408 h 446"/>
                    <a:gd name="T70" fmla="*/ 43 w 300"/>
                    <a:gd name="T71" fmla="*/ 380 h 446"/>
                    <a:gd name="T72" fmla="*/ 2 w 300"/>
                    <a:gd name="T73" fmla="*/ 372 h 446"/>
                    <a:gd name="T74" fmla="*/ 0 w 300"/>
                    <a:gd name="T75" fmla="*/ 370 h 446"/>
                    <a:gd name="T76" fmla="*/ 0 w 300"/>
                    <a:gd name="T77" fmla="*/ 36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0" h="446">
                      <a:moveTo>
                        <a:pt x="0" y="363"/>
                      </a:moveTo>
                      <a:lnTo>
                        <a:pt x="13" y="284"/>
                      </a:lnTo>
                      <a:lnTo>
                        <a:pt x="34" y="253"/>
                      </a:lnTo>
                      <a:lnTo>
                        <a:pt x="28" y="210"/>
                      </a:lnTo>
                      <a:lnTo>
                        <a:pt x="58" y="148"/>
                      </a:lnTo>
                      <a:lnTo>
                        <a:pt x="34" y="17"/>
                      </a:lnTo>
                      <a:lnTo>
                        <a:pt x="87" y="0"/>
                      </a:lnTo>
                      <a:lnTo>
                        <a:pt x="104" y="21"/>
                      </a:lnTo>
                      <a:lnTo>
                        <a:pt x="119" y="17"/>
                      </a:lnTo>
                      <a:lnTo>
                        <a:pt x="117" y="34"/>
                      </a:lnTo>
                      <a:lnTo>
                        <a:pt x="136" y="44"/>
                      </a:lnTo>
                      <a:lnTo>
                        <a:pt x="121" y="97"/>
                      </a:lnTo>
                      <a:lnTo>
                        <a:pt x="187" y="110"/>
                      </a:lnTo>
                      <a:lnTo>
                        <a:pt x="213" y="93"/>
                      </a:lnTo>
                      <a:lnTo>
                        <a:pt x="209" y="195"/>
                      </a:lnTo>
                      <a:lnTo>
                        <a:pt x="300" y="227"/>
                      </a:lnTo>
                      <a:lnTo>
                        <a:pt x="296" y="246"/>
                      </a:lnTo>
                      <a:lnTo>
                        <a:pt x="257" y="248"/>
                      </a:lnTo>
                      <a:lnTo>
                        <a:pt x="247" y="287"/>
                      </a:lnTo>
                      <a:lnTo>
                        <a:pt x="264" y="301"/>
                      </a:lnTo>
                      <a:lnTo>
                        <a:pt x="251" y="314"/>
                      </a:lnTo>
                      <a:lnTo>
                        <a:pt x="211" y="306"/>
                      </a:lnTo>
                      <a:lnTo>
                        <a:pt x="221" y="331"/>
                      </a:lnTo>
                      <a:lnTo>
                        <a:pt x="202" y="333"/>
                      </a:lnTo>
                      <a:lnTo>
                        <a:pt x="206" y="338"/>
                      </a:lnTo>
                      <a:lnTo>
                        <a:pt x="223" y="363"/>
                      </a:lnTo>
                      <a:lnTo>
                        <a:pt x="257" y="363"/>
                      </a:lnTo>
                      <a:lnTo>
                        <a:pt x="272" y="416"/>
                      </a:lnTo>
                      <a:lnTo>
                        <a:pt x="274" y="431"/>
                      </a:lnTo>
                      <a:lnTo>
                        <a:pt x="247" y="416"/>
                      </a:lnTo>
                      <a:lnTo>
                        <a:pt x="226" y="446"/>
                      </a:lnTo>
                      <a:lnTo>
                        <a:pt x="187" y="410"/>
                      </a:lnTo>
                      <a:lnTo>
                        <a:pt x="138" y="408"/>
                      </a:lnTo>
                      <a:lnTo>
                        <a:pt x="136" y="376"/>
                      </a:lnTo>
                      <a:lnTo>
                        <a:pt x="47" y="408"/>
                      </a:lnTo>
                      <a:lnTo>
                        <a:pt x="43" y="380"/>
                      </a:lnTo>
                      <a:lnTo>
                        <a:pt x="2" y="372"/>
                      </a:lnTo>
                      <a:lnTo>
                        <a:pt x="0" y="370"/>
                      </a:lnTo>
                      <a:lnTo>
                        <a:pt x="0" y="363"/>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49" name="42">
                  <a:extLst>
                    <a:ext uri="{FF2B5EF4-FFF2-40B4-BE49-F238E27FC236}">
                      <a16:creationId xmlns:a16="http://schemas.microsoft.com/office/drawing/2014/main" id="{E9A8E44D-3904-44D4-BE97-4EF257741DA6}"/>
                    </a:ext>
                  </a:extLst>
                </p:cNvPr>
                <p:cNvSpPr>
                  <a:spLocks/>
                </p:cNvSpPr>
                <p:nvPr/>
              </p:nvSpPr>
              <p:spPr bwMode="gray">
                <a:xfrm>
                  <a:off x="6977163" y="4021176"/>
                  <a:ext cx="396821" cy="544374"/>
                </a:xfrm>
                <a:custGeom>
                  <a:avLst/>
                  <a:gdLst>
                    <a:gd name="T0" fmla="*/ 2 w 277"/>
                    <a:gd name="T1" fmla="*/ 123 h 380"/>
                    <a:gd name="T2" fmla="*/ 34 w 277"/>
                    <a:gd name="T3" fmla="*/ 104 h 380"/>
                    <a:gd name="T4" fmla="*/ 21 w 277"/>
                    <a:gd name="T5" fmla="*/ 19 h 380"/>
                    <a:gd name="T6" fmla="*/ 53 w 277"/>
                    <a:gd name="T7" fmla="*/ 0 h 380"/>
                    <a:gd name="T8" fmla="*/ 53 w 277"/>
                    <a:gd name="T9" fmla="*/ 23 h 380"/>
                    <a:gd name="T10" fmla="*/ 75 w 277"/>
                    <a:gd name="T11" fmla="*/ 38 h 380"/>
                    <a:gd name="T12" fmla="*/ 106 w 277"/>
                    <a:gd name="T13" fmla="*/ 27 h 380"/>
                    <a:gd name="T14" fmla="*/ 151 w 277"/>
                    <a:gd name="T15" fmla="*/ 42 h 380"/>
                    <a:gd name="T16" fmla="*/ 177 w 277"/>
                    <a:gd name="T17" fmla="*/ 19 h 380"/>
                    <a:gd name="T18" fmla="*/ 191 w 277"/>
                    <a:gd name="T19" fmla="*/ 36 h 380"/>
                    <a:gd name="T20" fmla="*/ 160 w 277"/>
                    <a:gd name="T21" fmla="*/ 51 h 380"/>
                    <a:gd name="T22" fmla="*/ 143 w 277"/>
                    <a:gd name="T23" fmla="*/ 82 h 380"/>
                    <a:gd name="T24" fmla="*/ 160 w 277"/>
                    <a:gd name="T25" fmla="*/ 95 h 380"/>
                    <a:gd name="T26" fmla="*/ 143 w 277"/>
                    <a:gd name="T27" fmla="*/ 102 h 380"/>
                    <a:gd name="T28" fmla="*/ 145 w 277"/>
                    <a:gd name="T29" fmla="*/ 104 h 380"/>
                    <a:gd name="T30" fmla="*/ 183 w 277"/>
                    <a:gd name="T31" fmla="*/ 153 h 380"/>
                    <a:gd name="T32" fmla="*/ 174 w 277"/>
                    <a:gd name="T33" fmla="*/ 219 h 380"/>
                    <a:gd name="T34" fmla="*/ 202 w 277"/>
                    <a:gd name="T35" fmla="*/ 250 h 380"/>
                    <a:gd name="T36" fmla="*/ 257 w 277"/>
                    <a:gd name="T37" fmla="*/ 259 h 380"/>
                    <a:gd name="T38" fmla="*/ 247 w 277"/>
                    <a:gd name="T39" fmla="*/ 282 h 380"/>
                    <a:gd name="T40" fmla="*/ 277 w 277"/>
                    <a:gd name="T41" fmla="*/ 295 h 380"/>
                    <a:gd name="T42" fmla="*/ 274 w 277"/>
                    <a:gd name="T43" fmla="*/ 310 h 380"/>
                    <a:gd name="T44" fmla="*/ 274 w 277"/>
                    <a:gd name="T45" fmla="*/ 314 h 380"/>
                    <a:gd name="T46" fmla="*/ 277 w 277"/>
                    <a:gd name="T47" fmla="*/ 331 h 380"/>
                    <a:gd name="T48" fmla="*/ 240 w 277"/>
                    <a:gd name="T49" fmla="*/ 350 h 380"/>
                    <a:gd name="T50" fmla="*/ 234 w 277"/>
                    <a:gd name="T51" fmla="*/ 376 h 380"/>
                    <a:gd name="T52" fmla="*/ 209 w 277"/>
                    <a:gd name="T53" fmla="*/ 380 h 380"/>
                    <a:gd name="T54" fmla="*/ 172 w 277"/>
                    <a:gd name="T55" fmla="*/ 363 h 380"/>
                    <a:gd name="T56" fmla="*/ 168 w 277"/>
                    <a:gd name="T57" fmla="*/ 331 h 380"/>
                    <a:gd name="T58" fmla="*/ 126 w 277"/>
                    <a:gd name="T59" fmla="*/ 323 h 380"/>
                    <a:gd name="T60" fmla="*/ 100 w 277"/>
                    <a:gd name="T61" fmla="*/ 342 h 380"/>
                    <a:gd name="T62" fmla="*/ 55 w 277"/>
                    <a:gd name="T63" fmla="*/ 338 h 380"/>
                    <a:gd name="T64" fmla="*/ 77 w 277"/>
                    <a:gd name="T65" fmla="*/ 287 h 380"/>
                    <a:gd name="T66" fmla="*/ 2 w 277"/>
                    <a:gd name="T67" fmla="*/ 176 h 380"/>
                    <a:gd name="T68" fmla="*/ 17 w 277"/>
                    <a:gd name="T69" fmla="*/ 142 h 380"/>
                    <a:gd name="T70" fmla="*/ 0 w 277"/>
                    <a:gd name="T71" fmla="*/ 125 h 380"/>
                    <a:gd name="T72" fmla="*/ 2 w 277"/>
                    <a:gd name="T73" fmla="*/ 123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80">
                      <a:moveTo>
                        <a:pt x="2" y="123"/>
                      </a:moveTo>
                      <a:lnTo>
                        <a:pt x="34" y="104"/>
                      </a:lnTo>
                      <a:lnTo>
                        <a:pt x="21" y="19"/>
                      </a:lnTo>
                      <a:lnTo>
                        <a:pt x="53" y="0"/>
                      </a:lnTo>
                      <a:lnTo>
                        <a:pt x="53" y="23"/>
                      </a:lnTo>
                      <a:lnTo>
                        <a:pt x="75" y="38"/>
                      </a:lnTo>
                      <a:lnTo>
                        <a:pt x="106" y="27"/>
                      </a:lnTo>
                      <a:lnTo>
                        <a:pt x="151" y="42"/>
                      </a:lnTo>
                      <a:lnTo>
                        <a:pt x="177" y="19"/>
                      </a:lnTo>
                      <a:lnTo>
                        <a:pt x="191" y="36"/>
                      </a:lnTo>
                      <a:lnTo>
                        <a:pt x="160" y="51"/>
                      </a:lnTo>
                      <a:lnTo>
                        <a:pt x="143" y="82"/>
                      </a:lnTo>
                      <a:lnTo>
                        <a:pt x="160" y="95"/>
                      </a:lnTo>
                      <a:lnTo>
                        <a:pt x="143" y="102"/>
                      </a:lnTo>
                      <a:lnTo>
                        <a:pt x="145" y="104"/>
                      </a:lnTo>
                      <a:lnTo>
                        <a:pt x="183" y="153"/>
                      </a:lnTo>
                      <a:lnTo>
                        <a:pt x="174" y="219"/>
                      </a:lnTo>
                      <a:lnTo>
                        <a:pt x="202" y="250"/>
                      </a:lnTo>
                      <a:lnTo>
                        <a:pt x="257" y="259"/>
                      </a:lnTo>
                      <a:lnTo>
                        <a:pt x="247" y="282"/>
                      </a:lnTo>
                      <a:lnTo>
                        <a:pt x="277" y="295"/>
                      </a:lnTo>
                      <a:lnTo>
                        <a:pt x="274" y="310"/>
                      </a:lnTo>
                      <a:lnTo>
                        <a:pt x="274" y="314"/>
                      </a:lnTo>
                      <a:lnTo>
                        <a:pt x="277" y="331"/>
                      </a:lnTo>
                      <a:lnTo>
                        <a:pt x="240" y="350"/>
                      </a:lnTo>
                      <a:lnTo>
                        <a:pt x="234" y="376"/>
                      </a:lnTo>
                      <a:lnTo>
                        <a:pt x="209" y="380"/>
                      </a:lnTo>
                      <a:lnTo>
                        <a:pt x="172" y="363"/>
                      </a:lnTo>
                      <a:lnTo>
                        <a:pt x="168" y="331"/>
                      </a:lnTo>
                      <a:lnTo>
                        <a:pt x="126" y="323"/>
                      </a:lnTo>
                      <a:lnTo>
                        <a:pt x="100" y="342"/>
                      </a:lnTo>
                      <a:lnTo>
                        <a:pt x="55" y="338"/>
                      </a:lnTo>
                      <a:lnTo>
                        <a:pt x="77" y="287"/>
                      </a:lnTo>
                      <a:lnTo>
                        <a:pt x="2" y="176"/>
                      </a:lnTo>
                      <a:lnTo>
                        <a:pt x="17" y="142"/>
                      </a:lnTo>
                      <a:lnTo>
                        <a:pt x="0" y="125"/>
                      </a:lnTo>
                      <a:lnTo>
                        <a:pt x="2" y="123"/>
                      </a:lnTo>
                    </a:path>
                  </a:pathLst>
                </a:custGeom>
                <a:solidFill>
                  <a:schemeClr val="bg2">
                    <a:lumMod val="75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50" name="69">
                  <a:extLst>
                    <a:ext uri="{FF2B5EF4-FFF2-40B4-BE49-F238E27FC236}">
                      <a16:creationId xmlns:a16="http://schemas.microsoft.com/office/drawing/2014/main" id="{CD792BE2-02E0-4871-BC13-08B79226E4B1}"/>
                    </a:ext>
                  </a:extLst>
                </p:cNvPr>
                <p:cNvSpPr>
                  <a:spLocks/>
                </p:cNvSpPr>
                <p:nvPr/>
              </p:nvSpPr>
              <p:spPr bwMode="gray">
                <a:xfrm>
                  <a:off x="7182020" y="4002551"/>
                  <a:ext cx="338085" cy="441230"/>
                </a:xfrm>
                <a:custGeom>
                  <a:avLst/>
                  <a:gdLst>
                    <a:gd name="T0" fmla="*/ 2 w 236"/>
                    <a:gd name="T1" fmla="*/ 117 h 308"/>
                    <a:gd name="T2" fmla="*/ 40 w 236"/>
                    <a:gd name="T3" fmla="*/ 166 h 308"/>
                    <a:gd name="T4" fmla="*/ 31 w 236"/>
                    <a:gd name="T5" fmla="*/ 232 h 308"/>
                    <a:gd name="T6" fmla="*/ 59 w 236"/>
                    <a:gd name="T7" fmla="*/ 263 h 308"/>
                    <a:gd name="T8" fmla="*/ 114 w 236"/>
                    <a:gd name="T9" fmla="*/ 272 h 308"/>
                    <a:gd name="T10" fmla="*/ 104 w 236"/>
                    <a:gd name="T11" fmla="*/ 295 h 308"/>
                    <a:gd name="T12" fmla="*/ 134 w 236"/>
                    <a:gd name="T13" fmla="*/ 308 h 308"/>
                    <a:gd name="T14" fmla="*/ 163 w 236"/>
                    <a:gd name="T15" fmla="*/ 283 h 308"/>
                    <a:gd name="T16" fmla="*/ 140 w 236"/>
                    <a:gd name="T17" fmla="*/ 263 h 308"/>
                    <a:gd name="T18" fmla="*/ 204 w 236"/>
                    <a:gd name="T19" fmla="*/ 251 h 308"/>
                    <a:gd name="T20" fmla="*/ 236 w 236"/>
                    <a:gd name="T21" fmla="*/ 215 h 308"/>
                    <a:gd name="T22" fmla="*/ 208 w 236"/>
                    <a:gd name="T23" fmla="*/ 191 h 308"/>
                    <a:gd name="T24" fmla="*/ 219 w 236"/>
                    <a:gd name="T25" fmla="*/ 178 h 308"/>
                    <a:gd name="T26" fmla="*/ 172 w 236"/>
                    <a:gd name="T27" fmla="*/ 181 h 308"/>
                    <a:gd name="T28" fmla="*/ 161 w 236"/>
                    <a:gd name="T29" fmla="*/ 146 h 308"/>
                    <a:gd name="T30" fmla="*/ 125 w 236"/>
                    <a:gd name="T31" fmla="*/ 134 h 308"/>
                    <a:gd name="T32" fmla="*/ 134 w 236"/>
                    <a:gd name="T33" fmla="*/ 47 h 308"/>
                    <a:gd name="T34" fmla="*/ 121 w 236"/>
                    <a:gd name="T35" fmla="*/ 44 h 308"/>
                    <a:gd name="T36" fmla="*/ 110 w 236"/>
                    <a:gd name="T37" fmla="*/ 0 h 308"/>
                    <a:gd name="T38" fmla="*/ 93 w 236"/>
                    <a:gd name="T39" fmla="*/ 15 h 308"/>
                    <a:gd name="T40" fmla="*/ 44 w 236"/>
                    <a:gd name="T41" fmla="*/ 2 h 308"/>
                    <a:gd name="T42" fmla="*/ 34 w 236"/>
                    <a:gd name="T43" fmla="*/ 32 h 308"/>
                    <a:gd name="T44" fmla="*/ 48 w 236"/>
                    <a:gd name="T45" fmla="*/ 49 h 308"/>
                    <a:gd name="T46" fmla="*/ 17 w 236"/>
                    <a:gd name="T47" fmla="*/ 64 h 308"/>
                    <a:gd name="T48" fmla="*/ 0 w 236"/>
                    <a:gd name="T49" fmla="*/ 95 h 308"/>
                    <a:gd name="T50" fmla="*/ 17 w 236"/>
                    <a:gd name="T51" fmla="*/ 108 h 308"/>
                    <a:gd name="T52" fmla="*/ 0 w 236"/>
                    <a:gd name="T53" fmla="*/ 115 h 308"/>
                    <a:gd name="T54" fmla="*/ 2 w 236"/>
                    <a:gd name="T55" fmla="*/ 117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6" h="308">
                      <a:moveTo>
                        <a:pt x="2" y="117"/>
                      </a:moveTo>
                      <a:lnTo>
                        <a:pt x="40" y="166"/>
                      </a:lnTo>
                      <a:lnTo>
                        <a:pt x="31" y="232"/>
                      </a:lnTo>
                      <a:lnTo>
                        <a:pt x="59" y="263"/>
                      </a:lnTo>
                      <a:lnTo>
                        <a:pt x="114" y="272"/>
                      </a:lnTo>
                      <a:lnTo>
                        <a:pt x="104" y="295"/>
                      </a:lnTo>
                      <a:lnTo>
                        <a:pt x="134" y="308"/>
                      </a:lnTo>
                      <a:lnTo>
                        <a:pt x="163" y="283"/>
                      </a:lnTo>
                      <a:lnTo>
                        <a:pt x="140" y="263"/>
                      </a:lnTo>
                      <a:lnTo>
                        <a:pt x="204" y="251"/>
                      </a:lnTo>
                      <a:lnTo>
                        <a:pt x="236" y="215"/>
                      </a:lnTo>
                      <a:lnTo>
                        <a:pt x="208" y="191"/>
                      </a:lnTo>
                      <a:lnTo>
                        <a:pt x="219" y="178"/>
                      </a:lnTo>
                      <a:lnTo>
                        <a:pt x="172" y="181"/>
                      </a:lnTo>
                      <a:lnTo>
                        <a:pt x="161" y="146"/>
                      </a:lnTo>
                      <a:lnTo>
                        <a:pt x="125" y="134"/>
                      </a:lnTo>
                      <a:lnTo>
                        <a:pt x="134" y="47"/>
                      </a:lnTo>
                      <a:lnTo>
                        <a:pt x="121" y="44"/>
                      </a:lnTo>
                      <a:lnTo>
                        <a:pt x="110" y="0"/>
                      </a:lnTo>
                      <a:lnTo>
                        <a:pt x="93" y="15"/>
                      </a:lnTo>
                      <a:lnTo>
                        <a:pt x="44" y="2"/>
                      </a:lnTo>
                      <a:lnTo>
                        <a:pt x="34" y="32"/>
                      </a:lnTo>
                      <a:lnTo>
                        <a:pt x="48" y="49"/>
                      </a:lnTo>
                      <a:lnTo>
                        <a:pt x="17" y="64"/>
                      </a:lnTo>
                      <a:lnTo>
                        <a:pt x="0" y="95"/>
                      </a:lnTo>
                      <a:lnTo>
                        <a:pt x="17" y="108"/>
                      </a:lnTo>
                      <a:lnTo>
                        <a:pt x="0" y="115"/>
                      </a:lnTo>
                      <a:lnTo>
                        <a:pt x="2" y="117"/>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51" name="73">
                  <a:extLst>
                    <a:ext uri="{FF2B5EF4-FFF2-40B4-BE49-F238E27FC236}">
                      <a16:creationId xmlns:a16="http://schemas.microsoft.com/office/drawing/2014/main" id="{5DB2A0E2-42E5-420A-8EDE-697CA8895F90}"/>
                    </a:ext>
                  </a:extLst>
                </p:cNvPr>
                <p:cNvSpPr>
                  <a:spLocks/>
                </p:cNvSpPr>
                <p:nvPr/>
              </p:nvSpPr>
              <p:spPr bwMode="gray">
                <a:xfrm>
                  <a:off x="7690580" y="4184488"/>
                  <a:ext cx="577324" cy="454123"/>
                </a:xfrm>
                <a:custGeom>
                  <a:avLst/>
                  <a:gdLst>
                    <a:gd name="T0" fmla="*/ 0 w 403"/>
                    <a:gd name="T1" fmla="*/ 119 h 317"/>
                    <a:gd name="T2" fmla="*/ 36 w 403"/>
                    <a:gd name="T3" fmla="*/ 81 h 317"/>
                    <a:gd name="T4" fmla="*/ 48 w 403"/>
                    <a:gd name="T5" fmla="*/ 0 h 317"/>
                    <a:gd name="T6" fmla="*/ 93 w 403"/>
                    <a:gd name="T7" fmla="*/ 68 h 317"/>
                    <a:gd name="T8" fmla="*/ 136 w 403"/>
                    <a:gd name="T9" fmla="*/ 64 h 317"/>
                    <a:gd name="T10" fmla="*/ 161 w 403"/>
                    <a:gd name="T11" fmla="*/ 90 h 317"/>
                    <a:gd name="T12" fmla="*/ 178 w 403"/>
                    <a:gd name="T13" fmla="*/ 85 h 317"/>
                    <a:gd name="T14" fmla="*/ 223 w 403"/>
                    <a:gd name="T15" fmla="*/ 7 h 317"/>
                    <a:gd name="T16" fmla="*/ 272 w 403"/>
                    <a:gd name="T17" fmla="*/ 68 h 317"/>
                    <a:gd name="T18" fmla="*/ 297 w 403"/>
                    <a:gd name="T19" fmla="*/ 49 h 317"/>
                    <a:gd name="T20" fmla="*/ 312 w 403"/>
                    <a:gd name="T21" fmla="*/ 81 h 317"/>
                    <a:gd name="T22" fmla="*/ 352 w 403"/>
                    <a:gd name="T23" fmla="*/ 98 h 317"/>
                    <a:gd name="T24" fmla="*/ 355 w 403"/>
                    <a:gd name="T25" fmla="*/ 147 h 317"/>
                    <a:gd name="T26" fmla="*/ 403 w 403"/>
                    <a:gd name="T27" fmla="*/ 181 h 317"/>
                    <a:gd name="T28" fmla="*/ 378 w 403"/>
                    <a:gd name="T29" fmla="*/ 251 h 317"/>
                    <a:gd name="T30" fmla="*/ 348 w 403"/>
                    <a:gd name="T31" fmla="*/ 255 h 317"/>
                    <a:gd name="T32" fmla="*/ 325 w 403"/>
                    <a:gd name="T33" fmla="*/ 285 h 317"/>
                    <a:gd name="T34" fmla="*/ 301 w 403"/>
                    <a:gd name="T35" fmla="*/ 275 h 317"/>
                    <a:gd name="T36" fmla="*/ 265 w 403"/>
                    <a:gd name="T37" fmla="*/ 294 h 317"/>
                    <a:gd name="T38" fmla="*/ 233 w 403"/>
                    <a:gd name="T39" fmla="*/ 298 h 317"/>
                    <a:gd name="T40" fmla="*/ 221 w 403"/>
                    <a:gd name="T41" fmla="*/ 317 h 317"/>
                    <a:gd name="T42" fmla="*/ 170 w 403"/>
                    <a:gd name="T43" fmla="*/ 292 h 317"/>
                    <a:gd name="T44" fmla="*/ 140 w 403"/>
                    <a:gd name="T45" fmla="*/ 283 h 317"/>
                    <a:gd name="T46" fmla="*/ 134 w 403"/>
                    <a:gd name="T47" fmla="*/ 236 h 317"/>
                    <a:gd name="T48" fmla="*/ 148 w 403"/>
                    <a:gd name="T49" fmla="*/ 211 h 317"/>
                    <a:gd name="T50" fmla="*/ 129 w 403"/>
                    <a:gd name="T51" fmla="*/ 181 h 317"/>
                    <a:gd name="T52" fmla="*/ 89 w 403"/>
                    <a:gd name="T53" fmla="*/ 164 h 317"/>
                    <a:gd name="T54" fmla="*/ 72 w 403"/>
                    <a:gd name="T55" fmla="*/ 200 h 317"/>
                    <a:gd name="T56" fmla="*/ 31 w 403"/>
                    <a:gd name="T57" fmla="*/ 185 h 317"/>
                    <a:gd name="T58" fmla="*/ 0 w 403"/>
                    <a:gd name="T59" fmla="*/ 124 h 317"/>
                    <a:gd name="T60" fmla="*/ 0 w 403"/>
                    <a:gd name="T61" fmla="*/ 11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3" h="317">
                      <a:moveTo>
                        <a:pt x="0" y="119"/>
                      </a:moveTo>
                      <a:lnTo>
                        <a:pt x="36" y="81"/>
                      </a:lnTo>
                      <a:lnTo>
                        <a:pt x="48" y="0"/>
                      </a:lnTo>
                      <a:lnTo>
                        <a:pt x="93" y="68"/>
                      </a:lnTo>
                      <a:lnTo>
                        <a:pt x="136" y="64"/>
                      </a:lnTo>
                      <a:lnTo>
                        <a:pt x="161" y="90"/>
                      </a:lnTo>
                      <a:lnTo>
                        <a:pt x="178" y="85"/>
                      </a:lnTo>
                      <a:lnTo>
                        <a:pt x="223" y="7"/>
                      </a:lnTo>
                      <a:lnTo>
                        <a:pt x="272" y="68"/>
                      </a:lnTo>
                      <a:lnTo>
                        <a:pt x="297" y="49"/>
                      </a:lnTo>
                      <a:lnTo>
                        <a:pt x="312" y="81"/>
                      </a:lnTo>
                      <a:lnTo>
                        <a:pt x="352" y="98"/>
                      </a:lnTo>
                      <a:lnTo>
                        <a:pt x="355" y="147"/>
                      </a:lnTo>
                      <a:lnTo>
                        <a:pt x="403" y="181"/>
                      </a:lnTo>
                      <a:lnTo>
                        <a:pt x="378" y="251"/>
                      </a:lnTo>
                      <a:lnTo>
                        <a:pt x="348" y="255"/>
                      </a:lnTo>
                      <a:lnTo>
                        <a:pt x="325" y="285"/>
                      </a:lnTo>
                      <a:lnTo>
                        <a:pt x="301" y="275"/>
                      </a:lnTo>
                      <a:lnTo>
                        <a:pt x="265" y="294"/>
                      </a:lnTo>
                      <a:lnTo>
                        <a:pt x="233" y="298"/>
                      </a:lnTo>
                      <a:lnTo>
                        <a:pt x="221" y="317"/>
                      </a:lnTo>
                      <a:lnTo>
                        <a:pt x="170" y="292"/>
                      </a:lnTo>
                      <a:lnTo>
                        <a:pt x="140" y="283"/>
                      </a:lnTo>
                      <a:lnTo>
                        <a:pt x="134" y="236"/>
                      </a:lnTo>
                      <a:lnTo>
                        <a:pt x="148" y="211"/>
                      </a:lnTo>
                      <a:lnTo>
                        <a:pt x="129" y="181"/>
                      </a:lnTo>
                      <a:lnTo>
                        <a:pt x="89" y="164"/>
                      </a:lnTo>
                      <a:lnTo>
                        <a:pt x="72" y="200"/>
                      </a:lnTo>
                      <a:lnTo>
                        <a:pt x="31" y="185"/>
                      </a:lnTo>
                      <a:lnTo>
                        <a:pt x="0" y="124"/>
                      </a:lnTo>
                      <a:lnTo>
                        <a:pt x="0" y="119"/>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52" name="38">
                  <a:extLst>
                    <a:ext uri="{FF2B5EF4-FFF2-40B4-BE49-F238E27FC236}">
                      <a16:creationId xmlns:a16="http://schemas.microsoft.com/office/drawing/2014/main" id="{30E26FF3-1CBC-4F34-B917-536F4209F9F5}"/>
                    </a:ext>
                  </a:extLst>
                </p:cNvPr>
                <p:cNvSpPr>
                  <a:spLocks/>
                </p:cNvSpPr>
                <p:nvPr/>
              </p:nvSpPr>
              <p:spPr bwMode="gray">
                <a:xfrm>
                  <a:off x="7369685" y="4218869"/>
                  <a:ext cx="605976" cy="611706"/>
                </a:xfrm>
                <a:custGeom>
                  <a:avLst/>
                  <a:gdLst>
                    <a:gd name="T0" fmla="*/ 0 w 423"/>
                    <a:gd name="T1" fmla="*/ 176 h 427"/>
                    <a:gd name="T2" fmla="*/ 3 w 423"/>
                    <a:gd name="T3" fmla="*/ 193 h 427"/>
                    <a:gd name="T4" fmla="*/ 15 w 423"/>
                    <a:gd name="T5" fmla="*/ 217 h 427"/>
                    <a:gd name="T6" fmla="*/ 68 w 423"/>
                    <a:gd name="T7" fmla="*/ 200 h 427"/>
                    <a:gd name="T8" fmla="*/ 85 w 423"/>
                    <a:gd name="T9" fmla="*/ 221 h 427"/>
                    <a:gd name="T10" fmla="*/ 100 w 423"/>
                    <a:gd name="T11" fmla="*/ 217 h 427"/>
                    <a:gd name="T12" fmla="*/ 98 w 423"/>
                    <a:gd name="T13" fmla="*/ 234 h 427"/>
                    <a:gd name="T14" fmla="*/ 117 w 423"/>
                    <a:gd name="T15" fmla="*/ 244 h 427"/>
                    <a:gd name="T16" fmla="*/ 102 w 423"/>
                    <a:gd name="T17" fmla="*/ 297 h 427"/>
                    <a:gd name="T18" fmla="*/ 168 w 423"/>
                    <a:gd name="T19" fmla="*/ 310 h 427"/>
                    <a:gd name="T20" fmla="*/ 194 w 423"/>
                    <a:gd name="T21" fmla="*/ 293 h 427"/>
                    <a:gd name="T22" fmla="*/ 190 w 423"/>
                    <a:gd name="T23" fmla="*/ 395 h 427"/>
                    <a:gd name="T24" fmla="*/ 281 w 423"/>
                    <a:gd name="T25" fmla="*/ 427 h 427"/>
                    <a:gd name="T26" fmla="*/ 334 w 423"/>
                    <a:gd name="T27" fmla="*/ 378 h 427"/>
                    <a:gd name="T28" fmla="*/ 423 w 423"/>
                    <a:gd name="T29" fmla="*/ 365 h 427"/>
                    <a:gd name="T30" fmla="*/ 411 w 423"/>
                    <a:gd name="T31" fmla="*/ 312 h 427"/>
                    <a:gd name="T32" fmla="*/ 381 w 423"/>
                    <a:gd name="T33" fmla="*/ 310 h 427"/>
                    <a:gd name="T34" fmla="*/ 394 w 423"/>
                    <a:gd name="T35" fmla="*/ 268 h 427"/>
                    <a:gd name="T36" fmla="*/ 364 w 423"/>
                    <a:gd name="T37" fmla="*/ 259 h 427"/>
                    <a:gd name="T38" fmla="*/ 358 w 423"/>
                    <a:gd name="T39" fmla="*/ 212 h 427"/>
                    <a:gd name="T40" fmla="*/ 372 w 423"/>
                    <a:gd name="T41" fmla="*/ 187 h 427"/>
                    <a:gd name="T42" fmla="*/ 353 w 423"/>
                    <a:gd name="T43" fmla="*/ 157 h 427"/>
                    <a:gd name="T44" fmla="*/ 313 w 423"/>
                    <a:gd name="T45" fmla="*/ 140 h 427"/>
                    <a:gd name="T46" fmla="*/ 296 w 423"/>
                    <a:gd name="T47" fmla="*/ 176 h 427"/>
                    <a:gd name="T48" fmla="*/ 255 w 423"/>
                    <a:gd name="T49" fmla="*/ 161 h 427"/>
                    <a:gd name="T50" fmla="*/ 224 w 423"/>
                    <a:gd name="T51" fmla="*/ 100 h 427"/>
                    <a:gd name="T52" fmla="*/ 224 w 423"/>
                    <a:gd name="T53" fmla="*/ 95 h 427"/>
                    <a:gd name="T54" fmla="*/ 153 w 423"/>
                    <a:gd name="T55" fmla="*/ 0 h 427"/>
                    <a:gd name="T56" fmla="*/ 124 w 423"/>
                    <a:gd name="T57" fmla="*/ 40 h 427"/>
                    <a:gd name="T58" fmla="*/ 88 w 423"/>
                    <a:gd name="T59" fmla="*/ 27 h 427"/>
                    <a:gd name="T60" fmla="*/ 77 w 423"/>
                    <a:gd name="T61" fmla="*/ 40 h 427"/>
                    <a:gd name="T62" fmla="*/ 105 w 423"/>
                    <a:gd name="T63" fmla="*/ 64 h 427"/>
                    <a:gd name="T64" fmla="*/ 73 w 423"/>
                    <a:gd name="T65" fmla="*/ 100 h 427"/>
                    <a:gd name="T66" fmla="*/ 9 w 423"/>
                    <a:gd name="T67" fmla="*/ 112 h 427"/>
                    <a:gd name="T68" fmla="*/ 32 w 423"/>
                    <a:gd name="T69" fmla="*/ 132 h 427"/>
                    <a:gd name="T70" fmla="*/ 3 w 423"/>
                    <a:gd name="T71" fmla="*/ 157 h 427"/>
                    <a:gd name="T72" fmla="*/ 0 w 423"/>
                    <a:gd name="T73" fmla="*/ 172 h 427"/>
                    <a:gd name="T74" fmla="*/ 0 w 423"/>
                    <a:gd name="T75" fmla="*/ 176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3" h="427">
                      <a:moveTo>
                        <a:pt x="0" y="176"/>
                      </a:moveTo>
                      <a:lnTo>
                        <a:pt x="3" y="193"/>
                      </a:lnTo>
                      <a:lnTo>
                        <a:pt x="15" y="217"/>
                      </a:lnTo>
                      <a:lnTo>
                        <a:pt x="68" y="200"/>
                      </a:lnTo>
                      <a:lnTo>
                        <a:pt x="85" y="221"/>
                      </a:lnTo>
                      <a:lnTo>
                        <a:pt x="100" y="217"/>
                      </a:lnTo>
                      <a:lnTo>
                        <a:pt x="98" y="234"/>
                      </a:lnTo>
                      <a:lnTo>
                        <a:pt x="117" y="244"/>
                      </a:lnTo>
                      <a:lnTo>
                        <a:pt x="102" y="297"/>
                      </a:lnTo>
                      <a:lnTo>
                        <a:pt x="168" y="310"/>
                      </a:lnTo>
                      <a:lnTo>
                        <a:pt x="194" y="293"/>
                      </a:lnTo>
                      <a:lnTo>
                        <a:pt x="190" y="395"/>
                      </a:lnTo>
                      <a:lnTo>
                        <a:pt x="281" y="427"/>
                      </a:lnTo>
                      <a:lnTo>
                        <a:pt x="334" y="378"/>
                      </a:lnTo>
                      <a:lnTo>
                        <a:pt x="423" y="365"/>
                      </a:lnTo>
                      <a:lnTo>
                        <a:pt x="411" y="312"/>
                      </a:lnTo>
                      <a:lnTo>
                        <a:pt x="381" y="310"/>
                      </a:lnTo>
                      <a:lnTo>
                        <a:pt x="394" y="268"/>
                      </a:lnTo>
                      <a:lnTo>
                        <a:pt x="364" y="259"/>
                      </a:lnTo>
                      <a:lnTo>
                        <a:pt x="358" y="212"/>
                      </a:lnTo>
                      <a:lnTo>
                        <a:pt x="372" y="187"/>
                      </a:lnTo>
                      <a:lnTo>
                        <a:pt x="353" y="157"/>
                      </a:lnTo>
                      <a:lnTo>
                        <a:pt x="313" y="140"/>
                      </a:lnTo>
                      <a:lnTo>
                        <a:pt x="296" y="176"/>
                      </a:lnTo>
                      <a:lnTo>
                        <a:pt x="255" y="161"/>
                      </a:lnTo>
                      <a:lnTo>
                        <a:pt x="224" y="100"/>
                      </a:lnTo>
                      <a:lnTo>
                        <a:pt x="224" y="95"/>
                      </a:lnTo>
                      <a:lnTo>
                        <a:pt x="153" y="0"/>
                      </a:lnTo>
                      <a:lnTo>
                        <a:pt x="124" y="40"/>
                      </a:lnTo>
                      <a:lnTo>
                        <a:pt x="88" y="27"/>
                      </a:lnTo>
                      <a:lnTo>
                        <a:pt x="77" y="40"/>
                      </a:lnTo>
                      <a:lnTo>
                        <a:pt x="105" y="64"/>
                      </a:lnTo>
                      <a:lnTo>
                        <a:pt x="73" y="100"/>
                      </a:lnTo>
                      <a:lnTo>
                        <a:pt x="9" y="112"/>
                      </a:lnTo>
                      <a:lnTo>
                        <a:pt x="32" y="132"/>
                      </a:lnTo>
                      <a:lnTo>
                        <a:pt x="3" y="157"/>
                      </a:lnTo>
                      <a:lnTo>
                        <a:pt x="0" y="172"/>
                      </a:lnTo>
                      <a:lnTo>
                        <a:pt x="0" y="176"/>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53" name="01">
                  <a:extLst>
                    <a:ext uri="{FF2B5EF4-FFF2-40B4-BE49-F238E27FC236}">
                      <a16:creationId xmlns:a16="http://schemas.microsoft.com/office/drawing/2014/main" id="{951BE009-F69A-4F9C-ACCC-49CB68ADB292}"/>
                    </a:ext>
                  </a:extLst>
                </p:cNvPr>
                <p:cNvSpPr>
                  <a:spLocks/>
                </p:cNvSpPr>
                <p:nvPr/>
              </p:nvSpPr>
              <p:spPr bwMode="gray">
                <a:xfrm>
                  <a:off x="7361089" y="3886514"/>
                  <a:ext cx="514292" cy="468450"/>
                </a:xfrm>
                <a:custGeom>
                  <a:avLst/>
                  <a:gdLst>
                    <a:gd name="T0" fmla="*/ 0 w 359"/>
                    <a:gd name="T1" fmla="*/ 215 h 327"/>
                    <a:gd name="T2" fmla="*/ 36 w 359"/>
                    <a:gd name="T3" fmla="*/ 227 h 327"/>
                    <a:gd name="T4" fmla="*/ 47 w 359"/>
                    <a:gd name="T5" fmla="*/ 262 h 327"/>
                    <a:gd name="T6" fmla="*/ 94 w 359"/>
                    <a:gd name="T7" fmla="*/ 259 h 327"/>
                    <a:gd name="T8" fmla="*/ 130 w 359"/>
                    <a:gd name="T9" fmla="*/ 272 h 327"/>
                    <a:gd name="T10" fmla="*/ 159 w 359"/>
                    <a:gd name="T11" fmla="*/ 232 h 327"/>
                    <a:gd name="T12" fmla="*/ 230 w 359"/>
                    <a:gd name="T13" fmla="*/ 327 h 327"/>
                    <a:gd name="T14" fmla="*/ 266 w 359"/>
                    <a:gd name="T15" fmla="*/ 289 h 327"/>
                    <a:gd name="T16" fmla="*/ 278 w 359"/>
                    <a:gd name="T17" fmla="*/ 208 h 327"/>
                    <a:gd name="T18" fmla="*/ 272 w 359"/>
                    <a:gd name="T19" fmla="*/ 174 h 327"/>
                    <a:gd name="T20" fmla="*/ 270 w 359"/>
                    <a:gd name="T21" fmla="*/ 170 h 327"/>
                    <a:gd name="T22" fmla="*/ 274 w 359"/>
                    <a:gd name="T23" fmla="*/ 149 h 327"/>
                    <a:gd name="T24" fmla="*/ 308 w 359"/>
                    <a:gd name="T25" fmla="*/ 136 h 327"/>
                    <a:gd name="T26" fmla="*/ 310 w 359"/>
                    <a:gd name="T27" fmla="*/ 106 h 327"/>
                    <a:gd name="T28" fmla="*/ 349 w 359"/>
                    <a:gd name="T29" fmla="*/ 91 h 327"/>
                    <a:gd name="T30" fmla="*/ 359 w 359"/>
                    <a:gd name="T31" fmla="*/ 47 h 327"/>
                    <a:gd name="T32" fmla="*/ 332 w 359"/>
                    <a:gd name="T33" fmla="*/ 32 h 327"/>
                    <a:gd name="T34" fmla="*/ 285 w 359"/>
                    <a:gd name="T35" fmla="*/ 89 h 327"/>
                    <a:gd name="T36" fmla="*/ 249 w 359"/>
                    <a:gd name="T37" fmla="*/ 91 h 327"/>
                    <a:gd name="T38" fmla="*/ 227 w 359"/>
                    <a:gd name="T39" fmla="*/ 64 h 327"/>
                    <a:gd name="T40" fmla="*/ 193 w 359"/>
                    <a:gd name="T41" fmla="*/ 91 h 327"/>
                    <a:gd name="T42" fmla="*/ 172 w 359"/>
                    <a:gd name="T43" fmla="*/ 62 h 327"/>
                    <a:gd name="T44" fmla="*/ 166 w 359"/>
                    <a:gd name="T45" fmla="*/ 74 h 327"/>
                    <a:gd name="T46" fmla="*/ 142 w 359"/>
                    <a:gd name="T47" fmla="*/ 26 h 327"/>
                    <a:gd name="T48" fmla="*/ 106 w 359"/>
                    <a:gd name="T49" fmla="*/ 0 h 327"/>
                    <a:gd name="T50" fmla="*/ 77 w 359"/>
                    <a:gd name="T51" fmla="*/ 15 h 327"/>
                    <a:gd name="T52" fmla="*/ 47 w 359"/>
                    <a:gd name="T53" fmla="*/ 4 h 327"/>
                    <a:gd name="T54" fmla="*/ 9 w 359"/>
                    <a:gd name="T55" fmla="*/ 128 h 327"/>
                    <a:gd name="T56" fmla="*/ 0 w 359"/>
                    <a:gd name="T57"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9" h="327">
                      <a:moveTo>
                        <a:pt x="0" y="215"/>
                      </a:moveTo>
                      <a:lnTo>
                        <a:pt x="36" y="227"/>
                      </a:lnTo>
                      <a:lnTo>
                        <a:pt x="47" y="262"/>
                      </a:lnTo>
                      <a:lnTo>
                        <a:pt x="94" y="259"/>
                      </a:lnTo>
                      <a:lnTo>
                        <a:pt x="130" y="272"/>
                      </a:lnTo>
                      <a:lnTo>
                        <a:pt x="159" y="232"/>
                      </a:lnTo>
                      <a:lnTo>
                        <a:pt x="230" y="327"/>
                      </a:lnTo>
                      <a:lnTo>
                        <a:pt x="266" y="289"/>
                      </a:lnTo>
                      <a:lnTo>
                        <a:pt x="278" y="208"/>
                      </a:lnTo>
                      <a:lnTo>
                        <a:pt x="272" y="174"/>
                      </a:lnTo>
                      <a:lnTo>
                        <a:pt x="270" y="170"/>
                      </a:lnTo>
                      <a:lnTo>
                        <a:pt x="274" y="149"/>
                      </a:lnTo>
                      <a:lnTo>
                        <a:pt x="308" y="136"/>
                      </a:lnTo>
                      <a:lnTo>
                        <a:pt x="310" y="106"/>
                      </a:lnTo>
                      <a:lnTo>
                        <a:pt x="349" y="91"/>
                      </a:lnTo>
                      <a:lnTo>
                        <a:pt x="359" y="47"/>
                      </a:lnTo>
                      <a:lnTo>
                        <a:pt x="332" y="32"/>
                      </a:lnTo>
                      <a:lnTo>
                        <a:pt x="285" y="89"/>
                      </a:lnTo>
                      <a:lnTo>
                        <a:pt x="249" y="91"/>
                      </a:lnTo>
                      <a:lnTo>
                        <a:pt x="227" y="64"/>
                      </a:lnTo>
                      <a:lnTo>
                        <a:pt x="193" y="91"/>
                      </a:lnTo>
                      <a:lnTo>
                        <a:pt x="172" y="62"/>
                      </a:lnTo>
                      <a:lnTo>
                        <a:pt x="166" y="74"/>
                      </a:lnTo>
                      <a:lnTo>
                        <a:pt x="142" y="26"/>
                      </a:lnTo>
                      <a:lnTo>
                        <a:pt x="106" y="0"/>
                      </a:lnTo>
                      <a:lnTo>
                        <a:pt x="77" y="15"/>
                      </a:lnTo>
                      <a:lnTo>
                        <a:pt x="47" y="4"/>
                      </a:lnTo>
                      <a:lnTo>
                        <a:pt x="9" y="128"/>
                      </a:lnTo>
                      <a:lnTo>
                        <a:pt x="0" y="215"/>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54" name="07">
                  <a:extLst>
                    <a:ext uri="{FF2B5EF4-FFF2-40B4-BE49-F238E27FC236}">
                      <a16:creationId xmlns:a16="http://schemas.microsoft.com/office/drawing/2014/main" id="{7E02754C-BC81-4833-88F4-1F86F469AC86}"/>
                    </a:ext>
                  </a:extLst>
                </p:cNvPr>
                <p:cNvSpPr>
                  <a:spLocks/>
                </p:cNvSpPr>
                <p:nvPr/>
              </p:nvSpPr>
              <p:spPr bwMode="gray">
                <a:xfrm>
                  <a:off x="7044494" y="4495354"/>
                  <a:ext cx="381062" cy="578756"/>
                </a:xfrm>
                <a:custGeom>
                  <a:avLst/>
                  <a:gdLst>
                    <a:gd name="T0" fmla="*/ 2 w 266"/>
                    <a:gd name="T1" fmla="*/ 247 h 404"/>
                    <a:gd name="T2" fmla="*/ 38 w 266"/>
                    <a:gd name="T3" fmla="*/ 332 h 404"/>
                    <a:gd name="T4" fmla="*/ 57 w 266"/>
                    <a:gd name="T5" fmla="*/ 353 h 404"/>
                    <a:gd name="T6" fmla="*/ 53 w 266"/>
                    <a:gd name="T7" fmla="*/ 385 h 404"/>
                    <a:gd name="T8" fmla="*/ 72 w 266"/>
                    <a:gd name="T9" fmla="*/ 379 h 404"/>
                    <a:gd name="T10" fmla="*/ 108 w 266"/>
                    <a:gd name="T11" fmla="*/ 404 h 404"/>
                    <a:gd name="T12" fmla="*/ 125 w 266"/>
                    <a:gd name="T13" fmla="*/ 377 h 404"/>
                    <a:gd name="T14" fmla="*/ 140 w 266"/>
                    <a:gd name="T15" fmla="*/ 372 h 404"/>
                    <a:gd name="T16" fmla="*/ 155 w 266"/>
                    <a:gd name="T17" fmla="*/ 396 h 404"/>
                    <a:gd name="T18" fmla="*/ 170 w 266"/>
                    <a:gd name="T19" fmla="*/ 374 h 404"/>
                    <a:gd name="T20" fmla="*/ 208 w 266"/>
                    <a:gd name="T21" fmla="*/ 398 h 404"/>
                    <a:gd name="T22" fmla="*/ 210 w 266"/>
                    <a:gd name="T23" fmla="*/ 396 h 404"/>
                    <a:gd name="T24" fmla="*/ 210 w 266"/>
                    <a:gd name="T25" fmla="*/ 379 h 404"/>
                    <a:gd name="T26" fmla="*/ 208 w 266"/>
                    <a:gd name="T27" fmla="*/ 377 h 404"/>
                    <a:gd name="T28" fmla="*/ 208 w 266"/>
                    <a:gd name="T29" fmla="*/ 370 h 404"/>
                    <a:gd name="T30" fmla="*/ 221 w 266"/>
                    <a:gd name="T31" fmla="*/ 291 h 404"/>
                    <a:gd name="T32" fmla="*/ 242 w 266"/>
                    <a:gd name="T33" fmla="*/ 260 h 404"/>
                    <a:gd name="T34" fmla="*/ 236 w 266"/>
                    <a:gd name="T35" fmla="*/ 217 h 404"/>
                    <a:gd name="T36" fmla="*/ 266 w 266"/>
                    <a:gd name="T37" fmla="*/ 155 h 404"/>
                    <a:gd name="T38" fmla="*/ 242 w 266"/>
                    <a:gd name="T39" fmla="*/ 24 h 404"/>
                    <a:gd name="T40" fmla="*/ 230 w 266"/>
                    <a:gd name="T41" fmla="*/ 0 h 404"/>
                    <a:gd name="T42" fmla="*/ 193 w 266"/>
                    <a:gd name="T43" fmla="*/ 19 h 404"/>
                    <a:gd name="T44" fmla="*/ 187 w 266"/>
                    <a:gd name="T45" fmla="*/ 45 h 404"/>
                    <a:gd name="T46" fmla="*/ 162 w 266"/>
                    <a:gd name="T47" fmla="*/ 49 h 404"/>
                    <a:gd name="T48" fmla="*/ 153 w 266"/>
                    <a:gd name="T49" fmla="*/ 92 h 404"/>
                    <a:gd name="T50" fmla="*/ 132 w 266"/>
                    <a:gd name="T51" fmla="*/ 83 h 404"/>
                    <a:gd name="T52" fmla="*/ 134 w 266"/>
                    <a:gd name="T53" fmla="*/ 121 h 404"/>
                    <a:gd name="T54" fmla="*/ 113 w 266"/>
                    <a:gd name="T55" fmla="*/ 128 h 404"/>
                    <a:gd name="T56" fmla="*/ 115 w 266"/>
                    <a:gd name="T57" fmla="*/ 145 h 404"/>
                    <a:gd name="T58" fmla="*/ 93 w 266"/>
                    <a:gd name="T59" fmla="*/ 147 h 404"/>
                    <a:gd name="T60" fmla="*/ 76 w 266"/>
                    <a:gd name="T61" fmla="*/ 181 h 404"/>
                    <a:gd name="T62" fmla="*/ 45 w 266"/>
                    <a:gd name="T63" fmla="*/ 183 h 404"/>
                    <a:gd name="T64" fmla="*/ 0 w 266"/>
                    <a:gd name="T65" fmla="*/ 230 h 404"/>
                    <a:gd name="T66" fmla="*/ 0 w 266"/>
                    <a:gd name="T67" fmla="*/ 240 h 404"/>
                    <a:gd name="T68" fmla="*/ 2 w 266"/>
                    <a:gd name="T69" fmla="*/ 24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6" h="404">
                      <a:moveTo>
                        <a:pt x="2" y="247"/>
                      </a:moveTo>
                      <a:lnTo>
                        <a:pt x="38" y="332"/>
                      </a:lnTo>
                      <a:lnTo>
                        <a:pt x="57" y="353"/>
                      </a:lnTo>
                      <a:lnTo>
                        <a:pt x="53" y="385"/>
                      </a:lnTo>
                      <a:lnTo>
                        <a:pt x="72" y="379"/>
                      </a:lnTo>
                      <a:lnTo>
                        <a:pt x="108" y="404"/>
                      </a:lnTo>
                      <a:lnTo>
                        <a:pt x="125" y="377"/>
                      </a:lnTo>
                      <a:lnTo>
                        <a:pt x="140" y="372"/>
                      </a:lnTo>
                      <a:lnTo>
                        <a:pt x="155" y="396"/>
                      </a:lnTo>
                      <a:lnTo>
                        <a:pt x="170" y="374"/>
                      </a:lnTo>
                      <a:lnTo>
                        <a:pt x="208" y="398"/>
                      </a:lnTo>
                      <a:lnTo>
                        <a:pt x="210" y="396"/>
                      </a:lnTo>
                      <a:lnTo>
                        <a:pt x="210" y="379"/>
                      </a:lnTo>
                      <a:lnTo>
                        <a:pt x="208" y="377"/>
                      </a:lnTo>
                      <a:lnTo>
                        <a:pt x="208" y="370"/>
                      </a:lnTo>
                      <a:lnTo>
                        <a:pt x="221" y="291"/>
                      </a:lnTo>
                      <a:lnTo>
                        <a:pt x="242" y="260"/>
                      </a:lnTo>
                      <a:lnTo>
                        <a:pt x="236" y="217"/>
                      </a:lnTo>
                      <a:lnTo>
                        <a:pt x="266" y="155"/>
                      </a:lnTo>
                      <a:lnTo>
                        <a:pt x="242" y="24"/>
                      </a:lnTo>
                      <a:lnTo>
                        <a:pt x="230" y="0"/>
                      </a:lnTo>
                      <a:lnTo>
                        <a:pt x="193" y="19"/>
                      </a:lnTo>
                      <a:lnTo>
                        <a:pt x="187" y="45"/>
                      </a:lnTo>
                      <a:lnTo>
                        <a:pt x="162" y="49"/>
                      </a:lnTo>
                      <a:lnTo>
                        <a:pt x="153" y="92"/>
                      </a:lnTo>
                      <a:lnTo>
                        <a:pt x="132" y="83"/>
                      </a:lnTo>
                      <a:lnTo>
                        <a:pt x="134" y="121"/>
                      </a:lnTo>
                      <a:lnTo>
                        <a:pt x="113" y="128"/>
                      </a:lnTo>
                      <a:lnTo>
                        <a:pt x="115" y="145"/>
                      </a:lnTo>
                      <a:lnTo>
                        <a:pt x="93" y="147"/>
                      </a:lnTo>
                      <a:lnTo>
                        <a:pt x="76" y="181"/>
                      </a:lnTo>
                      <a:lnTo>
                        <a:pt x="45" y="183"/>
                      </a:lnTo>
                      <a:lnTo>
                        <a:pt x="0" y="230"/>
                      </a:lnTo>
                      <a:lnTo>
                        <a:pt x="0" y="240"/>
                      </a:lnTo>
                      <a:lnTo>
                        <a:pt x="2" y="247"/>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55" name="74">
                  <a:extLst>
                    <a:ext uri="{FF2B5EF4-FFF2-40B4-BE49-F238E27FC236}">
                      <a16:creationId xmlns:a16="http://schemas.microsoft.com/office/drawing/2014/main" id="{34F3A1C3-F8B2-429E-9C38-9D1173799435}"/>
                    </a:ext>
                  </a:extLst>
                </p:cNvPr>
                <p:cNvSpPr>
                  <a:spLocks/>
                </p:cNvSpPr>
                <p:nvPr/>
              </p:nvSpPr>
              <p:spPr bwMode="gray">
                <a:xfrm>
                  <a:off x="7747882" y="3935221"/>
                  <a:ext cx="454124" cy="378197"/>
                </a:xfrm>
                <a:custGeom>
                  <a:avLst/>
                  <a:gdLst>
                    <a:gd name="T0" fmla="*/ 8 w 317"/>
                    <a:gd name="T1" fmla="*/ 174 h 264"/>
                    <a:gd name="T2" fmla="*/ 53 w 317"/>
                    <a:gd name="T3" fmla="*/ 242 h 264"/>
                    <a:gd name="T4" fmla="*/ 96 w 317"/>
                    <a:gd name="T5" fmla="*/ 238 h 264"/>
                    <a:gd name="T6" fmla="*/ 121 w 317"/>
                    <a:gd name="T7" fmla="*/ 264 h 264"/>
                    <a:gd name="T8" fmla="*/ 138 w 317"/>
                    <a:gd name="T9" fmla="*/ 259 h 264"/>
                    <a:gd name="T10" fmla="*/ 183 w 317"/>
                    <a:gd name="T11" fmla="*/ 181 h 264"/>
                    <a:gd name="T12" fmla="*/ 232 w 317"/>
                    <a:gd name="T13" fmla="*/ 242 h 264"/>
                    <a:gd name="T14" fmla="*/ 257 w 317"/>
                    <a:gd name="T15" fmla="*/ 223 h 264"/>
                    <a:gd name="T16" fmla="*/ 261 w 317"/>
                    <a:gd name="T17" fmla="*/ 202 h 264"/>
                    <a:gd name="T18" fmla="*/ 293 w 317"/>
                    <a:gd name="T19" fmla="*/ 198 h 264"/>
                    <a:gd name="T20" fmla="*/ 317 w 317"/>
                    <a:gd name="T21" fmla="*/ 168 h 264"/>
                    <a:gd name="T22" fmla="*/ 289 w 317"/>
                    <a:gd name="T23" fmla="*/ 119 h 264"/>
                    <a:gd name="T24" fmla="*/ 272 w 317"/>
                    <a:gd name="T25" fmla="*/ 123 h 264"/>
                    <a:gd name="T26" fmla="*/ 276 w 317"/>
                    <a:gd name="T27" fmla="*/ 98 h 264"/>
                    <a:gd name="T28" fmla="*/ 251 w 317"/>
                    <a:gd name="T29" fmla="*/ 91 h 264"/>
                    <a:gd name="T30" fmla="*/ 266 w 317"/>
                    <a:gd name="T31" fmla="*/ 38 h 264"/>
                    <a:gd name="T32" fmla="*/ 242 w 317"/>
                    <a:gd name="T33" fmla="*/ 17 h 264"/>
                    <a:gd name="T34" fmla="*/ 249 w 317"/>
                    <a:gd name="T35" fmla="*/ 0 h 264"/>
                    <a:gd name="T36" fmla="*/ 174 w 317"/>
                    <a:gd name="T37" fmla="*/ 0 h 264"/>
                    <a:gd name="T38" fmla="*/ 145 w 317"/>
                    <a:gd name="T39" fmla="*/ 23 h 264"/>
                    <a:gd name="T40" fmla="*/ 128 w 317"/>
                    <a:gd name="T41" fmla="*/ 13 h 264"/>
                    <a:gd name="T42" fmla="*/ 108 w 317"/>
                    <a:gd name="T43" fmla="*/ 47 h 264"/>
                    <a:gd name="T44" fmla="*/ 123 w 317"/>
                    <a:gd name="T45" fmla="*/ 66 h 264"/>
                    <a:gd name="T46" fmla="*/ 83 w 317"/>
                    <a:gd name="T47" fmla="*/ 98 h 264"/>
                    <a:gd name="T48" fmla="*/ 38 w 317"/>
                    <a:gd name="T49" fmla="*/ 102 h 264"/>
                    <a:gd name="T50" fmla="*/ 4 w 317"/>
                    <a:gd name="T51" fmla="*/ 115 h 264"/>
                    <a:gd name="T52" fmla="*/ 0 w 317"/>
                    <a:gd name="T53" fmla="*/ 136 h 264"/>
                    <a:gd name="T54" fmla="*/ 2 w 317"/>
                    <a:gd name="T55" fmla="*/ 14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7" h="264">
                      <a:moveTo>
                        <a:pt x="8" y="174"/>
                      </a:moveTo>
                      <a:lnTo>
                        <a:pt x="53" y="242"/>
                      </a:lnTo>
                      <a:lnTo>
                        <a:pt x="96" y="238"/>
                      </a:lnTo>
                      <a:lnTo>
                        <a:pt x="121" y="264"/>
                      </a:lnTo>
                      <a:lnTo>
                        <a:pt x="138" y="259"/>
                      </a:lnTo>
                      <a:lnTo>
                        <a:pt x="183" y="181"/>
                      </a:lnTo>
                      <a:lnTo>
                        <a:pt x="232" y="242"/>
                      </a:lnTo>
                      <a:lnTo>
                        <a:pt x="257" y="223"/>
                      </a:lnTo>
                      <a:lnTo>
                        <a:pt x="261" y="202"/>
                      </a:lnTo>
                      <a:lnTo>
                        <a:pt x="293" y="198"/>
                      </a:lnTo>
                      <a:lnTo>
                        <a:pt x="317" y="168"/>
                      </a:lnTo>
                      <a:lnTo>
                        <a:pt x="289" y="119"/>
                      </a:lnTo>
                      <a:lnTo>
                        <a:pt x="272" y="123"/>
                      </a:lnTo>
                      <a:lnTo>
                        <a:pt x="276" y="98"/>
                      </a:lnTo>
                      <a:lnTo>
                        <a:pt x="251" y="91"/>
                      </a:lnTo>
                      <a:lnTo>
                        <a:pt x="266" y="38"/>
                      </a:lnTo>
                      <a:lnTo>
                        <a:pt x="242" y="17"/>
                      </a:lnTo>
                      <a:lnTo>
                        <a:pt x="249" y="0"/>
                      </a:lnTo>
                      <a:lnTo>
                        <a:pt x="174" y="0"/>
                      </a:lnTo>
                      <a:lnTo>
                        <a:pt x="145" y="23"/>
                      </a:lnTo>
                      <a:lnTo>
                        <a:pt x="128" y="13"/>
                      </a:lnTo>
                      <a:lnTo>
                        <a:pt x="108" y="47"/>
                      </a:lnTo>
                      <a:lnTo>
                        <a:pt x="123" y="66"/>
                      </a:lnTo>
                      <a:lnTo>
                        <a:pt x="83" y="98"/>
                      </a:lnTo>
                      <a:lnTo>
                        <a:pt x="38" y="102"/>
                      </a:lnTo>
                      <a:lnTo>
                        <a:pt x="4" y="115"/>
                      </a:lnTo>
                      <a:lnTo>
                        <a:pt x="0" y="136"/>
                      </a:lnTo>
                      <a:lnTo>
                        <a:pt x="2" y="140"/>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grpSp>
          <p:grpSp>
            <p:nvGrpSpPr>
              <p:cNvPr id="243" name="Auvergne (Formes)">
                <a:extLst>
                  <a:ext uri="{FF2B5EF4-FFF2-40B4-BE49-F238E27FC236}">
                    <a16:creationId xmlns:a16="http://schemas.microsoft.com/office/drawing/2014/main" id="{BC01D112-5306-4D29-952F-EBF32A982188}"/>
                  </a:ext>
                </a:extLst>
              </p:cNvPr>
              <p:cNvGrpSpPr/>
              <p:nvPr/>
            </p:nvGrpSpPr>
            <p:grpSpPr>
              <a:xfrm>
                <a:off x="6376919" y="3746123"/>
                <a:ext cx="899651" cy="1138888"/>
                <a:chOff x="6376919" y="3746123"/>
                <a:chExt cx="899651" cy="1138888"/>
              </a:xfrm>
              <a:grpFill/>
            </p:grpSpPr>
            <p:sp>
              <p:nvSpPr>
                <p:cNvPr id="244" name="15">
                  <a:extLst>
                    <a:ext uri="{FF2B5EF4-FFF2-40B4-BE49-F238E27FC236}">
                      <a16:creationId xmlns:a16="http://schemas.microsoft.com/office/drawing/2014/main" id="{8D59525B-0F3A-4A06-965D-9F5D6FBB4C45}"/>
                    </a:ext>
                  </a:extLst>
                </p:cNvPr>
                <p:cNvSpPr>
                  <a:spLocks/>
                </p:cNvSpPr>
                <p:nvPr/>
              </p:nvSpPr>
              <p:spPr bwMode="gray">
                <a:xfrm>
                  <a:off x="6376919" y="4435186"/>
                  <a:ext cx="481342" cy="449825"/>
                </a:xfrm>
                <a:custGeom>
                  <a:avLst/>
                  <a:gdLst>
                    <a:gd name="T0" fmla="*/ 3 w 336"/>
                    <a:gd name="T1" fmla="*/ 191 h 314"/>
                    <a:gd name="T2" fmla="*/ 28 w 336"/>
                    <a:gd name="T3" fmla="*/ 251 h 314"/>
                    <a:gd name="T4" fmla="*/ 15 w 336"/>
                    <a:gd name="T5" fmla="*/ 285 h 314"/>
                    <a:gd name="T6" fmla="*/ 37 w 336"/>
                    <a:gd name="T7" fmla="*/ 314 h 314"/>
                    <a:gd name="T8" fmla="*/ 66 w 336"/>
                    <a:gd name="T9" fmla="*/ 297 h 314"/>
                    <a:gd name="T10" fmla="*/ 107 w 336"/>
                    <a:gd name="T11" fmla="*/ 304 h 314"/>
                    <a:gd name="T12" fmla="*/ 141 w 336"/>
                    <a:gd name="T13" fmla="*/ 231 h 314"/>
                    <a:gd name="T14" fmla="*/ 175 w 336"/>
                    <a:gd name="T15" fmla="*/ 200 h 314"/>
                    <a:gd name="T16" fmla="*/ 183 w 336"/>
                    <a:gd name="T17" fmla="*/ 227 h 314"/>
                    <a:gd name="T18" fmla="*/ 207 w 336"/>
                    <a:gd name="T19" fmla="*/ 223 h 314"/>
                    <a:gd name="T20" fmla="*/ 226 w 336"/>
                    <a:gd name="T21" fmla="*/ 257 h 314"/>
                    <a:gd name="T22" fmla="*/ 236 w 336"/>
                    <a:gd name="T23" fmla="*/ 308 h 314"/>
                    <a:gd name="T24" fmla="*/ 241 w 336"/>
                    <a:gd name="T25" fmla="*/ 302 h 314"/>
                    <a:gd name="T26" fmla="*/ 268 w 336"/>
                    <a:gd name="T27" fmla="*/ 221 h 314"/>
                    <a:gd name="T28" fmla="*/ 290 w 336"/>
                    <a:gd name="T29" fmla="*/ 227 h 314"/>
                    <a:gd name="T30" fmla="*/ 304 w 336"/>
                    <a:gd name="T31" fmla="*/ 200 h 314"/>
                    <a:gd name="T32" fmla="*/ 336 w 336"/>
                    <a:gd name="T33" fmla="*/ 189 h 314"/>
                    <a:gd name="T34" fmla="*/ 317 w 336"/>
                    <a:gd name="T35" fmla="*/ 140 h 314"/>
                    <a:gd name="T36" fmla="*/ 334 w 336"/>
                    <a:gd name="T37" fmla="*/ 140 h 314"/>
                    <a:gd name="T38" fmla="*/ 300 w 336"/>
                    <a:gd name="T39" fmla="*/ 78 h 314"/>
                    <a:gd name="T40" fmla="*/ 264 w 336"/>
                    <a:gd name="T41" fmla="*/ 72 h 314"/>
                    <a:gd name="T42" fmla="*/ 264 w 336"/>
                    <a:gd name="T43" fmla="*/ 68 h 314"/>
                    <a:gd name="T44" fmla="*/ 270 w 336"/>
                    <a:gd name="T45" fmla="*/ 49 h 314"/>
                    <a:gd name="T46" fmla="*/ 245 w 336"/>
                    <a:gd name="T47" fmla="*/ 72 h 314"/>
                    <a:gd name="T48" fmla="*/ 213 w 336"/>
                    <a:gd name="T49" fmla="*/ 36 h 314"/>
                    <a:gd name="T50" fmla="*/ 168 w 336"/>
                    <a:gd name="T51" fmla="*/ 36 h 314"/>
                    <a:gd name="T52" fmla="*/ 162 w 336"/>
                    <a:gd name="T53" fmla="*/ 17 h 314"/>
                    <a:gd name="T54" fmla="*/ 117 w 336"/>
                    <a:gd name="T55" fmla="*/ 0 h 314"/>
                    <a:gd name="T56" fmla="*/ 119 w 336"/>
                    <a:gd name="T57" fmla="*/ 36 h 314"/>
                    <a:gd name="T58" fmla="*/ 77 w 336"/>
                    <a:gd name="T59" fmla="*/ 25 h 314"/>
                    <a:gd name="T60" fmla="*/ 77 w 336"/>
                    <a:gd name="T61" fmla="*/ 51 h 314"/>
                    <a:gd name="T62" fmla="*/ 37 w 336"/>
                    <a:gd name="T63" fmla="*/ 93 h 314"/>
                    <a:gd name="T64" fmla="*/ 45 w 336"/>
                    <a:gd name="T65" fmla="*/ 112 h 314"/>
                    <a:gd name="T66" fmla="*/ 28 w 336"/>
                    <a:gd name="T67" fmla="*/ 144 h 314"/>
                    <a:gd name="T68" fmla="*/ 9 w 336"/>
                    <a:gd name="T69" fmla="*/ 155 h 314"/>
                    <a:gd name="T70" fmla="*/ 20 w 336"/>
                    <a:gd name="T71" fmla="*/ 180 h 314"/>
                    <a:gd name="T72" fmla="*/ 0 w 336"/>
                    <a:gd name="T73" fmla="*/ 183 h 314"/>
                    <a:gd name="T74" fmla="*/ 3 w 336"/>
                    <a:gd name="T75" fmla="*/ 191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6" h="314">
                      <a:moveTo>
                        <a:pt x="3" y="191"/>
                      </a:moveTo>
                      <a:lnTo>
                        <a:pt x="28" y="251"/>
                      </a:lnTo>
                      <a:lnTo>
                        <a:pt x="15" y="285"/>
                      </a:lnTo>
                      <a:lnTo>
                        <a:pt x="37" y="314"/>
                      </a:lnTo>
                      <a:lnTo>
                        <a:pt x="66" y="297"/>
                      </a:lnTo>
                      <a:lnTo>
                        <a:pt x="107" y="304"/>
                      </a:lnTo>
                      <a:lnTo>
                        <a:pt x="141" y="231"/>
                      </a:lnTo>
                      <a:lnTo>
                        <a:pt x="175" y="200"/>
                      </a:lnTo>
                      <a:lnTo>
                        <a:pt x="183" y="227"/>
                      </a:lnTo>
                      <a:lnTo>
                        <a:pt x="207" y="223"/>
                      </a:lnTo>
                      <a:lnTo>
                        <a:pt x="226" y="257"/>
                      </a:lnTo>
                      <a:lnTo>
                        <a:pt x="236" y="308"/>
                      </a:lnTo>
                      <a:lnTo>
                        <a:pt x="241" y="302"/>
                      </a:lnTo>
                      <a:lnTo>
                        <a:pt x="268" y="221"/>
                      </a:lnTo>
                      <a:lnTo>
                        <a:pt x="290" y="227"/>
                      </a:lnTo>
                      <a:lnTo>
                        <a:pt x="304" y="200"/>
                      </a:lnTo>
                      <a:lnTo>
                        <a:pt x="336" y="189"/>
                      </a:lnTo>
                      <a:lnTo>
                        <a:pt x="317" y="140"/>
                      </a:lnTo>
                      <a:lnTo>
                        <a:pt x="334" y="140"/>
                      </a:lnTo>
                      <a:lnTo>
                        <a:pt x="300" y="78"/>
                      </a:lnTo>
                      <a:lnTo>
                        <a:pt x="264" y="72"/>
                      </a:lnTo>
                      <a:lnTo>
                        <a:pt x="264" y="68"/>
                      </a:lnTo>
                      <a:lnTo>
                        <a:pt x="270" y="49"/>
                      </a:lnTo>
                      <a:lnTo>
                        <a:pt x="245" y="72"/>
                      </a:lnTo>
                      <a:lnTo>
                        <a:pt x="213" y="36"/>
                      </a:lnTo>
                      <a:lnTo>
                        <a:pt x="168" y="36"/>
                      </a:lnTo>
                      <a:lnTo>
                        <a:pt x="162" y="17"/>
                      </a:lnTo>
                      <a:lnTo>
                        <a:pt x="117" y="0"/>
                      </a:lnTo>
                      <a:lnTo>
                        <a:pt x="119" y="36"/>
                      </a:lnTo>
                      <a:lnTo>
                        <a:pt x="77" y="25"/>
                      </a:lnTo>
                      <a:lnTo>
                        <a:pt x="77" y="51"/>
                      </a:lnTo>
                      <a:lnTo>
                        <a:pt x="37" y="93"/>
                      </a:lnTo>
                      <a:lnTo>
                        <a:pt x="45" y="112"/>
                      </a:lnTo>
                      <a:lnTo>
                        <a:pt x="28" y="144"/>
                      </a:lnTo>
                      <a:lnTo>
                        <a:pt x="9" y="155"/>
                      </a:lnTo>
                      <a:lnTo>
                        <a:pt x="20" y="180"/>
                      </a:lnTo>
                      <a:lnTo>
                        <a:pt x="0" y="183"/>
                      </a:lnTo>
                      <a:lnTo>
                        <a:pt x="3" y="191"/>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45" name="63">
                  <a:extLst>
                    <a:ext uri="{FF2B5EF4-FFF2-40B4-BE49-F238E27FC236}">
                      <a16:creationId xmlns:a16="http://schemas.microsoft.com/office/drawing/2014/main" id="{F8C29BE7-1BF8-40E6-801C-5994B759F36A}"/>
                    </a:ext>
                  </a:extLst>
                </p:cNvPr>
                <p:cNvSpPr>
                  <a:spLocks/>
                </p:cNvSpPr>
                <p:nvPr/>
              </p:nvSpPr>
              <p:spPr bwMode="gray">
                <a:xfrm>
                  <a:off x="6502984" y="4035501"/>
                  <a:ext cx="584487" cy="502831"/>
                </a:xfrm>
                <a:custGeom>
                  <a:avLst/>
                  <a:gdLst>
                    <a:gd name="T0" fmla="*/ 4 w 408"/>
                    <a:gd name="T1" fmla="*/ 147 h 351"/>
                    <a:gd name="T2" fmla="*/ 57 w 408"/>
                    <a:gd name="T3" fmla="*/ 98 h 351"/>
                    <a:gd name="T4" fmla="*/ 46 w 408"/>
                    <a:gd name="T5" fmla="*/ 38 h 351"/>
                    <a:gd name="T6" fmla="*/ 61 w 408"/>
                    <a:gd name="T7" fmla="*/ 45 h 351"/>
                    <a:gd name="T8" fmla="*/ 89 w 408"/>
                    <a:gd name="T9" fmla="*/ 9 h 351"/>
                    <a:gd name="T10" fmla="*/ 106 w 408"/>
                    <a:gd name="T11" fmla="*/ 17 h 351"/>
                    <a:gd name="T12" fmla="*/ 110 w 408"/>
                    <a:gd name="T13" fmla="*/ 2 h 351"/>
                    <a:gd name="T14" fmla="*/ 138 w 408"/>
                    <a:gd name="T15" fmla="*/ 0 h 351"/>
                    <a:gd name="T16" fmla="*/ 148 w 408"/>
                    <a:gd name="T17" fmla="*/ 45 h 351"/>
                    <a:gd name="T18" fmla="*/ 202 w 408"/>
                    <a:gd name="T19" fmla="*/ 66 h 351"/>
                    <a:gd name="T20" fmla="*/ 270 w 408"/>
                    <a:gd name="T21" fmla="*/ 66 h 351"/>
                    <a:gd name="T22" fmla="*/ 274 w 408"/>
                    <a:gd name="T23" fmla="*/ 87 h 351"/>
                    <a:gd name="T24" fmla="*/ 306 w 408"/>
                    <a:gd name="T25" fmla="*/ 81 h 351"/>
                    <a:gd name="T26" fmla="*/ 331 w 408"/>
                    <a:gd name="T27" fmla="*/ 115 h 351"/>
                    <a:gd name="T28" fmla="*/ 348 w 408"/>
                    <a:gd name="T29" fmla="*/ 132 h 351"/>
                    <a:gd name="T30" fmla="*/ 333 w 408"/>
                    <a:gd name="T31" fmla="*/ 166 h 351"/>
                    <a:gd name="T32" fmla="*/ 408 w 408"/>
                    <a:gd name="T33" fmla="*/ 277 h 351"/>
                    <a:gd name="T34" fmla="*/ 386 w 408"/>
                    <a:gd name="T35" fmla="*/ 328 h 351"/>
                    <a:gd name="T36" fmla="*/ 331 w 408"/>
                    <a:gd name="T37" fmla="*/ 317 h 351"/>
                    <a:gd name="T38" fmla="*/ 316 w 408"/>
                    <a:gd name="T39" fmla="*/ 332 h 351"/>
                    <a:gd name="T40" fmla="*/ 282 w 408"/>
                    <a:gd name="T41" fmla="*/ 302 h 351"/>
                    <a:gd name="T42" fmla="*/ 246 w 408"/>
                    <a:gd name="T43" fmla="*/ 302 h 351"/>
                    <a:gd name="T44" fmla="*/ 182 w 408"/>
                    <a:gd name="T45" fmla="*/ 328 h 351"/>
                    <a:gd name="T46" fmla="*/ 157 w 408"/>
                    <a:gd name="T47" fmla="*/ 351 h 351"/>
                    <a:gd name="T48" fmla="*/ 125 w 408"/>
                    <a:gd name="T49" fmla="*/ 315 h 351"/>
                    <a:gd name="T50" fmla="*/ 80 w 408"/>
                    <a:gd name="T51" fmla="*/ 315 h 351"/>
                    <a:gd name="T52" fmla="*/ 74 w 408"/>
                    <a:gd name="T53" fmla="*/ 296 h 351"/>
                    <a:gd name="T54" fmla="*/ 29 w 408"/>
                    <a:gd name="T55" fmla="*/ 279 h 351"/>
                    <a:gd name="T56" fmla="*/ 25 w 408"/>
                    <a:gd name="T57" fmla="*/ 185 h 351"/>
                    <a:gd name="T58" fmla="*/ 0 w 408"/>
                    <a:gd name="T59" fmla="*/ 151 h 351"/>
                    <a:gd name="T60" fmla="*/ 4 w 408"/>
                    <a:gd name="T61" fmla="*/ 147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8" h="351">
                      <a:moveTo>
                        <a:pt x="4" y="147"/>
                      </a:moveTo>
                      <a:lnTo>
                        <a:pt x="57" y="98"/>
                      </a:lnTo>
                      <a:lnTo>
                        <a:pt x="46" y="38"/>
                      </a:lnTo>
                      <a:lnTo>
                        <a:pt x="61" y="45"/>
                      </a:lnTo>
                      <a:lnTo>
                        <a:pt x="89" y="9"/>
                      </a:lnTo>
                      <a:lnTo>
                        <a:pt x="106" y="17"/>
                      </a:lnTo>
                      <a:lnTo>
                        <a:pt x="110" y="2"/>
                      </a:lnTo>
                      <a:lnTo>
                        <a:pt x="138" y="0"/>
                      </a:lnTo>
                      <a:lnTo>
                        <a:pt x="148" y="45"/>
                      </a:lnTo>
                      <a:lnTo>
                        <a:pt x="202" y="66"/>
                      </a:lnTo>
                      <a:lnTo>
                        <a:pt x="270" y="66"/>
                      </a:lnTo>
                      <a:lnTo>
                        <a:pt x="274" y="87"/>
                      </a:lnTo>
                      <a:lnTo>
                        <a:pt x="306" y="81"/>
                      </a:lnTo>
                      <a:lnTo>
                        <a:pt x="331" y="115"/>
                      </a:lnTo>
                      <a:lnTo>
                        <a:pt x="348" y="132"/>
                      </a:lnTo>
                      <a:lnTo>
                        <a:pt x="333" y="166"/>
                      </a:lnTo>
                      <a:lnTo>
                        <a:pt x="408" y="277"/>
                      </a:lnTo>
                      <a:lnTo>
                        <a:pt x="386" y="328"/>
                      </a:lnTo>
                      <a:lnTo>
                        <a:pt x="331" y="317"/>
                      </a:lnTo>
                      <a:lnTo>
                        <a:pt x="316" y="332"/>
                      </a:lnTo>
                      <a:lnTo>
                        <a:pt x="282" y="302"/>
                      </a:lnTo>
                      <a:lnTo>
                        <a:pt x="246" y="302"/>
                      </a:lnTo>
                      <a:lnTo>
                        <a:pt x="182" y="328"/>
                      </a:lnTo>
                      <a:lnTo>
                        <a:pt x="157" y="351"/>
                      </a:lnTo>
                      <a:lnTo>
                        <a:pt x="125" y="315"/>
                      </a:lnTo>
                      <a:lnTo>
                        <a:pt x="80" y="315"/>
                      </a:lnTo>
                      <a:lnTo>
                        <a:pt x="74" y="296"/>
                      </a:lnTo>
                      <a:lnTo>
                        <a:pt x="29" y="279"/>
                      </a:lnTo>
                      <a:lnTo>
                        <a:pt x="25" y="185"/>
                      </a:lnTo>
                      <a:lnTo>
                        <a:pt x="0" y="151"/>
                      </a:lnTo>
                      <a:lnTo>
                        <a:pt x="4" y="147"/>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46" name="43">
                  <a:extLst>
                    <a:ext uri="{FF2B5EF4-FFF2-40B4-BE49-F238E27FC236}">
                      <a16:creationId xmlns:a16="http://schemas.microsoft.com/office/drawing/2014/main" id="{61752BC2-81F4-40CD-9C89-C188B749D82A}"/>
                    </a:ext>
                  </a:extLst>
                </p:cNvPr>
                <p:cNvSpPr>
                  <a:spLocks/>
                </p:cNvSpPr>
                <p:nvPr/>
              </p:nvSpPr>
              <p:spPr bwMode="gray">
                <a:xfrm>
                  <a:off x="6755116" y="4468136"/>
                  <a:ext cx="521454" cy="356709"/>
                </a:xfrm>
                <a:custGeom>
                  <a:avLst/>
                  <a:gdLst>
                    <a:gd name="T0" fmla="*/ 0 w 364"/>
                    <a:gd name="T1" fmla="*/ 45 h 249"/>
                    <a:gd name="T2" fmla="*/ 6 w 364"/>
                    <a:gd name="T3" fmla="*/ 26 h 249"/>
                    <a:gd name="T4" fmla="*/ 70 w 364"/>
                    <a:gd name="T5" fmla="*/ 0 h 249"/>
                    <a:gd name="T6" fmla="*/ 106 w 364"/>
                    <a:gd name="T7" fmla="*/ 0 h 249"/>
                    <a:gd name="T8" fmla="*/ 140 w 364"/>
                    <a:gd name="T9" fmla="*/ 30 h 249"/>
                    <a:gd name="T10" fmla="*/ 155 w 364"/>
                    <a:gd name="T11" fmla="*/ 15 h 249"/>
                    <a:gd name="T12" fmla="*/ 210 w 364"/>
                    <a:gd name="T13" fmla="*/ 26 h 249"/>
                    <a:gd name="T14" fmla="*/ 255 w 364"/>
                    <a:gd name="T15" fmla="*/ 30 h 249"/>
                    <a:gd name="T16" fmla="*/ 281 w 364"/>
                    <a:gd name="T17" fmla="*/ 11 h 249"/>
                    <a:gd name="T18" fmla="*/ 323 w 364"/>
                    <a:gd name="T19" fmla="*/ 19 h 249"/>
                    <a:gd name="T20" fmla="*/ 327 w 364"/>
                    <a:gd name="T21" fmla="*/ 51 h 249"/>
                    <a:gd name="T22" fmla="*/ 364 w 364"/>
                    <a:gd name="T23" fmla="*/ 68 h 249"/>
                    <a:gd name="T24" fmla="*/ 355 w 364"/>
                    <a:gd name="T25" fmla="*/ 111 h 249"/>
                    <a:gd name="T26" fmla="*/ 334 w 364"/>
                    <a:gd name="T27" fmla="*/ 102 h 249"/>
                    <a:gd name="T28" fmla="*/ 336 w 364"/>
                    <a:gd name="T29" fmla="*/ 140 h 249"/>
                    <a:gd name="T30" fmla="*/ 315 w 364"/>
                    <a:gd name="T31" fmla="*/ 147 h 249"/>
                    <a:gd name="T32" fmla="*/ 317 w 364"/>
                    <a:gd name="T33" fmla="*/ 164 h 249"/>
                    <a:gd name="T34" fmla="*/ 295 w 364"/>
                    <a:gd name="T35" fmla="*/ 166 h 249"/>
                    <a:gd name="T36" fmla="*/ 278 w 364"/>
                    <a:gd name="T37" fmla="*/ 200 h 249"/>
                    <a:gd name="T38" fmla="*/ 247 w 364"/>
                    <a:gd name="T39" fmla="*/ 202 h 249"/>
                    <a:gd name="T40" fmla="*/ 202 w 364"/>
                    <a:gd name="T41" fmla="*/ 249 h 249"/>
                    <a:gd name="T42" fmla="*/ 147 w 364"/>
                    <a:gd name="T43" fmla="*/ 200 h 249"/>
                    <a:gd name="T44" fmla="*/ 102 w 364"/>
                    <a:gd name="T45" fmla="*/ 225 h 249"/>
                    <a:gd name="T46" fmla="*/ 72 w 364"/>
                    <a:gd name="T47" fmla="*/ 166 h 249"/>
                    <a:gd name="T48" fmla="*/ 53 w 364"/>
                    <a:gd name="T49" fmla="*/ 117 h 249"/>
                    <a:gd name="T50" fmla="*/ 70 w 364"/>
                    <a:gd name="T51" fmla="*/ 117 h 249"/>
                    <a:gd name="T52" fmla="*/ 36 w 364"/>
                    <a:gd name="T53" fmla="*/ 55 h 249"/>
                    <a:gd name="T54" fmla="*/ 0 w 364"/>
                    <a:gd name="T55" fmla="*/ 49 h 249"/>
                    <a:gd name="T56" fmla="*/ 0 w 364"/>
                    <a:gd name="T57" fmla="*/ 4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4" h="249">
                      <a:moveTo>
                        <a:pt x="0" y="45"/>
                      </a:moveTo>
                      <a:lnTo>
                        <a:pt x="6" y="26"/>
                      </a:lnTo>
                      <a:lnTo>
                        <a:pt x="70" y="0"/>
                      </a:lnTo>
                      <a:lnTo>
                        <a:pt x="106" y="0"/>
                      </a:lnTo>
                      <a:lnTo>
                        <a:pt x="140" y="30"/>
                      </a:lnTo>
                      <a:lnTo>
                        <a:pt x="155" y="15"/>
                      </a:lnTo>
                      <a:lnTo>
                        <a:pt x="210" y="26"/>
                      </a:lnTo>
                      <a:lnTo>
                        <a:pt x="255" y="30"/>
                      </a:lnTo>
                      <a:lnTo>
                        <a:pt x="281" y="11"/>
                      </a:lnTo>
                      <a:lnTo>
                        <a:pt x="323" y="19"/>
                      </a:lnTo>
                      <a:lnTo>
                        <a:pt x="327" y="51"/>
                      </a:lnTo>
                      <a:lnTo>
                        <a:pt x="364" y="68"/>
                      </a:lnTo>
                      <a:lnTo>
                        <a:pt x="355" y="111"/>
                      </a:lnTo>
                      <a:lnTo>
                        <a:pt x="334" y="102"/>
                      </a:lnTo>
                      <a:lnTo>
                        <a:pt x="336" y="140"/>
                      </a:lnTo>
                      <a:lnTo>
                        <a:pt x="315" y="147"/>
                      </a:lnTo>
                      <a:lnTo>
                        <a:pt x="317" y="164"/>
                      </a:lnTo>
                      <a:lnTo>
                        <a:pt x="295" y="166"/>
                      </a:lnTo>
                      <a:lnTo>
                        <a:pt x="278" y="200"/>
                      </a:lnTo>
                      <a:lnTo>
                        <a:pt x="247" y="202"/>
                      </a:lnTo>
                      <a:lnTo>
                        <a:pt x="202" y="249"/>
                      </a:lnTo>
                      <a:lnTo>
                        <a:pt x="147" y="200"/>
                      </a:lnTo>
                      <a:lnTo>
                        <a:pt x="102" y="225"/>
                      </a:lnTo>
                      <a:lnTo>
                        <a:pt x="72" y="166"/>
                      </a:lnTo>
                      <a:lnTo>
                        <a:pt x="53" y="117"/>
                      </a:lnTo>
                      <a:lnTo>
                        <a:pt x="70" y="117"/>
                      </a:lnTo>
                      <a:lnTo>
                        <a:pt x="36" y="55"/>
                      </a:lnTo>
                      <a:lnTo>
                        <a:pt x="0" y="49"/>
                      </a:lnTo>
                      <a:lnTo>
                        <a:pt x="0" y="45"/>
                      </a:lnTo>
                    </a:path>
                  </a:pathLst>
                </a:custGeom>
                <a:solidFill>
                  <a:schemeClr val="bg2">
                    <a:lumMod val="75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47" name="03">
                  <a:extLst>
                    <a:ext uri="{FF2B5EF4-FFF2-40B4-BE49-F238E27FC236}">
                      <a16:creationId xmlns:a16="http://schemas.microsoft.com/office/drawing/2014/main" id="{A6DF1AF4-3A5F-4F32-BABD-266FC527C956}"/>
                    </a:ext>
                  </a:extLst>
                </p:cNvPr>
                <p:cNvSpPr>
                  <a:spLocks/>
                </p:cNvSpPr>
                <p:nvPr/>
              </p:nvSpPr>
              <p:spPr bwMode="gray">
                <a:xfrm>
                  <a:off x="6462872" y="3746123"/>
                  <a:ext cx="627464" cy="454123"/>
                </a:xfrm>
                <a:custGeom>
                  <a:avLst/>
                  <a:gdLst>
                    <a:gd name="T0" fmla="*/ 4 w 438"/>
                    <a:gd name="T1" fmla="*/ 138 h 317"/>
                    <a:gd name="T2" fmla="*/ 8 w 438"/>
                    <a:gd name="T3" fmla="*/ 164 h 317"/>
                    <a:gd name="T4" fmla="*/ 53 w 438"/>
                    <a:gd name="T5" fmla="*/ 189 h 317"/>
                    <a:gd name="T6" fmla="*/ 74 w 438"/>
                    <a:gd name="T7" fmla="*/ 240 h 317"/>
                    <a:gd name="T8" fmla="*/ 89 w 438"/>
                    <a:gd name="T9" fmla="*/ 247 h 317"/>
                    <a:gd name="T10" fmla="*/ 117 w 438"/>
                    <a:gd name="T11" fmla="*/ 211 h 317"/>
                    <a:gd name="T12" fmla="*/ 134 w 438"/>
                    <a:gd name="T13" fmla="*/ 219 h 317"/>
                    <a:gd name="T14" fmla="*/ 138 w 438"/>
                    <a:gd name="T15" fmla="*/ 204 h 317"/>
                    <a:gd name="T16" fmla="*/ 166 w 438"/>
                    <a:gd name="T17" fmla="*/ 202 h 317"/>
                    <a:gd name="T18" fmla="*/ 176 w 438"/>
                    <a:gd name="T19" fmla="*/ 247 h 317"/>
                    <a:gd name="T20" fmla="*/ 230 w 438"/>
                    <a:gd name="T21" fmla="*/ 268 h 317"/>
                    <a:gd name="T22" fmla="*/ 298 w 438"/>
                    <a:gd name="T23" fmla="*/ 268 h 317"/>
                    <a:gd name="T24" fmla="*/ 302 w 438"/>
                    <a:gd name="T25" fmla="*/ 289 h 317"/>
                    <a:gd name="T26" fmla="*/ 334 w 438"/>
                    <a:gd name="T27" fmla="*/ 283 h 317"/>
                    <a:gd name="T28" fmla="*/ 359 w 438"/>
                    <a:gd name="T29" fmla="*/ 317 h 317"/>
                    <a:gd name="T30" fmla="*/ 361 w 438"/>
                    <a:gd name="T31" fmla="*/ 315 h 317"/>
                    <a:gd name="T32" fmla="*/ 393 w 438"/>
                    <a:gd name="T33" fmla="*/ 296 h 317"/>
                    <a:gd name="T34" fmla="*/ 380 w 438"/>
                    <a:gd name="T35" fmla="*/ 211 h 317"/>
                    <a:gd name="T36" fmla="*/ 412 w 438"/>
                    <a:gd name="T37" fmla="*/ 192 h 317"/>
                    <a:gd name="T38" fmla="*/ 438 w 438"/>
                    <a:gd name="T39" fmla="*/ 175 h 317"/>
                    <a:gd name="T40" fmla="*/ 438 w 438"/>
                    <a:gd name="T41" fmla="*/ 130 h 317"/>
                    <a:gd name="T42" fmla="*/ 372 w 438"/>
                    <a:gd name="T43" fmla="*/ 96 h 317"/>
                    <a:gd name="T44" fmla="*/ 342 w 438"/>
                    <a:gd name="T45" fmla="*/ 21 h 317"/>
                    <a:gd name="T46" fmla="*/ 344 w 438"/>
                    <a:gd name="T47" fmla="*/ 19 h 317"/>
                    <a:gd name="T48" fmla="*/ 300 w 438"/>
                    <a:gd name="T49" fmla="*/ 55 h 317"/>
                    <a:gd name="T50" fmla="*/ 283 w 438"/>
                    <a:gd name="T51" fmla="*/ 30 h 317"/>
                    <a:gd name="T52" fmla="*/ 236 w 438"/>
                    <a:gd name="T53" fmla="*/ 45 h 317"/>
                    <a:gd name="T54" fmla="*/ 191 w 438"/>
                    <a:gd name="T55" fmla="*/ 0 h 317"/>
                    <a:gd name="T56" fmla="*/ 164 w 438"/>
                    <a:gd name="T57" fmla="*/ 2 h 317"/>
                    <a:gd name="T58" fmla="*/ 147 w 438"/>
                    <a:gd name="T59" fmla="*/ 26 h 317"/>
                    <a:gd name="T60" fmla="*/ 110 w 438"/>
                    <a:gd name="T61" fmla="*/ 21 h 317"/>
                    <a:gd name="T62" fmla="*/ 79 w 438"/>
                    <a:gd name="T63" fmla="*/ 49 h 317"/>
                    <a:gd name="T64" fmla="*/ 89 w 438"/>
                    <a:gd name="T65" fmla="*/ 90 h 317"/>
                    <a:gd name="T66" fmla="*/ 25 w 438"/>
                    <a:gd name="T67" fmla="*/ 102 h 317"/>
                    <a:gd name="T68" fmla="*/ 0 w 438"/>
                    <a:gd name="T69" fmla="*/ 136 h 317"/>
                    <a:gd name="T70" fmla="*/ 4 w 438"/>
                    <a:gd name="T71" fmla="*/ 138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8" h="317">
                      <a:moveTo>
                        <a:pt x="4" y="138"/>
                      </a:moveTo>
                      <a:lnTo>
                        <a:pt x="8" y="164"/>
                      </a:lnTo>
                      <a:lnTo>
                        <a:pt x="53" y="189"/>
                      </a:lnTo>
                      <a:lnTo>
                        <a:pt x="74" y="240"/>
                      </a:lnTo>
                      <a:lnTo>
                        <a:pt x="89" y="247"/>
                      </a:lnTo>
                      <a:lnTo>
                        <a:pt x="117" y="211"/>
                      </a:lnTo>
                      <a:lnTo>
                        <a:pt x="134" y="219"/>
                      </a:lnTo>
                      <a:lnTo>
                        <a:pt x="138" y="204"/>
                      </a:lnTo>
                      <a:lnTo>
                        <a:pt x="166" y="202"/>
                      </a:lnTo>
                      <a:lnTo>
                        <a:pt x="176" y="247"/>
                      </a:lnTo>
                      <a:lnTo>
                        <a:pt x="230" y="268"/>
                      </a:lnTo>
                      <a:lnTo>
                        <a:pt x="298" y="268"/>
                      </a:lnTo>
                      <a:lnTo>
                        <a:pt x="302" y="289"/>
                      </a:lnTo>
                      <a:lnTo>
                        <a:pt x="334" y="283"/>
                      </a:lnTo>
                      <a:lnTo>
                        <a:pt x="359" y="317"/>
                      </a:lnTo>
                      <a:lnTo>
                        <a:pt x="361" y="315"/>
                      </a:lnTo>
                      <a:lnTo>
                        <a:pt x="393" y="296"/>
                      </a:lnTo>
                      <a:lnTo>
                        <a:pt x="380" y="211"/>
                      </a:lnTo>
                      <a:lnTo>
                        <a:pt x="412" y="192"/>
                      </a:lnTo>
                      <a:lnTo>
                        <a:pt x="438" y="175"/>
                      </a:lnTo>
                      <a:lnTo>
                        <a:pt x="438" y="130"/>
                      </a:lnTo>
                      <a:lnTo>
                        <a:pt x="372" y="96"/>
                      </a:lnTo>
                      <a:lnTo>
                        <a:pt x="342" y="21"/>
                      </a:lnTo>
                      <a:lnTo>
                        <a:pt x="344" y="19"/>
                      </a:lnTo>
                      <a:lnTo>
                        <a:pt x="300" y="55"/>
                      </a:lnTo>
                      <a:lnTo>
                        <a:pt x="283" y="30"/>
                      </a:lnTo>
                      <a:lnTo>
                        <a:pt x="236" y="45"/>
                      </a:lnTo>
                      <a:lnTo>
                        <a:pt x="191" y="0"/>
                      </a:lnTo>
                      <a:lnTo>
                        <a:pt x="164" y="2"/>
                      </a:lnTo>
                      <a:lnTo>
                        <a:pt x="147" y="26"/>
                      </a:lnTo>
                      <a:lnTo>
                        <a:pt x="110" y="21"/>
                      </a:lnTo>
                      <a:lnTo>
                        <a:pt x="79" y="49"/>
                      </a:lnTo>
                      <a:lnTo>
                        <a:pt x="89" y="90"/>
                      </a:lnTo>
                      <a:lnTo>
                        <a:pt x="25" y="102"/>
                      </a:lnTo>
                      <a:lnTo>
                        <a:pt x="0" y="136"/>
                      </a:lnTo>
                      <a:lnTo>
                        <a:pt x="4" y="138"/>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grpSp>
        </p:grpSp>
        <p:grpSp>
          <p:nvGrpSpPr>
            <p:cNvPr id="167" name="Auvergne Rhône Alpes (N° Départements)">
              <a:extLst>
                <a:ext uri="{FF2B5EF4-FFF2-40B4-BE49-F238E27FC236}">
                  <a16:creationId xmlns:a16="http://schemas.microsoft.com/office/drawing/2014/main" id="{9DCF0445-8C85-47B5-9700-50FB3AF6AF33}"/>
                </a:ext>
              </a:extLst>
            </p:cNvPr>
            <p:cNvGrpSpPr/>
            <p:nvPr/>
          </p:nvGrpSpPr>
          <p:grpSpPr>
            <a:xfrm>
              <a:off x="7281986" y="3719999"/>
              <a:ext cx="1582665" cy="1024367"/>
              <a:chOff x="6528530" y="3889384"/>
              <a:chExt cx="1582665" cy="1024367"/>
            </a:xfrm>
          </p:grpSpPr>
          <p:grpSp>
            <p:nvGrpSpPr>
              <p:cNvPr id="228" name="Rhône Alpes (N° Départements)">
                <a:extLst>
                  <a:ext uri="{FF2B5EF4-FFF2-40B4-BE49-F238E27FC236}">
                    <a16:creationId xmlns:a16="http://schemas.microsoft.com/office/drawing/2014/main" id="{0B800737-87E0-4DA8-A9F3-E0946D194332}"/>
                  </a:ext>
                </a:extLst>
              </p:cNvPr>
              <p:cNvGrpSpPr/>
              <p:nvPr/>
            </p:nvGrpSpPr>
            <p:grpSpPr>
              <a:xfrm>
                <a:off x="7021417" y="4027630"/>
                <a:ext cx="1089778" cy="886121"/>
                <a:chOff x="7021417" y="4027630"/>
                <a:chExt cx="1089778" cy="886121"/>
              </a:xfrm>
            </p:grpSpPr>
            <p:sp>
              <p:nvSpPr>
                <p:cNvPr id="234" name="26">
                  <a:extLst>
                    <a:ext uri="{FF2B5EF4-FFF2-40B4-BE49-F238E27FC236}">
                      <a16:creationId xmlns:a16="http://schemas.microsoft.com/office/drawing/2014/main" id="{F60DA4D3-71E8-4F5E-A0D9-CFFDC32DA3BA}"/>
                    </a:ext>
                  </a:extLst>
                </p:cNvPr>
                <p:cNvSpPr txBox="1"/>
                <p:nvPr/>
              </p:nvSpPr>
              <p:spPr>
                <a:xfrm>
                  <a:off x="7433405" y="4747582"/>
                  <a:ext cx="184830" cy="166169"/>
                </a:xfrm>
                <a:prstGeom prst="rect">
                  <a:avLst/>
                </a:prstGeom>
                <a:noFill/>
              </p:spPr>
              <p:txBody>
                <a:bodyPr wrap="none" lIns="0" tIns="0" rIns="0" bIns="0" rtlCol="0">
                  <a:noAutofit/>
                </a:bodyPr>
                <a:lstStyle/>
                <a:p>
                  <a:r>
                    <a:rPr lang="fr-FR" sz="800">
                      <a:solidFill>
                        <a:srgbClr val="FFFFFF"/>
                      </a:solidFill>
                      <a:latin typeface="Tahoma"/>
                    </a:rPr>
                    <a:t>26</a:t>
                  </a:r>
                </a:p>
              </p:txBody>
            </p:sp>
            <p:sp>
              <p:nvSpPr>
                <p:cNvPr id="235" name="17">
                  <a:extLst>
                    <a:ext uri="{FF2B5EF4-FFF2-40B4-BE49-F238E27FC236}">
                      <a16:creationId xmlns:a16="http://schemas.microsoft.com/office/drawing/2014/main" id="{5AACD402-F79B-471A-ACD1-CE75F5104687}"/>
                    </a:ext>
                  </a:extLst>
                </p:cNvPr>
                <p:cNvSpPr txBox="1"/>
                <p:nvPr/>
              </p:nvSpPr>
              <p:spPr>
                <a:xfrm>
                  <a:off x="7147901" y="4734601"/>
                  <a:ext cx="184830" cy="166169"/>
                </a:xfrm>
                <a:prstGeom prst="rect">
                  <a:avLst/>
                </a:prstGeom>
                <a:noFill/>
              </p:spPr>
              <p:txBody>
                <a:bodyPr wrap="none" lIns="0" tIns="0" rIns="0" bIns="0" rtlCol="0">
                  <a:noAutofit/>
                </a:bodyPr>
                <a:lstStyle/>
                <a:p>
                  <a:r>
                    <a:rPr lang="fr-FR" sz="800">
                      <a:solidFill>
                        <a:srgbClr val="FFFFFF"/>
                      </a:solidFill>
                      <a:latin typeface="Tahoma"/>
                    </a:rPr>
                    <a:t>07</a:t>
                  </a:r>
                </a:p>
              </p:txBody>
            </p:sp>
            <p:sp>
              <p:nvSpPr>
                <p:cNvPr id="236" name="38">
                  <a:extLst>
                    <a:ext uri="{FF2B5EF4-FFF2-40B4-BE49-F238E27FC236}">
                      <a16:creationId xmlns:a16="http://schemas.microsoft.com/office/drawing/2014/main" id="{69441329-B8C7-4104-B495-4575925A7EDF}"/>
                    </a:ext>
                  </a:extLst>
                </p:cNvPr>
                <p:cNvSpPr txBox="1"/>
                <p:nvPr/>
              </p:nvSpPr>
              <p:spPr>
                <a:xfrm>
                  <a:off x="7623039" y="4455518"/>
                  <a:ext cx="184830" cy="166169"/>
                </a:xfrm>
                <a:prstGeom prst="rect">
                  <a:avLst/>
                </a:prstGeom>
                <a:noFill/>
              </p:spPr>
              <p:txBody>
                <a:bodyPr wrap="none" lIns="0" tIns="0" rIns="0" bIns="0" rtlCol="0">
                  <a:noAutofit/>
                </a:bodyPr>
                <a:lstStyle/>
                <a:p>
                  <a:r>
                    <a:rPr lang="fr-FR" sz="800">
                      <a:solidFill>
                        <a:srgbClr val="FFFFFF"/>
                      </a:solidFill>
                      <a:latin typeface="Tahoma"/>
                    </a:rPr>
                    <a:t>38</a:t>
                  </a:r>
                </a:p>
              </p:txBody>
            </p:sp>
            <p:sp>
              <p:nvSpPr>
                <p:cNvPr id="237" name="73">
                  <a:extLst>
                    <a:ext uri="{FF2B5EF4-FFF2-40B4-BE49-F238E27FC236}">
                      <a16:creationId xmlns:a16="http://schemas.microsoft.com/office/drawing/2014/main" id="{3E27A0F1-B73D-4508-8EF7-E0E56C80108F}"/>
                    </a:ext>
                  </a:extLst>
                </p:cNvPr>
                <p:cNvSpPr txBox="1"/>
                <p:nvPr/>
              </p:nvSpPr>
              <p:spPr>
                <a:xfrm>
                  <a:off x="7926365" y="4349565"/>
                  <a:ext cx="184830" cy="166169"/>
                </a:xfrm>
                <a:prstGeom prst="rect">
                  <a:avLst/>
                </a:prstGeom>
                <a:noFill/>
              </p:spPr>
              <p:txBody>
                <a:bodyPr wrap="none" lIns="0" tIns="0" rIns="0" bIns="0" rtlCol="0">
                  <a:noAutofit/>
                </a:bodyPr>
                <a:lstStyle/>
                <a:p>
                  <a:r>
                    <a:rPr lang="fr-FR" sz="800">
                      <a:solidFill>
                        <a:srgbClr val="503078"/>
                      </a:solidFill>
                      <a:latin typeface="Tahoma"/>
                    </a:rPr>
                    <a:t>73</a:t>
                  </a:r>
                </a:p>
              </p:txBody>
            </p:sp>
            <p:sp>
              <p:nvSpPr>
                <p:cNvPr id="238" name="74">
                  <a:extLst>
                    <a:ext uri="{FF2B5EF4-FFF2-40B4-BE49-F238E27FC236}">
                      <a16:creationId xmlns:a16="http://schemas.microsoft.com/office/drawing/2014/main" id="{C06CE9FC-DA88-4314-9568-697DEFD9C6C3}"/>
                    </a:ext>
                  </a:extLst>
                </p:cNvPr>
                <p:cNvSpPr txBox="1"/>
                <p:nvPr/>
              </p:nvSpPr>
              <p:spPr>
                <a:xfrm>
                  <a:off x="7882529" y="4037654"/>
                  <a:ext cx="184830" cy="166169"/>
                </a:xfrm>
                <a:prstGeom prst="rect">
                  <a:avLst/>
                </a:prstGeom>
                <a:noFill/>
              </p:spPr>
              <p:txBody>
                <a:bodyPr wrap="none" lIns="0" tIns="0" rIns="0" bIns="0" rtlCol="0">
                  <a:noAutofit/>
                </a:bodyPr>
                <a:lstStyle/>
                <a:p>
                  <a:r>
                    <a:rPr lang="fr-FR" sz="800">
                      <a:solidFill>
                        <a:srgbClr val="503078"/>
                      </a:solidFill>
                      <a:latin typeface="Tahoma"/>
                    </a:rPr>
                    <a:t>74</a:t>
                  </a:r>
                </a:p>
              </p:txBody>
            </p:sp>
            <p:sp>
              <p:nvSpPr>
                <p:cNvPr id="239" name="01">
                  <a:extLst>
                    <a:ext uri="{FF2B5EF4-FFF2-40B4-BE49-F238E27FC236}">
                      <a16:creationId xmlns:a16="http://schemas.microsoft.com/office/drawing/2014/main" id="{7C8C29FF-502A-492F-83BB-F21C3455D4F1}"/>
                    </a:ext>
                  </a:extLst>
                </p:cNvPr>
                <p:cNvSpPr txBox="1"/>
                <p:nvPr/>
              </p:nvSpPr>
              <p:spPr>
                <a:xfrm>
                  <a:off x="7487843" y="4027630"/>
                  <a:ext cx="184830" cy="166169"/>
                </a:xfrm>
                <a:prstGeom prst="rect">
                  <a:avLst/>
                </a:prstGeom>
                <a:noFill/>
              </p:spPr>
              <p:txBody>
                <a:bodyPr wrap="none" lIns="0" tIns="0" rIns="0" bIns="0" rtlCol="0">
                  <a:noAutofit/>
                </a:bodyPr>
                <a:lstStyle/>
                <a:p>
                  <a:r>
                    <a:rPr lang="fr-FR" sz="800">
                      <a:solidFill>
                        <a:srgbClr val="503078"/>
                      </a:solidFill>
                      <a:latin typeface="Tahoma"/>
                    </a:rPr>
                    <a:t>01</a:t>
                  </a:r>
                </a:p>
              </p:txBody>
            </p:sp>
            <p:sp>
              <p:nvSpPr>
                <p:cNvPr id="240" name="69">
                  <a:extLst>
                    <a:ext uri="{FF2B5EF4-FFF2-40B4-BE49-F238E27FC236}">
                      <a16:creationId xmlns:a16="http://schemas.microsoft.com/office/drawing/2014/main" id="{CABCA37D-74D2-44F1-8047-521737FA6CB7}"/>
                    </a:ext>
                  </a:extLst>
                </p:cNvPr>
                <p:cNvSpPr txBox="1"/>
                <p:nvPr/>
              </p:nvSpPr>
              <p:spPr>
                <a:xfrm>
                  <a:off x="7262229" y="4188795"/>
                  <a:ext cx="184830" cy="166169"/>
                </a:xfrm>
                <a:prstGeom prst="rect">
                  <a:avLst/>
                </a:prstGeom>
                <a:noFill/>
              </p:spPr>
              <p:txBody>
                <a:bodyPr wrap="none" lIns="0" tIns="0" rIns="0" bIns="0" rtlCol="0">
                  <a:noAutofit/>
                </a:bodyPr>
                <a:lstStyle/>
                <a:p>
                  <a:r>
                    <a:rPr lang="fr-FR" sz="800">
                      <a:solidFill>
                        <a:srgbClr val="503078"/>
                      </a:solidFill>
                      <a:latin typeface="Tahoma"/>
                    </a:rPr>
                    <a:t>69</a:t>
                  </a:r>
                </a:p>
              </p:txBody>
            </p:sp>
            <p:sp>
              <p:nvSpPr>
                <p:cNvPr id="241" name="42">
                  <a:extLst>
                    <a:ext uri="{FF2B5EF4-FFF2-40B4-BE49-F238E27FC236}">
                      <a16:creationId xmlns:a16="http://schemas.microsoft.com/office/drawing/2014/main" id="{21CC872D-ABAC-4E92-B537-7CBD7FE7040B}"/>
                    </a:ext>
                  </a:extLst>
                </p:cNvPr>
                <p:cNvSpPr txBox="1"/>
                <p:nvPr/>
              </p:nvSpPr>
              <p:spPr>
                <a:xfrm>
                  <a:off x="7021417" y="4178807"/>
                  <a:ext cx="184830" cy="166169"/>
                </a:xfrm>
                <a:prstGeom prst="rect">
                  <a:avLst/>
                </a:prstGeom>
                <a:noFill/>
              </p:spPr>
              <p:txBody>
                <a:bodyPr wrap="none" lIns="0" tIns="0" rIns="0" bIns="0" rtlCol="0">
                  <a:noAutofit/>
                </a:bodyPr>
                <a:lstStyle/>
                <a:p>
                  <a:r>
                    <a:rPr lang="fr-FR" sz="800">
                      <a:solidFill>
                        <a:srgbClr val="FFFFFF"/>
                      </a:solidFill>
                      <a:latin typeface="Tahoma"/>
                    </a:rPr>
                    <a:t>42</a:t>
                  </a:r>
                </a:p>
              </p:txBody>
            </p:sp>
          </p:grpSp>
          <p:grpSp>
            <p:nvGrpSpPr>
              <p:cNvPr id="229" name="Auvergne (N° Départements)">
                <a:extLst>
                  <a:ext uri="{FF2B5EF4-FFF2-40B4-BE49-F238E27FC236}">
                    <a16:creationId xmlns:a16="http://schemas.microsoft.com/office/drawing/2014/main" id="{71A477CE-07FC-4971-98BD-C40161149087}"/>
                  </a:ext>
                </a:extLst>
              </p:cNvPr>
              <p:cNvGrpSpPr/>
              <p:nvPr/>
            </p:nvGrpSpPr>
            <p:grpSpPr>
              <a:xfrm>
                <a:off x="6528530" y="3889384"/>
                <a:ext cx="571119" cy="833739"/>
                <a:chOff x="6528530" y="3889384"/>
                <a:chExt cx="571119" cy="833739"/>
              </a:xfrm>
            </p:grpSpPr>
            <p:sp>
              <p:nvSpPr>
                <p:cNvPr id="230" name="43">
                  <a:extLst>
                    <a:ext uri="{FF2B5EF4-FFF2-40B4-BE49-F238E27FC236}">
                      <a16:creationId xmlns:a16="http://schemas.microsoft.com/office/drawing/2014/main" id="{1A83313E-8227-411A-A459-C7FCD73E77FE}"/>
                    </a:ext>
                  </a:extLst>
                </p:cNvPr>
                <p:cNvSpPr txBox="1"/>
                <p:nvPr/>
              </p:nvSpPr>
              <p:spPr>
                <a:xfrm>
                  <a:off x="6914819" y="4556954"/>
                  <a:ext cx="184830" cy="166169"/>
                </a:xfrm>
                <a:prstGeom prst="rect">
                  <a:avLst/>
                </a:prstGeom>
                <a:noFill/>
              </p:spPr>
              <p:txBody>
                <a:bodyPr wrap="none" lIns="0" tIns="0" rIns="0" bIns="0" rtlCol="0">
                  <a:noAutofit/>
                </a:bodyPr>
                <a:lstStyle/>
                <a:p>
                  <a:r>
                    <a:rPr lang="fr-FR" sz="800">
                      <a:solidFill>
                        <a:srgbClr val="FFFFFF"/>
                      </a:solidFill>
                      <a:latin typeface="Tahoma"/>
                    </a:rPr>
                    <a:t>43</a:t>
                  </a:r>
                </a:p>
              </p:txBody>
            </p:sp>
            <p:sp>
              <p:nvSpPr>
                <p:cNvPr id="231" name="63">
                  <a:extLst>
                    <a:ext uri="{FF2B5EF4-FFF2-40B4-BE49-F238E27FC236}">
                      <a16:creationId xmlns:a16="http://schemas.microsoft.com/office/drawing/2014/main" id="{38F1511B-9937-495F-BCA9-8C65A7AB3109}"/>
                    </a:ext>
                  </a:extLst>
                </p:cNvPr>
                <p:cNvSpPr txBox="1"/>
                <p:nvPr/>
              </p:nvSpPr>
              <p:spPr>
                <a:xfrm>
                  <a:off x="6679955" y="4231765"/>
                  <a:ext cx="184830" cy="166169"/>
                </a:xfrm>
                <a:prstGeom prst="rect">
                  <a:avLst/>
                </a:prstGeom>
                <a:noFill/>
              </p:spPr>
              <p:txBody>
                <a:bodyPr wrap="none" lIns="0" tIns="0" rIns="0" bIns="0" rtlCol="0">
                  <a:noAutofit/>
                </a:bodyPr>
                <a:lstStyle/>
                <a:p>
                  <a:r>
                    <a:rPr lang="fr-FR" sz="800">
                      <a:solidFill>
                        <a:srgbClr val="503078"/>
                      </a:solidFill>
                      <a:latin typeface="Tahoma"/>
                    </a:rPr>
                    <a:t>63</a:t>
                  </a:r>
                </a:p>
              </p:txBody>
            </p:sp>
            <p:sp>
              <p:nvSpPr>
                <p:cNvPr id="232" name="15">
                  <a:extLst>
                    <a:ext uri="{FF2B5EF4-FFF2-40B4-BE49-F238E27FC236}">
                      <a16:creationId xmlns:a16="http://schemas.microsoft.com/office/drawing/2014/main" id="{D59AAFE5-8D4A-46DD-A5AA-1D77225FD243}"/>
                    </a:ext>
                  </a:extLst>
                </p:cNvPr>
                <p:cNvSpPr txBox="1"/>
                <p:nvPr/>
              </p:nvSpPr>
              <p:spPr>
                <a:xfrm>
                  <a:off x="6528530" y="4546517"/>
                  <a:ext cx="184830" cy="166169"/>
                </a:xfrm>
                <a:prstGeom prst="rect">
                  <a:avLst/>
                </a:prstGeom>
                <a:noFill/>
              </p:spPr>
              <p:txBody>
                <a:bodyPr wrap="none" lIns="0" tIns="0" rIns="0" bIns="0" rtlCol="0">
                  <a:noAutofit/>
                </a:bodyPr>
                <a:lstStyle/>
                <a:p>
                  <a:r>
                    <a:rPr lang="fr-FR" sz="800">
                      <a:solidFill>
                        <a:srgbClr val="FFFFFF"/>
                      </a:solidFill>
                      <a:latin typeface="Tahoma"/>
                    </a:rPr>
                    <a:t>15</a:t>
                  </a:r>
                </a:p>
              </p:txBody>
            </p:sp>
            <p:sp>
              <p:nvSpPr>
                <p:cNvPr id="233" name="03">
                  <a:extLst>
                    <a:ext uri="{FF2B5EF4-FFF2-40B4-BE49-F238E27FC236}">
                      <a16:creationId xmlns:a16="http://schemas.microsoft.com/office/drawing/2014/main" id="{98EE8DF1-9895-42D2-995F-37B7595604DC}"/>
                    </a:ext>
                  </a:extLst>
                </p:cNvPr>
                <p:cNvSpPr txBox="1"/>
                <p:nvPr/>
              </p:nvSpPr>
              <p:spPr>
                <a:xfrm>
                  <a:off x="6699947" y="3889384"/>
                  <a:ext cx="184830" cy="166169"/>
                </a:xfrm>
                <a:prstGeom prst="rect">
                  <a:avLst/>
                </a:prstGeom>
                <a:noFill/>
              </p:spPr>
              <p:txBody>
                <a:bodyPr wrap="none" lIns="0" tIns="0" rIns="0" bIns="0" rtlCol="0">
                  <a:noAutofit/>
                </a:bodyPr>
                <a:lstStyle/>
                <a:p>
                  <a:r>
                    <a:rPr lang="fr-FR" sz="800">
                      <a:solidFill>
                        <a:srgbClr val="FFFFFF"/>
                      </a:solidFill>
                      <a:latin typeface="Tahoma"/>
                    </a:rPr>
                    <a:t>03</a:t>
                  </a:r>
                </a:p>
              </p:txBody>
            </p:sp>
          </p:grpSp>
        </p:grpSp>
        <p:grpSp>
          <p:nvGrpSpPr>
            <p:cNvPr id="168" name="Aquitaine Limousin Poitou-Charentes (Formes)">
              <a:extLst>
                <a:ext uri="{FF2B5EF4-FFF2-40B4-BE49-F238E27FC236}">
                  <a16:creationId xmlns:a16="http://schemas.microsoft.com/office/drawing/2014/main" id="{1BE4E293-890D-420C-9874-585B14DFBD5A}"/>
                </a:ext>
              </a:extLst>
            </p:cNvPr>
            <p:cNvGrpSpPr/>
            <p:nvPr/>
          </p:nvGrpSpPr>
          <p:grpSpPr>
            <a:xfrm>
              <a:off x="5647669" y="3357555"/>
              <a:ext cx="1690426" cy="2282077"/>
              <a:chOff x="4894213" y="3526940"/>
              <a:chExt cx="1690426" cy="2282077"/>
            </a:xfrm>
            <a:solidFill>
              <a:srgbClr val="CAC5B8"/>
            </a:solidFill>
          </p:grpSpPr>
          <p:grpSp>
            <p:nvGrpSpPr>
              <p:cNvPr id="213" name="Poitou Charentes (Formes)">
                <a:extLst>
                  <a:ext uri="{FF2B5EF4-FFF2-40B4-BE49-F238E27FC236}">
                    <a16:creationId xmlns:a16="http://schemas.microsoft.com/office/drawing/2014/main" id="{2F763418-BF06-40AB-B71A-E123D84DDD54}"/>
                  </a:ext>
                </a:extLst>
              </p:cNvPr>
              <p:cNvGrpSpPr/>
              <p:nvPr/>
            </p:nvGrpSpPr>
            <p:grpSpPr>
              <a:xfrm>
                <a:off x="5172130" y="3526940"/>
                <a:ext cx="909680" cy="1078722"/>
                <a:chOff x="5172130" y="3526940"/>
                <a:chExt cx="909680" cy="1078722"/>
              </a:xfrm>
              <a:grpFill/>
            </p:grpSpPr>
            <p:sp>
              <p:nvSpPr>
                <p:cNvPr id="224" name="86">
                  <a:extLst>
                    <a:ext uri="{FF2B5EF4-FFF2-40B4-BE49-F238E27FC236}">
                      <a16:creationId xmlns:a16="http://schemas.microsoft.com/office/drawing/2014/main" id="{1257072D-1678-4233-8215-F9F91AD1041E}"/>
                    </a:ext>
                  </a:extLst>
                </p:cNvPr>
                <p:cNvSpPr>
                  <a:spLocks/>
                </p:cNvSpPr>
                <p:nvPr/>
              </p:nvSpPr>
              <p:spPr bwMode="gray">
                <a:xfrm>
                  <a:off x="5621956" y="3526940"/>
                  <a:ext cx="459854" cy="591649"/>
                </a:xfrm>
                <a:custGeom>
                  <a:avLst/>
                  <a:gdLst>
                    <a:gd name="T0" fmla="*/ 0 w 321"/>
                    <a:gd name="T1" fmla="*/ 41 h 413"/>
                    <a:gd name="T2" fmla="*/ 15 w 321"/>
                    <a:gd name="T3" fmla="*/ 106 h 413"/>
                    <a:gd name="T4" fmla="*/ 30 w 321"/>
                    <a:gd name="T5" fmla="*/ 115 h 413"/>
                    <a:gd name="T6" fmla="*/ 11 w 321"/>
                    <a:gd name="T7" fmla="*/ 123 h 413"/>
                    <a:gd name="T8" fmla="*/ 30 w 321"/>
                    <a:gd name="T9" fmla="*/ 160 h 413"/>
                    <a:gd name="T10" fmla="*/ 2 w 321"/>
                    <a:gd name="T11" fmla="*/ 194 h 413"/>
                    <a:gd name="T12" fmla="*/ 28 w 321"/>
                    <a:gd name="T13" fmla="*/ 211 h 413"/>
                    <a:gd name="T14" fmla="*/ 7 w 321"/>
                    <a:gd name="T15" fmla="*/ 253 h 413"/>
                    <a:gd name="T16" fmla="*/ 19 w 321"/>
                    <a:gd name="T17" fmla="*/ 306 h 413"/>
                    <a:gd name="T18" fmla="*/ 60 w 321"/>
                    <a:gd name="T19" fmla="*/ 306 h 413"/>
                    <a:gd name="T20" fmla="*/ 41 w 321"/>
                    <a:gd name="T21" fmla="*/ 359 h 413"/>
                    <a:gd name="T22" fmla="*/ 66 w 321"/>
                    <a:gd name="T23" fmla="*/ 370 h 413"/>
                    <a:gd name="T24" fmla="*/ 60 w 321"/>
                    <a:gd name="T25" fmla="*/ 393 h 413"/>
                    <a:gd name="T26" fmla="*/ 117 w 321"/>
                    <a:gd name="T27" fmla="*/ 413 h 413"/>
                    <a:gd name="T28" fmla="*/ 136 w 321"/>
                    <a:gd name="T29" fmla="*/ 381 h 413"/>
                    <a:gd name="T30" fmla="*/ 162 w 321"/>
                    <a:gd name="T31" fmla="*/ 404 h 413"/>
                    <a:gd name="T32" fmla="*/ 194 w 321"/>
                    <a:gd name="T33" fmla="*/ 383 h 413"/>
                    <a:gd name="T34" fmla="*/ 221 w 321"/>
                    <a:gd name="T35" fmla="*/ 387 h 413"/>
                    <a:gd name="T36" fmla="*/ 219 w 321"/>
                    <a:gd name="T37" fmla="*/ 351 h 413"/>
                    <a:gd name="T38" fmla="*/ 313 w 321"/>
                    <a:gd name="T39" fmla="*/ 296 h 413"/>
                    <a:gd name="T40" fmla="*/ 321 w 321"/>
                    <a:gd name="T41" fmla="*/ 279 h 413"/>
                    <a:gd name="T42" fmla="*/ 306 w 321"/>
                    <a:gd name="T43" fmla="*/ 272 h 413"/>
                    <a:gd name="T44" fmla="*/ 306 w 321"/>
                    <a:gd name="T45" fmla="*/ 251 h 413"/>
                    <a:gd name="T46" fmla="*/ 247 w 321"/>
                    <a:gd name="T47" fmla="*/ 217 h 413"/>
                    <a:gd name="T48" fmla="*/ 240 w 321"/>
                    <a:gd name="T49" fmla="*/ 164 h 413"/>
                    <a:gd name="T50" fmla="*/ 238 w 321"/>
                    <a:gd name="T51" fmla="*/ 160 h 413"/>
                    <a:gd name="T52" fmla="*/ 196 w 321"/>
                    <a:gd name="T53" fmla="*/ 77 h 413"/>
                    <a:gd name="T54" fmla="*/ 166 w 321"/>
                    <a:gd name="T55" fmla="*/ 64 h 413"/>
                    <a:gd name="T56" fmla="*/ 172 w 321"/>
                    <a:gd name="T57" fmla="*/ 81 h 413"/>
                    <a:gd name="T58" fmla="*/ 104 w 321"/>
                    <a:gd name="T59" fmla="*/ 89 h 413"/>
                    <a:gd name="T60" fmla="*/ 100 w 321"/>
                    <a:gd name="T61" fmla="*/ 45 h 413"/>
                    <a:gd name="T62" fmla="*/ 68 w 321"/>
                    <a:gd name="T63" fmla="*/ 41 h 413"/>
                    <a:gd name="T64" fmla="*/ 73 w 321"/>
                    <a:gd name="T65" fmla="*/ 21 h 413"/>
                    <a:gd name="T66" fmla="*/ 41 w 321"/>
                    <a:gd name="T67" fmla="*/ 4 h 413"/>
                    <a:gd name="T68" fmla="*/ 41 w 321"/>
                    <a:gd name="T69" fmla="*/ 0 h 413"/>
                    <a:gd name="T70" fmla="*/ 0 w 321"/>
                    <a:gd name="T71" fmla="*/ 36 h 413"/>
                    <a:gd name="T72" fmla="*/ 0 w 321"/>
                    <a:gd name="T73" fmla="*/ 41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1" h="413">
                      <a:moveTo>
                        <a:pt x="0" y="41"/>
                      </a:moveTo>
                      <a:lnTo>
                        <a:pt x="15" y="106"/>
                      </a:lnTo>
                      <a:lnTo>
                        <a:pt x="30" y="115"/>
                      </a:lnTo>
                      <a:lnTo>
                        <a:pt x="11" y="123"/>
                      </a:lnTo>
                      <a:lnTo>
                        <a:pt x="30" y="160"/>
                      </a:lnTo>
                      <a:lnTo>
                        <a:pt x="2" y="194"/>
                      </a:lnTo>
                      <a:lnTo>
                        <a:pt x="28" y="211"/>
                      </a:lnTo>
                      <a:lnTo>
                        <a:pt x="7" y="253"/>
                      </a:lnTo>
                      <a:lnTo>
                        <a:pt x="19" y="306"/>
                      </a:lnTo>
                      <a:lnTo>
                        <a:pt x="60" y="306"/>
                      </a:lnTo>
                      <a:lnTo>
                        <a:pt x="41" y="359"/>
                      </a:lnTo>
                      <a:lnTo>
                        <a:pt x="66" y="370"/>
                      </a:lnTo>
                      <a:lnTo>
                        <a:pt x="60" y="393"/>
                      </a:lnTo>
                      <a:lnTo>
                        <a:pt x="117" y="413"/>
                      </a:lnTo>
                      <a:lnTo>
                        <a:pt x="136" y="381"/>
                      </a:lnTo>
                      <a:lnTo>
                        <a:pt x="162" y="404"/>
                      </a:lnTo>
                      <a:lnTo>
                        <a:pt x="194" y="383"/>
                      </a:lnTo>
                      <a:lnTo>
                        <a:pt x="221" y="387"/>
                      </a:lnTo>
                      <a:lnTo>
                        <a:pt x="219" y="351"/>
                      </a:lnTo>
                      <a:lnTo>
                        <a:pt x="313" y="296"/>
                      </a:lnTo>
                      <a:lnTo>
                        <a:pt x="321" y="279"/>
                      </a:lnTo>
                      <a:lnTo>
                        <a:pt x="306" y="272"/>
                      </a:lnTo>
                      <a:lnTo>
                        <a:pt x="306" y="251"/>
                      </a:lnTo>
                      <a:lnTo>
                        <a:pt x="247" y="217"/>
                      </a:lnTo>
                      <a:lnTo>
                        <a:pt x="240" y="164"/>
                      </a:lnTo>
                      <a:lnTo>
                        <a:pt x="238" y="160"/>
                      </a:lnTo>
                      <a:lnTo>
                        <a:pt x="196" y="77"/>
                      </a:lnTo>
                      <a:lnTo>
                        <a:pt x="166" y="64"/>
                      </a:lnTo>
                      <a:lnTo>
                        <a:pt x="172" y="81"/>
                      </a:lnTo>
                      <a:lnTo>
                        <a:pt x="104" y="89"/>
                      </a:lnTo>
                      <a:lnTo>
                        <a:pt x="100" y="45"/>
                      </a:lnTo>
                      <a:lnTo>
                        <a:pt x="68" y="41"/>
                      </a:lnTo>
                      <a:lnTo>
                        <a:pt x="73" y="21"/>
                      </a:lnTo>
                      <a:lnTo>
                        <a:pt x="41" y="4"/>
                      </a:lnTo>
                      <a:lnTo>
                        <a:pt x="41" y="0"/>
                      </a:lnTo>
                      <a:lnTo>
                        <a:pt x="0" y="36"/>
                      </a:lnTo>
                      <a:lnTo>
                        <a:pt x="0" y="41"/>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25" name="79">
                  <a:extLst>
                    <a:ext uri="{FF2B5EF4-FFF2-40B4-BE49-F238E27FC236}">
                      <a16:creationId xmlns:a16="http://schemas.microsoft.com/office/drawing/2014/main" id="{385110C3-F5E8-4AF5-B643-084F1B3D375B}"/>
                    </a:ext>
                  </a:extLst>
                </p:cNvPr>
                <p:cNvSpPr>
                  <a:spLocks/>
                </p:cNvSpPr>
                <p:nvPr/>
              </p:nvSpPr>
              <p:spPr bwMode="gray">
                <a:xfrm>
                  <a:off x="5335443" y="3554159"/>
                  <a:ext cx="381062" cy="597380"/>
                </a:xfrm>
                <a:custGeom>
                  <a:avLst/>
                  <a:gdLst>
                    <a:gd name="T0" fmla="*/ 3 w 266"/>
                    <a:gd name="T1" fmla="*/ 39 h 417"/>
                    <a:gd name="T2" fmla="*/ 71 w 266"/>
                    <a:gd name="T3" fmla="*/ 36 h 417"/>
                    <a:gd name="T4" fmla="*/ 100 w 266"/>
                    <a:gd name="T5" fmla="*/ 7 h 417"/>
                    <a:gd name="T6" fmla="*/ 107 w 266"/>
                    <a:gd name="T7" fmla="*/ 17 h 417"/>
                    <a:gd name="T8" fmla="*/ 181 w 266"/>
                    <a:gd name="T9" fmla="*/ 0 h 417"/>
                    <a:gd name="T10" fmla="*/ 200 w 266"/>
                    <a:gd name="T11" fmla="*/ 17 h 417"/>
                    <a:gd name="T12" fmla="*/ 200 w 266"/>
                    <a:gd name="T13" fmla="*/ 22 h 417"/>
                    <a:gd name="T14" fmla="*/ 215 w 266"/>
                    <a:gd name="T15" fmla="*/ 87 h 417"/>
                    <a:gd name="T16" fmla="*/ 230 w 266"/>
                    <a:gd name="T17" fmla="*/ 96 h 417"/>
                    <a:gd name="T18" fmla="*/ 211 w 266"/>
                    <a:gd name="T19" fmla="*/ 104 h 417"/>
                    <a:gd name="T20" fmla="*/ 230 w 266"/>
                    <a:gd name="T21" fmla="*/ 141 h 417"/>
                    <a:gd name="T22" fmla="*/ 202 w 266"/>
                    <a:gd name="T23" fmla="*/ 175 h 417"/>
                    <a:gd name="T24" fmla="*/ 228 w 266"/>
                    <a:gd name="T25" fmla="*/ 192 h 417"/>
                    <a:gd name="T26" fmla="*/ 207 w 266"/>
                    <a:gd name="T27" fmla="*/ 234 h 417"/>
                    <a:gd name="T28" fmla="*/ 219 w 266"/>
                    <a:gd name="T29" fmla="*/ 287 h 417"/>
                    <a:gd name="T30" fmla="*/ 260 w 266"/>
                    <a:gd name="T31" fmla="*/ 287 h 417"/>
                    <a:gd name="T32" fmla="*/ 241 w 266"/>
                    <a:gd name="T33" fmla="*/ 340 h 417"/>
                    <a:gd name="T34" fmla="*/ 266 w 266"/>
                    <a:gd name="T35" fmla="*/ 351 h 417"/>
                    <a:gd name="T36" fmla="*/ 260 w 266"/>
                    <a:gd name="T37" fmla="*/ 374 h 417"/>
                    <a:gd name="T38" fmla="*/ 200 w 266"/>
                    <a:gd name="T39" fmla="*/ 387 h 417"/>
                    <a:gd name="T40" fmla="*/ 181 w 266"/>
                    <a:gd name="T41" fmla="*/ 417 h 417"/>
                    <a:gd name="T42" fmla="*/ 137 w 266"/>
                    <a:gd name="T43" fmla="*/ 372 h 417"/>
                    <a:gd name="T44" fmla="*/ 51 w 266"/>
                    <a:gd name="T45" fmla="*/ 349 h 417"/>
                    <a:gd name="T46" fmla="*/ 24 w 266"/>
                    <a:gd name="T47" fmla="*/ 287 h 417"/>
                    <a:gd name="T48" fmla="*/ 79 w 266"/>
                    <a:gd name="T49" fmla="*/ 260 h 417"/>
                    <a:gd name="T50" fmla="*/ 56 w 266"/>
                    <a:gd name="T51" fmla="*/ 253 h 417"/>
                    <a:gd name="T52" fmla="*/ 66 w 266"/>
                    <a:gd name="T53" fmla="*/ 202 h 417"/>
                    <a:gd name="T54" fmla="*/ 47 w 266"/>
                    <a:gd name="T55" fmla="*/ 102 h 417"/>
                    <a:gd name="T56" fmla="*/ 0 w 266"/>
                    <a:gd name="T57" fmla="*/ 41 h 417"/>
                    <a:gd name="T58" fmla="*/ 3 w 266"/>
                    <a:gd name="T59" fmla="*/ 3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417">
                      <a:moveTo>
                        <a:pt x="3" y="39"/>
                      </a:moveTo>
                      <a:lnTo>
                        <a:pt x="71" y="36"/>
                      </a:lnTo>
                      <a:lnTo>
                        <a:pt x="100" y="7"/>
                      </a:lnTo>
                      <a:lnTo>
                        <a:pt x="107" y="17"/>
                      </a:lnTo>
                      <a:lnTo>
                        <a:pt x="181" y="0"/>
                      </a:lnTo>
                      <a:lnTo>
                        <a:pt x="200" y="17"/>
                      </a:lnTo>
                      <a:lnTo>
                        <a:pt x="200" y="22"/>
                      </a:lnTo>
                      <a:lnTo>
                        <a:pt x="215" y="87"/>
                      </a:lnTo>
                      <a:lnTo>
                        <a:pt x="230" y="96"/>
                      </a:lnTo>
                      <a:lnTo>
                        <a:pt x="211" y="104"/>
                      </a:lnTo>
                      <a:lnTo>
                        <a:pt x="230" y="141"/>
                      </a:lnTo>
                      <a:lnTo>
                        <a:pt x="202" y="175"/>
                      </a:lnTo>
                      <a:lnTo>
                        <a:pt x="228" y="192"/>
                      </a:lnTo>
                      <a:lnTo>
                        <a:pt x="207" y="234"/>
                      </a:lnTo>
                      <a:lnTo>
                        <a:pt x="219" y="287"/>
                      </a:lnTo>
                      <a:lnTo>
                        <a:pt x="260" y="287"/>
                      </a:lnTo>
                      <a:lnTo>
                        <a:pt x="241" y="340"/>
                      </a:lnTo>
                      <a:lnTo>
                        <a:pt x="266" y="351"/>
                      </a:lnTo>
                      <a:lnTo>
                        <a:pt x="260" y="374"/>
                      </a:lnTo>
                      <a:lnTo>
                        <a:pt x="200" y="387"/>
                      </a:lnTo>
                      <a:lnTo>
                        <a:pt x="181" y="417"/>
                      </a:lnTo>
                      <a:lnTo>
                        <a:pt x="137" y="372"/>
                      </a:lnTo>
                      <a:lnTo>
                        <a:pt x="51" y="349"/>
                      </a:lnTo>
                      <a:lnTo>
                        <a:pt x="24" y="287"/>
                      </a:lnTo>
                      <a:lnTo>
                        <a:pt x="79" y="260"/>
                      </a:lnTo>
                      <a:lnTo>
                        <a:pt x="56" y="253"/>
                      </a:lnTo>
                      <a:lnTo>
                        <a:pt x="66" y="202"/>
                      </a:lnTo>
                      <a:lnTo>
                        <a:pt x="47" y="102"/>
                      </a:lnTo>
                      <a:lnTo>
                        <a:pt x="0" y="41"/>
                      </a:lnTo>
                      <a:lnTo>
                        <a:pt x="3" y="39"/>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26" name="16">
                  <a:extLst>
                    <a:ext uri="{FF2B5EF4-FFF2-40B4-BE49-F238E27FC236}">
                      <a16:creationId xmlns:a16="http://schemas.microsoft.com/office/drawing/2014/main" id="{A4585505-571B-4E30-B81E-1FE4764264AD}"/>
                    </a:ext>
                  </a:extLst>
                </p:cNvPr>
                <p:cNvSpPr>
                  <a:spLocks/>
                </p:cNvSpPr>
                <p:nvPr/>
              </p:nvSpPr>
              <p:spPr bwMode="gray">
                <a:xfrm>
                  <a:off x="5461509" y="4072747"/>
                  <a:ext cx="517156" cy="484207"/>
                </a:xfrm>
                <a:custGeom>
                  <a:avLst/>
                  <a:gdLst>
                    <a:gd name="T0" fmla="*/ 0 w 361"/>
                    <a:gd name="T1" fmla="*/ 136 h 338"/>
                    <a:gd name="T2" fmla="*/ 19 w 361"/>
                    <a:gd name="T3" fmla="*/ 168 h 338"/>
                    <a:gd name="T4" fmla="*/ 6 w 361"/>
                    <a:gd name="T5" fmla="*/ 178 h 338"/>
                    <a:gd name="T6" fmla="*/ 51 w 361"/>
                    <a:gd name="T7" fmla="*/ 227 h 338"/>
                    <a:gd name="T8" fmla="*/ 38 w 361"/>
                    <a:gd name="T9" fmla="*/ 295 h 338"/>
                    <a:gd name="T10" fmla="*/ 78 w 361"/>
                    <a:gd name="T11" fmla="*/ 302 h 338"/>
                    <a:gd name="T12" fmla="*/ 78 w 361"/>
                    <a:gd name="T13" fmla="*/ 321 h 338"/>
                    <a:gd name="T14" fmla="*/ 110 w 361"/>
                    <a:gd name="T15" fmla="*/ 338 h 338"/>
                    <a:gd name="T16" fmla="*/ 144 w 361"/>
                    <a:gd name="T17" fmla="*/ 336 h 338"/>
                    <a:gd name="T18" fmla="*/ 180 w 361"/>
                    <a:gd name="T19" fmla="*/ 304 h 338"/>
                    <a:gd name="T20" fmla="*/ 180 w 361"/>
                    <a:gd name="T21" fmla="*/ 259 h 338"/>
                    <a:gd name="T22" fmla="*/ 225 w 361"/>
                    <a:gd name="T23" fmla="*/ 238 h 338"/>
                    <a:gd name="T24" fmla="*/ 248 w 361"/>
                    <a:gd name="T25" fmla="*/ 183 h 338"/>
                    <a:gd name="T26" fmla="*/ 278 w 361"/>
                    <a:gd name="T27" fmla="*/ 157 h 338"/>
                    <a:gd name="T28" fmla="*/ 284 w 361"/>
                    <a:gd name="T29" fmla="*/ 153 h 338"/>
                    <a:gd name="T30" fmla="*/ 301 w 361"/>
                    <a:gd name="T31" fmla="*/ 123 h 338"/>
                    <a:gd name="T32" fmla="*/ 318 w 361"/>
                    <a:gd name="T33" fmla="*/ 127 h 338"/>
                    <a:gd name="T34" fmla="*/ 327 w 361"/>
                    <a:gd name="T35" fmla="*/ 78 h 338"/>
                    <a:gd name="T36" fmla="*/ 361 w 361"/>
                    <a:gd name="T37" fmla="*/ 63 h 338"/>
                    <a:gd name="T38" fmla="*/ 329 w 361"/>
                    <a:gd name="T39" fmla="*/ 34 h 338"/>
                    <a:gd name="T40" fmla="*/ 333 w 361"/>
                    <a:gd name="T41" fmla="*/ 6 h 338"/>
                    <a:gd name="T42" fmla="*/ 306 w 361"/>
                    <a:gd name="T43" fmla="*/ 2 h 338"/>
                    <a:gd name="T44" fmla="*/ 274 w 361"/>
                    <a:gd name="T45" fmla="*/ 23 h 338"/>
                    <a:gd name="T46" fmla="*/ 248 w 361"/>
                    <a:gd name="T47" fmla="*/ 0 h 338"/>
                    <a:gd name="T48" fmla="*/ 229 w 361"/>
                    <a:gd name="T49" fmla="*/ 32 h 338"/>
                    <a:gd name="T50" fmla="*/ 172 w 361"/>
                    <a:gd name="T51" fmla="*/ 12 h 338"/>
                    <a:gd name="T52" fmla="*/ 112 w 361"/>
                    <a:gd name="T53" fmla="*/ 25 h 338"/>
                    <a:gd name="T54" fmla="*/ 93 w 361"/>
                    <a:gd name="T55" fmla="*/ 55 h 338"/>
                    <a:gd name="T56" fmla="*/ 78 w 361"/>
                    <a:gd name="T57" fmla="*/ 125 h 338"/>
                    <a:gd name="T58" fmla="*/ 49 w 361"/>
                    <a:gd name="T59" fmla="*/ 112 h 338"/>
                    <a:gd name="T60" fmla="*/ 0 w 361"/>
                    <a:gd name="T61" fmla="*/ 129 h 338"/>
                    <a:gd name="T62" fmla="*/ 0 w 361"/>
                    <a:gd name="T63" fmla="*/ 13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1" h="338">
                      <a:moveTo>
                        <a:pt x="0" y="136"/>
                      </a:moveTo>
                      <a:lnTo>
                        <a:pt x="19" y="168"/>
                      </a:lnTo>
                      <a:lnTo>
                        <a:pt x="6" y="178"/>
                      </a:lnTo>
                      <a:lnTo>
                        <a:pt x="51" y="227"/>
                      </a:lnTo>
                      <a:lnTo>
                        <a:pt x="38" y="295"/>
                      </a:lnTo>
                      <a:lnTo>
                        <a:pt x="78" y="302"/>
                      </a:lnTo>
                      <a:lnTo>
                        <a:pt x="78" y="321"/>
                      </a:lnTo>
                      <a:lnTo>
                        <a:pt x="110" y="338"/>
                      </a:lnTo>
                      <a:lnTo>
                        <a:pt x="144" y="336"/>
                      </a:lnTo>
                      <a:lnTo>
                        <a:pt x="180" y="304"/>
                      </a:lnTo>
                      <a:lnTo>
                        <a:pt x="180" y="259"/>
                      </a:lnTo>
                      <a:lnTo>
                        <a:pt x="225" y="238"/>
                      </a:lnTo>
                      <a:lnTo>
                        <a:pt x="248" y="183"/>
                      </a:lnTo>
                      <a:lnTo>
                        <a:pt x="278" y="157"/>
                      </a:lnTo>
                      <a:lnTo>
                        <a:pt x="284" y="153"/>
                      </a:lnTo>
                      <a:lnTo>
                        <a:pt x="301" y="123"/>
                      </a:lnTo>
                      <a:lnTo>
                        <a:pt x="318" y="127"/>
                      </a:lnTo>
                      <a:lnTo>
                        <a:pt x="327" y="78"/>
                      </a:lnTo>
                      <a:lnTo>
                        <a:pt x="361" y="63"/>
                      </a:lnTo>
                      <a:lnTo>
                        <a:pt x="329" y="34"/>
                      </a:lnTo>
                      <a:lnTo>
                        <a:pt x="333" y="6"/>
                      </a:lnTo>
                      <a:lnTo>
                        <a:pt x="306" y="2"/>
                      </a:lnTo>
                      <a:lnTo>
                        <a:pt x="274" y="23"/>
                      </a:lnTo>
                      <a:lnTo>
                        <a:pt x="248" y="0"/>
                      </a:lnTo>
                      <a:lnTo>
                        <a:pt x="229" y="32"/>
                      </a:lnTo>
                      <a:lnTo>
                        <a:pt x="172" y="12"/>
                      </a:lnTo>
                      <a:lnTo>
                        <a:pt x="112" y="25"/>
                      </a:lnTo>
                      <a:lnTo>
                        <a:pt x="93" y="55"/>
                      </a:lnTo>
                      <a:lnTo>
                        <a:pt x="78" y="125"/>
                      </a:lnTo>
                      <a:lnTo>
                        <a:pt x="49" y="112"/>
                      </a:lnTo>
                      <a:lnTo>
                        <a:pt x="0" y="129"/>
                      </a:lnTo>
                      <a:lnTo>
                        <a:pt x="0" y="136"/>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27" name="17">
                  <a:extLst>
                    <a:ext uri="{FF2B5EF4-FFF2-40B4-BE49-F238E27FC236}">
                      <a16:creationId xmlns:a16="http://schemas.microsoft.com/office/drawing/2014/main" id="{92B0AE07-625C-4692-B114-F47C2F450A2A}"/>
                    </a:ext>
                  </a:extLst>
                </p:cNvPr>
                <p:cNvSpPr>
                  <a:spLocks/>
                </p:cNvSpPr>
                <p:nvPr/>
              </p:nvSpPr>
              <p:spPr bwMode="gray">
                <a:xfrm>
                  <a:off x="5172130" y="3929491"/>
                  <a:ext cx="446960" cy="676171"/>
                </a:xfrm>
                <a:custGeom>
                  <a:avLst/>
                  <a:gdLst>
                    <a:gd name="T0" fmla="*/ 2 w 312"/>
                    <a:gd name="T1" fmla="*/ 204 h 472"/>
                    <a:gd name="T2" fmla="*/ 32 w 312"/>
                    <a:gd name="T3" fmla="*/ 208 h 472"/>
                    <a:gd name="T4" fmla="*/ 23 w 312"/>
                    <a:gd name="T5" fmla="*/ 187 h 472"/>
                    <a:gd name="T6" fmla="*/ 44 w 312"/>
                    <a:gd name="T7" fmla="*/ 174 h 472"/>
                    <a:gd name="T8" fmla="*/ 42 w 312"/>
                    <a:gd name="T9" fmla="*/ 134 h 472"/>
                    <a:gd name="T10" fmla="*/ 57 w 312"/>
                    <a:gd name="T11" fmla="*/ 132 h 472"/>
                    <a:gd name="T12" fmla="*/ 15 w 312"/>
                    <a:gd name="T13" fmla="*/ 70 h 472"/>
                    <a:gd name="T14" fmla="*/ 42 w 312"/>
                    <a:gd name="T15" fmla="*/ 17 h 472"/>
                    <a:gd name="T16" fmla="*/ 93 w 312"/>
                    <a:gd name="T17" fmla="*/ 0 h 472"/>
                    <a:gd name="T18" fmla="*/ 91 w 312"/>
                    <a:gd name="T19" fmla="*/ 19 h 472"/>
                    <a:gd name="T20" fmla="*/ 117 w 312"/>
                    <a:gd name="T21" fmla="*/ 10 h 472"/>
                    <a:gd name="T22" fmla="*/ 138 w 312"/>
                    <a:gd name="T23" fmla="*/ 25 h 472"/>
                    <a:gd name="T24" fmla="*/ 165 w 312"/>
                    <a:gd name="T25" fmla="*/ 87 h 472"/>
                    <a:gd name="T26" fmla="*/ 251 w 312"/>
                    <a:gd name="T27" fmla="*/ 110 h 472"/>
                    <a:gd name="T28" fmla="*/ 295 w 312"/>
                    <a:gd name="T29" fmla="*/ 155 h 472"/>
                    <a:gd name="T30" fmla="*/ 280 w 312"/>
                    <a:gd name="T31" fmla="*/ 225 h 472"/>
                    <a:gd name="T32" fmla="*/ 251 w 312"/>
                    <a:gd name="T33" fmla="*/ 212 h 472"/>
                    <a:gd name="T34" fmla="*/ 202 w 312"/>
                    <a:gd name="T35" fmla="*/ 229 h 472"/>
                    <a:gd name="T36" fmla="*/ 202 w 312"/>
                    <a:gd name="T37" fmla="*/ 236 h 472"/>
                    <a:gd name="T38" fmla="*/ 221 w 312"/>
                    <a:gd name="T39" fmla="*/ 268 h 472"/>
                    <a:gd name="T40" fmla="*/ 208 w 312"/>
                    <a:gd name="T41" fmla="*/ 278 h 472"/>
                    <a:gd name="T42" fmla="*/ 253 w 312"/>
                    <a:gd name="T43" fmla="*/ 327 h 472"/>
                    <a:gd name="T44" fmla="*/ 240 w 312"/>
                    <a:gd name="T45" fmla="*/ 395 h 472"/>
                    <a:gd name="T46" fmla="*/ 280 w 312"/>
                    <a:gd name="T47" fmla="*/ 402 h 472"/>
                    <a:gd name="T48" fmla="*/ 280 w 312"/>
                    <a:gd name="T49" fmla="*/ 421 h 472"/>
                    <a:gd name="T50" fmla="*/ 312 w 312"/>
                    <a:gd name="T51" fmla="*/ 438 h 472"/>
                    <a:gd name="T52" fmla="*/ 299 w 312"/>
                    <a:gd name="T53" fmla="*/ 472 h 472"/>
                    <a:gd name="T54" fmla="*/ 210 w 312"/>
                    <a:gd name="T55" fmla="*/ 450 h 472"/>
                    <a:gd name="T56" fmla="*/ 204 w 312"/>
                    <a:gd name="T57" fmla="*/ 406 h 472"/>
                    <a:gd name="T58" fmla="*/ 165 w 312"/>
                    <a:gd name="T59" fmla="*/ 395 h 472"/>
                    <a:gd name="T60" fmla="*/ 163 w 312"/>
                    <a:gd name="T61" fmla="*/ 378 h 472"/>
                    <a:gd name="T62" fmla="*/ 129 w 312"/>
                    <a:gd name="T63" fmla="*/ 382 h 472"/>
                    <a:gd name="T64" fmla="*/ 108 w 312"/>
                    <a:gd name="T65" fmla="*/ 325 h 472"/>
                    <a:gd name="T66" fmla="*/ 0 w 312"/>
                    <a:gd name="T67" fmla="*/ 236 h 472"/>
                    <a:gd name="T68" fmla="*/ 2 w 312"/>
                    <a:gd name="T69" fmla="*/ 204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2" h="472">
                      <a:moveTo>
                        <a:pt x="2" y="204"/>
                      </a:moveTo>
                      <a:lnTo>
                        <a:pt x="32" y="208"/>
                      </a:lnTo>
                      <a:lnTo>
                        <a:pt x="23" y="187"/>
                      </a:lnTo>
                      <a:lnTo>
                        <a:pt x="44" y="174"/>
                      </a:lnTo>
                      <a:lnTo>
                        <a:pt x="42" y="134"/>
                      </a:lnTo>
                      <a:lnTo>
                        <a:pt x="57" y="132"/>
                      </a:lnTo>
                      <a:lnTo>
                        <a:pt x="15" y="70"/>
                      </a:lnTo>
                      <a:lnTo>
                        <a:pt x="42" y="17"/>
                      </a:lnTo>
                      <a:lnTo>
                        <a:pt x="93" y="0"/>
                      </a:lnTo>
                      <a:lnTo>
                        <a:pt x="91" y="19"/>
                      </a:lnTo>
                      <a:lnTo>
                        <a:pt x="117" y="10"/>
                      </a:lnTo>
                      <a:lnTo>
                        <a:pt x="138" y="25"/>
                      </a:lnTo>
                      <a:lnTo>
                        <a:pt x="165" y="87"/>
                      </a:lnTo>
                      <a:lnTo>
                        <a:pt x="251" y="110"/>
                      </a:lnTo>
                      <a:lnTo>
                        <a:pt x="295" y="155"/>
                      </a:lnTo>
                      <a:lnTo>
                        <a:pt x="280" y="225"/>
                      </a:lnTo>
                      <a:lnTo>
                        <a:pt x="251" y="212"/>
                      </a:lnTo>
                      <a:lnTo>
                        <a:pt x="202" y="229"/>
                      </a:lnTo>
                      <a:lnTo>
                        <a:pt x="202" y="236"/>
                      </a:lnTo>
                      <a:lnTo>
                        <a:pt x="221" y="268"/>
                      </a:lnTo>
                      <a:lnTo>
                        <a:pt x="208" y="278"/>
                      </a:lnTo>
                      <a:lnTo>
                        <a:pt x="253" y="327"/>
                      </a:lnTo>
                      <a:lnTo>
                        <a:pt x="240" y="395"/>
                      </a:lnTo>
                      <a:lnTo>
                        <a:pt x="280" y="402"/>
                      </a:lnTo>
                      <a:lnTo>
                        <a:pt x="280" y="421"/>
                      </a:lnTo>
                      <a:lnTo>
                        <a:pt x="312" y="438"/>
                      </a:lnTo>
                      <a:lnTo>
                        <a:pt x="299" y="472"/>
                      </a:lnTo>
                      <a:lnTo>
                        <a:pt x="210" y="450"/>
                      </a:lnTo>
                      <a:lnTo>
                        <a:pt x="204" y="406"/>
                      </a:lnTo>
                      <a:lnTo>
                        <a:pt x="165" y="395"/>
                      </a:lnTo>
                      <a:lnTo>
                        <a:pt x="163" y="378"/>
                      </a:lnTo>
                      <a:lnTo>
                        <a:pt x="129" y="382"/>
                      </a:lnTo>
                      <a:lnTo>
                        <a:pt x="108" y="325"/>
                      </a:lnTo>
                      <a:lnTo>
                        <a:pt x="0" y="236"/>
                      </a:lnTo>
                      <a:lnTo>
                        <a:pt x="2" y="204"/>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grpSp>
          <p:grpSp>
            <p:nvGrpSpPr>
              <p:cNvPr id="214" name="Limousin (Formes)">
                <a:extLst>
                  <a:ext uri="{FF2B5EF4-FFF2-40B4-BE49-F238E27FC236}">
                    <a16:creationId xmlns:a16="http://schemas.microsoft.com/office/drawing/2014/main" id="{802F4AA3-1B7B-48A2-AC62-BA1D337CBE8E}"/>
                  </a:ext>
                </a:extLst>
              </p:cNvPr>
              <p:cNvGrpSpPr/>
              <p:nvPr/>
            </p:nvGrpSpPr>
            <p:grpSpPr>
              <a:xfrm>
                <a:off x="5859761" y="3919463"/>
                <a:ext cx="724878" cy="802237"/>
                <a:chOff x="5859761" y="3919463"/>
                <a:chExt cx="724878" cy="802237"/>
              </a:xfrm>
              <a:grpFill/>
            </p:grpSpPr>
            <p:sp>
              <p:nvSpPr>
                <p:cNvPr id="221" name="19">
                  <a:extLst>
                    <a:ext uri="{FF2B5EF4-FFF2-40B4-BE49-F238E27FC236}">
                      <a16:creationId xmlns:a16="http://schemas.microsoft.com/office/drawing/2014/main" id="{7A623049-6952-46BB-B714-6F6EB46FFD4B}"/>
                    </a:ext>
                  </a:extLst>
                </p:cNvPr>
                <p:cNvSpPr>
                  <a:spLocks/>
                </p:cNvSpPr>
                <p:nvPr/>
              </p:nvSpPr>
              <p:spPr bwMode="gray">
                <a:xfrm>
                  <a:off x="6070349" y="4286200"/>
                  <a:ext cx="477045" cy="435500"/>
                </a:xfrm>
                <a:custGeom>
                  <a:avLst/>
                  <a:gdLst>
                    <a:gd name="T0" fmla="*/ 2 w 333"/>
                    <a:gd name="T1" fmla="*/ 201 h 304"/>
                    <a:gd name="T2" fmla="*/ 47 w 333"/>
                    <a:gd name="T3" fmla="*/ 229 h 304"/>
                    <a:gd name="T4" fmla="*/ 38 w 333"/>
                    <a:gd name="T5" fmla="*/ 238 h 304"/>
                    <a:gd name="T6" fmla="*/ 55 w 333"/>
                    <a:gd name="T7" fmla="*/ 267 h 304"/>
                    <a:gd name="T8" fmla="*/ 102 w 333"/>
                    <a:gd name="T9" fmla="*/ 263 h 304"/>
                    <a:gd name="T10" fmla="*/ 138 w 333"/>
                    <a:gd name="T11" fmla="*/ 304 h 304"/>
                    <a:gd name="T12" fmla="*/ 214 w 333"/>
                    <a:gd name="T13" fmla="*/ 287 h 304"/>
                    <a:gd name="T14" fmla="*/ 234 w 333"/>
                    <a:gd name="T15" fmla="*/ 284 h 304"/>
                    <a:gd name="T16" fmla="*/ 223 w 333"/>
                    <a:gd name="T17" fmla="*/ 259 h 304"/>
                    <a:gd name="T18" fmla="*/ 242 w 333"/>
                    <a:gd name="T19" fmla="*/ 248 h 304"/>
                    <a:gd name="T20" fmla="*/ 259 w 333"/>
                    <a:gd name="T21" fmla="*/ 216 h 304"/>
                    <a:gd name="T22" fmla="*/ 251 w 333"/>
                    <a:gd name="T23" fmla="*/ 197 h 304"/>
                    <a:gd name="T24" fmla="*/ 291 w 333"/>
                    <a:gd name="T25" fmla="*/ 155 h 304"/>
                    <a:gd name="T26" fmla="*/ 291 w 333"/>
                    <a:gd name="T27" fmla="*/ 129 h 304"/>
                    <a:gd name="T28" fmla="*/ 333 w 333"/>
                    <a:gd name="T29" fmla="*/ 140 h 304"/>
                    <a:gd name="T30" fmla="*/ 331 w 333"/>
                    <a:gd name="T31" fmla="*/ 104 h 304"/>
                    <a:gd name="T32" fmla="*/ 327 w 333"/>
                    <a:gd name="T33" fmla="*/ 10 h 304"/>
                    <a:gd name="T34" fmla="*/ 270 w 333"/>
                    <a:gd name="T35" fmla="*/ 36 h 304"/>
                    <a:gd name="T36" fmla="*/ 214 w 333"/>
                    <a:gd name="T37" fmla="*/ 0 h 304"/>
                    <a:gd name="T38" fmla="*/ 176 w 333"/>
                    <a:gd name="T39" fmla="*/ 21 h 304"/>
                    <a:gd name="T40" fmla="*/ 10 w 333"/>
                    <a:gd name="T41" fmla="*/ 110 h 304"/>
                    <a:gd name="T42" fmla="*/ 27 w 333"/>
                    <a:gd name="T43" fmla="*/ 133 h 304"/>
                    <a:gd name="T44" fmla="*/ 4 w 333"/>
                    <a:gd name="T45" fmla="*/ 157 h 304"/>
                    <a:gd name="T46" fmla="*/ 15 w 333"/>
                    <a:gd name="T47" fmla="*/ 184 h 304"/>
                    <a:gd name="T48" fmla="*/ 0 w 333"/>
                    <a:gd name="T49" fmla="*/ 195 h 304"/>
                    <a:gd name="T50" fmla="*/ 2 w 333"/>
                    <a:gd name="T51" fmla="*/ 201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3" h="304">
                      <a:moveTo>
                        <a:pt x="2" y="201"/>
                      </a:moveTo>
                      <a:lnTo>
                        <a:pt x="47" y="229"/>
                      </a:lnTo>
                      <a:lnTo>
                        <a:pt x="38" y="238"/>
                      </a:lnTo>
                      <a:lnTo>
                        <a:pt x="55" y="267"/>
                      </a:lnTo>
                      <a:lnTo>
                        <a:pt x="102" y="263"/>
                      </a:lnTo>
                      <a:lnTo>
                        <a:pt x="138" y="304"/>
                      </a:lnTo>
                      <a:lnTo>
                        <a:pt x="214" y="287"/>
                      </a:lnTo>
                      <a:lnTo>
                        <a:pt x="234" y="284"/>
                      </a:lnTo>
                      <a:lnTo>
                        <a:pt x="223" y="259"/>
                      </a:lnTo>
                      <a:lnTo>
                        <a:pt x="242" y="248"/>
                      </a:lnTo>
                      <a:lnTo>
                        <a:pt x="259" y="216"/>
                      </a:lnTo>
                      <a:lnTo>
                        <a:pt x="251" y="197"/>
                      </a:lnTo>
                      <a:lnTo>
                        <a:pt x="291" y="155"/>
                      </a:lnTo>
                      <a:lnTo>
                        <a:pt x="291" y="129"/>
                      </a:lnTo>
                      <a:lnTo>
                        <a:pt x="333" y="140"/>
                      </a:lnTo>
                      <a:lnTo>
                        <a:pt x="331" y="104"/>
                      </a:lnTo>
                      <a:lnTo>
                        <a:pt x="327" y="10"/>
                      </a:lnTo>
                      <a:lnTo>
                        <a:pt x="270" y="36"/>
                      </a:lnTo>
                      <a:lnTo>
                        <a:pt x="214" y="0"/>
                      </a:lnTo>
                      <a:lnTo>
                        <a:pt x="176" y="21"/>
                      </a:lnTo>
                      <a:lnTo>
                        <a:pt x="10" y="110"/>
                      </a:lnTo>
                      <a:lnTo>
                        <a:pt x="27" y="133"/>
                      </a:lnTo>
                      <a:lnTo>
                        <a:pt x="4" y="157"/>
                      </a:lnTo>
                      <a:lnTo>
                        <a:pt x="15" y="184"/>
                      </a:lnTo>
                      <a:lnTo>
                        <a:pt x="0" y="195"/>
                      </a:lnTo>
                      <a:lnTo>
                        <a:pt x="2" y="201"/>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22" name="23">
                  <a:extLst>
                    <a:ext uri="{FF2B5EF4-FFF2-40B4-BE49-F238E27FC236}">
                      <a16:creationId xmlns:a16="http://schemas.microsoft.com/office/drawing/2014/main" id="{941C1375-BC14-4319-9C53-7E30DB149F89}"/>
                    </a:ext>
                  </a:extLst>
                </p:cNvPr>
                <p:cNvSpPr>
                  <a:spLocks/>
                </p:cNvSpPr>
                <p:nvPr/>
              </p:nvSpPr>
              <p:spPr bwMode="gray">
                <a:xfrm>
                  <a:off x="6140544" y="3919463"/>
                  <a:ext cx="444095" cy="418309"/>
                </a:xfrm>
                <a:custGeom>
                  <a:avLst/>
                  <a:gdLst>
                    <a:gd name="T0" fmla="*/ 2 w 310"/>
                    <a:gd name="T1" fmla="*/ 92 h 292"/>
                    <a:gd name="T2" fmla="*/ 27 w 310"/>
                    <a:gd name="T3" fmla="*/ 113 h 292"/>
                    <a:gd name="T4" fmla="*/ 46 w 310"/>
                    <a:gd name="T5" fmla="*/ 170 h 292"/>
                    <a:gd name="T6" fmla="*/ 27 w 310"/>
                    <a:gd name="T7" fmla="*/ 187 h 292"/>
                    <a:gd name="T8" fmla="*/ 61 w 310"/>
                    <a:gd name="T9" fmla="*/ 194 h 292"/>
                    <a:gd name="T10" fmla="*/ 57 w 310"/>
                    <a:gd name="T11" fmla="*/ 221 h 292"/>
                    <a:gd name="T12" fmla="*/ 95 w 310"/>
                    <a:gd name="T13" fmla="*/ 215 h 292"/>
                    <a:gd name="T14" fmla="*/ 123 w 310"/>
                    <a:gd name="T15" fmla="*/ 243 h 292"/>
                    <a:gd name="T16" fmla="*/ 127 w 310"/>
                    <a:gd name="T17" fmla="*/ 277 h 292"/>
                    <a:gd name="T18" fmla="*/ 165 w 310"/>
                    <a:gd name="T19" fmla="*/ 256 h 292"/>
                    <a:gd name="T20" fmla="*/ 221 w 310"/>
                    <a:gd name="T21" fmla="*/ 292 h 292"/>
                    <a:gd name="T22" fmla="*/ 278 w 310"/>
                    <a:gd name="T23" fmla="*/ 266 h 292"/>
                    <a:gd name="T24" fmla="*/ 253 w 310"/>
                    <a:gd name="T25" fmla="*/ 232 h 292"/>
                    <a:gd name="T26" fmla="*/ 257 w 310"/>
                    <a:gd name="T27" fmla="*/ 228 h 292"/>
                    <a:gd name="T28" fmla="*/ 310 w 310"/>
                    <a:gd name="T29" fmla="*/ 179 h 292"/>
                    <a:gd name="T30" fmla="*/ 299 w 310"/>
                    <a:gd name="T31" fmla="*/ 119 h 292"/>
                    <a:gd name="T32" fmla="*/ 278 w 310"/>
                    <a:gd name="T33" fmla="*/ 68 h 292"/>
                    <a:gd name="T34" fmla="*/ 233 w 310"/>
                    <a:gd name="T35" fmla="*/ 43 h 292"/>
                    <a:gd name="T36" fmla="*/ 229 w 310"/>
                    <a:gd name="T37" fmla="*/ 17 h 292"/>
                    <a:gd name="T38" fmla="*/ 225 w 310"/>
                    <a:gd name="T39" fmla="*/ 15 h 292"/>
                    <a:gd name="T40" fmla="*/ 199 w 310"/>
                    <a:gd name="T41" fmla="*/ 13 h 292"/>
                    <a:gd name="T42" fmla="*/ 106 w 310"/>
                    <a:gd name="T43" fmla="*/ 0 h 292"/>
                    <a:gd name="T44" fmla="*/ 87 w 310"/>
                    <a:gd name="T45" fmla="*/ 24 h 292"/>
                    <a:gd name="T46" fmla="*/ 38 w 310"/>
                    <a:gd name="T47" fmla="*/ 9 h 292"/>
                    <a:gd name="T48" fmla="*/ 12 w 310"/>
                    <a:gd name="T49" fmla="*/ 37 h 292"/>
                    <a:gd name="T50" fmla="*/ 15 w 310"/>
                    <a:gd name="T51" fmla="*/ 66 h 292"/>
                    <a:gd name="T52" fmla="*/ 0 w 310"/>
                    <a:gd name="T53" fmla="*/ 85 h 292"/>
                    <a:gd name="T54" fmla="*/ 2 w 310"/>
                    <a:gd name="T55" fmla="*/ 9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0" h="292">
                      <a:moveTo>
                        <a:pt x="2" y="92"/>
                      </a:moveTo>
                      <a:lnTo>
                        <a:pt x="27" y="113"/>
                      </a:lnTo>
                      <a:lnTo>
                        <a:pt x="46" y="170"/>
                      </a:lnTo>
                      <a:lnTo>
                        <a:pt x="27" y="187"/>
                      </a:lnTo>
                      <a:lnTo>
                        <a:pt x="61" y="194"/>
                      </a:lnTo>
                      <a:lnTo>
                        <a:pt x="57" y="221"/>
                      </a:lnTo>
                      <a:lnTo>
                        <a:pt x="95" y="215"/>
                      </a:lnTo>
                      <a:lnTo>
                        <a:pt x="123" y="243"/>
                      </a:lnTo>
                      <a:lnTo>
                        <a:pt x="127" y="277"/>
                      </a:lnTo>
                      <a:lnTo>
                        <a:pt x="165" y="256"/>
                      </a:lnTo>
                      <a:lnTo>
                        <a:pt x="221" y="292"/>
                      </a:lnTo>
                      <a:lnTo>
                        <a:pt x="278" y="266"/>
                      </a:lnTo>
                      <a:lnTo>
                        <a:pt x="253" y="232"/>
                      </a:lnTo>
                      <a:lnTo>
                        <a:pt x="257" y="228"/>
                      </a:lnTo>
                      <a:lnTo>
                        <a:pt x="310" y="179"/>
                      </a:lnTo>
                      <a:lnTo>
                        <a:pt x="299" y="119"/>
                      </a:lnTo>
                      <a:lnTo>
                        <a:pt x="278" y="68"/>
                      </a:lnTo>
                      <a:lnTo>
                        <a:pt x="233" y="43"/>
                      </a:lnTo>
                      <a:lnTo>
                        <a:pt x="229" y="17"/>
                      </a:lnTo>
                      <a:lnTo>
                        <a:pt x="225" y="15"/>
                      </a:lnTo>
                      <a:lnTo>
                        <a:pt x="199" y="13"/>
                      </a:lnTo>
                      <a:lnTo>
                        <a:pt x="106" y="0"/>
                      </a:lnTo>
                      <a:lnTo>
                        <a:pt x="87" y="24"/>
                      </a:lnTo>
                      <a:lnTo>
                        <a:pt x="38" y="9"/>
                      </a:lnTo>
                      <a:lnTo>
                        <a:pt x="12" y="37"/>
                      </a:lnTo>
                      <a:lnTo>
                        <a:pt x="15" y="66"/>
                      </a:lnTo>
                      <a:lnTo>
                        <a:pt x="0" y="85"/>
                      </a:lnTo>
                      <a:lnTo>
                        <a:pt x="2" y="92"/>
                      </a:lnTo>
                    </a:path>
                  </a:pathLst>
                </a:custGeom>
                <a:solidFill>
                  <a:schemeClr val="bg2">
                    <a:lumMod val="75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23" name="87">
                  <a:extLst>
                    <a:ext uri="{FF2B5EF4-FFF2-40B4-BE49-F238E27FC236}">
                      <a16:creationId xmlns:a16="http://schemas.microsoft.com/office/drawing/2014/main" id="{38796014-B420-4CDF-A00D-DDFB63DF1126}"/>
                    </a:ext>
                  </a:extLst>
                </p:cNvPr>
                <p:cNvSpPr>
                  <a:spLocks/>
                </p:cNvSpPr>
                <p:nvPr/>
              </p:nvSpPr>
              <p:spPr bwMode="gray">
                <a:xfrm>
                  <a:off x="5859761" y="3943817"/>
                  <a:ext cx="462719" cy="499965"/>
                </a:xfrm>
                <a:custGeom>
                  <a:avLst/>
                  <a:gdLst>
                    <a:gd name="T0" fmla="*/ 6 w 323"/>
                    <a:gd name="T1" fmla="*/ 243 h 349"/>
                    <a:gd name="T2" fmla="*/ 23 w 323"/>
                    <a:gd name="T3" fmla="*/ 213 h 349"/>
                    <a:gd name="T4" fmla="*/ 40 w 323"/>
                    <a:gd name="T5" fmla="*/ 217 h 349"/>
                    <a:gd name="T6" fmla="*/ 49 w 323"/>
                    <a:gd name="T7" fmla="*/ 168 h 349"/>
                    <a:gd name="T8" fmla="*/ 83 w 323"/>
                    <a:gd name="T9" fmla="*/ 153 h 349"/>
                    <a:gd name="T10" fmla="*/ 51 w 323"/>
                    <a:gd name="T11" fmla="*/ 124 h 349"/>
                    <a:gd name="T12" fmla="*/ 55 w 323"/>
                    <a:gd name="T13" fmla="*/ 96 h 349"/>
                    <a:gd name="T14" fmla="*/ 53 w 323"/>
                    <a:gd name="T15" fmla="*/ 60 h 349"/>
                    <a:gd name="T16" fmla="*/ 147 w 323"/>
                    <a:gd name="T17" fmla="*/ 5 h 349"/>
                    <a:gd name="T18" fmla="*/ 191 w 323"/>
                    <a:gd name="T19" fmla="*/ 0 h 349"/>
                    <a:gd name="T20" fmla="*/ 208 w 323"/>
                    <a:gd name="T21" fmla="*/ 20 h 349"/>
                    <a:gd name="T22" fmla="*/ 211 w 323"/>
                    <a:gd name="T23" fmla="*/ 49 h 349"/>
                    <a:gd name="T24" fmla="*/ 196 w 323"/>
                    <a:gd name="T25" fmla="*/ 68 h 349"/>
                    <a:gd name="T26" fmla="*/ 198 w 323"/>
                    <a:gd name="T27" fmla="*/ 75 h 349"/>
                    <a:gd name="T28" fmla="*/ 223 w 323"/>
                    <a:gd name="T29" fmla="*/ 96 h 349"/>
                    <a:gd name="T30" fmla="*/ 242 w 323"/>
                    <a:gd name="T31" fmla="*/ 153 h 349"/>
                    <a:gd name="T32" fmla="*/ 223 w 323"/>
                    <a:gd name="T33" fmla="*/ 170 h 349"/>
                    <a:gd name="T34" fmla="*/ 257 w 323"/>
                    <a:gd name="T35" fmla="*/ 177 h 349"/>
                    <a:gd name="T36" fmla="*/ 253 w 323"/>
                    <a:gd name="T37" fmla="*/ 204 h 349"/>
                    <a:gd name="T38" fmla="*/ 291 w 323"/>
                    <a:gd name="T39" fmla="*/ 198 h 349"/>
                    <a:gd name="T40" fmla="*/ 319 w 323"/>
                    <a:gd name="T41" fmla="*/ 226 h 349"/>
                    <a:gd name="T42" fmla="*/ 323 w 323"/>
                    <a:gd name="T43" fmla="*/ 260 h 349"/>
                    <a:gd name="T44" fmla="*/ 157 w 323"/>
                    <a:gd name="T45" fmla="*/ 349 h 349"/>
                    <a:gd name="T46" fmla="*/ 121 w 323"/>
                    <a:gd name="T47" fmla="*/ 334 h 349"/>
                    <a:gd name="T48" fmla="*/ 136 w 323"/>
                    <a:gd name="T49" fmla="*/ 319 h 349"/>
                    <a:gd name="T50" fmla="*/ 115 w 323"/>
                    <a:gd name="T51" fmla="*/ 315 h 349"/>
                    <a:gd name="T52" fmla="*/ 100 w 323"/>
                    <a:gd name="T53" fmla="*/ 287 h 349"/>
                    <a:gd name="T54" fmla="*/ 60 w 323"/>
                    <a:gd name="T55" fmla="*/ 283 h 349"/>
                    <a:gd name="T56" fmla="*/ 45 w 323"/>
                    <a:gd name="T57" fmla="*/ 298 h 349"/>
                    <a:gd name="T58" fmla="*/ 28 w 323"/>
                    <a:gd name="T59" fmla="*/ 258 h 349"/>
                    <a:gd name="T60" fmla="*/ 0 w 323"/>
                    <a:gd name="T61" fmla="*/ 247 h 349"/>
                    <a:gd name="T62" fmla="*/ 6 w 323"/>
                    <a:gd name="T63" fmla="*/ 243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3" h="349">
                      <a:moveTo>
                        <a:pt x="6" y="243"/>
                      </a:moveTo>
                      <a:lnTo>
                        <a:pt x="23" y="213"/>
                      </a:lnTo>
                      <a:lnTo>
                        <a:pt x="40" y="217"/>
                      </a:lnTo>
                      <a:lnTo>
                        <a:pt x="49" y="168"/>
                      </a:lnTo>
                      <a:lnTo>
                        <a:pt x="83" y="153"/>
                      </a:lnTo>
                      <a:lnTo>
                        <a:pt x="51" y="124"/>
                      </a:lnTo>
                      <a:lnTo>
                        <a:pt x="55" y="96"/>
                      </a:lnTo>
                      <a:lnTo>
                        <a:pt x="53" y="60"/>
                      </a:lnTo>
                      <a:lnTo>
                        <a:pt x="147" y="5"/>
                      </a:lnTo>
                      <a:lnTo>
                        <a:pt x="191" y="0"/>
                      </a:lnTo>
                      <a:lnTo>
                        <a:pt x="208" y="20"/>
                      </a:lnTo>
                      <a:lnTo>
                        <a:pt x="211" y="49"/>
                      </a:lnTo>
                      <a:lnTo>
                        <a:pt x="196" y="68"/>
                      </a:lnTo>
                      <a:lnTo>
                        <a:pt x="198" y="75"/>
                      </a:lnTo>
                      <a:lnTo>
                        <a:pt x="223" y="96"/>
                      </a:lnTo>
                      <a:lnTo>
                        <a:pt x="242" y="153"/>
                      </a:lnTo>
                      <a:lnTo>
                        <a:pt x="223" y="170"/>
                      </a:lnTo>
                      <a:lnTo>
                        <a:pt x="257" y="177"/>
                      </a:lnTo>
                      <a:lnTo>
                        <a:pt x="253" y="204"/>
                      </a:lnTo>
                      <a:lnTo>
                        <a:pt x="291" y="198"/>
                      </a:lnTo>
                      <a:lnTo>
                        <a:pt x="319" y="226"/>
                      </a:lnTo>
                      <a:lnTo>
                        <a:pt x="323" y="260"/>
                      </a:lnTo>
                      <a:lnTo>
                        <a:pt x="157" y="349"/>
                      </a:lnTo>
                      <a:lnTo>
                        <a:pt x="121" y="334"/>
                      </a:lnTo>
                      <a:lnTo>
                        <a:pt x="136" y="319"/>
                      </a:lnTo>
                      <a:lnTo>
                        <a:pt x="115" y="315"/>
                      </a:lnTo>
                      <a:lnTo>
                        <a:pt x="100" y="287"/>
                      </a:lnTo>
                      <a:lnTo>
                        <a:pt x="60" y="283"/>
                      </a:lnTo>
                      <a:lnTo>
                        <a:pt x="45" y="298"/>
                      </a:lnTo>
                      <a:lnTo>
                        <a:pt x="28" y="258"/>
                      </a:lnTo>
                      <a:lnTo>
                        <a:pt x="0" y="247"/>
                      </a:lnTo>
                      <a:lnTo>
                        <a:pt x="6" y="243"/>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grpSp>
          <p:grpSp>
            <p:nvGrpSpPr>
              <p:cNvPr id="215" name="Aquitaine (Formes)">
                <a:extLst>
                  <a:ext uri="{FF2B5EF4-FFF2-40B4-BE49-F238E27FC236}">
                    <a16:creationId xmlns:a16="http://schemas.microsoft.com/office/drawing/2014/main" id="{49F858A7-E595-4C01-944B-1E65ACCCE596}"/>
                  </a:ext>
                </a:extLst>
              </p:cNvPr>
              <p:cNvGrpSpPr/>
              <p:nvPr/>
            </p:nvGrpSpPr>
            <p:grpSpPr>
              <a:xfrm>
                <a:off x="4894213" y="4297660"/>
                <a:ext cx="1254927" cy="1511357"/>
                <a:chOff x="4894213" y="4297660"/>
                <a:chExt cx="1254927" cy="1511357"/>
              </a:xfrm>
              <a:grpFill/>
            </p:grpSpPr>
            <p:sp>
              <p:nvSpPr>
                <p:cNvPr id="216" name="64">
                  <a:extLst>
                    <a:ext uri="{FF2B5EF4-FFF2-40B4-BE49-F238E27FC236}">
                      <a16:creationId xmlns:a16="http://schemas.microsoft.com/office/drawing/2014/main" id="{B37F6D9A-53C6-418B-8D18-9EFC228ACB36}"/>
                    </a:ext>
                  </a:extLst>
                </p:cNvPr>
                <p:cNvSpPr>
                  <a:spLocks/>
                </p:cNvSpPr>
                <p:nvPr/>
              </p:nvSpPr>
              <p:spPr bwMode="gray">
                <a:xfrm>
                  <a:off x="4894213" y="5390708"/>
                  <a:ext cx="691929" cy="418309"/>
                </a:xfrm>
                <a:custGeom>
                  <a:avLst/>
                  <a:gdLst>
                    <a:gd name="T0" fmla="*/ 15 w 483"/>
                    <a:gd name="T1" fmla="*/ 87 h 292"/>
                    <a:gd name="T2" fmla="*/ 41 w 483"/>
                    <a:gd name="T3" fmla="*/ 87 h 292"/>
                    <a:gd name="T4" fmla="*/ 45 w 483"/>
                    <a:gd name="T5" fmla="*/ 104 h 292"/>
                    <a:gd name="T6" fmla="*/ 66 w 483"/>
                    <a:gd name="T7" fmla="*/ 92 h 292"/>
                    <a:gd name="T8" fmla="*/ 100 w 483"/>
                    <a:gd name="T9" fmla="*/ 104 h 292"/>
                    <a:gd name="T10" fmla="*/ 96 w 483"/>
                    <a:gd name="T11" fmla="*/ 147 h 292"/>
                    <a:gd name="T12" fmla="*/ 77 w 483"/>
                    <a:gd name="T13" fmla="*/ 166 h 292"/>
                    <a:gd name="T14" fmla="*/ 85 w 483"/>
                    <a:gd name="T15" fmla="*/ 183 h 292"/>
                    <a:gd name="T16" fmla="*/ 109 w 483"/>
                    <a:gd name="T17" fmla="*/ 192 h 292"/>
                    <a:gd name="T18" fmla="*/ 115 w 483"/>
                    <a:gd name="T19" fmla="*/ 164 h 292"/>
                    <a:gd name="T20" fmla="*/ 130 w 483"/>
                    <a:gd name="T21" fmla="*/ 164 h 292"/>
                    <a:gd name="T22" fmla="*/ 132 w 483"/>
                    <a:gd name="T23" fmla="*/ 189 h 292"/>
                    <a:gd name="T24" fmla="*/ 211 w 483"/>
                    <a:gd name="T25" fmla="*/ 223 h 292"/>
                    <a:gd name="T26" fmla="*/ 268 w 483"/>
                    <a:gd name="T27" fmla="*/ 226 h 292"/>
                    <a:gd name="T28" fmla="*/ 311 w 483"/>
                    <a:gd name="T29" fmla="*/ 292 h 292"/>
                    <a:gd name="T30" fmla="*/ 332 w 483"/>
                    <a:gd name="T31" fmla="*/ 279 h 292"/>
                    <a:gd name="T32" fmla="*/ 383 w 483"/>
                    <a:gd name="T33" fmla="*/ 274 h 292"/>
                    <a:gd name="T34" fmla="*/ 381 w 483"/>
                    <a:gd name="T35" fmla="*/ 249 h 292"/>
                    <a:gd name="T36" fmla="*/ 483 w 483"/>
                    <a:gd name="T37" fmla="*/ 98 h 292"/>
                    <a:gd name="T38" fmla="*/ 476 w 483"/>
                    <a:gd name="T39" fmla="*/ 60 h 292"/>
                    <a:gd name="T40" fmla="*/ 459 w 483"/>
                    <a:gd name="T41" fmla="*/ 70 h 292"/>
                    <a:gd name="T42" fmla="*/ 472 w 483"/>
                    <a:gd name="T43" fmla="*/ 49 h 292"/>
                    <a:gd name="T44" fmla="*/ 453 w 483"/>
                    <a:gd name="T45" fmla="*/ 9 h 292"/>
                    <a:gd name="T46" fmla="*/ 417 w 483"/>
                    <a:gd name="T47" fmla="*/ 4 h 292"/>
                    <a:gd name="T48" fmla="*/ 362 w 483"/>
                    <a:gd name="T49" fmla="*/ 15 h 292"/>
                    <a:gd name="T50" fmla="*/ 355 w 483"/>
                    <a:gd name="T51" fmla="*/ 0 h 292"/>
                    <a:gd name="T52" fmla="*/ 315 w 483"/>
                    <a:gd name="T53" fmla="*/ 17 h 292"/>
                    <a:gd name="T54" fmla="*/ 274 w 483"/>
                    <a:gd name="T55" fmla="*/ 0 h 292"/>
                    <a:gd name="T56" fmla="*/ 175 w 483"/>
                    <a:gd name="T57" fmla="*/ 28 h 292"/>
                    <a:gd name="T58" fmla="*/ 168 w 483"/>
                    <a:gd name="T59" fmla="*/ 7 h 292"/>
                    <a:gd name="T60" fmla="*/ 113 w 483"/>
                    <a:gd name="T61" fmla="*/ 22 h 292"/>
                    <a:gd name="T62" fmla="*/ 79 w 483"/>
                    <a:gd name="T63" fmla="*/ 9 h 292"/>
                    <a:gd name="T64" fmla="*/ 75 w 483"/>
                    <a:gd name="T65" fmla="*/ 7 h 292"/>
                    <a:gd name="T66" fmla="*/ 32 w 483"/>
                    <a:gd name="T67" fmla="*/ 56 h 292"/>
                    <a:gd name="T68" fmla="*/ 0 w 483"/>
                    <a:gd name="T69" fmla="*/ 58 h 292"/>
                    <a:gd name="T70" fmla="*/ 15 w 483"/>
                    <a:gd name="T71" fmla="*/ 8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3" h="292">
                      <a:moveTo>
                        <a:pt x="15" y="87"/>
                      </a:moveTo>
                      <a:lnTo>
                        <a:pt x="41" y="87"/>
                      </a:lnTo>
                      <a:lnTo>
                        <a:pt x="45" y="104"/>
                      </a:lnTo>
                      <a:lnTo>
                        <a:pt x="66" y="92"/>
                      </a:lnTo>
                      <a:lnTo>
                        <a:pt x="100" y="104"/>
                      </a:lnTo>
                      <a:lnTo>
                        <a:pt x="96" y="147"/>
                      </a:lnTo>
                      <a:lnTo>
                        <a:pt x="77" y="166"/>
                      </a:lnTo>
                      <a:lnTo>
                        <a:pt x="85" y="183"/>
                      </a:lnTo>
                      <a:lnTo>
                        <a:pt x="109" y="192"/>
                      </a:lnTo>
                      <a:lnTo>
                        <a:pt x="115" y="164"/>
                      </a:lnTo>
                      <a:lnTo>
                        <a:pt x="130" y="164"/>
                      </a:lnTo>
                      <a:lnTo>
                        <a:pt x="132" y="189"/>
                      </a:lnTo>
                      <a:lnTo>
                        <a:pt x="211" y="223"/>
                      </a:lnTo>
                      <a:lnTo>
                        <a:pt x="268" y="226"/>
                      </a:lnTo>
                      <a:lnTo>
                        <a:pt x="311" y="292"/>
                      </a:lnTo>
                      <a:lnTo>
                        <a:pt x="332" y="279"/>
                      </a:lnTo>
                      <a:lnTo>
                        <a:pt x="383" y="274"/>
                      </a:lnTo>
                      <a:lnTo>
                        <a:pt x="381" y="249"/>
                      </a:lnTo>
                      <a:lnTo>
                        <a:pt x="483" y="98"/>
                      </a:lnTo>
                      <a:lnTo>
                        <a:pt x="476" y="60"/>
                      </a:lnTo>
                      <a:lnTo>
                        <a:pt x="459" y="70"/>
                      </a:lnTo>
                      <a:lnTo>
                        <a:pt x="472" y="49"/>
                      </a:lnTo>
                      <a:lnTo>
                        <a:pt x="453" y="9"/>
                      </a:lnTo>
                      <a:lnTo>
                        <a:pt x="417" y="4"/>
                      </a:lnTo>
                      <a:lnTo>
                        <a:pt x="362" y="15"/>
                      </a:lnTo>
                      <a:lnTo>
                        <a:pt x="355" y="0"/>
                      </a:lnTo>
                      <a:lnTo>
                        <a:pt x="315" y="17"/>
                      </a:lnTo>
                      <a:lnTo>
                        <a:pt x="274" y="0"/>
                      </a:lnTo>
                      <a:lnTo>
                        <a:pt x="175" y="28"/>
                      </a:lnTo>
                      <a:lnTo>
                        <a:pt x="168" y="7"/>
                      </a:lnTo>
                      <a:lnTo>
                        <a:pt x="113" y="22"/>
                      </a:lnTo>
                      <a:lnTo>
                        <a:pt x="79" y="9"/>
                      </a:lnTo>
                      <a:lnTo>
                        <a:pt x="75" y="7"/>
                      </a:lnTo>
                      <a:lnTo>
                        <a:pt x="32" y="56"/>
                      </a:lnTo>
                      <a:lnTo>
                        <a:pt x="0" y="58"/>
                      </a:lnTo>
                      <a:lnTo>
                        <a:pt x="15" y="87"/>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17" name="24">
                  <a:extLst>
                    <a:ext uri="{FF2B5EF4-FFF2-40B4-BE49-F238E27FC236}">
                      <a16:creationId xmlns:a16="http://schemas.microsoft.com/office/drawing/2014/main" id="{06515302-D591-4621-8AE7-3814C7393D7B}"/>
                    </a:ext>
                  </a:extLst>
                </p:cNvPr>
                <p:cNvSpPr>
                  <a:spLocks/>
                </p:cNvSpPr>
                <p:nvPr/>
              </p:nvSpPr>
              <p:spPr bwMode="gray">
                <a:xfrm>
                  <a:off x="5594737" y="4297660"/>
                  <a:ext cx="554403" cy="603110"/>
                </a:xfrm>
                <a:custGeom>
                  <a:avLst/>
                  <a:gdLst>
                    <a:gd name="T0" fmla="*/ 2 w 387"/>
                    <a:gd name="T1" fmla="*/ 306 h 421"/>
                    <a:gd name="T2" fmla="*/ 32 w 387"/>
                    <a:gd name="T3" fmla="*/ 230 h 421"/>
                    <a:gd name="T4" fmla="*/ 26 w 387"/>
                    <a:gd name="T5" fmla="*/ 213 h 421"/>
                    <a:gd name="T6" fmla="*/ 4 w 387"/>
                    <a:gd name="T7" fmla="*/ 215 h 421"/>
                    <a:gd name="T8" fmla="*/ 17 w 387"/>
                    <a:gd name="T9" fmla="*/ 181 h 421"/>
                    <a:gd name="T10" fmla="*/ 51 w 387"/>
                    <a:gd name="T11" fmla="*/ 179 h 421"/>
                    <a:gd name="T12" fmla="*/ 87 w 387"/>
                    <a:gd name="T13" fmla="*/ 147 h 421"/>
                    <a:gd name="T14" fmla="*/ 87 w 387"/>
                    <a:gd name="T15" fmla="*/ 102 h 421"/>
                    <a:gd name="T16" fmla="*/ 132 w 387"/>
                    <a:gd name="T17" fmla="*/ 81 h 421"/>
                    <a:gd name="T18" fmla="*/ 155 w 387"/>
                    <a:gd name="T19" fmla="*/ 26 h 421"/>
                    <a:gd name="T20" fmla="*/ 185 w 387"/>
                    <a:gd name="T21" fmla="*/ 0 h 421"/>
                    <a:gd name="T22" fmla="*/ 213 w 387"/>
                    <a:gd name="T23" fmla="*/ 11 h 421"/>
                    <a:gd name="T24" fmla="*/ 230 w 387"/>
                    <a:gd name="T25" fmla="*/ 51 h 421"/>
                    <a:gd name="T26" fmla="*/ 245 w 387"/>
                    <a:gd name="T27" fmla="*/ 36 h 421"/>
                    <a:gd name="T28" fmla="*/ 285 w 387"/>
                    <a:gd name="T29" fmla="*/ 40 h 421"/>
                    <a:gd name="T30" fmla="*/ 300 w 387"/>
                    <a:gd name="T31" fmla="*/ 68 h 421"/>
                    <a:gd name="T32" fmla="*/ 321 w 387"/>
                    <a:gd name="T33" fmla="*/ 72 h 421"/>
                    <a:gd name="T34" fmla="*/ 306 w 387"/>
                    <a:gd name="T35" fmla="*/ 87 h 421"/>
                    <a:gd name="T36" fmla="*/ 342 w 387"/>
                    <a:gd name="T37" fmla="*/ 102 h 421"/>
                    <a:gd name="T38" fmla="*/ 359 w 387"/>
                    <a:gd name="T39" fmla="*/ 125 h 421"/>
                    <a:gd name="T40" fmla="*/ 336 w 387"/>
                    <a:gd name="T41" fmla="*/ 149 h 421"/>
                    <a:gd name="T42" fmla="*/ 347 w 387"/>
                    <a:gd name="T43" fmla="*/ 176 h 421"/>
                    <a:gd name="T44" fmla="*/ 332 w 387"/>
                    <a:gd name="T45" fmla="*/ 187 h 421"/>
                    <a:gd name="T46" fmla="*/ 334 w 387"/>
                    <a:gd name="T47" fmla="*/ 193 h 421"/>
                    <a:gd name="T48" fmla="*/ 379 w 387"/>
                    <a:gd name="T49" fmla="*/ 221 h 421"/>
                    <a:gd name="T50" fmla="*/ 370 w 387"/>
                    <a:gd name="T51" fmla="*/ 230 h 421"/>
                    <a:gd name="T52" fmla="*/ 387 w 387"/>
                    <a:gd name="T53" fmla="*/ 259 h 421"/>
                    <a:gd name="T54" fmla="*/ 385 w 387"/>
                    <a:gd name="T55" fmla="*/ 313 h 421"/>
                    <a:gd name="T56" fmla="*/ 285 w 387"/>
                    <a:gd name="T57" fmla="*/ 421 h 421"/>
                    <a:gd name="T58" fmla="*/ 262 w 387"/>
                    <a:gd name="T59" fmla="*/ 395 h 421"/>
                    <a:gd name="T60" fmla="*/ 223 w 387"/>
                    <a:gd name="T61" fmla="*/ 408 h 421"/>
                    <a:gd name="T62" fmla="*/ 213 w 387"/>
                    <a:gd name="T63" fmla="*/ 372 h 421"/>
                    <a:gd name="T64" fmla="*/ 100 w 387"/>
                    <a:gd name="T65" fmla="*/ 383 h 421"/>
                    <a:gd name="T66" fmla="*/ 85 w 387"/>
                    <a:gd name="T67" fmla="*/ 344 h 421"/>
                    <a:gd name="T68" fmla="*/ 85 w 387"/>
                    <a:gd name="T69" fmla="*/ 304 h 421"/>
                    <a:gd name="T70" fmla="*/ 58 w 387"/>
                    <a:gd name="T71" fmla="*/ 321 h 421"/>
                    <a:gd name="T72" fmla="*/ 0 w 387"/>
                    <a:gd name="T73" fmla="*/ 308 h 421"/>
                    <a:gd name="T74" fmla="*/ 2 w 387"/>
                    <a:gd name="T75" fmla="*/ 306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7" h="421">
                      <a:moveTo>
                        <a:pt x="2" y="306"/>
                      </a:moveTo>
                      <a:lnTo>
                        <a:pt x="32" y="230"/>
                      </a:lnTo>
                      <a:lnTo>
                        <a:pt x="26" y="213"/>
                      </a:lnTo>
                      <a:lnTo>
                        <a:pt x="4" y="215"/>
                      </a:lnTo>
                      <a:lnTo>
                        <a:pt x="17" y="181"/>
                      </a:lnTo>
                      <a:lnTo>
                        <a:pt x="51" y="179"/>
                      </a:lnTo>
                      <a:lnTo>
                        <a:pt x="87" y="147"/>
                      </a:lnTo>
                      <a:lnTo>
                        <a:pt x="87" y="102"/>
                      </a:lnTo>
                      <a:lnTo>
                        <a:pt x="132" y="81"/>
                      </a:lnTo>
                      <a:lnTo>
                        <a:pt x="155" y="26"/>
                      </a:lnTo>
                      <a:lnTo>
                        <a:pt x="185" y="0"/>
                      </a:lnTo>
                      <a:lnTo>
                        <a:pt x="213" y="11"/>
                      </a:lnTo>
                      <a:lnTo>
                        <a:pt x="230" y="51"/>
                      </a:lnTo>
                      <a:lnTo>
                        <a:pt x="245" y="36"/>
                      </a:lnTo>
                      <a:lnTo>
                        <a:pt x="285" y="40"/>
                      </a:lnTo>
                      <a:lnTo>
                        <a:pt x="300" y="68"/>
                      </a:lnTo>
                      <a:lnTo>
                        <a:pt x="321" y="72"/>
                      </a:lnTo>
                      <a:lnTo>
                        <a:pt x="306" y="87"/>
                      </a:lnTo>
                      <a:lnTo>
                        <a:pt x="342" y="102"/>
                      </a:lnTo>
                      <a:lnTo>
                        <a:pt x="359" y="125"/>
                      </a:lnTo>
                      <a:lnTo>
                        <a:pt x="336" y="149"/>
                      </a:lnTo>
                      <a:lnTo>
                        <a:pt x="347" y="176"/>
                      </a:lnTo>
                      <a:lnTo>
                        <a:pt x="332" y="187"/>
                      </a:lnTo>
                      <a:lnTo>
                        <a:pt x="334" y="193"/>
                      </a:lnTo>
                      <a:lnTo>
                        <a:pt x="379" y="221"/>
                      </a:lnTo>
                      <a:lnTo>
                        <a:pt x="370" y="230"/>
                      </a:lnTo>
                      <a:lnTo>
                        <a:pt x="387" y="259"/>
                      </a:lnTo>
                      <a:lnTo>
                        <a:pt x="385" y="313"/>
                      </a:lnTo>
                      <a:lnTo>
                        <a:pt x="285" y="421"/>
                      </a:lnTo>
                      <a:lnTo>
                        <a:pt x="262" y="395"/>
                      </a:lnTo>
                      <a:lnTo>
                        <a:pt x="223" y="408"/>
                      </a:lnTo>
                      <a:lnTo>
                        <a:pt x="213" y="372"/>
                      </a:lnTo>
                      <a:lnTo>
                        <a:pt x="100" y="383"/>
                      </a:lnTo>
                      <a:lnTo>
                        <a:pt x="85" y="344"/>
                      </a:lnTo>
                      <a:lnTo>
                        <a:pt x="85" y="304"/>
                      </a:lnTo>
                      <a:lnTo>
                        <a:pt x="58" y="321"/>
                      </a:lnTo>
                      <a:lnTo>
                        <a:pt x="0" y="308"/>
                      </a:lnTo>
                      <a:lnTo>
                        <a:pt x="2" y="306"/>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18" name="33">
                  <a:extLst>
                    <a:ext uri="{FF2B5EF4-FFF2-40B4-BE49-F238E27FC236}">
                      <a16:creationId xmlns:a16="http://schemas.microsoft.com/office/drawing/2014/main" id="{F64F929B-B359-49D1-AA30-1A9190D9745E}"/>
                    </a:ext>
                  </a:extLst>
                </p:cNvPr>
                <p:cNvSpPr>
                  <a:spLocks/>
                </p:cNvSpPr>
                <p:nvPr/>
              </p:nvSpPr>
              <p:spPr bwMode="gray">
                <a:xfrm>
                  <a:off x="5132019" y="4343502"/>
                  <a:ext cx="584487" cy="730608"/>
                </a:xfrm>
                <a:custGeom>
                  <a:avLst/>
                  <a:gdLst>
                    <a:gd name="T0" fmla="*/ 0 w 408"/>
                    <a:gd name="T1" fmla="*/ 400 h 510"/>
                    <a:gd name="T2" fmla="*/ 13 w 408"/>
                    <a:gd name="T3" fmla="*/ 395 h 510"/>
                    <a:gd name="T4" fmla="*/ 38 w 408"/>
                    <a:gd name="T5" fmla="*/ 389 h 510"/>
                    <a:gd name="T6" fmla="*/ 70 w 408"/>
                    <a:gd name="T7" fmla="*/ 389 h 510"/>
                    <a:gd name="T8" fmla="*/ 57 w 408"/>
                    <a:gd name="T9" fmla="*/ 419 h 510"/>
                    <a:gd name="T10" fmla="*/ 159 w 408"/>
                    <a:gd name="T11" fmla="*/ 417 h 510"/>
                    <a:gd name="T12" fmla="*/ 157 w 408"/>
                    <a:gd name="T13" fmla="*/ 434 h 510"/>
                    <a:gd name="T14" fmla="*/ 223 w 408"/>
                    <a:gd name="T15" fmla="*/ 476 h 510"/>
                    <a:gd name="T16" fmla="*/ 219 w 408"/>
                    <a:gd name="T17" fmla="*/ 506 h 510"/>
                    <a:gd name="T18" fmla="*/ 264 w 408"/>
                    <a:gd name="T19" fmla="*/ 510 h 510"/>
                    <a:gd name="T20" fmla="*/ 274 w 408"/>
                    <a:gd name="T21" fmla="*/ 487 h 510"/>
                    <a:gd name="T22" fmla="*/ 287 w 408"/>
                    <a:gd name="T23" fmla="*/ 502 h 510"/>
                    <a:gd name="T24" fmla="*/ 315 w 408"/>
                    <a:gd name="T25" fmla="*/ 487 h 510"/>
                    <a:gd name="T26" fmla="*/ 306 w 408"/>
                    <a:gd name="T27" fmla="*/ 457 h 510"/>
                    <a:gd name="T28" fmla="*/ 330 w 408"/>
                    <a:gd name="T29" fmla="*/ 451 h 510"/>
                    <a:gd name="T30" fmla="*/ 327 w 408"/>
                    <a:gd name="T31" fmla="*/ 387 h 510"/>
                    <a:gd name="T32" fmla="*/ 376 w 408"/>
                    <a:gd name="T33" fmla="*/ 353 h 510"/>
                    <a:gd name="T34" fmla="*/ 357 w 408"/>
                    <a:gd name="T35" fmla="*/ 332 h 510"/>
                    <a:gd name="T36" fmla="*/ 408 w 408"/>
                    <a:gd name="T37" fmla="*/ 312 h 510"/>
                    <a:gd name="T38" fmla="*/ 408 w 408"/>
                    <a:gd name="T39" fmla="*/ 272 h 510"/>
                    <a:gd name="T40" fmla="*/ 381 w 408"/>
                    <a:gd name="T41" fmla="*/ 289 h 510"/>
                    <a:gd name="T42" fmla="*/ 323 w 408"/>
                    <a:gd name="T43" fmla="*/ 276 h 510"/>
                    <a:gd name="T44" fmla="*/ 325 w 408"/>
                    <a:gd name="T45" fmla="*/ 274 h 510"/>
                    <a:gd name="T46" fmla="*/ 355 w 408"/>
                    <a:gd name="T47" fmla="*/ 198 h 510"/>
                    <a:gd name="T48" fmla="*/ 349 w 408"/>
                    <a:gd name="T49" fmla="*/ 181 h 510"/>
                    <a:gd name="T50" fmla="*/ 327 w 408"/>
                    <a:gd name="T51" fmla="*/ 183 h 510"/>
                    <a:gd name="T52" fmla="*/ 238 w 408"/>
                    <a:gd name="T53" fmla="*/ 161 h 510"/>
                    <a:gd name="T54" fmla="*/ 232 w 408"/>
                    <a:gd name="T55" fmla="*/ 117 h 510"/>
                    <a:gd name="T56" fmla="*/ 193 w 408"/>
                    <a:gd name="T57" fmla="*/ 106 h 510"/>
                    <a:gd name="T58" fmla="*/ 191 w 408"/>
                    <a:gd name="T59" fmla="*/ 89 h 510"/>
                    <a:gd name="T60" fmla="*/ 157 w 408"/>
                    <a:gd name="T61" fmla="*/ 93 h 510"/>
                    <a:gd name="T62" fmla="*/ 172 w 408"/>
                    <a:gd name="T63" fmla="*/ 185 h 510"/>
                    <a:gd name="T64" fmla="*/ 206 w 408"/>
                    <a:gd name="T65" fmla="*/ 213 h 510"/>
                    <a:gd name="T66" fmla="*/ 179 w 408"/>
                    <a:gd name="T67" fmla="*/ 200 h 510"/>
                    <a:gd name="T68" fmla="*/ 196 w 408"/>
                    <a:gd name="T69" fmla="*/ 225 h 510"/>
                    <a:gd name="T70" fmla="*/ 159 w 408"/>
                    <a:gd name="T71" fmla="*/ 185 h 510"/>
                    <a:gd name="T72" fmla="*/ 130 w 408"/>
                    <a:gd name="T73" fmla="*/ 81 h 510"/>
                    <a:gd name="T74" fmla="*/ 68 w 408"/>
                    <a:gd name="T75" fmla="*/ 21 h 510"/>
                    <a:gd name="T76" fmla="*/ 72 w 408"/>
                    <a:gd name="T77" fmla="*/ 0 h 510"/>
                    <a:gd name="T78" fmla="*/ 49 w 408"/>
                    <a:gd name="T79" fmla="*/ 25 h 510"/>
                    <a:gd name="T80" fmla="*/ 0 w 408"/>
                    <a:gd name="T81" fmla="*/ 344 h 510"/>
                    <a:gd name="T82" fmla="*/ 30 w 408"/>
                    <a:gd name="T83" fmla="*/ 293 h 510"/>
                    <a:gd name="T84" fmla="*/ 64 w 408"/>
                    <a:gd name="T85" fmla="*/ 327 h 510"/>
                    <a:gd name="T86" fmla="*/ 17 w 408"/>
                    <a:gd name="T87" fmla="*/ 332 h 510"/>
                    <a:gd name="T88" fmla="*/ 0 w 408"/>
                    <a:gd name="T89" fmla="*/ 40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8" h="510">
                      <a:moveTo>
                        <a:pt x="0" y="400"/>
                      </a:moveTo>
                      <a:lnTo>
                        <a:pt x="13" y="395"/>
                      </a:lnTo>
                      <a:lnTo>
                        <a:pt x="38" y="389"/>
                      </a:lnTo>
                      <a:lnTo>
                        <a:pt x="70" y="389"/>
                      </a:lnTo>
                      <a:lnTo>
                        <a:pt x="57" y="419"/>
                      </a:lnTo>
                      <a:lnTo>
                        <a:pt x="159" y="417"/>
                      </a:lnTo>
                      <a:lnTo>
                        <a:pt x="157" y="434"/>
                      </a:lnTo>
                      <a:lnTo>
                        <a:pt x="223" y="476"/>
                      </a:lnTo>
                      <a:lnTo>
                        <a:pt x="219" y="506"/>
                      </a:lnTo>
                      <a:lnTo>
                        <a:pt x="264" y="510"/>
                      </a:lnTo>
                      <a:lnTo>
                        <a:pt x="274" y="487"/>
                      </a:lnTo>
                      <a:lnTo>
                        <a:pt x="287" y="502"/>
                      </a:lnTo>
                      <a:lnTo>
                        <a:pt x="315" y="487"/>
                      </a:lnTo>
                      <a:lnTo>
                        <a:pt x="306" y="457"/>
                      </a:lnTo>
                      <a:lnTo>
                        <a:pt x="330" y="451"/>
                      </a:lnTo>
                      <a:lnTo>
                        <a:pt x="327" y="387"/>
                      </a:lnTo>
                      <a:lnTo>
                        <a:pt x="376" y="353"/>
                      </a:lnTo>
                      <a:lnTo>
                        <a:pt x="357" y="332"/>
                      </a:lnTo>
                      <a:lnTo>
                        <a:pt x="408" y="312"/>
                      </a:lnTo>
                      <a:lnTo>
                        <a:pt x="408" y="272"/>
                      </a:lnTo>
                      <a:lnTo>
                        <a:pt x="381" y="289"/>
                      </a:lnTo>
                      <a:lnTo>
                        <a:pt x="323" y="276"/>
                      </a:lnTo>
                      <a:lnTo>
                        <a:pt x="325" y="274"/>
                      </a:lnTo>
                      <a:lnTo>
                        <a:pt x="355" y="198"/>
                      </a:lnTo>
                      <a:lnTo>
                        <a:pt x="349" y="181"/>
                      </a:lnTo>
                      <a:lnTo>
                        <a:pt x="327" y="183"/>
                      </a:lnTo>
                      <a:lnTo>
                        <a:pt x="238" y="161"/>
                      </a:lnTo>
                      <a:lnTo>
                        <a:pt x="232" y="117"/>
                      </a:lnTo>
                      <a:lnTo>
                        <a:pt x="193" y="106"/>
                      </a:lnTo>
                      <a:lnTo>
                        <a:pt x="191" y="89"/>
                      </a:lnTo>
                      <a:lnTo>
                        <a:pt x="157" y="93"/>
                      </a:lnTo>
                      <a:lnTo>
                        <a:pt x="172" y="185"/>
                      </a:lnTo>
                      <a:lnTo>
                        <a:pt x="206" y="213"/>
                      </a:lnTo>
                      <a:lnTo>
                        <a:pt x="179" y="200"/>
                      </a:lnTo>
                      <a:lnTo>
                        <a:pt x="196" y="225"/>
                      </a:lnTo>
                      <a:lnTo>
                        <a:pt x="159" y="185"/>
                      </a:lnTo>
                      <a:lnTo>
                        <a:pt x="130" y="81"/>
                      </a:lnTo>
                      <a:lnTo>
                        <a:pt x="68" y="21"/>
                      </a:lnTo>
                      <a:lnTo>
                        <a:pt x="72" y="0"/>
                      </a:lnTo>
                      <a:lnTo>
                        <a:pt x="49" y="25"/>
                      </a:lnTo>
                      <a:lnTo>
                        <a:pt x="0" y="344"/>
                      </a:lnTo>
                      <a:lnTo>
                        <a:pt x="30" y="293"/>
                      </a:lnTo>
                      <a:lnTo>
                        <a:pt x="64" y="327"/>
                      </a:lnTo>
                      <a:lnTo>
                        <a:pt x="17" y="332"/>
                      </a:lnTo>
                      <a:lnTo>
                        <a:pt x="0" y="400"/>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19" name="40">
                  <a:extLst>
                    <a:ext uri="{FF2B5EF4-FFF2-40B4-BE49-F238E27FC236}">
                      <a16:creationId xmlns:a16="http://schemas.microsoft.com/office/drawing/2014/main" id="{FFF7C6EC-B6B5-4EEE-A247-2A887E08BBEB}"/>
                    </a:ext>
                  </a:extLst>
                </p:cNvPr>
                <p:cNvSpPr>
                  <a:spLocks/>
                </p:cNvSpPr>
                <p:nvPr/>
              </p:nvSpPr>
              <p:spPr bwMode="gray">
                <a:xfrm>
                  <a:off x="5001656" y="4900770"/>
                  <a:ext cx="641789" cy="530049"/>
                </a:xfrm>
                <a:custGeom>
                  <a:avLst/>
                  <a:gdLst>
                    <a:gd name="T0" fmla="*/ 4 w 448"/>
                    <a:gd name="T1" fmla="*/ 351 h 370"/>
                    <a:gd name="T2" fmla="*/ 38 w 448"/>
                    <a:gd name="T3" fmla="*/ 364 h 370"/>
                    <a:gd name="T4" fmla="*/ 93 w 448"/>
                    <a:gd name="T5" fmla="*/ 349 h 370"/>
                    <a:gd name="T6" fmla="*/ 100 w 448"/>
                    <a:gd name="T7" fmla="*/ 370 h 370"/>
                    <a:gd name="T8" fmla="*/ 199 w 448"/>
                    <a:gd name="T9" fmla="*/ 342 h 370"/>
                    <a:gd name="T10" fmla="*/ 240 w 448"/>
                    <a:gd name="T11" fmla="*/ 359 h 370"/>
                    <a:gd name="T12" fmla="*/ 280 w 448"/>
                    <a:gd name="T13" fmla="*/ 342 h 370"/>
                    <a:gd name="T14" fmla="*/ 287 w 448"/>
                    <a:gd name="T15" fmla="*/ 357 h 370"/>
                    <a:gd name="T16" fmla="*/ 342 w 448"/>
                    <a:gd name="T17" fmla="*/ 346 h 370"/>
                    <a:gd name="T18" fmla="*/ 331 w 448"/>
                    <a:gd name="T19" fmla="*/ 334 h 370"/>
                    <a:gd name="T20" fmla="*/ 331 w 448"/>
                    <a:gd name="T21" fmla="*/ 327 h 370"/>
                    <a:gd name="T22" fmla="*/ 357 w 448"/>
                    <a:gd name="T23" fmla="*/ 291 h 370"/>
                    <a:gd name="T24" fmla="*/ 359 w 448"/>
                    <a:gd name="T25" fmla="*/ 238 h 370"/>
                    <a:gd name="T26" fmla="*/ 346 w 448"/>
                    <a:gd name="T27" fmla="*/ 232 h 370"/>
                    <a:gd name="T28" fmla="*/ 401 w 448"/>
                    <a:gd name="T29" fmla="*/ 206 h 370"/>
                    <a:gd name="T30" fmla="*/ 429 w 448"/>
                    <a:gd name="T31" fmla="*/ 234 h 370"/>
                    <a:gd name="T32" fmla="*/ 431 w 448"/>
                    <a:gd name="T33" fmla="*/ 204 h 370"/>
                    <a:gd name="T34" fmla="*/ 448 w 448"/>
                    <a:gd name="T35" fmla="*/ 155 h 370"/>
                    <a:gd name="T36" fmla="*/ 380 w 448"/>
                    <a:gd name="T37" fmla="*/ 140 h 370"/>
                    <a:gd name="T38" fmla="*/ 380 w 448"/>
                    <a:gd name="T39" fmla="*/ 119 h 370"/>
                    <a:gd name="T40" fmla="*/ 378 w 448"/>
                    <a:gd name="T41" fmla="*/ 113 h 370"/>
                    <a:gd name="T42" fmla="*/ 365 w 448"/>
                    <a:gd name="T43" fmla="*/ 98 h 370"/>
                    <a:gd name="T44" fmla="*/ 355 w 448"/>
                    <a:gd name="T45" fmla="*/ 121 h 370"/>
                    <a:gd name="T46" fmla="*/ 310 w 448"/>
                    <a:gd name="T47" fmla="*/ 117 h 370"/>
                    <a:gd name="T48" fmla="*/ 314 w 448"/>
                    <a:gd name="T49" fmla="*/ 87 h 370"/>
                    <a:gd name="T50" fmla="*/ 248 w 448"/>
                    <a:gd name="T51" fmla="*/ 45 h 370"/>
                    <a:gd name="T52" fmla="*/ 250 w 448"/>
                    <a:gd name="T53" fmla="*/ 28 h 370"/>
                    <a:gd name="T54" fmla="*/ 148 w 448"/>
                    <a:gd name="T55" fmla="*/ 30 h 370"/>
                    <a:gd name="T56" fmla="*/ 161 w 448"/>
                    <a:gd name="T57" fmla="*/ 0 h 370"/>
                    <a:gd name="T58" fmla="*/ 129 w 448"/>
                    <a:gd name="T59" fmla="*/ 0 h 370"/>
                    <a:gd name="T60" fmla="*/ 104 w 448"/>
                    <a:gd name="T61" fmla="*/ 6 h 370"/>
                    <a:gd name="T62" fmla="*/ 91 w 448"/>
                    <a:gd name="T63" fmla="*/ 11 h 370"/>
                    <a:gd name="T64" fmla="*/ 23 w 448"/>
                    <a:gd name="T65" fmla="*/ 302 h 370"/>
                    <a:gd name="T66" fmla="*/ 0 w 448"/>
                    <a:gd name="T67" fmla="*/ 349 h 370"/>
                    <a:gd name="T68" fmla="*/ 4 w 448"/>
                    <a:gd name="T69" fmla="*/ 35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8" h="370">
                      <a:moveTo>
                        <a:pt x="4" y="351"/>
                      </a:moveTo>
                      <a:lnTo>
                        <a:pt x="38" y="364"/>
                      </a:lnTo>
                      <a:lnTo>
                        <a:pt x="93" y="349"/>
                      </a:lnTo>
                      <a:lnTo>
                        <a:pt x="100" y="370"/>
                      </a:lnTo>
                      <a:lnTo>
                        <a:pt x="199" y="342"/>
                      </a:lnTo>
                      <a:lnTo>
                        <a:pt x="240" y="359"/>
                      </a:lnTo>
                      <a:lnTo>
                        <a:pt x="280" y="342"/>
                      </a:lnTo>
                      <a:lnTo>
                        <a:pt x="287" y="357"/>
                      </a:lnTo>
                      <a:lnTo>
                        <a:pt x="342" y="346"/>
                      </a:lnTo>
                      <a:lnTo>
                        <a:pt x="331" y="334"/>
                      </a:lnTo>
                      <a:lnTo>
                        <a:pt x="331" y="327"/>
                      </a:lnTo>
                      <a:lnTo>
                        <a:pt x="357" y="291"/>
                      </a:lnTo>
                      <a:lnTo>
                        <a:pt x="359" y="238"/>
                      </a:lnTo>
                      <a:lnTo>
                        <a:pt x="346" y="232"/>
                      </a:lnTo>
                      <a:lnTo>
                        <a:pt x="401" y="206"/>
                      </a:lnTo>
                      <a:lnTo>
                        <a:pt x="429" y="234"/>
                      </a:lnTo>
                      <a:lnTo>
                        <a:pt x="431" y="204"/>
                      </a:lnTo>
                      <a:lnTo>
                        <a:pt x="448" y="155"/>
                      </a:lnTo>
                      <a:lnTo>
                        <a:pt x="380" y="140"/>
                      </a:lnTo>
                      <a:lnTo>
                        <a:pt x="380" y="119"/>
                      </a:lnTo>
                      <a:lnTo>
                        <a:pt x="378" y="113"/>
                      </a:lnTo>
                      <a:lnTo>
                        <a:pt x="365" y="98"/>
                      </a:lnTo>
                      <a:lnTo>
                        <a:pt x="355" y="121"/>
                      </a:lnTo>
                      <a:lnTo>
                        <a:pt x="310" y="117"/>
                      </a:lnTo>
                      <a:lnTo>
                        <a:pt x="314" y="87"/>
                      </a:lnTo>
                      <a:lnTo>
                        <a:pt x="248" y="45"/>
                      </a:lnTo>
                      <a:lnTo>
                        <a:pt x="250" y="28"/>
                      </a:lnTo>
                      <a:lnTo>
                        <a:pt x="148" y="30"/>
                      </a:lnTo>
                      <a:lnTo>
                        <a:pt x="161" y="0"/>
                      </a:lnTo>
                      <a:lnTo>
                        <a:pt x="129" y="0"/>
                      </a:lnTo>
                      <a:lnTo>
                        <a:pt x="104" y="6"/>
                      </a:lnTo>
                      <a:lnTo>
                        <a:pt x="91" y="11"/>
                      </a:lnTo>
                      <a:lnTo>
                        <a:pt x="23" y="302"/>
                      </a:lnTo>
                      <a:lnTo>
                        <a:pt x="0" y="349"/>
                      </a:lnTo>
                      <a:lnTo>
                        <a:pt x="4" y="351"/>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220" name="47">
                  <a:extLst>
                    <a:ext uri="{FF2B5EF4-FFF2-40B4-BE49-F238E27FC236}">
                      <a16:creationId xmlns:a16="http://schemas.microsoft.com/office/drawing/2014/main" id="{CC8E43BD-1EB8-4042-A37A-D163B24321CF}"/>
                    </a:ext>
                  </a:extLst>
                </p:cNvPr>
                <p:cNvSpPr>
                  <a:spLocks/>
                </p:cNvSpPr>
                <p:nvPr/>
              </p:nvSpPr>
              <p:spPr bwMode="gray">
                <a:xfrm>
                  <a:off x="5543165" y="4790463"/>
                  <a:ext cx="459854" cy="411147"/>
                </a:xfrm>
                <a:custGeom>
                  <a:avLst/>
                  <a:gdLst>
                    <a:gd name="T0" fmla="*/ 2 w 321"/>
                    <a:gd name="T1" fmla="*/ 196 h 287"/>
                    <a:gd name="T2" fmla="*/ 2 w 321"/>
                    <a:gd name="T3" fmla="*/ 217 h 287"/>
                    <a:gd name="T4" fmla="*/ 70 w 321"/>
                    <a:gd name="T5" fmla="*/ 232 h 287"/>
                    <a:gd name="T6" fmla="*/ 53 w 321"/>
                    <a:gd name="T7" fmla="*/ 281 h 287"/>
                    <a:gd name="T8" fmla="*/ 74 w 321"/>
                    <a:gd name="T9" fmla="*/ 287 h 287"/>
                    <a:gd name="T10" fmla="*/ 89 w 321"/>
                    <a:gd name="T11" fmla="*/ 270 h 287"/>
                    <a:gd name="T12" fmla="*/ 113 w 321"/>
                    <a:gd name="T13" fmla="*/ 281 h 287"/>
                    <a:gd name="T14" fmla="*/ 187 w 321"/>
                    <a:gd name="T15" fmla="*/ 253 h 287"/>
                    <a:gd name="T16" fmla="*/ 206 w 321"/>
                    <a:gd name="T17" fmla="*/ 273 h 287"/>
                    <a:gd name="T18" fmla="*/ 230 w 321"/>
                    <a:gd name="T19" fmla="*/ 260 h 287"/>
                    <a:gd name="T20" fmla="*/ 230 w 321"/>
                    <a:gd name="T21" fmla="*/ 251 h 287"/>
                    <a:gd name="T22" fmla="*/ 242 w 321"/>
                    <a:gd name="T23" fmla="*/ 232 h 287"/>
                    <a:gd name="T24" fmla="*/ 266 w 321"/>
                    <a:gd name="T25" fmla="*/ 236 h 287"/>
                    <a:gd name="T26" fmla="*/ 259 w 321"/>
                    <a:gd name="T27" fmla="*/ 219 h 287"/>
                    <a:gd name="T28" fmla="*/ 285 w 321"/>
                    <a:gd name="T29" fmla="*/ 185 h 287"/>
                    <a:gd name="T30" fmla="*/ 266 w 321"/>
                    <a:gd name="T31" fmla="*/ 171 h 287"/>
                    <a:gd name="T32" fmla="*/ 272 w 321"/>
                    <a:gd name="T33" fmla="*/ 149 h 287"/>
                    <a:gd name="T34" fmla="*/ 317 w 321"/>
                    <a:gd name="T35" fmla="*/ 147 h 287"/>
                    <a:gd name="T36" fmla="*/ 298 w 321"/>
                    <a:gd name="T37" fmla="*/ 88 h 287"/>
                    <a:gd name="T38" fmla="*/ 300 w 321"/>
                    <a:gd name="T39" fmla="*/ 85 h 287"/>
                    <a:gd name="T40" fmla="*/ 321 w 321"/>
                    <a:gd name="T41" fmla="*/ 77 h 287"/>
                    <a:gd name="T42" fmla="*/ 298 w 321"/>
                    <a:gd name="T43" fmla="*/ 51 h 287"/>
                    <a:gd name="T44" fmla="*/ 259 w 321"/>
                    <a:gd name="T45" fmla="*/ 64 h 287"/>
                    <a:gd name="T46" fmla="*/ 249 w 321"/>
                    <a:gd name="T47" fmla="*/ 28 h 287"/>
                    <a:gd name="T48" fmla="*/ 136 w 321"/>
                    <a:gd name="T49" fmla="*/ 39 h 287"/>
                    <a:gd name="T50" fmla="*/ 121 w 321"/>
                    <a:gd name="T51" fmla="*/ 0 h 287"/>
                    <a:gd name="T52" fmla="*/ 70 w 321"/>
                    <a:gd name="T53" fmla="*/ 20 h 287"/>
                    <a:gd name="T54" fmla="*/ 89 w 321"/>
                    <a:gd name="T55" fmla="*/ 41 h 287"/>
                    <a:gd name="T56" fmla="*/ 40 w 321"/>
                    <a:gd name="T57" fmla="*/ 75 h 287"/>
                    <a:gd name="T58" fmla="*/ 43 w 321"/>
                    <a:gd name="T59" fmla="*/ 139 h 287"/>
                    <a:gd name="T60" fmla="*/ 19 w 321"/>
                    <a:gd name="T61" fmla="*/ 145 h 287"/>
                    <a:gd name="T62" fmla="*/ 28 w 321"/>
                    <a:gd name="T63" fmla="*/ 175 h 287"/>
                    <a:gd name="T64" fmla="*/ 0 w 321"/>
                    <a:gd name="T65" fmla="*/ 190 h 287"/>
                    <a:gd name="T66" fmla="*/ 2 w 321"/>
                    <a:gd name="T67" fmla="*/ 1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87">
                      <a:moveTo>
                        <a:pt x="2" y="196"/>
                      </a:moveTo>
                      <a:lnTo>
                        <a:pt x="2" y="217"/>
                      </a:lnTo>
                      <a:lnTo>
                        <a:pt x="70" y="232"/>
                      </a:lnTo>
                      <a:lnTo>
                        <a:pt x="53" y="281"/>
                      </a:lnTo>
                      <a:lnTo>
                        <a:pt x="74" y="287"/>
                      </a:lnTo>
                      <a:lnTo>
                        <a:pt x="89" y="270"/>
                      </a:lnTo>
                      <a:lnTo>
                        <a:pt x="113" y="281"/>
                      </a:lnTo>
                      <a:lnTo>
                        <a:pt x="187" y="253"/>
                      </a:lnTo>
                      <a:lnTo>
                        <a:pt x="206" y="273"/>
                      </a:lnTo>
                      <a:lnTo>
                        <a:pt x="230" y="260"/>
                      </a:lnTo>
                      <a:lnTo>
                        <a:pt x="230" y="251"/>
                      </a:lnTo>
                      <a:lnTo>
                        <a:pt x="242" y="232"/>
                      </a:lnTo>
                      <a:lnTo>
                        <a:pt x="266" y="236"/>
                      </a:lnTo>
                      <a:lnTo>
                        <a:pt x="259" y="219"/>
                      </a:lnTo>
                      <a:lnTo>
                        <a:pt x="285" y="185"/>
                      </a:lnTo>
                      <a:lnTo>
                        <a:pt x="266" y="171"/>
                      </a:lnTo>
                      <a:lnTo>
                        <a:pt x="272" y="149"/>
                      </a:lnTo>
                      <a:lnTo>
                        <a:pt x="317" y="147"/>
                      </a:lnTo>
                      <a:lnTo>
                        <a:pt x="298" y="88"/>
                      </a:lnTo>
                      <a:lnTo>
                        <a:pt x="300" y="85"/>
                      </a:lnTo>
                      <a:lnTo>
                        <a:pt x="321" y="77"/>
                      </a:lnTo>
                      <a:lnTo>
                        <a:pt x="298" y="51"/>
                      </a:lnTo>
                      <a:lnTo>
                        <a:pt x="259" y="64"/>
                      </a:lnTo>
                      <a:lnTo>
                        <a:pt x="249" y="28"/>
                      </a:lnTo>
                      <a:lnTo>
                        <a:pt x="136" y="39"/>
                      </a:lnTo>
                      <a:lnTo>
                        <a:pt x="121" y="0"/>
                      </a:lnTo>
                      <a:lnTo>
                        <a:pt x="70" y="20"/>
                      </a:lnTo>
                      <a:lnTo>
                        <a:pt x="89" y="41"/>
                      </a:lnTo>
                      <a:lnTo>
                        <a:pt x="40" y="75"/>
                      </a:lnTo>
                      <a:lnTo>
                        <a:pt x="43" y="139"/>
                      </a:lnTo>
                      <a:lnTo>
                        <a:pt x="19" y="145"/>
                      </a:lnTo>
                      <a:lnTo>
                        <a:pt x="28" y="175"/>
                      </a:lnTo>
                      <a:lnTo>
                        <a:pt x="0" y="190"/>
                      </a:lnTo>
                      <a:lnTo>
                        <a:pt x="2" y="196"/>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grpSp>
        </p:grpSp>
        <p:grpSp>
          <p:nvGrpSpPr>
            <p:cNvPr id="169" name="Aquitaine Limousin Poitou Charentes (N° Départements)">
              <a:extLst>
                <a:ext uri="{FF2B5EF4-FFF2-40B4-BE49-F238E27FC236}">
                  <a16:creationId xmlns:a16="http://schemas.microsoft.com/office/drawing/2014/main" id="{FF061E4F-1DB4-4949-8C8F-F253915B2836}"/>
                </a:ext>
              </a:extLst>
            </p:cNvPr>
            <p:cNvGrpSpPr/>
            <p:nvPr/>
          </p:nvGrpSpPr>
          <p:grpSpPr>
            <a:xfrm>
              <a:off x="5945905" y="3550959"/>
              <a:ext cx="1272910" cy="1921319"/>
              <a:chOff x="5192449" y="3720344"/>
              <a:chExt cx="1272910" cy="1921319"/>
            </a:xfrm>
          </p:grpSpPr>
          <p:grpSp>
            <p:nvGrpSpPr>
              <p:cNvPr id="198" name="Poitou Charentes (N° Départements)">
                <a:extLst>
                  <a:ext uri="{FF2B5EF4-FFF2-40B4-BE49-F238E27FC236}">
                    <a16:creationId xmlns:a16="http://schemas.microsoft.com/office/drawing/2014/main" id="{68A4BF42-8DF3-45F3-B282-701071F3E902}"/>
                  </a:ext>
                </a:extLst>
              </p:cNvPr>
              <p:cNvGrpSpPr/>
              <p:nvPr/>
            </p:nvGrpSpPr>
            <p:grpSpPr>
              <a:xfrm>
                <a:off x="5291004" y="3720344"/>
                <a:ext cx="621047" cy="646071"/>
                <a:chOff x="5291004" y="3720344"/>
                <a:chExt cx="621047" cy="646071"/>
              </a:xfrm>
            </p:grpSpPr>
            <p:sp>
              <p:nvSpPr>
                <p:cNvPr id="209" name="17">
                  <a:extLst>
                    <a:ext uri="{FF2B5EF4-FFF2-40B4-BE49-F238E27FC236}">
                      <a16:creationId xmlns:a16="http://schemas.microsoft.com/office/drawing/2014/main" id="{E8A37156-B429-4AFA-8B64-72ABC8C0F921}"/>
                    </a:ext>
                  </a:extLst>
                </p:cNvPr>
                <p:cNvSpPr txBox="1"/>
                <p:nvPr/>
              </p:nvSpPr>
              <p:spPr>
                <a:xfrm>
                  <a:off x="5291004" y="4110832"/>
                  <a:ext cx="184830" cy="166169"/>
                </a:xfrm>
                <a:prstGeom prst="rect">
                  <a:avLst/>
                </a:prstGeom>
                <a:noFill/>
              </p:spPr>
              <p:txBody>
                <a:bodyPr wrap="none" lIns="0" tIns="0" rIns="0" bIns="0" rtlCol="0">
                  <a:noAutofit/>
                </a:bodyPr>
                <a:lstStyle/>
                <a:p>
                  <a:r>
                    <a:rPr lang="fr-FR" sz="800">
                      <a:solidFill>
                        <a:srgbClr val="503078"/>
                      </a:solidFill>
                      <a:latin typeface="Tahoma"/>
                    </a:rPr>
                    <a:t>17</a:t>
                  </a:r>
                </a:p>
              </p:txBody>
            </p:sp>
            <p:sp>
              <p:nvSpPr>
                <p:cNvPr id="210" name="16">
                  <a:extLst>
                    <a:ext uri="{FF2B5EF4-FFF2-40B4-BE49-F238E27FC236}">
                      <a16:creationId xmlns:a16="http://schemas.microsoft.com/office/drawing/2014/main" id="{075219FA-7225-4D6D-9AED-1D71D28F70F9}"/>
                    </a:ext>
                  </a:extLst>
                </p:cNvPr>
                <p:cNvSpPr txBox="1"/>
                <p:nvPr/>
              </p:nvSpPr>
              <p:spPr>
                <a:xfrm>
                  <a:off x="5631956" y="4200246"/>
                  <a:ext cx="184830" cy="166169"/>
                </a:xfrm>
                <a:prstGeom prst="rect">
                  <a:avLst/>
                </a:prstGeom>
                <a:noFill/>
              </p:spPr>
              <p:txBody>
                <a:bodyPr wrap="none" lIns="0" tIns="0" rIns="0" bIns="0" rtlCol="0">
                  <a:noAutofit/>
                </a:bodyPr>
                <a:lstStyle/>
                <a:p>
                  <a:r>
                    <a:rPr lang="fr-FR" sz="800">
                      <a:solidFill>
                        <a:srgbClr val="503078"/>
                      </a:solidFill>
                      <a:latin typeface="Tahoma"/>
                    </a:rPr>
                    <a:t>16</a:t>
                  </a:r>
                </a:p>
              </p:txBody>
            </p:sp>
            <p:sp>
              <p:nvSpPr>
                <p:cNvPr id="211" name="86">
                  <a:extLst>
                    <a:ext uri="{FF2B5EF4-FFF2-40B4-BE49-F238E27FC236}">
                      <a16:creationId xmlns:a16="http://schemas.microsoft.com/office/drawing/2014/main" id="{594BC1BD-3145-4709-97B5-3F15F9C67F7C}"/>
                    </a:ext>
                  </a:extLst>
                </p:cNvPr>
                <p:cNvSpPr txBox="1"/>
                <p:nvPr/>
              </p:nvSpPr>
              <p:spPr>
                <a:xfrm>
                  <a:off x="5727221" y="3753294"/>
                  <a:ext cx="184830" cy="166169"/>
                </a:xfrm>
                <a:prstGeom prst="rect">
                  <a:avLst/>
                </a:prstGeom>
                <a:noFill/>
              </p:spPr>
              <p:txBody>
                <a:bodyPr wrap="none" lIns="0" tIns="0" rIns="0" bIns="0" rtlCol="0">
                  <a:noAutofit/>
                </a:bodyPr>
                <a:lstStyle/>
                <a:p>
                  <a:r>
                    <a:rPr lang="fr-FR" sz="800">
                      <a:solidFill>
                        <a:srgbClr val="503078"/>
                      </a:solidFill>
                      <a:latin typeface="Tahoma"/>
                    </a:rPr>
                    <a:t>86</a:t>
                  </a:r>
                </a:p>
              </p:txBody>
            </p:sp>
            <p:sp>
              <p:nvSpPr>
                <p:cNvPr id="212" name="79">
                  <a:extLst>
                    <a:ext uri="{FF2B5EF4-FFF2-40B4-BE49-F238E27FC236}">
                      <a16:creationId xmlns:a16="http://schemas.microsoft.com/office/drawing/2014/main" id="{A5A94475-6BBC-4480-99F2-43A978857B6E}"/>
                    </a:ext>
                  </a:extLst>
                </p:cNvPr>
                <p:cNvSpPr txBox="1"/>
                <p:nvPr/>
              </p:nvSpPr>
              <p:spPr>
                <a:xfrm>
                  <a:off x="5452703" y="3720344"/>
                  <a:ext cx="184830" cy="166169"/>
                </a:xfrm>
                <a:prstGeom prst="rect">
                  <a:avLst/>
                </a:prstGeom>
                <a:noFill/>
              </p:spPr>
              <p:txBody>
                <a:bodyPr wrap="none" lIns="0" tIns="0" rIns="0" bIns="0" rtlCol="0">
                  <a:noAutofit/>
                </a:bodyPr>
                <a:lstStyle/>
                <a:p>
                  <a:r>
                    <a:rPr lang="fr-FR" sz="800">
                      <a:solidFill>
                        <a:srgbClr val="503078"/>
                      </a:solidFill>
                      <a:latin typeface="Tahoma"/>
                    </a:rPr>
                    <a:t>79</a:t>
                  </a:r>
                </a:p>
              </p:txBody>
            </p:sp>
          </p:grpSp>
          <p:grpSp>
            <p:nvGrpSpPr>
              <p:cNvPr id="199" name="Limousin (N° Départements)">
                <a:extLst>
                  <a:ext uri="{FF2B5EF4-FFF2-40B4-BE49-F238E27FC236}">
                    <a16:creationId xmlns:a16="http://schemas.microsoft.com/office/drawing/2014/main" id="{5ED835EC-16FF-4140-A687-8A88209706A0}"/>
                  </a:ext>
                </a:extLst>
              </p:cNvPr>
              <p:cNvGrpSpPr/>
              <p:nvPr/>
            </p:nvGrpSpPr>
            <p:grpSpPr>
              <a:xfrm>
                <a:off x="5985798" y="4025958"/>
                <a:ext cx="479561" cy="562509"/>
                <a:chOff x="5985798" y="4025958"/>
                <a:chExt cx="479561" cy="562509"/>
              </a:xfrm>
            </p:grpSpPr>
            <p:sp>
              <p:nvSpPr>
                <p:cNvPr id="206" name="23">
                  <a:extLst>
                    <a:ext uri="{FF2B5EF4-FFF2-40B4-BE49-F238E27FC236}">
                      <a16:creationId xmlns:a16="http://schemas.microsoft.com/office/drawing/2014/main" id="{8F3BA986-2A19-4084-A838-681450BE13EE}"/>
                    </a:ext>
                  </a:extLst>
                </p:cNvPr>
                <p:cNvSpPr txBox="1"/>
                <p:nvPr/>
              </p:nvSpPr>
              <p:spPr>
                <a:xfrm>
                  <a:off x="6280529" y="4025958"/>
                  <a:ext cx="184830" cy="166169"/>
                </a:xfrm>
                <a:prstGeom prst="rect">
                  <a:avLst/>
                </a:prstGeom>
                <a:noFill/>
              </p:spPr>
              <p:txBody>
                <a:bodyPr wrap="none" lIns="0" tIns="0" rIns="0" bIns="0" rtlCol="0">
                  <a:noAutofit/>
                </a:bodyPr>
                <a:lstStyle/>
                <a:p>
                  <a:r>
                    <a:rPr lang="fr-FR" sz="800">
                      <a:solidFill>
                        <a:srgbClr val="FFFFFF"/>
                      </a:solidFill>
                      <a:latin typeface="Tahoma"/>
                    </a:rPr>
                    <a:t>23</a:t>
                  </a:r>
                </a:p>
              </p:txBody>
            </p:sp>
            <p:sp>
              <p:nvSpPr>
                <p:cNvPr id="207" name="87">
                  <a:extLst>
                    <a:ext uri="{FF2B5EF4-FFF2-40B4-BE49-F238E27FC236}">
                      <a16:creationId xmlns:a16="http://schemas.microsoft.com/office/drawing/2014/main" id="{1109E4DE-B7B7-40FD-A3ED-D88C710C9FD2}"/>
                    </a:ext>
                  </a:extLst>
                </p:cNvPr>
                <p:cNvSpPr txBox="1"/>
                <p:nvPr/>
              </p:nvSpPr>
              <p:spPr>
                <a:xfrm>
                  <a:off x="5985798" y="4151539"/>
                  <a:ext cx="184830" cy="166169"/>
                </a:xfrm>
                <a:prstGeom prst="rect">
                  <a:avLst/>
                </a:prstGeom>
                <a:noFill/>
              </p:spPr>
              <p:txBody>
                <a:bodyPr wrap="none" lIns="0" tIns="0" rIns="0" bIns="0" rtlCol="0">
                  <a:noAutofit/>
                </a:bodyPr>
                <a:lstStyle/>
                <a:p>
                  <a:r>
                    <a:rPr lang="fr-FR" sz="800">
                      <a:solidFill>
                        <a:srgbClr val="503078"/>
                      </a:solidFill>
                      <a:latin typeface="Tahoma"/>
                    </a:rPr>
                    <a:t>87</a:t>
                  </a:r>
                </a:p>
              </p:txBody>
            </p:sp>
            <p:sp>
              <p:nvSpPr>
                <p:cNvPr id="208" name="19">
                  <a:extLst>
                    <a:ext uri="{FF2B5EF4-FFF2-40B4-BE49-F238E27FC236}">
                      <a16:creationId xmlns:a16="http://schemas.microsoft.com/office/drawing/2014/main" id="{2535B21B-22C9-470F-8185-0DE8432D0D44}"/>
                    </a:ext>
                  </a:extLst>
                </p:cNvPr>
                <p:cNvSpPr txBox="1"/>
                <p:nvPr/>
              </p:nvSpPr>
              <p:spPr>
                <a:xfrm>
                  <a:off x="6232931" y="4422298"/>
                  <a:ext cx="184830" cy="166169"/>
                </a:xfrm>
                <a:prstGeom prst="rect">
                  <a:avLst/>
                </a:prstGeom>
                <a:noFill/>
              </p:spPr>
              <p:txBody>
                <a:bodyPr wrap="none" lIns="0" tIns="0" rIns="0" bIns="0" rtlCol="0">
                  <a:noAutofit/>
                </a:bodyPr>
                <a:lstStyle/>
                <a:p>
                  <a:r>
                    <a:rPr lang="fr-FR" sz="800">
                      <a:solidFill>
                        <a:srgbClr val="FFFFFF"/>
                      </a:solidFill>
                      <a:latin typeface="Tahoma"/>
                    </a:rPr>
                    <a:t>19</a:t>
                  </a:r>
                </a:p>
              </p:txBody>
            </p:sp>
          </p:grpSp>
          <p:grpSp>
            <p:nvGrpSpPr>
              <p:cNvPr id="200" name="Aquitaine (N° Départments)">
                <a:extLst>
                  <a:ext uri="{FF2B5EF4-FFF2-40B4-BE49-F238E27FC236}">
                    <a16:creationId xmlns:a16="http://schemas.microsoft.com/office/drawing/2014/main" id="{45C656BC-17D0-4139-89A2-3240F8A57032}"/>
                  </a:ext>
                </a:extLst>
              </p:cNvPr>
              <p:cNvGrpSpPr/>
              <p:nvPr/>
            </p:nvGrpSpPr>
            <p:grpSpPr>
              <a:xfrm>
                <a:off x="5192449" y="4538332"/>
                <a:ext cx="777621" cy="1103331"/>
                <a:chOff x="5192449" y="4538332"/>
                <a:chExt cx="777621" cy="1103331"/>
              </a:xfrm>
            </p:grpSpPr>
            <p:sp>
              <p:nvSpPr>
                <p:cNvPr id="201" name="24">
                  <a:extLst>
                    <a:ext uri="{FF2B5EF4-FFF2-40B4-BE49-F238E27FC236}">
                      <a16:creationId xmlns:a16="http://schemas.microsoft.com/office/drawing/2014/main" id="{2267BFA6-E856-4BF1-875F-AD2CFA105D38}"/>
                    </a:ext>
                  </a:extLst>
                </p:cNvPr>
                <p:cNvSpPr txBox="1"/>
                <p:nvPr/>
              </p:nvSpPr>
              <p:spPr>
                <a:xfrm>
                  <a:off x="5785240" y="4538332"/>
                  <a:ext cx="184830" cy="166169"/>
                </a:xfrm>
                <a:prstGeom prst="rect">
                  <a:avLst/>
                </a:prstGeom>
                <a:noFill/>
              </p:spPr>
              <p:txBody>
                <a:bodyPr wrap="none" lIns="0" tIns="0" rIns="0" bIns="0" rtlCol="0">
                  <a:noAutofit/>
                </a:bodyPr>
                <a:lstStyle/>
                <a:p>
                  <a:r>
                    <a:rPr lang="fr-FR" sz="800">
                      <a:solidFill>
                        <a:srgbClr val="FFFFFF"/>
                      </a:solidFill>
                      <a:latin typeface="Tahoma"/>
                    </a:rPr>
                    <a:t>24</a:t>
                  </a:r>
                </a:p>
              </p:txBody>
            </p:sp>
            <p:sp>
              <p:nvSpPr>
                <p:cNvPr id="202" name="33">
                  <a:extLst>
                    <a:ext uri="{FF2B5EF4-FFF2-40B4-BE49-F238E27FC236}">
                      <a16:creationId xmlns:a16="http://schemas.microsoft.com/office/drawing/2014/main" id="{01E9DEA6-DABD-41E5-AE2D-9A53ADB0E5D4}"/>
                    </a:ext>
                  </a:extLst>
                </p:cNvPr>
                <p:cNvSpPr txBox="1"/>
                <p:nvPr/>
              </p:nvSpPr>
              <p:spPr>
                <a:xfrm>
                  <a:off x="5324701" y="4701647"/>
                  <a:ext cx="184830" cy="166169"/>
                </a:xfrm>
                <a:prstGeom prst="rect">
                  <a:avLst/>
                </a:prstGeom>
                <a:noFill/>
              </p:spPr>
              <p:txBody>
                <a:bodyPr wrap="none" lIns="0" tIns="0" rIns="0" bIns="0" rtlCol="0">
                  <a:noAutofit/>
                </a:bodyPr>
                <a:lstStyle/>
                <a:p>
                  <a:r>
                    <a:rPr lang="fr-FR" sz="800">
                      <a:solidFill>
                        <a:srgbClr val="FFFFFF"/>
                      </a:solidFill>
                      <a:latin typeface="Tahoma"/>
                    </a:rPr>
                    <a:t>33</a:t>
                  </a:r>
                </a:p>
              </p:txBody>
            </p:sp>
            <p:sp>
              <p:nvSpPr>
                <p:cNvPr id="203" name="64">
                  <a:extLst>
                    <a:ext uri="{FF2B5EF4-FFF2-40B4-BE49-F238E27FC236}">
                      <a16:creationId xmlns:a16="http://schemas.microsoft.com/office/drawing/2014/main" id="{60006F56-E1C8-400E-8020-8C075AAABC32}"/>
                    </a:ext>
                  </a:extLst>
                </p:cNvPr>
                <p:cNvSpPr txBox="1"/>
                <p:nvPr/>
              </p:nvSpPr>
              <p:spPr>
                <a:xfrm>
                  <a:off x="5243028" y="5475494"/>
                  <a:ext cx="184830" cy="166169"/>
                </a:xfrm>
                <a:prstGeom prst="rect">
                  <a:avLst/>
                </a:prstGeom>
                <a:noFill/>
              </p:spPr>
              <p:txBody>
                <a:bodyPr wrap="none" lIns="0" tIns="0" rIns="0" bIns="0" rtlCol="0">
                  <a:noAutofit/>
                </a:bodyPr>
                <a:lstStyle/>
                <a:p>
                  <a:r>
                    <a:rPr lang="fr-FR" sz="800">
                      <a:solidFill>
                        <a:srgbClr val="503078"/>
                      </a:solidFill>
                      <a:latin typeface="Tahoma"/>
                    </a:rPr>
                    <a:t>64</a:t>
                  </a:r>
                </a:p>
              </p:txBody>
            </p:sp>
            <p:sp>
              <p:nvSpPr>
                <p:cNvPr id="204" name="40">
                  <a:extLst>
                    <a:ext uri="{FF2B5EF4-FFF2-40B4-BE49-F238E27FC236}">
                      <a16:creationId xmlns:a16="http://schemas.microsoft.com/office/drawing/2014/main" id="{3FFFF29F-2966-43A7-80C9-15379B2F869D}"/>
                    </a:ext>
                  </a:extLst>
                </p:cNvPr>
                <p:cNvSpPr txBox="1"/>
                <p:nvPr/>
              </p:nvSpPr>
              <p:spPr>
                <a:xfrm>
                  <a:off x="5192449" y="5100479"/>
                  <a:ext cx="184830" cy="166169"/>
                </a:xfrm>
                <a:prstGeom prst="rect">
                  <a:avLst/>
                </a:prstGeom>
                <a:noFill/>
              </p:spPr>
              <p:txBody>
                <a:bodyPr wrap="none" lIns="0" tIns="0" rIns="0" bIns="0" rtlCol="0">
                  <a:noAutofit/>
                </a:bodyPr>
                <a:lstStyle/>
                <a:p>
                  <a:r>
                    <a:rPr lang="fr-FR" sz="800">
                      <a:solidFill>
                        <a:srgbClr val="503078"/>
                      </a:solidFill>
                      <a:latin typeface="Tahoma"/>
                    </a:rPr>
                    <a:t>40</a:t>
                  </a:r>
                </a:p>
              </p:txBody>
            </p:sp>
            <p:sp>
              <p:nvSpPr>
                <p:cNvPr id="205" name="17">
                  <a:extLst>
                    <a:ext uri="{FF2B5EF4-FFF2-40B4-BE49-F238E27FC236}">
                      <a16:creationId xmlns:a16="http://schemas.microsoft.com/office/drawing/2014/main" id="{FF5B16C7-A643-401D-A498-B2B98123E99A}"/>
                    </a:ext>
                  </a:extLst>
                </p:cNvPr>
                <p:cNvSpPr txBox="1"/>
                <p:nvPr/>
              </p:nvSpPr>
              <p:spPr>
                <a:xfrm>
                  <a:off x="5671886" y="4891465"/>
                  <a:ext cx="184830" cy="166169"/>
                </a:xfrm>
                <a:prstGeom prst="rect">
                  <a:avLst/>
                </a:prstGeom>
                <a:noFill/>
              </p:spPr>
              <p:txBody>
                <a:bodyPr wrap="none" lIns="0" tIns="0" rIns="0" bIns="0" rtlCol="0">
                  <a:noAutofit/>
                </a:bodyPr>
                <a:lstStyle/>
                <a:p>
                  <a:r>
                    <a:rPr lang="fr-FR" sz="800">
                      <a:solidFill>
                        <a:srgbClr val="503078"/>
                      </a:solidFill>
                      <a:latin typeface="Tahoma"/>
                    </a:rPr>
                    <a:t>47</a:t>
                  </a:r>
                </a:p>
              </p:txBody>
            </p:sp>
          </p:grpSp>
        </p:grpSp>
        <p:grpSp>
          <p:nvGrpSpPr>
            <p:cNvPr id="170" name="Alsace Lorraine Champagne Ardennes (Formes)">
              <a:extLst>
                <a:ext uri="{FF2B5EF4-FFF2-40B4-BE49-F238E27FC236}">
                  <a16:creationId xmlns:a16="http://schemas.microsoft.com/office/drawing/2014/main" id="{7CE84E19-C4D9-4FE0-B840-53C5342306AA}"/>
                </a:ext>
              </a:extLst>
            </p:cNvPr>
            <p:cNvGrpSpPr/>
            <p:nvPr/>
          </p:nvGrpSpPr>
          <p:grpSpPr>
            <a:xfrm>
              <a:off x="7621717" y="1816115"/>
              <a:ext cx="1668965" cy="1395320"/>
              <a:chOff x="6868261" y="1985500"/>
              <a:chExt cx="1668965" cy="1395320"/>
            </a:xfrm>
            <a:solidFill>
              <a:srgbClr val="8C9B9C"/>
            </a:solidFill>
          </p:grpSpPr>
          <p:grpSp>
            <p:nvGrpSpPr>
              <p:cNvPr id="185" name="Lorraine (Formes)">
                <a:extLst>
                  <a:ext uri="{FF2B5EF4-FFF2-40B4-BE49-F238E27FC236}">
                    <a16:creationId xmlns:a16="http://schemas.microsoft.com/office/drawing/2014/main" id="{2FDF9269-F2C8-4926-94E7-C29B6E60AF9B}"/>
                  </a:ext>
                </a:extLst>
              </p:cNvPr>
              <p:cNvGrpSpPr/>
              <p:nvPr/>
            </p:nvGrpSpPr>
            <p:grpSpPr>
              <a:xfrm>
                <a:off x="7385444" y="2263417"/>
                <a:ext cx="944061" cy="925439"/>
                <a:chOff x="7385444" y="2263417"/>
                <a:chExt cx="944061" cy="925439"/>
              </a:xfrm>
              <a:grpFill/>
            </p:grpSpPr>
            <p:sp>
              <p:nvSpPr>
                <p:cNvPr id="194" name="54">
                  <a:extLst>
                    <a:ext uri="{FF2B5EF4-FFF2-40B4-BE49-F238E27FC236}">
                      <a16:creationId xmlns:a16="http://schemas.microsoft.com/office/drawing/2014/main" id="{D912020F-5ABD-42E5-AC5A-21472557740B}"/>
                    </a:ext>
                  </a:extLst>
                </p:cNvPr>
                <p:cNvSpPr>
                  <a:spLocks/>
                </p:cNvSpPr>
                <p:nvPr/>
              </p:nvSpPr>
              <p:spPr bwMode="gray">
                <a:xfrm>
                  <a:off x="7571678" y="2287771"/>
                  <a:ext cx="593082" cy="633194"/>
                </a:xfrm>
                <a:custGeom>
                  <a:avLst/>
                  <a:gdLst>
                    <a:gd name="T0" fmla="*/ 0 w 414"/>
                    <a:gd name="T1" fmla="*/ 59 h 442"/>
                    <a:gd name="T2" fmla="*/ 15 w 414"/>
                    <a:gd name="T3" fmla="*/ 55 h 442"/>
                    <a:gd name="T4" fmla="*/ 6 w 414"/>
                    <a:gd name="T5" fmla="*/ 25 h 442"/>
                    <a:gd name="T6" fmla="*/ 76 w 414"/>
                    <a:gd name="T7" fmla="*/ 0 h 442"/>
                    <a:gd name="T8" fmla="*/ 104 w 414"/>
                    <a:gd name="T9" fmla="*/ 23 h 442"/>
                    <a:gd name="T10" fmla="*/ 106 w 414"/>
                    <a:gd name="T11" fmla="*/ 30 h 442"/>
                    <a:gd name="T12" fmla="*/ 140 w 414"/>
                    <a:gd name="T13" fmla="*/ 113 h 442"/>
                    <a:gd name="T14" fmla="*/ 136 w 414"/>
                    <a:gd name="T15" fmla="*/ 164 h 442"/>
                    <a:gd name="T16" fmla="*/ 119 w 414"/>
                    <a:gd name="T17" fmla="*/ 172 h 442"/>
                    <a:gd name="T18" fmla="*/ 148 w 414"/>
                    <a:gd name="T19" fmla="*/ 212 h 442"/>
                    <a:gd name="T20" fmla="*/ 212 w 414"/>
                    <a:gd name="T21" fmla="*/ 232 h 442"/>
                    <a:gd name="T22" fmla="*/ 208 w 414"/>
                    <a:gd name="T23" fmla="*/ 257 h 442"/>
                    <a:gd name="T24" fmla="*/ 227 w 414"/>
                    <a:gd name="T25" fmla="*/ 280 h 442"/>
                    <a:gd name="T26" fmla="*/ 274 w 414"/>
                    <a:gd name="T27" fmla="*/ 289 h 442"/>
                    <a:gd name="T28" fmla="*/ 302 w 414"/>
                    <a:gd name="T29" fmla="*/ 319 h 442"/>
                    <a:gd name="T30" fmla="*/ 387 w 414"/>
                    <a:gd name="T31" fmla="*/ 338 h 442"/>
                    <a:gd name="T32" fmla="*/ 401 w 414"/>
                    <a:gd name="T33" fmla="*/ 366 h 442"/>
                    <a:gd name="T34" fmla="*/ 414 w 414"/>
                    <a:gd name="T35" fmla="*/ 372 h 442"/>
                    <a:gd name="T36" fmla="*/ 333 w 414"/>
                    <a:gd name="T37" fmla="*/ 421 h 442"/>
                    <a:gd name="T38" fmla="*/ 297 w 414"/>
                    <a:gd name="T39" fmla="*/ 393 h 442"/>
                    <a:gd name="T40" fmla="*/ 285 w 414"/>
                    <a:gd name="T41" fmla="*/ 412 h 442"/>
                    <a:gd name="T42" fmla="*/ 244 w 414"/>
                    <a:gd name="T43" fmla="*/ 423 h 442"/>
                    <a:gd name="T44" fmla="*/ 217 w 414"/>
                    <a:gd name="T45" fmla="*/ 408 h 442"/>
                    <a:gd name="T46" fmla="*/ 180 w 414"/>
                    <a:gd name="T47" fmla="*/ 421 h 442"/>
                    <a:gd name="T48" fmla="*/ 172 w 414"/>
                    <a:gd name="T49" fmla="*/ 440 h 442"/>
                    <a:gd name="T50" fmla="*/ 165 w 414"/>
                    <a:gd name="T51" fmla="*/ 429 h 442"/>
                    <a:gd name="T52" fmla="*/ 136 w 414"/>
                    <a:gd name="T53" fmla="*/ 442 h 442"/>
                    <a:gd name="T54" fmla="*/ 127 w 414"/>
                    <a:gd name="T55" fmla="*/ 412 h 442"/>
                    <a:gd name="T56" fmla="*/ 110 w 414"/>
                    <a:gd name="T57" fmla="*/ 421 h 442"/>
                    <a:gd name="T58" fmla="*/ 119 w 414"/>
                    <a:gd name="T59" fmla="*/ 389 h 442"/>
                    <a:gd name="T60" fmla="*/ 85 w 414"/>
                    <a:gd name="T61" fmla="*/ 391 h 442"/>
                    <a:gd name="T62" fmla="*/ 72 w 414"/>
                    <a:gd name="T63" fmla="*/ 361 h 442"/>
                    <a:gd name="T64" fmla="*/ 93 w 414"/>
                    <a:gd name="T65" fmla="*/ 342 h 442"/>
                    <a:gd name="T66" fmla="*/ 83 w 414"/>
                    <a:gd name="T67" fmla="*/ 344 h 442"/>
                    <a:gd name="T68" fmla="*/ 72 w 414"/>
                    <a:gd name="T69" fmla="*/ 300 h 442"/>
                    <a:gd name="T70" fmla="*/ 100 w 414"/>
                    <a:gd name="T71" fmla="*/ 189 h 442"/>
                    <a:gd name="T72" fmla="*/ 68 w 414"/>
                    <a:gd name="T73" fmla="*/ 134 h 442"/>
                    <a:gd name="T74" fmla="*/ 78 w 414"/>
                    <a:gd name="T75" fmla="*/ 96 h 442"/>
                    <a:gd name="T76" fmla="*/ 68 w 414"/>
                    <a:gd name="T77" fmla="*/ 59 h 442"/>
                    <a:gd name="T78" fmla="*/ 44 w 414"/>
                    <a:gd name="T79" fmla="*/ 47 h 442"/>
                    <a:gd name="T80" fmla="*/ 0 w 414"/>
                    <a:gd name="T81" fmla="*/ 62 h 442"/>
                    <a:gd name="T82" fmla="*/ 0 w 414"/>
                    <a:gd name="T83" fmla="*/ 59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4" h="442">
                      <a:moveTo>
                        <a:pt x="0" y="59"/>
                      </a:moveTo>
                      <a:lnTo>
                        <a:pt x="15" y="55"/>
                      </a:lnTo>
                      <a:lnTo>
                        <a:pt x="6" y="25"/>
                      </a:lnTo>
                      <a:lnTo>
                        <a:pt x="76" y="0"/>
                      </a:lnTo>
                      <a:lnTo>
                        <a:pt x="104" y="23"/>
                      </a:lnTo>
                      <a:lnTo>
                        <a:pt x="106" y="30"/>
                      </a:lnTo>
                      <a:lnTo>
                        <a:pt x="140" y="113"/>
                      </a:lnTo>
                      <a:lnTo>
                        <a:pt x="136" y="164"/>
                      </a:lnTo>
                      <a:lnTo>
                        <a:pt x="119" y="172"/>
                      </a:lnTo>
                      <a:lnTo>
                        <a:pt x="148" y="212"/>
                      </a:lnTo>
                      <a:lnTo>
                        <a:pt x="212" y="232"/>
                      </a:lnTo>
                      <a:lnTo>
                        <a:pt x="208" y="257"/>
                      </a:lnTo>
                      <a:lnTo>
                        <a:pt x="227" y="280"/>
                      </a:lnTo>
                      <a:lnTo>
                        <a:pt x="274" y="289"/>
                      </a:lnTo>
                      <a:lnTo>
                        <a:pt x="302" y="319"/>
                      </a:lnTo>
                      <a:lnTo>
                        <a:pt x="387" y="338"/>
                      </a:lnTo>
                      <a:lnTo>
                        <a:pt x="401" y="366"/>
                      </a:lnTo>
                      <a:lnTo>
                        <a:pt x="414" y="372"/>
                      </a:lnTo>
                      <a:lnTo>
                        <a:pt x="333" y="421"/>
                      </a:lnTo>
                      <a:lnTo>
                        <a:pt x="297" y="393"/>
                      </a:lnTo>
                      <a:lnTo>
                        <a:pt x="285" y="412"/>
                      </a:lnTo>
                      <a:lnTo>
                        <a:pt x="244" y="423"/>
                      </a:lnTo>
                      <a:lnTo>
                        <a:pt x="217" y="408"/>
                      </a:lnTo>
                      <a:lnTo>
                        <a:pt x="180" y="421"/>
                      </a:lnTo>
                      <a:lnTo>
                        <a:pt x="172" y="440"/>
                      </a:lnTo>
                      <a:lnTo>
                        <a:pt x="165" y="429"/>
                      </a:lnTo>
                      <a:lnTo>
                        <a:pt x="136" y="442"/>
                      </a:lnTo>
                      <a:lnTo>
                        <a:pt x="127" y="412"/>
                      </a:lnTo>
                      <a:lnTo>
                        <a:pt x="110" y="421"/>
                      </a:lnTo>
                      <a:lnTo>
                        <a:pt x="119" y="389"/>
                      </a:lnTo>
                      <a:lnTo>
                        <a:pt x="85" y="391"/>
                      </a:lnTo>
                      <a:lnTo>
                        <a:pt x="72" y="361"/>
                      </a:lnTo>
                      <a:lnTo>
                        <a:pt x="93" y="342"/>
                      </a:lnTo>
                      <a:lnTo>
                        <a:pt x="83" y="344"/>
                      </a:lnTo>
                      <a:lnTo>
                        <a:pt x="72" y="300"/>
                      </a:lnTo>
                      <a:lnTo>
                        <a:pt x="100" y="189"/>
                      </a:lnTo>
                      <a:lnTo>
                        <a:pt x="68" y="134"/>
                      </a:lnTo>
                      <a:lnTo>
                        <a:pt x="78" y="96"/>
                      </a:lnTo>
                      <a:lnTo>
                        <a:pt x="68" y="59"/>
                      </a:lnTo>
                      <a:lnTo>
                        <a:pt x="44" y="47"/>
                      </a:lnTo>
                      <a:lnTo>
                        <a:pt x="0" y="62"/>
                      </a:lnTo>
                      <a:lnTo>
                        <a:pt x="0" y="59"/>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195" name="55">
                  <a:extLst>
                    <a:ext uri="{FF2B5EF4-FFF2-40B4-BE49-F238E27FC236}">
                      <a16:creationId xmlns:a16="http://schemas.microsoft.com/office/drawing/2014/main" id="{C16FB1F0-572A-46D9-B9F9-A4BB00418469}"/>
                    </a:ext>
                  </a:extLst>
                </p:cNvPr>
                <p:cNvSpPr>
                  <a:spLocks/>
                </p:cNvSpPr>
                <p:nvPr/>
              </p:nvSpPr>
              <p:spPr bwMode="gray">
                <a:xfrm>
                  <a:off x="7385444" y="2263417"/>
                  <a:ext cx="329490" cy="624598"/>
                </a:xfrm>
                <a:custGeom>
                  <a:avLst/>
                  <a:gdLst>
                    <a:gd name="T0" fmla="*/ 2 w 230"/>
                    <a:gd name="T1" fmla="*/ 297 h 436"/>
                    <a:gd name="T2" fmla="*/ 30 w 230"/>
                    <a:gd name="T3" fmla="*/ 323 h 436"/>
                    <a:gd name="T4" fmla="*/ 26 w 230"/>
                    <a:gd name="T5" fmla="*/ 342 h 436"/>
                    <a:gd name="T6" fmla="*/ 32 w 230"/>
                    <a:gd name="T7" fmla="*/ 370 h 436"/>
                    <a:gd name="T8" fmla="*/ 43 w 230"/>
                    <a:gd name="T9" fmla="*/ 363 h 436"/>
                    <a:gd name="T10" fmla="*/ 145 w 230"/>
                    <a:gd name="T11" fmla="*/ 436 h 436"/>
                    <a:gd name="T12" fmla="*/ 215 w 230"/>
                    <a:gd name="T13" fmla="*/ 408 h 436"/>
                    <a:gd name="T14" fmla="*/ 202 w 230"/>
                    <a:gd name="T15" fmla="*/ 378 h 436"/>
                    <a:gd name="T16" fmla="*/ 223 w 230"/>
                    <a:gd name="T17" fmla="*/ 359 h 436"/>
                    <a:gd name="T18" fmla="*/ 213 w 230"/>
                    <a:gd name="T19" fmla="*/ 361 h 436"/>
                    <a:gd name="T20" fmla="*/ 202 w 230"/>
                    <a:gd name="T21" fmla="*/ 317 h 436"/>
                    <a:gd name="T22" fmla="*/ 230 w 230"/>
                    <a:gd name="T23" fmla="*/ 206 h 436"/>
                    <a:gd name="T24" fmla="*/ 198 w 230"/>
                    <a:gd name="T25" fmla="*/ 151 h 436"/>
                    <a:gd name="T26" fmla="*/ 208 w 230"/>
                    <a:gd name="T27" fmla="*/ 113 h 436"/>
                    <a:gd name="T28" fmla="*/ 198 w 230"/>
                    <a:gd name="T29" fmla="*/ 76 h 436"/>
                    <a:gd name="T30" fmla="*/ 174 w 230"/>
                    <a:gd name="T31" fmla="*/ 64 h 436"/>
                    <a:gd name="T32" fmla="*/ 130 w 230"/>
                    <a:gd name="T33" fmla="*/ 79 h 436"/>
                    <a:gd name="T34" fmla="*/ 130 w 230"/>
                    <a:gd name="T35" fmla="*/ 76 h 436"/>
                    <a:gd name="T36" fmla="*/ 145 w 230"/>
                    <a:gd name="T37" fmla="*/ 72 h 436"/>
                    <a:gd name="T38" fmla="*/ 136 w 230"/>
                    <a:gd name="T39" fmla="*/ 42 h 436"/>
                    <a:gd name="T40" fmla="*/ 115 w 230"/>
                    <a:gd name="T41" fmla="*/ 0 h 436"/>
                    <a:gd name="T42" fmla="*/ 87 w 230"/>
                    <a:gd name="T43" fmla="*/ 27 h 436"/>
                    <a:gd name="T44" fmla="*/ 47 w 230"/>
                    <a:gd name="T45" fmla="*/ 15 h 436"/>
                    <a:gd name="T46" fmla="*/ 36 w 230"/>
                    <a:gd name="T47" fmla="*/ 42 h 436"/>
                    <a:gd name="T48" fmla="*/ 49 w 230"/>
                    <a:gd name="T49" fmla="*/ 85 h 436"/>
                    <a:gd name="T50" fmla="*/ 36 w 230"/>
                    <a:gd name="T51" fmla="*/ 127 h 436"/>
                    <a:gd name="T52" fmla="*/ 15 w 230"/>
                    <a:gd name="T53" fmla="*/ 140 h 436"/>
                    <a:gd name="T54" fmla="*/ 19 w 230"/>
                    <a:gd name="T55" fmla="*/ 219 h 436"/>
                    <a:gd name="T56" fmla="*/ 34 w 230"/>
                    <a:gd name="T57" fmla="*/ 221 h 436"/>
                    <a:gd name="T58" fmla="*/ 34 w 230"/>
                    <a:gd name="T59" fmla="*/ 244 h 436"/>
                    <a:gd name="T60" fmla="*/ 11 w 230"/>
                    <a:gd name="T61" fmla="*/ 257 h 436"/>
                    <a:gd name="T62" fmla="*/ 0 w 230"/>
                    <a:gd name="T63" fmla="*/ 295 h 436"/>
                    <a:gd name="T64" fmla="*/ 2 w 230"/>
                    <a:gd name="T65" fmla="*/ 29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436">
                      <a:moveTo>
                        <a:pt x="2" y="297"/>
                      </a:moveTo>
                      <a:lnTo>
                        <a:pt x="30" y="323"/>
                      </a:lnTo>
                      <a:lnTo>
                        <a:pt x="26" y="342"/>
                      </a:lnTo>
                      <a:lnTo>
                        <a:pt x="32" y="370"/>
                      </a:lnTo>
                      <a:lnTo>
                        <a:pt x="43" y="363"/>
                      </a:lnTo>
                      <a:lnTo>
                        <a:pt x="145" y="436"/>
                      </a:lnTo>
                      <a:lnTo>
                        <a:pt x="215" y="408"/>
                      </a:lnTo>
                      <a:lnTo>
                        <a:pt x="202" y="378"/>
                      </a:lnTo>
                      <a:lnTo>
                        <a:pt x="223" y="359"/>
                      </a:lnTo>
                      <a:lnTo>
                        <a:pt x="213" y="361"/>
                      </a:lnTo>
                      <a:lnTo>
                        <a:pt x="202" y="317"/>
                      </a:lnTo>
                      <a:lnTo>
                        <a:pt x="230" y="206"/>
                      </a:lnTo>
                      <a:lnTo>
                        <a:pt x="198" y="151"/>
                      </a:lnTo>
                      <a:lnTo>
                        <a:pt x="208" y="113"/>
                      </a:lnTo>
                      <a:lnTo>
                        <a:pt x="198" y="76"/>
                      </a:lnTo>
                      <a:lnTo>
                        <a:pt x="174" y="64"/>
                      </a:lnTo>
                      <a:lnTo>
                        <a:pt x="130" y="79"/>
                      </a:lnTo>
                      <a:lnTo>
                        <a:pt x="130" y="76"/>
                      </a:lnTo>
                      <a:lnTo>
                        <a:pt x="145" y="72"/>
                      </a:lnTo>
                      <a:lnTo>
                        <a:pt x="136" y="42"/>
                      </a:lnTo>
                      <a:lnTo>
                        <a:pt x="115" y="0"/>
                      </a:lnTo>
                      <a:lnTo>
                        <a:pt x="87" y="27"/>
                      </a:lnTo>
                      <a:lnTo>
                        <a:pt x="47" y="15"/>
                      </a:lnTo>
                      <a:lnTo>
                        <a:pt x="36" y="42"/>
                      </a:lnTo>
                      <a:lnTo>
                        <a:pt x="49" y="85"/>
                      </a:lnTo>
                      <a:lnTo>
                        <a:pt x="36" y="127"/>
                      </a:lnTo>
                      <a:lnTo>
                        <a:pt x="15" y="140"/>
                      </a:lnTo>
                      <a:lnTo>
                        <a:pt x="19" y="219"/>
                      </a:lnTo>
                      <a:lnTo>
                        <a:pt x="34" y="221"/>
                      </a:lnTo>
                      <a:lnTo>
                        <a:pt x="34" y="244"/>
                      </a:lnTo>
                      <a:lnTo>
                        <a:pt x="11" y="257"/>
                      </a:lnTo>
                      <a:lnTo>
                        <a:pt x="0" y="295"/>
                      </a:lnTo>
                      <a:lnTo>
                        <a:pt x="2" y="297"/>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196" name="57">
                  <a:extLst>
                    <a:ext uri="{FF2B5EF4-FFF2-40B4-BE49-F238E27FC236}">
                      <a16:creationId xmlns:a16="http://schemas.microsoft.com/office/drawing/2014/main" id="{E058CA00-AEC9-48CC-93CA-C05D4B340E80}"/>
                    </a:ext>
                  </a:extLst>
                </p:cNvPr>
                <p:cNvSpPr>
                  <a:spLocks/>
                </p:cNvSpPr>
                <p:nvPr/>
              </p:nvSpPr>
              <p:spPr bwMode="gray">
                <a:xfrm>
                  <a:off x="7720664" y="2312125"/>
                  <a:ext cx="608841" cy="499965"/>
                </a:xfrm>
                <a:custGeom>
                  <a:avLst/>
                  <a:gdLst>
                    <a:gd name="T0" fmla="*/ 2 w 425"/>
                    <a:gd name="T1" fmla="*/ 13 h 349"/>
                    <a:gd name="T2" fmla="*/ 36 w 425"/>
                    <a:gd name="T3" fmla="*/ 96 h 349"/>
                    <a:gd name="T4" fmla="*/ 32 w 425"/>
                    <a:gd name="T5" fmla="*/ 147 h 349"/>
                    <a:gd name="T6" fmla="*/ 15 w 425"/>
                    <a:gd name="T7" fmla="*/ 155 h 349"/>
                    <a:gd name="T8" fmla="*/ 44 w 425"/>
                    <a:gd name="T9" fmla="*/ 195 h 349"/>
                    <a:gd name="T10" fmla="*/ 108 w 425"/>
                    <a:gd name="T11" fmla="*/ 215 h 349"/>
                    <a:gd name="T12" fmla="*/ 104 w 425"/>
                    <a:gd name="T13" fmla="*/ 240 h 349"/>
                    <a:gd name="T14" fmla="*/ 123 w 425"/>
                    <a:gd name="T15" fmla="*/ 263 h 349"/>
                    <a:gd name="T16" fmla="*/ 170 w 425"/>
                    <a:gd name="T17" fmla="*/ 272 h 349"/>
                    <a:gd name="T18" fmla="*/ 198 w 425"/>
                    <a:gd name="T19" fmla="*/ 302 h 349"/>
                    <a:gd name="T20" fmla="*/ 283 w 425"/>
                    <a:gd name="T21" fmla="*/ 321 h 349"/>
                    <a:gd name="T22" fmla="*/ 297 w 425"/>
                    <a:gd name="T23" fmla="*/ 349 h 349"/>
                    <a:gd name="T24" fmla="*/ 340 w 425"/>
                    <a:gd name="T25" fmla="*/ 329 h 349"/>
                    <a:gd name="T26" fmla="*/ 351 w 425"/>
                    <a:gd name="T27" fmla="*/ 300 h 349"/>
                    <a:gd name="T28" fmla="*/ 336 w 425"/>
                    <a:gd name="T29" fmla="*/ 289 h 349"/>
                    <a:gd name="T30" fmla="*/ 353 w 425"/>
                    <a:gd name="T31" fmla="*/ 259 h 349"/>
                    <a:gd name="T32" fmla="*/ 321 w 425"/>
                    <a:gd name="T33" fmla="*/ 232 h 349"/>
                    <a:gd name="T34" fmla="*/ 295 w 425"/>
                    <a:gd name="T35" fmla="*/ 255 h 349"/>
                    <a:gd name="T36" fmla="*/ 297 w 425"/>
                    <a:gd name="T37" fmla="*/ 227 h 349"/>
                    <a:gd name="T38" fmla="*/ 261 w 425"/>
                    <a:gd name="T39" fmla="*/ 206 h 349"/>
                    <a:gd name="T40" fmla="*/ 261 w 425"/>
                    <a:gd name="T41" fmla="*/ 204 h 349"/>
                    <a:gd name="T42" fmla="*/ 280 w 425"/>
                    <a:gd name="T43" fmla="*/ 193 h 349"/>
                    <a:gd name="T44" fmla="*/ 291 w 425"/>
                    <a:gd name="T45" fmla="*/ 151 h 349"/>
                    <a:gd name="T46" fmla="*/ 304 w 425"/>
                    <a:gd name="T47" fmla="*/ 174 h 349"/>
                    <a:gd name="T48" fmla="*/ 351 w 425"/>
                    <a:gd name="T49" fmla="*/ 195 h 349"/>
                    <a:gd name="T50" fmla="*/ 404 w 425"/>
                    <a:gd name="T51" fmla="*/ 195 h 349"/>
                    <a:gd name="T52" fmla="*/ 425 w 425"/>
                    <a:gd name="T53" fmla="*/ 153 h 349"/>
                    <a:gd name="T54" fmla="*/ 376 w 425"/>
                    <a:gd name="T55" fmla="*/ 106 h 349"/>
                    <a:gd name="T56" fmla="*/ 340 w 425"/>
                    <a:gd name="T57" fmla="*/ 132 h 349"/>
                    <a:gd name="T58" fmla="*/ 293 w 425"/>
                    <a:gd name="T59" fmla="*/ 121 h 349"/>
                    <a:gd name="T60" fmla="*/ 283 w 425"/>
                    <a:gd name="T61" fmla="*/ 136 h 349"/>
                    <a:gd name="T62" fmla="*/ 276 w 425"/>
                    <a:gd name="T63" fmla="*/ 108 h 349"/>
                    <a:gd name="T64" fmla="*/ 251 w 425"/>
                    <a:gd name="T65" fmla="*/ 98 h 349"/>
                    <a:gd name="T66" fmla="*/ 229 w 425"/>
                    <a:gd name="T67" fmla="*/ 102 h 349"/>
                    <a:gd name="T68" fmla="*/ 229 w 425"/>
                    <a:gd name="T69" fmla="*/ 123 h 349"/>
                    <a:gd name="T70" fmla="*/ 206 w 425"/>
                    <a:gd name="T71" fmla="*/ 119 h 349"/>
                    <a:gd name="T72" fmla="*/ 138 w 425"/>
                    <a:gd name="T73" fmla="*/ 13 h 349"/>
                    <a:gd name="T74" fmla="*/ 72 w 425"/>
                    <a:gd name="T75" fmla="*/ 0 h 349"/>
                    <a:gd name="T76" fmla="*/ 36 w 425"/>
                    <a:gd name="T77" fmla="*/ 23 h 349"/>
                    <a:gd name="T78" fmla="*/ 0 w 425"/>
                    <a:gd name="T79" fmla="*/ 6 h 349"/>
                    <a:gd name="T80" fmla="*/ 2 w 425"/>
                    <a:gd name="T81" fmla="*/ 13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5" h="349">
                      <a:moveTo>
                        <a:pt x="2" y="13"/>
                      </a:moveTo>
                      <a:lnTo>
                        <a:pt x="36" y="96"/>
                      </a:lnTo>
                      <a:lnTo>
                        <a:pt x="32" y="147"/>
                      </a:lnTo>
                      <a:lnTo>
                        <a:pt x="15" y="155"/>
                      </a:lnTo>
                      <a:lnTo>
                        <a:pt x="44" y="195"/>
                      </a:lnTo>
                      <a:lnTo>
                        <a:pt x="108" y="215"/>
                      </a:lnTo>
                      <a:lnTo>
                        <a:pt x="104" y="240"/>
                      </a:lnTo>
                      <a:lnTo>
                        <a:pt x="123" y="263"/>
                      </a:lnTo>
                      <a:lnTo>
                        <a:pt x="170" y="272"/>
                      </a:lnTo>
                      <a:lnTo>
                        <a:pt x="198" y="302"/>
                      </a:lnTo>
                      <a:lnTo>
                        <a:pt x="283" y="321"/>
                      </a:lnTo>
                      <a:lnTo>
                        <a:pt x="297" y="349"/>
                      </a:lnTo>
                      <a:lnTo>
                        <a:pt x="340" y="329"/>
                      </a:lnTo>
                      <a:lnTo>
                        <a:pt x="351" y="300"/>
                      </a:lnTo>
                      <a:lnTo>
                        <a:pt x="336" y="289"/>
                      </a:lnTo>
                      <a:lnTo>
                        <a:pt x="353" y="259"/>
                      </a:lnTo>
                      <a:lnTo>
                        <a:pt x="321" y="232"/>
                      </a:lnTo>
                      <a:lnTo>
                        <a:pt x="295" y="255"/>
                      </a:lnTo>
                      <a:lnTo>
                        <a:pt x="297" y="227"/>
                      </a:lnTo>
                      <a:lnTo>
                        <a:pt x="261" y="206"/>
                      </a:lnTo>
                      <a:lnTo>
                        <a:pt x="261" y="204"/>
                      </a:lnTo>
                      <a:lnTo>
                        <a:pt x="280" y="193"/>
                      </a:lnTo>
                      <a:lnTo>
                        <a:pt x="291" y="151"/>
                      </a:lnTo>
                      <a:lnTo>
                        <a:pt x="304" y="174"/>
                      </a:lnTo>
                      <a:lnTo>
                        <a:pt x="351" y="195"/>
                      </a:lnTo>
                      <a:lnTo>
                        <a:pt x="404" y="195"/>
                      </a:lnTo>
                      <a:lnTo>
                        <a:pt x="425" y="153"/>
                      </a:lnTo>
                      <a:lnTo>
                        <a:pt x="376" y="106"/>
                      </a:lnTo>
                      <a:lnTo>
                        <a:pt x="340" y="132"/>
                      </a:lnTo>
                      <a:lnTo>
                        <a:pt x="293" y="121"/>
                      </a:lnTo>
                      <a:lnTo>
                        <a:pt x="283" y="136"/>
                      </a:lnTo>
                      <a:lnTo>
                        <a:pt x="276" y="108"/>
                      </a:lnTo>
                      <a:lnTo>
                        <a:pt x="251" y="98"/>
                      </a:lnTo>
                      <a:lnTo>
                        <a:pt x="229" y="102"/>
                      </a:lnTo>
                      <a:lnTo>
                        <a:pt x="229" y="123"/>
                      </a:lnTo>
                      <a:lnTo>
                        <a:pt x="206" y="119"/>
                      </a:lnTo>
                      <a:lnTo>
                        <a:pt x="138" y="13"/>
                      </a:lnTo>
                      <a:lnTo>
                        <a:pt x="72" y="0"/>
                      </a:lnTo>
                      <a:lnTo>
                        <a:pt x="36" y="23"/>
                      </a:lnTo>
                      <a:lnTo>
                        <a:pt x="0" y="6"/>
                      </a:lnTo>
                      <a:lnTo>
                        <a:pt x="2" y="13"/>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197" name="88">
                  <a:extLst>
                    <a:ext uri="{FF2B5EF4-FFF2-40B4-BE49-F238E27FC236}">
                      <a16:creationId xmlns:a16="http://schemas.microsoft.com/office/drawing/2014/main" id="{09E2AB33-7429-48B7-91E1-12DCC932020D}"/>
                    </a:ext>
                  </a:extLst>
                </p:cNvPr>
                <p:cNvSpPr>
                  <a:spLocks/>
                </p:cNvSpPr>
                <p:nvPr/>
              </p:nvSpPr>
              <p:spPr bwMode="gray">
                <a:xfrm>
                  <a:off x="7568812" y="2820686"/>
                  <a:ext cx="630329" cy="368170"/>
                </a:xfrm>
                <a:custGeom>
                  <a:avLst/>
                  <a:gdLst>
                    <a:gd name="T0" fmla="*/ 0 w 440"/>
                    <a:gd name="T1" fmla="*/ 62 h 257"/>
                    <a:gd name="T2" fmla="*/ 78 w 440"/>
                    <a:gd name="T3" fmla="*/ 119 h 257"/>
                    <a:gd name="T4" fmla="*/ 61 w 440"/>
                    <a:gd name="T5" fmla="*/ 170 h 257"/>
                    <a:gd name="T6" fmla="*/ 125 w 440"/>
                    <a:gd name="T7" fmla="*/ 225 h 257"/>
                    <a:gd name="T8" fmla="*/ 182 w 440"/>
                    <a:gd name="T9" fmla="*/ 187 h 257"/>
                    <a:gd name="T10" fmla="*/ 204 w 440"/>
                    <a:gd name="T11" fmla="*/ 221 h 257"/>
                    <a:gd name="T12" fmla="*/ 253 w 440"/>
                    <a:gd name="T13" fmla="*/ 215 h 257"/>
                    <a:gd name="T14" fmla="*/ 253 w 440"/>
                    <a:gd name="T15" fmla="*/ 215 h 257"/>
                    <a:gd name="T16" fmla="*/ 270 w 440"/>
                    <a:gd name="T17" fmla="*/ 234 h 257"/>
                    <a:gd name="T18" fmla="*/ 299 w 440"/>
                    <a:gd name="T19" fmla="*/ 213 h 257"/>
                    <a:gd name="T20" fmla="*/ 355 w 440"/>
                    <a:gd name="T21" fmla="*/ 257 h 257"/>
                    <a:gd name="T22" fmla="*/ 361 w 440"/>
                    <a:gd name="T23" fmla="*/ 255 h 257"/>
                    <a:gd name="T24" fmla="*/ 378 w 440"/>
                    <a:gd name="T25" fmla="*/ 244 h 257"/>
                    <a:gd name="T26" fmla="*/ 382 w 440"/>
                    <a:gd name="T27" fmla="*/ 193 h 257"/>
                    <a:gd name="T28" fmla="*/ 440 w 440"/>
                    <a:gd name="T29" fmla="*/ 72 h 257"/>
                    <a:gd name="T30" fmla="*/ 410 w 440"/>
                    <a:gd name="T31" fmla="*/ 59 h 257"/>
                    <a:gd name="T32" fmla="*/ 416 w 440"/>
                    <a:gd name="T33" fmla="*/ 0 h 257"/>
                    <a:gd name="T34" fmla="*/ 335 w 440"/>
                    <a:gd name="T35" fmla="*/ 49 h 257"/>
                    <a:gd name="T36" fmla="*/ 299 w 440"/>
                    <a:gd name="T37" fmla="*/ 21 h 257"/>
                    <a:gd name="T38" fmla="*/ 287 w 440"/>
                    <a:gd name="T39" fmla="*/ 40 h 257"/>
                    <a:gd name="T40" fmla="*/ 246 w 440"/>
                    <a:gd name="T41" fmla="*/ 51 h 257"/>
                    <a:gd name="T42" fmla="*/ 219 w 440"/>
                    <a:gd name="T43" fmla="*/ 36 h 257"/>
                    <a:gd name="T44" fmla="*/ 182 w 440"/>
                    <a:gd name="T45" fmla="*/ 49 h 257"/>
                    <a:gd name="T46" fmla="*/ 174 w 440"/>
                    <a:gd name="T47" fmla="*/ 68 h 257"/>
                    <a:gd name="T48" fmla="*/ 167 w 440"/>
                    <a:gd name="T49" fmla="*/ 57 h 257"/>
                    <a:gd name="T50" fmla="*/ 138 w 440"/>
                    <a:gd name="T51" fmla="*/ 70 h 257"/>
                    <a:gd name="T52" fmla="*/ 129 w 440"/>
                    <a:gd name="T53" fmla="*/ 40 h 257"/>
                    <a:gd name="T54" fmla="*/ 112 w 440"/>
                    <a:gd name="T55" fmla="*/ 49 h 257"/>
                    <a:gd name="T56" fmla="*/ 121 w 440"/>
                    <a:gd name="T57" fmla="*/ 17 h 257"/>
                    <a:gd name="T58" fmla="*/ 87 w 440"/>
                    <a:gd name="T59" fmla="*/ 19 h 257"/>
                    <a:gd name="T60" fmla="*/ 17 w 440"/>
                    <a:gd name="T61" fmla="*/ 47 h 257"/>
                    <a:gd name="T62" fmla="*/ 0 w 440"/>
                    <a:gd name="T63" fmla="*/ 59 h 257"/>
                    <a:gd name="T64" fmla="*/ 0 w 440"/>
                    <a:gd name="T65" fmla="*/ 6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0" h="257">
                      <a:moveTo>
                        <a:pt x="0" y="62"/>
                      </a:moveTo>
                      <a:lnTo>
                        <a:pt x="78" y="119"/>
                      </a:lnTo>
                      <a:lnTo>
                        <a:pt x="61" y="170"/>
                      </a:lnTo>
                      <a:lnTo>
                        <a:pt x="125" y="225"/>
                      </a:lnTo>
                      <a:lnTo>
                        <a:pt x="182" y="187"/>
                      </a:lnTo>
                      <a:lnTo>
                        <a:pt x="204" y="221"/>
                      </a:lnTo>
                      <a:lnTo>
                        <a:pt x="253" y="215"/>
                      </a:lnTo>
                      <a:lnTo>
                        <a:pt x="253" y="215"/>
                      </a:lnTo>
                      <a:lnTo>
                        <a:pt x="270" y="234"/>
                      </a:lnTo>
                      <a:lnTo>
                        <a:pt x="299" y="213"/>
                      </a:lnTo>
                      <a:lnTo>
                        <a:pt x="355" y="257"/>
                      </a:lnTo>
                      <a:lnTo>
                        <a:pt x="361" y="255"/>
                      </a:lnTo>
                      <a:lnTo>
                        <a:pt x="378" y="244"/>
                      </a:lnTo>
                      <a:lnTo>
                        <a:pt x="382" y="193"/>
                      </a:lnTo>
                      <a:lnTo>
                        <a:pt x="440" y="72"/>
                      </a:lnTo>
                      <a:lnTo>
                        <a:pt x="410" y="59"/>
                      </a:lnTo>
                      <a:lnTo>
                        <a:pt x="416" y="0"/>
                      </a:lnTo>
                      <a:lnTo>
                        <a:pt x="335" y="49"/>
                      </a:lnTo>
                      <a:lnTo>
                        <a:pt x="299" y="21"/>
                      </a:lnTo>
                      <a:lnTo>
                        <a:pt x="287" y="40"/>
                      </a:lnTo>
                      <a:lnTo>
                        <a:pt x="246" y="51"/>
                      </a:lnTo>
                      <a:lnTo>
                        <a:pt x="219" y="36"/>
                      </a:lnTo>
                      <a:lnTo>
                        <a:pt x="182" y="49"/>
                      </a:lnTo>
                      <a:lnTo>
                        <a:pt x="174" y="68"/>
                      </a:lnTo>
                      <a:lnTo>
                        <a:pt x="167" y="57"/>
                      </a:lnTo>
                      <a:lnTo>
                        <a:pt x="138" y="70"/>
                      </a:lnTo>
                      <a:lnTo>
                        <a:pt x="129" y="40"/>
                      </a:lnTo>
                      <a:lnTo>
                        <a:pt x="112" y="49"/>
                      </a:lnTo>
                      <a:lnTo>
                        <a:pt x="121" y="17"/>
                      </a:lnTo>
                      <a:lnTo>
                        <a:pt x="87" y="19"/>
                      </a:lnTo>
                      <a:lnTo>
                        <a:pt x="17" y="47"/>
                      </a:lnTo>
                      <a:lnTo>
                        <a:pt x="0" y="59"/>
                      </a:lnTo>
                      <a:lnTo>
                        <a:pt x="0" y="62"/>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grpSp>
          <p:grpSp>
            <p:nvGrpSpPr>
              <p:cNvPr id="186" name="Champagne Ardennes">
                <a:extLst>
                  <a:ext uri="{FF2B5EF4-FFF2-40B4-BE49-F238E27FC236}">
                    <a16:creationId xmlns:a16="http://schemas.microsoft.com/office/drawing/2014/main" id="{67F26F05-B6B6-49B4-BBC6-6E48EBAB80EC}"/>
                  </a:ext>
                </a:extLst>
              </p:cNvPr>
              <p:cNvGrpSpPr/>
              <p:nvPr/>
            </p:nvGrpSpPr>
            <p:grpSpPr>
              <a:xfrm>
                <a:off x="6868261" y="1985500"/>
                <a:ext cx="879621" cy="1346611"/>
                <a:chOff x="6868261" y="1985500"/>
                <a:chExt cx="879621" cy="1346611"/>
              </a:xfrm>
              <a:grpFill/>
            </p:grpSpPr>
            <p:sp>
              <p:nvSpPr>
                <p:cNvPr id="190" name="51">
                  <a:extLst>
                    <a:ext uri="{FF2B5EF4-FFF2-40B4-BE49-F238E27FC236}">
                      <a16:creationId xmlns:a16="http://schemas.microsoft.com/office/drawing/2014/main" id="{C44C46AC-596F-4E9D-A762-EA5682CA36BB}"/>
                    </a:ext>
                  </a:extLst>
                </p:cNvPr>
                <p:cNvSpPr>
                  <a:spLocks/>
                </p:cNvSpPr>
                <p:nvPr/>
              </p:nvSpPr>
              <p:spPr bwMode="gray">
                <a:xfrm>
                  <a:off x="6874018" y="2379456"/>
                  <a:ext cx="560134" cy="468450"/>
                </a:xfrm>
                <a:custGeom>
                  <a:avLst/>
                  <a:gdLst>
                    <a:gd name="T0" fmla="*/ 0 w 391"/>
                    <a:gd name="T1" fmla="*/ 240 h 327"/>
                    <a:gd name="T2" fmla="*/ 15 w 391"/>
                    <a:gd name="T3" fmla="*/ 246 h 327"/>
                    <a:gd name="T4" fmla="*/ 13 w 391"/>
                    <a:gd name="T5" fmla="*/ 282 h 327"/>
                    <a:gd name="T6" fmla="*/ 36 w 391"/>
                    <a:gd name="T7" fmla="*/ 291 h 327"/>
                    <a:gd name="T8" fmla="*/ 57 w 391"/>
                    <a:gd name="T9" fmla="*/ 319 h 327"/>
                    <a:gd name="T10" fmla="*/ 102 w 391"/>
                    <a:gd name="T11" fmla="*/ 327 h 327"/>
                    <a:gd name="T12" fmla="*/ 164 w 391"/>
                    <a:gd name="T13" fmla="*/ 259 h 327"/>
                    <a:gd name="T14" fmla="*/ 217 w 391"/>
                    <a:gd name="T15" fmla="*/ 253 h 327"/>
                    <a:gd name="T16" fmla="*/ 221 w 391"/>
                    <a:gd name="T17" fmla="*/ 291 h 327"/>
                    <a:gd name="T18" fmla="*/ 242 w 391"/>
                    <a:gd name="T19" fmla="*/ 310 h 327"/>
                    <a:gd name="T20" fmla="*/ 306 w 391"/>
                    <a:gd name="T21" fmla="*/ 319 h 327"/>
                    <a:gd name="T22" fmla="*/ 344 w 391"/>
                    <a:gd name="T23" fmla="*/ 312 h 327"/>
                    <a:gd name="T24" fmla="*/ 332 w 391"/>
                    <a:gd name="T25" fmla="*/ 295 h 327"/>
                    <a:gd name="T26" fmla="*/ 349 w 391"/>
                    <a:gd name="T27" fmla="*/ 280 h 327"/>
                    <a:gd name="T28" fmla="*/ 334 w 391"/>
                    <a:gd name="T29" fmla="*/ 268 h 327"/>
                    <a:gd name="T30" fmla="*/ 383 w 391"/>
                    <a:gd name="T31" fmla="*/ 261 h 327"/>
                    <a:gd name="T32" fmla="*/ 387 w 391"/>
                    <a:gd name="T33" fmla="*/ 242 h 327"/>
                    <a:gd name="T34" fmla="*/ 359 w 391"/>
                    <a:gd name="T35" fmla="*/ 216 h 327"/>
                    <a:gd name="T36" fmla="*/ 357 w 391"/>
                    <a:gd name="T37" fmla="*/ 214 h 327"/>
                    <a:gd name="T38" fmla="*/ 368 w 391"/>
                    <a:gd name="T39" fmla="*/ 176 h 327"/>
                    <a:gd name="T40" fmla="*/ 391 w 391"/>
                    <a:gd name="T41" fmla="*/ 163 h 327"/>
                    <a:gd name="T42" fmla="*/ 391 w 391"/>
                    <a:gd name="T43" fmla="*/ 140 h 327"/>
                    <a:gd name="T44" fmla="*/ 376 w 391"/>
                    <a:gd name="T45" fmla="*/ 138 h 327"/>
                    <a:gd name="T46" fmla="*/ 372 w 391"/>
                    <a:gd name="T47" fmla="*/ 59 h 327"/>
                    <a:gd name="T48" fmla="*/ 298 w 391"/>
                    <a:gd name="T49" fmla="*/ 63 h 327"/>
                    <a:gd name="T50" fmla="*/ 276 w 391"/>
                    <a:gd name="T51" fmla="*/ 40 h 327"/>
                    <a:gd name="T52" fmla="*/ 249 w 391"/>
                    <a:gd name="T53" fmla="*/ 49 h 327"/>
                    <a:gd name="T54" fmla="*/ 187 w 391"/>
                    <a:gd name="T55" fmla="*/ 2 h 327"/>
                    <a:gd name="T56" fmla="*/ 155 w 391"/>
                    <a:gd name="T57" fmla="*/ 0 h 327"/>
                    <a:gd name="T58" fmla="*/ 151 w 391"/>
                    <a:gd name="T59" fmla="*/ 19 h 327"/>
                    <a:gd name="T60" fmla="*/ 123 w 391"/>
                    <a:gd name="T61" fmla="*/ 2 h 327"/>
                    <a:gd name="T62" fmla="*/ 106 w 391"/>
                    <a:gd name="T63" fmla="*/ 23 h 327"/>
                    <a:gd name="T64" fmla="*/ 57 w 391"/>
                    <a:gd name="T65" fmla="*/ 34 h 327"/>
                    <a:gd name="T66" fmla="*/ 59 w 391"/>
                    <a:gd name="T67" fmla="*/ 70 h 327"/>
                    <a:gd name="T68" fmla="*/ 83 w 391"/>
                    <a:gd name="T69" fmla="*/ 91 h 327"/>
                    <a:gd name="T70" fmla="*/ 53 w 391"/>
                    <a:gd name="T71" fmla="*/ 95 h 327"/>
                    <a:gd name="T72" fmla="*/ 42 w 391"/>
                    <a:gd name="T73" fmla="*/ 134 h 327"/>
                    <a:gd name="T74" fmla="*/ 66 w 391"/>
                    <a:gd name="T75" fmla="*/ 144 h 327"/>
                    <a:gd name="T76" fmla="*/ 19 w 391"/>
                    <a:gd name="T77" fmla="*/ 204 h 327"/>
                    <a:gd name="T78" fmla="*/ 0 w 391"/>
                    <a:gd name="T79" fmla="*/ 236 h 327"/>
                    <a:gd name="T80" fmla="*/ 0 w 391"/>
                    <a:gd name="T81" fmla="*/ 24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1" h="327">
                      <a:moveTo>
                        <a:pt x="0" y="240"/>
                      </a:moveTo>
                      <a:lnTo>
                        <a:pt x="15" y="246"/>
                      </a:lnTo>
                      <a:lnTo>
                        <a:pt x="13" y="282"/>
                      </a:lnTo>
                      <a:lnTo>
                        <a:pt x="36" y="291"/>
                      </a:lnTo>
                      <a:lnTo>
                        <a:pt x="57" y="319"/>
                      </a:lnTo>
                      <a:lnTo>
                        <a:pt x="102" y="327"/>
                      </a:lnTo>
                      <a:lnTo>
                        <a:pt x="164" y="259"/>
                      </a:lnTo>
                      <a:lnTo>
                        <a:pt x="217" y="253"/>
                      </a:lnTo>
                      <a:lnTo>
                        <a:pt x="221" y="291"/>
                      </a:lnTo>
                      <a:lnTo>
                        <a:pt x="242" y="310"/>
                      </a:lnTo>
                      <a:lnTo>
                        <a:pt x="306" y="319"/>
                      </a:lnTo>
                      <a:lnTo>
                        <a:pt x="344" y="312"/>
                      </a:lnTo>
                      <a:lnTo>
                        <a:pt x="332" y="295"/>
                      </a:lnTo>
                      <a:lnTo>
                        <a:pt x="349" y="280"/>
                      </a:lnTo>
                      <a:lnTo>
                        <a:pt x="334" y="268"/>
                      </a:lnTo>
                      <a:lnTo>
                        <a:pt x="383" y="261"/>
                      </a:lnTo>
                      <a:lnTo>
                        <a:pt x="387" y="242"/>
                      </a:lnTo>
                      <a:lnTo>
                        <a:pt x="359" y="216"/>
                      </a:lnTo>
                      <a:lnTo>
                        <a:pt x="357" y="214"/>
                      </a:lnTo>
                      <a:lnTo>
                        <a:pt x="368" y="176"/>
                      </a:lnTo>
                      <a:lnTo>
                        <a:pt x="391" y="163"/>
                      </a:lnTo>
                      <a:lnTo>
                        <a:pt x="391" y="140"/>
                      </a:lnTo>
                      <a:lnTo>
                        <a:pt x="376" y="138"/>
                      </a:lnTo>
                      <a:lnTo>
                        <a:pt x="372" y="59"/>
                      </a:lnTo>
                      <a:lnTo>
                        <a:pt x="298" y="63"/>
                      </a:lnTo>
                      <a:lnTo>
                        <a:pt x="276" y="40"/>
                      </a:lnTo>
                      <a:lnTo>
                        <a:pt x="249" y="49"/>
                      </a:lnTo>
                      <a:lnTo>
                        <a:pt x="187" y="2"/>
                      </a:lnTo>
                      <a:lnTo>
                        <a:pt x="155" y="0"/>
                      </a:lnTo>
                      <a:lnTo>
                        <a:pt x="151" y="19"/>
                      </a:lnTo>
                      <a:lnTo>
                        <a:pt x="123" y="2"/>
                      </a:lnTo>
                      <a:lnTo>
                        <a:pt x="106" y="23"/>
                      </a:lnTo>
                      <a:lnTo>
                        <a:pt x="57" y="34"/>
                      </a:lnTo>
                      <a:lnTo>
                        <a:pt x="59" y="70"/>
                      </a:lnTo>
                      <a:lnTo>
                        <a:pt x="83" y="91"/>
                      </a:lnTo>
                      <a:lnTo>
                        <a:pt x="53" y="95"/>
                      </a:lnTo>
                      <a:lnTo>
                        <a:pt x="42" y="134"/>
                      </a:lnTo>
                      <a:lnTo>
                        <a:pt x="66" y="144"/>
                      </a:lnTo>
                      <a:lnTo>
                        <a:pt x="19" y="204"/>
                      </a:lnTo>
                      <a:lnTo>
                        <a:pt x="0" y="236"/>
                      </a:lnTo>
                      <a:lnTo>
                        <a:pt x="0" y="240"/>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191" name="08">
                  <a:extLst>
                    <a:ext uri="{FF2B5EF4-FFF2-40B4-BE49-F238E27FC236}">
                      <a16:creationId xmlns:a16="http://schemas.microsoft.com/office/drawing/2014/main" id="{235F3443-16F2-4C9F-8DB7-C72A7156BC71}"/>
                    </a:ext>
                  </a:extLst>
                </p:cNvPr>
                <p:cNvSpPr>
                  <a:spLocks/>
                </p:cNvSpPr>
                <p:nvPr/>
              </p:nvSpPr>
              <p:spPr bwMode="gray">
                <a:xfrm>
                  <a:off x="7087471" y="1985500"/>
                  <a:ext cx="462719" cy="484207"/>
                </a:xfrm>
                <a:custGeom>
                  <a:avLst/>
                  <a:gdLst>
                    <a:gd name="T0" fmla="*/ 0 w 323"/>
                    <a:gd name="T1" fmla="*/ 200 h 338"/>
                    <a:gd name="T2" fmla="*/ 6 w 323"/>
                    <a:gd name="T3" fmla="*/ 275 h 338"/>
                    <a:gd name="T4" fmla="*/ 38 w 323"/>
                    <a:gd name="T5" fmla="*/ 277 h 338"/>
                    <a:gd name="T6" fmla="*/ 100 w 323"/>
                    <a:gd name="T7" fmla="*/ 324 h 338"/>
                    <a:gd name="T8" fmla="*/ 127 w 323"/>
                    <a:gd name="T9" fmla="*/ 315 h 338"/>
                    <a:gd name="T10" fmla="*/ 149 w 323"/>
                    <a:gd name="T11" fmla="*/ 338 h 338"/>
                    <a:gd name="T12" fmla="*/ 223 w 323"/>
                    <a:gd name="T13" fmla="*/ 334 h 338"/>
                    <a:gd name="T14" fmla="*/ 244 w 323"/>
                    <a:gd name="T15" fmla="*/ 321 h 338"/>
                    <a:gd name="T16" fmla="*/ 257 w 323"/>
                    <a:gd name="T17" fmla="*/ 279 h 338"/>
                    <a:gd name="T18" fmla="*/ 244 w 323"/>
                    <a:gd name="T19" fmla="*/ 236 h 338"/>
                    <a:gd name="T20" fmla="*/ 255 w 323"/>
                    <a:gd name="T21" fmla="*/ 209 h 338"/>
                    <a:gd name="T22" fmla="*/ 295 w 323"/>
                    <a:gd name="T23" fmla="*/ 221 h 338"/>
                    <a:gd name="T24" fmla="*/ 323 w 323"/>
                    <a:gd name="T25" fmla="*/ 194 h 338"/>
                    <a:gd name="T26" fmla="*/ 306 w 323"/>
                    <a:gd name="T27" fmla="*/ 196 h 338"/>
                    <a:gd name="T28" fmla="*/ 293 w 323"/>
                    <a:gd name="T29" fmla="*/ 166 h 338"/>
                    <a:gd name="T30" fmla="*/ 270 w 323"/>
                    <a:gd name="T31" fmla="*/ 166 h 338"/>
                    <a:gd name="T32" fmla="*/ 227 w 323"/>
                    <a:gd name="T33" fmla="*/ 130 h 338"/>
                    <a:gd name="T34" fmla="*/ 195 w 323"/>
                    <a:gd name="T35" fmla="*/ 134 h 338"/>
                    <a:gd name="T36" fmla="*/ 202 w 323"/>
                    <a:gd name="T37" fmla="*/ 90 h 338"/>
                    <a:gd name="T38" fmla="*/ 178 w 323"/>
                    <a:gd name="T39" fmla="*/ 64 h 338"/>
                    <a:gd name="T40" fmla="*/ 197 w 323"/>
                    <a:gd name="T41" fmla="*/ 0 h 338"/>
                    <a:gd name="T42" fmla="*/ 155 w 323"/>
                    <a:gd name="T43" fmla="*/ 22 h 338"/>
                    <a:gd name="T44" fmla="*/ 155 w 323"/>
                    <a:gd name="T45" fmla="*/ 58 h 338"/>
                    <a:gd name="T46" fmla="*/ 97 w 323"/>
                    <a:gd name="T47" fmla="*/ 81 h 338"/>
                    <a:gd name="T48" fmla="*/ 46 w 323"/>
                    <a:gd name="T49" fmla="*/ 75 h 338"/>
                    <a:gd name="T50" fmla="*/ 46 w 323"/>
                    <a:gd name="T51" fmla="*/ 158 h 338"/>
                    <a:gd name="T52" fmla="*/ 0 w 323"/>
                    <a:gd name="T53" fmla="*/ 196 h 338"/>
                    <a:gd name="T54" fmla="*/ 0 w 323"/>
                    <a:gd name="T55" fmla="*/ 20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3" h="338">
                      <a:moveTo>
                        <a:pt x="0" y="200"/>
                      </a:moveTo>
                      <a:lnTo>
                        <a:pt x="6" y="275"/>
                      </a:lnTo>
                      <a:lnTo>
                        <a:pt x="38" y="277"/>
                      </a:lnTo>
                      <a:lnTo>
                        <a:pt x="100" y="324"/>
                      </a:lnTo>
                      <a:lnTo>
                        <a:pt x="127" y="315"/>
                      </a:lnTo>
                      <a:lnTo>
                        <a:pt x="149" y="338"/>
                      </a:lnTo>
                      <a:lnTo>
                        <a:pt x="223" y="334"/>
                      </a:lnTo>
                      <a:lnTo>
                        <a:pt x="244" y="321"/>
                      </a:lnTo>
                      <a:lnTo>
                        <a:pt x="257" y="279"/>
                      </a:lnTo>
                      <a:lnTo>
                        <a:pt x="244" y="236"/>
                      </a:lnTo>
                      <a:lnTo>
                        <a:pt x="255" y="209"/>
                      </a:lnTo>
                      <a:lnTo>
                        <a:pt x="295" y="221"/>
                      </a:lnTo>
                      <a:lnTo>
                        <a:pt x="323" y="194"/>
                      </a:lnTo>
                      <a:lnTo>
                        <a:pt x="306" y="196"/>
                      </a:lnTo>
                      <a:lnTo>
                        <a:pt x="293" y="166"/>
                      </a:lnTo>
                      <a:lnTo>
                        <a:pt x="270" y="166"/>
                      </a:lnTo>
                      <a:lnTo>
                        <a:pt x="227" y="130"/>
                      </a:lnTo>
                      <a:lnTo>
                        <a:pt x="195" y="134"/>
                      </a:lnTo>
                      <a:lnTo>
                        <a:pt x="202" y="90"/>
                      </a:lnTo>
                      <a:lnTo>
                        <a:pt x="178" y="64"/>
                      </a:lnTo>
                      <a:lnTo>
                        <a:pt x="197" y="0"/>
                      </a:lnTo>
                      <a:lnTo>
                        <a:pt x="155" y="22"/>
                      </a:lnTo>
                      <a:lnTo>
                        <a:pt x="155" y="58"/>
                      </a:lnTo>
                      <a:lnTo>
                        <a:pt x="97" y="81"/>
                      </a:lnTo>
                      <a:lnTo>
                        <a:pt x="46" y="75"/>
                      </a:lnTo>
                      <a:lnTo>
                        <a:pt x="46" y="158"/>
                      </a:lnTo>
                      <a:lnTo>
                        <a:pt x="0" y="196"/>
                      </a:lnTo>
                      <a:lnTo>
                        <a:pt x="0" y="200"/>
                      </a:lnTo>
                    </a:path>
                  </a:pathLst>
                </a:custGeom>
                <a:solidFill>
                  <a:schemeClr val="bg2">
                    <a:lumMod val="75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192" name="10">
                  <a:extLst>
                    <a:ext uri="{FF2B5EF4-FFF2-40B4-BE49-F238E27FC236}">
                      <a16:creationId xmlns:a16="http://schemas.microsoft.com/office/drawing/2014/main" id="{AAD6C239-D328-430E-B079-3DCE5FEC3D37}"/>
                    </a:ext>
                  </a:extLst>
                </p:cNvPr>
                <p:cNvSpPr>
                  <a:spLocks/>
                </p:cNvSpPr>
                <p:nvPr/>
              </p:nvSpPr>
              <p:spPr bwMode="gray">
                <a:xfrm>
                  <a:off x="6868261" y="2742956"/>
                  <a:ext cx="514292" cy="414012"/>
                </a:xfrm>
                <a:custGeom>
                  <a:avLst/>
                  <a:gdLst>
                    <a:gd name="T0" fmla="*/ 4 w 359"/>
                    <a:gd name="T1" fmla="*/ 97 h 289"/>
                    <a:gd name="T2" fmla="*/ 6 w 359"/>
                    <a:gd name="T3" fmla="*/ 119 h 289"/>
                    <a:gd name="T4" fmla="*/ 59 w 359"/>
                    <a:gd name="T5" fmla="*/ 168 h 289"/>
                    <a:gd name="T6" fmla="*/ 46 w 359"/>
                    <a:gd name="T7" fmla="*/ 193 h 289"/>
                    <a:gd name="T8" fmla="*/ 70 w 359"/>
                    <a:gd name="T9" fmla="*/ 210 h 289"/>
                    <a:gd name="T10" fmla="*/ 87 w 359"/>
                    <a:gd name="T11" fmla="*/ 199 h 289"/>
                    <a:gd name="T12" fmla="*/ 112 w 359"/>
                    <a:gd name="T13" fmla="*/ 268 h 289"/>
                    <a:gd name="T14" fmla="*/ 127 w 359"/>
                    <a:gd name="T15" fmla="*/ 265 h 289"/>
                    <a:gd name="T16" fmla="*/ 125 w 359"/>
                    <a:gd name="T17" fmla="*/ 289 h 289"/>
                    <a:gd name="T18" fmla="*/ 180 w 359"/>
                    <a:gd name="T19" fmla="*/ 287 h 289"/>
                    <a:gd name="T20" fmla="*/ 199 w 359"/>
                    <a:gd name="T21" fmla="*/ 272 h 289"/>
                    <a:gd name="T22" fmla="*/ 223 w 359"/>
                    <a:gd name="T23" fmla="*/ 289 h 289"/>
                    <a:gd name="T24" fmla="*/ 229 w 359"/>
                    <a:gd name="T25" fmla="*/ 276 h 289"/>
                    <a:gd name="T26" fmla="*/ 287 w 359"/>
                    <a:gd name="T27" fmla="*/ 272 h 289"/>
                    <a:gd name="T28" fmla="*/ 293 w 359"/>
                    <a:gd name="T29" fmla="*/ 251 h 289"/>
                    <a:gd name="T30" fmla="*/ 323 w 359"/>
                    <a:gd name="T31" fmla="*/ 253 h 289"/>
                    <a:gd name="T32" fmla="*/ 312 w 359"/>
                    <a:gd name="T33" fmla="*/ 231 h 289"/>
                    <a:gd name="T34" fmla="*/ 355 w 359"/>
                    <a:gd name="T35" fmla="*/ 221 h 289"/>
                    <a:gd name="T36" fmla="*/ 359 w 359"/>
                    <a:gd name="T37" fmla="*/ 163 h 289"/>
                    <a:gd name="T38" fmla="*/ 353 w 359"/>
                    <a:gd name="T39" fmla="*/ 136 h 289"/>
                    <a:gd name="T40" fmla="*/ 304 w 359"/>
                    <a:gd name="T41" fmla="*/ 93 h 289"/>
                    <a:gd name="T42" fmla="*/ 302 w 359"/>
                    <a:gd name="T43" fmla="*/ 91 h 289"/>
                    <a:gd name="T44" fmla="*/ 310 w 359"/>
                    <a:gd name="T45" fmla="*/ 66 h 289"/>
                    <a:gd name="T46" fmla="*/ 246 w 359"/>
                    <a:gd name="T47" fmla="*/ 57 h 289"/>
                    <a:gd name="T48" fmla="*/ 225 w 359"/>
                    <a:gd name="T49" fmla="*/ 38 h 289"/>
                    <a:gd name="T50" fmla="*/ 221 w 359"/>
                    <a:gd name="T51" fmla="*/ 0 h 289"/>
                    <a:gd name="T52" fmla="*/ 168 w 359"/>
                    <a:gd name="T53" fmla="*/ 6 h 289"/>
                    <a:gd name="T54" fmla="*/ 106 w 359"/>
                    <a:gd name="T55" fmla="*/ 74 h 289"/>
                    <a:gd name="T56" fmla="*/ 61 w 359"/>
                    <a:gd name="T57" fmla="*/ 66 h 289"/>
                    <a:gd name="T58" fmla="*/ 40 w 359"/>
                    <a:gd name="T59" fmla="*/ 38 h 289"/>
                    <a:gd name="T60" fmla="*/ 0 w 359"/>
                    <a:gd name="T61" fmla="*/ 87 h 289"/>
                    <a:gd name="T62" fmla="*/ 4 w 359"/>
                    <a:gd name="T63" fmla="*/ 9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9" h="289">
                      <a:moveTo>
                        <a:pt x="4" y="97"/>
                      </a:moveTo>
                      <a:lnTo>
                        <a:pt x="6" y="119"/>
                      </a:lnTo>
                      <a:lnTo>
                        <a:pt x="59" y="168"/>
                      </a:lnTo>
                      <a:lnTo>
                        <a:pt x="46" y="193"/>
                      </a:lnTo>
                      <a:lnTo>
                        <a:pt x="70" y="210"/>
                      </a:lnTo>
                      <a:lnTo>
                        <a:pt x="87" y="199"/>
                      </a:lnTo>
                      <a:lnTo>
                        <a:pt x="112" y="268"/>
                      </a:lnTo>
                      <a:lnTo>
                        <a:pt x="127" y="265"/>
                      </a:lnTo>
                      <a:lnTo>
                        <a:pt x="125" y="289"/>
                      </a:lnTo>
                      <a:lnTo>
                        <a:pt x="180" y="287"/>
                      </a:lnTo>
                      <a:lnTo>
                        <a:pt x="199" y="272"/>
                      </a:lnTo>
                      <a:lnTo>
                        <a:pt x="223" y="289"/>
                      </a:lnTo>
                      <a:lnTo>
                        <a:pt x="229" y="276"/>
                      </a:lnTo>
                      <a:lnTo>
                        <a:pt x="287" y="272"/>
                      </a:lnTo>
                      <a:lnTo>
                        <a:pt x="293" y="251"/>
                      </a:lnTo>
                      <a:lnTo>
                        <a:pt x="323" y="253"/>
                      </a:lnTo>
                      <a:lnTo>
                        <a:pt x="312" y="231"/>
                      </a:lnTo>
                      <a:lnTo>
                        <a:pt x="355" y="221"/>
                      </a:lnTo>
                      <a:lnTo>
                        <a:pt x="359" y="163"/>
                      </a:lnTo>
                      <a:lnTo>
                        <a:pt x="353" y="136"/>
                      </a:lnTo>
                      <a:lnTo>
                        <a:pt x="304" y="93"/>
                      </a:lnTo>
                      <a:lnTo>
                        <a:pt x="302" y="91"/>
                      </a:lnTo>
                      <a:lnTo>
                        <a:pt x="310" y="66"/>
                      </a:lnTo>
                      <a:lnTo>
                        <a:pt x="246" y="57"/>
                      </a:lnTo>
                      <a:lnTo>
                        <a:pt x="225" y="38"/>
                      </a:lnTo>
                      <a:lnTo>
                        <a:pt x="221" y="0"/>
                      </a:lnTo>
                      <a:lnTo>
                        <a:pt x="168" y="6"/>
                      </a:lnTo>
                      <a:lnTo>
                        <a:pt x="106" y="74"/>
                      </a:lnTo>
                      <a:lnTo>
                        <a:pt x="61" y="66"/>
                      </a:lnTo>
                      <a:lnTo>
                        <a:pt x="40" y="38"/>
                      </a:lnTo>
                      <a:lnTo>
                        <a:pt x="0" y="87"/>
                      </a:lnTo>
                      <a:lnTo>
                        <a:pt x="4" y="97"/>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193" name="52">
                  <a:extLst>
                    <a:ext uri="{FF2B5EF4-FFF2-40B4-BE49-F238E27FC236}">
                      <a16:creationId xmlns:a16="http://schemas.microsoft.com/office/drawing/2014/main" id="{08129821-AD64-4AC4-85F5-C64E2C8B22F9}"/>
                    </a:ext>
                  </a:extLst>
                </p:cNvPr>
                <p:cNvSpPr>
                  <a:spLocks/>
                </p:cNvSpPr>
                <p:nvPr/>
              </p:nvSpPr>
              <p:spPr bwMode="gray">
                <a:xfrm>
                  <a:off x="7300922" y="2753355"/>
                  <a:ext cx="446960" cy="578756"/>
                </a:xfrm>
                <a:custGeom>
                  <a:avLst/>
                  <a:gdLst>
                    <a:gd name="T0" fmla="*/ 2 w 312"/>
                    <a:gd name="T1" fmla="*/ 85 h 404"/>
                    <a:gd name="T2" fmla="*/ 51 w 312"/>
                    <a:gd name="T3" fmla="*/ 128 h 404"/>
                    <a:gd name="T4" fmla="*/ 57 w 312"/>
                    <a:gd name="T5" fmla="*/ 155 h 404"/>
                    <a:gd name="T6" fmla="*/ 53 w 312"/>
                    <a:gd name="T7" fmla="*/ 213 h 404"/>
                    <a:gd name="T8" fmla="*/ 10 w 312"/>
                    <a:gd name="T9" fmla="*/ 223 h 404"/>
                    <a:gd name="T10" fmla="*/ 21 w 312"/>
                    <a:gd name="T11" fmla="*/ 245 h 404"/>
                    <a:gd name="T12" fmla="*/ 48 w 312"/>
                    <a:gd name="T13" fmla="*/ 255 h 404"/>
                    <a:gd name="T14" fmla="*/ 53 w 312"/>
                    <a:gd name="T15" fmla="*/ 283 h 404"/>
                    <a:gd name="T16" fmla="*/ 70 w 312"/>
                    <a:gd name="T17" fmla="*/ 281 h 404"/>
                    <a:gd name="T18" fmla="*/ 93 w 312"/>
                    <a:gd name="T19" fmla="*/ 317 h 404"/>
                    <a:gd name="T20" fmla="*/ 76 w 312"/>
                    <a:gd name="T21" fmla="*/ 332 h 404"/>
                    <a:gd name="T22" fmla="*/ 85 w 312"/>
                    <a:gd name="T23" fmla="*/ 362 h 404"/>
                    <a:gd name="T24" fmla="*/ 102 w 312"/>
                    <a:gd name="T25" fmla="*/ 357 h 404"/>
                    <a:gd name="T26" fmla="*/ 125 w 312"/>
                    <a:gd name="T27" fmla="*/ 379 h 404"/>
                    <a:gd name="T28" fmla="*/ 140 w 312"/>
                    <a:gd name="T29" fmla="*/ 368 h 404"/>
                    <a:gd name="T30" fmla="*/ 161 w 312"/>
                    <a:gd name="T31" fmla="*/ 404 h 404"/>
                    <a:gd name="T32" fmla="*/ 189 w 312"/>
                    <a:gd name="T33" fmla="*/ 393 h 404"/>
                    <a:gd name="T34" fmla="*/ 189 w 312"/>
                    <a:gd name="T35" fmla="*/ 387 h 404"/>
                    <a:gd name="T36" fmla="*/ 201 w 312"/>
                    <a:gd name="T37" fmla="*/ 366 h 404"/>
                    <a:gd name="T38" fmla="*/ 267 w 312"/>
                    <a:gd name="T39" fmla="*/ 362 h 404"/>
                    <a:gd name="T40" fmla="*/ 263 w 312"/>
                    <a:gd name="T41" fmla="*/ 315 h 404"/>
                    <a:gd name="T42" fmla="*/ 297 w 312"/>
                    <a:gd name="T43" fmla="*/ 302 h 404"/>
                    <a:gd name="T44" fmla="*/ 312 w 312"/>
                    <a:gd name="T45" fmla="*/ 272 h 404"/>
                    <a:gd name="T46" fmla="*/ 248 w 312"/>
                    <a:gd name="T47" fmla="*/ 217 h 404"/>
                    <a:gd name="T48" fmla="*/ 265 w 312"/>
                    <a:gd name="T49" fmla="*/ 166 h 404"/>
                    <a:gd name="T50" fmla="*/ 187 w 312"/>
                    <a:gd name="T51" fmla="*/ 109 h 404"/>
                    <a:gd name="T52" fmla="*/ 187 w 312"/>
                    <a:gd name="T53" fmla="*/ 106 h 404"/>
                    <a:gd name="T54" fmla="*/ 204 w 312"/>
                    <a:gd name="T55" fmla="*/ 94 h 404"/>
                    <a:gd name="T56" fmla="*/ 102 w 312"/>
                    <a:gd name="T57" fmla="*/ 21 h 404"/>
                    <a:gd name="T58" fmla="*/ 91 w 312"/>
                    <a:gd name="T59" fmla="*/ 28 h 404"/>
                    <a:gd name="T60" fmla="*/ 85 w 312"/>
                    <a:gd name="T61" fmla="*/ 0 h 404"/>
                    <a:gd name="T62" fmla="*/ 36 w 312"/>
                    <a:gd name="T63" fmla="*/ 7 h 404"/>
                    <a:gd name="T64" fmla="*/ 51 w 312"/>
                    <a:gd name="T65" fmla="*/ 19 h 404"/>
                    <a:gd name="T66" fmla="*/ 34 w 312"/>
                    <a:gd name="T67" fmla="*/ 34 h 404"/>
                    <a:gd name="T68" fmla="*/ 46 w 312"/>
                    <a:gd name="T69" fmla="*/ 51 h 404"/>
                    <a:gd name="T70" fmla="*/ 8 w 312"/>
                    <a:gd name="T71" fmla="*/ 58 h 404"/>
                    <a:gd name="T72" fmla="*/ 0 w 312"/>
                    <a:gd name="T73" fmla="*/ 83 h 404"/>
                    <a:gd name="T74" fmla="*/ 2 w 312"/>
                    <a:gd name="T75" fmla="*/ 85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2" h="404">
                      <a:moveTo>
                        <a:pt x="2" y="85"/>
                      </a:moveTo>
                      <a:lnTo>
                        <a:pt x="51" y="128"/>
                      </a:lnTo>
                      <a:lnTo>
                        <a:pt x="57" y="155"/>
                      </a:lnTo>
                      <a:lnTo>
                        <a:pt x="53" y="213"/>
                      </a:lnTo>
                      <a:lnTo>
                        <a:pt x="10" y="223"/>
                      </a:lnTo>
                      <a:lnTo>
                        <a:pt x="21" y="245"/>
                      </a:lnTo>
                      <a:lnTo>
                        <a:pt x="48" y="255"/>
                      </a:lnTo>
                      <a:lnTo>
                        <a:pt x="53" y="283"/>
                      </a:lnTo>
                      <a:lnTo>
                        <a:pt x="70" y="281"/>
                      </a:lnTo>
                      <a:lnTo>
                        <a:pt x="93" y="317"/>
                      </a:lnTo>
                      <a:lnTo>
                        <a:pt x="76" y="332"/>
                      </a:lnTo>
                      <a:lnTo>
                        <a:pt x="85" y="362"/>
                      </a:lnTo>
                      <a:lnTo>
                        <a:pt x="102" y="357"/>
                      </a:lnTo>
                      <a:lnTo>
                        <a:pt x="125" y="379"/>
                      </a:lnTo>
                      <a:lnTo>
                        <a:pt x="140" y="368"/>
                      </a:lnTo>
                      <a:lnTo>
                        <a:pt x="161" y="404"/>
                      </a:lnTo>
                      <a:lnTo>
                        <a:pt x="189" y="393"/>
                      </a:lnTo>
                      <a:lnTo>
                        <a:pt x="189" y="387"/>
                      </a:lnTo>
                      <a:lnTo>
                        <a:pt x="201" y="366"/>
                      </a:lnTo>
                      <a:lnTo>
                        <a:pt x="267" y="362"/>
                      </a:lnTo>
                      <a:lnTo>
                        <a:pt x="263" y="315"/>
                      </a:lnTo>
                      <a:lnTo>
                        <a:pt x="297" y="302"/>
                      </a:lnTo>
                      <a:lnTo>
                        <a:pt x="312" y="272"/>
                      </a:lnTo>
                      <a:lnTo>
                        <a:pt x="248" y="217"/>
                      </a:lnTo>
                      <a:lnTo>
                        <a:pt x="265" y="166"/>
                      </a:lnTo>
                      <a:lnTo>
                        <a:pt x="187" y="109"/>
                      </a:lnTo>
                      <a:lnTo>
                        <a:pt x="187" y="106"/>
                      </a:lnTo>
                      <a:lnTo>
                        <a:pt x="204" y="94"/>
                      </a:lnTo>
                      <a:lnTo>
                        <a:pt x="102" y="21"/>
                      </a:lnTo>
                      <a:lnTo>
                        <a:pt x="91" y="28"/>
                      </a:lnTo>
                      <a:lnTo>
                        <a:pt x="85" y="0"/>
                      </a:lnTo>
                      <a:lnTo>
                        <a:pt x="36" y="7"/>
                      </a:lnTo>
                      <a:lnTo>
                        <a:pt x="51" y="19"/>
                      </a:lnTo>
                      <a:lnTo>
                        <a:pt x="34" y="34"/>
                      </a:lnTo>
                      <a:lnTo>
                        <a:pt x="46" y="51"/>
                      </a:lnTo>
                      <a:lnTo>
                        <a:pt x="8" y="58"/>
                      </a:lnTo>
                      <a:lnTo>
                        <a:pt x="0" y="83"/>
                      </a:lnTo>
                      <a:lnTo>
                        <a:pt x="2" y="85"/>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grpSp>
          <p:grpSp>
            <p:nvGrpSpPr>
              <p:cNvPr id="187" name="Alsace (Formes)">
                <a:extLst>
                  <a:ext uri="{FF2B5EF4-FFF2-40B4-BE49-F238E27FC236}">
                    <a16:creationId xmlns:a16="http://schemas.microsoft.com/office/drawing/2014/main" id="{1325F595-A19D-42FA-A1D7-319542C375D6}"/>
                  </a:ext>
                </a:extLst>
              </p:cNvPr>
              <p:cNvGrpSpPr/>
              <p:nvPr/>
            </p:nvGrpSpPr>
            <p:grpSpPr>
              <a:xfrm>
                <a:off x="8085968" y="2522713"/>
                <a:ext cx="451258" cy="858107"/>
                <a:chOff x="8085968" y="2522713"/>
                <a:chExt cx="451258" cy="858107"/>
              </a:xfrm>
              <a:grpFill/>
            </p:grpSpPr>
            <p:sp>
              <p:nvSpPr>
                <p:cNvPr id="188" name="68">
                  <a:extLst>
                    <a:ext uri="{FF2B5EF4-FFF2-40B4-BE49-F238E27FC236}">
                      <a16:creationId xmlns:a16="http://schemas.microsoft.com/office/drawing/2014/main" id="{3D129AEC-D927-4A17-9213-236D04135A60}"/>
                    </a:ext>
                  </a:extLst>
                </p:cNvPr>
                <p:cNvSpPr>
                  <a:spLocks/>
                </p:cNvSpPr>
                <p:nvPr/>
              </p:nvSpPr>
              <p:spPr bwMode="gray">
                <a:xfrm>
                  <a:off x="8085968" y="2923831"/>
                  <a:ext cx="267890" cy="456989"/>
                </a:xfrm>
                <a:custGeom>
                  <a:avLst/>
                  <a:gdLst>
                    <a:gd name="T0" fmla="*/ 2 w 187"/>
                    <a:gd name="T1" fmla="*/ 187 h 319"/>
                    <a:gd name="T2" fmla="*/ 49 w 187"/>
                    <a:gd name="T3" fmla="*/ 219 h 319"/>
                    <a:gd name="T4" fmla="*/ 42 w 187"/>
                    <a:gd name="T5" fmla="*/ 264 h 319"/>
                    <a:gd name="T6" fmla="*/ 62 w 187"/>
                    <a:gd name="T7" fmla="*/ 262 h 319"/>
                    <a:gd name="T8" fmla="*/ 76 w 187"/>
                    <a:gd name="T9" fmla="*/ 298 h 319"/>
                    <a:gd name="T10" fmla="*/ 93 w 187"/>
                    <a:gd name="T11" fmla="*/ 298 h 319"/>
                    <a:gd name="T12" fmla="*/ 87 w 187"/>
                    <a:gd name="T13" fmla="*/ 319 h 319"/>
                    <a:gd name="T14" fmla="*/ 140 w 187"/>
                    <a:gd name="T15" fmla="*/ 319 h 319"/>
                    <a:gd name="T16" fmla="*/ 187 w 187"/>
                    <a:gd name="T17" fmla="*/ 262 h 319"/>
                    <a:gd name="T18" fmla="*/ 166 w 187"/>
                    <a:gd name="T19" fmla="*/ 219 h 319"/>
                    <a:gd name="T20" fmla="*/ 187 w 187"/>
                    <a:gd name="T21" fmla="*/ 119 h 319"/>
                    <a:gd name="T22" fmla="*/ 172 w 187"/>
                    <a:gd name="T23" fmla="*/ 66 h 319"/>
                    <a:gd name="T24" fmla="*/ 79 w 187"/>
                    <a:gd name="T25" fmla="*/ 0 h 319"/>
                    <a:gd name="T26" fmla="*/ 21 w 187"/>
                    <a:gd name="T27" fmla="*/ 121 h 319"/>
                    <a:gd name="T28" fmla="*/ 17 w 187"/>
                    <a:gd name="T29" fmla="*/ 172 h 319"/>
                    <a:gd name="T30" fmla="*/ 0 w 187"/>
                    <a:gd name="T31" fmla="*/ 183 h 319"/>
                    <a:gd name="T32" fmla="*/ 2 w 187"/>
                    <a:gd name="T33" fmla="*/ 187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7" h="319">
                      <a:moveTo>
                        <a:pt x="2" y="187"/>
                      </a:moveTo>
                      <a:lnTo>
                        <a:pt x="49" y="219"/>
                      </a:lnTo>
                      <a:lnTo>
                        <a:pt x="42" y="264"/>
                      </a:lnTo>
                      <a:lnTo>
                        <a:pt x="62" y="262"/>
                      </a:lnTo>
                      <a:lnTo>
                        <a:pt x="76" y="298"/>
                      </a:lnTo>
                      <a:lnTo>
                        <a:pt x="93" y="298"/>
                      </a:lnTo>
                      <a:lnTo>
                        <a:pt x="87" y="319"/>
                      </a:lnTo>
                      <a:lnTo>
                        <a:pt x="140" y="319"/>
                      </a:lnTo>
                      <a:lnTo>
                        <a:pt x="187" y="262"/>
                      </a:lnTo>
                      <a:lnTo>
                        <a:pt x="166" y="219"/>
                      </a:lnTo>
                      <a:lnTo>
                        <a:pt x="187" y="119"/>
                      </a:lnTo>
                      <a:lnTo>
                        <a:pt x="172" y="66"/>
                      </a:lnTo>
                      <a:lnTo>
                        <a:pt x="79" y="0"/>
                      </a:lnTo>
                      <a:lnTo>
                        <a:pt x="21" y="121"/>
                      </a:lnTo>
                      <a:lnTo>
                        <a:pt x="17" y="172"/>
                      </a:lnTo>
                      <a:lnTo>
                        <a:pt x="0" y="183"/>
                      </a:lnTo>
                      <a:lnTo>
                        <a:pt x="2" y="187"/>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sp>
              <p:nvSpPr>
                <p:cNvPr id="189" name="67">
                  <a:extLst>
                    <a:ext uri="{FF2B5EF4-FFF2-40B4-BE49-F238E27FC236}">
                      <a16:creationId xmlns:a16="http://schemas.microsoft.com/office/drawing/2014/main" id="{EDAB4FB5-65DD-4F27-8EAA-1131EAC8865F}"/>
                    </a:ext>
                  </a:extLst>
                </p:cNvPr>
                <p:cNvSpPr>
                  <a:spLocks/>
                </p:cNvSpPr>
                <p:nvPr/>
              </p:nvSpPr>
              <p:spPr bwMode="gray">
                <a:xfrm>
                  <a:off x="8094563" y="2522713"/>
                  <a:ext cx="442663" cy="495667"/>
                </a:xfrm>
                <a:custGeom>
                  <a:avLst/>
                  <a:gdLst>
                    <a:gd name="T0" fmla="*/ 0 w 309"/>
                    <a:gd name="T1" fmla="*/ 57 h 346"/>
                    <a:gd name="T2" fmla="*/ 19 w 309"/>
                    <a:gd name="T3" fmla="*/ 46 h 346"/>
                    <a:gd name="T4" fmla="*/ 30 w 309"/>
                    <a:gd name="T5" fmla="*/ 4 h 346"/>
                    <a:gd name="T6" fmla="*/ 43 w 309"/>
                    <a:gd name="T7" fmla="*/ 27 h 346"/>
                    <a:gd name="T8" fmla="*/ 90 w 309"/>
                    <a:gd name="T9" fmla="*/ 48 h 346"/>
                    <a:gd name="T10" fmla="*/ 143 w 309"/>
                    <a:gd name="T11" fmla="*/ 48 h 346"/>
                    <a:gd name="T12" fmla="*/ 164 w 309"/>
                    <a:gd name="T13" fmla="*/ 6 h 346"/>
                    <a:gd name="T14" fmla="*/ 234 w 309"/>
                    <a:gd name="T15" fmla="*/ 0 h 346"/>
                    <a:gd name="T16" fmla="*/ 309 w 309"/>
                    <a:gd name="T17" fmla="*/ 27 h 346"/>
                    <a:gd name="T18" fmla="*/ 281 w 309"/>
                    <a:gd name="T19" fmla="*/ 85 h 346"/>
                    <a:gd name="T20" fmla="*/ 221 w 309"/>
                    <a:gd name="T21" fmla="*/ 151 h 346"/>
                    <a:gd name="T22" fmla="*/ 204 w 309"/>
                    <a:gd name="T23" fmla="*/ 267 h 346"/>
                    <a:gd name="T24" fmla="*/ 166 w 309"/>
                    <a:gd name="T25" fmla="*/ 346 h 346"/>
                    <a:gd name="T26" fmla="*/ 73 w 309"/>
                    <a:gd name="T27" fmla="*/ 280 h 346"/>
                    <a:gd name="T28" fmla="*/ 43 w 309"/>
                    <a:gd name="T29" fmla="*/ 267 h 346"/>
                    <a:gd name="T30" fmla="*/ 49 w 309"/>
                    <a:gd name="T31" fmla="*/ 208 h 346"/>
                    <a:gd name="T32" fmla="*/ 36 w 309"/>
                    <a:gd name="T33" fmla="*/ 202 h 346"/>
                    <a:gd name="T34" fmla="*/ 79 w 309"/>
                    <a:gd name="T35" fmla="*/ 182 h 346"/>
                    <a:gd name="T36" fmla="*/ 90 w 309"/>
                    <a:gd name="T37" fmla="*/ 153 h 346"/>
                    <a:gd name="T38" fmla="*/ 75 w 309"/>
                    <a:gd name="T39" fmla="*/ 142 h 346"/>
                    <a:gd name="T40" fmla="*/ 92 w 309"/>
                    <a:gd name="T41" fmla="*/ 112 h 346"/>
                    <a:gd name="T42" fmla="*/ 60 w 309"/>
                    <a:gd name="T43" fmla="*/ 85 h 346"/>
                    <a:gd name="T44" fmla="*/ 34 w 309"/>
                    <a:gd name="T45" fmla="*/ 108 h 346"/>
                    <a:gd name="T46" fmla="*/ 36 w 309"/>
                    <a:gd name="T47" fmla="*/ 80 h 346"/>
                    <a:gd name="T48" fmla="*/ 0 w 309"/>
                    <a:gd name="T49" fmla="*/ 59 h 346"/>
                    <a:gd name="T50" fmla="*/ 0 w 309"/>
                    <a:gd name="T51" fmla="*/ 5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9" h="346">
                      <a:moveTo>
                        <a:pt x="0" y="57"/>
                      </a:moveTo>
                      <a:lnTo>
                        <a:pt x="19" y="46"/>
                      </a:lnTo>
                      <a:lnTo>
                        <a:pt x="30" y="4"/>
                      </a:lnTo>
                      <a:lnTo>
                        <a:pt x="43" y="27"/>
                      </a:lnTo>
                      <a:lnTo>
                        <a:pt x="90" y="48"/>
                      </a:lnTo>
                      <a:lnTo>
                        <a:pt x="143" y="48"/>
                      </a:lnTo>
                      <a:lnTo>
                        <a:pt x="164" y="6"/>
                      </a:lnTo>
                      <a:lnTo>
                        <a:pt x="234" y="0"/>
                      </a:lnTo>
                      <a:lnTo>
                        <a:pt x="309" y="27"/>
                      </a:lnTo>
                      <a:lnTo>
                        <a:pt x="281" y="85"/>
                      </a:lnTo>
                      <a:lnTo>
                        <a:pt x="221" y="151"/>
                      </a:lnTo>
                      <a:lnTo>
                        <a:pt x="204" y="267"/>
                      </a:lnTo>
                      <a:lnTo>
                        <a:pt x="166" y="346"/>
                      </a:lnTo>
                      <a:lnTo>
                        <a:pt x="73" y="280"/>
                      </a:lnTo>
                      <a:lnTo>
                        <a:pt x="43" y="267"/>
                      </a:lnTo>
                      <a:lnTo>
                        <a:pt x="49" y="208"/>
                      </a:lnTo>
                      <a:lnTo>
                        <a:pt x="36" y="202"/>
                      </a:lnTo>
                      <a:lnTo>
                        <a:pt x="79" y="182"/>
                      </a:lnTo>
                      <a:lnTo>
                        <a:pt x="90" y="153"/>
                      </a:lnTo>
                      <a:lnTo>
                        <a:pt x="75" y="142"/>
                      </a:lnTo>
                      <a:lnTo>
                        <a:pt x="92" y="112"/>
                      </a:lnTo>
                      <a:lnTo>
                        <a:pt x="60" y="85"/>
                      </a:lnTo>
                      <a:lnTo>
                        <a:pt x="34" y="108"/>
                      </a:lnTo>
                      <a:lnTo>
                        <a:pt x="36" y="80"/>
                      </a:lnTo>
                      <a:lnTo>
                        <a:pt x="0" y="59"/>
                      </a:lnTo>
                      <a:lnTo>
                        <a:pt x="0" y="57"/>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a:solidFill>
                      <a:srgbClr val="503078"/>
                    </a:solidFill>
                    <a:latin typeface="Tahoma"/>
                  </a:endParaRPr>
                </a:p>
              </p:txBody>
            </p:sp>
          </p:grpSp>
        </p:grpSp>
        <p:grpSp>
          <p:nvGrpSpPr>
            <p:cNvPr id="171" name="Alsace Lorraine Champagne Ardennes (N° Départements)">
              <a:extLst>
                <a:ext uri="{FF2B5EF4-FFF2-40B4-BE49-F238E27FC236}">
                  <a16:creationId xmlns:a16="http://schemas.microsoft.com/office/drawing/2014/main" id="{9268DD33-2A13-4606-9E3E-AD377D4F2FBB}"/>
                </a:ext>
              </a:extLst>
            </p:cNvPr>
            <p:cNvGrpSpPr/>
            <p:nvPr/>
          </p:nvGrpSpPr>
          <p:grpSpPr>
            <a:xfrm>
              <a:off x="7803651" y="2006669"/>
              <a:ext cx="1350967" cy="1043500"/>
              <a:chOff x="7050195" y="2176054"/>
              <a:chExt cx="1350967" cy="1043500"/>
            </a:xfrm>
          </p:grpSpPr>
          <p:grpSp>
            <p:nvGrpSpPr>
              <p:cNvPr id="172" name="Lorraine (N° Départements)">
                <a:extLst>
                  <a:ext uri="{FF2B5EF4-FFF2-40B4-BE49-F238E27FC236}">
                    <a16:creationId xmlns:a16="http://schemas.microsoft.com/office/drawing/2014/main" id="{443F4E75-2D9F-4085-863D-EFF618E1D857}"/>
                  </a:ext>
                </a:extLst>
              </p:cNvPr>
              <p:cNvGrpSpPr/>
              <p:nvPr/>
            </p:nvGrpSpPr>
            <p:grpSpPr>
              <a:xfrm>
                <a:off x="7453174" y="2406363"/>
                <a:ext cx="564887" cy="679566"/>
                <a:chOff x="7453174" y="2406363"/>
                <a:chExt cx="564887" cy="679566"/>
              </a:xfrm>
            </p:grpSpPr>
            <p:sp>
              <p:nvSpPr>
                <p:cNvPr id="181" name="57">
                  <a:extLst>
                    <a:ext uri="{FF2B5EF4-FFF2-40B4-BE49-F238E27FC236}">
                      <a16:creationId xmlns:a16="http://schemas.microsoft.com/office/drawing/2014/main" id="{616F94C4-9F0F-4593-AD71-12500B21DBE0}"/>
                    </a:ext>
                  </a:extLst>
                </p:cNvPr>
                <p:cNvSpPr txBox="1"/>
                <p:nvPr/>
              </p:nvSpPr>
              <p:spPr>
                <a:xfrm>
                  <a:off x="7826677" y="2406363"/>
                  <a:ext cx="184830" cy="166169"/>
                </a:xfrm>
                <a:prstGeom prst="rect">
                  <a:avLst/>
                </a:prstGeom>
                <a:noFill/>
              </p:spPr>
              <p:txBody>
                <a:bodyPr wrap="none" lIns="0" tIns="0" rIns="0" bIns="0" rtlCol="0">
                  <a:noAutofit/>
                </a:bodyPr>
                <a:lstStyle/>
                <a:p>
                  <a:r>
                    <a:rPr lang="fr-FR" sz="800">
                      <a:solidFill>
                        <a:srgbClr val="503078"/>
                      </a:solidFill>
                      <a:latin typeface="Tahoma"/>
                    </a:rPr>
                    <a:t>57</a:t>
                  </a:r>
                </a:p>
              </p:txBody>
            </p:sp>
            <p:sp>
              <p:nvSpPr>
                <p:cNvPr id="182" name="55">
                  <a:extLst>
                    <a:ext uri="{FF2B5EF4-FFF2-40B4-BE49-F238E27FC236}">
                      <a16:creationId xmlns:a16="http://schemas.microsoft.com/office/drawing/2014/main" id="{2DD7F041-7AAC-4CD8-9FBB-609F3F8E9965}"/>
                    </a:ext>
                  </a:extLst>
                </p:cNvPr>
                <p:cNvSpPr txBox="1"/>
                <p:nvPr/>
              </p:nvSpPr>
              <p:spPr>
                <a:xfrm>
                  <a:off x="7453174" y="2538630"/>
                  <a:ext cx="184830" cy="166169"/>
                </a:xfrm>
                <a:prstGeom prst="rect">
                  <a:avLst/>
                </a:prstGeom>
                <a:noFill/>
              </p:spPr>
              <p:txBody>
                <a:bodyPr wrap="none" lIns="0" tIns="0" rIns="0" bIns="0" rtlCol="0">
                  <a:noAutofit/>
                </a:bodyPr>
                <a:lstStyle/>
                <a:p>
                  <a:r>
                    <a:rPr lang="fr-FR" sz="800">
                      <a:solidFill>
                        <a:srgbClr val="503078"/>
                      </a:solidFill>
                      <a:latin typeface="Tahoma"/>
                    </a:rPr>
                    <a:t>55</a:t>
                  </a:r>
                </a:p>
              </p:txBody>
            </p:sp>
            <p:sp>
              <p:nvSpPr>
                <p:cNvPr id="183" name="88">
                  <a:extLst>
                    <a:ext uri="{FF2B5EF4-FFF2-40B4-BE49-F238E27FC236}">
                      <a16:creationId xmlns:a16="http://schemas.microsoft.com/office/drawing/2014/main" id="{FD805F8D-4E4B-4529-86E5-110F0551B3E4}"/>
                    </a:ext>
                  </a:extLst>
                </p:cNvPr>
                <p:cNvSpPr txBox="1"/>
                <p:nvPr/>
              </p:nvSpPr>
              <p:spPr>
                <a:xfrm>
                  <a:off x="7833231" y="2919760"/>
                  <a:ext cx="184830" cy="166169"/>
                </a:xfrm>
                <a:prstGeom prst="rect">
                  <a:avLst/>
                </a:prstGeom>
                <a:noFill/>
              </p:spPr>
              <p:txBody>
                <a:bodyPr wrap="none" lIns="0" tIns="0" rIns="0" bIns="0" rtlCol="0">
                  <a:noAutofit/>
                </a:bodyPr>
                <a:lstStyle/>
                <a:p>
                  <a:r>
                    <a:rPr lang="fr-FR" sz="800">
                      <a:solidFill>
                        <a:srgbClr val="503078"/>
                      </a:solidFill>
                      <a:latin typeface="Tahoma"/>
                    </a:rPr>
                    <a:t>88</a:t>
                  </a:r>
                </a:p>
              </p:txBody>
            </p:sp>
            <p:sp>
              <p:nvSpPr>
                <p:cNvPr id="184" name="54">
                  <a:extLst>
                    <a:ext uri="{FF2B5EF4-FFF2-40B4-BE49-F238E27FC236}">
                      <a16:creationId xmlns:a16="http://schemas.microsoft.com/office/drawing/2014/main" id="{B71C8A83-255F-47B3-A6B6-8D17E2CCD11F}"/>
                    </a:ext>
                  </a:extLst>
                </p:cNvPr>
                <p:cNvSpPr txBox="1"/>
                <p:nvPr/>
              </p:nvSpPr>
              <p:spPr>
                <a:xfrm>
                  <a:off x="7739076" y="2656264"/>
                  <a:ext cx="184830" cy="166169"/>
                </a:xfrm>
                <a:prstGeom prst="rect">
                  <a:avLst/>
                </a:prstGeom>
                <a:noFill/>
              </p:spPr>
              <p:txBody>
                <a:bodyPr wrap="none" lIns="0" tIns="0" rIns="0" bIns="0" rtlCol="0">
                  <a:noAutofit/>
                </a:bodyPr>
                <a:lstStyle/>
                <a:p>
                  <a:r>
                    <a:rPr lang="fr-FR" sz="800">
                      <a:solidFill>
                        <a:srgbClr val="503078"/>
                      </a:solidFill>
                      <a:latin typeface="Tahoma"/>
                    </a:rPr>
                    <a:t>54</a:t>
                  </a:r>
                </a:p>
              </p:txBody>
            </p:sp>
          </p:grpSp>
          <p:grpSp>
            <p:nvGrpSpPr>
              <p:cNvPr id="173" name="Champagne Ardennes (N° Départements)">
                <a:extLst>
                  <a:ext uri="{FF2B5EF4-FFF2-40B4-BE49-F238E27FC236}">
                    <a16:creationId xmlns:a16="http://schemas.microsoft.com/office/drawing/2014/main" id="{57B71847-BF77-48DE-9402-C43C3DF657B2}"/>
                  </a:ext>
                </a:extLst>
              </p:cNvPr>
              <p:cNvGrpSpPr/>
              <p:nvPr/>
            </p:nvGrpSpPr>
            <p:grpSpPr>
              <a:xfrm>
                <a:off x="7050195" y="2176054"/>
                <a:ext cx="568040" cy="959800"/>
                <a:chOff x="7050195" y="2176054"/>
                <a:chExt cx="568040" cy="959800"/>
              </a:xfrm>
            </p:grpSpPr>
            <p:sp>
              <p:nvSpPr>
                <p:cNvPr id="177" name="08">
                  <a:extLst>
                    <a:ext uri="{FF2B5EF4-FFF2-40B4-BE49-F238E27FC236}">
                      <a16:creationId xmlns:a16="http://schemas.microsoft.com/office/drawing/2014/main" id="{946FE1EA-9EF5-4902-916A-F4669E9CADBB}"/>
                    </a:ext>
                  </a:extLst>
                </p:cNvPr>
                <p:cNvSpPr txBox="1"/>
                <p:nvPr/>
              </p:nvSpPr>
              <p:spPr>
                <a:xfrm>
                  <a:off x="7178620" y="2176054"/>
                  <a:ext cx="184830" cy="166169"/>
                </a:xfrm>
                <a:prstGeom prst="rect">
                  <a:avLst/>
                </a:prstGeom>
                <a:noFill/>
              </p:spPr>
              <p:txBody>
                <a:bodyPr wrap="none" lIns="0" tIns="0" rIns="0" bIns="0" rtlCol="0">
                  <a:noAutofit/>
                </a:bodyPr>
                <a:lstStyle/>
                <a:p>
                  <a:r>
                    <a:rPr lang="fr-FR" sz="800">
                      <a:solidFill>
                        <a:srgbClr val="FFFFFF"/>
                      </a:solidFill>
                      <a:latin typeface="Tahoma"/>
                    </a:rPr>
                    <a:t>08</a:t>
                  </a:r>
                </a:p>
              </p:txBody>
            </p:sp>
            <p:sp>
              <p:nvSpPr>
                <p:cNvPr id="178" name="10">
                  <a:extLst>
                    <a:ext uri="{FF2B5EF4-FFF2-40B4-BE49-F238E27FC236}">
                      <a16:creationId xmlns:a16="http://schemas.microsoft.com/office/drawing/2014/main" id="{56C19FCF-4F50-4759-96F0-48715AF04520}"/>
                    </a:ext>
                  </a:extLst>
                </p:cNvPr>
                <p:cNvSpPr txBox="1"/>
                <p:nvPr/>
              </p:nvSpPr>
              <p:spPr>
                <a:xfrm>
                  <a:off x="7050195" y="2854550"/>
                  <a:ext cx="184830" cy="166169"/>
                </a:xfrm>
                <a:prstGeom prst="rect">
                  <a:avLst/>
                </a:prstGeom>
                <a:noFill/>
              </p:spPr>
              <p:txBody>
                <a:bodyPr wrap="none" lIns="0" tIns="0" rIns="0" bIns="0" rtlCol="0">
                  <a:noAutofit/>
                </a:bodyPr>
                <a:lstStyle/>
                <a:p>
                  <a:r>
                    <a:rPr lang="fr-FR" sz="800">
                      <a:solidFill>
                        <a:srgbClr val="503078"/>
                      </a:solidFill>
                      <a:latin typeface="Tahoma"/>
                    </a:rPr>
                    <a:t>10</a:t>
                  </a:r>
                </a:p>
              </p:txBody>
            </p:sp>
            <p:sp>
              <p:nvSpPr>
                <p:cNvPr id="179" name="51">
                  <a:extLst>
                    <a:ext uri="{FF2B5EF4-FFF2-40B4-BE49-F238E27FC236}">
                      <a16:creationId xmlns:a16="http://schemas.microsoft.com/office/drawing/2014/main" id="{F5D8CA44-4A86-47EB-8B8E-A8C9DCF2F3BB}"/>
                    </a:ext>
                  </a:extLst>
                </p:cNvPr>
                <p:cNvSpPr txBox="1"/>
                <p:nvPr/>
              </p:nvSpPr>
              <p:spPr>
                <a:xfrm>
                  <a:off x="7050195" y="2536269"/>
                  <a:ext cx="184830" cy="166169"/>
                </a:xfrm>
                <a:prstGeom prst="rect">
                  <a:avLst/>
                </a:prstGeom>
                <a:noFill/>
              </p:spPr>
              <p:txBody>
                <a:bodyPr wrap="none" lIns="0" tIns="0" rIns="0" bIns="0" rtlCol="0">
                  <a:noAutofit/>
                </a:bodyPr>
                <a:lstStyle/>
                <a:p>
                  <a:r>
                    <a:rPr lang="fr-FR" sz="800">
                      <a:solidFill>
                        <a:srgbClr val="503078"/>
                      </a:solidFill>
                      <a:latin typeface="Tahoma"/>
                    </a:rPr>
                    <a:t>51</a:t>
                  </a:r>
                </a:p>
              </p:txBody>
            </p:sp>
            <p:sp>
              <p:nvSpPr>
                <p:cNvPr id="180" name="52">
                  <a:extLst>
                    <a:ext uri="{FF2B5EF4-FFF2-40B4-BE49-F238E27FC236}">
                      <a16:creationId xmlns:a16="http://schemas.microsoft.com/office/drawing/2014/main" id="{FFDB09E8-35F7-43B8-ACE6-2272A9327AA9}"/>
                    </a:ext>
                  </a:extLst>
                </p:cNvPr>
                <p:cNvSpPr txBox="1"/>
                <p:nvPr/>
              </p:nvSpPr>
              <p:spPr>
                <a:xfrm>
                  <a:off x="7433405" y="2969685"/>
                  <a:ext cx="184830" cy="166169"/>
                </a:xfrm>
                <a:prstGeom prst="rect">
                  <a:avLst/>
                </a:prstGeom>
                <a:noFill/>
              </p:spPr>
              <p:txBody>
                <a:bodyPr wrap="none" lIns="0" tIns="0" rIns="0" bIns="0" rtlCol="0">
                  <a:noAutofit/>
                </a:bodyPr>
                <a:lstStyle/>
                <a:p>
                  <a:r>
                    <a:rPr lang="fr-FR" sz="800">
                      <a:solidFill>
                        <a:srgbClr val="503078"/>
                      </a:solidFill>
                      <a:latin typeface="Tahoma"/>
                    </a:rPr>
                    <a:t>52</a:t>
                  </a:r>
                </a:p>
              </p:txBody>
            </p:sp>
          </p:grpSp>
          <p:grpSp>
            <p:nvGrpSpPr>
              <p:cNvPr id="174" name="Alsace (N° Départements)">
                <a:extLst>
                  <a:ext uri="{FF2B5EF4-FFF2-40B4-BE49-F238E27FC236}">
                    <a16:creationId xmlns:a16="http://schemas.microsoft.com/office/drawing/2014/main" id="{3C7784C2-9843-4DBD-81E7-F035A0C0B89B}"/>
                  </a:ext>
                </a:extLst>
              </p:cNvPr>
              <p:cNvGrpSpPr/>
              <p:nvPr/>
            </p:nvGrpSpPr>
            <p:grpSpPr>
              <a:xfrm>
                <a:off x="8131064" y="2654517"/>
                <a:ext cx="270098" cy="565037"/>
                <a:chOff x="8131064" y="2654517"/>
                <a:chExt cx="270098" cy="565037"/>
              </a:xfrm>
            </p:grpSpPr>
            <p:sp>
              <p:nvSpPr>
                <p:cNvPr id="175" name="67">
                  <a:extLst>
                    <a:ext uri="{FF2B5EF4-FFF2-40B4-BE49-F238E27FC236}">
                      <a16:creationId xmlns:a16="http://schemas.microsoft.com/office/drawing/2014/main" id="{26D84BBE-9408-4BB5-9070-A7FF1FAD64A9}"/>
                    </a:ext>
                  </a:extLst>
                </p:cNvPr>
                <p:cNvSpPr txBox="1"/>
                <p:nvPr/>
              </p:nvSpPr>
              <p:spPr>
                <a:xfrm>
                  <a:off x="8216332" y="2654517"/>
                  <a:ext cx="184830" cy="166169"/>
                </a:xfrm>
                <a:prstGeom prst="rect">
                  <a:avLst/>
                </a:prstGeom>
                <a:noFill/>
              </p:spPr>
              <p:txBody>
                <a:bodyPr wrap="none" lIns="0" tIns="0" rIns="0" bIns="0" rtlCol="0">
                  <a:noAutofit/>
                </a:bodyPr>
                <a:lstStyle/>
                <a:p>
                  <a:r>
                    <a:rPr lang="fr-FR" sz="800">
                      <a:solidFill>
                        <a:srgbClr val="503078"/>
                      </a:solidFill>
                      <a:latin typeface="Tahoma"/>
                    </a:rPr>
                    <a:t>67</a:t>
                  </a:r>
                </a:p>
              </p:txBody>
            </p:sp>
            <p:sp>
              <p:nvSpPr>
                <p:cNvPr id="176" name="68">
                  <a:extLst>
                    <a:ext uri="{FF2B5EF4-FFF2-40B4-BE49-F238E27FC236}">
                      <a16:creationId xmlns:a16="http://schemas.microsoft.com/office/drawing/2014/main" id="{9FD8D3F9-BF11-41F3-BB7F-E940806015FF}"/>
                    </a:ext>
                  </a:extLst>
                </p:cNvPr>
                <p:cNvSpPr txBox="1"/>
                <p:nvPr/>
              </p:nvSpPr>
              <p:spPr>
                <a:xfrm>
                  <a:off x="8131064" y="3053385"/>
                  <a:ext cx="184830" cy="166169"/>
                </a:xfrm>
                <a:prstGeom prst="rect">
                  <a:avLst/>
                </a:prstGeom>
                <a:noFill/>
              </p:spPr>
              <p:txBody>
                <a:bodyPr wrap="none" lIns="0" tIns="0" rIns="0" bIns="0" rtlCol="0">
                  <a:noAutofit/>
                </a:bodyPr>
                <a:lstStyle/>
                <a:p>
                  <a:r>
                    <a:rPr lang="fr-FR" sz="800">
                      <a:solidFill>
                        <a:srgbClr val="503078"/>
                      </a:solidFill>
                      <a:latin typeface="Tahoma"/>
                    </a:rPr>
                    <a:t>68</a:t>
                  </a:r>
                </a:p>
              </p:txBody>
            </p:sp>
          </p:grpSp>
        </p:grpSp>
      </p:grpSp>
      <p:sp>
        <p:nvSpPr>
          <p:cNvPr id="653" name="ZoneTexte 652">
            <a:extLst>
              <a:ext uri="{FF2B5EF4-FFF2-40B4-BE49-F238E27FC236}">
                <a16:creationId xmlns:a16="http://schemas.microsoft.com/office/drawing/2014/main" id="{B6A2E34B-93B6-4A1A-BE2B-96C7BF07D722}"/>
              </a:ext>
            </a:extLst>
          </p:cNvPr>
          <p:cNvSpPr txBox="1">
            <a:spLocks/>
          </p:cNvSpPr>
          <p:nvPr/>
        </p:nvSpPr>
        <p:spPr>
          <a:xfrm>
            <a:off x="1859282" y="5872610"/>
            <a:ext cx="1096200" cy="215444"/>
          </a:xfrm>
          <a:prstGeom prst="rect">
            <a:avLst/>
          </a:prstGeom>
          <a:noFill/>
        </p:spPr>
        <p:txBody>
          <a:bodyPr wrap="square">
            <a:spAutoFit/>
          </a:bodyPr>
          <a:lstStyle/>
          <a:p>
            <a:pPr>
              <a:defRPr/>
            </a:pPr>
            <a:r>
              <a:rPr lang="fr-FR" sz="800">
                <a:solidFill>
                  <a:srgbClr val="5F5F5F">
                    <a:lumMod val="60000"/>
                    <a:lumOff val="40000"/>
                  </a:srgbClr>
                </a:solidFill>
                <a:latin typeface="Tahoma"/>
              </a:rPr>
              <a:t>Non renseigné</a:t>
            </a:r>
          </a:p>
        </p:txBody>
      </p:sp>
      <p:grpSp>
        <p:nvGrpSpPr>
          <p:cNvPr id="15" name="Groupe 14">
            <a:extLst>
              <a:ext uri="{FF2B5EF4-FFF2-40B4-BE49-F238E27FC236}">
                <a16:creationId xmlns:a16="http://schemas.microsoft.com/office/drawing/2014/main" id="{DF970C12-84E9-4E2D-AEFD-63E7586F0929}"/>
              </a:ext>
            </a:extLst>
          </p:cNvPr>
          <p:cNvGrpSpPr/>
          <p:nvPr/>
        </p:nvGrpSpPr>
        <p:grpSpPr>
          <a:xfrm>
            <a:off x="1497243" y="5889570"/>
            <a:ext cx="1470750" cy="836916"/>
            <a:chOff x="4489747" y="5729674"/>
            <a:chExt cx="1613992" cy="1140976"/>
          </a:xfrm>
        </p:grpSpPr>
        <p:grpSp>
          <p:nvGrpSpPr>
            <p:cNvPr id="12" name="Groupe 11">
              <a:extLst>
                <a:ext uri="{FF2B5EF4-FFF2-40B4-BE49-F238E27FC236}">
                  <a16:creationId xmlns:a16="http://schemas.microsoft.com/office/drawing/2014/main" id="{42AA6208-1257-4AB5-B1A6-9AFE8D577C2F}"/>
                </a:ext>
              </a:extLst>
            </p:cNvPr>
            <p:cNvGrpSpPr/>
            <p:nvPr/>
          </p:nvGrpSpPr>
          <p:grpSpPr>
            <a:xfrm>
              <a:off x="4489747" y="5729674"/>
              <a:ext cx="386501" cy="1058411"/>
              <a:chOff x="4489747" y="5610769"/>
              <a:chExt cx="386501" cy="1058411"/>
            </a:xfrm>
          </p:grpSpPr>
          <p:sp>
            <p:nvSpPr>
              <p:cNvPr id="10" name="Rectangle 9">
                <a:extLst>
                  <a:ext uri="{FF2B5EF4-FFF2-40B4-BE49-F238E27FC236}">
                    <a16:creationId xmlns:a16="http://schemas.microsoft.com/office/drawing/2014/main" id="{A2ED1C70-06D9-4FEA-B1DD-5C4CE99ACAD2}"/>
                  </a:ext>
                </a:extLst>
              </p:cNvPr>
              <p:cNvSpPr>
                <a:spLocks/>
              </p:cNvSpPr>
              <p:nvPr/>
            </p:nvSpPr>
            <p:spPr>
              <a:xfrm>
                <a:off x="4494747" y="5610769"/>
                <a:ext cx="381501" cy="2111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650" name="Rectangle 649">
                <a:extLst>
                  <a:ext uri="{FF2B5EF4-FFF2-40B4-BE49-F238E27FC236}">
                    <a16:creationId xmlns:a16="http://schemas.microsoft.com/office/drawing/2014/main" id="{91061755-E7D5-472D-8E8B-AFCAC0A1832E}"/>
                  </a:ext>
                </a:extLst>
              </p:cNvPr>
              <p:cNvSpPr>
                <a:spLocks/>
              </p:cNvSpPr>
              <p:nvPr/>
            </p:nvSpPr>
            <p:spPr>
              <a:xfrm>
                <a:off x="4492025" y="5826034"/>
                <a:ext cx="381501" cy="211152"/>
              </a:xfrm>
              <a:prstGeom prst="rect">
                <a:avLst/>
              </a:prstGeom>
              <a:solidFill>
                <a:srgbClr val="EBE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651" name="Rectangle 650">
                <a:extLst>
                  <a:ext uri="{FF2B5EF4-FFF2-40B4-BE49-F238E27FC236}">
                    <a16:creationId xmlns:a16="http://schemas.microsoft.com/office/drawing/2014/main" id="{736C91E5-3B4B-4C2B-A6A6-2F00B8E4CDFC}"/>
                  </a:ext>
                </a:extLst>
              </p:cNvPr>
              <p:cNvSpPr>
                <a:spLocks/>
              </p:cNvSpPr>
              <p:nvPr/>
            </p:nvSpPr>
            <p:spPr>
              <a:xfrm>
                <a:off x="4492025" y="6040416"/>
                <a:ext cx="381501" cy="211152"/>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652" name="Rectangle 651">
                <a:extLst>
                  <a:ext uri="{FF2B5EF4-FFF2-40B4-BE49-F238E27FC236}">
                    <a16:creationId xmlns:a16="http://schemas.microsoft.com/office/drawing/2014/main" id="{4507E5D9-3F48-4ACB-8917-C7F0A891C640}"/>
                  </a:ext>
                </a:extLst>
              </p:cNvPr>
              <p:cNvSpPr>
                <a:spLocks/>
              </p:cNvSpPr>
              <p:nvPr/>
            </p:nvSpPr>
            <p:spPr>
              <a:xfrm>
                <a:off x="4492025" y="6252495"/>
                <a:ext cx="381501" cy="21115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657" name="Rectangle 656">
                <a:extLst>
                  <a:ext uri="{FF2B5EF4-FFF2-40B4-BE49-F238E27FC236}">
                    <a16:creationId xmlns:a16="http://schemas.microsoft.com/office/drawing/2014/main" id="{965DCFF4-D8C1-4049-9732-988AC19B9734}"/>
                  </a:ext>
                </a:extLst>
              </p:cNvPr>
              <p:cNvSpPr>
                <a:spLocks/>
              </p:cNvSpPr>
              <p:nvPr/>
            </p:nvSpPr>
            <p:spPr>
              <a:xfrm>
                <a:off x="4489747" y="6458028"/>
                <a:ext cx="383779" cy="211152"/>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grpSp>
        <p:sp>
          <p:nvSpPr>
            <p:cNvPr id="654" name="ZoneTexte 653">
              <a:extLst>
                <a:ext uri="{FF2B5EF4-FFF2-40B4-BE49-F238E27FC236}">
                  <a16:creationId xmlns:a16="http://schemas.microsoft.com/office/drawing/2014/main" id="{8D41776A-8AC2-4A27-8F40-98461F454345}"/>
                </a:ext>
              </a:extLst>
            </p:cNvPr>
            <p:cNvSpPr txBox="1">
              <a:spLocks/>
            </p:cNvSpPr>
            <p:nvPr/>
          </p:nvSpPr>
          <p:spPr>
            <a:xfrm>
              <a:off x="4900775" y="5951891"/>
              <a:ext cx="1202964" cy="293717"/>
            </a:xfrm>
            <a:prstGeom prst="rect">
              <a:avLst/>
            </a:prstGeom>
            <a:noFill/>
          </p:spPr>
          <p:txBody>
            <a:bodyPr wrap="square">
              <a:spAutoFit/>
            </a:bodyPr>
            <a:lstStyle/>
            <a:p>
              <a:pPr>
                <a:defRPr/>
              </a:pPr>
              <a:r>
                <a:rPr lang="fr-FR" sz="800">
                  <a:solidFill>
                    <a:srgbClr val="5F5F5F">
                      <a:lumMod val="60000"/>
                      <a:lumOff val="40000"/>
                    </a:srgbClr>
                  </a:solidFill>
                  <a:latin typeface="Tahoma"/>
                </a:rPr>
                <a:t>3 – 6%</a:t>
              </a:r>
            </a:p>
          </p:txBody>
        </p:sp>
        <p:sp>
          <p:nvSpPr>
            <p:cNvPr id="655" name="ZoneTexte 654">
              <a:extLst>
                <a:ext uri="{FF2B5EF4-FFF2-40B4-BE49-F238E27FC236}">
                  <a16:creationId xmlns:a16="http://schemas.microsoft.com/office/drawing/2014/main" id="{7C3E107E-D737-41CD-AD23-1E3ABFCC6933}"/>
                </a:ext>
              </a:extLst>
            </p:cNvPr>
            <p:cNvSpPr txBox="1">
              <a:spLocks/>
            </p:cNvSpPr>
            <p:nvPr/>
          </p:nvSpPr>
          <p:spPr>
            <a:xfrm>
              <a:off x="4900775" y="6172759"/>
              <a:ext cx="1202964" cy="293717"/>
            </a:xfrm>
            <a:prstGeom prst="rect">
              <a:avLst/>
            </a:prstGeom>
            <a:noFill/>
          </p:spPr>
          <p:txBody>
            <a:bodyPr wrap="square">
              <a:spAutoFit/>
            </a:bodyPr>
            <a:lstStyle/>
            <a:p>
              <a:pPr>
                <a:defRPr/>
              </a:pPr>
              <a:r>
                <a:rPr lang="fr-FR" sz="800">
                  <a:solidFill>
                    <a:srgbClr val="5F5F5F">
                      <a:lumMod val="60000"/>
                      <a:lumOff val="40000"/>
                    </a:srgbClr>
                  </a:solidFill>
                  <a:latin typeface="Tahoma"/>
                </a:rPr>
                <a:t>6 – 8%</a:t>
              </a:r>
            </a:p>
          </p:txBody>
        </p:sp>
        <p:sp>
          <p:nvSpPr>
            <p:cNvPr id="656" name="ZoneTexte 655">
              <a:extLst>
                <a:ext uri="{FF2B5EF4-FFF2-40B4-BE49-F238E27FC236}">
                  <a16:creationId xmlns:a16="http://schemas.microsoft.com/office/drawing/2014/main" id="{4EF7002A-6200-4D28-8DC8-C41FB85B6BD0}"/>
                </a:ext>
              </a:extLst>
            </p:cNvPr>
            <p:cNvSpPr txBox="1">
              <a:spLocks/>
            </p:cNvSpPr>
            <p:nvPr/>
          </p:nvSpPr>
          <p:spPr>
            <a:xfrm>
              <a:off x="4900775" y="6380727"/>
              <a:ext cx="1202964" cy="293717"/>
            </a:xfrm>
            <a:prstGeom prst="rect">
              <a:avLst/>
            </a:prstGeom>
            <a:noFill/>
          </p:spPr>
          <p:txBody>
            <a:bodyPr wrap="square">
              <a:spAutoFit/>
            </a:bodyPr>
            <a:lstStyle/>
            <a:p>
              <a:pPr>
                <a:defRPr/>
              </a:pPr>
              <a:r>
                <a:rPr lang="fr-FR" sz="800">
                  <a:solidFill>
                    <a:srgbClr val="5F5F5F">
                      <a:lumMod val="60000"/>
                      <a:lumOff val="40000"/>
                    </a:srgbClr>
                  </a:solidFill>
                  <a:latin typeface="Tahoma"/>
                </a:rPr>
                <a:t>8 – 10%</a:t>
              </a:r>
            </a:p>
          </p:txBody>
        </p:sp>
        <p:sp>
          <p:nvSpPr>
            <p:cNvPr id="658" name="ZoneTexte 657">
              <a:extLst>
                <a:ext uri="{FF2B5EF4-FFF2-40B4-BE49-F238E27FC236}">
                  <a16:creationId xmlns:a16="http://schemas.microsoft.com/office/drawing/2014/main" id="{259247D0-3312-46D3-B91E-A6E88F4A68CA}"/>
                </a:ext>
              </a:extLst>
            </p:cNvPr>
            <p:cNvSpPr txBox="1">
              <a:spLocks/>
            </p:cNvSpPr>
            <p:nvPr/>
          </p:nvSpPr>
          <p:spPr>
            <a:xfrm>
              <a:off x="4900775" y="6576933"/>
              <a:ext cx="1202964" cy="293717"/>
            </a:xfrm>
            <a:prstGeom prst="rect">
              <a:avLst/>
            </a:prstGeom>
            <a:noFill/>
          </p:spPr>
          <p:txBody>
            <a:bodyPr wrap="square">
              <a:spAutoFit/>
            </a:bodyPr>
            <a:lstStyle/>
            <a:p>
              <a:pPr>
                <a:defRPr/>
              </a:pPr>
              <a:r>
                <a:rPr lang="fr-FR" sz="800">
                  <a:solidFill>
                    <a:srgbClr val="5F5F5F">
                      <a:lumMod val="60000"/>
                      <a:lumOff val="40000"/>
                    </a:srgbClr>
                  </a:solidFill>
                  <a:latin typeface="Tahoma"/>
                </a:rPr>
                <a:t>&gt; 10%</a:t>
              </a:r>
            </a:p>
          </p:txBody>
        </p:sp>
        <p:grpSp>
          <p:nvGrpSpPr>
            <p:cNvPr id="660" name="Groupe 659">
              <a:extLst>
                <a:ext uri="{FF2B5EF4-FFF2-40B4-BE49-F238E27FC236}">
                  <a16:creationId xmlns:a16="http://schemas.microsoft.com/office/drawing/2014/main" id="{7A511849-65C6-479B-A3FD-904F256F13E5}"/>
                </a:ext>
              </a:extLst>
            </p:cNvPr>
            <p:cNvGrpSpPr/>
            <p:nvPr/>
          </p:nvGrpSpPr>
          <p:grpSpPr>
            <a:xfrm>
              <a:off x="4489898" y="5733913"/>
              <a:ext cx="382096" cy="1054157"/>
              <a:chOff x="4492025" y="5615023"/>
              <a:chExt cx="382096" cy="1054157"/>
            </a:xfrm>
          </p:grpSpPr>
          <p:sp>
            <p:nvSpPr>
              <p:cNvPr id="661" name="Rectangle 660">
                <a:extLst>
                  <a:ext uri="{FF2B5EF4-FFF2-40B4-BE49-F238E27FC236}">
                    <a16:creationId xmlns:a16="http://schemas.microsoft.com/office/drawing/2014/main" id="{C42D9917-B7DA-481D-8592-9DC7DBBB24F5}"/>
                  </a:ext>
                </a:extLst>
              </p:cNvPr>
              <p:cNvSpPr>
                <a:spLocks/>
              </p:cNvSpPr>
              <p:nvPr/>
            </p:nvSpPr>
            <p:spPr>
              <a:xfrm>
                <a:off x="4492620" y="5615023"/>
                <a:ext cx="381501" cy="2111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662" name="Rectangle 661">
                <a:extLst>
                  <a:ext uri="{FF2B5EF4-FFF2-40B4-BE49-F238E27FC236}">
                    <a16:creationId xmlns:a16="http://schemas.microsoft.com/office/drawing/2014/main" id="{FB4E3B99-C80F-4AC2-B317-D4B8E25AF586}"/>
                  </a:ext>
                </a:extLst>
              </p:cNvPr>
              <p:cNvSpPr>
                <a:spLocks/>
              </p:cNvSpPr>
              <p:nvPr/>
            </p:nvSpPr>
            <p:spPr>
              <a:xfrm>
                <a:off x="4492025" y="5828161"/>
                <a:ext cx="381501" cy="211152"/>
              </a:xfrm>
              <a:prstGeom prst="rect">
                <a:avLst/>
              </a:prstGeom>
              <a:solidFill>
                <a:srgbClr val="EBE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663" name="Rectangle 662">
                <a:extLst>
                  <a:ext uri="{FF2B5EF4-FFF2-40B4-BE49-F238E27FC236}">
                    <a16:creationId xmlns:a16="http://schemas.microsoft.com/office/drawing/2014/main" id="{4671A5DF-41B4-411C-A590-EEE159FD3932}"/>
                  </a:ext>
                </a:extLst>
              </p:cNvPr>
              <p:cNvSpPr>
                <a:spLocks/>
              </p:cNvSpPr>
              <p:nvPr/>
            </p:nvSpPr>
            <p:spPr>
              <a:xfrm>
                <a:off x="4492025" y="6040416"/>
                <a:ext cx="381501" cy="211152"/>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664" name="Rectangle 663">
                <a:extLst>
                  <a:ext uri="{FF2B5EF4-FFF2-40B4-BE49-F238E27FC236}">
                    <a16:creationId xmlns:a16="http://schemas.microsoft.com/office/drawing/2014/main" id="{8FDE502B-2095-4C0C-A56D-FFF3D03BDC64}"/>
                  </a:ext>
                </a:extLst>
              </p:cNvPr>
              <p:cNvSpPr>
                <a:spLocks/>
              </p:cNvSpPr>
              <p:nvPr/>
            </p:nvSpPr>
            <p:spPr>
              <a:xfrm>
                <a:off x="4492025" y="6252495"/>
                <a:ext cx="381501" cy="21115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665" name="Rectangle 664">
                <a:extLst>
                  <a:ext uri="{FF2B5EF4-FFF2-40B4-BE49-F238E27FC236}">
                    <a16:creationId xmlns:a16="http://schemas.microsoft.com/office/drawing/2014/main" id="{3CCD2B8A-4041-46BD-BBA1-7D2039306165}"/>
                  </a:ext>
                </a:extLst>
              </p:cNvPr>
              <p:cNvSpPr>
                <a:spLocks/>
              </p:cNvSpPr>
              <p:nvPr/>
            </p:nvSpPr>
            <p:spPr>
              <a:xfrm>
                <a:off x="4496727" y="6458028"/>
                <a:ext cx="376799" cy="211152"/>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grpSp>
      </p:grpSp>
      <p:sp>
        <p:nvSpPr>
          <p:cNvPr id="402" name="ZoneTexte 401">
            <a:extLst>
              <a:ext uri="{FF2B5EF4-FFF2-40B4-BE49-F238E27FC236}">
                <a16:creationId xmlns:a16="http://schemas.microsoft.com/office/drawing/2014/main" id="{6BF5CC0B-E9D1-43B4-8593-FABF82789B1C}"/>
              </a:ext>
            </a:extLst>
          </p:cNvPr>
          <p:cNvSpPr txBox="1"/>
          <p:nvPr/>
        </p:nvSpPr>
        <p:spPr>
          <a:xfrm>
            <a:off x="6387478" y="4017665"/>
            <a:ext cx="4440345" cy="2390398"/>
          </a:xfrm>
          <a:prstGeom prst="rect">
            <a:avLst/>
          </a:prstGeom>
          <a:noFill/>
        </p:spPr>
        <p:txBody>
          <a:bodyPr wrap="square">
            <a:spAutoFit/>
          </a:bodyPr>
          <a:lstStyle/>
          <a:p>
            <a:pPr marL="171450" indent="-171450" algn="just">
              <a:buClr>
                <a:srgbClr val="503078"/>
              </a:buClr>
              <a:buFont typeface="Tahoma" panose="020B0604030504040204" pitchFamily="34" charset="0"/>
              <a:buChar char="⁄"/>
            </a:pPr>
            <a:endParaRPr lang="fr-FR" sz="1100">
              <a:solidFill>
                <a:srgbClr val="5F5F5F"/>
              </a:solidFill>
              <a:latin typeface="Tahoma"/>
            </a:endParaRPr>
          </a:p>
          <a:p>
            <a:pPr marL="171450" indent="-171450" algn="just">
              <a:spcAft>
                <a:spcPts val="300"/>
              </a:spcAft>
              <a:buClr>
                <a:srgbClr val="503078"/>
              </a:buClr>
              <a:buFont typeface="Tahoma" panose="020B0604030504040204" pitchFamily="34" charset="0"/>
              <a:buChar char="⁄"/>
            </a:pPr>
            <a:r>
              <a:rPr lang="fr-FR" sz="1100">
                <a:solidFill>
                  <a:srgbClr val="5F5F5F"/>
                </a:solidFill>
                <a:latin typeface="Tahoma"/>
              </a:rPr>
              <a:t>Le nombre de bénéficiaires de l’APA est </a:t>
            </a:r>
            <a:r>
              <a:rPr lang="fr-FR" sz="1100" b="1">
                <a:solidFill>
                  <a:srgbClr val="503078"/>
                </a:solidFill>
                <a:latin typeface="Tahoma"/>
              </a:rPr>
              <a:t>en augmentation de 13,4%</a:t>
            </a:r>
            <a:r>
              <a:rPr lang="fr-FR" sz="1100">
                <a:solidFill>
                  <a:srgbClr val="5F5F5F"/>
                </a:solidFill>
                <a:latin typeface="Tahoma"/>
              </a:rPr>
              <a:t> depuis 2010</a:t>
            </a:r>
            <a:r>
              <a:rPr lang="fr-FR" sz="1100" baseline="30000">
                <a:solidFill>
                  <a:srgbClr val="5F5F5F"/>
                </a:solidFill>
                <a:latin typeface="Tahoma"/>
              </a:rPr>
              <a:t>1</a:t>
            </a:r>
          </a:p>
          <a:p>
            <a:pPr marL="171450" indent="-171450" algn="just">
              <a:spcAft>
                <a:spcPts val="300"/>
              </a:spcAft>
              <a:buClr>
                <a:srgbClr val="503078"/>
              </a:buClr>
              <a:buFont typeface="Tahoma" panose="020B0604030504040204" pitchFamily="34" charset="0"/>
              <a:buChar char="⁄"/>
            </a:pPr>
            <a:r>
              <a:rPr lang="fr-FR" sz="1100">
                <a:solidFill>
                  <a:srgbClr val="5F5F5F"/>
                </a:solidFill>
                <a:latin typeface="Tahoma"/>
              </a:rPr>
              <a:t>La prévalence de l’APA </a:t>
            </a:r>
            <a:r>
              <a:rPr lang="fr-FR" sz="1100" b="1">
                <a:solidFill>
                  <a:srgbClr val="503078"/>
                </a:solidFill>
                <a:latin typeface="Tahoma"/>
              </a:rPr>
              <a:t>augmente fortement avec l’âge </a:t>
            </a:r>
            <a:r>
              <a:rPr lang="fr-FR" sz="1100">
                <a:solidFill>
                  <a:srgbClr val="5F5F5F"/>
                </a:solidFill>
                <a:latin typeface="Tahoma"/>
              </a:rPr>
              <a:t>(12% en moyenne chez les + de 80 ans, 46% chez les plus de 90 ans)</a:t>
            </a:r>
            <a:r>
              <a:rPr lang="fr-FR" sz="1100" baseline="30000">
                <a:solidFill>
                  <a:srgbClr val="5F5F5F"/>
                </a:solidFill>
                <a:latin typeface="Tahoma"/>
              </a:rPr>
              <a:t> 1</a:t>
            </a:r>
            <a:endParaRPr lang="fr-FR" sz="1100">
              <a:solidFill>
                <a:srgbClr val="5F5F5F"/>
              </a:solidFill>
              <a:latin typeface="Tahoma"/>
            </a:endParaRPr>
          </a:p>
          <a:p>
            <a:pPr marL="171450" indent="-171450" algn="just">
              <a:spcAft>
                <a:spcPts val="300"/>
              </a:spcAft>
              <a:buClr>
                <a:srgbClr val="503078"/>
              </a:buClr>
              <a:buFont typeface="Tahoma" panose="020B0604030504040204" pitchFamily="34" charset="0"/>
              <a:buChar char="⁄"/>
            </a:pPr>
            <a:r>
              <a:rPr lang="fr-FR" sz="1100">
                <a:solidFill>
                  <a:srgbClr val="5F5F5F"/>
                </a:solidFill>
                <a:latin typeface="Tahoma"/>
              </a:rPr>
              <a:t>Le modèle de prédiction LIVIA</a:t>
            </a:r>
            <a:r>
              <a:rPr lang="fr-FR" sz="1100" baseline="30000">
                <a:solidFill>
                  <a:srgbClr val="5F5F5F"/>
                </a:solidFill>
                <a:latin typeface="Tahoma"/>
              </a:rPr>
              <a:t>2</a:t>
            </a:r>
            <a:r>
              <a:rPr lang="fr-FR" sz="1100">
                <a:solidFill>
                  <a:srgbClr val="5F5F5F"/>
                </a:solidFill>
                <a:latin typeface="Tahoma"/>
              </a:rPr>
              <a:t> établi par la DREES prévoit une hausse située entre </a:t>
            </a:r>
            <a:r>
              <a:rPr lang="fr-FR" sz="1100" b="1">
                <a:solidFill>
                  <a:srgbClr val="503078"/>
                </a:solidFill>
                <a:latin typeface="Tahoma"/>
              </a:rPr>
              <a:t>113 000 bénéficiaires </a:t>
            </a:r>
            <a:r>
              <a:rPr lang="fr-FR" sz="1100">
                <a:solidFill>
                  <a:srgbClr val="5F5F5F"/>
                </a:solidFill>
                <a:latin typeface="Tahoma"/>
              </a:rPr>
              <a:t>(scénario central et </a:t>
            </a:r>
            <a:r>
              <a:rPr lang="fr-FR" sz="1100" b="1">
                <a:solidFill>
                  <a:srgbClr val="503078"/>
                </a:solidFill>
                <a:latin typeface="Tahoma"/>
              </a:rPr>
              <a:t>215 000 bénéficiaires</a:t>
            </a:r>
            <a:r>
              <a:rPr lang="fr-FR" sz="1100">
                <a:solidFill>
                  <a:srgbClr val="5F5F5F"/>
                </a:solidFill>
                <a:latin typeface="Tahoma"/>
              </a:rPr>
              <a:t> (scénario pessimiste) à horizon 2030.</a:t>
            </a:r>
          </a:p>
          <a:p>
            <a:pPr marL="171450" indent="-171450" algn="just">
              <a:spcAft>
                <a:spcPts val="300"/>
              </a:spcAft>
              <a:buClr>
                <a:srgbClr val="503078"/>
              </a:buClr>
              <a:buFont typeface="Tahoma" panose="020B0604030504040204" pitchFamily="34" charset="0"/>
              <a:buChar char="⁄"/>
            </a:pPr>
            <a:r>
              <a:rPr lang="fr-FR" sz="1100" kern="0">
                <a:solidFill>
                  <a:srgbClr val="5F5F5F"/>
                </a:solidFill>
                <a:latin typeface="Tahoma"/>
              </a:rPr>
              <a:t>La seule prise en compte de l’APA est un critère restrictif pour quantifier les personnes en perte d’autonomie : d’autres études menées par l’Insee</a:t>
            </a:r>
            <a:r>
              <a:rPr lang="fr-FR" sz="1100" baseline="30000">
                <a:solidFill>
                  <a:srgbClr val="5F5F5F"/>
                </a:solidFill>
                <a:latin typeface="Tahoma"/>
              </a:rPr>
              <a:t>3</a:t>
            </a:r>
            <a:r>
              <a:rPr lang="fr-FR" sz="1100" kern="0">
                <a:solidFill>
                  <a:srgbClr val="5F5F5F"/>
                </a:solidFill>
                <a:latin typeface="Tahoma"/>
              </a:rPr>
              <a:t> estimaient le nombre de seniors en perte d’autonomie </a:t>
            </a:r>
            <a:r>
              <a:rPr lang="fr-FR" sz="1100" b="1" kern="0">
                <a:solidFill>
                  <a:srgbClr val="5F5F5F"/>
                </a:solidFill>
                <a:latin typeface="Tahoma"/>
              </a:rPr>
              <a:t>à </a:t>
            </a:r>
            <a:r>
              <a:rPr lang="fr-FR" sz="1100" b="1" kern="0">
                <a:solidFill>
                  <a:srgbClr val="503078"/>
                </a:solidFill>
                <a:latin typeface="Tahoma"/>
              </a:rPr>
              <a:t>2,5 millions </a:t>
            </a:r>
            <a:r>
              <a:rPr lang="fr-FR" sz="1100" kern="0">
                <a:solidFill>
                  <a:srgbClr val="5F5F5F"/>
                </a:solidFill>
                <a:latin typeface="Tahoma"/>
              </a:rPr>
              <a:t>en 2015.</a:t>
            </a:r>
          </a:p>
          <a:p>
            <a:pPr marL="171450" indent="-171450" algn="just">
              <a:buClr>
                <a:srgbClr val="503078"/>
              </a:buClr>
              <a:buFont typeface="Tahoma" panose="020B0604030504040204" pitchFamily="34" charset="0"/>
              <a:buChar char="⁄"/>
            </a:pPr>
            <a:endParaRPr lang="fr-FR" sz="1100" baseline="30000">
              <a:solidFill>
                <a:srgbClr val="5F5F5F"/>
              </a:solidFill>
              <a:latin typeface="Tahoma"/>
            </a:endParaRPr>
          </a:p>
        </p:txBody>
      </p:sp>
      <p:sp>
        <p:nvSpPr>
          <p:cNvPr id="691" name="Rectangle 690">
            <a:extLst>
              <a:ext uri="{FF2B5EF4-FFF2-40B4-BE49-F238E27FC236}">
                <a16:creationId xmlns:a16="http://schemas.microsoft.com/office/drawing/2014/main" id="{AD71C399-06F6-41A7-A811-174E44F384BD}"/>
              </a:ext>
            </a:extLst>
          </p:cNvPr>
          <p:cNvSpPr/>
          <p:nvPr/>
        </p:nvSpPr>
        <p:spPr>
          <a:xfrm>
            <a:off x="6395229" y="4076547"/>
            <a:ext cx="4421846" cy="2159982"/>
          </a:xfrm>
          <a:prstGeom prst="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endParaRPr lang="fr-FR">
              <a:solidFill>
                <a:srgbClr val="503078"/>
              </a:solidFill>
              <a:latin typeface="Tahoma"/>
            </a:endParaRPr>
          </a:p>
        </p:txBody>
      </p:sp>
      <p:sp>
        <p:nvSpPr>
          <p:cNvPr id="692" name="Rectangle 691">
            <a:extLst>
              <a:ext uri="{FF2B5EF4-FFF2-40B4-BE49-F238E27FC236}">
                <a16:creationId xmlns:a16="http://schemas.microsoft.com/office/drawing/2014/main" id="{76AE2EF3-6A17-4324-9B93-9EC22FDF5D76}"/>
              </a:ext>
            </a:extLst>
          </p:cNvPr>
          <p:cNvSpPr/>
          <p:nvPr/>
        </p:nvSpPr>
        <p:spPr>
          <a:xfrm>
            <a:off x="7634943" y="3934939"/>
            <a:ext cx="2125340" cy="299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200" b="1">
                <a:solidFill>
                  <a:srgbClr val="503078"/>
                </a:solidFill>
                <a:latin typeface="Tahoma"/>
              </a:rPr>
              <a:t>Remarques</a:t>
            </a:r>
          </a:p>
        </p:txBody>
      </p:sp>
      <p:pic>
        <p:nvPicPr>
          <p:cNvPr id="693" name="Graphique 692" descr="Ampoule et engrenage">
            <a:extLst>
              <a:ext uri="{FF2B5EF4-FFF2-40B4-BE49-F238E27FC236}">
                <a16:creationId xmlns:a16="http://schemas.microsoft.com/office/drawing/2014/main" id="{DB94FCA8-FDB4-42FF-BE30-E08556D0746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58572" y="3863695"/>
            <a:ext cx="413739" cy="413739"/>
          </a:xfrm>
          <a:prstGeom prst="rect">
            <a:avLst/>
          </a:prstGeom>
        </p:spPr>
      </p:pic>
      <p:sp>
        <p:nvSpPr>
          <p:cNvPr id="428" name="ZoneTexte 427">
            <a:extLst>
              <a:ext uri="{FF2B5EF4-FFF2-40B4-BE49-F238E27FC236}">
                <a16:creationId xmlns:a16="http://schemas.microsoft.com/office/drawing/2014/main" id="{967FDAAD-A8D5-4133-9097-D799A6C9725B}"/>
              </a:ext>
            </a:extLst>
          </p:cNvPr>
          <p:cNvSpPr txBox="1"/>
          <p:nvPr/>
        </p:nvSpPr>
        <p:spPr>
          <a:xfrm>
            <a:off x="1373344" y="1605464"/>
            <a:ext cx="4541994" cy="461665"/>
          </a:xfrm>
          <a:prstGeom prst="rect">
            <a:avLst/>
          </a:prstGeom>
          <a:noFill/>
        </p:spPr>
        <p:txBody>
          <a:bodyPr wrap="square">
            <a:spAutoFit/>
          </a:bodyPr>
          <a:lstStyle/>
          <a:p>
            <a:r>
              <a:rPr lang="fr-FR" sz="1200" b="1" kern="0">
                <a:solidFill>
                  <a:srgbClr val="503078"/>
                </a:solidFill>
                <a:latin typeface="Tahoma"/>
              </a:rPr>
              <a:t>Pourcentage de bénéficiaires de l’APA par rapport à la population Française des plus de 60 ans au 31/12/2019</a:t>
            </a:r>
          </a:p>
        </p:txBody>
      </p:sp>
      <p:graphicFrame>
        <p:nvGraphicFramePr>
          <p:cNvPr id="642" name="Tableau 642">
            <a:extLst>
              <a:ext uri="{FF2B5EF4-FFF2-40B4-BE49-F238E27FC236}">
                <a16:creationId xmlns:a16="http://schemas.microsoft.com/office/drawing/2014/main" id="{C2647030-329C-481E-9FA6-6B8A40280B73}"/>
              </a:ext>
            </a:extLst>
          </p:cNvPr>
          <p:cNvGraphicFramePr>
            <a:graphicFrameLocks noGrp="1"/>
          </p:cNvGraphicFramePr>
          <p:nvPr/>
        </p:nvGraphicFramePr>
        <p:xfrm>
          <a:off x="6382935" y="2128772"/>
          <a:ext cx="4421846" cy="1737360"/>
        </p:xfrm>
        <a:graphic>
          <a:graphicData uri="http://schemas.openxmlformats.org/drawingml/2006/table">
            <a:tbl>
              <a:tblPr bandRow="1">
                <a:tableStyleId>{5C22544A-7EE6-4342-B048-85BDC9FD1C3A}</a:tableStyleId>
              </a:tblPr>
              <a:tblGrid>
                <a:gridCol w="1455446">
                  <a:extLst>
                    <a:ext uri="{9D8B030D-6E8A-4147-A177-3AD203B41FA5}">
                      <a16:colId xmlns:a16="http://schemas.microsoft.com/office/drawing/2014/main" val="3648665111"/>
                    </a:ext>
                  </a:extLst>
                </a:gridCol>
                <a:gridCol w="756000">
                  <a:extLst>
                    <a:ext uri="{9D8B030D-6E8A-4147-A177-3AD203B41FA5}">
                      <a16:colId xmlns:a16="http://schemas.microsoft.com/office/drawing/2014/main" val="35701285"/>
                    </a:ext>
                  </a:extLst>
                </a:gridCol>
                <a:gridCol w="1454400">
                  <a:extLst>
                    <a:ext uri="{9D8B030D-6E8A-4147-A177-3AD203B41FA5}">
                      <a16:colId xmlns:a16="http://schemas.microsoft.com/office/drawing/2014/main" val="893798173"/>
                    </a:ext>
                  </a:extLst>
                </a:gridCol>
                <a:gridCol w="756000">
                  <a:extLst>
                    <a:ext uri="{9D8B030D-6E8A-4147-A177-3AD203B41FA5}">
                      <a16:colId xmlns:a16="http://schemas.microsoft.com/office/drawing/2014/main" val="114917291"/>
                    </a:ext>
                  </a:extLst>
                </a:gridCol>
              </a:tblGrid>
              <a:tr h="0">
                <a:tc>
                  <a:txBody>
                    <a:bodyPr/>
                    <a:lstStyle/>
                    <a:p>
                      <a:r>
                        <a:rPr lang="en-US" sz="900"/>
                        <a:t>Auvergne-Rhône-Alpes</a:t>
                      </a:r>
                      <a:endParaRPr lang="fr-FR" sz="900"/>
                    </a:p>
                  </a:txBody>
                  <a:tcPr anchor="ctr">
                    <a:lnL w="6350" cap="flat" cmpd="sng" algn="ctr">
                      <a:solidFill>
                        <a:schemeClr val="bg2"/>
                      </a:solidFill>
                      <a:prstDash val="solid"/>
                      <a:round/>
                      <a:headEnd type="none" w="med" len="med"/>
                      <a:tailEnd type="none" w="med" len="med"/>
                    </a:lnL>
                    <a:lnT w="6350" cap="flat" cmpd="sng" algn="ctr">
                      <a:solidFill>
                        <a:schemeClr val="bg2"/>
                      </a:solidFill>
                      <a:prstDash val="solid"/>
                      <a:round/>
                      <a:headEnd type="none" w="med" len="med"/>
                      <a:tailEnd type="none" w="med" len="med"/>
                    </a:lnT>
                    <a:solidFill>
                      <a:schemeClr val="bg1">
                        <a:lumMod val="95000"/>
                      </a:schemeClr>
                    </a:solidFill>
                  </a:tcPr>
                </a:tc>
                <a:tc>
                  <a:txBody>
                    <a:bodyPr/>
                    <a:lstStyle/>
                    <a:p>
                      <a:pPr algn="ctr"/>
                      <a:r>
                        <a:rPr lang="en-US" sz="900"/>
                        <a:t>175 668</a:t>
                      </a:r>
                      <a:endParaRPr lang="fr-FR" sz="900"/>
                    </a:p>
                  </a:txBody>
                  <a:tcPr anchor="ctr">
                    <a:lnT w="6350" cap="flat" cmpd="sng" algn="ctr">
                      <a:solidFill>
                        <a:schemeClr val="bg2"/>
                      </a:solidFill>
                      <a:prstDash val="solid"/>
                      <a:round/>
                      <a:headEnd type="none" w="med" len="med"/>
                      <a:tailEnd type="none" w="med" len="med"/>
                    </a:lnT>
                    <a:solidFill>
                      <a:schemeClr val="bg1"/>
                    </a:solidFill>
                  </a:tcPr>
                </a:tc>
                <a:tc>
                  <a:txBody>
                    <a:bodyPr/>
                    <a:lstStyle/>
                    <a:p>
                      <a:pPr marL="0" algn="l" defTabSz="742950" rtl="0" eaLnBrk="1" latinLnBrk="0" hangingPunct="1"/>
                      <a:r>
                        <a:rPr lang="en-US" sz="900" kern="1200">
                          <a:solidFill>
                            <a:schemeClr val="dk1"/>
                          </a:solidFill>
                          <a:latin typeface="+mn-lt"/>
                          <a:ea typeface="+mn-ea"/>
                          <a:cs typeface="+mn-cs"/>
                        </a:rPr>
                        <a:t>Île-de-France</a:t>
                      </a:r>
                      <a:endParaRPr lang="fr-FR" sz="900" kern="1200">
                        <a:solidFill>
                          <a:schemeClr val="dk1"/>
                        </a:solidFill>
                        <a:latin typeface="+mn-lt"/>
                        <a:ea typeface="+mn-ea"/>
                        <a:cs typeface="+mn-cs"/>
                      </a:endParaRPr>
                    </a:p>
                  </a:txBody>
                  <a:tcPr anchor="ctr">
                    <a:lnT w="6350" cap="flat" cmpd="sng" algn="ctr">
                      <a:solidFill>
                        <a:schemeClr val="bg2"/>
                      </a:solidFill>
                      <a:prstDash val="solid"/>
                      <a:round/>
                      <a:headEnd type="none" w="med" len="med"/>
                      <a:tailEnd type="none" w="med" len="med"/>
                    </a:lnT>
                    <a:solidFill>
                      <a:schemeClr val="bg1">
                        <a:lumMod val="95000"/>
                      </a:schemeClr>
                    </a:solidFill>
                  </a:tcPr>
                </a:tc>
                <a:tc>
                  <a:txBody>
                    <a:bodyPr/>
                    <a:lstStyle/>
                    <a:p>
                      <a:pPr algn="ctr"/>
                      <a:r>
                        <a:rPr lang="en-US" sz="900"/>
                        <a:t>139 469</a:t>
                      </a:r>
                      <a:endParaRPr lang="fr-FR" sz="900"/>
                    </a:p>
                  </a:txBody>
                  <a:tcPr anchor="ctr">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4213329896"/>
                  </a:ext>
                </a:extLst>
              </a:tr>
              <a:tr h="0">
                <a:tc>
                  <a:txBody>
                    <a:bodyPr/>
                    <a:lstStyle/>
                    <a:p>
                      <a:r>
                        <a:rPr lang="en-US" sz="900"/>
                        <a:t>Bourgogne-Franche-Comté</a:t>
                      </a:r>
                      <a:endParaRPr lang="fr-FR" sz="900"/>
                    </a:p>
                  </a:txBody>
                  <a:tcPr anchor="ctr">
                    <a:lnL w="6350" cap="flat" cmpd="sng" algn="ctr">
                      <a:solidFill>
                        <a:schemeClr val="bg2"/>
                      </a:solidFill>
                      <a:prstDash val="solid"/>
                      <a:round/>
                      <a:headEnd type="none" w="med" len="med"/>
                      <a:tailEnd type="none" w="med" len="med"/>
                    </a:lnL>
                    <a:solidFill>
                      <a:schemeClr val="bg1">
                        <a:lumMod val="95000"/>
                      </a:schemeClr>
                    </a:solidFill>
                  </a:tcPr>
                </a:tc>
                <a:tc>
                  <a:txBody>
                    <a:bodyPr/>
                    <a:lstStyle/>
                    <a:p>
                      <a:pPr algn="ctr"/>
                      <a:r>
                        <a:rPr lang="en-US" sz="900"/>
                        <a:t>67 994</a:t>
                      </a:r>
                      <a:endParaRPr lang="fr-FR" sz="900"/>
                    </a:p>
                  </a:txBody>
                  <a:tcPr anchor="ctr">
                    <a:solidFill>
                      <a:schemeClr val="bg1"/>
                    </a:solidFill>
                  </a:tcPr>
                </a:tc>
                <a:tc>
                  <a:txBody>
                    <a:bodyPr/>
                    <a:lstStyle/>
                    <a:p>
                      <a:pPr marL="0" algn="l" defTabSz="742950" rtl="0" eaLnBrk="1" latinLnBrk="0" hangingPunct="1"/>
                      <a:r>
                        <a:rPr lang="en-US" sz="900" kern="1200">
                          <a:solidFill>
                            <a:schemeClr val="dk1"/>
                          </a:solidFill>
                          <a:latin typeface="+mn-lt"/>
                          <a:ea typeface="+mn-ea"/>
                          <a:cs typeface="+mn-cs"/>
                        </a:rPr>
                        <a:t>Normandie</a:t>
                      </a:r>
                      <a:endParaRPr lang="fr-FR" sz="900" kern="1200">
                        <a:solidFill>
                          <a:schemeClr val="dk1"/>
                        </a:solidFill>
                        <a:latin typeface="+mn-lt"/>
                        <a:ea typeface="+mn-ea"/>
                        <a:cs typeface="+mn-cs"/>
                      </a:endParaRPr>
                    </a:p>
                  </a:txBody>
                  <a:tcPr anchor="ctr">
                    <a:solidFill>
                      <a:schemeClr val="bg1">
                        <a:lumMod val="95000"/>
                      </a:schemeClr>
                    </a:solidFill>
                  </a:tcPr>
                </a:tc>
                <a:tc>
                  <a:txBody>
                    <a:bodyPr/>
                    <a:lstStyle/>
                    <a:p>
                      <a:pPr algn="ctr"/>
                      <a:r>
                        <a:rPr lang="en-US" sz="900"/>
                        <a:t>70 477</a:t>
                      </a:r>
                      <a:endParaRPr lang="fr-FR" sz="900"/>
                    </a:p>
                  </a:txBody>
                  <a:tcPr anchor="ctr">
                    <a:lnR w="6350"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497216151"/>
                  </a:ext>
                </a:extLst>
              </a:tr>
              <a:tr h="0">
                <a:tc>
                  <a:txBody>
                    <a:bodyPr/>
                    <a:lstStyle/>
                    <a:p>
                      <a:r>
                        <a:rPr lang="en-US" sz="900"/>
                        <a:t>Bretagne</a:t>
                      </a:r>
                      <a:endParaRPr lang="fr-FR" sz="900"/>
                    </a:p>
                  </a:txBody>
                  <a:tcPr anchor="ctr">
                    <a:lnL w="6350" cap="flat" cmpd="sng" algn="ctr">
                      <a:solidFill>
                        <a:schemeClr val="bg2"/>
                      </a:solidFill>
                      <a:prstDash val="solid"/>
                      <a:round/>
                      <a:headEnd type="none" w="med" len="med"/>
                      <a:tailEnd type="none" w="med" len="med"/>
                    </a:lnL>
                    <a:solidFill>
                      <a:schemeClr val="bg1">
                        <a:lumMod val="95000"/>
                      </a:schemeClr>
                    </a:solidFill>
                  </a:tcPr>
                </a:tc>
                <a:tc>
                  <a:txBody>
                    <a:bodyPr/>
                    <a:lstStyle/>
                    <a:p>
                      <a:pPr algn="ctr"/>
                      <a:r>
                        <a:rPr lang="en-US" sz="900"/>
                        <a:t>74 895</a:t>
                      </a:r>
                      <a:endParaRPr lang="fr-FR" sz="900"/>
                    </a:p>
                  </a:txBody>
                  <a:tcPr anchor="ctr">
                    <a:solidFill>
                      <a:schemeClr val="bg1"/>
                    </a:solidFill>
                  </a:tcPr>
                </a:tc>
                <a:tc>
                  <a:txBody>
                    <a:bodyPr/>
                    <a:lstStyle/>
                    <a:p>
                      <a:pPr marL="0" algn="l" defTabSz="742950" rtl="0" eaLnBrk="1" latinLnBrk="0" hangingPunct="1"/>
                      <a:r>
                        <a:rPr lang="en-US" sz="900" kern="1200">
                          <a:solidFill>
                            <a:schemeClr val="dk1"/>
                          </a:solidFill>
                          <a:latin typeface="+mn-lt"/>
                          <a:ea typeface="+mn-ea"/>
                          <a:cs typeface="+mn-cs"/>
                        </a:rPr>
                        <a:t>Nouvelle-Aquitaine</a:t>
                      </a:r>
                      <a:endParaRPr lang="fr-FR" sz="900" kern="1200">
                        <a:solidFill>
                          <a:schemeClr val="dk1"/>
                        </a:solidFill>
                        <a:latin typeface="+mn-lt"/>
                        <a:ea typeface="+mn-ea"/>
                        <a:cs typeface="+mn-cs"/>
                      </a:endParaRPr>
                    </a:p>
                  </a:txBody>
                  <a:tcPr anchor="ctr">
                    <a:solidFill>
                      <a:schemeClr val="bg1">
                        <a:lumMod val="95000"/>
                      </a:schemeClr>
                    </a:solidFill>
                  </a:tcPr>
                </a:tc>
                <a:tc>
                  <a:txBody>
                    <a:bodyPr/>
                    <a:lstStyle/>
                    <a:p>
                      <a:pPr algn="ctr"/>
                      <a:r>
                        <a:rPr lang="en-US" sz="900"/>
                        <a:t>145 716</a:t>
                      </a:r>
                      <a:endParaRPr lang="fr-FR" sz="900"/>
                    </a:p>
                  </a:txBody>
                  <a:tcPr anchor="ctr">
                    <a:lnR w="6350"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2806043828"/>
                  </a:ext>
                </a:extLst>
              </a:tr>
              <a:tr h="0">
                <a:tc>
                  <a:txBody>
                    <a:bodyPr/>
                    <a:lstStyle/>
                    <a:p>
                      <a:r>
                        <a:rPr lang="en-US" sz="900"/>
                        <a:t>Centre-Val-De-Loire</a:t>
                      </a:r>
                      <a:endParaRPr lang="fr-FR" sz="900"/>
                    </a:p>
                  </a:txBody>
                  <a:tcPr anchor="ctr">
                    <a:lnL w="6350" cap="flat" cmpd="sng" algn="ctr">
                      <a:solidFill>
                        <a:schemeClr val="bg2"/>
                      </a:solidFill>
                      <a:prstDash val="solid"/>
                      <a:round/>
                      <a:headEnd type="none" w="med" len="med"/>
                      <a:tailEnd type="none" w="med" len="med"/>
                    </a:lnL>
                    <a:solidFill>
                      <a:schemeClr val="bg1">
                        <a:lumMod val="95000"/>
                      </a:schemeClr>
                    </a:solidFill>
                  </a:tcPr>
                </a:tc>
                <a:tc>
                  <a:txBody>
                    <a:bodyPr/>
                    <a:lstStyle/>
                    <a:p>
                      <a:pPr algn="ctr"/>
                      <a:r>
                        <a:rPr lang="en-US" sz="900"/>
                        <a:t>53 584</a:t>
                      </a:r>
                      <a:endParaRPr lang="fr-FR" sz="900"/>
                    </a:p>
                  </a:txBody>
                  <a:tcPr anchor="ctr">
                    <a:solidFill>
                      <a:schemeClr val="bg1"/>
                    </a:solidFill>
                  </a:tcPr>
                </a:tc>
                <a:tc>
                  <a:txBody>
                    <a:bodyPr/>
                    <a:lstStyle/>
                    <a:p>
                      <a:pPr marL="0" algn="l" defTabSz="742950" rtl="0" eaLnBrk="1" latinLnBrk="0" hangingPunct="1"/>
                      <a:r>
                        <a:rPr lang="en-US" sz="900" kern="1200" err="1">
                          <a:solidFill>
                            <a:schemeClr val="dk1"/>
                          </a:solidFill>
                          <a:latin typeface="+mn-lt"/>
                          <a:ea typeface="+mn-ea"/>
                          <a:cs typeface="+mn-cs"/>
                        </a:rPr>
                        <a:t>Occitanie</a:t>
                      </a:r>
                      <a:endParaRPr lang="fr-FR" sz="900" kern="1200">
                        <a:solidFill>
                          <a:schemeClr val="dk1"/>
                        </a:solidFill>
                        <a:latin typeface="+mn-lt"/>
                        <a:ea typeface="+mn-ea"/>
                        <a:cs typeface="+mn-cs"/>
                      </a:endParaRPr>
                    </a:p>
                  </a:txBody>
                  <a:tcPr anchor="ctr">
                    <a:solidFill>
                      <a:schemeClr val="bg1">
                        <a:lumMod val="95000"/>
                      </a:schemeClr>
                    </a:solidFill>
                  </a:tcPr>
                </a:tc>
                <a:tc>
                  <a:txBody>
                    <a:bodyPr/>
                    <a:lstStyle/>
                    <a:p>
                      <a:pPr algn="ctr"/>
                      <a:r>
                        <a:rPr lang="en-US" sz="900"/>
                        <a:t>154 543</a:t>
                      </a:r>
                      <a:endParaRPr lang="fr-FR" sz="900"/>
                    </a:p>
                  </a:txBody>
                  <a:tcPr anchor="ctr">
                    <a:lnR w="6350"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3353767564"/>
                  </a:ext>
                </a:extLst>
              </a:tr>
              <a:tr h="0">
                <a:tc>
                  <a:txBody>
                    <a:bodyPr/>
                    <a:lstStyle/>
                    <a:p>
                      <a:r>
                        <a:rPr lang="en-US" sz="900"/>
                        <a:t>Corse</a:t>
                      </a:r>
                      <a:endParaRPr lang="fr-FR" sz="900"/>
                    </a:p>
                  </a:txBody>
                  <a:tcPr anchor="ctr">
                    <a:lnL w="6350" cap="flat" cmpd="sng" algn="ctr">
                      <a:solidFill>
                        <a:schemeClr val="bg2"/>
                      </a:solidFill>
                      <a:prstDash val="solid"/>
                      <a:round/>
                      <a:headEnd type="none" w="med" len="med"/>
                      <a:tailEnd type="none" w="med" len="med"/>
                    </a:lnL>
                    <a:solidFill>
                      <a:schemeClr val="bg1">
                        <a:lumMod val="95000"/>
                      </a:schemeClr>
                    </a:solidFill>
                  </a:tcPr>
                </a:tc>
                <a:tc>
                  <a:txBody>
                    <a:bodyPr/>
                    <a:lstStyle/>
                    <a:p>
                      <a:pPr algn="ctr"/>
                      <a:r>
                        <a:rPr lang="en-US" sz="900"/>
                        <a:t>10 366</a:t>
                      </a:r>
                      <a:endParaRPr lang="fr-FR" sz="900"/>
                    </a:p>
                  </a:txBody>
                  <a:tcPr anchor="ctr">
                    <a:solidFill>
                      <a:schemeClr val="bg1"/>
                    </a:solidFill>
                  </a:tcPr>
                </a:tc>
                <a:tc>
                  <a:txBody>
                    <a:bodyPr/>
                    <a:lstStyle/>
                    <a:p>
                      <a:pPr marL="0" algn="l" defTabSz="742950" rtl="0" eaLnBrk="1" latinLnBrk="0" hangingPunct="1"/>
                      <a:r>
                        <a:rPr lang="en-US" sz="900" kern="1200">
                          <a:solidFill>
                            <a:schemeClr val="dk1"/>
                          </a:solidFill>
                          <a:latin typeface="+mn-lt"/>
                          <a:ea typeface="+mn-ea"/>
                          <a:cs typeface="+mn-cs"/>
                        </a:rPr>
                        <a:t>Pays-de-La-Loire</a:t>
                      </a:r>
                      <a:endParaRPr lang="fr-FR" sz="900" kern="1200">
                        <a:solidFill>
                          <a:schemeClr val="dk1"/>
                        </a:solidFill>
                        <a:latin typeface="+mn-lt"/>
                        <a:ea typeface="+mn-ea"/>
                        <a:cs typeface="+mn-cs"/>
                      </a:endParaRPr>
                    </a:p>
                  </a:txBody>
                  <a:tcPr anchor="ctr">
                    <a:solidFill>
                      <a:schemeClr val="bg1">
                        <a:lumMod val="95000"/>
                      </a:schemeClr>
                    </a:solidFill>
                  </a:tcPr>
                </a:tc>
                <a:tc>
                  <a:txBody>
                    <a:bodyPr/>
                    <a:lstStyle/>
                    <a:p>
                      <a:pPr algn="ctr"/>
                      <a:r>
                        <a:rPr lang="en-US" sz="900"/>
                        <a:t>68 321</a:t>
                      </a:r>
                      <a:endParaRPr lang="fr-FR" sz="900"/>
                    </a:p>
                  </a:txBody>
                  <a:tcPr anchor="ctr">
                    <a:lnR w="6350"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1656751692"/>
                  </a:ext>
                </a:extLst>
              </a:tr>
              <a:tr h="0">
                <a:tc>
                  <a:txBody>
                    <a:bodyPr/>
                    <a:lstStyle/>
                    <a:p>
                      <a:r>
                        <a:rPr lang="en-US" sz="900"/>
                        <a:t>Grand-Est</a:t>
                      </a:r>
                      <a:endParaRPr lang="fr-FR" sz="900"/>
                    </a:p>
                  </a:txBody>
                  <a:tcPr anchor="ctr">
                    <a:lnL w="6350" cap="flat" cmpd="sng" algn="ctr">
                      <a:solidFill>
                        <a:schemeClr val="bg2"/>
                      </a:solidFill>
                      <a:prstDash val="solid"/>
                      <a:round/>
                      <a:headEnd type="none" w="med" len="med"/>
                      <a:tailEnd type="none" w="med" len="med"/>
                    </a:lnL>
                    <a:solidFill>
                      <a:schemeClr val="bg1">
                        <a:lumMod val="95000"/>
                      </a:schemeClr>
                    </a:solidFill>
                  </a:tcPr>
                </a:tc>
                <a:tc>
                  <a:txBody>
                    <a:bodyPr/>
                    <a:lstStyle/>
                    <a:p>
                      <a:pPr algn="ctr"/>
                      <a:r>
                        <a:rPr lang="en-US" sz="900"/>
                        <a:t>105 892</a:t>
                      </a:r>
                      <a:endParaRPr lang="fr-FR" sz="900"/>
                    </a:p>
                  </a:txBody>
                  <a:tcPr anchor="ctr">
                    <a:solidFill>
                      <a:schemeClr val="bg1"/>
                    </a:solidFill>
                  </a:tcPr>
                </a:tc>
                <a:tc>
                  <a:txBody>
                    <a:bodyPr/>
                    <a:lstStyle/>
                    <a:p>
                      <a:pPr marL="0" algn="l" defTabSz="742950" rtl="0" eaLnBrk="1" latinLnBrk="0" hangingPunct="1"/>
                      <a:r>
                        <a:rPr lang="en-US" sz="900" kern="1200">
                          <a:solidFill>
                            <a:schemeClr val="dk1"/>
                          </a:solidFill>
                          <a:latin typeface="+mn-lt"/>
                          <a:ea typeface="+mn-ea"/>
                          <a:cs typeface="+mn-cs"/>
                        </a:rPr>
                        <a:t>PACA</a:t>
                      </a:r>
                      <a:endParaRPr lang="fr-FR" sz="900" kern="1200">
                        <a:solidFill>
                          <a:schemeClr val="dk1"/>
                        </a:solidFill>
                        <a:latin typeface="+mn-lt"/>
                        <a:ea typeface="+mn-ea"/>
                        <a:cs typeface="+mn-cs"/>
                      </a:endParaRPr>
                    </a:p>
                  </a:txBody>
                  <a:tcPr anchor="ctr">
                    <a:solidFill>
                      <a:schemeClr val="bg1">
                        <a:lumMod val="95000"/>
                      </a:schemeClr>
                    </a:solidFill>
                  </a:tcPr>
                </a:tc>
                <a:tc>
                  <a:txBody>
                    <a:bodyPr/>
                    <a:lstStyle/>
                    <a:p>
                      <a:pPr algn="ctr"/>
                      <a:r>
                        <a:rPr lang="en-US" sz="900"/>
                        <a:t>109 864</a:t>
                      </a:r>
                      <a:endParaRPr lang="fr-FR" sz="900"/>
                    </a:p>
                  </a:txBody>
                  <a:tcPr anchor="ctr">
                    <a:lnR w="6350"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1788439328"/>
                  </a:ext>
                </a:extLst>
              </a:tr>
              <a:tr h="0">
                <a:tc>
                  <a:txBody>
                    <a:bodyPr/>
                    <a:lstStyle/>
                    <a:p>
                      <a:r>
                        <a:rPr lang="en-US" sz="900"/>
                        <a:t>Hauts-de-France</a:t>
                      </a:r>
                      <a:endParaRPr lang="fr-FR" sz="900"/>
                    </a:p>
                  </a:txBody>
                  <a:tcPr anchor="ctr">
                    <a:lnL w="6350" cap="flat" cmpd="sng" algn="ctr">
                      <a:solidFill>
                        <a:schemeClr val="bg2"/>
                      </a:solidFill>
                      <a:prstDash val="solid"/>
                      <a:round/>
                      <a:headEnd type="none" w="med" len="med"/>
                      <a:tailEnd type="none" w="med" len="med"/>
                    </a:lnL>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900"/>
                        <a:t>122 490</a:t>
                      </a:r>
                      <a:endParaRPr lang="fr-FR" sz="900"/>
                    </a:p>
                  </a:txBody>
                  <a:tcPr anchor="ctr">
                    <a:lnB w="6350" cap="flat" cmpd="sng" algn="ctr">
                      <a:solidFill>
                        <a:schemeClr val="bg2"/>
                      </a:solidFill>
                      <a:prstDash val="solid"/>
                      <a:round/>
                      <a:headEnd type="none" w="med" len="med"/>
                      <a:tailEnd type="none" w="med" len="med"/>
                    </a:lnB>
                    <a:solidFill>
                      <a:schemeClr val="bg1"/>
                    </a:solidFill>
                  </a:tcPr>
                </a:tc>
                <a:tc>
                  <a:txBody>
                    <a:bodyPr/>
                    <a:lstStyle/>
                    <a:p>
                      <a:pPr marL="0" algn="l" defTabSz="742950" rtl="0" eaLnBrk="1" latinLnBrk="0" hangingPunct="1"/>
                      <a:r>
                        <a:rPr lang="en-US" sz="900" kern="1200">
                          <a:solidFill>
                            <a:schemeClr val="dk1"/>
                          </a:solidFill>
                          <a:latin typeface="+mn-lt"/>
                          <a:ea typeface="+mn-ea"/>
                          <a:cs typeface="+mn-cs"/>
                        </a:rPr>
                        <a:t>Antilles-</a:t>
                      </a:r>
                      <a:r>
                        <a:rPr lang="en-US" sz="900" kern="1200" err="1">
                          <a:solidFill>
                            <a:schemeClr val="dk1"/>
                          </a:solidFill>
                          <a:latin typeface="+mn-lt"/>
                          <a:ea typeface="+mn-ea"/>
                          <a:cs typeface="+mn-cs"/>
                        </a:rPr>
                        <a:t>Guyane</a:t>
                      </a:r>
                      <a:endParaRPr lang="fr-FR" sz="900" kern="1200">
                        <a:solidFill>
                          <a:schemeClr val="dk1"/>
                        </a:solidFill>
                        <a:latin typeface="+mn-lt"/>
                        <a:ea typeface="+mn-ea"/>
                        <a:cs typeface="+mn-cs"/>
                      </a:endParaRPr>
                    </a:p>
                  </a:txBody>
                  <a:tcPr anchor="ctr">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900"/>
                        <a:t>17 688</a:t>
                      </a:r>
                      <a:endParaRPr lang="fr-FR" sz="900"/>
                    </a:p>
                  </a:txBody>
                  <a:tcPr anchor="ctr">
                    <a:lnR w="6350" cap="flat" cmpd="sng" algn="ctr">
                      <a:solidFill>
                        <a:schemeClr val="bg2"/>
                      </a:solidFill>
                      <a:prstDash val="solid"/>
                      <a:round/>
                      <a:headEnd type="none" w="med" len="med"/>
                      <a:tailEnd type="none" w="med" len="med"/>
                    </a:lnR>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712812949"/>
                  </a:ext>
                </a:extLst>
              </a:tr>
            </a:tbl>
          </a:graphicData>
        </a:graphic>
      </p:graphicFrame>
      <p:sp>
        <p:nvSpPr>
          <p:cNvPr id="430" name="ZoneTexte 429">
            <a:extLst>
              <a:ext uri="{FF2B5EF4-FFF2-40B4-BE49-F238E27FC236}">
                <a16:creationId xmlns:a16="http://schemas.microsoft.com/office/drawing/2014/main" id="{F793484D-60F6-4806-BCBC-6468C4995923}"/>
              </a:ext>
            </a:extLst>
          </p:cNvPr>
          <p:cNvSpPr txBox="1"/>
          <p:nvPr/>
        </p:nvSpPr>
        <p:spPr>
          <a:xfrm>
            <a:off x="6198702" y="1753670"/>
            <a:ext cx="5033174" cy="461665"/>
          </a:xfrm>
          <a:prstGeom prst="rect">
            <a:avLst/>
          </a:prstGeom>
          <a:noFill/>
        </p:spPr>
        <p:txBody>
          <a:bodyPr wrap="square">
            <a:spAutoFit/>
          </a:bodyPr>
          <a:lstStyle/>
          <a:p>
            <a:r>
              <a:rPr lang="fr-FR" sz="1200" b="1" kern="0">
                <a:solidFill>
                  <a:srgbClr val="503078"/>
                </a:solidFill>
                <a:latin typeface="Tahoma"/>
              </a:rPr>
              <a:t>Nombre de bénéficiaires de l’APA par région au 31.12.2019</a:t>
            </a:r>
          </a:p>
          <a:p>
            <a:endParaRPr lang="fr-FR" sz="1200" b="1" kern="0">
              <a:solidFill>
                <a:srgbClr val="B0ADCC">
                  <a:lumMod val="75000"/>
                </a:srgbClr>
              </a:solidFill>
              <a:latin typeface="Tahoma"/>
            </a:endParaRPr>
          </a:p>
        </p:txBody>
      </p:sp>
      <p:grpSp>
        <p:nvGrpSpPr>
          <p:cNvPr id="644" name="Groupe 643">
            <a:extLst>
              <a:ext uri="{FF2B5EF4-FFF2-40B4-BE49-F238E27FC236}">
                <a16:creationId xmlns:a16="http://schemas.microsoft.com/office/drawing/2014/main" id="{F3FB21E5-7996-41E3-8102-16B08352ED5E}"/>
              </a:ext>
            </a:extLst>
          </p:cNvPr>
          <p:cNvGrpSpPr/>
          <p:nvPr/>
        </p:nvGrpSpPr>
        <p:grpSpPr>
          <a:xfrm>
            <a:off x="1351063" y="897983"/>
            <a:ext cx="9722325" cy="592470"/>
            <a:chOff x="230344" y="962566"/>
            <a:chExt cx="9722325" cy="592470"/>
          </a:xfrm>
        </p:grpSpPr>
        <p:sp>
          <p:nvSpPr>
            <p:cNvPr id="435" name="TextBox 76">
              <a:extLst>
                <a:ext uri="{FF2B5EF4-FFF2-40B4-BE49-F238E27FC236}">
                  <a16:creationId xmlns:a16="http://schemas.microsoft.com/office/drawing/2014/main" id="{A1356410-7DBA-45A3-87B4-65552B93BB63}"/>
                </a:ext>
              </a:extLst>
            </p:cNvPr>
            <p:cNvSpPr txBox="1"/>
            <p:nvPr/>
          </p:nvSpPr>
          <p:spPr>
            <a:xfrm>
              <a:off x="1702563" y="981790"/>
              <a:ext cx="8007270" cy="561752"/>
            </a:xfrm>
            <a:prstGeom prst="rect">
              <a:avLst/>
            </a:prstGeom>
            <a:solidFill>
              <a:schemeClr val="bg1">
                <a:lumMod val="95000"/>
              </a:schemeClr>
            </a:solidFill>
          </p:spPr>
          <p:txBody>
            <a:bodyPr wrap="none" rtlCol="0" anchor="ctr" anchorCtr="0">
              <a:noAutofit/>
            </a:bodyPr>
            <a:lstStyle/>
            <a:p>
              <a:pPr algn="ctr"/>
              <a:endParaRPr lang="fr-FR" sz="2194">
                <a:solidFill>
                  <a:srgbClr val="FFFFFF"/>
                </a:solidFill>
                <a:latin typeface="Tahoma"/>
                <a:cs typeface="Poppins" pitchFamily="2" charset="77"/>
              </a:endParaRPr>
            </a:p>
          </p:txBody>
        </p:sp>
        <p:sp>
          <p:nvSpPr>
            <p:cNvPr id="431" name="ZoneTexte 430">
              <a:extLst>
                <a:ext uri="{FF2B5EF4-FFF2-40B4-BE49-F238E27FC236}">
                  <a16:creationId xmlns:a16="http://schemas.microsoft.com/office/drawing/2014/main" id="{33796AF7-C162-42ED-9646-F72C3D93C1A6}"/>
                </a:ext>
              </a:extLst>
            </p:cNvPr>
            <p:cNvSpPr txBox="1"/>
            <p:nvPr/>
          </p:nvSpPr>
          <p:spPr>
            <a:xfrm>
              <a:off x="1744722" y="962566"/>
              <a:ext cx="8207947" cy="592470"/>
            </a:xfrm>
            <a:prstGeom prst="rect">
              <a:avLst/>
            </a:prstGeom>
            <a:noFill/>
          </p:spPr>
          <p:txBody>
            <a:bodyPr wrap="square">
              <a:spAutoFit/>
            </a:bodyPr>
            <a:lstStyle/>
            <a:p>
              <a:r>
                <a:rPr lang="fr-FR" sz="1200" b="1" kern="0">
                  <a:solidFill>
                    <a:srgbClr val="503078"/>
                  </a:solidFill>
                  <a:latin typeface="Tahoma"/>
                </a:rPr>
                <a:t>Bénéficiaires de l’Allocation Personnalisée d’Autonomie en France (métropole/DROM) au 31/12/2019. </a:t>
              </a:r>
            </a:p>
            <a:p>
              <a:r>
                <a:rPr lang="fr-FR" sz="1000" kern="0">
                  <a:solidFill>
                    <a:srgbClr val="5F5F5F"/>
                  </a:solidFill>
                  <a:latin typeface="Tahoma"/>
                </a:rPr>
                <a:t>Cette aide, versée par les départements, est d</a:t>
              </a:r>
              <a:r>
                <a:rPr lang="fr-FR" sz="1000">
                  <a:solidFill>
                    <a:srgbClr val="5F5F5F"/>
                  </a:solidFill>
                  <a:latin typeface="Tahoma"/>
                </a:rPr>
                <a:t>estinée aux personnes âgées de 60 ans et plus, en perte d'autonomie, qui ont besoin d’accompagnement pour accomplir les actes de la vie courante, ou dont l'état de santé nécessite une surveillance constante.</a:t>
              </a:r>
              <a:endParaRPr lang="fr-FR" sz="1000" kern="0">
                <a:solidFill>
                  <a:srgbClr val="5F5F5F"/>
                </a:solidFill>
                <a:latin typeface="Tahoma"/>
              </a:endParaRPr>
            </a:p>
          </p:txBody>
        </p:sp>
        <p:sp>
          <p:nvSpPr>
            <p:cNvPr id="432" name="TextBox 76">
              <a:extLst>
                <a:ext uri="{FF2B5EF4-FFF2-40B4-BE49-F238E27FC236}">
                  <a16:creationId xmlns:a16="http://schemas.microsoft.com/office/drawing/2014/main" id="{373EE2B3-7CD9-439C-AC1B-AA7EBBF20DBE}"/>
                </a:ext>
              </a:extLst>
            </p:cNvPr>
            <p:cNvSpPr txBox="1"/>
            <p:nvPr/>
          </p:nvSpPr>
          <p:spPr>
            <a:xfrm>
              <a:off x="230344" y="978750"/>
              <a:ext cx="1438214" cy="560226"/>
            </a:xfrm>
            <a:prstGeom prst="rect">
              <a:avLst/>
            </a:prstGeom>
            <a:solidFill>
              <a:schemeClr val="bg2"/>
            </a:solidFill>
          </p:spPr>
          <p:txBody>
            <a:bodyPr wrap="none" rtlCol="0" anchor="ctr" anchorCtr="0">
              <a:noAutofit/>
            </a:bodyPr>
            <a:lstStyle/>
            <a:p>
              <a:pPr algn="ctr"/>
              <a:r>
                <a:rPr lang="fr-FR" sz="2194">
                  <a:solidFill>
                    <a:srgbClr val="FFFFFF"/>
                  </a:solidFill>
                  <a:latin typeface="Tahoma"/>
                  <a:cs typeface="Poppins" pitchFamily="2" charset="77"/>
                </a:rPr>
                <a:t>1 333 561</a:t>
              </a:r>
            </a:p>
          </p:txBody>
        </p:sp>
      </p:grpSp>
      <p:sp>
        <p:nvSpPr>
          <p:cNvPr id="434" name="ZoneTexte 433">
            <a:extLst>
              <a:ext uri="{FF2B5EF4-FFF2-40B4-BE49-F238E27FC236}">
                <a16:creationId xmlns:a16="http://schemas.microsoft.com/office/drawing/2014/main" id="{273A5DBD-7B6D-445D-81FE-AF1930A06260}"/>
              </a:ext>
            </a:extLst>
          </p:cNvPr>
          <p:cNvSpPr txBox="1"/>
          <p:nvPr/>
        </p:nvSpPr>
        <p:spPr>
          <a:xfrm>
            <a:off x="6389790" y="6299589"/>
            <a:ext cx="4438032" cy="523220"/>
          </a:xfrm>
          <a:prstGeom prst="rect">
            <a:avLst/>
          </a:prstGeom>
          <a:solidFill>
            <a:schemeClr val="bg1"/>
          </a:solidFill>
        </p:spPr>
        <p:txBody>
          <a:bodyPr wrap="square">
            <a:spAutoFit/>
          </a:bodyPr>
          <a:lstStyle/>
          <a:p>
            <a:pPr>
              <a:defRPr/>
            </a:pPr>
            <a:r>
              <a:rPr lang="fr-FR" sz="700">
                <a:solidFill>
                  <a:srgbClr val="5F5F5F">
                    <a:lumMod val="60000"/>
                    <a:lumOff val="40000"/>
                  </a:srgbClr>
                </a:solidFill>
                <a:latin typeface="Tahoma"/>
              </a:rPr>
              <a:t>1. DREES, octobre 2021, Allocation personnalisée d’autonomie : part d'espérance de vie</a:t>
            </a:r>
          </a:p>
          <a:p>
            <a:pPr>
              <a:defRPr/>
            </a:pPr>
            <a:r>
              <a:rPr lang="fr-FR" sz="700">
                <a:solidFill>
                  <a:srgbClr val="5F5F5F">
                    <a:lumMod val="60000"/>
                    <a:lumOff val="40000"/>
                  </a:srgbClr>
                </a:solidFill>
                <a:latin typeface="Tahoma"/>
              </a:rPr>
              <a:t>2. DREES, décembre 2020 </a:t>
            </a:r>
            <a:r>
              <a:rPr lang="fr-FR" sz="700">
                <a:solidFill>
                  <a:srgbClr val="5F5F5F">
                    <a:lumMod val="60000"/>
                    <a:lumOff val="40000"/>
                  </a:srgbClr>
                </a:solidFill>
                <a:latin typeface="Tahoma"/>
                <a:hlinkClick r:id="rId6">
                  <a:extLst>
                    <a:ext uri="{A12FA001-AC4F-418D-AE19-62706E023703}">
                      <ahyp:hlinkClr xmlns:ahyp="http://schemas.microsoft.com/office/drawing/2018/hyperlinkcolor" val="tx"/>
                    </a:ext>
                  </a:extLst>
                </a:hlinkClick>
              </a:rPr>
              <a:t>Projections de population âgée en perte d’autonomie selon le modèle Lieux de vie et autonomie (LIVIA)</a:t>
            </a:r>
          </a:p>
          <a:p>
            <a:pPr>
              <a:defRPr/>
            </a:pPr>
            <a:r>
              <a:rPr lang="fr-FR" sz="700">
                <a:solidFill>
                  <a:srgbClr val="5F5F5F">
                    <a:lumMod val="60000"/>
                    <a:lumOff val="40000"/>
                  </a:srgbClr>
                </a:solidFill>
                <a:latin typeface="Tahoma"/>
              </a:rPr>
              <a:t>3INSEE, </a:t>
            </a:r>
            <a:r>
              <a:rPr lang="fr-FR" sz="700">
                <a:solidFill>
                  <a:srgbClr val="5F5F5F">
                    <a:lumMod val="60000"/>
                    <a:lumOff val="40000"/>
                  </a:srgbClr>
                </a:solidFill>
                <a:latin typeface="Tahoma"/>
                <a:hlinkClick r:id="rId7">
                  <a:extLst>
                    <a:ext uri="{A12FA001-AC4F-418D-AE19-62706E023703}">
                      <ahyp:hlinkClr xmlns:ahyp="http://schemas.microsoft.com/office/drawing/2018/hyperlinkcolor" val="tx"/>
                    </a:ext>
                  </a:extLst>
                </a:hlinkClick>
              </a:rPr>
              <a:t>4 millions de seniors seraient en perte d’autonomie en 2050</a:t>
            </a:r>
            <a:r>
              <a:rPr lang="fr-FR" sz="700">
                <a:solidFill>
                  <a:srgbClr val="5F5F5F">
                    <a:lumMod val="60000"/>
                    <a:lumOff val="40000"/>
                  </a:srgbClr>
                </a:solidFill>
                <a:latin typeface="Tahoma"/>
              </a:rPr>
              <a:t>, Juillet 2019</a:t>
            </a:r>
          </a:p>
        </p:txBody>
      </p:sp>
      <p:grpSp>
        <p:nvGrpSpPr>
          <p:cNvPr id="646" name="Groupe 645">
            <a:extLst>
              <a:ext uri="{FF2B5EF4-FFF2-40B4-BE49-F238E27FC236}">
                <a16:creationId xmlns:a16="http://schemas.microsoft.com/office/drawing/2014/main" id="{44ADB45D-D813-4AAE-BBC7-7D84BD156914}"/>
              </a:ext>
            </a:extLst>
          </p:cNvPr>
          <p:cNvGrpSpPr/>
          <p:nvPr/>
        </p:nvGrpSpPr>
        <p:grpSpPr>
          <a:xfrm>
            <a:off x="2497630" y="6075561"/>
            <a:ext cx="3696214" cy="745103"/>
            <a:chOff x="1354630" y="6075560"/>
            <a:chExt cx="3696214" cy="745103"/>
          </a:xfrm>
        </p:grpSpPr>
        <p:grpSp>
          <p:nvGrpSpPr>
            <p:cNvPr id="645" name="Groupe 644">
              <a:extLst>
                <a:ext uri="{FF2B5EF4-FFF2-40B4-BE49-F238E27FC236}">
                  <a16:creationId xmlns:a16="http://schemas.microsoft.com/office/drawing/2014/main" id="{413C9C5C-C9F1-468D-BC0D-65436F3943AB}"/>
                </a:ext>
              </a:extLst>
            </p:cNvPr>
            <p:cNvGrpSpPr/>
            <p:nvPr/>
          </p:nvGrpSpPr>
          <p:grpSpPr>
            <a:xfrm>
              <a:off x="1354630" y="6078737"/>
              <a:ext cx="2959408" cy="629670"/>
              <a:chOff x="-1737448" y="4405562"/>
              <a:chExt cx="2959408" cy="629670"/>
            </a:xfrm>
          </p:grpSpPr>
          <p:sp>
            <p:nvSpPr>
              <p:cNvPr id="403" name="ZoneTexte 402">
                <a:extLst>
                  <a:ext uri="{FF2B5EF4-FFF2-40B4-BE49-F238E27FC236}">
                    <a16:creationId xmlns:a16="http://schemas.microsoft.com/office/drawing/2014/main" id="{BBB0CE49-C15B-4CD2-8DF7-9E82F2E87FCB}"/>
                  </a:ext>
                </a:extLst>
              </p:cNvPr>
              <p:cNvSpPr txBox="1"/>
              <p:nvPr/>
            </p:nvSpPr>
            <p:spPr>
              <a:xfrm>
                <a:off x="-1225712" y="4406112"/>
                <a:ext cx="850317" cy="507831"/>
              </a:xfrm>
              <a:prstGeom prst="rect">
                <a:avLst/>
              </a:prstGeom>
              <a:noFill/>
            </p:spPr>
            <p:txBody>
              <a:bodyPr wrap="square" lIns="108000" rIns="108000" rtlCol="0">
                <a:spAutoFit/>
              </a:bodyPr>
              <a:lstStyle/>
              <a:p>
                <a:endParaRPr lang="fr-FR" sz="900">
                  <a:solidFill>
                    <a:srgbClr val="5F5F5F"/>
                  </a:solidFill>
                  <a:latin typeface="Tahoma"/>
                </a:endParaRPr>
              </a:p>
              <a:p>
                <a:pPr algn="ctr"/>
                <a:r>
                  <a:rPr lang="fr-FR" sz="900" b="1">
                    <a:solidFill>
                      <a:srgbClr val="503078"/>
                    </a:solidFill>
                    <a:latin typeface="Tahoma"/>
                  </a:rPr>
                  <a:t>Guyane</a:t>
                </a:r>
                <a:endParaRPr lang="fr-FR" sz="900">
                  <a:solidFill>
                    <a:srgbClr val="5F5F5F"/>
                  </a:solidFill>
                  <a:latin typeface="Tahoma"/>
                </a:endParaRPr>
              </a:p>
              <a:p>
                <a:endParaRPr lang="fr-FR" sz="900">
                  <a:solidFill>
                    <a:srgbClr val="5F5F5F"/>
                  </a:solidFill>
                  <a:latin typeface="Tahoma"/>
                </a:endParaRPr>
              </a:p>
            </p:txBody>
          </p:sp>
          <p:sp>
            <p:nvSpPr>
              <p:cNvPr id="407" name="ZoneTexte 406">
                <a:extLst>
                  <a:ext uri="{FF2B5EF4-FFF2-40B4-BE49-F238E27FC236}">
                    <a16:creationId xmlns:a16="http://schemas.microsoft.com/office/drawing/2014/main" id="{6597580C-CF0F-451C-808F-83B45935B16E}"/>
                  </a:ext>
                </a:extLst>
              </p:cNvPr>
              <p:cNvSpPr txBox="1"/>
              <p:nvPr/>
            </p:nvSpPr>
            <p:spPr>
              <a:xfrm>
                <a:off x="-1737448" y="4406112"/>
                <a:ext cx="714633" cy="507831"/>
              </a:xfrm>
              <a:prstGeom prst="rect">
                <a:avLst/>
              </a:prstGeom>
              <a:noFill/>
            </p:spPr>
            <p:txBody>
              <a:bodyPr wrap="square" lIns="108000" rIns="108000" rtlCol="0">
                <a:spAutoFit/>
              </a:bodyPr>
              <a:lstStyle/>
              <a:p>
                <a:endParaRPr lang="fr-FR" sz="900">
                  <a:solidFill>
                    <a:srgbClr val="5F5F5F"/>
                  </a:solidFill>
                  <a:latin typeface="Tahoma"/>
                </a:endParaRPr>
              </a:p>
              <a:p>
                <a:pPr algn="ctr"/>
                <a:r>
                  <a:rPr lang="fr-FR" sz="900" b="1">
                    <a:solidFill>
                      <a:srgbClr val="503078"/>
                    </a:solidFill>
                    <a:latin typeface="Tahoma"/>
                  </a:rPr>
                  <a:t>Réunion</a:t>
                </a:r>
                <a:endParaRPr lang="fr-FR" sz="900">
                  <a:solidFill>
                    <a:srgbClr val="5F5F5F"/>
                  </a:solidFill>
                  <a:latin typeface="Tahoma"/>
                </a:endParaRPr>
              </a:p>
              <a:p>
                <a:endParaRPr lang="fr-FR" sz="900">
                  <a:solidFill>
                    <a:srgbClr val="5F5F5F"/>
                  </a:solidFill>
                  <a:latin typeface="Tahoma"/>
                </a:endParaRPr>
              </a:p>
            </p:txBody>
          </p:sp>
          <p:grpSp>
            <p:nvGrpSpPr>
              <p:cNvPr id="699" name="Guadeloupe">
                <a:extLst>
                  <a:ext uri="{FF2B5EF4-FFF2-40B4-BE49-F238E27FC236}">
                    <a16:creationId xmlns:a16="http://schemas.microsoft.com/office/drawing/2014/main" id="{F0F257AA-C2BB-468F-ABD9-9E04BE50F22B}"/>
                  </a:ext>
                </a:extLst>
              </p:cNvPr>
              <p:cNvGrpSpPr/>
              <p:nvPr/>
            </p:nvGrpSpPr>
            <p:grpSpPr>
              <a:xfrm>
                <a:off x="517491" y="4815334"/>
                <a:ext cx="391310" cy="213068"/>
                <a:chOff x="171449" y="1201742"/>
                <a:chExt cx="6338892" cy="5299084"/>
              </a:xfrm>
              <a:solidFill>
                <a:schemeClr val="bg2">
                  <a:lumMod val="40000"/>
                  <a:lumOff val="60000"/>
                </a:schemeClr>
              </a:solidFill>
            </p:grpSpPr>
            <p:sp>
              <p:nvSpPr>
                <p:cNvPr id="700" name="Freeform 19">
                  <a:extLst>
                    <a:ext uri="{FF2B5EF4-FFF2-40B4-BE49-F238E27FC236}">
                      <a16:creationId xmlns:a16="http://schemas.microsoft.com/office/drawing/2014/main" id="{F0C3CB45-19C0-4594-B3D0-4B4CB435AE7E}"/>
                    </a:ext>
                  </a:extLst>
                </p:cNvPr>
                <p:cNvSpPr>
                  <a:spLocks noChangeAspect="1"/>
                </p:cNvSpPr>
                <p:nvPr/>
              </p:nvSpPr>
              <p:spPr bwMode="auto">
                <a:xfrm>
                  <a:off x="2193926" y="1201742"/>
                  <a:ext cx="2965452" cy="2517782"/>
                </a:xfrm>
                <a:custGeom>
                  <a:avLst/>
                  <a:gdLst>
                    <a:gd name="T0" fmla="*/ 658 w 2864"/>
                    <a:gd name="T1" fmla="*/ 51 h 2431"/>
                    <a:gd name="T2" fmla="*/ 577 w 2864"/>
                    <a:gd name="T3" fmla="*/ 20 h 2431"/>
                    <a:gd name="T4" fmla="*/ 466 w 2864"/>
                    <a:gd name="T5" fmla="*/ 162 h 2431"/>
                    <a:gd name="T6" fmla="*/ 324 w 2864"/>
                    <a:gd name="T7" fmla="*/ 243 h 2431"/>
                    <a:gd name="T8" fmla="*/ 243 w 2864"/>
                    <a:gd name="T9" fmla="*/ 324 h 2431"/>
                    <a:gd name="T10" fmla="*/ 132 w 2864"/>
                    <a:gd name="T11" fmla="*/ 426 h 2431"/>
                    <a:gd name="T12" fmla="*/ 71 w 2864"/>
                    <a:gd name="T13" fmla="*/ 567 h 2431"/>
                    <a:gd name="T14" fmla="*/ 122 w 2864"/>
                    <a:gd name="T15" fmla="*/ 648 h 2431"/>
                    <a:gd name="T16" fmla="*/ 152 w 2864"/>
                    <a:gd name="T17" fmla="*/ 841 h 2431"/>
                    <a:gd name="T18" fmla="*/ 284 w 2864"/>
                    <a:gd name="T19" fmla="*/ 962 h 2431"/>
                    <a:gd name="T20" fmla="*/ 395 w 2864"/>
                    <a:gd name="T21" fmla="*/ 1033 h 2431"/>
                    <a:gd name="T22" fmla="*/ 395 w 2864"/>
                    <a:gd name="T23" fmla="*/ 1185 h 2431"/>
                    <a:gd name="T24" fmla="*/ 385 w 2864"/>
                    <a:gd name="T25" fmla="*/ 1236 h 2431"/>
                    <a:gd name="T26" fmla="*/ 324 w 2864"/>
                    <a:gd name="T27" fmla="*/ 1307 h 2431"/>
                    <a:gd name="T28" fmla="*/ 162 w 2864"/>
                    <a:gd name="T29" fmla="*/ 1307 h 2431"/>
                    <a:gd name="T30" fmla="*/ 122 w 2864"/>
                    <a:gd name="T31" fmla="*/ 1439 h 2431"/>
                    <a:gd name="T32" fmla="*/ 81 w 2864"/>
                    <a:gd name="T33" fmla="*/ 1580 h 2431"/>
                    <a:gd name="T34" fmla="*/ 31 w 2864"/>
                    <a:gd name="T35" fmla="*/ 1651 h 2431"/>
                    <a:gd name="T36" fmla="*/ 0 w 2864"/>
                    <a:gd name="T37" fmla="*/ 1702 h 2431"/>
                    <a:gd name="T38" fmla="*/ 41 w 2864"/>
                    <a:gd name="T39" fmla="*/ 1894 h 2431"/>
                    <a:gd name="T40" fmla="*/ 41 w 2864"/>
                    <a:gd name="T41" fmla="*/ 2057 h 2431"/>
                    <a:gd name="T42" fmla="*/ 132 w 2864"/>
                    <a:gd name="T43" fmla="*/ 2168 h 2431"/>
                    <a:gd name="T44" fmla="*/ 203 w 2864"/>
                    <a:gd name="T45" fmla="*/ 2229 h 2431"/>
                    <a:gd name="T46" fmla="*/ 243 w 2864"/>
                    <a:gd name="T47" fmla="*/ 2259 h 2431"/>
                    <a:gd name="T48" fmla="*/ 344 w 2864"/>
                    <a:gd name="T49" fmla="*/ 2340 h 2431"/>
                    <a:gd name="T50" fmla="*/ 567 w 2864"/>
                    <a:gd name="T51" fmla="*/ 2391 h 2431"/>
                    <a:gd name="T52" fmla="*/ 678 w 2864"/>
                    <a:gd name="T53" fmla="*/ 2401 h 2431"/>
                    <a:gd name="T54" fmla="*/ 820 w 2864"/>
                    <a:gd name="T55" fmla="*/ 2320 h 2431"/>
                    <a:gd name="T56" fmla="*/ 941 w 2864"/>
                    <a:gd name="T57" fmla="*/ 2350 h 2431"/>
                    <a:gd name="T58" fmla="*/ 1063 w 2864"/>
                    <a:gd name="T59" fmla="*/ 2320 h 2431"/>
                    <a:gd name="T60" fmla="*/ 1124 w 2864"/>
                    <a:gd name="T61" fmla="*/ 2259 h 2431"/>
                    <a:gd name="T62" fmla="*/ 1205 w 2864"/>
                    <a:gd name="T63" fmla="*/ 2229 h 2431"/>
                    <a:gd name="T64" fmla="*/ 1356 w 2864"/>
                    <a:gd name="T65" fmla="*/ 2188 h 2431"/>
                    <a:gd name="T66" fmla="*/ 1508 w 2864"/>
                    <a:gd name="T67" fmla="*/ 2127 h 2431"/>
                    <a:gd name="T68" fmla="*/ 1690 w 2864"/>
                    <a:gd name="T69" fmla="*/ 2087 h 2431"/>
                    <a:gd name="T70" fmla="*/ 1852 w 2864"/>
                    <a:gd name="T71" fmla="*/ 2087 h 2431"/>
                    <a:gd name="T72" fmla="*/ 2034 w 2864"/>
                    <a:gd name="T73" fmla="*/ 2026 h 2431"/>
                    <a:gd name="T74" fmla="*/ 2146 w 2864"/>
                    <a:gd name="T75" fmla="*/ 2057 h 2431"/>
                    <a:gd name="T76" fmla="*/ 2328 w 2864"/>
                    <a:gd name="T77" fmla="*/ 1986 h 2431"/>
                    <a:gd name="T78" fmla="*/ 2550 w 2864"/>
                    <a:gd name="T79" fmla="*/ 1996 h 2431"/>
                    <a:gd name="T80" fmla="*/ 2753 w 2864"/>
                    <a:gd name="T81" fmla="*/ 2046 h 2431"/>
                    <a:gd name="T82" fmla="*/ 2854 w 2864"/>
                    <a:gd name="T83" fmla="*/ 2057 h 2431"/>
                    <a:gd name="T84" fmla="*/ 2793 w 2864"/>
                    <a:gd name="T85" fmla="*/ 2016 h 2431"/>
                    <a:gd name="T86" fmla="*/ 2672 w 2864"/>
                    <a:gd name="T87" fmla="*/ 1965 h 2431"/>
                    <a:gd name="T88" fmla="*/ 2520 w 2864"/>
                    <a:gd name="T89" fmla="*/ 1945 h 2431"/>
                    <a:gd name="T90" fmla="*/ 2348 w 2864"/>
                    <a:gd name="T91" fmla="*/ 1864 h 2431"/>
                    <a:gd name="T92" fmla="*/ 2257 w 2864"/>
                    <a:gd name="T93" fmla="*/ 1692 h 2431"/>
                    <a:gd name="T94" fmla="*/ 2146 w 2864"/>
                    <a:gd name="T95" fmla="*/ 1560 h 2431"/>
                    <a:gd name="T96" fmla="*/ 1953 w 2864"/>
                    <a:gd name="T97" fmla="*/ 1459 h 2431"/>
                    <a:gd name="T98" fmla="*/ 1852 w 2864"/>
                    <a:gd name="T99" fmla="*/ 1439 h 2431"/>
                    <a:gd name="T100" fmla="*/ 1700 w 2864"/>
                    <a:gd name="T101" fmla="*/ 1378 h 2431"/>
                    <a:gd name="T102" fmla="*/ 1458 w 2864"/>
                    <a:gd name="T103" fmla="*/ 1368 h 2431"/>
                    <a:gd name="T104" fmla="*/ 1366 w 2864"/>
                    <a:gd name="T105" fmla="*/ 1337 h 2431"/>
                    <a:gd name="T106" fmla="*/ 1225 w 2864"/>
                    <a:gd name="T107" fmla="*/ 1226 h 2431"/>
                    <a:gd name="T108" fmla="*/ 1113 w 2864"/>
                    <a:gd name="T109" fmla="*/ 1023 h 2431"/>
                    <a:gd name="T110" fmla="*/ 1113 w 2864"/>
                    <a:gd name="T111" fmla="*/ 811 h 2431"/>
                    <a:gd name="T112" fmla="*/ 1124 w 2864"/>
                    <a:gd name="T113" fmla="*/ 719 h 2431"/>
                    <a:gd name="T114" fmla="*/ 1124 w 2864"/>
                    <a:gd name="T115" fmla="*/ 547 h 2431"/>
                    <a:gd name="T116" fmla="*/ 1053 w 2864"/>
                    <a:gd name="T117" fmla="*/ 324 h 2431"/>
                    <a:gd name="T118" fmla="*/ 962 w 2864"/>
                    <a:gd name="T119" fmla="*/ 274 h 2431"/>
                    <a:gd name="T120" fmla="*/ 840 w 2864"/>
                    <a:gd name="T121" fmla="*/ 172 h 2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64" h="2431">
                      <a:moveTo>
                        <a:pt x="800" y="101"/>
                      </a:moveTo>
                      <a:lnTo>
                        <a:pt x="769" y="101"/>
                      </a:lnTo>
                      <a:lnTo>
                        <a:pt x="739" y="101"/>
                      </a:lnTo>
                      <a:lnTo>
                        <a:pt x="719" y="101"/>
                      </a:lnTo>
                      <a:lnTo>
                        <a:pt x="699" y="101"/>
                      </a:lnTo>
                      <a:lnTo>
                        <a:pt x="678" y="112"/>
                      </a:lnTo>
                      <a:lnTo>
                        <a:pt x="668" y="112"/>
                      </a:lnTo>
                      <a:lnTo>
                        <a:pt x="668" y="101"/>
                      </a:lnTo>
                      <a:lnTo>
                        <a:pt x="658" y="101"/>
                      </a:lnTo>
                      <a:lnTo>
                        <a:pt x="668" y="91"/>
                      </a:lnTo>
                      <a:lnTo>
                        <a:pt x="668" y="71"/>
                      </a:lnTo>
                      <a:lnTo>
                        <a:pt x="668" y="61"/>
                      </a:lnTo>
                      <a:lnTo>
                        <a:pt x="658" y="61"/>
                      </a:lnTo>
                      <a:lnTo>
                        <a:pt x="658" y="51"/>
                      </a:lnTo>
                      <a:lnTo>
                        <a:pt x="648" y="41"/>
                      </a:lnTo>
                      <a:lnTo>
                        <a:pt x="648" y="30"/>
                      </a:lnTo>
                      <a:lnTo>
                        <a:pt x="648" y="20"/>
                      </a:lnTo>
                      <a:lnTo>
                        <a:pt x="648" y="10"/>
                      </a:lnTo>
                      <a:lnTo>
                        <a:pt x="648" y="0"/>
                      </a:lnTo>
                      <a:lnTo>
                        <a:pt x="638" y="0"/>
                      </a:lnTo>
                      <a:lnTo>
                        <a:pt x="628" y="0"/>
                      </a:lnTo>
                      <a:lnTo>
                        <a:pt x="608" y="0"/>
                      </a:lnTo>
                      <a:lnTo>
                        <a:pt x="597" y="10"/>
                      </a:lnTo>
                      <a:lnTo>
                        <a:pt x="587" y="10"/>
                      </a:lnTo>
                      <a:lnTo>
                        <a:pt x="577" y="20"/>
                      </a:lnTo>
                      <a:lnTo>
                        <a:pt x="567" y="41"/>
                      </a:lnTo>
                      <a:lnTo>
                        <a:pt x="547" y="51"/>
                      </a:lnTo>
                      <a:lnTo>
                        <a:pt x="537" y="61"/>
                      </a:lnTo>
                      <a:lnTo>
                        <a:pt x="537" y="81"/>
                      </a:lnTo>
                      <a:lnTo>
                        <a:pt x="527" y="91"/>
                      </a:lnTo>
                      <a:lnTo>
                        <a:pt x="527" y="101"/>
                      </a:lnTo>
                      <a:lnTo>
                        <a:pt x="527" y="112"/>
                      </a:lnTo>
                      <a:lnTo>
                        <a:pt x="516" y="112"/>
                      </a:lnTo>
                      <a:lnTo>
                        <a:pt x="516" y="122"/>
                      </a:lnTo>
                      <a:lnTo>
                        <a:pt x="506" y="132"/>
                      </a:lnTo>
                      <a:lnTo>
                        <a:pt x="496" y="142"/>
                      </a:lnTo>
                      <a:lnTo>
                        <a:pt x="486" y="152"/>
                      </a:lnTo>
                      <a:lnTo>
                        <a:pt x="466" y="162"/>
                      </a:lnTo>
                      <a:lnTo>
                        <a:pt x="456" y="172"/>
                      </a:lnTo>
                      <a:lnTo>
                        <a:pt x="446" y="182"/>
                      </a:lnTo>
                      <a:lnTo>
                        <a:pt x="425" y="203"/>
                      </a:lnTo>
                      <a:lnTo>
                        <a:pt x="405" y="213"/>
                      </a:lnTo>
                      <a:lnTo>
                        <a:pt x="405" y="223"/>
                      </a:lnTo>
                      <a:lnTo>
                        <a:pt x="395" y="223"/>
                      </a:lnTo>
                      <a:lnTo>
                        <a:pt x="385" y="223"/>
                      </a:lnTo>
                      <a:lnTo>
                        <a:pt x="375" y="223"/>
                      </a:lnTo>
                      <a:lnTo>
                        <a:pt x="365" y="223"/>
                      </a:lnTo>
                      <a:lnTo>
                        <a:pt x="344" y="223"/>
                      </a:lnTo>
                      <a:lnTo>
                        <a:pt x="344" y="233"/>
                      </a:lnTo>
                      <a:lnTo>
                        <a:pt x="334" y="233"/>
                      </a:lnTo>
                      <a:lnTo>
                        <a:pt x="324" y="243"/>
                      </a:lnTo>
                      <a:lnTo>
                        <a:pt x="324" y="253"/>
                      </a:lnTo>
                      <a:lnTo>
                        <a:pt x="314" y="253"/>
                      </a:lnTo>
                      <a:lnTo>
                        <a:pt x="314" y="263"/>
                      </a:lnTo>
                      <a:lnTo>
                        <a:pt x="304" y="274"/>
                      </a:lnTo>
                      <a:lnTo>
                        <a:pt x="294" y="274"/>
                      </a:lnTo>
                      <a:lnTo>
                        <a:pt x="284" y="284"/>
                      </a:lnTo>
                      <a:lnTo>
                        <a:pt x="284" y="294"/>
                      </a:lnTo>
                      <a:lnTo>
                        <a:pt x="274" y="304"/>
                      </a:lnTo>
                      <a:lnTo>
                        <a:pt x="264" y="304"/>
                      </a:lnTo>
                      <a:lnTo>
                        <a:pt x="253" y="314"/>
                      </a:lnTo>
                      <a:lnTo>
                        <a:pt x="243" y="314"/>
                      </a:lnTo>
                      <a:lnTo>
                        <a:pt x="243" y="324"/>
                      </a:lnTo>
                      <a:lnTo>
                        <a:pt x="243" y="334"/>
                      </a:lnTo>
                      <a:lnTo>
                        <a:pt x="233" y="345"/>
                      </a:lnTo>
                      <a:lnTo>
                        <a:pt x="223" y="365"/>
                      </a:lnTo>
                      <a:lnTo>
                        <a:pt x="223" y="375"/>
                      </a:lnTo>
                      <a:lnTo>
                        <a:pt x="213" y="375"/>
                      </a:lnTo>
                      <a:lnTo>
                        <a:pt x="193" y="385"/>
                      </a:lnTo>
                      <a:lnTo>
                        <a:pt x="183" y="385"/>
                      </a:lnTo>
                      <a:lnTo>
                        <a:pt x="172" y="395"/>
                      </a:lnTo>
                      <a:lnTo>
                        <a:pt x="152" y="395"/>
                      </a:lnTo>
                      <a:lnTo>
                        <a:pt x="152" y="405"/>
                      </a:lnTo>
                      <a:lnTo>
                        <a:pt x="142" y="415"/>
                      </a:lnTo>
                      <a:lnTo>
                        <a:pt x="142" y="426"/>
                      </a:lnTo>
                      <a:lnTo>
                        <a:pt x="132" y="426"/>
                      </a:lnTo>
                      <a:lnTo>
                        <a:pt x="122" y="436"/>
                      </a:lnTo>
                      <a:lnTo>
                        <a:pt x="112" y="456"/>
                      </a:lnTo>
                      <a:lnTo>
                        <a:pt x="112" y="466"/>
                      </a:lnTo>
                      <a:lnTo>
                        <a:pt x="112" y="486"/>
                      </a:lnTo>
                      <a:lnTo>
                        <a:pt x="112" y="507"/>
                      </a:lnTo>
                      <a:lnTo>
                        <a:pt x="102" y="517"/>
                      </a:lnTo>
                      <a:lnTo>
                        <a:pt x="102" y="527"/>
                      </a:lnTo>
                      <a:lnTo>
                        <a:pt x="91" y="527"/>
                      </a:lnTo>
                      <a:lnTo>
                        <a:pt x="81" y="547"/>
                      </a:lnTo>
                      <a:lnTo>
                        <a:pt x="81" y="557"/>
                      </a:lnTo>
                      <a:lnTo>
                        <a:pt x="71" y="567"/>
                      </a:lnTo>
                      <a:lnTo>
                        <a:pt x="81" y="578"/>
                      </a:lnTo>
                      <a:lnTo>
                        <a:pt x="91" y="578"/>
                      </a:lnTo>
                      <a:lnTo>
                        <a:pt x="102" y="578"/>
                      </a:lnTo>
                      <a:lnTo>
                        <a:pt x="102" y="588"/>
                      </a:lnTo>
                      <a:lnTo>
                        <a:pt x="102" y="598"/>
                      </a:lnTo>
                      <a:lnTo>
                        <a:pt x="102" y="608"/>
                      </a:lnTo>
                      <a:lnTo>
                        <a:pt x="102" y="628"/>
                      </a:lnTo>
                      <a:lnTo>
                        <a:pt x="102" y="638"/>
                      </a:lnTo>
                      <a:lnTo>
                        <a:pt x="112" y="638"/>
                      </a:lnTo>
                      <a:lnTo>
                        <a:pt x="122" y="648"/>
                      </a:lnTo>
                      <a:lnTo>
                        <a:pt x="122" y="659"/>
                      </a:lnTo>
                      <a:lnTo>
                        <a:pt x="132" y="699"/>
                      </a:lnTo>
                      <a:lnTo>
                        <a:pt x="132" y="709"/>
                      </a:lnTo>
                      <a:lnTo>
                        <a:pt x="132" y="719"/>
                      </a:lnTo>
                      <a:lnTo>
                        <a:pt x="142" y="729"/>
                      </a:lnTo>
                      <a:lnTo>
                        <a:pt x="152" y="729"/>
                      </a:lnTo>
                      <a:lnTo>
                        <a:pt x="152" y="740"/>
                      </a:lnTo>
                      <a:lnTo>
                        <a:pt x="152" y="760"/>
                      </a:lnTo>
                      <a:lnTo>
                        <a:pt x="162" y="780"/>
                      </a:lnTo>
                      <a:lnTo>
                        <a:pt x="162" y="790"/>
                      </a:lnTo>
                      <a:lnTo>
                        <a:pt x="162" y="800"/>
                      </a:lnTo>
                      <a:lnTo>
                        <a:pt x="152" y="821"/>
                      </a:lnTo>
                      <a:lnTo>
                        <a:pt x="152" y="841"/>
                      </a:lnTo>
                      <a:lnTo>
                        <a:pt x="152" y="851"/>
                      </a:lnTo>
                      <a:lnTo>
                        <a:pt x="152" y="861"/>
                      </a:lnTo>
                      <a:lnTo>
                        <a:pt x="162" y="871"/>
                      </a:lnTo>
                      <a:lnTo>
                        <a:pt x="172" y="881"/>
                      </a:lnTo>
                      <a:lnTo>
                        <a:pt x="193" y="892"/>
                      </a:lnTo>
                      <a:lnTo>
                        <a:pt x="213" y="902"/>
                      </a:lnTo>
                      <a:lnTo>
                        <a:pt x="213" y="912"/>
                      </a:lnTo>
                      <a:lnTo>
                        <a:pt x="223" y="922"/>
                      </a:lnTo>
                      <a:lnTo>
                        <a:pt x="233" y="922"/>
                      </a:lnTo>
                      <a:lnTo>
                        <a:pt x="253" y="932"/>
                      </a:lnTo>
                      <a:lnTo>
                        <a:pt x="264" y="942"/>
                      </a:lnTo>
                      <a:lnTo>
                        <a:pt x="274" y="942"/>
                      </a:lnTo>
                      <a:lnTo>
                        <a:pt x="284" y="962"/>
                      </a:lnTo>
                      <a:lnTo>
                        <a:pt x="294" y="962"/>
                      </a:lnTo>
                      <a:lnTo>
                        <a:pt x="304" y="973"/>
                      </a:lnTo>
                      <a:lnTo>
                        <a:pt x="314" y="973"/>
                      </a:lnTo>
                      <a:lnTo>
                        <a:pt x="324" y="962"/>
                      </a:lnTo>
                      <a:lnTo>
                        <a:pt x="334" y="952"/>
                      </a:lnTo>
                      <a:lnTo>
                        <a:pt x="334" y="942"/>
                      </a:lnTo>
                      <a:lnTo>
                        <a:pt x="344" y="942"/>
                      </a:lnTo>
                      <a:lnTo>
                        <a:pt x="355" y="952"/>
                      </a:lnTo>
                      <a:lnTo>
                        <a:pt x="355" y="962"/>
                      </a:lnTo>
                      <a:lnTo>
                        <a:pt x="365" y="973"/>
                      </a:lnTo>
                      <a:lnTo>
                        <a:pt x="375" y="1003"/>
                      </a:lnTo>
                      <a:lnTo>
                        <a:pt x="385" y="1023"/>
                      </a:lnTo>
                      <a:lnTo>
                        <a:pt x="395" y="1033"/>
                      </a:lnTo>
                      <a:lnTo>
                        <a:pt x="395" y="1044"/>
                      </a:lnTo>
                      <a:lnTo>
                        <a:pt x="395" y="1064"/>
                      </a:lnTo>
                      <a:lnTo>
                        <a:pt x="395" y="1074"/>
                      </a:lnTo>
                      <a:lnTo>
                        <a:pt x="385" y="1084"/>
                      </a:lnTo>
                      <a:lnTo>
                        <a:pt x="385" y="1094"/>
                      </a:lnTo>
                      <a:lnTo>
                        <a:pt x="375" y="1114"/>
                      </a:lnTo>
                      <a:lnTo>
                        <a:pt x="375" y="1125"/>
                      </a:lnTo>
                      <a:lnTo>
                        <a:pt x="375" y="1135"/>
                      </a:lnTo>
                      <a:lnTo>
                        <a:pt x="385" y="1145"/>
                      </a:lnTo>
                      <a:lnTo>
                        <a:pt x="385" y="1155"/>
                      </a:lnTo>
                      <a:lnTo>
                        <a:pt x="395" y="1165"/>
                      </a:lnTo>
                      <a:lnTo>
                        <a:pt x="395" y="1185"/>
                      </a:lnTo>
                      <a:lnTo>
                        <a:pt x="385" y="1185"/>
                      </a:lnTo>
                      <a:lnTo>
                        <a:pt x="385" y="1195"/>
                      </a:lnTo>
                      <a:lnTo>
                        <a:pt x="385" y="1206"/>
                      </a:lnTo>
                      <a:lnTo>
                        <a:pt x="395" y="1206"/>
                      </a:lnTo>
                      <a:lnTo>
                        <a:pt x="415" y="1206"/>
                      </a:lnTo>
                      <a:lnTo>
                        <a:pt x="415" y="1216"/>
                      </a:lnTo>
                      <a:lnTo>
                        <a:pt x="405" y="1216"/>
                      </a:lnTo>
                      <a:lnTo>
                        <a:pt x="395" y="1226"/>
                      </a:lnTo>
                      <a:lnTo>
                        <a:pt x="385" y="1236"/>
                      </a:lnTo>
                      <a:lnTo>
                        <a:pt x="375" y="1236"/>
                      </a:lnTo>
                      <a:lnTo>
                        <a:pt x="365" y="1246"/>
                      </a:lnTo>
                      <a:lnTo>
                        <a:pt x="344" y="1246"/>
                      </a:lnTo>
                      <a:lnTo>
                        <a:pt x="334" y="1256"/>
                      </a:lnTo>
                      <a:lnTo>
                        <a:pt x="324" y="1256"/>
                      </a:lnTo>
                      <a:lnTo>
                        <a:pt x="314" y="1266"/>
                      </a:lnTo>
                      <a:lnTo>
                        <a:pt x="314" y="1277"/>
                      </a:lnTo>
                      <a:lnTo>
                        <a:pt x="324" y="1277"/>
                      </a:lnTo>
                      <a:lnTo>
                        <a:pt x="324" y="1287"/>
                      </a:lnTo>
                      <a:lnTo>
                        <a:pt x="324" y="1297"/>
                      </a:lnTo>
                      <a:lnTo>
                        <a:pt x="324" y="1307"/>
                      </a:lnTo>
                      <a:lnTo>
                        <a:pt x="294" y="1307"/>
                      </a:lnTo>
                      <a:lnTo>
                        <a:pt x="284" y="1307"/>
                      </a:lnTo>
                      <a:lnTo>
                        <a:pt x="264" y="1307"/>
                      </a:lnTo>
                      <a:lnTo>
                        <a:pt x="253" y="1307"/>
                      </a:lnTo>
                      <a:lnTo>
                        <a:pt x="243" y="1297"/>
                      </a:lnTo>
                      <a:lnTo>
                        <a:pt x="233" y="1287"/>
                      </a:lnTo>
                      <a:lnTo>
                        <a:pt x="233" y="1277"/>
                      </a:lnTo>
                      <a:lnTo>
                        <a:pt x="223" y="1277"/>
                      </a:lnTo>
                      <a:lnTo>
                        <a:pt x="213" y="1277"/>
                      </a:lnTo>
                      <a:lnTo>
                        <a:pt x="203" y="1277"/>
                      </a:lnTo>
                      <a:lnTo>
                        <a:pt x="203" y="1287"/>
                      </a:lnTo>
                      <a:lnTo>
                        <a:pt x="172" y="1297"/>
                      </a:lnTo>
                      <a:lnTo>
                        <a:pt x="162" y="1307"/>
                      </a:lnTo>
                      <a:lnTo>
                        <a:pt x="152" y="1317"/>
                      </a:lnTo>
                      <a:lnTo>
                        <a:pt x="152" y="1327"/>
                      </a:lnTo>
                      <a:lnTo>
                        <a:pt x="152" y="1337"/>
                      </a:lnTo>
                      <a:lnTo>
                        <a:pt x="152" y="1347"/>
                      </a:lnTo>
                      <a:lnTo>
                        <a:pt x="142" y="1347"/>
                      </a:lnTo>
                      <a:lnTo>
                        <a:pt x="132" y="1358"/>
                      </a:lnTo>
                      <a:lnTo>
                        <a:pt x="122" y="1368"/>
                      </a:lnTo>
                      <a:lnTo>
                        <a:pt x="122" y="1378"/>
                      </a:lnTo>
                      <a:lnTo>
                        <a:pt x="122" y="1388"/>
                      </a:lnTo>
                      <a:lnTo>
                        <a:pt x="122" y="1408"/>
                      </a:lnTo>
                      <a:lnTo>
                        <a:pt x="122" y="1439"/>
                      </a:lnTo>
                      <a:lnTo>
                        <a:pt x="112" y="1449"/>
                      </a:lnTo>
                      <a:lnTo>
                        <a:pt x="112" y="1469"/>
                      </a:lnTo>
                      <a:lnTo>
                        <a:pt x="112" y="1479"/>
                      </a:lnTo>
                      <a:lnTo>
                        <a:pt x="102" y="1499"/>
                      </a:lnTo>
                      <a:lnTo>
                        <a:pt x="102" y="1510"/>
                      </a:lnTo>
                      <a:lnTo>
                        <a:pt x="112" y="1520"/>
                      </a:lnTo>
                      <a:lnTo>
                        <a:pt x="112" y="1530"/>
                      </a:lnTo>
                      <a:lnTo>
                        <a:pt x="112" y="1540"/>
                      </a:lnTo>
                      <a:lnTo>
                        <a:pt x="102" y="1550"/>
                      </a:lnTo>
                      <a:lnTo>
                        <a:pt x="102" y="1560"/>
                      </a:lnTo>
                      <a:lnTo>
                        <a:pt x="81" y="1560"/>
                      </a:lnTo>
                      <a:lnTo>
                        <a:pt x="81" y="1580"/>
                      </a:lnTo>
                      <a:lnTo>
                        <a:pt x="71" y="1580"/>
                      </a:lnTo>
                      <a:lnTo>
                        <a:pt x="61" y="1591"/>
                      </a:lnTo>
                      <a:lnTo>
                        <a:pt x="51" y="1591"/>
                      </a:lnTo>
                      <a:lnTo>
                        <a:pt x="41" y="1591"/>
                      </a:lnTo>
                      <a:lnTo>
                        <a:pt x="31" y="1591"/>
                      </a:lnTo>
                      <a:lnTo>
                        <a:pt x="31" y="1601"/>
                      </a:lnTo>
                      <a:lnTo>
                        <a:pt x="21" y="1601"/>
                      </a:lnTo>
                      <a:lnTo>
                        <a:pt x="21" y="1611"/>
                      </a:lnTo>
                      <a:lnTo>
                        <a:pt x="31" y="1621"/>
                      </a:lnTo>
                      <a:lnTo>
                        <a:pt x="31" y="1631"/>
                      </a:lnTo>
                      <a:lnTo>
                        <a:pt x="31" y="1641"/>
                      </a:lnTo>
                      <a:lnTo>
                        <a:pt x="31" y="1651"/>
                      </a:lnTo>
                      <a:lnTo>
                        <a:pt x="41" y="1651"/>
                      </a:lnTo>
                      <a:lnTo>
                        <a:pt x="51" y="1661"/>
                      </a:lnTo>
                      <a:lnTo>
                        <a:pt x="61" y="1682"/>
                      </a:lnTo>
                      <a:lnTo>
                        <a:pt x="61" y="1692"/>
                      </a:lnTo>
                      <a:lnTo>
                        <a:pt x="51" y="1692"/>
                      </a:lnTo>
                      <a:lnTo>
                        <a:pt x="41" y="1692"/>
                      </a:lnTo>
                      <a:lnTo>
                        <a:pt x="31" y="1692"/>
                      </a:lnTo>
                      <a:lnTo>
                        <a:pt x="21" y="1682"/>
                      </a:lnTo>
                      <a:lnTo>
                        <a:pt x="11" y="1692"/>
                      </a:lnTo>
                      <a:lnTo>
                        <a:pt x="0" y="1702"/>
                      </a:lnTo>
                      <a:lnTo>
                        <a:pt x="0" y="1712"/>
                      </a:lnTo>
                      <a:lnTo>
                        <a:pt x="11" y="1722"/>
                      </a:lnTo>
                      <a:lnTo>
                        <a:pt x="11" y="1743"/>
                      </a:lnTo>
                      <a:lnTo>
                        <a:pt x="11" y="1783"/>
                      </a:lnTo>
                      <a:lnTo>
                        <a:pt x="11" y="1793"/>
                      </a:lnTo>
                      <a:lnTo>
                        <a:pt x="21" y="1803"/>
                      </a:lnTo>
                      <a:lnTo>
                        <a:pt x="21" y="1813"/>
                      </a:lnTo>
                      <a:lnTo>
                        <a:pt x="31" y="1813"/>
                      </a:lnTo>
                      <a:lnTo>
                        <a:pt x="31" y="1824"/>
                      </a:lnTo>
                      <a:lnTo>
                        <a:pt x="31" y="1834"/>
                      </a:lnTo>
                      <a:lnTo>
                        <a:pt x="31" y="1854"/>
                      </a:lnTo>
                      <a:lnTo>
                        <a:pt x="31" y="1874"/>
                      </a:lnTo>
                      <a:lnTo>
                        <a:pt x="31" y="1884"/>
                      </a:lnTo>
                      <a:lnTo>
                        <a:pt x="41" y="1894"/>
                      </a:lnTo>
                      <a:lnTo>
                        <a:pt x="31" y="1915"/>
                      </a:lnTo>
                      <a:lnTo>
                        <a:pt x="31" y="1925"/>
                      </a:lnTo>
                      <a:lnTo>
                        <a:pt x="31" y="1945"/>
                      </a:lnTo>
                      <a:lnTo>
                        <a:pt x="31" y="1976"/>
                      </a:lnTo>
                      <a:lnTo>
                        <a:pt x="31" y="1986"/>
                      </a:lnTo>
                      <a:lnTo>
                        <a:pt x="31" y="1996"/>
                      </a:lnTo>
                      <a:lnTo>
                        <a:pt x="41" y="2016"/>
                      </a:lnTo>
                      <a:lnTo>
                        <a:pt x="41" y="2026"/>
                      </a:lnTo>
                      <a:lnTo>
                        <a:pt x="41" y="2036"/>
                      </a:lnTo>
                      <a:lnTo>
                        <a:pt x="41" y="2046"/>
                      </a:lnTo>
                      <a:lnTo>
                        <a:pt x="41" y="2057"/>
                      </a:lnTo>
                      <a:lnTo>
                        <a:pt x="51" y="2077"/>
                      </a:lnTo>
                      <a:lnTo>
                        <a:pt x="61" y="2087"/>
                      </a:lnTo>
                      <a:lnTo>
                        <a:pt x="61" y="2097"/>
                      </a:lnTo>
                      <a:lnTo>
                        <a:pt x="61" y="2107"/>
                      </a:lnTo>
                      <a:lnTo>
                        <a:pt x="71" y="2117"/>
                      </a:lnTo>
                      <a:lnTo>
                        <a:pt x="81" y="2127"/>
                      </a:lnTo>
                      <a:lnTo>
                        <a:pt x="91" y="2127"/>
                      </a:lnTo>
                      <a:lnTo>
                        <a:pt x="91" y="2138"/>
                      </a:lnTo>
                      <a:lnTo>
                        <a:pt x="102" y="2138"/>
                      </a:lnTo>
                      <a:lnTo>
                        <a:pt x="122" y="2148"/>
                      </a:lnTo>
                      <a:lnTo>
                        <a:pt x="122" y="2158"/>
                      </a:lnTo>
                      <a:lnTo>
                        <a:pt x="122" y="2168"/>
                      </a:lnTo>
                      <a:lnTo>
                        <a:pt x="132" y="2168"/>
                      </a:lnTo>
                      <a:lnTo>
                        <a:pt x="132" y="2178"/>
                      </a:lnTo>
                      <a:lnTo>
                        <a:pt x="132" y="2188"/>
                      </a:lnTo>
                      <a:lnTo>
                        <a:pt x="132" y="2198"/>
                      </a:lnTo>
                      <a:lnTo>
                        <a:pt x="132" y="2209"/>
                      </a:lnTo>
                      <a:lnTo>
                        <a:pt x="132" y="2219"/>
                      </a:lnTo>
                      <a:lnTo>
                        <a:pt x="132" y="2229"/>
                      </a:lnTo>
                      <a:lnTo>
                        <a:pt x="142" y="2229"/>
                      </a:lnTo>
                      <a:lnTo>
                        <a:pt x="152" y="2229"/>
                      </a:lnTo>
                      <a:lnTo>
                        <a:pt x="172" y="2219"/>
                      </a:lnTo>
                      <a:lnTo>
                        <a:pt x="183" y="2229"/>
                      </a:lnTo>
                      <a:lnTo>
                        <a:pt x="193" y="2229"/>
                      </a:lnTo>
                      <a:lnTo>
                        <a:pt x="203" y="2229"/>
                      </a:lnTo>
                      <a:lnTo>
                        <a:pt x="203" y="2239"/>
                      </a:lnTo>
                      <a:lnTo>
                        <a:pt x="193" y="2249"/>
                      </a:lnTo>
                      <a:lnTo>
                        <a:pt x="183" y="2249"/>
                      </a:lnTo>
                      <a:lnTo>
                        <a:pt x="183" y="2259"/>
                      </a:lnTo>
                      <a:lnTo>
                        <a:pt x="172" y="2269"/>
                      </a:lnTo>
                      <a:lnTo>
                        <a:pt x="172" y="2279"/>
                      </a:lnTo>
                      <a:lnTo>
                        <a:pt x="183" y="2279"/>
                      </a:lnTo>
                      <a:lnTo>
                        <a:pt x="193" y="2269"/>
                      </a:lnTo>
                      <a:lnTo>
                        <a:pt x="203" y="2269"/>
                      </a:lnTo>
                      <a:lnTo>
                        <a:pt x="213" y="2269"/>
                      </a:lnTo>
                      <a:lnTo>
                        <a:pt x="233" y="2269"/>
                      </a:lnTo>
                      <a:lnTo>
                        <a:pt x="243" y="2259"/>
                      </a:lnTo>
                      <a:lnTo>
                        <a:pt x="253" y="2259"/>
                      </a:lnTo>
                      <a:lnTo>
                        <a:pt x="264" y="2259"/>
                      </a:lnTo>
                      <a:lnTo>
                        <a:pt x="274" y="2259"/>
                      </a:lnTo>
                      <a:lnTo>
                        <a:pt x="284" y="2259"/>
                      </a:lnTo>
                      <a:lnTo>
                        <a:pt x="294" y="2279"/>
                      </a:lnTo>
                      <a:lnTo>
                        <a:pt x="304" y="2290"/>
                      </a:lnTo>
                      <a:lnTo>
                        <a:pt x="304" y="2300"/>
                      </a:lnTo>
                      <a:lnTo>
                        <a:pt x="304" y="2310"/>
                      </a:lnTo>
                      <a:lnTo>
                        <a:pt x="304" y="2320"/>
                      </a:lnTo>
                      <a:lnTo>
                        <a:pt x="304" y="2330"/>
                      </a:lnTo>
                      <a:lnTo>
                        <a:pt x="314" y="2330"/>
                      </a:lnTo>
                      <a:lnTo>
                        <a:pt x="324" y="2340"/>
                      </a:lnTo>
                      <a:lnTo>
                        <a:pt x="344" y="2340"/>
                      </a:lnTo>
                      <a:lnTo>
                        <a:pt x="365" y="2340"/>
                      </a:lnTo>
                      <a:lnTo>
                        <a:pt x="385" y="2340"/>
                      </a:lnTo>
                      <a:lnTo>
                        <a:pt x="395" y="2340"/>
                      </a:lnTo>
                      <a:lnTo>
                        <a:pt x="405" y="2340"/>
                      </a:lnTo>
                      <a:lnTo>
                        <a:pt x="425" y="2350"/>
                      </a:lnTo>
                      <a:lnTo>
                        <a:pt x="436" y="2350"/>
                      </a:lnTo>
                      <a:lnTo>
                        <a:pt x="446" y="2350"/>
                      </a:lnTo>
                      <a:lnTo>
                        <a:pt x="466" y="2360"/>
                      </a:lnTo>
                      <a:lnTo>
                        <a:pt x="476" y="2360"/>
                      </a:lnTo>
                      <a:lnTo>
                        <a:pt x="516" y="2381"/>
                      </a:lnTo>
                      <a:lnTo>
                        <a:pt x="527" y="2391"/>
                      </a:lnTo>
                      <a:lnTo>
                        <a:pt x="547" y="2391"/>
                      </a:lnTo>
                      <a:lnTo>
                        <a:pt x="557" y="2391"/>
                      </a:lnTo>
                      <a:lnTo>
                        <a:pt x="567" y="2391"/>
                      </a:lnTo>
                      <a:lnTo>
                        <a:pt x="587" y="2391"/>
                      </a:lnTo>
                      <a:lnTo>
                        <a:pt x="597" y="2391"/>
                      </a:lnTo>
                      <a:lnTo>
                        <a:pt x="608" y="2401"/>
                      </a:lnTo>
                      <a:lnTo>
                        <a:pt x="618" y="2411"/>
                      </a:lnTo>
                      <a:lnTo>
                        <a:pt x="618" y="2421"/>
                      </a:lnTo>
                      <a:lnTo>
                        <a:pt x="618" y="2431"/>
                      </a:lnTo>
                      <a:lnTo>
                        <a:pt x="628" y="2431"/>
                      </a:lnTo>
                      <a:lnTo>
                        <a:pt x="638" y="2431"/>
                      </a:lnTo>
                      <a:lnTo>
                        <a:pt x="648" y="2421"/>
                      </a:lnTo>
                      <a:lnTo>
                        <a:pt x="658" y="2411"/>
                      </a:lnTo>
                      <a:lnTo>
                        <a:pt x="678" y="2411"/>
                      </a:lnTo>
                      <a:lnTo>
                        <a:pt x="678" y="2401"/>
                      </a:lnTo>
                      <a:lnTo>
                        <a:pt x="689" y="2401"/>
                      </a:lnTo>
                      <a:lnTo>
                        <a:pt x="709" y="2401"/>
                      </a:lnTo>
                      <a:lnTo>
                        <a:pt x="719" y="2401"/>
                      </a:lnTo>
                      <a:lnTo>
                        <a:pt x="739" y="2401"/>
                      </a:lnTo>
                      <a:lnTo>
                        <a:pt x="759" y="2401"/>
                      </a:lnTo>
                      <a:lnTo>
                        <a:pt x="769" y="2401"/>
                      </a:lnTo>
                      <a:lnTo>
                        <a:pt x="780" y="2401"/>
                      </a:lnTo>
                      <a:lnTo>
                        <a:pt x="790" y="2391"/>
                      </a:lnTo>
                      <a:lnTo>
                        <a:pt x="800" y="2381"/>
                      </a:lnTo>
                      <a:lnTo>
                        <a:pt x="800" y="2371"/>
                      </a:lnTo>
                      <a:lnTo>
                        <a:pt x="810" y="2340"/>
                      </a:lnTo>
                      <a:lnTo>
                        <a:pt x="820" y="2330"/>
                      </a:lnTo>
                      <a:lnTo>
                        <a:pt x="820" y="2320"/>
                      </a:lnTo>
                      <a:lnTo>
                        <a:pt x="830" y="2310"/>
                      </a:lnTo>
                      <a:lnTo>
                        <a:pt x="850" y="2310"/>
                      </a:lnTo>
                      <a:lnTo>
                        <a:pt x="861" y="2310"/>
                      </a:lnTo>
                      <a:lnTo>
                        <a:pt x="871" y="2320"/>
                      </a:lnTo>
                      <a:lnTo>
                        <a:pt x="881" y="2320"/>
                      </a:lnTo>
                      <a:lnTo>
                        <a:pt x="891" y="2310"/>
                      </a:lnTo>
                      <a:lnTo>
                        <a:pt x="901" y="2320"/>
                      </a:lnTo>
                      <a:lnTo>
                        <a:pt x="911" y="2320"/>
                      </a:lnTo>
                      <a:lnTo>
                        <a:pt x="921" y="2340"/>
                      </a:lnTo>
                      <a:lnTo>
                        <a:pt x="931" y="2350"/>
                      </a:lnTo>
                      <a:lnTo>
                        <a:pt x="941" y="2350"/>
                      </a:lnTo>
                      <a:lnTo>
                        <a:pt x="952" y="2340"/>
                      </a:lnTo>
                      <a:lnTo>
                        <a:pt x="962" y="2330"/>
                      </a:lnTo>
                      <a:lnTo>
                        <a:pt x="972" y="2320"/>
                      </a:lnTo>
                      <a:lnTo>
                        <a:pt x="982" y="2320"/>
                      </a:lnTo>
                      <a:lnTo>
                        <a:pt x="992" y="2320"/>
                      </a:lnTo>
                      <a:lnTo>
                        <a:pt x="1002" y="2320"/>
                      </a:lnTo>
                      <a:lnTo>
                        <a:pt x="1012" y="2320"/>
                      </a:lnTo>
                      <a:lnTo>
                        <a:pt x="1022" y="2320"/>
                      </a:lnTo>
                      <a:lnTo>
                        <a:pt x="1033" y="2320"/>
                      </a:lnTo>
                      <a:lnTo>
                        <a:pt x="1043" y="2320"/>
                      </a:lnTo>
                      <a:lnTo>
                        <a:pt x="1063" y="2320"/>
                      </a:lnTo>
                      <a:lnTo>
                        <a:pt x="1073" y="2310"/>
                      </a:lnTo>
                      <a:lnTo>
                        <a:pt x="1073" y="2300"/>
                      </a:lnTo>
                      <a:lnTo>
                        <a:pt x="1083" y="2290"/>
                      </a:lnTo>
                      <a:lnTo>
                        <a:pt x="1083" y="2279"/>
                      </a:lnTo>
                      <a:lnTo>
                        <a:pt x="1083" y="2269"/>
                      </a:lnTo>
                      <a:lnTo>
                        <a:pt x="1093" y="2259"/>
                      </a:lnTo>
                      <a:lnTo>
                        <a:pt x="1103" y="2259"/>
                      </a:lnTo>
                      <a:lnTo>
                        <a:pt x="1103" y="2269"/>
                      </a:lnTo>
                      <a:lnTo>
                        <a:pt x="1113" y="2269"/>
                      </a:lnTo>
                      <a:lnTo>
                        <a:pt x="1124" y="2259"/>
                      </a:lnTo>
                      <a:lnTo>
                        <a:pt x="1134" y="2259"/>
                      </a:lnTo>
                      <a:lnTo>
                        <a:pt x="1144" y="2259"/>
                      </a:lnTo>
                      <a:lnTo>
                        <a:pt x="1154" y="2269"/>
                      </a:lnTo>
                      <a:lnTo>
                        <a:pt x="1164" y="2269"/>
                      </a:lnTo>
                      <a:lnTo>
                        <a:pt x="1164" y="2279"/>
                      </a:lnTo>
                      <a:lnTo>
                        <a:pt x="1174" y="2279"/>
                      </a:lnTo>
                      <a:lnTo>
                        <a:pt x="1174" y="2269"/>
                      </a:lnTo>
                      <a:lnTo>
                        <a:pt x="1184" y="2269"/>
                      </a:lnTo>
                      <a:lnTo>
                        <a:pt x="1184" y="2259"/>
                      </a:lnTo>
                      <a:lnTo>
                        <a:pt x="1194" y="2249"/>
                      </a:lnTo>
                      <a:lnTo>
                        <a:pt x="1194" y="2239"/>
                      </a:lnTo>
                      <a:lnTo>
                        <a:pt x="1205" y="2229"/>
                      </a:lnTo>
                      <a:lnTo>
                        <a:pt x="1215" y="2219"/>
                      </a:lnTo>
                      <a:lnTo>
                        <a:pt x="1225" y="2209"/>
                      </a:lnTo>
                      <a:lnTo>
                        <a:pt x="1235" y="2209"/>
                      </a:lnTo>
                      <a:lnTo>
                        <a:pt x="1245" y="2209"/>
                      </a:lnTo>
                      <a:lnTo>
                        <a:pt x="1265" y="2209"/>
                      </a:lnTo>
                      <a:lnTo>
                        <a:pt x="1275" y="2209"/>
                      </a:lnTo>
                      <a:lnTo>
                        <a:pt x="1286" y="2198"/>
                      </a:lnTo>
                      <a:lnTo>
                        <a:pt x="1296" y="2198"/>
                      </a:lnTo>
                      <a:lnTo>
                        <a:pt x="1306" y="2198"/>
                      </a:lnTo>
                      <a:lnTo>
                        <a:pt x="1326" y="2198"/>
                      </a:lnTo>
                      <a:lnTo>
                        <a:pt x="1336" y="2188"/>
                      </a:lnTo>
                      <a:lnTo>
                        <a:pt x="1346" y="2188"/>
                      </a:lnTo>
                      <a:lnTo>
                        <a:pt x="1356" y="2188"/>
                      </a:lnTo>
                      <a:lnTo>
                        <a:pt x="1356" y="2178"/>
                      </a:lnTo>
                      <a:lnTo>
                        <a:pt x="1366" y="2168"/>
                      </a:lnTo>
                      <a:lnTo>
                        <a:pt x="1366" y="2158"/>
                      </a:lnTo>
                      <a:lnTo>
                        <a:pt x="1366" y="2148"/>
                      </a:lnTo>
                      <a:lnTo>
                        <a:pt x="1377" y="2138"/>
                      </a:lnTo>
                      <a:lnTo>
                        <a:pt x="1387" y="2127"/>
                      </a:lnTo>
                      <a:lnTo>
                        <a:pt x="1397" y="2127"/>
                      </a:lnTo>
                      <a:lnTo>
                        <a:pt x="1417" y="2127"/>
                      </a:lnTo>
                      <a:lnTo>
                        <a:pt x="1437" y="2127"/>
                      </a:lnTo>
                      <a:lnTo>
                        <a:pt x="1458" y="2127"/>
                      </a:lnTo>
                      <a:lnTo>
                        <a:pt x="1478" y="2127"/>
                      </a:lnTo>
                      <a:lnTo>
                        <a:pt x="1508" y="2127"/>
                      </a:lnTo>
                      <a:lnTo>
                        <a:pt x="1518" y="2127"/>
                      </a:lnTo>
                      <a:lnTo>
                        <a:pt x="1528" y="2117"/>
                      </a:lnTo>
                      <a:lnTo>
                        <a:pt x="1538" y="2107"/>
                      </a:lnTo>
                      <a:lnTo>
                        <a:pt x="1549" y="2107"/>
                      </a:lnTo>
                      <a:lnTo>
                        <a:pt x="1559" y="2097"/>
                      </a:lnTo>
                      <a:lnTo>
                        <a:pt x="1579" y="2097"/>
                      </a:lnTo>
                      <a:lnTo>
                        <a:pt x="1599" y="2097"/>
                      </a:lnTo>
                      <a:lnTo>
                        <a:pt x="1630" y="2097"/>
                      </a:lnTo>
                      <a:lnTo>
                        <a:pt x="1640" y="2097"/>
                      </a:lnTo>
                      <a:lnTo>
                        <a:pt x="1650" y="2087"/>
                      </a:lnTo>
                      <a:lnTo>
                        <a:pt x="1660" y="2087"/>
                      </a:lnTo>
                      <a:lnTo>
                        <a:pt x="1680" y="2087"/>
                      </a:lnTo>
                      <a:lnTo>
                        <a:pt x="1690" y="2087"/>
                      </a:lnTo>
                      <a:lnTo>
                        <a:pt x="1700" y="2077"/>
                      </a:lnTo>
                      <a:lnTo>
                        <a:pt x="1711" y="2077"/>
                      </a:lnTo>
                      <a:lnTo>
                        <a:pt x="1721" y="2077"/>
                      </a:lnTo>
                      <a:lnTo>
                        <a:pt x="1731" y="2067"/>
                      </a:lnTo>
                      <a:lnTo>
                        <a:pt x="1741" y="2077"/>
                      </a:lnTo>
                      <a:lnTo>
                        <a:pt x="1751" y="2077"/>
                      </a:lnTo>
                      <a:lnTo>
                        <a:pt x="1751" y="2087"/>
                      </a:lnTo>
                      <a:lnTo>
                        <a:pt x="1761" y="2087"/>
                      </a:lnTo>
                      <a:lnTo>
                        <a:pt x="1761" y="2097"/>
                      </a:lnTo>
                      <a:lnTo>
                        <a:pt x="1781" y="2097"/>
                      </a:lnTo>
                      <a:lnTo>
                        <a:pt x="1802" y="2097"/>
                      </a:lnTo>
                      <a:lnTo>
                        <a:pt x="1822" y="2097"/>
                      </a:lnTo>
                      <a:lnTo>
                        <a:pt x="1832" y="2087"/>
                      </a:lnTo>
                      <a:lnTo>
                        <a:pt x="1852" y="2087"/>
                      </a:lnTo>
                      <a:lnTo>
                        <a:pt x="1862" y="2087"/>
                      </a:lnTo>
                      <a:lnTo>
                        <a:pt x="1883" y="2087"/>
                      </a:lnTo>
                      <a:lnTo>
                        <a:pt x="1903" y="2077"/>
                      </a:lnTo>
                      <a:lnTo>
                        <a:pt x="1913" y="2067"/>
                      </a:lnTo>
                      <a:lnTo>
                        <a:pt x="1933" y="2067"/>
                      </a:lnTo>
                      <a:lnTo>
                        <a:pt x="1943" y="2067"/>
                      </a:lnTo>
                      <a:lnTo>
                        <a:pt x="1974" y="2067"/>
                      </a:lnTo>
                      <a:lnTo>
                        <a:pt x="1984" y="2067"/>
                      </a:lnTo>
                      <a:lnTo>
                        <a:pt x="1994" y="2057"/>
                      </a:lnTo>
                      <a:lnTo>
                        <a:pt x="2004" y="2046"/>
                      </a:lnTo>
                      <a:lnTo>
                        <a:pt x="2004" y="2036"/>
                      </a:lnTo>
                      <a:lnTo>
                        <a:pt x="2014" y="2026"/>
                      </a:lnTo>
                      <a:lnTo>
                        <a:pt x="2034" y="2026"/>
                      </a:lnTo>
                      <a:lnTo>
                        <a:pt x="2044" y="2026"/>
                      </a:lnTo>
                      <a:lnTo>
                        <a:pt x="2055" y="2026"/>
                      </a:lnTo>
                      <a:lnTo>
                        <a:pt x="2065" y="2026"/>
                      </a:lnTo>
                      <a:lnTo>
                        <a:pt x="2075" y="2036"/>
                      </a:lnTo>
                      <a:lnTo>
                        <a:pt x="2085" y="2026"/>
                      </a:lnTo>
                      <a:lnTo>
                        <a:pt x="2085" y="2036"/>
                      </a:lnTo>
                      <a:lnTo>
                        <a:pt x="2095" y="2036"/>
                      </a:lnTo>
                      <a:lnTo>
                        <a:pt x="2105" y="2046"/>
                      </a:lnTo>
                      <a:lnTo>
                        <a:pt x="2115" y="2057"/>
                      </a:lnTo>
                      <a:lnTo>
                        <a:pt x="2125" y="2057"/>
                      </a:lnTo>
                      <a:lnTo>
                        <a:pt x="2136" y="2057"/>
                      </a:lnTo>
                      <a:lnTo>
                        <a:pt x="2146" y="2057"/>
                      </a:lnTo>
                      <a:lnTo>
                        <a:pt x="2166" y="2036"/>
                      </a:lnTo>
                      <a:lnTo>
                        <a:pt x="2176" y="2026"/>
                      </a:lnTo>
                      <a:lnTo>
                        <a:pt x="2186" y="2016"/>
                      </a:lnTo>
                      <a:lnTo>
                        <a:pt x="2216" y="1996"/>
                      </a:lnTo>
                      <a:lnTo>
                        <a:pt x="2227" y="1986"/>
                      </a:lnTo>
                      <a:lnTo>
                        <a:pt x="2237" y="1986"/>
                      </a:lnTo>
                      <a:lnTo>
                        <a:pt x="2247" y="1976"/>
                      </a:lnTo>
                      <a:lnTo>
                        <a:pt x="2267" y="1976"/>
                      </a:lnTo>
                      <a:lnTo>
                        <a:pt x="2277" y="1976"/>
                      </a:lnTo>
                      <a:lnTo>
                        <a:pt x="2287" y="1976"/>
                      </a:lnTo>
                      <a:lnTo>
                        <a:pt x="2297" y="1976"/>
                      </a:lnTo>
                      <a:lnTo>
                        <a:pt x="2308" y="1986"/>
                      </a:lnTo>
                      <a:lnTo>
                        <a:pt x="2318" y="1986"/>
                      </a:lnTo>
                      <a:lnTo>
                        <a:pt x="2328" y="1986"/>
                      </a:lnTo>
                      <a:lnTo>
                        <a:pt x="2348" y="1986"/>
                      </a:lnTo>
                      <a:lnTo>
                        <a:pt x="2368" y="1996"/>
                      </a:lnTo>
                      <a:lnTo>
                        <a:pt x="2378" y="2006"/>
                      </a:lnTo>
                      <a:lnTo>
                        <a:pt x="2399" y="2006"/>
                      </a:lnTo>
                      <a:lnTo>
                        <a:pt x="2419" y="2006"/>
                      </a:lnTo>
                      <a:lnTo>
                        <a:pt x="2429" y="2006"/>
                      </a:lnTo>
                      <a:lnTo>
                        <a:pt x="2439" y="2006"/>
                      </a:lnTo>
                      <a:lnTo>
                        <a:pt x="2449" y="1996"/>
                      </a:lnTo>
                      <a:lnTo>
                        <a:pt x="2480" y="1996"/>
                      </a:lnTo>
                      <a:lnTo>
                        <a:pt x="2490" y="1996"/>
                      </a:lnTo>
                      <a:lnTo>
                        <a:pt x="2500" y="1996"/>
                      </a:lnTo>
                      <a:lnTo>
                        <a:pt x="2510" y="1996"/>
                      </a:lnTo>
                      <a:lnTo>
                        <a:pt x="2520" y="1996"/>
                      </a:lnTo>
                      <a:lnTo>
                        <a:pt x="2550" y="1996"/>
                      </a:lnTo>
                      <a:lnTo>
                        <a:pt x="2571" y="2006"/>
                      </a:lnTo>
                      <a:lnTo>
                        <a:pt x="2581" y="2006"/>
                      </a:lnTo>
                      <a:lnTo>
                        <a:pt x="2591" y="2016"/>
                      </a:lnTo>
                      <a:lnTo>
                        <a:pt x="2601" y="2016"/>
                      </a:lnTo>
                      <a:lnTo>
                        <a:pt x="2621" y="2016"/>
                      </a:lnTo>
                      <a:lnTo>
                        <a:pt x="2631" y="2016"/>
                      </a:lnTo>
                      <a:lnTo>
                        <a:pt x="2652" y="2016"/>
                      </a:lnTo>
                      <a:lnTo>
                        <a:pt x="2672" y="2016"/>
                      </a:lnTo>
                      <a:lnTo>
                        <a:pt x="2692" y="2016"/>
                      </a:lnTo>
                      <a:lnTo>
                        <a:pt x="2702" y="2026"/>
                      </a:lnTo>
                      <a:lnTo>
                        <a:pt x="2722" y="2036"/>
                      </a:lnTo>
                      <a:lnTo>
                        <a:pt x="2743" y="2036"/>
                      </a:lnTo>
                      <a:lnTo>
                        <a:pt x="2753" y="2046"/>
                      </a:lnTo>
                      <a:lnTo>
                        <a:pt x="2773" y="2046"/>
                      </a:lnTo>
                      <a:lnTo>
                        <a:pt x="2783" y="2057"/>
                      </a:lnTo>
                      <a:lnTo>
                        <a:pt x="2803" y="2067"/>
                      </a:lnTo>
                      <a:lnTo>
                        <a:pt x="2813" y="2067"/>
                      </a:lnTo>
                      <a:lnTo>
                        <a:pt x="2824" y="2077"/>
                      </a:lnTo>
                      <a:lnTo>
                        <a:pt x="2834" y="2087"/>
                      </a:lnTo>
                      <a:lnTo>
                        <a:pt x="2844" y="2087"/>
                      </a:lnTo>
                      <a:lnTo>
                        <a:pt x="2854" y="2087"/>
                      </a:lnTo>
                      <a:lnTo>
                        <a:pt x="2854" y="2077"/>
                      </a:lnTo>
                      <a:lnTo>
                        <a:pt x="2854" y="2067"/>
                      </a:lnTo>
                      <a:lnTo>
                        <a:pt x="2854" y="2057"/>
                      </a:lnTo>
                      <a:lnTo>
                        <a:pt x="2864" y="2046"/>
                      </a:lnTo>
                      <a:lnTo>
                        <a:pt x="2864" y="2036"/>
                      </a:lnTo>
                      <a:lnTo>
                        <a:pt x="2854" y="2036"/>
                      </a:lnTo>
                      <a:lnTo>
                        <a:pt x="2844" y="2036"/>
                      </a:lnTo>
                      <a:lnTo>
                        <a:pt x="2834" y="2036"/>
                      </a:lnTo>
                      <a:lnTo>
                        <a:pt x="2834" y="2026"/>
                      </a:lnTo>
                      <a:lnTo>
                        <a:pt x="2824" y="2016"/>
                      </a:lnTo>
                      <a:lnTo>
                        <a:pt x="2813" y="2006"/>
                      </a:lnTo>
                      <a:lnTo>
                        <a:pt x="2803" y="2006"/>
                      </a:lnTo>
                      <a:lnTo>
                        <a:pt x="2793" y="2016"/>
                      </a:lnTo>
                      <a:lnTo>
                        <a:pt x="2783" y="2006"/>
                      </a:lnTo>
                      <a:lnTo>
                        <a:pt x="2783" y="1996"/>
                      </a:lnTo>
                      <a:lnTo>
                        <a:pt x="2773" y="1986"/>
                      </a:lnTo>
                      <a:lnTo>
                        <a:pt x="2753" y="1986"/>
                      </a:lnTo>
                      <a:lnTo>
                        <a:pt x="2743" y="1976"/>
                      </a:lnTo>
                      <a:lnTo>
                        <a:pt x="2733" y="1976"/>
                      </a:lnTo>
                      <a:lnTo>
                        <a:pt x="2712" y="1976"/>
                      </a:lnTo>
                      <a:lnTo>
                        <a:pt x="2702" y="1976"/>
                      </a:lnTo>
                      <a:lnTo>
                        <a:pt x="2692" y="1965"/>
                      </a:lnTo>
                      <a:lnTo>
                        <a:pt x="2672" y="1965"/>
                      </a:lnTo>
                      <a:lnTo>
                        <a:pt x="2662" y="1965"/>
                      </a:lnTo>
                      <a:lnTo>
                        <a:pt x="2652" y="1976"/>
                      </a:lnTo>
                      <a:lnTo>
                        <a:pt x="2641" y="1976"/>
                      </a:lnTo>
                      <a:lnTo>
                        <a:pt x="2631" y="1976"/>
                      </a:lnTo>
                      <a:lnTo>
                        <a:pt x="2631" y="1965"/>
                      </a:lnTo>
                      <a:lnTo>
                        <a:pt x="2621" y="1965"/>
                      </a:lnTo>
                      <a:lnTo>
                        <a:pt x="2611" y="1955"/>
                      </a:lnTo>
                      <a:lnTo>
                        <a:pt x="2601" y="1945"/>
                      </a:lnTo>
                      <a:lnTo>
                        <a:pt x="2591" y="1935"/>
                      </a:lnTo>
                      <a:lnTo>
                        <a:pt x="2581" y="1935"/>
                      </a:lnTo>
                      <a:lnTo>
                        <a:pt x="2560" y="1935"/>
                      </a:lnTo>
                      <a:lnTo>
                        <a:pt x="2540" y="1945"/>
                      </a:lnTo>
                      <a:lnTo>
                        <a:pt x="2530" y="1945"/>
                      </a:lnTo>
                      <a:lnTo>
                        <a:pt x="2520" y="1945"/>
                      </a:lnTo>
                      <a:lnTo>
                        <a:pt x="2520" y="1935"/>
                      </a:lnTo>
                      <a:lnTo>
                        <a:pt x="2510" y="1925"/>
                      </a:lnTo>
                      <a:lnTo>
                        <a:pt x="2500" y="1915"/>
                      </a:lnTo>
                      <a:lnTo>
                        <a:pt x="2490" y="1905"/>
                      </a:lnTo>
                      <a:lnTo>
                        <a:pt x="2469" y="1894"/>
                      </a:lnTo>
                      <a:lnTo>
                        <a:pt x="2459" y="1894"/>
                      </a:lnTo>
                      <a:lnTo>
                        <a:pt x="2449" y="1894"/>
                      </a:lnTo>
                      <a:lnTo>
                        <a:pt x="2439" y="1884"/>
                      </a:lnTo>
                      <a:lnTo>
                        <a:pt x="2419" y="1884"/>
                      </a:lnTo>
                      <a:lnTo>
                        <a:pt x="2409" y="1884"/>
                      </a:lnTo>
                      <a:lnTo>
                        <a:pt x="2399" y="1884"/>
                      </a:lnTo>
                      <a:lnTo>
                        <a:pt x="2378" y="1874"/>
                      </a:lnTo>
                      <a:lnTo>
                        <a:pt x="2358" y="1874"/>
                      </a:lnTo>
                      <a:lnTo>
                        <a:pt x="2348" y="1864"/>
                      </a:lnTo>
                      <a:lnTo>
                        <a:pt x="2348" y="1854"/>
                      </a:lnTo>
                      <a:lnTo>
                        <a:pt x="2338" y="1844"/>
                      </a:lnTo>
                      <a:lnTo>
                        <a:pt x="2328" y="1834"/>
                      </a:lnTo>
                      <a:lnTo>
                        <a:pt x="2318" y="1813"/>
                      </a:lnTo>
                      <a:lnTo>
                        <a:pt x="2308" y="1803"/>
                      </a:lnTo>
                      <a:lnTo>
                        <a:pt x="2297" y="1783"/>
                      </a:lnTo>
                      <a:lnTo>
                        <a:pt x="2297" y="1773"/>
                      </a:lnTo>
                      <a:lnTo>
                        <a:pt x="2297" y="1753"/>
                      </a:lnTo>
                      <a:lnTo>
                        <a:pt x="2287" y="1743"/>
                      </a:lnTo>
                      <a:lnTo>
                        <a:pt x="2277" y="1722"/>
                      </a:lnTo>
                      <a:lnTo>
                        <a:pt x="2267" y="1712"/>
                      </a:lnTo>
                      <a:lnTo>
                        <a:pt x="2257" y="1692"/>
                      </a:lnTo>
                      <a:lnTo>
                        <a:pt x="2247" y="1682"/>
                      </a:lnTo>
                      <a:lnTo>
                        <a:pt x="2247" y="1672"/>
                      </a:lnTo>
                      <a:lnTo>
                        <a:pt x="2247" y="1651"/>
                      </a:lnTo>
                      <a:lnTo>
                        <a:pt x="2247" y="1631"/>
                      </a:lnTo>
                      <a:lnTo>
                        <a:pt x="2237" y="1621"/>
                      </a:lnTo>
                      <a:lnTo>
                        <a:pt x="2237" y="1611"/>
                      </a:lnTo>
                      <a:lnTo>
                        <a:pt x="2227" y="1601"/>
                      </a:lnTo>
                      <a:lnTo>
                        <a:pt x="2206" y="1591"/>
                      </a:lnTo>
                      <a:lnTo>
                        <a:pt x="2196" y="1580"/>
                      </a:lnTo>
                      <a:lnTo>
                        <a:pt x="2186" y="1580"/>
                      </a:lnTo>
                      <a:lnTo>
                        <a:pt x="2166" y="1580"/>
                      </a:lnTo>
                      <a:lnTo>
                        <a:pt x="2156" y="1580"/>
                      </a:lnTo>
                      <a:lnTo>
                        <a:pt x="2146" y="1560"/>
                      </a:lnTo>
                      <a:lnTo>
                        <a:pt x="2146" y="1550"/>
                      </a:lnTo>
                      <a:lnTo>
                        <a:pt x="2136" y="1530"/>
                      </a:lnTo>
                      <a:lnTo>
                        <a:pt x="2125" y="1520"/>
                      </a:lnTo>
                      <a:lnTo>
                        <a:pt x="2115" y="1520"/>
                      </a:lnTo>
                      <a:lnTo>
                        <a:pt x="2105" y="1510"/>
                      </a:lnTo>
                      <a:lnTo>
                        <a:pt x="2095" y="1510"/>
                      </a:lnTo>
                      <a:lnTo>
                        <a:pt x="2065" y="1499"/>
                      </a:lnTo>
                      <a:lnTo>
                        <a:pt x="2034" y="1489"/>
                      </a:lnTo>
                      <a:lnTo>
                        <a:pt x="2014" y="1479"/>
                      </a:lnTo>
                      <a:lnTo>
                        <a:pt x="2004" y="1479"/>
                      </a:lnTo>
                      <a:lnTo>
                        <a:pt x="1994" y="1479"/>
                      </a:lnTo>
                      <a:lnTo>
                        <a:pt x="1974" y="1469"/>
                      </a:lnTo>
                      <a:lnTo>
                        <a:pt x="1953" y="1459"/>
                      </a:lnTo>
                      <a:lnTo>
                        <a:pt x="1933" y="1449"/>
                      </a:lnTo>
                      <a:lnTo>
                        <a:pt x="1923" y="1449"/>
                      </a:lnTo>
                      <a:lnTo>
                        <a:pt x="1923" y="1439"/>
                      </a:lnTo>
                      <a:lnTo>
                        <a:pt x="1923" y="1428"/>
                      </a:lnTo>
                      <a:lnTo>
                        <a:pt x="1913" y="1418"/>
                      </a:lnTo>
                      <a:lnTo>
                        <a:pt x="1903" y="1408"/>
                      </a:lnTo>
                      <a:lnTo>
                        <a:pt x="1893" y="1408"/>
                      </a:lnTo>
                      <a:lnTo>
                        <a:pt x="1883" y="1408"/>
                      </a:lnTo>
                      <a:lnTo>
                        <a:pt x="1883" y="1418"/>
                      </a:lnTo>
                      <a:lnTo>
                        <a:pt x="1872" y="1428"/>
                      </a:lnTo>
                      <a:lnTo>
                        <a:pt x="1852" y="1439"/>
                      </a:lnTo>
                      <a:lnTo>
                        <a:pt x="1842" y="1428"/>
                      </a:lnTo>
                      <a:lnTo>
                        <a:pt x="1832" y="1428"/>
                      </a:lnTo>
                      <a:lnTo>
                        <a:pt x="1832" y="1418"/>
                      </a:lnTo>
                      <a:lnTo>
                        <a:pt x="1822" y="1408"/>
                      </a:lnTo>
                      <a:lnTo>
                        <a:pt x="1812" y="1398"/>
                      </a:lnTo>
                      <a:lnTo>
                        <a:pt x="1802" y="1388"/>
                      </a:lnTo>
                      <a:lnTo>
                        <a:pt x="1791" y="1388"/>
                      </a:lnTo>
                      <a:lnTo>
                        <a:pt x="1781" y="1388"/>
                      </a:lnTo>
                      <a:lnTo>
                        <a:pt x="1771" y="1388"/>
                      </a:lnTo>
                      <a:lnTo>
                        <a:pt x="1751" y="1398"/>
                      </a:lnTo>
                      <a:lnTo>
                        <a:pt x="1741" y="1398"/>
                      </a:lnTo>
                      <a:lnTo>
                        <a:pt x="1721" y="1398"/>
                      </a:lnTo>
                      <a:lnTo>
                        <a:pt x="1711" y="1388"/>
                      </a:lnTo>
                      <a:lnTo>
                        <a:pt x="1700" y="1378"/>
                      </a:lnTo>
                      <a:lnTo>
                        <a:pt x="1680" y="1368"/>
                      </a:lnTo>
                      <a:lnTo>
                        <a:pt x="1670" y="1378"/>
                      </a:lnTo>
                      <a:lnTo>
                        <a:pt x="1660" y="1368"/>
                      </a:lnTo>
                      <a:lnTo>
                        <a:pt x="1650" y="1368"/>
                      </a:lnTo>
                      <a:lnTo>
                        <a:pt x="1630" y="1368"/>
                      </a:lnTo>
                      <a:lnTo>
                        <a:pt x="1619" y="1368"/>
                      </a:lnTo>
                      <a:lnTo>
                        <a:pt x="1599" y="1378"/>
                      </a:lnTo>
                      <a:lnTo>
                        <a:pt x="1589" y="1368"/>
                      </a:lnTo>
                      <a:lnTo>
                        <a:pt x="1569" y="1368"/>
                      </a:lnTo>
                      <a:lnTo>
                        <a:pt x="1559" y="1368"/>
                      </a:lnTo>
                      <a:lnTo>
                        <a:pt x="1538" y="1358"/>
                      </a:lnTo>
                      <a:lnTo>
                        <a:pt x="1508" y="1358"/>
                      </a:lnTo>
                      <a:lnTo>
                        <a:pt x="1488" y="1368"/>
                      </a:lnTo>
                      <a:lnTo>
                        <a:pt x="1458" y="1368"/>
                      </a:lnTo>
                      <a:lnTo>
                        <a:pt x="1458" y="1358"/>
                      </a:lnTo>
                      <a:lnTo>
                        <a:pt x="1447" y="1358"/>
                      </a:lnTo>
                      <a:lnTo>
                        <a:pt x="1437" y="1358"/>
                      </a:lnTo>
                      <a:lnTo>
                        <a:pt x="1427" y="1347"/>
                      </a:lnTo>
                      <a:lnTo>
                        <a:pt x="1417" y="1347"/>
                      </a:lnTo>
                      <a:lnTo>
                        <a:pt x="1407" y="1358"/>
                      </a:lnTo>
                      <a:lnTo>
                        <a:pt x="1397" y="1368"/>
                      </a:lnTo>
                      <a:lnTo>
                        <a:pt x="1387" y="1368"/>
                      </a:lnTo>
                      <a:lnTo>
                        <a:pt x="1377" y="1358"/>
                      </a:lnTo>
                      <a:lnTo>
                        <a:pt x="1377" y="1347"/>
                      </a:lnTo>
                      <a:lnTo>
                        <a:pt x="1377" y="1337"/>
                      </a:lnTo>
                      <a:lnTo>
                        <a:pt x="1366" y="1337"/>
                      </a:lnTo>
                      <a:lnTo>
                        <a:pt x="1366" y="1327"/>
                      </a:lnTo>
                      <a:lnTo>
                        <a:pt x="1346" y="1327"/>
                      </a:lnTo>
                      <a:lnTo>
                        <a:pt x="1336" y="1317"/>
                      </a:lnTo>
                      <a:lnTo>
                        <a:pt x="1326" y="1317"/>
                      </a:lnTo>
                      <a:lnTo>
                        <a:pt x="1316" y="1317"/>
                      </a:lnTo>
                      <a:lnTo>
                        <a:pt x="1316" y="1307"/>
                      </a:lnTo>
                      <a:lnTo>
                        <a:pt x="1296" y="1297"/>
                      </a:lnTo>
                      <a:lnTo>
                        <a:pt x="1275" y="1287"/>
                      </a:lnTo>
                      <a:lnTo>
                        <a:pt x="1265" y="1277"/>
                      </a:lnTo>
                      <a:lnTo>
                        <a:pt x="1265" y="1266"/>
                      </a:lnTo>
                      <a:lnTo>
                        <a:pt x="1255" y="1256"/>
                      </a:lnTo>
                      <a:lnTo>
                        <a:pt x="1245" y="1246"/>
                      </a:lnTo>
                      <a:lnTo>
                        <a:pt x="1235" y="1236"/>
                      </a:lnTo>
                      <a:lnTo>
                        <a:pt x="1225" y="1226"/>
                      </a:lnTo>
                      <a:lnTo>
                        <a:pt x="1215" y="1216"/>
                      </a:lnTo>
                      <a:lnTo>
                        <a:pt x="1205" y="1206"/>
                      </a:lnTo>
                      <a:lnTo>
                        <a:pt x="1205" y="1195"/>
                      </a:lnTo>
                      <a:lnTo>
                        <a:pt x="1194" y="1185"/>
                      </a:lnTo>
                      <a:lnTo>
                        <a:pt x="1184" y="1165"/>
                      </a:lnTo>
                      <a:lnTo>
                        <a:pt x="1174" y="1155"/>
                      </a:lnTo>
                      <a:lnTo>
                        <a:pt x="1174" y="1135"/>
                      </a:lnTo>
                      <a:lnTo>
                        <a:pt x="1164" y="1125"/>
                      </a:lnTo>
                      <a:lnTo>
                        <a:pt x="1164" y="1114"/>
                      </a:lnTo>
                      <a:lnTo>
                        <a:pt x="1154" y="1114"/>
                      </a:lnTo>
                      <a:lnTo>
                        <a:pt x="1154" y="1104"/>
                      </a:lnTo>
                      <a:lnTo>
                        <a:pt x="1144" y="1094"/>
                      </a:lnTo>
                      <a:lnTo>
                        <a:pt x="1134" y="1054"/>
                      </a:lnTo>
                      <a:lnTo>
                        <a:pt x="1113" y="1023"/>
                      </a:lnTo>
                      <a:lnTo>
                        <a:pt x="1113" y="1013"/>
                      </a:lnTo>
                      <a:lnTo>
                        <a:pt x="1113" y="1003"/>
                      </a:lnTo>
                      <a:lnTo>
                        <a:pt x="1103" y="973"/>
                      </a:lnTo>
                      <a:lnTo>
                        <a:pt x="1103" y="952"/>
                      </a:lnTo>
                      <a:lnTo>
                        <a:pt x="1103" y="922"/>
                      </a:lnTo>
                      <a:lnTo>
                        <a:pt x="1103" y="871"/>
                      </a:lnTo>
                      <a:lnTo>
                        <a:pt x="1103" y="861"/>
                      </a:lnTo>
                      <a:lnTo>
                        <a:pt x="1093" y="851"/>
                      </a:lnTo>
                      <a:lnTo>
                        <a:pt x="1093" y="841"/>
                      </a:lnTo>
                      <a:lnTo>
                        <a:pt x="1093" y="831"/>
                      </a:lnTo>
                      <a:lnTo>
                        <a:pt x="1093" y="821"/>
                      </a:lnTo>
                      <a:lnTo>
                        <a:pt x="1103" y="821"/>
                      </a:lnTo>
                      <a:lnTo>
                        <a:pt x="1113" y="811"/>
                      </a:lnTo>
                      <a:lnTo>
                        <a:pt x="1124" y="790"/>
                      </a:lnTo>
                      <a:lnTo>
                        <a:pt x="1124" y="780"/>
                      </a:lnTo>
                      <a:lnTo>
                        <a:pt x="1134" y="770"/>
                      </a:lnTo>
                      <a:lnTo>
                        <a:pt x="1134" y="760"/>
                      </a:lnTo>
                      <a:lnTo>
                        <a:pt x="1134" y="750"/>
                      </a:lnTo>
                      <a:lnTo>
                        <a:pt x="1134" y="740"/>
                      </a:lnTo>
                      <a:lnTo>
                        <a:pt x="1124" y="740"/>
                      </a:lnTo>
                      <a:lnTo>
                        <a:pt x="1113" y="729"/>
                      </a:lnTo>
                      <a:lnTo>
                        <a:pt x="1124" y="729"/>
                      </a:lnTo>
                      <a:lnTo>
                        <a:pt x="1124" y="719"/>
                      </a:lnTo>
                      <a:lnTo>
                        <a:pt x="1134" y="709"/>
                      </a:lnTo>
                      <a:lnTo>
                        <a:pt x="1144" y="709"/>
                      </a:lnTo>
                      <a:lnTo>
                        <a:pt x="1154" y="699"/>
                      </a:lnTo>
                      <a:lnTo>
                        <a:pt x="1154" y="689"/>
                      </a:lnTo>
                      <a:lnTo>
                        <a:pt x="1154" y="679"/>
                      </a:lnTo>
                      <a:lnTo>
                        <a:pt x="1164" y="648"/>
                      </a:lnTo>
                      <a:lnTo>
                        <a:pt x="1164" y="638"/>
                      </a:lnTo>
                      <a:lnTo>
                        <a:pt x="1154" y="628"/>
                      </a:lnTo>
                      <a:lnTo>
                        <a:pt x="1154" y="608"/>
                      </a:lnTo>
                      <a:lnTo>
                        <a:pt x="1154" y="598"/>
                      </a:lnTo>
                      <a:lnTo>
                        <a:pt x="1144" y="588"/>
                      </a:lnTo>
                      <a:lnTo>
                        <a:pt x="1134" y="567"/>
                      </a:lnTo>
                      <a:lnTo>
                        <a:pt x="1124" y="557"/>
                      </a:lnTo>
                      <a:lnTo>
                        <a:pt x="1124" y="547"/>
                      </a:lnTo>
                      <a:lnTo>
                        <a:pt x="1103" y="517"/>
                      </a:lnTo>
                      <a:lnTo>
                        <a:pt x="1093" y="496"/>
                      </a:lnTo>
                      <a:lnTo>
                        <a:pt x="1093" y="486"/>
                      </a:lnTo>
                      <a:lnTo>
                        <a:pt x="1093" y="466"/>
                      </a:lnTo>
                      <a:lnTo>
                        <a:pt x="1093" y="446"/>
                      </a:lnTo>
                      <a:lnTo>
                        <a:pt x="1093" y="436"/>
                      </a:lnTo>
                      <a:lnTo>
                        <a:pt x="1093" y="426"/>
                      </a:lnTo>
                      <a:lnTo>
                        <a:pt x="1083" y="415"/>
                      </a:lnTo>
                      <a:lnTo>
                        <a:pt x="1073" y="395"/>
                      </a:lnTo>
                      <a:lnTo>
                        <a:pt x="1063" y="375"/>
                      </a:lnTo>
                      <a:lnTo>
                        <a:pt x="1063" y="355"/>
                      </a:lnTo>
                      <a:lnTo>
                        <a:pt x="1063" y="345"/>
                      </a:lnTo>
                      <a:lnTo>
                        <a:pt x="1063" y="334"/>
                      </a:lnTo>
                      <a:lnTo>
                        <a:pt x="1053" y="324"/>
                      </a:lnTo>
                      <a:lnTo>
                        <a:pt x="1043" y="324"/>
                      </a:lnTo>
                      <a:lnTo>
                        <a:pt x="1022" y="324"/>
                      </a:lnTo>
                      <a:lnTo>
                        <a:pt x="1012" y="324"/>
                      </a:lnTo>
                      <a:lnTo>
                        <a:pt x="1012" y="314"/>
                      </a:lnTo>
                      <a:lnTo>
                        <a:pt x="1002" y="294"/>
                      </a:lnTo>
                      <a:lnTo>
                        <a:pt x="1002" y="284"/>
                      </a:lnTo>
                      <a:lnTo>
                        <a:pt x="992" y="284"/>
                      </a:lnTo>
                      <a:lnTo>
                        <a:pt x="982" y="274"/>
                      </a:lnTo>
                      <a:lnTo>
                        <a:pt x="972" y="274"/>
                      </a:lnTo>
                      <a:lnTo>
                        <a:pt x="962" y="274"/>
                      </a:lnTo>
                      <a:lnTo>
                        <a:pt x="952" y="274"/>
                      </a:lnTo>
                      <a:lnTo>
                        <a:pt x="941" y="274"/>
                      </a:lnTo>
                      <a:lnTo>
                        <a:pt x="931" y="263"/>
                      </a:lnTo>
                      <a:lnTo>
                        <a:pt x="931" y="253"/>
                      </a:lnTo>
                      <a:lnTo>
                        <a:pt x="921" y="253"/>
                      </a:lnTo>
                      <a:lnTo>
                        <a:pt x="911" y="253"/>
                      </a:lnTo>
                      <a:lnTo>
                        <a:pt x="911" y="243"/>
                      </a:lnTo>
                      <a:lnTo>
                        <a:pt x="901" y="233"/>
                      </a:lnTo>
                      <a:lnTo>
                        <a:pt x="881" y="213"/>
                      </a:lnTo>
                      <a:lnTo>
                        <a:pt x="871" y="193"/>
                      </a:lnTo>
                      <a:lnTo>
                        <a:pt x="861" y="182"/>
                      </a:lnTo>
                      <a:lnTo>
                        <a:pt x="840" y="182"/>
                      </a:lnTo>
                      <a:lnTo>
                        <a:pt x="840" y="172"/>
                      </a:lnTo>
                      <a:lnTo>
                        <a:pt x="830" y="172"/>
                      </a:lnTo>
                      <a:lnTo>
                        <a:pt x="820" y="162"/>
                      </a:lnTo>
                      <a:lnTo>
                        <a:pt x="820" y="152"/>
                      </a:lnTo>
                      <a:lnTo>
                        <a:pt x="820" y="142"/>
                      </a:lnTo>
                      <a:lnTo>
                        <a:pt x="820" y="132"/>
                      </a:lnTo>
                      <a:lnTo>
                        <a:pt x="810" y="112"/>
                      </a:lnTo>
                      <a:lnTo>
                        <a:pt x="800" y="101"/>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701" name="Freeform 18">
                  <a:extLst>
                    <a:ext uri="{FF2B5EF4-FFF2-40B4-BE49-F238E27FC236}">
                      <a16:creationId xmlns:a16="http://schemas.microsoft.com/office/drawing/2014/main" id="{76ECA8DF-A325-489C-9F7C-B4F28D62AE81}"/>
                    </a:ext>
                  </a:extLst>
                </p:cNvPr>
                <p:cNvSpPr>
                  <a:spLocks noChangeAspect="1"/>
                </p:cNvSpPr>
                <p:nvPr/>
              </p:nvSpPr>
              <p:spPr bwMode="auto">
                <a:xfrm>
                  <a:off x="171449" y="2397132"/>
                  <a:ext cx="2065339" cy="3282959"/>
                </a:xfrm>
                <a:custGeom>
                  <a:avLst/>
                  <a:gdLst>
                    <a:gd name="T0" fmla="*/ 1690 w 1994"/>
                    <a:gd name="T1" fmla="*/ 1094 h 3171"/>
                    <a:gd name="T2" fmla="*/ 1721 w 1994"/>
                    <a:gd name="T3" fmla="*/ 962 h 3171"/>
                    <a:gd name="T4" fmla="*/ 1822 w 1994"/>
                    <a:gd name="T5" fmla="*/ 983 h 3171"/>
                    <a:gd name="T6" fmla="*/ 1903 w 1994"/>
                    <a:gd name="T7" fmla="*/ 993 h 3171"/>
                    <a:gd name="T8" fmla="*/ 1953 w 1994"/>
                    <a:gd name="T9" fmla="*/ 972 h 3171"/>
                    <a:gd name="T10" fmla="*/ 1953 w 1994"/>
                    <a:gd name="T11" fmla="*/ 891 h 3171"/>
                    <a:gd name="T12" fmla="*/ 1953 w 1994"/>
                    <a:gd name="T13" fmla="*/ 750 h 3171"/>
                    <a:gd name="T14" fmla="*/ 1933 w 1994"/>
                    <a:gd name="T15" fmla="*/ 648 h 3171"/>
                    <a:gd name="T16" fmla="*/ 1923 w 1994"/>
                    <a:gd name="T17" fmla="*/ 608 h 3171"/>
                    <a:gd name="T18" fmla="*/ 1771 w 1994"/>
                    <a:gd name="T19" fmla="*/ 588 h 3171"/>
                    <a:gd name="T20" fmla="*/ 1731 w 1994"/>
                    <a:gd name="T21" fmla="*/ 658 h 3171"/>
                    <a:gd name="T22" fmla="*/ 1589 w 1994"/>
                    <a:gd name="T23" fmla="*/ 709 h 3171"/>
                    <a:gd name="T24" fmla="*/ 1579 w 1994"/>
                    <a:gd name="T25" fmla="*/ 628 h 3171"/>
                    <a:gd name="T26" fmla="*/ 1468 w 1994"/>
                    <a:gd name="T27" fmla="*/ 679 h 3171"/>
                    <a:gd name="T28" fmla="*/ 1387 w 1994"/>
                    <a:gd name="T29" fmla="*/ 628 h 3171"/>
                    <a:gd name="T30" fmla="*/ 1437 w 1994"/>
                    <a:gd name="T31" fmla="*/ 598 h 3171"/>
                    <a:gd name="T32" fmla="*/ 1539 w 1994"/>
                    <a:gd name="T33" fmla="*/ 466 h 3171"/>
                    <a:gd name="T34" fmla="*/ 1437 w 1994"/>
                    <a:gd name="T35" fmla="*/ 446 h 3171"/>
                    <a:gd name="T36" fmla="*/ 1306 w 1994"/>
                    <a:gd name="T37" fmla="*/ 405 h 3171"/>
                    <a:gd name="T38" fmla="*/ 1235 w 1994"/>
                    <a:gd name="T39" fmla="*/ 314 h 3171"/>
                    <a:gd name="T40" fmla="*/ 1073 w 1994"/>
                    <a:gd name="T41" fmla="*/ 324 h 3171"/>
                    <a:gd name="T42" fmla="*/ 942 w 1994"/>
                    <a:gd name="T43" fmla="*/ 284 h 3171"/>
                    <a:gd name="T44" fmla="*/ 820 w 1994"/>
                    <a:gd name="T45" fmla="*/ 203 h 3171"/>
                    <a:gd name="T46" fmla="*/ 709 w 1994"/>
                    <a:gd name="T47" fmla="*/ 101 h 3171"/>
                    <a:gd name="T48" fmla="*/ 547 w 1994"/>
                    <a:gd name="T49" fmla="*/ 20 h 3171"/>
                    <a:gd name="T50" fmla="*/ 466 w 1994"/>
                    <a:gd name="T51" fmla="*/ 40 h 3171"/>
                    <a:gd name="T52" fmla="*/ 304 w 1994"/>
                    <a:gd name="T53" fmla="*/ 71 h 3171"/>
                    <a:gd name="T54" fmla="*/ 223 w 1994"/>
                    <a:gd name="T55" fmla="*/ 162 h 3171"/>
                    <a:gd name="T56" fmla="*/ 173 w 1994"/>
                    <a:gd name="T57" fmla="*/ 263 h 3171"/>
                    <a:gd name="T58" fmla="*/ 61 w 1994"/>
                    <a:gd name="T59" fmla="*/ 344 h 3171"/>
                    <a:gd name="T60" fmla="*/ 71 w 1994"/>
                    <a:gd name="T61" fmla="*/ 446 h 3171"/>
                    <a:gd name="T62" fmla="*/ 41 w 1994"/>
                    <a:gd name="T63" fmla="*/ 638 h 3171"/>
                    <a:gd name="T64" fmla="*/ 21 w 1994"/>
                    <a:gd name="T65" fmla="*/ 790 h 3171"/>
                    <a:gd name="T66" fmla="*/ 71 w 1994"/>
                    <a:gd name="T67" fmla="*/ 942 h 3171"/>
                    <a:gd name="T68" fmla="*/ 193 w 1994"/>
                    <a:gd name="T69" fmla="*/ 1145 h 3171"/>
                    <a:gd name="T70" fmla="*/ 193 w 1994"/>
                    <a:gd name="T71" fmla="*/ 1317 h 3171"/>
                    <a:gd name="T72" fmla="*/ 243 w 1994"/>
                    <a:gd name="T73" fmla="*/ 1479 h 3171"/>
                    <a:gd name="T74" fmla="*/ 243 w 1994"/>
                    <a:gd name="T75" fmla="*/ 1712 h 3171"/>
                    <a:gd name="T76" fmla="*/ 253 w 1994"/>
                    <a:gd name="T77" fmla="*/ 1975 h 3171"/>
                    <a:gd name="T78" fmla="*/ 294 w 1994"/>
                    <a:gd name="T79" fmla="*/ 2056 h 3171"/>
                    <a:gd name="T80" fmla="*/ 284 w 1994"/>
                    <a:gd name="T81" fmla="*/ 2218 h 3171"/>
                    <a:gd name="T82" fmla="*/ 385 w 1994"/>
                    <a:gd name="T83" fmla="*/ 2451 h 3171"/>
                    <a:gd name="T84" fmla="*/ 476 w 1994"/>
                    <a:gd name="T85" fmla="*/ 2695 h 3171"/>
                    <a:gd name="T86" fmla="*/ 658 w 1994"/>
                    <a:gd name="T87" fmla="*/ 2877 h 3171"/>
                    <a:gd name="T88" fmla="*/ 749 w 1994"/>
                    <a:gd name="T89" fmla="*/ 3130 h 3171"/>
                    <a:gd name="T90" fmla="*/ 850 w 1994"/>
                    <a:gd name="T91" fmla="*/ 3171 h 3171"/>
                    <a:gd name="T92" fmla="*/ 1012 w 1994"/>
                    <a:gd name="T93" fmla="*/ 3110 h 3171"/>
                    <a:gd name="T94" fmla="*/ 1134 w 1994"/>
                    <a:gd name="T95" fmla="*/ 3069 h 3171"/>
                    <a:gd name="T96" fmla="*/ 1245 w 1994"/>
                    <a:gd name="T97" fmla="*/ 3009 h 3171"/>
                    <a:gd name="T98" fmla="*/ 1397 w 1994"/>
                    <a:gd name="T99" fmla="*/ 2999 h 3171"/>
                    <a:gd name="T100" fmla="*/ 1478 w 1994"/>
                    <a:gd name="T101" fmla="*/ 2857 h 3171"/>
                    <a:gd name="T102" fmla="*/ 1599 w 1994"/>
                    <a:gd name="T103" fmla="*/ 2755 h 3171"/>
                    <a:gd name="T104" fmla="*/ 1711 w 1994"/>
                    <a:gd name="T105" fmla="*/ 2644 h 3171"/>
                    <a:gd name="T106" fmla="*/ 1862 w 1994"/>
                    <a:gd name="T107" fmla="*/ 2492 h 3171"/>
                    <a:gd name="T108" fmla="*/ 1903 w 1994"/>
                    <a:gd name="T109" fmla="*/ 2320 h 3171"/>
                    <a:gd name="T110" fmla="*/ 1872 w 1994"/>
                    <a:gd name="T111" fmla="*/ 2178 h 3171"/>
                    <a:gd name="T112" fmla="*/ 1872 w 1994"/>
                    <a:gd name="T113" fmla="*/ 1996 h 3171"/>
                    <a:gd name="T114" fmla="*/ 1832 w 1994"/>
                    <a:gd name="T115" fmla="*/ 1844 h 3171"/>
                    <a:gd name="T116" fmla="*/ 1872 w 1994"/>
                    <a:gd name="T117" fmla="*/ 1742 h 3171"/>
                    <a:gd name="T118" fmla="*/ 1771 w 1994"/>
                    <a:gd name="T119" fmla="*/ 1641 h 3171"/>
                    <a:gd name="T120" fmla="*/ 1711 w 1994"/>
                    <a:gd name="T121" fmla="*/ 1509 h 3171"/>
                    <a:gd name="T122" fmla="*/ 1670 w 1994"/>
                    <a:gd name="T123" fmla="*/ 1368 h 3171"/>
                    <a:gd name="T124" fmla="*/ 1711 w 1994"/>
                    <a:gd name="T125" fmla="*/ 1205 h 3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94" h="3171">
                      <a:moveTo>
                        <a:pt x="1721" y="1195"/>
                      </a:moveTo>
                      <a:lnTo>
                        <a:pt x="1721" y="1185"/>
                      </a:lnTo>
                      <a:lnTo>
                        <a:pt x="1711" y="1175"/>
                      </a:lnTo>
                      <a:lnTo>
                        <a:pt x="1700" y="1175"/>
                      </a:lnTo>
                      <a:lnTo>
                        <a:pt x="1690" y="1165"/>
                      </a:lnTo>
                      <a:lnTo>
                        <a:pt x="1700" y="1165"/>
                      </a:lnTo>
                      <a:lnTo>
                        <a:pt x="1700" y="1155"/>
                      </a:lnTo>
                      <a:lnTo>
                        <a:pt x="1700" y="1145"/>
                      </a:lnTo>
                      <a:lnTo>
                        <a:pt x="1711" y="1145"/>
                      </a:lnTo>
                      <a:lnTo>
                        <a:pt x="1711" y="1135"/>
                      </a:lnTo>
                      <a:lnTo>
                        <a:pt x="1700" y="1135"/>
                      </a:lnTo>
                      <a:lnTo>
                        <a:pt x="1690" y="1114"/>
                      </a:lnTo>
                      <a:lnTo>
                        <a:pt x="1690" y="1104"/>
                      </a:lnTo>
                      <a:lnTo>
                        <a:pt x="1690" y="1094"/>
                      </a:lnTo>
                      <a:lnTo>
                        <a:pt x="1680" y="1084"/>
                      </a:lnTo>
                      <a:lnTo>
                        <a:pt x="1680" y="1074"/>
                      </a:lnTo>
                      <a:lnTo>
                        <a:pt x="1680" y="1064"/>
                      </a:lnTo>
                      <a:lnTo>
                        <a:pt x="1690" y="1054"/>
                      </a:lnTo>
                      <a:lnTo>
                        <a:pt x="1690" y="1043"/>
                      </a:lnTo>
                      <a:lnTo>
                        <a:pt x="1690" y="1033"/>
                      </a:lnTo>
                      <a:lnTo>
                        <a:pt x="1700" y="1023"/>
                      </a:lnTo>
                      <a:lnTo>
                        <a:pt x="1700" y="1013"/>
                      </a:lnTo>
                      <a:lnTo>
                        <a:pt x="1711" y="1003"/>
                      </a:lnTo>
                      <a:lnTo>
                        <a:pt x="1711" y="993"/>
                      </a:lnTo>
                      <a:lnTo>
                        <a:pt x="1711" y="983"/>
                      </a:lnTo>
                      <a:lnTo>
                        <a:pt x="1711" y="962"/>
                      </a:lnTo>
                      <a:lnTo>
                        <a:pt x="1721" y="962"/>
                      </a:lnTo>
                      <a:lnTo>
                        <a:pt x="1721" y="952"/>
                      </a:lnTo>
                      <a:lnTo>
                        <a:pt x="1731" y="952"/>
                      </a:lnTo>
                      <a:lnTo>
                        <a:pt x="1731" y="962"/>
                      </a:lnTo>
                      <a:lnTo>
                        <a:pt x="1741" y="972"/>
                      </a:lnTo>
                      <a:lnTo>
                        <a:pt x="1751" y="983"/>
                      </a:lnTo>
                      <a:lnTo>
                        <a:pt x="1761" y="983"/>
                      </a:lnTo>
                      <a:lnTo>
                        <a:pt x="1771" y="972"/>
                      </a:lnTo>
                      <a:lnTo>
                        <a:pt x="1781" y="972"/>
                      </a:lnTo>
                      <a:lnTo>
                        <a:pt x="1802" y="962"/>
                      </a:lnTo>
                      <a:lnTo>
                        <a:pt x="1812" y="962"/>
                      </a:lnTo>
                      <a:lnTo>
                        <a:pt x="1822" y="972"/>
                      </a:lnTo>
                      <a:lnTo>
                        <a:pt x="1822" y="983"/>
                      </a:lnTo>
                      <a:lnTo>
                        <a:pt x="1822" y="993"/>
                      </a:lnTo>
                      <a:lnTo>
                        <a:pt x="1832" y="1003"/>
                      </a:lnTo>
                      <a:lnTo>
                        <a:pt x="1842" y="1003"/>
                      </a:lnTo>
                      <a:lnTo>
                        <a:pt x="1842" y="993"/>
                      </a:lnTo>
                      <a:lnTo>
                        <a:pt x="1852" y="993"/>
                      </a:lnTo>
                      <a:lnTo>
                        <a:pt x="1852" y="983"/>
                      </a:lnTo>
                      <a:lnTo>
                        <a:pt x="1862" y="972"/>
                      </a:lnTo>
                      <a:lnTo>
                        <a:pt x="1872" y="972"/>
                      </a:lnTo>
                      <a:lnTo>
                        <a:pt x="1883" y="983"/>
                      </a:lnTo>
                      <a:lnTo>
                        <a:pt x="1893" y="983"/>
                      </a:lnTo>
                      <a:lnTo>
                        <a:pt x="1903" y="993"/>
                      </a:lnTo>
                      <a:lnTo>
                        <a:pt x="1913" y="993"/>
                      </a:lnTo>
                      <a:lnTo>
                        <a:pt x="1923" y="1003"/>
                      </a:lnTo>
                      <a:lnTo>
                        <a:pt x="1943" y="1003"/>
                      </a:lnTo>
                      <a:lnTo>
                        <a:pt x="1964" y="1003"/>
                      </a:lnTo>
                      <a:lnTo>
                        <a:pt x="1974" y="1003"/>
                      </a:lnTo>
                      <a:lnTo>
                        <a:pt x="1984" y="1013"/>
                      </a:lnTo>
                      <a:lnTo>
                        <a:pt x="1984" y="1003"/>
                      </a:lnTo>
                      <a:lnTo>
                        <a:pt x="1994" y="993"/>
                      </a:lnTo>
                      <a:lnTo>
                        <a:pt x="1984" y="993"/>
                      </a:lnTo>
                      <a:lnTo>
                        <a:pt x="1984" y="983"/>
                      </a:lnTo>
                      <a:lnTo>
                        <a:pt x="1974" y="983"/>
                      </a:lnTo>
                      <a:lnTo>
                        <a:pt x="1964" y="983"/>
                      </a:lnTo>
                      <a:lnTo>
                        <a:pt x="1953" y="972"/>
                      </a:lnTo>
                      <a:lnTo>
                        <a:pt x="1943" y="962"/>
                      </a:lnTo>
                      <a:lnTo>
                        <a:pt x="1943" y="952"/>
                      </a:lnTo>
                      <a:lnTo>
                        <a:pt x="1953" y="942"/>
                      </a:lnTo>
                      <a:lnTo>
                        <a:pt x="1953" y="932"/>
                      </a:lnTo>
                      <a:lnTo>
                        <a:pt x="1953" y="922"/>
                      </a:lnTo>
                      <a:lnTo>
                        <a:pt x="1964" y="912"/>
                      </a:lnTo>
                      <a:lnTo>
                        <a:pt x="1964" y="902"/>
                      </a:lnTo>
                      <a:lnTo>
                        <a:pt x="1953" y="891"/>
                      </a:lnTo>
                      <a:lnTo>
                        <a:pt x="1943" y="891"/>
                      </a:lnTo>
                      <a:lnTo>
                        <a:pt x="1933" y="881"/>
                      </a:lnTo>
                      <a:lnTo>
                        <a:pt x="1923" y="871"/>
                      </a:lnTo>
                      <a:lnTo>
                        <a:pt x="1923" y="861"/>
                      </a:lnTo>
                      <a:lnTo>
                        <a:pt x="1923" y="851"/>
                      </a:lnTo>
                      <a:lnTo>
                        <a:pt x="1933" y="851"/>
                      </a:lnTo>
                      <a:lnTo>
                        <a:pt x="1943" y="831"/>
                      </a:lnTo>
                      <a:lnTo>
                        <a:pt x="1953" y="821"/>
                      </a:lnTo>
                      <a:lnTo>
                        <a:pt x="1964" y="810"/>
                      </a:lnTo>
                      <a:lnTo>
                        <a:pt x="1964" y="800"/>
                      </a:lnTo>
                      <a:lnTo>
                        <a:pt x="1953" y="780"/>
                      </a:lnTo>
                      <a:lnTo>
                        <a:pt x="1953" y="770"/>
                      </a:lnTo>
                      <a:lnTo>
                        <a:pt x="1953" y="760"/>
                      </a:lnTo>
                      <a:lnTo>
                        <a:pt x="1953" y="750"/>
                      </a:lnTo>
                      <a:lnTo>
                        <a:pt x="1953" y="739"/>
                      </a:lnTo>
                      <a:lnTo>
                        <a:pt x="1953" y="729"/>
                      </a:lnTo>
                      <a:lnTo>
                        <a:pt x="1964" y="719"/>
                      </a:lnTo>
                      <a:lnTo>
                        <a:pt x="1964" y="709"/>
                      </a:lnTo>
                      <a:lnTo>
                        <a:pt x="1964" y="699"/>
                      </a:lnTo>
                      <a:lnTo>
                        <a:pt x="1964" y="689"/>
                      </a:lnTo>
                      <a:lnTo>
                        <a:pt x="1964" y="679"/>
                      </a:lnTo>
                      <a:lnTo>
                        <a:pt x="1953" y="669"/>
                      </a:lnTo>
                      <a:lnTo>
                        <a:pt x="1953" y="658"/>
                      </a:lnTo>
                      <a:lnTo>
                        <a:pt x="1953" y="648"/>
                      </a:lnTo>
                      <a:lnTo>
                        <a:pt x="1943" y="638"/>
                      </a:lnTo>
                      <a:lnTo>
                        <a:pt x="1933" y="648"/>
                      </a:lnTo>
                      <a:lnTo>
                        <a:pt x="1933" y="658"/>
                      </a:lnTo>
                      <a:lnTo>
                        <a:pt x="1933" y="669"/>
                      </a:lnTo>
                      <a:lnTo>
                        <a:pt x="1923" y="669"/>
                      </a:lnTo>
                      <a:lnTo>
                        <a:pt x="1913" y="669"/>
                      </a:lnTo>
                      <a:lnTo>
                        <a:pt x="1903" y="669"/>
                      </a:lnTo>
                      <a:lnTo>
                        <a:pt x="1893" y="658"/>
                      </a:lnTo>
                      <a:lnTo>
                        <a:pt x="1893" y="648"/>
                      </a:lnTo>
                      <a:lnTo>
                        <a:pt x="1893" y="638"/>
                      </a:lnTo>
                      <a:lnTo>
                        <a:pt x="1893" y="628"/>
                      </a:lnTo>
                      <a:lnTo>
                        <a:pt x="1913" y="618"/>
                      </a:lnTo>
                      <a:lnTo>
                        <a:pt x="1923" y="618"/>
                      </a:lnTo>
                      <a:lnTo>
                        <a:pt x="1923" y="608"/>
                      </a:lnTo>
                      <a:lnTo>
                        <a:pt x="1923" y="598"/>
                      </a:lnTo>
                      <a:lnTo>
                        <a:pt x="1913" y="588"/>
                      </a:lnTo>
                      <a:lnTo>
                        <a:pt x="1893" y="577"/>
                      </a:lnTo>
                      <a:lnTo>
                        <a:pt x="1883" y="577"/>
                      </a:lnTo>
                      <a:lnTo>
                        <a:pt x="1872" y="567"/>
                      </a:lnTo>
                      <a:lnTo>
                        <a:pt x="1862" y="577"/>
                      </a:lnTo>
                      <a:lnTo>
                        <a:pt x="1842" y="588"/>
                      </a:lnTo>
                      <a:lnTo>
                        <a:pt x="1822" y="598"/>
                      </a:lnTo>
                      <a:lnTo>
                        <a:pt x="1802" y="608"/>
                      </a:lnTo>
                      <a:lnTo>
                        <a:pt x="1792" y="608"/>
                      </a:lnTo>
                      <a:lnTo>
                        <a:pt x="1781" y="608"/>
                      </a:lnTo>
                      <a:lnTo>
                        <a:pt x="1771" y="608"/>
                      </a:lnTo>
                      <a:lnTo>
                        <a:pt x="1771" y="598"/>
                      </a:lnTo>
                      <a:lnTo>
                        <a:pt x="1771" y="588"/>
                      </a:lnTo>
                      <a:lnTo>
                        <a:pt x="1771" y="577"/>
                      </a:lnTo>
                      <a:lnTo>
                        <a:pt x="1761" y="577"/>
                      </a:lnTo>
                      <a:lnTo>
                        <a:pt x="1751" y="577"/>
                      </a:lnTo>
                      <a:lnTo>
                        <a:pt x="1741" y="588"/>
                      </a:lnTo>
                      <a:lnTo>
                        <a:pt x="1731" y="588"/>
                      </a:lnTo>
                      <a:lnTo>
                        <a:pt x="1721" y="588"/>
                      </a:lnTo>
                      <a:lnTo>
                        <a:pt x="1721" y="598"/>
                      </a:lnTo>
                      <a:lnTo>
                        <a:pt x="1721" y="608"/>
                      </a:lnTo>
                      <a:lnTo>
                        <a:pt x="1721" y="618"/>
                      </a:lnTo>
                      <a:lnTo>
                        <a:pt x="1731" y="618"/>
                      </a:lnTo>
                      <a:lnTo>
                        <a:pt x="1731" y="628"/>
                      </a:lnTo>
                      <a:lnTo>
                        <a:pt x="1731" y="648"/>
                      </a:lnTo>
                      <a:lnTo>
                        <a:pt x="1731" y="658"/>
                      </a:lnTo>
                      <a:lnTo>
                        <a:pt x="1731" y="669"/>
                      </a:lnTo>
                      <a:lnTo>
                        <a:pt x="1731" y="679"/>
                      </a:lnTo>
                      <a:lnTo>
                        <a:pt x="1721" y="679"/>
                      </a:lnTo>
                      <a:lnTo>
                        <a:pt x="1711" y="689"/>
                      </a:lnTo>
                      <a:lnTo>
                        <a:pt x="1700" y="699"/>
                      </a:lnTo>
                      <a:lnTo>
                        <a:pt x="1690" y="699"/>
                      </a:lnTo>
                      <a:lnTo>
                        <a:pt x="1680" y="699"/>
                      </a:lnTo>
                      <a:lnTo>
                        <a:pt x="1670" y="699"/>
                      </a:lnTo>
                      <a:lnTo>
                        <a:pt x="1660" y="699"/>
                      </a:lnTo>
                      <a:lnTo>
                        <a:pt x="1650" y="699"/>
                      </a:lnTo>
                      <a:lnTo>
                        <a:pt x="1630" y="719"/>
                      </a:lnTo>
                      <a:lnTo>
                        <a:pt x="1609" y="719"/>
                      </a:lnTo>
                      <a:lnTo>
                        <a:pt x="1599" y="719"/>
                      </a:lnTo>
                      <a:lnTo>
                        <a:pt x="1589" y="709"/>
                      </a:lnTo>
                      <a:lnTo>
                        <a:pt x="1589" y="699"/>
                      </a:lnTo>
                      <a:lnTo>
                        <a:pt x="1599" y="689"/>
                      </a:lnTo>
                      <a:lnTo>
                        <a:pt x="1599" y="669"/>
                      </a:lnTo>
                      <a:lnTo>
                        <a:pt x="1609" y="658"/>
                      </a:lnTo>
                      <a:lnTo>
                        <a:pt x="1609" y="638"/>
                      </a:lnTo>
                      <a:lnTo>
                        <a:pt x="1609" y="618"/>
                      </a:lnTo>
                      <a:lnTo>
                        <a:pt x="1609" y="608"/>
                      </a:lnTo>
                      <a:lnTo>
                        <a:pt x="1599" y="608"/>
                      </a:lnTo>
                      <a:lnTo>
                        <a:pt x="1589" y="618"/>
                      </a:lnTo>
                      <a:lnTo>
                        <a:pt x="1579" y="628"/>
                      </a:lnTo>
                      <a:lnTo>
                        <a:pt x="1569" y="638"/>
                      </a:lnTo>
                      <a:lnTo>
                        <a:pt x="1549" y="669"/>
                      </a:lnTo>
                      <a:lnTo>
                        <a:pt x="1549" y="679"/>
                      </a:lnTo>
                      <a:lnTo>
                        <a:pt x="1539" y="689"/>
                      </a:lnTo>
                      <a:lnTo>
                        <a:pt x="1539" y="699"/>
                      </a:lnTo>
                      <a:lnTo>
                        <a:pt x="1528" y="709"/>
                      </a:lnTo>
                      <a:lnTo>
                        <a:pt x="1518" y="719"/>
                      </a:lnTo>
                      <a:lnTo>
                        <a:pt x="1508" y="719"/>
                      </a:lnTo>
                      <a:lnTo>
                        <a:pt x="1498" y="719"/>
                      </a:lnTo>
                      <a:lnTo>
                        <a:pt x="1488" y="719"/>
                      </a:lnTo>
                      <a:lnTo>
                        <a:pt x="1488" y="709"/>
                      </a:lnTo>
                      <a:lnTo>
                        <a:pt x="1478" y="699"/>
                      </a:lnTo>
                      <a:lnTo>
                        <a:pt x="1468" y="689"/>
                      </a:lnTo>
                      <a:lnTo>
                        <a:pt x="1468" y="679"/>
                      </a:lnTo>
                      <a:lnTo>
                        <a:pt x="1458" y="658"/>
                      </a:lnTo>
                      <a:lnTo>
                        <a:pt x="1458" y="648"/>
                      </a:lnTo>
                      <a:lnTo>
                        <a:pt x="1447" y="648"/>
                      </a:lnTo>
                      <a:lnTo>
                        <a:pt x="1437" y="648"/>
                      </a:lnTo>
                      <a:lnTo>
                        <a:pt x="1417" y="648"/>
                      </a:lnTo>
                      <a:lnTo>
                        <a:pt x="1407" y="658"/>
                      </a:lnTo>
                      <a:lnTo>
                        <a:pt x="1397" y="658"/>
                      </a:lnTo>
                      <a:lnTo>
                        <a:pt x="1387" y="658"/>
                      </a:lnTo>
                      <a:lnTo>
                        <a:pt x="1377" y="658"/>
                      </a:lnTo>
                      <a:lnTo>
                        <a:pt x="1377" y="648"/>
                      </a:lnTo>
                      <a:lnTo>
                        <a:pt x="1377" y="638"/>
                      </a:lnTo>
                      <a:lnTo>
                        <a:pt x="1387" y="628"/>
                      </a:lnTo>
                      <a:lnTo>
                        <a:pt x="1387" y="618"/>
                      </a:lnTo>
                      <a:lnTo>
                        <a:pt x="1387" y="608"/>
                      </a:lnTo>
                      <a:lnTo>
                        <a:pt x="1387" y="598"/>
                      </a:lnTo>
                      <a:lnTo>
                        <a:pt x="1397" y="588"/>
                      </a:lnTo>
                      <a:lnTo>
                        <a:pt x="1397" y="577"/>
                      </a:lnTo>
                      <a:lnTo>
                        <a:pt x="1407" y="567"/>
                      </a:lnTo>
                      <a:lnTo>
                        <a:pt x="1417" y="557"/>
                      </a:lnTo>
                      <a:lnTo>
                        <a:pt x="1427" y="547"/>
                      </a:lnTo>
                      <a:lnTo>
                        <a:pt x="1427" y="557"/>
                      </a:lnTo>
                      <a:lnTo>
                        <a:pt x="1437" y="557"/>
                      </a:lnTo>
                      <a:lnTo>
                        <a:pt x="1437" y="577"/>
                      </a:lnTo>
                      <a:lnTo>
                        <a:pt x="1437" y="598"/>
                      </a:lnTo>
                      <a:lnTo>
                        <a:pt x="1437" y="608"/>
                      </a:lnTo>
                      <a:lnTo>
                        <a:pt x="1447" y="608"/>
                      </a:lnTo>
                      <a:lnTo>
                        <a:pt x="1458" y="598"/>
                      </a:lnTo>
                      <a:lnTo>
                        <a:pt x="1468" y="588"/>
                      </a:lnTo>
                      <a:lnTo>
                        <a:pt x="1478" y="567"/>
                      </a:lnTo>
                      <a:lnTo>
                        <a:pt x="1488" y="557"/>
                      </a:lnTo>
                      <a:lnTo>
                        <a:pt x="1498" y="547"/>
                      </a:lnTo>
                      <a:lnTo>
                        <a:pt x="1508" y="537"/>
                      </a:lnTo>
                      <a:lnTo>
                        <a:pt x="1508" y="527"/>
                      </a:lnTo>
                      <a:lnTo>
                        <a:pt x="1518" y="506"/>
                      </a:lnTo>
                      <a:lnTo>
                        <a:pt x="1528" y="496"/>
                      </a:lnTo>
                      <a:lnTo>
                        <a:pt x="1539" y="486"/>
                      </a:lnTo>
                      <a:lnTo>
                        <a:pt x="1539" y="476"/>
                      </a:lnTo>
                      <a:lnTo>
                        <a:pt x="1539" y="466"/>
                      </a:lnTo>
                      <a:lnTo>
                        <a:pt x="1549" y="456"/>
                      </a:lnTo>
                      <a:lnTo>
                        <a:pt x="1559" y="456"/>
                      </a:lnTo>
                      <a:lnTo>
                        <a:pt x="1559" y="446"/>
                      </a:lnTo>
                      <a:lnTo>
                        <a:pt x="1569" y="446"/>
                      </a:lnTo>
                      <a:lnTo>
                        <a:pt x="1559" y="436"/>
                      </a:lnTo>
                      <a:lnTo>
                        <a:pt x="1559" y="425"/>
                      </a:lnTo>
                      <a:lnTo>
                        <a:pt x="1559" y="415"/>
                      </a:lnTo>
                      <a:lnTo>
                        <a:pt x="1549" y="415"/>
                      </a:lnTo>
                      <a:lnTo>
                        <a:pt x="1539" y="415"/>
                      </a:lnTo>
                      <a:lnTo>
                        <a:pt x="1518" y="425"/>
                      </a:lnTo>
                      <a:lnTo>
                        <a:pt x="1498" y="425"/>
                      </a:lnTo>
                      <a:lnTo>
                        <a:pt x="1478" y="425"/>
                      </a:lnTo>
                      <a:lnTo>
                        <a:pt x="1468" y="425"/>
                      </a:lnTo>
                      <a:lnTo>
                        <a:pt x="1458" y="436"/>
                      </a:lnTo>
                      <a:lnTo>
                        <a:pt x="1437" y="446"/>
                      </a:lnTo>
                      <a:lnTo>
                        <a:pt x="1417" y="456"/>
                      </a:lnTo>
                      <a:lnTo>
                        <a:pt x="1407" y="456"/>
                      </a:lnTo>
                      <a:lnTo>
                        <a:pt x="1397" y="456"/>
                      </a:lnTo>
                      <a:lnTo>
                        <a:pt x="1377" y="446"/>
                      </a:lnTo>
                      <a:lnTo>
                        <a:pt x="1377" y="436"/>
                      </a:lnTo>
                      <a:lnTo>
                        <a:pt x="1367" y="436"/>
                      </a:lnTo>
                      <a:lnTo>
                        <a:pt x="1346" y="436"/>
                      </a:lnTo>
                      <a:lnTo>
                        <a:pt x="1336" y="436"/>
                      </a:lnTo>
                      <a:lnTo>
                        <a:pt x="1326" y="425"/>
                      </a:lnTo>
                      <a:lnTo>
                        <a:pt x="1326" y="415"/>
                      </a:lnTo>
                      <a:lnTo>
                        <a:pt x="1316" y="405"/>
                      </a:lnTo>
                      <a:lnTo>
                        <a:pt x="1306" y="405"/>
                      </a:lnTo>
                      <a:lnTo>
                        <a:pt x="1296" y="405"/>
                      </a:lnTo>
                      <a:lnTo>
                        <a:pt x="1286" y="405"/>
                      </a:lnTo>
                      <a:lnTo>
                        <a:pt x="1275" y="395"/>
                      </a:lnTo>
                      <a:lnTo>
                        <a:pt x="1265" y="395"/>
                      </a:lnTo>
                      <a:lnTo>
                        <a:pt x="1245" y="385"/>
                      </a:lnTo>
                      <a:lnTo>
                        <a:pt x="1245" y="375"/>
                      </a:lnTo>
                      <a:lnTo>
                        <a:pt x="1255" y="365"/>
                      </a:lnTo>
                      <a:lnTo>
                        <a:pt x="1265" y="344"/>
                      </a:lnTo>
                      <a:lnTo>
                        <a:pt x="1255" y="334"/>
                      </a:lnTo>
                      <a:lnTo>
                        <a:pt x="1255" y="324"/>
                      </a:lnTo>
                      <a:lnTo>
                        <a:pt x="1245" y="324"/>
                      </a:lnTo>
                      <a:lnTo>
                        <a:pt x="1235" y="314"/>
                      </a:lnTo>
                      <a:lnTo>
                        <a:pt x="1225" y="304"/>
                      </a:lnTo>
                      <a:lnTo>
                        <a:pt x="1205" y="304"/>
                      </a:lnTo>
                      <a:lnTo>
                        <a:pt x="1195" y="304"/>
                      </a:lnTo>
                      <a:lnTo>
                        <a:pt x="1184" y="304"/>
                      </a:lnTo>
                      <a:lnTo>
                        <a:pt x="1174" y="304"/>
                      </a:lnTo>
                      <a:lnTo>
                        <a:pt x="1164" y="314"/>
                      </a:lnTo>
                      <a:lnTo>
                        <a:pt x="1144" y="314"/>
                      </a:lnTo>
                      <a:lnTo>
                        <a:pt x="1124" y="314"/>
                      </a:lnTo>
                      <a:lnTo>
                        <a:pt x="1114" y="304"/>
                      </a:lnTo>
                      <a:lnTo>
                        <a:pt x="1103" y="304"/>
                      </a:lnTo>
                      <a:lnTo>
                        <a:pt x="1093" y="304"/>
                      </a:lnTo>
                      <a:lnTo>
                        <a:pt x="1093" y="314"/>
                      </a:lnTo>
                      <a:lnTo>
                        <a:pt x="1083" y="314"/>
                      </a:lnTo>
                      <a:lnTo>
                        <a:pt x="1083" y="324"/>
                      </a:lnTo>
                      <a:lnTo>
                        <a:pt x="1073" y="324"/>
                      </a:lnTo>
                      <a:lnTo>
                        <a:pt x="1053" y="334"/>
                      </a:lnTo>
                      <a:lnTo>
                        <a:pt x="1043" y="324"/>
                      </a:lnTo>
                      <a:lnTo>
                        <a:pt x="1033" y="324"/>
                      </a:lnTo>
                      <a:lnTo>
                        <a:pt x="1033" y="314"/>
                      </a:lnTo>
                      <a:lnTo>
                        <a:pt x="1033" y="304"/>
                      </a:lnTo>
                      <a:lnTo>
                        <a:pt x="1033" y="284"/>
                      </a:lnTo>
                      <a:lnTo>
                        <a:pt x="1022" y="273"/>
                      </a:lnTo>
                      <a:lnTo>
                        <a:pt x="1012" y="263"/>
                      </a:lnTo>
                      <a:lnTo>
                        <a:pt x="982" y="263"/>
                      </a:lnTo>
                      <a:lnTo>
                        <a:pt x="972" y="273"/>
                      </a:lnTo>
                      <a:lnTo>
                        <a:pt x="952" y="273"/>
                      </a:lnTo>
                      <a:lnTo>
                        <a:pt x="942" y="284"/>
                      </a:lnTo>
                      <a:lnTo>
                        <a:pt x="931" y="284"/>
                      </a:lnTo>
                      <a:lnTo>
                        <a:pt x="931" y="273"/>
                      </a:lnTo>
                      <a:lnTo>
                        <a:pt x="921" y="263"/>
                      </a:lnTo>
                      <a:lnTo>
                        <a:pt x="911" y="243"/>
                      </a:lnTo>
                      <a:lnTo>
                        <a:pt x="901" y="233"/>
                      </a:lnTo>
                      <a:lnTo>
                        <a:pt x="891" y="233"/>
                      </a:lnTo>
                      <a:lnTo>
                        <a:pt x="871" y="233"/>
                      </a:lnTo>
                      <a:lnTo>
                        <a:pt x="861" y="233"/>
                      </a:lnTo>
                      <a:lnTo>
                        <a:pt x="850" y="223"/>
                      </a:lnTo>
                      <a:lnTo>
                        <a:pt x="840" y="223"/>
                      </a:lnTo>
                      <a:lnTo>
                        <a:pt x="830" y="213"/>
                      </a:lnTo>
                      <a:lnTo>
                        <a:pt x="820" y="203"/>
                      </a:lnTo>
                      <a:lnTo>
                        <a:pt x="800" y="192"/>
                      </a:lnTo>
                      <a:lnTo>
                        <a:pt x="780" y="182"/>
                      </a:lnTo>
                      <a:lnTo>
                        <a:pt x="770" y="182"/>
                      </a:lnTo>
                      <a:lnTo>
                        <a:pt x="749" y="182"/>
                      </a:lnTo>
                      <a:lnTo>
                        <a:pt x="739" y="172"/>
                      </a:lnTo>
                      <a:lnTo>
                        <a:pt x="729" y="172"/>
                      </a:lnTo>
                      <a:lnTo>
                        <a:pt x="719" y="172"/>
                      </a:lnTo>
                      <a:lnTo>
                        <a:pt x="709" y="162"/>
                      </a:lnTo>
                      <a:lnTo>
                        <a:pt x="699" y="162"/>
                      </a:lnTo>
                      <a:lnTo>
                        <a:pt x="699" y="152"/>
                      </a:lnTo>
                      <a:lnTo>
                        <a:pt x="699" y="142"/>
                      </a:lnTo>
                      <a:lnTo>
                        <a:pt x="709" y="122"/>
                      </a:lnTo>
                      <a:lnTo>
                        <a:pt x="709" y="111"/>
                      </a:lnTo>
                      <a:lnTo>
                        <a:pt x="709" y="101"/>
                      </a:lnTo>
                      <a:lnTo>
                        <a:pt x="699" y="91"/>
                      </a:lnTo>
                      <a:lnTo>
                        <a:pt x="689" y="81"/>
                      </a:lnTo>
                      <a:lnTo>
                        <a:pt x="668" y="71"/>
                      </a:lnTo>
                      <a:lnTo>
                        <a:pt x="658" y="61"/>
                      </a:lnTo>
                      <a:lnTo>
                        <a:pt x="648" y="51"/>
                      </a:lnTo>
                      <a:lnTo>
                        <a:pt x="638" y="40"/>
                      </a:lnTo>
                      <a:lnTo>
                        <a:pt x="628" y="30"/>
                      </a:lnTo>
                      <a:lnTo>
                        <a:pt x="618" y="30"/>
                      </a:lnTo>
                      <a:lnTo>
                        <a:pt x="598" y="30"/>
                      </a:lnTo>
                      <a:lnTo>
                        <a:pt x="587" y="30"/>
                      </a:lnTo>
                      <a:lnTo>
                        <a:pt x="567" y="20"/>
                      </a:lnTo>
                      <a:lnTo>
                        <a:pt x="557" y="20"/>
                      </a:lnTo>
                      <a:lnTo>
                        <a:pt x="547" y="20"/>
                      </a:lnTo>
                      <a:lnTo>
                        <a:pt x="537" y="20"/>
                      </a:lnTo>
                      <a:lnTo>
                        <a:pt x="537" y="10"/>
                      </a:lnTo>
                      <a:lnTo>
                        <a:pt x="527" y="10"/>
                      </a:lnTo>
                      <a:lnTo>
                        <a:pt x="517" y="10"/>
                      </a:lnTo>
                      <a:lnTo>
                        <a:pt x="506" y="0"/>
                      </a:lnTo>
                      <a:lnTo>
                        <a:pt x="496" y="0"/>
                      </a:lnTo>
                      <a:lnTo>
                        <a:pt x="486" y="0"/>
                      </a:lnTo>
                      <a:lnTo>
                        <a:pt x="476" y="10"/>
                      </a:lnTo>
                      <a:lnTo>
                        <a:pt x="476" y="20"/>
                      </a:lnTo>
                      <a:lnTo>
                        <a:pt x="466" y="40"/>
                      </a:lnTo>
                      <a:lnTo>
                        <a:pt x="456" y="51"/>
                      </a:lnTo>
                      <a:lnTo>
                        <a:pt x="436" y="61"/>
                      </a:lnTo>
                      <a:lnTo>
                        <a:pt x="415" y="61"/>
                      </a:lnTo>
                      <a:lnTo>
                        <a:pt x="405" y="61"/>
                      </a:lnTo>
                      <a:lnTo>
                        <a:pt x="405" y="51"/>
                      </a:lnTo>
                      <a:lnTo>
                        <a:pt x="395" y="51"/>
                      </a:lnTo>
                      <a:lnTo>
                        <a:pt x="355" y="51"/>
                      </a:lnTo>
                      <a:lnTo>
                        <a:pt x="345" y="61"/>
                      </a:lnTo>
                      <a:lnTo>
                        <a:pt x="334" y="71"/>
                      </a:lnTo>
                      <a:lnTo>
                        <a:pt x="324" y="71"/>
                      </a:lnTo>
                      <a:lnTo>
                        <a:pt x="314" y="71"/>
                      </a:lnTo>
                      <a:lnTo>
                        <a:pt x="304" y="71"/>
                      </a:lnTo>
                      <a:lnTo>
                        <a:pt x="284" y="71"/>
                      </a:lnTo>
                      <a:lnTo>
                        <a:pt x="274" y="71"/>
                      </a:lnTo>
                      <a:lnTo>
                        <a:pt x="264" y="81"/>
                      </a:lnTo>
                      <a:lnTo>
                        <a:pt x="253" y="81"/>
                      </a:lnTo>
                      <a:lnTo>
                        <a:pt x="253" y="91"/>
                      </a:lnTo>
                      <a:lnTo>
                        <a:pt x="243" y="101"/>
                      </a:lnTo>
                      <a:lnTo>
                        <a:pt x="243" y="111"/>
                      </a:lnTo>
                      <a:lnTo>
                        <a:pt x="243" y="122"/>
                      </a:lnTo>
                      <a:lnTo>
                        <a:pt x="243" y="142"/>
                      </a:lnTo>
                      <a:lnTo>
                        <a:pt x="243" y="152"/>
                      </a:lnTo>
                      <a:lnTo>
                        <a:pt x="233" y="152"/>
                      </a:lnTo>
                      <a:lnTo>
                        <a:pt x="223" y="162"/>
                      </a:lnTo>
                      <a:lnTo>
                        <a:pt x="213" y="172"/>
                      </a:lnTo>
                      <a:lnTo>
                        <a:pt x="203" y="172"/>
                      </a:lnTo>
                      <a:lnTo>
                        <a:pt x="193" y="182"/>
                      </a:lnTo>
                      <a:lnTo>
                        <a:pt x="183" y="182"/>
                      </a:lnTo>
                      <a:lnTo>
                        <a:pt x="173" y="192"/>
                      </a:lnTo>
                      <a:lnTo>
                        <a:pt x="173" y="203"/>
                      </a:lnTo>
                      <a:lnTo>
                        <a:pt x="173" y="213"/>
                      </a:lnTo>
                      <a:lnTo>
                        <a:pt x="173" y="223"/>
                      </a:lnTo>
                      <a:lnTo>
                        <a:pt x="173" y="233"/>
                      </a:lnTo>
                      <a:lnTo>
                        <a:pt x="162" y="243"/>
                      </a:lnTo>
                      <a:lnTo>
                        <a:pt x="162" y="253"/>
                      </a:lnTo>
                      <a:lnTo>
                        <a:pt x="173" y="263"/>
                      </a:lnTo>
                      <a:lnTo>
                        <a:pt x="183" y="263"/>
                      </a:lnTo>
                      <a:lnTo>
                        <a:pt x="183" y="273"/>
                      </a:lnTo>
                      <a:lnTo>
                        <a:pt x="183" y="284"/>
                      </a:lnTo>
                      <a:lnTo>
                        <a:pt x="173" y="284"/>
                      </a:lnTo>
                      <a:lnTo>
                        <a:pt x="173" y="294"/>
                      </a:lnTo>
                      <a:lnTo>
                        <a:pt x="162" y="304"/>
                      </a:lnTo>
                      <a:lnTo>
                        <a:pt x="152" y="304"/>
                      </a:lnTo>
                      <a:lnTo>
                        <a:pt x="142" y="314"/>
                      </a:lnTo>
                      <a:lnTo>
                        <a:pt x="122" y="314"/>
                      </a:lnTo>
                      <a:lnTo>
                        <a:pt x="112" y="314"/>
                      </a:lnTo>
                      <a:lnTo>
                        <a:pt x="92" y="324"/>
                      </a:lnTo>
                      <a:lnTo>
                        <a:pt x="71" y="344"/>
                      </a:lnTo>
                      <a:lnTo>
                        <a:pt x="61" y="344"/>
                      </a:lnTo>
                      <a:lnTo>
                        <a:pt x="61" y="365"/>
                      </a:lnTo>
                      <a:lnTo>
                        <a:pt x="61" y="375"/>
                      </a:lnTo>
                      <a:lnTo>
                        <a:pt x="71" y="375"/>
                      </a:lnTo>
                      <a:lnTo>
                        <a:pt x="81" y="385"/>
                      </a:lnTo>
                      <a:lnTo>
                        <a:pt x="92" y="385"/>
                      </a:lnTo>
                      <a:lnTo>
                        <a:pt x="92" y="395"/>
                      </a:lnTo>
                      <a:lnTo>
                        <a:pt x="102" y="395"/>
                      </a:lnTo>
                      <a:lnTo>
                        <a:pt x="102" y="405"/>
                      </a:lnTo>
                      <a:lnTo>
                        <a:pt x="92" y="425"/>
                      </a:lnTo>
                      <a:lnTo>
                        <a:pt x="81" y="436"/>
                      </a:lnTo>
                      <a:lnTo>
                        <a:pt x="81" y="446"/>
                      </a:lnTo>
                      <a:lnTo>
                        <a:pt x="71" y="446"/>
                      </a:lnTo>
                      <a:lnTo>
                        <a:pt x="61" y="456"/>
                      </a:lnTo>
                      <a:lnTo>
                        <a:pt x="61" y="466"/>
                      </a:lnTo>
                      <a:lnTo>
                        <a:pt x="61" y="496"/>
                      </a:lnTo>
                      <a:lnTo>
                        <a:pt x="61" y="517"/>
                      </a:lnTo>
                      <a:lnTo>
                        <a:pt x="51" y="527"/>
                      </a:lnTo>
                      <a:lnTo>
                        <a:pt x="51" y="547"/>
                      </a:lnTo>
                      <a:lnTo>
                        <a:pt x="51" y="567"/>
                      </a:lnTo>
                      <a:lnTo>
                        <a:pt x="51" y="577"/>
                      </a:lnTo>
                      <a:lnTo>
                        <a:pt x="51" y="588"/>
                      </a:lnTo>
                      <a:lnTo>
                        <a:pt x="41" y="608"/>
                      </a:lnTo>
                      <a:lnTo>
                        <a:pt x="41" y="618"/>
                      </a:lnTo>
                      <a:lnTo>
                        <a:pt x="41" y="638"/>
                      </a:lnTo>
                      <a:lnTo>
                        <a:pt x="31" y="648"/>
                      </a:lnTo>
                      <a:lnTo>
                        <a:pt x="21" y="658"/>
                      </a:lnTo>
                      <a:lnTo>
                        <a:pt x="11" y="658"/>
                      </a:lnTo>
                      <a:lnTo>
                        <a:pt x="11" y="669"/>
                      </a:lnTo>
                      <a:lnTo>
                        <a:pt x="0" y="679"/>
                      </a:lnTo>
                      <a:lnTo>
                        <a:pt x="11" y="689"/>
                      </a:lnTo>
                      <a:lnTo>
                        <a:pt x="21" y="699"/>
                      </a:lnTo>
                      <a:lnTo>
                        <a:pt x="21" y="709"/>
                      </a:lnTo>
                      <a:lnTo>
                        <a:pt x="21" y="719"/>
                      </a:lnTo>
                      <a:lnTo>
                        <a:pt x="31" y="729"/>
                      </a:lnTo>
                      <a:lnTo>
                        <a:pt x="31" y="739"/>
                      </a:lnTo>
                      <a:lnTo>
                        <a:pt x="31" y="770"/>
                      </a:lnTo>
                      <a:lnTo>
                        <a:pt x="21" y="790"/>
                      </a:lnTo>
                      <a:lnTo>
                        <a:pt x="21" y="800"/>
                      </a:lnTo>
                      <a:lnTo>
                        <a:pt x="31" y="821"/>
                      </a:lnTo>
                      <a:lnTo>
                        <a:pt x="41" y="831"/>
                      </a:lnTo>
                      <a:lnTo>
                        <a:pt x="41" y="841"/>
                      </a:lnTo>
                      <a:lnTo>
                        <a:pt x="41" y="851"/>
                      </a:lnTo>
                      <a:lnTo>
                        <a:pt x="51" y="861"/>
                      </a:lnTo>
                      <a:lnTo>
                        <a:pt x="51" y="871"/>
                      </a:lnTo>
                      <a:lnTo>
                        <a:pt x="51" y="881"/>
                      </a:lnTo>
                      <a:lnTo>
                        <a:pt x="51" y="912"/>
                      </a:lnTo>
                      <a:lnTo>
                        <a:pt x="51" y="922"/>
                      </a:lnTo>
                      <a:lnTo>
                        <a:pt x="61" y="932"/>
                      </a:lnTo>
                      <a:lnTo>
                        <a:pt x="71" y="942"/>
                      </a:lnTo>
                      <a:lnTo>
                        <a:pt x="81" y="942"/>
                      </a:lnTo>
                      <a:lnTo>
                        <a:pt x="92" y="942"/>
                      </a:lnTo>
                      <a:lnTo>
                        <a:pt x="102" y="952"/>
                      </a:lnTo>
                      <a:lnTo>
                        <a:pt x="112" y="952"/>
                      </a:lnTo>
                      <a:lnTo>
                        <a:pt x="112" y="962"/>
                      </a:lnTo>
                      <a:lnTo>
                        <a:pt x="132" y="993"/>
                      </a:lnTo>
                      <a:lnTo>
                        <a:pt x="152" y="1023"/>
                      </a:lnTo>
                      <a:lnTo>
                        <a:pt x="162" y="1043"/>
                      </a:lnTo>
                      <a:lnTo>
                        <a:pt x="173" y="1054"/>
                      </a:lnTo>
                      <a:lnTo>
                        <a:pt x="173" y="1064"/>
                      </a:lnTo>
                      <a:lnTo>
                        <a:pt x="173" y="1074"/>
                      </a:lnTo>
                      <a:lnTo>
                        <a:pt x="173" y="1094"/>
                      </a:lnTo>
                      <a:lnTo>
                        <a:pt x="183" y="1104"/>
                      </a:lnTo>
                      <a:lnTo>
                        <a:pt x="183" y="1124"/>
                      </a:lnTo>
                      <a:lnTo>
                        <a:pt x="193" y="1145"/>
                      </a:lnTo>
                      <a:lnTo>
                        <a:pt x="193" y="1165"/>
                      </a:lnTo>
                      <a:lnTo>
                        <a:pt x="193" y="1175"/>
                      </a:lnTo>
                      <a:lnTo>
                        <a:pt x="183" y="1195"/>
                      </a:lnTo>
                      <a:lnTo>
                        <a:pt x="183" y="1205"/>
                      </a:lnTo>
                      <a:lnTo>
                        <a:pt x="173" y="1216"/>
                      </a:lnTo>
                      <a:lnTo>
                        <a:pt x="173" y="1226"/>
                      </a:lnTo>
                      <a:lnTo>
                        <a:pt x="162" y="1246"/>
                      </a:lnTo>
                      <a:lnTo>
                        <a:pt x="162" y="1256"/>
                      </a:lnTo>
                      <a:lnTo>
                        <a:pt x="162" y="1276"/>
                      </a:lnTo>
                      <a:lnTo>
                        <a:pt x="162" y="1287"/>
                      </a:lnTo>
                      <a:lnTo>
                        <a:pt x="173" y="1307"/>
                      </a:lnTo>
                      <a:lnTo>
                        <a:pt x="183" y="1307"/>
                      </a:lnTo>
                      <a:lnTo>
                        <a:pt x="193" y="1317"/>
                      </a:lnTo>
                      <a:lnTo>
                        <a:pt x="193" y="1327"/>
                      </a:lnTo>
                      <a:lnTo>
                        <a:pt x="193" y="1347"/>
                      </a:lnTo>
                      <a:lnTo>
                        <a:pt x="193" y="1388"/>
                      </a:lnTo>
                      <a:lnTo>
                        <a:pt x="183" y="1408"/>
                      </a:lnTo>
                      <a:lnTo>
                        <a:pt x="183" y="1418"/>
                      </a:lnTo>
                      <a:lnTo>
                        <a:pt x="183" y="1428"/>
                      </a:lnTo>
                      <a:lnTo>
                        <a:pt x="183" y="1438"/>
                      </a:lnTo>
                      <a:lnTo>
                        <a:pt x="193" y="1449"/>
                      </a:lnTo>
                      <a:lnTo>
                        <a:pt x="203" y="1449"/>
                      </a:lnTo>
                      <a:lnTo>
                        <a:pt x="213" y="1449"/>
                      </a:lnTo>
                      <a:lnTo>
                        <a:pt x="223" y="1449"/>
                      </a:lnTo>
                      <a:lnTo>
                        <a:pt x="233" y="1459"/>
                      </a:lnTo>
                      <a:lnTo>
                        <a:pt x="243" y="1479"/>
                      </a:lnTo>
                      <a:lnTo>
                        <a:pt x="243" y="1509"/>
                      </a:lnTo>
                      <a:lnTo>
                        <a:pt x="243" y="1520"/>
                      </a:lnTo>
                      <a:lnTo>
                        <a:pt x="253" y="1540"/>
                      </a:lnTo>
                      <a:lnTo>
                        <a:pt x="253" y="1570"/>
                      </a:lnTo>
                      <a:lnTo>
                        <a:pt x="253" y="1590"/>
                      </a:lnTo>
                      <a:lnTo>
                        <a:pt x="253" y="1611"/>
                      </a:lnTo>
                      <a:lnTo>
                        <a:pt x="243" y="1621"/>
                      </a:lnTo>
                      <a:lnTo>
                        <a:pt x="243" y="1631"/>
                      </a:lnTo>
                      <a:lnTo>
                        <a:pt x="233" y="1651"/>
                      </a:lnTo>
                      <a:lnTo>
                        <a:pt x="223" y="1661"/>
                      </a:lnTo>
                      <a:lnTo>
                        <a:pt x="223" y="1671"/>
                      </a:lnTo>
                      <a:lnTo>
                        <a:pt x="223" y="1682"/>
                      </a:lnTo>
                      <a:lnTo>
                        <a:pt x="223" y="1692"/>
                      </a:lnTo>
                      <a:lnTo>
                        <a:pt x="233" y="1702"/>
                      </a:lnTo>
                      <a:lnTo>
                        <a:pt x="243" y="1712"/>
                      </a:lnTo>
                      <a:lnTo>
                        <a:pt x="253" y="1722"/>
                      </a:lnTo>
                      <a:lnTo>
                        <a:pt x="264" y="1732"/>
                      </a:lnTo>
                      <a:lnTo>
                        <a:pt x="284" y="1753"/>
                      </a:lnTo>
                      <a:lnTo>
                        <a:pt x="284" y="1763"/>
                      </a:lnTo>
                      <a:lnTo>
                        <a:pt x="284" y="1773"/>
                      </a:lnTo>
                      <a:lnTo>
                        <a:pt x="294" y="1803"/>
                      </a:lnTo>
                      <a:lnTo>
                        <a:pt x="294" y="1813"/>
                      </a:lnTo>
                      <a:lnTo>
                        <a:pt x="284" y="1823"/>
                      </a:lnTo>
                      <a:lnTo>
                        <a:pt x="284" y="1844"/>
                      </a:lnTo>
                      <a:lnTo>
                        <a:pt x="264" y="1874"/>
                      </a:lnTo>
                      <a:lnTo>
                        <a:pt x="253" y="1904"/>
                      </a:lnTo>
                      <a:lnTo>
                        <a:pt x="253" y="1925"/>
                      </a:lnTo>
                      <a:lnTo>
                        <a:pt x="253" y="1955"/>
                      </a:lnTo>
                      <a:lnTo>
                        <a:pt x="253" y="1965"/>
                      </a:lnTo>
                      <a:lnTo>
                        <a:pt x="253" y="1975"/>
                      </a:lnTo>
                      <a:lnTo>
                        <a:pt x="264" y="1986"/>
                      </a:lnTo>
                      <a:lnTo>
                        <a:pt x="274" y="1986"/>
                      </a:lnTo>
                      <a:lnTo>
                        <a:pt x="274" y="1996"/>
                      </a:lnTo>
                      <a:lnTo>
                        <a:pt x="264" y="2006"/>
                      </a:lnTo>
                      <a:lnTo>
                        <a:pt x="264" y="2016"/>
                      </a:lnTo>
                      <a:lnTo>
                        <a:pt x="274" y="2026"/>
                      </a:lnTo>
                      <a:lnTo>
                        <a:pt x="274" y="2036"/>
                      </a:lnTo>
                      <a:lnTo>
                        <a:pt x="284" y="2046"/>
                      </a:lnTo>
                      <a:lnTo>
                        <a:pt x="284" y="2067"/>
                      </a:lnTo>
                      <a:lnTo>
                        <a:pt x="284" y="2056"/>
                      </a:lnTo>
                      <a:lnTo>
                        <a:pt x="294" y="2056"/>
                      </a:lnTo>
                      <a:lnTo>
                        <a:pt x="304" y="2056"/>
                      </a:lnTo>
                      <a:lnTo>
                        <a:pt x="314" y="2067"/>
                      </a:lnTo>
                      <a:lnTo>
                        <a:pt x="314" y="2077"/>
                      </a:lnTo>
                      <a:lnTo>
                        <a:pt x="304" y="2097"/>
                      </a:lnTo>
                      <a:lnTo>
                        <a:pt x="304" y="2107"/>
                      </a:lnTo>
                      <a:lnTo>
                        <a:pt x="304" y="2117"/>
                      </a:lnTo>
                      <a:lnTo>
                        <a:pt x="304" y="2137"/>
                      </a:lnTo>
                      <a:lnTo>
                        <a:pt x="304" y="2148"/>
                      </a:lnTo>
                      <a:lnTo>
                        <a:pt x="304" y="2158"/>
                      </a:lnTo>
                      <a:lnTo>
                        <a:pt x="304" y="2168"/>
                      </a:lnTo>
                      <a:lnTo>
                        <a:pt x="294" y="2188"/>
                      </a:lnTo>
                      <a:lnTo>
                        <a:pt x="284" y="2218"/>
                      </a:lnTo>
                      <a:lnTo>
                        <a:pt x="284" y="2229"/>
                      </a:lnTo>
                      <a:lnTo>
                        <a:pt x="284" y="2249"/>
                      </a:lnTo>
                      <a:lnTo>
                        <a:pt x="284" y="2259"/>
                      </a:lnTo>
                      <a:lnTo>
                        <a:pt x="284" y="2269"/>
                      </a:lnTo>
                      <a:lnTo>
                        <a:pt x="294" y="2289"/>
                      </a:lnTo>
                      <a:lnTo>
                        <a:pt x="294" y="2300"/>
                      </a:lnTo>
                      <a:lnTo>
                        <a:pt x="294" y="2320"/>
                      </a:lnTo>
                      <a:lnTo>
                        <a:pt x="304" y="2330"/>
                      </a:lnTo>
                      <a:lnTo>
                        <a:pt x="314" y="2340"/>
                      </a:lnTo>
                      <a:lnTo>
                        <a:pt x="334" y="2360"/>
                      </a:lnTo>
                      <a:lnTo>
                        <a:pt x="345" y="2391"/>
                      </a:lnTo>
                      <a:lnTo>
                        <a:pt x="365" y="2411"/>
                      </a:lnTo>
                      <a:lnTo>
                        <a:pt x="365" y="2421"/>
                      </a:lnTo>
                      <a:lnTo>
                        <a:pt x="375" y="2431"/>
                      </a:lnTo>
                      <a:lnTo>
                        <a:pt x="385" y="2451"/>
                      </a:lnTo>
                      <a:lnTo>
                        <a:pt x="395" y="2462"/>
                      </a:lnTo>
                      <a:lnTo>
                        <a:pt x="395" y="2482"/>
                      </a:lnTo>
                      <a:lnTo>
                        <a:pt x="415" y="2512"/>
                      </a:lnTo>
                      <a:lnTo>
                        <a:pt x="436" y="2533"/>
                      </a:lnTo>
                      <a:lnTo>
                        <a:pt x="436" y="2543"/>
                      </a:lnTo>
                      <a:lnTo>
                        <a:pt x="436" y="2553"/>
                      </a:lnTo>
                      <a:lnTo>
                        <a:pt x="436" y="2573"/>
                      </a:lnTo>
                      <a:lnTo>
                        <a:pt x="446" y="2593"/>
                      </a:lnTo>
                      <a:lnTo>
                        <a:pt x="446" y="2614"/>
                      </a:lnTo>
                      <a:lnTo>
                        <a:pt x="446" y="2624"/>
                      </a:lnTo>
                      <a:lnTo>
                        <a:pt x="446" y="2644"/>
                      </a:lnTo>
                      <a:lnTo>
                        <a:pt x="456" y="2664"/>
                      </a:lnTo>
                      <a:lnTo>
                        <a:pt x="466" y="2674"/>
                      </a:lnTo>
                      <a:lnTo>
                        <a:pt x="466" y="2695"/>
                      </a:lnTo>
                      <a:lnTo>
                        <a:pt x="476" y="2695"/>
                      </a:lnTo>
                      <a:lnTo>
                        <a:pt x="486" y="2705"/>
                      </a:lnTo>
                      <a:lnTo>
                        <a:pt x="496" y="2705"/>
                      </a:lnTo>
                      <a:lnTo>
                        <a:pt x="517" y="2725"/>
                      </a:lnTo>
                      <a:lnTo>
                        <a:pt x="527" y="2745"/>
                      </a:lnTo>
                      <a:lnTo>
                        <a:pt x="547" y="2755"/>
                      </a:lnTo>
                      <a:lnTo>
                        <a:pt x="547" y="2766"/>
                      </a:lnTo>
                      <a:lnTo>
                        <a:pt x="567" y="2786"/>
                      </a:lnTo>
                      <a:lnTo>
                        <a:pt x="567" y="2796"/>
                      </a:lnTo>
                      <a:lnTo>
                        <a:pt x="577" y="2796"/>
                      </a:lnTo>
                      <a:lnTo>
                        <a:pt x="587" y="2806"/>
                      </a:lnTo>
                      <a:lnTo>
                        <a:pt x="598" y="2816"/>
                      </a:lnTo>
                      <a:lnTo>
                        <a:pt x="618" y="2836"/>
                      </a:lnTo>
                      <a:lnTo>
                        <a:pt x="628" y="2847"/>
                      </a:lnTo>
                      <a:lnTo>
                        <a:pt x="638" y="2857"/>
                      </a:lnTo>
                      <a:lnTo>
                        <a:pt x="658" y="2877"/>
                      </a:lnTo>
                      <a:lnTo>
                        <a:pt x="678" y="2887"/>
                      </a:lnTo>
                      <a:lnTo>
                        <a:pt x="689" y="2887"/>
                      </a:lnTo>
                      <a:lnTo>
                        <a:pt x="699" y="2907"/>
                      </a:lnTo>
                      <a:lnTo>
                        <a:pt x="719" y="2928"/>
                      </a:lnTo>
                      <a:lnTo>
                        <a:pt x="719" y="2948"/>
                      </a:lnTo>
                      <a:lnTo>
                        <a:pt x="729" y="2958"/>
                      </a:lnTo>
                      <a:lnTo>
                        <a:pt x="739" y="2978"/>
                      </a:lnTo>
                      <a:lnTo>
                        <a:pt x="739" y="2999"/>
                      </a:lnTo>
                      <a:lnTo>
                        <a:pt x="739" y="3009"/>
                      </a:lnTo>
                      <a:lnTo>
                        <a:pt x="739" y="3029"/>
                      </a:lnTo>
                      <a:lnTo>
                        <a:pt x="749" y="3039"/>
                      </a:lnTo>
                      <a:lnTo>
                        <a:pt x="749" y="3059"/>
                      </a:lnTo>
                      <a:lnTo>
                        <a:pt x="749" y="3100"/>
                      </a:lnTo>
                      <a:lnTo>
                        <a:pt x="749" y="3130"/>
                      </a:lnTo>
                      <a:lnTo>
                        <a:pt x="749" y="3140"/>
                      </a:lnTo>
                      <a:lnTo>
                        <a:pt x="749" y="3150"/>
                      </a:lnTo>
                      <a:lnTo>
                        <a:pt x="749" y="3171"/>
                      </a:lnTo>
                      <a:lnTo>
                        <a:pt x="759" y="3171"/>
                      </a:lnTo>
                      <a:lnTo>
                        <a:pt x="770" y="3171"/>
                      </a:lnTo>
                      <a:lnTo>
                        <a:pt x="780" y="3171"/>
                      </a:lnTo>
                      <a:lnTo>
                        <a:pt x="790" y="3161"/>
                      </a:lnTo>
                      <a:lnTo>
                        <a:pt x="800" y="3161"/>
                      </a:lnTo>
                      <a:lnTo>
                        <a:pt x="810" y="3161"/>
                      </a:lnTo>
                      <a:lnTo>
                        <a:pt x="820" y="3171"/>
                      </a:lnTo>
                      <a:lnTo>
                        <a:pt x="830" y="3171"/>
                      </a:lnTo>
                      <a:lnTo>
                        <a:pt x="850" y="3171"/>
                      </a:lnTo>
                      <a:lnTo>
                        <a:pt x="850" y="3161"/>
                      </a:lnTo>
                      <a:lnTo>
                        <a:pt x="861" y="3161"/>
                      </a:lnTo>
                      <a:lnTo>
                        <a:pt x="871" y="3150"/>
                      </a:lnTo>
                      <a:lnTo>
                        <a:pt x="881" y="3150"/>
                      </a:lnTo>
                      <a:lnTo>
                        <a:pt x="891" y="3150"/>
                      </a:lnTo>
                      <a:lnTo>
                        <a:pt x="921" y="3150"/>
                      </a:lnTo>
                      <a:lnTo>
                        <a:pt x="931" y="3150"/>
                      </a:lnTo>
                      <a:lnTo>
                        <a:pt x="942" y="3150"/>
                      </a:lnTo>
                      <a:lnTo>
                        <a:pt x="952" y="3150"/>
                      </a:lnTo>
                      <a:lnTo>
                        <a:pt x="962" y="3150"/>
                      </a:lnTo>
                      <a:lnTo>
                        <a:pt x="982" y="3140"/>
                      </a:lnTo>
                      <a:lnTo>
                        <a:pt x="992" y="3140"/>
                      </a:lnTo>
                      <a:lnTo>
                        <a:pt x="1002" y="3130"/>
                      </a:lnTo>
                      <a:lnTo>
                        <a:pt x="1002" y="3120"/>
                      </a:lnTo>
                      <a:lnTo>
                        <a:pt x="1012" y="3110"/>
                      </a:lnTo>
                      <a:lnTo>
                        <a:pt x="1033" y="3090"/>
                      </a:lnTo>
                      <a:lnTo>
                        <a:pt x="1033" y="3080"/>
                      </a:lnTo>
                      <a:lnTo>
                        <a:pt x="1033" y="3069"/>
                      </a:lnTo>
                      <a:lnTo>
                        <a:pt x="1043" y="3069"/>
                      </a:lnTo>
                      <a:lnTo>
                        <a:pt x="1053" y="3059"/>
                      </a:lnTo>
                      <a:lnTo>
                        <a:pt x="1063" y="3049"/>
                      </a:lnTo>
                      <a:lnTo>
                        <a:pt x="1073" y="3039"/>
                      </a:lnTo>
                      <a:lnTo>
                        <a:pt x="1083" y="3039"/>
                      </a:lnTo>
                      <a:lnTo>
                        <a:pt x="1103" y="3039"/>
                      </a:lnTo>
                      <a:lnTo>
                        <a:pt x="1114" y="3039"/>
                      </a:lnTo>
                      <a:lnTo>
                        <a:pt x="1124" y="3049"/>
                      </a:lnTo>
                      <a:lnTo>
                        <a:pt x="1124" y="3059"/>
                      </a:lnTo>
                      <a:lnTo>
                        <a:pt x="1134" y="3069"/>
                      </a:lnTo>
                      <a:lnTo>
                        <a:pt x="1144" y="3069"/>
                      </a:lnTo>
                      <a:lnTo>
                        <a:pt x="1144" y="3059"/>
                      </a:lnTo>
                      <a:lnTo>
                        <a:pt x="1154" y="3049"/>
                      </a:lnTo>
                      <a:lnTo>
                        <a:pt x="1154" y="3039"/>
                      </a:lnTo>
                      <a:lnTo>
                        <a:pt x="1164" y="3029"/>
                      </a:lnTo>
                      <a:lnTo>
                        <a:pt x="1164" y="3019"/>
                      </a:lnTo>
                      <a:lnTo>
                        <a:pt x="1174" y="3019"/>
                      </a:lnTo>
                      <a:lnTo>
                        <a:pt x="1184" y="3009"/>
                      </a:lnTo>
                      <a:lnTo>
                        <a:pt x="1205" y="2999"/>
                      </a:lnTo>
                      <a:lnTo>
                        <a:pt x="1215" y="2999"/>
                      </a:lnTo>
                      <a:lnTo>
                        <a:pt x="1235" y="2999"/>
                      </a:lnTo>
                      <a:lnTo>
                        <a:pt x="1245" y="3009"/>
                      </a:lnTo>
                      <a:lnTo>
                        <a:pt x="1265" y="3029"/>
                      </a:lnTo>
                      <a:lnTo>
                        <a:pt x="1275" y="3029"/>
                      </a:lnTo>
                      <a:lnTo>
                        <a:pt x="1296" y="3029"/>
                      </a:lnTo>
                      <a:lnTo>
                        <a:pt x="1316" y="3009"/>
                      </a:lnTo>
                      <a:lnTo>
                        <a:pt x="1326" y="3009"/>
                      </a:lnTo>
                      <a:lnTo>
                        <a:pt x="1336" y="3009"/>
                      </a:lnTo>
                      <a:lnTo>
                        <a:pt x="1336" y="2999"/>
                      </a:lnTo>
                      <a:lnTo>
                        <a:pt x="1356" y="2999"/>
                      </a:lnTo>
                      <a:lnTo>
                        <a:pt x="1377" y="2999"/>
                      </a:lnTo>
                      <a:lnTo>
                        <a:pt x="1387" y="2999"/>
                      </a:lnTo>
                      <a:lnTo>
                        <a:pt x="1397" y="2999"/>
                      </a:lnTo>
                      <a:lnTo>
                        <a:pt x="1407" y="2999"/>
                      </a:lnTo>
                      <a:lnTo>
                        <a:pt x="1417" y="2988"/>
                      </a:lnTo>
                      <a:lnTo>
                        <a:pt x="1427" y="2988"/>
                      </a:lnTo>
                      <a:lnTo>
                        <a:pt x="1427" y="2978"/>
                      </a:lnTo>
                      <a:lnTo>
                        <a:pt x="1427" y="2968"/>
                      </a:lnTo>
                      <a:lnTo>
                        <a:pt x="1427" y="2948"/>
                      </a:lnTo>
                      <a:lnTo>
                        <a:pt x="1427" y="2938"/>
                      </a:lnTo>
                      <a:lnTo>
                        <a:pt x="1437" y="2938"/>
                      </a:lnTo>
                      <a:lnTo>
                        <a:pt x="1447" y="2917"/>
                      </a:lnTo>
                      <a:lnTo>
                        <a:pt x="1458" y="2917"/>
                      </a:lnTo>
                      <a:lnTo>
                        <a:pt x="1468" y="2907"/>
                      </a:lnTo>
                      <a:lnTo>
                        <a:pt x="1478" y="2897"/>
                      </a:lnTo>
                      <a:lnTo>
                        <a:pt x="1478" y="2877"/>
                      </a:lnTo>
                      <a:lnTo>
                        <a:pt x="1478" y="2857"/>
                      </a:lnTo>
                      <a:lnTo>
                        <a:pt x="1478" y="2847"/>
                      </a:lnTo>
                      <a:lnTo>
                        <a:pt x="1478" y="2836"/>
                      </a:lnTo>
                      <a:lnTo>
                        <a:pt x="1488" y="2836"/>
                      </a:lnTo>
                      <a:lnTo>
                        <a:pt x="1498" y="2836"/>
                      </a:lnTo>
                      <a:lnTo>
                        <a:pt x="1518" y="2836"/>
                      </a:lnTo>
                      <a:lnTo>
                        <a:pt x="1528" y="2826"/>
                      </a:lnTo>
                      <a:lnTo>
                        <a:pt x="1549" y="2826"/>
                      </a:lnTo>
                      <a:lnTo>
                        <a:pt x="1559" y="2826"/>
                      </a:lnTo>
                      <a:lnTo>
                        <a:pt x="1569" y="2826"/>
                      </a:lnTo>
                      <a:lnTo>
                        <a:pt x="1569" y="2816"/>
                      </a:lnTo>
                      <a:lnTo>
                        <a:pt x="1579" y="2806"/>
                      </a:lnTo>
                      <a:lnTo>
                        <a:pt x="1589" y="2786"/>
                      </a:lnTo>
                      <a:lnTo>
                        <a:pt x="1589" y="2776"/>
                      </a:lnTo>
                      <a:lnTo>
                        <a:pt x="1599" y="2755"/>
                      </a:lnTo>
                      <a:lnTo>
                        <a:pt x="1609" y="2745"/>
                      </a:lnTo>
                      <a:lnTo>
                        <a:pt x="1609" y="2735"/>
                      </a:lnTo>
                      <a:lnTo>
                        <a:pt x="1620" y="2735"/>
                      </a:lnTo>
                      <a:lnTo>
                        <a:pt x="1620" y="2725"/>
                      </a:lnTo>
                      <a:lnTo>
                        <a:pt x="1630" y="2725"/>
                      </a:lnTo>
                      <a:lnTo>
                        <a:pt x="1650" y="2725"/>
                      </a:lnTo>
                      <a:lnTo>
                        <a:pt x="1660" y="2715"/>
                      </a:lnTo>
                      <a:lnTo>
                        <a:pt x="1670" y="2695"/>
                      </a:lnTo>
                      <a:lnTo>
                        <a:pt x="1680" y="2674"/>
                      </a:lnTo>
                      <a:lnTo>
                        <a:pt x="1690" y="2664"/>
                      </a:lnTo>
                      <a:lnTo>
                        <a:pt x="1690" y="2654"/>
                      </a:lnTo>
                      <a:lnTo>
                        <a:pt x="1711" y="2644"/>
                      </a:lnTo>
                      <a:lnTo>
                        <a:pt x="1721" y="2634"/>
                      </a:lnTo>
                      <a:lnTo>
                        <a:pt x="1731" y="2624"/>
                      </a:lnTo>
                      <a:lnTo>
                        <a:pt x="1741" y="2614"/>
                      </a:lnTo>
                      <a:lnTo>
                        <a:pt x="1761" y="2614"/>
                      </a:lnTo>
                      <a:lnTo>
                        <a:pt x="1781" y="2603"/>
                      </a:lnTo>
                      <a:lnTo>
                        <a:pt x="1792" y="2593"/>
                      </a:lnTo>
                      <a:lnTo>
                        <a:pt x="1802" y="2583"/>
                      </a:lnTo>
                      <a:lnTo>
                        <a:pt x="1802" y="2573"/>
                      </a:lnTo>
                      <a:lnTo>
                        <a:pt x="1812" y="2563"/>
                      </a:lnTo>
                      <a:lnTo>
                        <a:pt x="1822" y="2543"/>
                      </a:lnTo>
                      <a:lnTo>
                        <a:pt x="1832" y="2533"/>
                      </a:lnTo>
                      <a:lnTo>
                        <a:pt x="1842" y="2522"/>
                      </a:lnTo>
                      <a:lnTo>
                        <a:pt x="1852" y="2512"/>
                      </a:lnTo>
                      <a:lnTo>
                        <a:pt x="1852" y="2502"/>
                      </a:lnTo>
                      <a:lnTo>
                        <a:pt x="1862" y="2492"/>
                      </a:lnTo>
                      <a:lnTo>
                        <a:pt x="1862" y="2472"/>
                      </a:lnTo>
                      <a:lnTo>
                        <a:pt x="1862" y="2462"/>
                      </a:lnTo>
                      <a:lnTo>
                        <a:pt x="1872" y="2441"/>
                      </a:lnTo>
                      <a:lnTo>
                        <a:pt x="1872" y="2421"/>
                      </a:lnTo>
                      <a:lnTo>
                        <a:pt x="1883" y="2411"/>
                      </a:lnTo>
                      <a:lnTo>
                        <a:pt x="1883" y="2401"/>
                      </a:lnTo>
                      <a:lnTo>
                        <a:pt x="1893" y="2401"/>
                      </a:lnTo>
                      <a:lnTo>
                        <a:pt x="1913" y="2391"/>
                      </a:lnTo>
                      <a:lnTo>
                        <a:pt x="1913" y="2381"/>
                      </a:lnTo>
                      <a:lnTo>
                        <a:pt x="1923" y="2381"/>
                      </a:lnTo>
                      <a:lnTo>
                        <a:pt x="1923" y="2360"/>
                      </a:lnTo>
                      <a:lnTo>
                        <a:pt x="1923" y="2350"/>
                      </a:lnTo>
                      <a:lnTo>
                        <a:pt x="1913" y="2330"/>
                      </a:lnTo>
                      <a:lnTo>
                        <a:pt x="1913" y="2320"/>
                      </a:lnTo>
                      <a:lnTo>
                        <a:pt x="1903" y="2320"/>
                      </a:lnTo>
                      <a:lnTo>
                        <a:pt x="1893" y="2310"/>
                      </a:lnTo>
                      <a:lnTo>
                        <a:pt x="1893" y="2300"/>
                      </a:lnTo>
                      <a:lnTo>
                        <a:pt x="1893" y="2289"/>
                      </a:lnTo>
                      <a:lnTo>
                        <a:pt x="1893" y="2279"/>
                      </a:lnTo>
                      <a:lnTo>
                        <a:pt x="1883" y="2269"/>
                      </a:lnTo>
                      <a:lnTo>
                        <a:pt x="1883" y="2249"/>
                      </a:lnTo>
                      <a:lnTo>
                        <a:pt x="1883" y="2239"/>
                      </a:lnTo>
                      <a:lnTo>
                        <a:pt x="1893" y="2218"/>
                      </a:lnTo>
                      <a:lnTo>
                        <a:pt x="1893" y="2208"/>
                      </a:lnTo>
                      <a:lnTo>
                        <a:pt x="1893" y="2198"/>
                      </a:lnTo>
                      <a:lnTo>
                        <a:pt x="1893" y="2188"/>
                      </a:lnTo>
                      <a:lnTo>
                        <a:pt x="1883" y="2188"/>
                      </a:lnTo>
                      <a:lnTo>
                        <a:pt x="1872" y="2178"/>
                      </a:lnTo>
                      <a:lnTo>
                        <a:pt x="1872" y="2148"/>
                      </a:lnTo>
                      <a:lnTo>
                        <a:pt x="1883" y="2127"/>
                      </a:lnTo>
                      <a:lnTo>
                        <a:pt x="1883" y="2117"/>
                      </a:lnTo>
                      <a:lnTo>
                        <a:pt x="1893" y="2097"/>
                      </a:lnTo>
                      <a:lnTo>
                        <a:pt x="1893" y="2087"/>
                      </a:lnTo>
                      <a:lnTo>
                        <a:pt x="1903" y="2056"/>
                      </a:lnTo>
                      <a:lnTo>
                        <a:pt x="1903" y="2046"/>
                      </a:lnTo>
                      <a:lnTo>
                        <a:pt x="1903" y="2026"/>
                      </a:lnTo>
                      <a:lnTo>
                        <a:pt x="1903" y="2016"/>
                      </a:lnTo>
                      <a:lnTo>
                        <a:pt x="1893" y="2016"/>
                      </a:lnTo>
                      <a:lnTo>
                        <a:pt x="1893" y="2006"/>
                      </a:lnTo>
                      <a:lnTo>
                        <a:pt x="1883" y="2006"/>
                      </a:lnTo>
                      <a:lnTo>
                        <a:pt x="1872" y="1996"/>
                      </a:lnTo>
                      <a:lnTo>
                        <a:pt x="1872" y="1986"/>
                      </a:lnTo>
                      <a:lnTo>
                        <a:pt x="1872" y="1975"/>
                      </a:lnTo>
                      <a:lnTo>
                        <a:pt x="1862" y="1965"/>
                      </a:lnTo>
                      <a:lnTo>
                        <a:pt x="1852" y="1955"/>
                      </a:lnTo>
                      <a:lnTo>
                        <a:pt x="1852" y="1945"/>
                      </a:lnTo>
                      <a:lnTo>
                        <a:pt x="1842" y="1925"/>
                      </a:lnTo>
                      <a:lnTo>
                        <a:pt x="1832" y="1915"/>
                      </a:lnTo>
                      <a:lnTo>
                        <a:pt x="1822" y="1904"/>
                      </a:lnTo>
                      <a:lnTo>
                        <a:pt x="1822" y="1894"/>
                      </a:lnTo>
                      <a:lnTo>
                        <a:pt x="1822" y="1874"/>
                      </a:lnTo>
                      <a:lnTo>
                        <a:pt x="1832" y="1854"/>
                      </a:lnTo>
                      <a:lnTo>
                        <a:pt x="1832" y="1844"/>
                      </a:lnTo>
                      <a:lnTo>
                        <a:pt x="1842" y="1834"/>
                      </a:lnTo>
                      <a:lnTo>
                        <a:pt x="1842" y="1823"/>
                      </a:lnTo>
                      <a:lnTo>
                        <a:pt x="1842" y="1813"/>
                      </a:lnTo>
                      <a:lnTo>
                        <a:pt x="1852" y="1803"/>
                      </a:lnTo>
                      <a:lnTo>
                        <a:pt x="1862" y="1803"/>
                      </a:lnTo>
                      <a:lnTo>
                        <a:pt x="1883" y="1793"/>
                      </a:lnTo>
                      <a:lnTo>
                        <a:pt x="1893" y="1783"/>
                      </a:lnTo>
                      <a:lnTo>
                        <a:pt x="1893" y="1773"/>
                      </a:lnTo>
                      <a:lnTo>
                        <a:pt x="1893" y="1763"/>
                      </a:lnTo>
                      <a:lnTo>
                        <a:pt x="1883" y="1753"/>
                      </a:lnTo>
                      <a:lnTo>
                        <a:pt x="1872" y="1742"/>
                      </a:lnTo>
                      <a:lnTo>
                        <a:pt x="1862" y="1742"/>
                      </a:lnTo>
                      <a:lnTo>
                        <a:pt x="1852" y="1732"/>
                      </a:lnTo>
                      <a:lnTo>
                        <a:pt x="1842" y="1732"/>
                      </a:lnTo>
                      <a:lnTo>
                        <a:pt x="1822" y="1732"/>
                      </a:lnTo>
                      <a:lnTo>
                        <a:pt x="1812" y="1732"/>
                      </a:lnTo>
                      <a:lnTo>
                        <a:pt x="1792" y="1722"/>
                      </a:lnTo>
                      <a:lnTo>
                        <a:pt x="1792" y="1712"/>
                      </a:lnTo>
                      <a:lnTo>
                        <a:pt x="1781" y="1712"/>
                      </a:lnTo>
                      <a:lnTo>
                        <a:pt x="1771" y="1712"/>
                      </a:lnTo>
                      <a:lnTo>
                        <a:pt x="1771" y="1702"/>
                      </a:lnTo>
                      <a:lnTo>
                        <a:pt x="1761" y="1692"/>
                      </a:lnTo>
                      <a:lnTo>
                        <a:pt x="1771" y="1671"/>
                      </a:lnTo>
                      <a:lnTo>
                        <a:pt x="1771" y="1651"/>
                      </a:lnTo>
                      <a:lnTo>
                        <a:pt x="1771" y="1641"/>
                      </a:lnTo>
                      <a:lnTo>
                        <a:pt x="1792" y="1631"/>
                      </a:lnTo>
                      <a:lnTo>
                        <a:pt x="1792" y="1621"/>
                      </a:lnTo>
                      <a:lnTo>
                        <a:pt x="1792" y="1611"/>
                      </a:lnTo>
                      <a:lnTo>
                        <a:pt x="1781" y="1601"/>
                      </a:lnTo>
                      <a:lnTo>
                        <a:pt x="1761" y="1601"/>
                      </a:lnTo>
                      <a:lnTo>
                        <a:pt x="1741" y="1601"/>
                      </a:lnTo>
                      <a:lnTo>
                        <a:pt x="1731" y="1601"/>
                      </a:lnTo>
                      <a:lnTo>
                        <a:pt x="1731" y="1590"/>
                      </a:lnTo>
                      <a:lnTo>
                        <a:pt x="1721" y="1570"/>
                      </a:lnTo>
                      <a:lnTo>
                        <a:pt x="1721" y="1550"/>
                      </a:lnTo>
                      <a:lnTo>
                        <a:pt x="1721" y="1540"/>
                      </a:lnTo>
                      <a:lnTo>
                        <a:pt x="1711" y="1530"/>
                      </a:lnTo>
                      <a:lnTo>
                        <a:pt x="1711" y="1520"/>
                      </a:lnTo>
                      <a:lnTo>
                        <a:pt x="1711" y="1509"/>
                      </a:lnTo>
                      <a:lnTo>
                        <a:pt x="1700" y="1479"/>
                      </a:lnTo>
                      <a:lnTo>
                        <a:pt x="1700" y="1459"/>
                      </a:lnTo>
                      <a:lnTo>
                        <a:pt x="1711" y="1449"/>
                      </a:lnTo>
                      <a:lnTo>
                        <a:pt x="1731" y="1438"/>
                      </a:lnTo>
                      <a:lnTo>
                        <a:pt x="1731" y="1428"/>
                      </a:lnTo>
                      <a:lnTo>
                        <a:pt x="1731" y="1418"/>
                      </a:lnTo>
                      <a:lnTo>
                        <a:pt x="1721" y="1408"/>
                      </a:lnTo>
                      <a:lnTo>
                        <a:pt x="1721" y="1398"/>
                      </a:lnTo>
                      <a:lnTo>
                        <a:pt x="1711" y="1398"/>
                      </a:lnTo>
                      <a:lnTo>
                        <a:pt x="1700" y="1388"/>
                      </a:lnTo>
                      <a:lnTo>
                        <a:pt x="1690" y="1388"/>
                      </a:lnTo>
                      <a:lnTo>
                        <a:pt x="1680" y="1378"/>
                      </a:lnTo>
                      <a:lnTo>
                        <a:pt x="1670" y="1368"/>
                      </a:lnTo>
                      <a:lnTo>
                        <a:pt x="1670" y="1357"/>
                      </a:lnTo>
                      <a:lnTo>
                        <a:pt x="1660" y="1347"/>
                      </a:lnTo>
                      <a:lnTo>
                        <a:pt x="1650" y="1337"/>
                      </a:lnTo>
                      <a:lnTo>
                        <a:pt x="1640" y="1327"/>
                      </a:lnTo>
                      <a:lnTo>
                        <a:pt x="1640" y="1317"/>
                      </a:lnTo>
                      <a:lnTo>
                        <a:pt x="1640" y="1297"/>
                      </a:lnTo>
                      <a:lnTo>
                        <a:pt x="1650" y="1287"/>
                      </a:lnTo>
                      <a:lnTo>
                        <a:pt x="1650" y="1276"/>
                      </a:lnTo>
                      <a:lnTo>
                        <a:pt x="1660" y="1266"/>
                      </a:lnTo>
                      <a:lnTo>
                        <a:pt x="1670" y="1256"/>
                      </a:lnTo>
                      <a:lnTo>
                        <a:pt x="1690" y="1246"/>
                      </a:lnTo>
                      <a:lnTo>
                        <a:pt x="1700" y="1236"/>
                      </a:lnTo>
                      <a:lnTo>
                        <a:pt x="1700" y="1226"/>
                      </a:lnTo>
                      <a:lnTo>
                        <a:pt x="1711" y="1216"/>
                      </a:lnTo>
                      <a:lnTo>
                        <a:pt x="1711" y="1205"/>
                      </a:lnTo>
                      <a:lnTo>
                        <a:pt x="1721" y="1195"/>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702" name="Freeform 20">
                  <a:extLst>
                    <a:ext uri="{FF2B5EF4-FFF2-40B4-BE49-F238E27FC236}">
                      <a16:creationId xmlns:a16="http://schemas.microsoft.com/office/drawing/2014/main" id="{283823CE-459E-45DD-A6E9-99FA46362CD5}"/>
                    </a:ext>
                  </a:extLst>
                </p:cNvPr>
                <p:cNvSpPr>
                  <a:spLocks noChangeAspect="1"/>
                </p:cNvSpPr>
                <p:nvPr/>
              </p:nvSpPr>
              <p:spPr bwMode="auto">
                <a:xfrm>
                  <a:off x="5746753" y="2501907"/>
                  <a:ext cx="763588" cy="461965"/>
                </a:xfrm>
                <a:custGeom>
                  <a:avLst/>
                  <a:gdLst>
                    <a:gd name="T0" fmla="*/ 425 w 738"/>
                    <a:gd name="T1" fmla="*/ 294 h 446"/>
                    <a:gd name="T2" fmla="*/ 445 w 738"/>
                    <a:gd name="T3" fmla="*/ 274 h 446"/>
                    <a:gd name="T4" fmla="*/ 465 w 738"/>
                    <a:gd name="T5" fmla="*/ 254 h 446"/>
                    <a:gd name="T6" fmla="*/ 475 w 738"/>
                    <a:gd name="T7" fmla="*/ 233 h 446"/>
                    <a:gd name="T8" fmla="*/ 506 w 738"/>
                    <a:gd name="T9" fmla="*/ 223 h 446"/>
                    <a:gd name="T10" fmla="*/ 536 w 738"/>
                    <a:gd name="T11" fmla="*/ 213 h 446"/>
                    <a:gd name="T12" fmla="*/ 566 w 738"/>
                    <a:gd name="T13" fmla="*/ 193 h 446"/>
                    <a:gd name="T14" fmla="*/ 587 w 738"/>
                    <a:gd name="T15" fmla="*/ 172 h 446"/>
                    <a:gd name="T16" fmla="*/ 617 w 738"/>
                    <a:gd name="T17" fmla="*/ 183 h 446"/>
                    <a:gd name="T18" fmla="*/ 647 w 738"/>
                    <a:gd name="T19" fmla="*/ 162 h 446"/>
                    <a:gd name="T20" fmla="*/ 668 w 738"/>
                    <a:gd name="T21" fmla="*/ 162 h 446"/>
                    <a:gd name="T22" fmla="*/ 688 w 738"/>
                    <a:gd name="T23" fmla="*/ 152 h 446"/>
                    <a:gd name="T24" fmla="*/ 708 w 738"/>
                    <a:gd name="T25" fmla="*/ 122 h 446"/>
                    <a:gd name="T26" fmla="*/ 738 w 738"/>
                    <a:gd name="T27" fmla="*/ 102 h 446"/>
                    <a:gd name="T28" fmla="*/ 708 w 738"/>
                    <a:gd name="T29" fmla="*/ 102 h 446"/>
                    <a:gd name="T30" fmla="*/ 698 w 738"/>
                    <a:gd name="T31" fmla="*/ 91 h 446"/>
                    <a:gd name="T32" fmla="*/ 698 w 738"/>
                    <a:gd name="T33" fmla="*/ 71 h 446"/>
                    <a:gd name="T34" fmla="*/ 698 w 738"/>
                    <a:gd name="T35" fmla="*/ 61 h 446"/>
                    <a:gd name="T36" fmla="*/ 688 w 738"/>
                    <a:gd name="T37" fmla="*/ 41 h 446"/>
                    <a:gd name="T38" fmla="*/ 688 w 738"/>
                    <a:gd name="T39" fmla="*/ 21 h 446"/>
                    <a:gd name="T40" fmla="*/ 678 w 738"/>
                    <a:gd name="T41" fmla="*/ 10 h 446"/>
                    <a:gd name="T42" fmla="*/ 647 w 738"/>
                    <a:gd name="T43" fmla="*/ 0 h 446"/>
                    <a:gd name="T44" fmla="*/ 627 w 738"/>
                    <a:gd name="T45" fmla="*/ 21 h 446"/>
                    <a:gd name="T46" fmla="*/ 607 w 738"/>
                    <a:gd name="T47" fmla="*/ 51 h 446"/>
                    <a:gd name="T48" fmla="*/ 546 w 738"/>
                    <a:gd name="T49" fmla="*/ 61 h 446"/>
                    <a:gd name="T50" fmla="*/ 526 w 738"/>
                    <a:gd name="T51" fmla="*/ 71 h 446"/>
                    <a:gd name="T52" fmla="*/ 516 w 738"/>
                    <a:gd name="T53" fmla="*/ 91 h 446"/>
                    <a:gd name="T54" fmla="*/ 455 w 738"/>
                    <a:gd name="T55" fmla="*/ 91 h 446"/>
                    <a:gd name="T56" fmla="*/ 415 w 738"/>
                    <a:gd name="T57" fmla="*/ 122 h 446"/>
                    <a:gd name="T58" fmla="*/ 404 w 738"/>
                    <a:gd name="T59" fmla="*/ 142 h 446"/>
                    <a:gd name="T60" fmla="*/ 384 w 738"/>
                    <a:gd name="T61" fmla="*/ 132 h 446"/>
                    <a:gd name="T62" fmla="*/ 374 w 738"/>
                    <a:gd name="T63" fmla="*/ 122 h 446"/>
                    <a:gd name="T64" fmla="*/ 364 w 738"/>
                    <a:gd name="T65" fmla="*/ 142 h 446"/>
                    <a:gd name="T66" fmla="*/ 344 w 738"/>
                    <a:gd name="T67" fmla="*/ 162 h 446"/>
                    <a:gd name="T68" fmla="*/ 313 w 738"/>
                    <a:gd name="T69" fmla="*/ 183 h 446"/>
                    <a:gd name="T70" fmla="*/ 283 w 738"/>
                    <a:gd name="T71" fmla="*/ 213 h 446"/>
                    <a:gd name="T72" fmla="*/ 222 w 738"/>
                    <a:gd name="T73" fmla="*/ 223 h 446"/>
                    <a:gd name="T74" fmla="*/ 182 w 738"/>
                    <a:gd name="T75" fmla="*/ 223 h 446"/>
                    <a:gd name="T76" fmla="*/ 162 w 738"/>
                    <a:gd name="T77" fmla="*/ 243 h 446"/>
                    <a:gd name="T78" fmla="*/ 151 w 738"/>
                    <a:gd name="T79" fmla="*/ 274 h 446"/>
                    <a:gd name="T80" fmla="*/ 121 w 738"/>
                    <a:gd name="T81" fmla="*/ 284 h 446"/>
                    <a:gd name="T82" fmla="*/ 71 w 738"/>
                    <a:gd name="T83" fmla="*/ 284 h 446"/>
                    <a:gd name="T84" fmla="*/ 50 w 738"/>
                    <a:gd name="T85" fmla="*/ 294 h 446"/>
                    <a:gd name="T86" fmla="*/ 40 w 738"/>
                    <a:gd name="T87" fmla="*/ 324 h 446"/>
                    <a:gd name="T88" fmla="*/ 30 w 738"/>
                    <a:gd name="T89" fmla="*/ 335 h 446"/>
                    <a:gd name="T90" fmla="*/ 0 w 738"/>
                    <a:gd name="T91" fmla="*/ 345 h 446"/>
                    <a:gd name="T92" fmla="*/ 10 w 738"/>
                    <a:gd name="T93" fmla="*/ 365 h 446"/>
                    <a:gd name="T94" fmla="*/ 20 w 738"/>
                    <a:gd name="T95" fmla="*/ 385 h 446"/>
                    <a:gd name="T96" fmla="*/ 10 w 738"/>
                    <a:gd name="T97" fmla="*/ 405 h 446"/>
                    <a:gd name="T98" fmla="*/ 0 w 738"/>
                    <a:gd name="T99" fmla="*/ 446 h 446"/>
                    <a:gd name="T100" fmla="*/ 30 w 738"/>
                    <a:gd name="T101" fmla="*/ 436 h 446"/>
                    <a:gd name="T102" fmla="*/ 50 w 738"/>
                    <a:gd name="T103" fmla="*/ 405 h 446"/>
                    <a:gd name="T104" fmla="*/ 81 w 738"/>
                    <a:gd name="T105" fmla="*/ 405 h 446"/>
                    <a:gd name="T106" fmla="*/ 111 w 738"/>
                    <a:gd name="T107" fmla="*/ 405 h 446"/>
                    <a:gd name="T108" fmla="*/ 141 w 738"/>
                    <a:gd name="T109" fmla="*/ 385 h 446"/>
                    <a:gd name="T110" fmla="*/ 151 w 738"/>
                    <a:gd name="T111" fmla="*/ 365 h 446"/>
                    <a:gd name="T112" fmla="*/ 182 w 738"/>
                    <a:gd name="T113" fmla="*/ 365 h 446"/>
                    <a:gd name="T114" fmla="*/ 212 w 738"/>
                    <a:gd name="T115" fmla="*/ 355 h 446"/>
                    <a:gd name="T116" fmla="*/ 243 w 738"/>
                    <a:gd name="T117" fmla="*/ 355 h 446"/>
                    <a:gd name="T118" fmla="*/ 283 w 738"/>
                    <a:gd name="T119" fmla="*/ 345 h 446"/>
                    <a:gd name="T120" fmla="*/ 334 w 738"/>
                    <a:gd name="T121" fmla="*/ 345 h 446"/>
                    <a:gd name="T122" fmla="*/ 374 w 738"/>
                    <a:gd name="T123" fmla="*/ 324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8" h="446">
                      <a:moveTo>
                        <a:pt x="394" y="314"/>
                      </a:moveTo>
                      <a:lnTo>
                        <a:pt x="404" y="304"/>
                      </a:lnTo>
                      <a:lnTo>
                        <a:pt x="415" y="304"/>
                      </a:lnTo>
                      <a:lnTo>
                        <a:pt x="425" y="294"/>
                      </a:lnTo>
                      <a:lnTo>
                        <a:pt x="425" y="284"/>
                      </a:lnTo>
                      <a:lnTo>
                        <a:pt x="435" y="284"/>
                      </a:lnTo>
                      <a:lnTo>
                        <a:pt x="445" y="274"/>
                      </a:lnTo>
                      <a:lnTo>
                        <a:pt x="445" y="264"/>
                      </a:lnTo>
                      <a:lnTo>
                        <a:pt x="455" y="264"/>
                      </a:lnTo>
                      <a:lnTo>
                        <a:pt x="465" y="254"/>
                      </a:lnTo>
                      <a:lnTo>
                        <a:pt x="465" y="243"/>
                      </a:lnTo>
                      <a:lnTo>
                        <a:pt x="475" y="233"/>
                      </a:lnTo>
                      <a:lnTo>
                        <a:pt x="485" y="223"/>
                      </a:lnTo>
                      <a:lnTo>
                        <a:pt x="496" y="223"/>
                      </a:lnTo>
                      <a:lnTo>
                        <a:pt x="506" y="223"/>
                      </a:lnTo>
                      <a:lnTo>
                        <a:pt x="516" y="223"/>
                      </a:lnTo>
                      <a:lnTo>
                        <a:pt x="516" y="213"/>
                      </a:lnTo>
                      <a:lnTo>
                        <a:pt x="526" y="213"/>
                      </a:lnTo>
                      <a:lnTo>
                        <a:pt x="536" y="213"/>
                      </a:lnTo>
                      <a:lnTo>
                        <a:pt x="546" y="203"/>
                      </a:lnTo>
                      <a:lnTo>
                        <a:pt x="556" y="203"/>
                      </a:lnTo>
                      <a:lnTo>
                        <a:pt x="566" y="193"/>
                      </a:lnTo>
                      <a:lnTo>
                        <a:pt x="576" y="183"/>
                      </a:lnTo>
                      <a:lnTo>
                        <a:pt x="587" y="183"/>
                      </a:lnTo>
                      <a:lnTo>
                        <a:pt x="587" y="172"/>
                      </a:lnTo>
                      <a:lnTo>
                        <a:pt x="597" y="172"/>
                      </a:lnTo>
                      <a:lnTo>
                        <a:pt x="607" y="172"/>
                      </a:lnTo>
                      <a:lnTo>
                        <a:pt x="617" y="183"/>
                      </a:lnTo>
                      <a:lnTo>
                        <a:pt x="627" y="183"/>
                      </a:lnTo>
                      <a:lnTo>
                        <a:pt x="637" y="172"/>
                      </a:lnTo>
                      <a:lnTo>
                        <a:pt x="647" y="162"/>
                      </a:lnTo>
                      <a:lnTo>
                        <a:pt x="657" y="162"/>
                      </a:lnTo>
                      <a:lnTo>
                        <a:pt x="668" y="162"/>
                      </a:lnTo>
                      <a:lnTo>
                        <a:pt x="678" y="162"/>
                      </a:lnTo>
                      <a:lnTo>
                        <a:pt x="688" y="162"/>
                      </a:lnTo>
                      <a:lnTo>
                        <a:pt x="688" y="152"/>
                      </a:lnTo>
                      <a:lnTo>
                        <a:pt x="698" y="142"/>
                      </a:lnTo>
                      <a:lnTo>
                        <a:pt x="698" y="132"/>
                      </a:lnTo>
                      <a:lnTo>
                        <a:pt x="708" y="122"/>
                      </a:lnTo>
                      <a:lnTo>
                        <a:pt x="728" y="122"/>
                      </a:lnTo>
                      <a:lnTo>
                        <a:pt x="738" y="112"/>
                      </a:lnTo>
                      <a:lnTo>
                        <a:pt x="738" y="102"/>
                      </a:lnTo>
                      <a:lnTo>
                        <a:pt x="728" y="102"/>
                      </a:lnTo>
                      <a:lnTo>
                        <a:pt x="718" y="102"/>
                      </a:lnTo>
                      <a:lnTo>
                        <a:pt x="708" y="102"/>
                      </a:lnTo>
                      <a:lnTo>
                        <a:pt x="698" y="102"/>
                      </a:lnTo>
                      <a:lnTo>
                        <a:pt x="688" y="102"/>
                      </a:lnTo>
                      <a:lnTo>
                        <a:pt x="688" y="91"/>
                      </a:lnTo>
                      <a:lnTo>
                        <a:pt x="698" y="91"/>
                      </a:lnTo>
                      <a:lnTo>
                        <a:pt x="698" y="81"/>
                      </a:lnTo>
                      <a:lnTo>
                        <a:pt x="688" y="81"/>
                      </a:lnTo>
                      <a:lnTo>
                        <a:pt x="698" y="71"/>
                      </a:lnTo>
                      <a:lnTo>
                        <a:pt x="708" y="71"/>
                      </a:lnTo>
                      <a:lnTo>
                        <a:pt x="708" y="61"/>
                      </a:lnTo>
                      <a:lnTo>
                        <a:pt x="698" y="61"/>
                      </a:lnTo>
                      <a:lnTo>
                        <a:pt x="688" y="61"/>
                      </a:lnTo>
                      <a:lnTo>
                        <a:pt x="688" y="51"/>
                      </a:lnTo>
                      <a:lnTo>
                        <a:pt x="688" y="41"/>
                      </a:lnTo>
                      <a:lnTo>
                        <a:pt x="688" y="31"/>
                      </a:lnTo>
                      <a:lnTo>
                        <a:pt x="688" y="21"/>
                      </a:lnTo>
                      <a:lnTo>
                        <a:pt x="688" y="10"/>
                      </a:lnTo>
                      <a:lnTo>
                        <a:pt x="678" y="10"/>
                      </a:lnTo>
                      <a:lnTo>
                        <a:pt x="668" y="10"/>
                      </a:lnTo>
                      <a:lnTo>
                        <a:pt x="657" y="10"/>
                      </a:lnTo>
                      <a:lnTo>
                        <a:pt x="647" y="0"/>
                      </a:lnTo>
                      <a:lnTo>
                        <a:pt x="637" y="10"/>
                      </a:lnTo>
                      <a:lnTo>
                        <a:pt x="627" y="21"/>
                      </a:lnTo>
                      <a:lnTo>
                        <a:pt x="627" y="31"/>
                      </a:lnTo>
                      <a:lnTo>
                        <a:pt x="617" y="31"/>
                      </a:lnTo>
                      <a:lnTo>
                        <a:pt x="617" y="41"/>
                      </a:lnTo>
                      <a:lnTo>
                        <a:pt x="607" y="51"/>
                      </a:lnTo>
                      <a:lnTo>
                        <a:pt x="597" y="61"/>
                      </a:lnTo>
                      <a:lnTo>
                        <a:pt x="587" y="61"/>
                      </a:lnTo>
                      <a:lnTo>
                        <a:pt x="546" y="61"/>
                      </a:lnTo>
                      <a:lnTo>
                        <a:pt x="536" y="61"/>
                      </a:lnTo>
                      <a:lnTo>
                        <a:pt x="526" y="71"/>
                      </a:lnTo>
                      <a:lnTo>
                        <a:pt x="526" y="81"/>
                      </a:lnTo>
                      <a:lnTo>
                        <a:pt x="516" y="81"/>
                      </a:lnTo>
                      <a:lnTo>
                        <a:pt x="516" y="91"/>
                      </a:lnTo>
                      <a:lnTo>
                        <a:pt x="496" y="91"/>
                      </a:lnTo>
                      <a:lnTo>
                        <a:pt x="475" y="91"/>
                      </a:lnTo>
                      <a:lnTo>
                        <a:pt x="465" y="91"/>
                      </a:lnTo>
                      <a:lnTo>
                        <a:pt x="455" y="91"/>
                      </a:lnTo>
                      <a:lnTo>
                        <a:pt x="445" y="102"/>
                      </a:lnTo>
                      <a:lnTo>
                        <a:pt x="435" y="112"/>
                      </a:lnTo>
                      <a:lnTo>
                        <a:pt x="425" y="122"/>
                      </a:lnTo>
                      <a:lnTo>
                        <a:pt x="415" y="122"/>
                      </a:lnTo>
                      <a:lnTo>
                        <a:pt x="404" y="132"/>
                      </a:lnTo>
                      <a:lnTo>
                        <a:pt x="404" y="142"/>
                      </a:lnTo>
                      <a:lnTo>
                        <a:pt x="394" y="142"/>
                      </a:lnTo>
                      <a:lnTo>
                        <a:pt x="384" y="142"/>
                      </a:lnTo>
                      <a:lnTo>
                        <a:pt x="384" y="132"/>
                      </a:lnTo>
                      <a:lnTo>
                        <a:pt x="374" y="122"/>
                      </a:lnTo>
                      <a:lnTo>
                        <a:pt x="364" y="122"/>
                      </a:lnTo>
                      <a:lnTo>
                        <a:pt x="364" y="132"/>
                      </a:lnTo>
                      <a:lnTo>
                        <a:pt x="364" y="142"/>
                      </a:lnTo>
                      <a:lnTo>
                        <a:pt x="354" y="152"/>
                      </a:lnTo>
                      <a:lnTo>
                        <a:pt x="354" y="162"/>
                      </a:lnTo>
                      <a:lnTo>
                        <a:pt x="344" y="162"/>
                      </a:lnTo>
                      <a:lnTo>
                        <a:pt x="334" y="172"/>
                      </a:lnTo>
                      <a:lnTo>
                        <a:pt x="324" y="172"/>
                      </a:lnTo>
                      <a:lnTo>
                        <a:pt x="313" y="183"/>
                      </a:lnTo>
                      <a:lnTo>
                        <a:pt x="303" y="183"/>
                      </a:lnTo>
                      <a:lnTo>
                        <a:pt x="293" y="193"/>
                      </a:lnTo>
                      <a:lnTo>
                        <a:pt x="283" y="203"/>
                      </a:lnTo>
                      <a:lnTo>
                        <a:pt x="283" y="213"/>
                      </a:lnTo>
                      <a:lnTo>
                        <a:pt x="273" y="213"/>
                      </a:lnTo>
                      <a:lnTo>
                        <a:pt x="263" y="223"/>
                      </a:lnTo>
                      <a:lnTo>
                        <a:pt x="253" y="223"/>
                      </a:lnTo>
                      <a:lnTo>
                        <a:pt x="222" y="223"/>
                      </a:lnTo>
                      <a:lnTo>
                        <a:pt x="212" y="223"/>
                      </a:lnTo>
                      <a:lnTo>
                        <a:pt x="192" y="223"/>
                      </a:lnTo>
                      <a:lnTo>
                        <a:pt x="182" y="223"/>
                      </a:lnTo>
                      <a:lnTo>
                        <a:pt x="172" y="223"/>
                      </a:lnTo>
                      <a:lnTo>
                        <a:pt x="172" y="233"/>
                      </a:lnTo>
                      <a:lnTo>
                        <a:pt x="162" y="233"/>
                      </a:lnTo>
                      <a:lnTo>
                        <a:pt x="162" y="243"/>
                      </a:lnTo>
                      <a:lnTo>
                        <a:pt x="151" y="254"/>
                      </a:lnTo>
                      <a:lnTo>
                        <a:pt x="151" y="264"/>
                      </a:lnTo>
                      <a:lnTo>
                        <a:pt x="151" y="274"/>
                      </a:lnTo>
                      <a:lnTo>
                        <a:pt x="141" y="274"/>
                      </a:lnTo>
                      <a:lnTo>
                        <a:pt x="141" y="284"/>
                      </a:lnTo>
                      <a:lnTo>
                        <a:pt x="121" y="284"/>
                      </a:lnTo>
                      <a:lnTo>
                        <a:pt x="111" y="284"/>
                      </a:lnTo>
                      <a:lnTo>
                        <a:pt x="91" y="284"/>
                      </a:lnTo>
                      <a:lnTo>
                        <a:pt x="81" y="284"/>
                      </a:lnTo>
                      <a:lnTo>
                        <a:pt x="71" y="284"/>
                      </a:lnTo>
                      <a:lnTo>
                        <a:pt x="60" y="284"/>
                      </a:lnTo>
                      <a:lnTo>
                        <a:pt x="50" y="294"/>
                      </a:lnTo>
                      <a:lnTo>
                        <a:pt x="40" y="304"/>
                      </a:lnTo>
                      <a:lnTo>
                        <a:pt x="40" y="314"/>
                      </a:lnTo>
                      <a:lnTo>
                        <a:pt x="40" y="324"/>
                      </a:lnTo>
                      <a:lnTo>
                        <a:pt x="30" y="335"/>
                      </a:lnTo>
                      <a:lnTo>
                        <a:pt x="20" y="335"/>
                      </a:lnTo>
                      <a:lnTo>
                        <a:pt x="10" y="345"/>
                      </a:lnTo>
                      <a:lnTo>
                        <a:pt x="0" y="345"/>
                      </a:lnTo>
                      <a:lnTo>
                        <a:pt x="0" y="355"/>
                      </a:lnTo>
                      <a:lnTo>
                        <a:pt x="10" y="365"/>
                      </a:lnTo>
                      <a:lnTo>
                        <a:pt x="20" y="375"/>
                      </a:lnTo>
                      <a:lnTo>
                        <a:pt x="20" y="385"/>
                      </a:lnTo>
                      <a:lnTo>
                        <a:pt x="10" y="395"/>
                      </a:lnTo>
                      <a:lnTo>
                        <a:pt x="10" y="405"/>
                      </a:lnTo>
                      <a:lnTo>
                        <a:pt x="0" y="416"/>
                      </a:lnTo>
                      <a:lnTo>
                        <a:pt x="0" y="436"/>
                      </a:lnTo>
                      <a:lnTo>
                        <a:pt x="0" y="446"/>
                      </a:lnTo>
                      <a:lnTo>
                        <a:pt x="10" y="446"/>
                      </a:lnTo>
                      <a:lnTo>
                        <a:pt x="30" y="436"/>
                      </a:lnTo>
                      <a:lnTo>
                        <a:pt x="40" y="426"/>
                      </a:lnTo>
                      <a:lnTo>
                        <a:pt x="40" y="416"/>
                      </a:lnTo>
                      <a:lnTo>
                        <a:pt x="50" y="405"/>
                      </a:lnTo>
                      <a:lnTo>
                        <a:pt x="60" y="405"/>
                      </a:lnTo>
                      <a:lnTo>
                        <a:pt x="60" y="395"/>
                      </a:lnTo>
                      <a:lnTo>
                        <a:pt x="71" y="405"/>
                      </a:lnTo>
                      <a:lnTo>
                        <a:pt x="81" y="405"/>
                      </a:lnTo>
                      <a:lnTo>
                        <a:pt x="91" y="405"/>
                      </a:lnTo>
                      <a:lnTo>
                        <a:pt x="101" y="405"/>
                      </a:lnTo>
                      <a:lnTo>
                        <a:pt x="111" y="405"/>
                      </a:lnTo>
                      <a:lnTo>
                        <a:pt x="121" y="395"/>
                      </a:lnTo>
                      <a:lnTo>
                        <a:pt x="131" y="395"/>
                      </a:lnTo>
                      <a:lnTo>
                        <a:pt x="141" y="385"/>
                      </a:lnTo>
                      <a:lnTo>
                        <a:pt x="141" y="375"/>
                      </a:lnTo>
                      <a:lnTo>
                        <a:pt x="151" y="365"/>
                      </a:lnTo>
                      <a:lnTo>
                        <a:pt x="151" y="355"/>
                      </a:lnTo>
                      <a:lnTo>
                        <a:pt x="162" y="355"/>
                      </a:lnTo>
                      <a:lnTo>
                        <a:pt x="172" y="365"/>
                      </a:lnTo>
                      <a:lnTo>
                        <a:pt x="182" y="365"/>
                      </a:lnTo>
                      <a:lnTo>
                        <a:pt x="192" y="365"/>
                      </a:lnTo>
                      <a:lnTo>
                        <a:pt x="202" y="365"/>
                      </a:lnTo>
                      <a:lnTo>
                        <a:pt x="212" y="355"/>
                      </a:lnTo>
                      <a:lnTo>
                        <a:pt x="222" y="355"/>
                      </a:lnTo>
                      <a:lnTo>
                        <a:pt x="222" y="365"/>
                      </a:lnTo>
                      <a:lnTo>
                        <a:pt x="232" y="365"/>
                      </a:lnTo>
                      <a:lnTo>
                        <a:pt x="243" y="355"/>
                      </a:lnTo>
                      <a:lnTo>
                        <a:pt x="253" y="355"/>
                      </a:lnTo>
                      <a:lnTo>
                        <a:pt x="263" y="355"/>
                      </a:lnTo>
                      <a:lnTo>
                        <a:pt x="273" y="345"/>
                      </a:lnTo>
                      <a:lnTo>
                        <a:pt x="283" y="345"/>
                      </a:lnTo>
                      <a:lnTo>
                        <a:pt x="303" y="345"/>
                      </a:lnTo>
                      <a:lnTo>
                        <a:pt x="313" y="345"/>
                      </a:lnTo>
                      <a:lnTo>
                        <a:pt x="324" y="345"/>
                      </a:lnTo>
                      <a:lnTo>
                        <a:pt x="334" y="345"/>
                      </a:lnTo>
                      <a:lnTo>
                        <a:pt x="334" y="335"/>
                      </a:lnTo>
                      <a:lnTo>
                        <a:pt x="354" y="335"/>
                      </a:lnTo>
                      <a:lnTo>
                        <a:pt x="364" y="335"/>
                      </a:lnTo>
                      <a:lnTo>
                        <a:pt x="374" y="324"/>
                      </a:lnTo>
                      <a:lnTo>
                        <a:pt x="384" y="324"/>
                      </a:lnTo>
                      <a:lnTo>
                        <a:pt x="394" y="314"/>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703" name="Freeform 17">
                  <a:extLst>
                    <a:ext uri="{FF2B5EF4-FFF2-40B4-BE49-F238E27FC236}">
                      <a16:creationId xmlns:a16="http://schemas.microsoft.com/office/drawing/2014/main" id="{DC442554-AB39-4997-9502-D949F270166F}"/>
                    </a:ext>
                  </a:extLst>
                </p:cNvPr>
                <p:cNvSpPr>
                  <a:spLocks noChangeAspect="1"/>
                </p:cNvSpPr>
                <p:nvPr/>
              </p:nvSpPr>
              <p:spPr bwMode="auto">
                <a:xfrm>
                  <a:off x="3808414" y="5105415"/>
                  <a:ext cx="1120775" cy="1133478"/>
                </a:xfrm>
                <a:custGeom>
                  <a:avLst/>
                  <a:gdLst>
                    <a:gd name="T0" fmla="*/ 870 w 1082"/>
                    <a:gd name="T1" fmla="*/ 921 h 1094"/>
                    <a:gd name="T2" fmla="*/ 809 w 1082"/>
                    <a:gd name="T3" fmla="*/ 952 h 1094"/>
                    <a:gd name="T4" fmla="*/ 728 w 1082"/>
                    <a:gd name="T5" fmla="*/ 1002 h 1094"/>
                    <a:gd name="T6" fmla="*/ 678 w 1082"/>
                    <a:gd name="T7" fmla="*/ 1053 h 1094"/>
                    <a:gd name="T8" fmla="*/ 617 w 1082"/>
                    <a:gd name="T9" fmla="*/ 1043 h 1094"/>
                    <a:gd name="T10" fmla="*/ 607 w 1082"/>
                    <a:gd name="T11" fmla="*/ 1084 h 1094"/>
                    <a:gd name="T12" fmla="*/ 516 w 1082"/>
                    <a:gd name="T13" fmla="*/ 1073 h 1094"/>
                    <a:gd name="T14" fmla="*/ 465 w 1082"/>
                    <a:gd name="T15" fmla="*/ 1094 h 1094"/>
                    <a:gd name="T16" fmla="*/ 394 w 1082"/>
                    <a:gd name="T17" fmla="*/ 1063 h 1094"/>
                    <a:gd name="T18" fmla="*/ 344 w 1082"/>
                    <a:gd name="T19" fmla="*/ 1063 h 1094"/>
                    <a:gd name="T20" fmla="*/ 293 w 1082"/>
                    <a:gd name="T21" fmla="*/ 1063 h 1094"/>
                    <a:gd name="T22" fmla="*/ 253 w 1082"/>
                    <a:gd name="T23" fmla="*/ 1023 h 1094"/>
                    <a:gd name="T24" fmla="*/ 202 w 1082"/>
                    <a:gd name="T25" fmla="*/ 972 h 1094"/>
                    <a:gd name="T26" fmla="*/ 152 w 1082"/>
                    <a:gd name="T27" fmla="*/ 952 h 1094"/>
                    <a:gd name="T28" fmla="*/ 81 w 1082"/>
                    <a:gd name="T29" fmla="*/ 881 h 1094"/>
                    <a:gd name="T30" fmla="*/ 50 w 1082"/>
                    <a:gd name="T31" fmla="*/ 851 h 1094"/>
                    <a:gd name="T32" fmla="*/ 40 w 1082"/>
                    <a:gd name="T33" fmla="*/ 800 h 1094"/>
                    <a:gd name="T34" fmla="*/ 50 w 1082"/>
                    <a:gd name="T35" fmla="*/ 719 h 1094"/>
                    <a:gd name="T36" fmla="*/ 20 w 1082"/>
                    <a:gd name="T37" fmla="*/ 658 h 1094"/>
                    <a:gd name="T38" fmla="*/ 10 w 1082"/>
                    <a:gd name="T39" fmla="*/ 567 h 1094"/>
                    <a:gd name="T40" fmla="*/ 0 w 1082"/>
                    <a:gd name="T41" fmla="*/ 506 h 1094"/>
                    <a:gd name="T42" fmla="*/ 60 w 1082"/>
                    <a:gd name="T43" fmla="*/ 445 h 1094"/>
                    <a:gd name="T44" fmla="*/ 131 w 1082"/>
                    <a:gd name="T45" fmla="*/ 395 h 1094"/>
                    <a:gd name="T46" fmla="*/ 131 w 1082"/>
                    <a:gd name="T47" fmla="*/ 334 h 1094"/>
                    <a:gd name="T48" fmla="*/ 121 w 1082"/>
                    <a:gd name="T49" fmla="*/ 263 h 1094"/>
                    <a:gd name="T50" fmla="*/ 192 w 1082"/>
                    <a:gd name="T51" fmla="*/ 233 h 1094"/>
                    <a:gd name="T52" fmla="*/ 222 w 1082"/>
                    <a:gd name="T53" fmla="*/ 182 h 1094"/>
                    <a:gd name="T54" fmla="*/ 253 w 1082"/>
                    <a:gd name="T55" fmla="*/ 162 h 1094"/>
                    <a:gd name="T56" fmla="*/ 283 w 1082"/>
                    <a:gd name="T57" fmla="*/ 121 h 1094"/>
                    <a:gd name="T58" fmla="*/ 293 w 1082"/>
                    <a:gd name="T59" fmla="*/ 70 h 1094"/>
                    <a:gd name="T60" fmla="*/ 364 w 1082"/>
                    <a:gd name="T61" fmla="*/ 20 h 1094"/>
                    <a:gd name="T62" fmla="*/ 425 w 1082"/>
                    <a:gd name="T63" fmla="*/ 20 h 1094"/>
                    <a:gd name="T64" fmla="*/ 465 w 1082"/>
                    <a:gd name="T65" fmla="*/ 0 h 1094"/>
                    <a:gd name="T66" fmla="*/ 526 w 1082"/>
                    <a:gd name="T67" fmla="*/ 40 h 1094"/>
                    <a:gd name="T68" fmla="*/ 577 w 1082"/>
                    <a:gd name="T69" fmla="*/ 50 h 1094"/>
                    <a:gd name="T70" fmla="*/ 607 w 1082"/>
                    <a:gd name="T71" fmla="*/ 91 h 1094"/>
                    <a:gd name="T72" fmla="*/ 647 w 1082"/>
                    <a:gd name="T73" fmla="*/ 111 h 1094"/>
                    <a:gd name="T74" fmla="*/ 668 w 1082"/>
                    <a:gd name="T75" fmla="*/ 121 h 1094"/>
                    <a:gd name="T76" fmla="*/ 718 w 1082"/>
                    <a:gd name="T77" fmla="*/ 121 h 1094"/>
                    <a:gd name="T78" fmla="*/ 759 w 1082"/>
                    <a:gd name="T79" fmla="*/ 162 h 1094"/>
                    <a:gd name="T80" fmla="*/ 789 w 1082"/>
                    <a:gd name="T81" fmla="*/ 192 h 1094"/>
                    <a:gd name="T82" fmla="*/ 809 w 1082"/>
                    <a:gd name="T83" fmla="*/ 253 h 1094"/>
                    <a:gd name="T84" fmla="*/ 829 w 1082"/>
                    <a:gd name="T85" fmla="*/ 273 h 1094"/>
                    <a:gd name="T86" fmla="*/ 870 w 1082"/>
                    <a:gd name="T87" fmla="*/ 324 h 1094"/>
                    <a:gd name="T88" fmla="*/ 921 w 1082"/>
                    <a:gd name="T89" fmla="*/ 364 h 1094"/>
                    <a:gd name="T90" fmla="*/ 951 w 1082"/>
                    <a:gd name="T91" fmla="*/ 405 h 1094"/>
                    <a:gd name="T92" fmla="*/ 1001 w 1082"/>
                    <a:gd name="T93" fmla="*/ 415 h 1094"/>
                    <a:gd name="T94" fmla="*/ 1042 w 1082"/>
                    <a:gd name="T95" fmla="*/ 476 h 1094"/>
                    <a:gd name="T96" fmla="*/ 1082 w 1082"/>
                    <a:gd name="T97" fmla="*/ 567 h 1094"/>
                    <a:gd name="T98" fmla="*/ 1072 w 1082"/>
                    <a:gd name="T99" fmla="*/ 648 h 1094"/>
                    <a:gd name="T100" fmla="*/ 1052 w 1082"/>
                    <a:gd name="T101" fmla="*/ 729 h 1094"/>
                    <a:gd name="T102" fmla="*/ 1012 w 1082"/>
                    <a:gd name="T103" fmla="*/ 810 h 1094"/>
                    <a:gd name="T104" fmla="*/ 981 w 1082"/>
                    <a:gd name="T105" fmla="*/ 830 h 1094"/>
                    <a:gd name="T106" fmla="*/ 900 w 1082"/>
                    <a:gd name="T107" fmla="*/ 871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2" h="1094">
                      <a:moveTo>
                        <a:pt x="890" y="881"/>
                      </a:moveTo>
                      <a:lnTo>
                        <a:pt x="880" y="891"/>
                      </a:lnTo>
                      <a:lnTo>
                        <a:pt x="880" y="901"/>
                      </a:lnTo>
                      <a:lnTo>
                        <a:pt x="880" y="911"/>
                      </a:lnTo>
                      <a:lnTo>
                        <a:pt x="870" y="921"/>
                      </a:lnTo>
                      <a:lnTo>
                        <a:pt x="860" y="932"/>
                      </a:lnTo>
                      <a:lnTo>
                        <a:pt x="850" y="942"/>
                      </a:lnTo>
                      <a:lnTo>
                        <a:pt x="840" y="942"/>
                      </a:lnTo>
                      <a:lnTo>
                        <a:pt x="829" y="942"/>
                      </a:lnTo>
                      <a:lnTo>
                        <a:pt x="809" y="952"/>
                      </a:lnTo>
                      <a:lnTo>
                        <a:pt x="799" y="952"/>
                      </a:lnTo>
                      <a:lnTo>
                        <a:pt x="789" y="962"/>
                      </a:lnTo>
                      <a:lnTo>
                        <a:pt x="779" y="972"/>
                      </a:lnTo>
                      <a:lnTo>
                        <a:pt x="769" y="982"/>
                      </a:lnTo>
                      <a:lnTo>
                        <a:pt x="759" y="992"/>
                      </a:lnTo>
                      <a:lnTo>
                        <a:pt x="728" y="1002"/>
                      </a:lnTo>
                      <a:lnTo>
                        <a:pt x="718" y="1013"/>
                      </a:lnTo>
                      <a:lnTo>
                        <a:pt x="708" y="1023"/>
                      </a:lnTo>
                      <a:lnTo>
                        <a:pt x="698" y="1023"/>
                      </a:lnTo>
                      <a:lnTo>
                        <a:pt x="688" y="1033"/>
                      </a:lnTo>
                      <a:lnTo>
                        <a:pt x="678" y="1053"/>
                      </a:lnTo>
                      <a:lnTo>
                        <a:pt x="668" y="1053"/>
                      </a:lnTo>
                      <a:lnTo>
                        <a:pt x="657" y="1053"/>
                      </a:lnTo>
                      <a:lnTo>
                        <a:pt x="647" y="1043"/>
                      </a:lnTo>
                      <a:lnTo>
                        <a:pt x="637" y="1043"/>
                      </a:lnTo>
                      <a:lnTo>
                        <a:pt x="617" y="1043"/>
                      </a:lnTo>
                      <a:lnTo>
                        <a:pt x="607" y="1043"/>
                      </a:lnTo>
                      <a:lnTo>
                        <a:pt x="607" y="1053"/>
                      </a:lnTo>
                      <a:lnTo>
                        <a:pt x="607" y="1063"/>
                      </a:lnTo>
                      <a:lnTo>
                        <a:pt x="607" y="1073"/>
                      </a:lnTo>
                      <a:lnTo>
                        <a:pt x="607" y="1084"/>
                      </a:lnTo>
                      <a:lnTo>
                        <a:pt x="597" y="1084"/>
                      </a:lnTo>
                      <a:lnTo>
                        <a:pt x="587" y="1084"/>
                      </a:lnTo>
                      <a:lnTo>
                        <a:pt x="566" y="1073"/>
                      </a:lnTo>
                      <a:lnTo>
                        <a:pt x="546" y="1073"/>
                      </a:lnTo>
                      <a:lnTo>
                        <a:pt x="526" y="1073"/>
                      </a:lnTo>
                      <a:lnTo>
                        <a:pt x="516" y="1073"/>
                      </a:lnTo>
                      <a:lnTo>
                        <a:pt x="506" y="1073"/>
                      </a:lnTo>
                      <a:lnTo>
                        <a:pt x="496" y="1073"/>
                      </a:lnTo>
                      <a:lnTo>
                        <a:pt x="485" y="1084"/>
                      </a:lnTo>
                      <a:lnTo>
                        <a:pt x="485" y="1094"/>
                      </a:lnTo>
                      <a:lnTo>
                        <a:pt x="475" y="1094"/>
                      </a:lnTo>
                      <a:lnTo>
                        <a:pt x="465" y="1094"/>
                      </a:lnTo>
                      <a:lnTo>
                        <a:pt x="455" y="1084"/>
                      </a:lnTo>
                      <a:lnTo>
                        <a:pt x="435" y="1073"/>
                      </a:lnTo>
                      <a:lnTo>
                        <a:pt x="425" y="1063"/>
                      </a:lnTo>
                      <a:lnTo>
                        <a:pt x="415" y="1063"/>
                      </a:lnTo>
                      <a:lnTo>
                        <a:pt x="404" y="1063"/>
                      </a:lnTo>
                      <a:lnTo>
                        <a:pt x="394" y="1063"/>
                      </a:lnTo>
                      <a:lnTo>
                        <a:pt x="384" y="1063"/>
                      </a:lnTo>
                      <a:lnTo>
                        <a:pt x="384" y="1073"/>
                      </a:lnTo>
                      <a:lnTo>
                        <a:pt x="364" y="1073"/>
                      </a:lnTo>
                      <a:lnTo>
                        <a:pt x="354" y="1073"/>
                      </a:lnTo>
                      <a:lnTo>
                        <a:pt x="354" y="1063"/>
                      </a:lnTo>
                      <a:lnTo>
                        <a:pt x="344" y="1063"/>
                      </a:lnTo>
                      <a:lnTo>
                        <a:pt x="334" y="1053"/>
                      </a:lnTo>
                      <a:lnTo>
                        <a:pt x="324" y="1053"/>
                      </a:lnTo>
                      <a:lnTo>
                        <a:pt x="313" y="1053"/>
                      </a:lnTo>
                      <a:lnTo>
                        <a:pt x="303" y="1063"/>
                      </a:lnTo>
                      <a:lnTo>
                        <a:pt x="293" y="1063"/>
                      </a:lnTo>
                      <a:lnTo>
                        <a:pt x="283" y="1063"/>
                      </a:lnTo>
                      <a:lnTo>
                        <a:pt x="273" y="1063"/>
                      </a:lnTo>
                      <a:lnTo>
                        <a:pt x="263" y="1043"/>
                      </a:lnTo>
                      <a:lnTo>
                        <a:pt x="253" y="1023"/>
                      </a:lnTo>
                      <a:lnTo>
                        <a:pt x="243" y="1013"/>
                      </a:lnTo>
                      <a:lnTo>
                        <a:pt x="232" y="1002"/>
                      </a:lnTo>
                      <a:lnTo>
                        <a:pt x="222" y="992"/>
                      </a:lnTo>
                      <a:lnTo>
                        <a:pt x="212" y="992"/>
                      </a:lnTo>
                      <a:lnTo>
                        <a:pt x="212" y="982"/>
                      </a:lnTo>
                      <a:lnTo>
                        <a:pt x="202" y="972"/>
                      </a:lnTo>
                      <a:lnTo>
                        <a:pt x="192" y="962"/>
                      </a:lnTo>
                      <a:lnTo>
                        <a:pt x="182" y="962"/>
                      </a:lnTo>
                      <a:lnTo>
                        <a:pt x="172" y="962"/>
                      </a:lnTo>
                      <a:lnTo>
                        <a:pt x="162" y="962"/>
                      </a:lnTo>
                      <a:lnTo>
                        <a:pt x="152" y="952"/>
                      </a:lnTo>
                      <a:lnTo>
                        <a:pt x="131" y="942"/>
                      </a:lnTo>
                      <a:lnTo>
                        <a:pt x="101" y="921"/>
                      </a:lnTo>
                      <a:lnTo>
                        <a:pt x="91" y="921"/>
                      </a:lnTo>
                      <a:lnTo>
                        <a:pt x="91" y="911"/>
                      </a:lnTo>
                      <a:lnTo>
                        <a:pt x="91" y="901"/>
                      </a:lnTo>
                      <a:lnTo>
                        <a:pt x="81" y="881"/>
                      </a:lnTo>
                      <a:lnTo>
                        <a:pt x="81" y="871"/>
                      </a:lnTo>
                      <a:lnTo>
                        <a:pt x="81" y="861"/>
                      </a:lnTo>
                      <a:lnTo>
                        <a:pt x="71" y="861"/>
                      </a:lnTo>
                      <a:lnTo>
                        <a:pt x="60" y="861"/>
                      </a:lnTo>
                      <a:lnTo>
                        <a:pt x="50" y="861"/>
                      </a:lnTo>
                      <a:lnTo>
                        <a:pt x="50" y="851"/>
                      </a:lnTo>
                      <a:lnTo>
                        <a:pt x="40" y="840"/>
                      </a:lnTo>
                      <a:lnTo>
                        <a:pt x="40" y="830"/>
                      </a:lnTo>
                      <a:lnTo>
                        <a:pt x="40" y="820"/>
                      </a:lnTo>
                      <a:lnTo>
                        <a:pt x="30" y="820"/>
                      </a:lnTo>
                      <a:lnTo>
                        <a:pt x="40" y="810"/>
                      </a:lnTo>
                      <a:lnTo>
                        <a:pt x="40" y="800"/>
                      </a:lnTo>
                      <a:lnTo>
                        <a:pt x="50" y="790"/>
                      </a:lnTo>
                      <a:lnTo>
                        <a:pt x="60" y="769"/>
                      </a:lnTo>
                      <a:lnTo>
                        <a:pt x="60" y="759"/>
                      </a:lnTo>
                      <a:lnTo>
                        <a:pt x="60" y="729"/>
                      </a:lnTo>
                      <a:lnTo>
                        <a:pt x="50" y="719"/>
                      </a:lnTo>
                      <a:lnTo>
                        <a:pt x="40" y="719"/>
                      </a:lnTo>
                      <a:lnTo>
                        <a:pt x="30" y="709"/>
                      </a:lnTo>
                      <a:lnTo>
                        <a:pt x="20" y="688"/>
                      </a:lnTo>
                      <a:lnTo>
                        <a:pt x="20" y="678"/>
                      </a:lnTo>
                      <a:lnTo>
                        <a:pt x="20" y="658"/>
                      </a:lnTo>
                      <a:lnTo>
                        <a:pt x="20" y="638"/>
                      </a:lnTo>
                      <a:lnTo>
                        <a:pt x="10" y="628"/>
                      </a:lnTo>
                      <a:lnTo>
                        <a:pt x="10" y="607"/>
                      </a:lnTo>
                      <a:lnTo>
                        <a:pt x="10" y="597"/>
                      </a:lnTo>
                      <a:lnTo>
                        <a:pt x="10" y="577"/>
                      </a:lnTo>
                      <a:lnTo>
                        <a:pt x="10" y="567"/>
                      </a:lnTo>
                      <a:lnTo>
                        <a:pt x="0" y="557"/>
                      </a:lnTo>
                      <a:lnTo>
                        <a:pt x="0" y="547"/>
                      </a:lnTo>
                      <a:lnTo>
                        <a:pt x="0" y="536"/>
                      </a:lnTo>
                      <a:lnTo>
                        <a:pt x="0" y="516"/>
                      </a:lnTo>
                      <a:lnTo>
                        <a:pt x="0" y="506"/>
                      </a:lnTo>
                      <a:lnTo>
                        <a:pt x="0" y="496"/>
                      </a:lnTo>
                      <a:lnTo>
                        <a:pt x="10" y="476"/>
                      </a:lnTo>
                      <a:lnTo>
                        <a:pt x="20" y="466"/>
                      </a:lnTo>
                      <a:lnTo>
                        <a:pt x="40" y="466"/>
                      </a:lnTo>
                      <a:lnTo>
                        <a:pt x="50" y="455"/>
                      </a:lnTo>
                      <a:lnTo>
                        <a:pt x="60" y="445"/>
                      </a:lnTo>
                      <a:lnTo>
                        <a:pt x="81" y="435"/>
                      </a:lnTo>
                      <a:lnTo>
                        <a:pt x="111" y="415"/>
                      </a:lnTo>
                      <a:lnTo>
                        <a:pt x="121" y="415"/>
                      </a:lnTo>
                      <a:lnTo>
                        <a:pt x="121" y="405"/>
                      </a:lnTo>
                      <a:lnTo>
                        <a:pt x="131" y="395"/>
                      </a:lnTo>
                      <a:lnTo>
                        <a:pt x="131" y="385"/>
                      </a:lnTo>
                      <a:lnTo>
                        <a:pt x="131" y="374"/>
                      </a:lnTo>
                      <a:lnTo>
                        <a:pt x="131" y="364"/>
                      </a:lnTo>
                      <a:lnTo>
                        <a:pt x="131" y="354"/>
                      </a:lnTo>
                      <a:lnTo>
                        <a:pt x="131" y="344"/>
                      </a:lnTo>
                      <a:lnTo>
                        <a:pt x="131" y="334"/>
                      </a:lnTo>
                      <a:lnTo>
                        <a:pt x="131" y="314"/>
                      </a:lnTo>
                      <a:lnTo>
                        <a:pt x="131" y="303"/>
                      </a:lnTo>
                      <a:lnTo>
                        <a:pt x="121" y="293"/>
                      </a:lnTo>
                      <a:lnTo>
                        <a:pt x="121" y="283"/>
                      </a:lnTo>
                      <a:lnTo>
                        <a:pt x="121" y="263"/>
                      </a:lnTo>
                      <a:lnTo>
                        <a:pt x="121" y="253"/>
                      </a:lnTo>
                      <a:lnTo>
                        <a:pt x="121" y="243"/>
                      </a:lnTo>
                      <a:lnTo>
                        <a:pt x="121" y="233"/>
                      </a:lnTo>
                      <a:lnTo>
                        <a:pt x="131" y="233"/>
                      </a:lnTo>
                      <a:lnTo>
                        <a:pt x="141" y="233"/>
                      </a:lnTo>
                      <a:lnTo>
                        <a:pt x="192" y="233"/>
                      </a:lnTo>
                      <a:lnTo>
                        <a:pt x="212" y="233"/>
                      </a:lnTo>
                      <a:lnTo>
                        <a:pt x="222" y="222"/>
                      </a:lnTo>
                      <a:lnTo>
                        <a:pt x="222" y="202"/>
                      </a:lnTo>
                      <a:lnTo>
                        <a:pt x="232" y="192"/>
                      </a:lnTo>
                      <a:lnTo>
                        <a:pt x="222" y="182"/>
                      </a:lnTo>
                      <a:lnTo>
                        <a:pt x="222" y="172"/>
                      </a:lnTo>
                      <a:lnTo>
                        <a:pt x="232" y="172"/>
                      </a:lnTo>
                      <a:lnTo>
                        <a:pt x="243" y="162"/>
                      </a:lnTo>
                      <a:lnTo>
                        <a:pt x="253" y="162"/>
                      </a:lnTo>
                      <a:lnTo>
                        <a:pt x="263" y="152"/>
                      </a:lnTo>
                      <a:lnTo>
                        <a:pt x="273" y="152"/>
                      </a:lnTo>
                      <a:lnTo>
                        <a:pt x="283" y="141"/>
                      </a:lnTo>
                      <a:lnTo>
                        <a:pt x="283" y="121"/>
                      </a:lnTo>
                      <a:lnTo>
                        <a:pt x="283" y="101"/>
                      </a:lnTo>
                      <a:lnTo>
                        <a:pt x="273" y="91"/>
                      </a:lnTo>
                      <a:lnTo>
                        <a:pt x="273" y="81"/>
                      </a:lnTo>
                      <a:lnTo>
                        <a:pt x="283" y="70"/>
                      </a:lnTo>
                      <a:lnTo>
                        <a:pt x="293" y="70"/>
                      </a:lnTo>
                      <a:lnTo>
                        <a:pt x="313" y="60"/>
                      </a:lnTo>
                      <a:lnTo>
                        <a:pt x="334" y="50"/>
                      </a:lnTo>
                      <a:lnTo>
                        <a:pt x="344" y="30"/>
                      </a:lnTo>
                      <a:lnTo>
                        <a:pt x="354" y="20"/>
                      </a:lnTo>
                      <a:lnTo>
                        <a:pt x="364" y="20"/>
                      </a:lnTo>
                      <a:lnTo>
                        <a:pt x="384" y="30"/>
                      </a:lnTo>
                      <a:lnTo>
                        <a:pt x="394" y="30"/>
                      </a:lnTo>
                      <a:lnTo>
                        <a:pt x="404" y="30"/>
                      </a:lnTo>
                      <a:lnTo>
                        <a:pt x="415" y="20"/>
                      </a:lnTo>
                      <a:lnTo>
                        <a:pt x="425" y="20"/>
                      </a:lnTo>
                      <a:lnTo>
                        <a:pt x="435" y="10"/>
                      </a:lnTo>
                      <a:lnTo>
                        <a:pt x="445" y="10"/>
                      </a:lnTo>
                      <a:lnTo>
                        <a:pt x="445" y="0"/>
                      </a:lnTo>
                      <a:lnTo>
                        <a:pt x="455" y="0"/>
                      </a:lnTo>
                      <a:lnTo>
                        <a:pt x="465" y="0"/>
                      </a:lnTo>
                      <a:lnTo>
                        <a:pt x="475" y="10"/>
                      </a:lnTo>
                      <a:lnTo>
                        <a:pt x="485" y="20"/>
                      </a:lnTo>
                      <a:lnTo>
                        <a:pt x="496" y="30"/>
                      </a:lnTo>
                      <a:lnTo>
                        <a:pt x="506" y="40"/>
                      </a:lnTo>
                      <a:lnTo>
                        <a:pt x="526" y="40"/>
                      </a:lnTo>
                      <a:lnTo>
                        <a:pt x="546" y="40"/>
                      </a:lnTo>
                      <a:lnTo>
                        <a:pt x="556" y="40"/>
                      </a:lnTo>
                      <a:lnTo>
                        <a:pt x="566" y="50"/>
                      </a:lnTo>
                      <a:lnTo>
                        <a:pt x="577" y="50"/>
                      </a:lnTo>
                      <a:lnTo>
                        <a:pt x="587" y="60"/>
                      </a:lnTo>
                      <a:lnTo>
                        <a:pt x="597" y="70"/>
                      </a:lnTo>
                      <a:lnTo>
                        <a:pt x="607" y="81"/>
                      </a:lnTo>
                      <a:lnTo>
                        <a:pt x="607" y="91"/>
                      </a:lnTo>
                      <a:lnTo>
                        <a:pt x="617" y="91"/>
                      </a:lnTo>
                      <a:lnTo>
                        <a:pt x="627" y="101"/>
                      </a:lnTo>
                      <a:lnTo>
                        <a:pt x="627" y="111"/>
                      </a:lnTo>
                      <a:lnTo>
                        <a:pt x="637" y="111"/>
                      </a:lnTo>
                      <a:lnTo>
                        <a:pt x="647" y="111"/>
                      </a:lnTo>
                      <a:lnTo>
                        <a:pt x="657" y="101"/>
                      </a:lnTo>
                      <a:lnTo>
                        <a:pt x="657" y="111"/>
                      </a:lnTo>
                      <a:lnTo>
                        <a:pt x="668" y="111"/>
                      </a:lnTo>
                      <a:lnTo>
                        <a:pt x="668" y="121"/>
                      </a:lnTo>
                      <a:lnTo>
                        <a:pt x="678" y="121"/>
                      </a:lnTo>
                      <a:lnTo>
                        <a:pt x="688" y="121"/>
                      </a:lnTo>
                      <a:lnTo>
                        <a:pt x="698" y="121"/>
                      </a:lnTo>
                      <a:lnTo>
                        <a:pt x="708" y="121"/>
                      </a:lnTo>
                      <a:lnTo>
                        <a:pt x="718" y="121"/>
                      </a:lnTo>
                      <a:lnTo>
                        <a:pt x="728" y="131"/>
                      </a:lnTo>
                      <a:lnTo>
                        <a:pt x="728" y="152"/>
                      </a:lnTo>
                      <a:lnTo>
                        <a:pt x="738" y="152"/>
                      </a:lnTo>
                      <a:lnTo>
                        <a:pt x="749" y="162"/>
                      </a:lnTo>
                      <a:lnTo>
                        <a:pt x="759" y="162"/>
                      </a:lnTo>
                      <a:lnTo>
                        <a:pt x="779" y="162"/>
                      </a:lnTo>
                      <a:lnTo>
                        <a:pt x="789" y="162"/>
                      </a:lnTo>
                      <a:lnTo>
                        <a:pt x="789" y="172"/>
                      </a:lnTo>
                      <a:lnTo>
                        <a:pt x="789" y="192"/>
                      </a:lnTo>
                      <a:lnTo>
                        <a:pt x="799" y="192"/>
                      </a:lnTo>
                      <a:lnTo>
                        <a:pt x="809" y="202"/>
                      </a:lnTo>
                      <a:lnTo>
                        <a:pt x="819" y="202"/>
                      </a:lnTo>
                      <a:lnTo>
                        <a:pt x="819" y="222"/>
                      </a:lnTo>
                      <a:lnTo>
                        <a:pt x="819" y="233"/>
                      </a:lnTo>
                      <a:lnTo>
                        <a:pt x="809" y="253"/>
                      </a:lnTo>
                      <a:lnTo>
                        <a:pt x="809" y="263"/>
                      </a:lnTo>
                      <a:lnTo>
                        <a:pt x="819" y="263"/>
                      </a:lnTo>
                      <a:lnTo>
                        <a:pt x="819" y="273"/>
                      </a:lnTo>
                      <a:lnTo>
                        <a:pt x="829" y="273"/>
                      </a:lnTo>
                      <a:lnTo>
                        <a:pt x="829" y="283"/>
                      </a:lnTo>
                      <a:lnTo>
                        <a:pt x="840" y="283"/>
                      </a:lnTo>
                      <a:lnTo>
                        <a:pt x="850" y="293"/>
                      </a:lnTo>
                      <a:lnTo>
                        <a:pt x="860" y="303"/>
                      </a:lnTo>
                      <a:lnTo>
                        <a:pt x="870" y="314"/>
                      </a:lnTo>
                      <a:lnTo>
                        <a:pt x="870" y="324"/>
                      </a:lnTo>
                      <a:lnTo>
                        <a:pt x="880" y="334"/>
                      </a:lnTo>
                      <a:lnTo>
                        <a:pt x="900" y="344"/>
                      </a:lnTo>
                      <a:lnTo>
                        <a:pt x="910" y="344"/>
                      </a:lnTo>
                      <a:lnTo>
                        <a:pt x="921" y="364"/>
                      </a:lnTo>
                      <a:lnTo>
                        <a:pt x="921" y="374"/>
                      </a:lnTo>
                      <a:lnTo>
                        <a:pt x="931" y="385"/>
                      </a:lnTo>
                      <a:lnTo>
                        <a:pt x="931" y="395"/>
                      </a:lnTo>
                      <a:lnTo>
                        <a:pt x="941" y="395"/>
                      </a:lnTo>
                      <a:lnTo>
                        <a:pt x="941" y="405"/>
                      </a:lnTo>
                      <a:lnTo>
                        <a:pt x="951" y="405"/>
                      </a:lnTo>
                      <a:lnTo>
                        <a:pt x="951" y="415"/>
                      </a:lnTo>
                      <a:lnTo>
                        <a:pt x="961" y="415"/>
                      </a:lnTo>
                      <a:lnTo>
                        <a:pt x="971" y="415"/>
                      </a:lnTo>
                      <a:lnTo>
                        <a:pt x="981" y="415"/>
                      </a:lnTo>
                      <a:lnTo>
                        <a:pt x="991" y="415"/>
                      </a:lnTo>
                      <a:lnTo>
                        <a:pt x="1001" y="415"/>
                      </a:lnTo>
                      <a:lnTo>
                        <a:pt x="1001" y="425"/>
                      </a:lnTo>
                      <a:lnTo>
                        <a:pt x="1012" y="435"/>
                      </a:lnTo>
                      <a:lnTo>
                        <a:pt x="1032" y="455"/>
                      </a:lnTo>
                      <a:lnTo>
                        <a:pt x="1032" y="466"/>
                      </a:lnTo>
                      <a:lnTo>
                        <a:pt x="1042" y="476"/>
                      </a:lnTo>
                      <a:lnTo>
                        <a:pt x="1042" y="496"/>
                      </a:lnTo>
                      <a:lnTo>
                        <a:pt x="1042" y="506"/>
                      </a:lnTo>
                      <a:lnTo>
                        <a:pt x="1052" y="526"/>
                      </a:lnTo>
                      <a:lnTo>
                        <a:pt x="1062" y="547"/>
                      </a:lnTo>
                      <a:lnTo>
                        <a:pt x="1072" y="557"/>
                      </a:lnTo>
                      <a:lnTo>
                        <a:pt x="1082" y="567"/>
                      </a:lnTo>
                      <a:lnTo>
                        <a:pt x="1082" y="587"/>
                      </a:lnTo>
                      <a:lnTo>
                        <a:pt x="1082" y="607"/>
                      </a:lnTo>
                      <a:lnTo>
                        <a:pt x="1082" y="618"/>
                      </a:lnTo>
                      <a:lnTo>
                        <a:pt x="1072" y="628"/>
                      </a:lnTo>
                      <a:lnTo>
                        <a:pt x="1072" y="638"/>
                      </a:lnTo>
                      <a:lnTo>
                        <a:pt x="1072" y="648"/>
                      </a:lnTo>
                      <a:lnTo>
                        <a:pt x="1072" y="658"/>
                      </a:lnTo>
                      <a:lnTo>
                        <a:pt x="1072" y="668"/>
                      </a:lnTo>
                      <a:lnTo>
                        <a:pt x="1072" y="688"/>
                      </a:lnTo>
                      <a:lnTo>
                        <a:pt x="1062" y="699"/>
                      </a:lnTo>
                      <a:lnTo>
                        <a:pt x="1052" y="729"/>
                      </a:lnTo>
                      <a:lnTo>
                        <a:pt x="1042" y="759"/>
                      </a:lnTo>
                      <a:lnTo>
                        <a:pt x="1042" y="769"/>
                      </a:lnTo>
                      <a:lnTo>
                        <a:pt x="1032" y="780"/>
                      </a:lnTo>
                      <a:lnTo>
                        <a:pt x="1022" y="790"/>
                      </a:lnTo>
                      <a:lnTo>
                        <a:pt x="1012" y="810"/>
                      </a:lnTo>
                      <a:lnTo>
                        <a:pt x="1001" y="820"/>
                      </a:lnTo>
                      <a:lnTo>
                        <a:pt x="981" y="830"/>
                      </a:lnTo>
                      <a:lnTo>
                        <a:pt x="951" y="851"/>
                      </a:lnTo>
                      <a:lnTo>
                        <a:pt x="931" y="851"/>
                      </a:lnTo>
                      <a:lnTo>
                        <a:pt x="921" y="861"/>
                      </a:lnTo>
                      <a:lnTo>
                        <a:pt x="910" y="861"/>
                      </a:lnTo>
                      <a:lnTo>
                        <a:pt x="910" y="871"/>
                      </a:lnTo>
                      <a:lnTo>
                        <a:pt x="900" y="871"/>
                      </a:lnTo>
                      <a:lnTo>
                        <a:pt x="890" y="881"/>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704" name="Freeform 16">
                  <a:extLst>
                    <a:ext uri="{FF2B5EF4-FFF2-40B4-BE49-F238E27FC236}">
                      <a16:creationId xmlns:a16="http://schemas.microsoft.com/office/drawing/2014/main" id="{385AE2CD-9167-4036-A2C4-BA7B28A1F01B}"/>
                    </a:ext>
                  </a:extLst>
                </p:cNvPr>
                <p:cNvSpPr>
                  <a:spLocks noChangeAspect="1"/>
                </p:cNvSpPr>
                <p:nvPr/>
              </p:nvSpPr>
              <p:spPr bwMode="auto">
                <a:xfrm>
                  <a:off x="1838325" y="2460632"/>
                  <a:ext cx="136526" cy="114300"/>
                </a:xfrm>
                <a:custGeom>
                  <a:avLst/>
                  <a:gdLst>
                    <a:gd name="T0" fmla="*/ 81 w 132"/>
                    <a:gd name="T1" fmla="*/ 81 h 111"/>
                    <a:gd name="T2" fmla="*/ 91 w 132"/>
                    <a:gd name="T3" fmla="*/ 81 h 111"/>
                    <a:gd name="T4" fmla="*/ 102 w 132"/>
                    <a:gd name="T5" fmla="*/ 81 h 111"/>
                    <a:gd name="T6" fmla="*/ 122 w 132"/>
                    <a:gd name="T7" fmla="*/ 81 h 111"/>
                    <a:gd name="T8" fmla="*/ 122 w 132"/>
                    <a:gd name="T9" fmla="*/ 81 h 111"/>
                    <a:gd name="T10" fmla="*/ 122 w 132"/>
                    <a:gd name="T11" fmla="*/ 81 h 111"/>
                    <a:gd name="T12" fmla="*/ 132 w 132"/>
                    <a:gd name="T13" fmla="*/ 71 h 111"/>
                    <a:gd name="T14" fmla="*/ 132 w 132"/>
                    <a:gd name="T15" fmla="*/ 61 h 111"/>
                    <a:gd name="T16" fmla="*/ 132 w 132"/>
                    <a:gd name="T17" fmla="*/ 50 h 111"/>
                    <a:gd name="T18" fmla="*/ 132 w 132"/>
                    <a:gd name="T19" fmla="*/ 40 h 111"/>
                    <a:gd name="T20" fmla="*/ 132 w 132"/>
                    <a:gd name="T21" fmla="*/ 30 h 111"/>
                    <a:gd name="T22" fmla="*/ 132 w 132"/>
                    <a:gd name="T23" fmla="*/ 30 h 111"/>
                    <a:gd name="T24" fmla="*/ 122 w 132"/>
                    <a:gd name="T25" fmla="*/ 20 h 111"/>
                    <a:gd name="T26" fmla="*/ 112 w 132"/>
                    <a:gd name="T27" fmla="*/ 10 h 111"/>
                    <a:gd name="T28" fmla="*/ 102 w 132"/>
                    <a:gd name="T29" fmla="*/ 10 h 111"/>
                    <a:gd name="T30" fmla="*/ 102 w 132"/>
                    <a:gd name="T31" fmla="*/ 0 h 111"/>
                    <a:gd name="T32" fmla="*/ 91 w 132"/>
                    <a:gd name="T33" fmla="*/ 0 h 111"/>
                    <a:gd name="T34" fmla="*/ 71 w 132"/>
                    <a:gd name="T35" fmla="*/ 0 h 111"/>
                    <a:gd name="T36" fmla="*/ 61 w 132"/>
                    <a:gd name="T37" fmla="*/ 0 h 111"/>
                    <a:gd name="T38" fmla="*/ 51 w 132"/>
                    <a:gd name="T39" fmla="*/ 10 h 111"/>
                    <a:gd name="T40" fmla="*/ 51 w 132"/>
                    <a:gd name="T41" fmla="*/ 10 h 111"/>
                    <a:gd name="T42" fmla="*/ 41 w 132"/>
                    <a:gd name="T43" fmla="*/ 20 h 111"/>
                    <a:gd name="T44" fmla="*/ 41 w 132"/>
                    <a:gd name="T45" fmla="*/ 30 h 111"/>
                    <a:gd name="T46" fmla="*/ 31 w 132"/>
                    <a:gd name="T47" fmla="*/ 40 h 111"/>
                    <a:gd name="T48" fmla="*/ 31 w 132"/>
                    <a:gd name="T49" fmla="*/ 50 h 111"/>
                    <a:gd name="T50" fmla="*/ 21 w 132"/>
                    <a:gd name="T51" fmla="*/ 61 h 111"/>
                    <a:gd name="T52" fmla="*/ 21 w 132"/>
                    <a:gd name="T53" fmla="*/ 61 h 111"/>
                    <a:gd name="T54" fmla="*/ 11 w 132"/>
                    <a:gd name="T55" fmla="*/ 71 h 111"/>
                    <a:gd name="T56" fmla="*/ 0 w 132"/>
                    <a:gd name="T57" fmla="*/ 91 h 111"/>
                    <a:gd name="T58" fmla="*/ 0 w 132"/>
                    <a:gd name="T59" fmla="*/ 101 h 111"/>
                    <a:gd name="T60" fmla="*/ 0 w 132"/>
                    <a:gd name="T61" fmla="*/ 111 h 111"/>
                    <a:gd name="T62" fmla="*/ 11 w 132"/>
                    <a:gd name="T63" fmla="*/ 111 h 111"/>
                    <a:gd name="T64" fmla="*/ 21 w 132"/>
                    <a:gd name="T65" fmla="*/ 101 h 111"/>
                    <a:gd name="T66" fmla="*/ 31 w 132"/>
                    <a:gd name="T67" fmla="*/ 101 h 111"/>
                    <a:gd name="T68" fmla="*/ 41 w 132"/>
                    <a:gd name="T69" fmla="*/ 91 h 111"/>
                    <a:gd name="T70" fmla="*/ 41 w 132"/>
                    <a:gd name="T71" fmla="*/ 81 h 111"/>
                    <a:gd name="T72" fmla="*/ 51 w 132"/>
                    <a:gd name="T73" fmla="*/ 71 h 111"/>
                    <a:gd name="T74" fmla="*/ 51 w 132"/>
                    <a:gd name="T75" fmla="*/ 71 h 111"/>
                    <a:gd name="T76" fmla="*/ 61 w 132"/>
                    <a:gd name="T77" fmla="*/ 71 h 111"/>
                    <a:gd name="T78" fmla="*/ 61 w 132"/>
                    <a:gd name="T79" fmla="*/ 71 h 111"/>
                    <a:gd name="T80" fmla="*/ 81 w 132"/>
                    <a:gd name="T81" fmla="*/ 8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 h="111">
                      <a:moveTo>
                        <a:pt x="81" y="81"/>
                      </a:moveTo>
                      <a:lnTo>
                        <a:pt x="91" y="81"/>
                      </a:lnTo>
                      <a:lnTo>
                        <a:pt x="102" y="81"/>
                      </a:lnTo>
                      <a:lnTo>
                        <a:pt x="122" y="81"/>
                      </a:lnTo>
                      <a:lnTo>
                        <a:pt x="132" y="71"/>
                      </a:lnTo>
                      <a:lnTo>
                        <a:pt x="132" y="61"/>
                      </a:lnTo>
                      <a:lnTo>
                        <a:pt x="132" y="50"/>
                      </a:lnTo>
                      <a:lnTo>
                        <a:pt x="132" y="40"/>
                      </a:lnTo>
                      <a:lnTo>
                        <a:pt x="132" y="30"/>
                      </a:lnTo>
                      <a:lnTo>
                        <a:pt x="122" y="20"/>
                      </a:lnTo>
                      <a:lnTo>
                        <a:pt x="112" y="10"/>
                      </a:lnTo>
                      <a:lnTo>
                        <a:pt x="102" y="10"/>
                      </a:lnTo>
                      <a:lnTo>
                        <a:pt x="102" y="0"/>
                      </a:lnTo>
                      <a:lnTo>
                        <a:pt x="91" y="0"/>
                      </a:lnTo>
                      <a:lnTo>
                        <a:pt x="71" y="0"/>
                      </a:lnTo>
                      <a:lnTo>
                        <a:pt x="61" y="0"/>
                      </a:lnTo>
                      <a:lnTo>
                        <a:pt x="51" y="10"/>
                      </a:lnTo>
                      <a:lnTo>
                        <a:pt x="41" y="20"/>
                      </a:lnTo>
                      <a:lnTo>
                        <a:pt x="41" y="30"/>
                      </a:lnTo>
                      <a:lnTo>
                        <a:pt x="31" y="40"/>
                      </a:lnTo>
                      <a:lnTo>
                        <a:pt x="31" y="50"/>
                      </a:lnTo>
                      <a:lnTo>
                        <a:pt x="21" y="61"/>
                      </a:lnTo>
                      <a:lnTo>
                        <a:pt x="11" y="71"/>
                      </a:lnTo>
                      <a:lnTo>
                        <a:pt x="0" y="91"/>
                      </a:lnTo>
                      <a:lnTo>
                        <a:pt x="0" y="101"/>
                      </a:lnTo>
                      <a:lnTo>
                        <a:pt x="0" y="111"/>
                      </a:lnTo>
                      <a:lnTo>
                        <a:pt x="11" y="111"/>
                      </a:lnTo>
                      <a:lnTo>
                        <a:pt x="21" y="101"/>
                      </a:lnTo>
                      <a:lnTo>
                        <a:pt x="31" y="101"/>
                      </a:lnTo>
                      <a:lnTo>
                        <a:pt x="41" y="91"/>
                      </a:lnTo>
                      <a:lnTo>
                        <a:pt x="41" y="81"/>
                      </a:lnTo>
                      <a:lnTo>
                        <a:pt x="51" y="71"/>
                      </a:lnTo>
                      <a:lnTo>
                        <a:pt x="61" y="71"/>
                      </a:lnTo>
                      <a:lnTo>
                        <a:pt x="81" y="81"/>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705" name="Freeform 15">
                  <a:extLst>
                    <a:ext uri="{FF2B5EF4-FFF2-40B4-BE49-F238E27FC236}">
                      <a16:creationId xmlns:a16="http://schemas.microsoft.com/office/drawing/2014/main" id="{854E0DDC-79C7-4C67-9446-412EF2FEC8AD}"/>
                    </a:ext>
                  </a:extLst>
                </p:cNvPr>
                <p:cNvSpPr>
                  <a:spLocks noChangeAspect="1"/>
                </p:cNvSpPr>
                <p:nvPr/>
              </p:nvSpPr>
              <p:spPr bwMode="auto">
                <a:xfrm>
                  <a:off x="381000" y="2271720"/>
                  <a:ext cx="52388" cy="73025"/>
                </a:xfrm>
                <a:custGeom>
                  <a:avLst/>
                  <a:gdLst>
                    <a:gd name="T0" fmla="*/ 0 w 50"/>
                    <a:gd name="T1" fmla="*/ 31 h 71"/>
                    <a:gd name="T2" fmla="*/ 0 w 50"/>
                    <a:gd name="T3" fmla="*/ 41 h 71"/>
                    <a:gd name="T4" fmla="*/ 0 w 50"/>
                    <a:gd name="T5" fmla="*/ 51 h 71"/>
                    <a:gd name="T6" fmla="*/ 0 w 50"/>
                    <a:gd name="T7" fmla="*/ 51 h 71"/>
                    <a:gd name="T8" fmla="*/ 0 w 50"/>
                    <a:gd name="T9" fmla="*/ 61 h 71"/>
                    <a:gd name="T10" fmla="*/ 0 w 50"/>
                    <a:gd name="T11" fmla="*/ 71 h 71"/>
                    <a:gd name="T12" fmla="*/ 10 w 50"/>
                    <a:gd name="T13" fmla="*/ 71 h 71"/>
                    <a:gd name="T14" fmla="*/ 10 w 50"/>
                    <a:gd name="T15" fmla="*/ 71 h 71"/>
                    <a:gd name="T16" fmla="*/ 20 w 50"/>
                    <a:gd name="T17" fmla="*/ 71 h 71"/>
                    <a:gd name="T18" fmla="*/ 20 w 50"/>
                    <a:gd name="T19" fmla="*/ 71 h 71"/>
                    <a:gd name="T20" fmla="*/ 30 w 50"/>
                    <a:gd name="T21" fmla="*/ 71 h 71"/>
                    <a:gd name="T22" fmla="*/ 30 w 50"/>
                    <a:gd name="T23" fmla="*/ 71 h 71"/>
                    <a:gd name="T24" fmla="*/ 40 w 50"/>
                    <a:gd name="T25" fmla="*/ 71 h 71"/>
                    <a:gd name="T26" fmla="*/ 40 w 50"/>
                    <a:gd name="T27" fmla="*/ 61 h 71"/>
                    <a:gd name="T28" fmla="*/ 40 w 50"/>
                    <a:gd name="T29" fmla="*/ 61 h 71"/>
                    <a:gd name="T30" fmla="*/ 40 w 50"/>
                    <a:gd name="T31" fmla="*/ 61 h 71"/>
                    <a:gd name="T32" fmla="*/ 50 w 50"/>
                    <a:gd name="T33" fmla="*/ 51 h 71"/>
                    <a:gd name="T34" fmla="*/ 50 w 50"/>
                    <a:gd name="T35" fmla="*/ 51 h 71"/>
                    <a:gd name="T36" fmla="*/ 50 w 50"/>
                    <a:gd name="T37" fmla="*/ 41 h 71"/>
                    <a:gd name="T38" fmla="*/ 50 w 50"/>
                    <a:gd name="T39" fmla="*/ 41 h 71"/>
                    <a:gd name="T40" fmla="*/ 50 w 50"/>
                    <a:gd name="T41" fmla="*/ 21 h 71"/>
                    <a:gd name="T42" fmla="*/ 50 w 50"/>
                    <a:gd name="T43" fmla="*/ 21 h 71"/>
                    <a:gd name="T44" fmla="*/ 40 w 50"/>
                    <a:gd name="T45" fmla="*/ 11 h 71"/>
                    <a:gd name="T46" fmla="*/ 30 w 50"/>
                    <a:gd name="T47" fmla="*/ 11 h 71"/>
                    <a:gd name="T48" fmla="*/ 20 w 50"/>
                    <a:gd name="T49" fmla="*/ 0 h 71"/>
                    <a:gd name="T50" fmla="*/ 20 w 50"/>
                    <a:gd name="T51" fmla="*/ 0 h 71"/>
                    <a:gd name="T52" fmla="*/ 10 w 50"/>
                    <a:gd name="T53" fmla="*/ 11 h 71"/>
                    <a:gd name="T54" fmla="*/ 10 w 50"/>
                    <a:gd name="T55" fmla="*/ 11 h 71"/>
                    <a:gd name="T56" fmla="*/ 10 w 50"/>
                    <a:gd name="T57" fmla="*/ 21 h 71"/>
                    <a:gd name="T58" fmla="*/ 0 w 50"/>
                    <a:gd name="T59" fmla="*/ 3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71">
                      <a:moveTo>
                        <a:pt x="0" y="31"/>
                      </a:moveTo>
                      <a:lnTo>
                        <a:pt x="0" y="41"/>
                      </a:lnTo>
                      <a:lnTo>
                        <a:pt x="0" y="51"/>
                      </a:lnTo>
                      <a:lnTo>
                        <a:pt x="0" y="61"/>
                      </a:lnTo>
                      <a:lnTo>
                        <a:pt x="0" y="71"/>
                      </a:lnTo>
                      <a:lnTo>
                        <a:pt x="10" y="71"/>
                      </a:lnTo>
                      <a:lnTo>
                        <a:pt x="20" y="71"/>
                      </a:lnTo>
                      <a:lnTo>
                        <a:pt x="30" y="71"/>
                      </a:lnTo>
                      <a:lnTo>
                        <a:pt x="40" y="71"/>
                      </a:lnTo>
                      <a:lnTo>
                        <a:pt x="40" y="61"/>
                      </a:lnTo>
                      <a:lnTo>
                        <a:pt x="50" y="51"/>
                      </a:lnTo>
                      <a:lnTo>
                        <a:pt x="50" y="41"/>
                      </a:lnTo>
                      <a:lnTo>
                        <a:pt x="50" y="21"/>
                      </a:lnTo>
                      <a:lnTo>
                        <a:pt x="40" y="11"/>
                      </a:lnTo>
                      <a:lnTo>
                        <a:pt x="30" y="11"/>
                      </a:lnTo>
                      <a:lnTo>
                        <a:pt x="20" y="0"/>
                      </a:lnTo>
                      <a:lnTo>
                        <a:pt x="10" y="11"/>
                      </a:lnTo>
                      <a:lnTo>
                        <a:pt x="10" y="21"/>
                      </a:lnTo>
                      <a:lnTo>
                        <a:pt x="0" y="31"/>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706" name="Freeform 14">
                  <a:extLst>
                    <a:ext uri="{FF2B5EF4-FFF2-40B4-BE49-F238E27FC236}">
                      <a16:creationId xmlns:a16="http://schemas.microsoft.com/office/drawing/2014/main" id="{94D6B9DD-6F01-4A78-8CC0-795C7615B307}"/>
                    </a:ext>
                  </a:extLst>
                </p:cNvPr>
                <p:cNvSpPr>
                  <a:spLocks noChangeAspect="1"/>
                </p:cNvSpPr>
                <p:nvPr/>
              </p:nvSpPr>
              <p:spPr bwMode="auto">
                <a:xfrm>
                  <a:off x="1460498" y="6194442"/>
                  <a:ext cx="304800" cy="231776"/>
                </a:xfrm>
                <a:custGeom>
                  <a:avLst/>
                  <a:gdLst>
                    <a:gd name="T0" fmla="*/ 20 w 294"/>
                    <a:gd name="T1" fmla="*/ 122 h 223"/>
                    <a:gd name="T2" fmla="*/ 10 w 294"/>
                    <a:gd name="T3" fmla="*/ 142 h 223"/>
                    <a:gd name="T4" fmla="*/ 10 w 294"/>
                    <a:gd name="T5" fmla="*/ 152 h 223"/>
                    <a:gd name="T6" fmla="*/ 0 w 294"/>
                    <a:gd name="T7" fmla="*/ 172 h 223"/>
                    <a:gd name="T8" fmla="*/ 10 w 294"/>
                    <a:gd name="T9" fmla="*/ 182 h 223"/>
                    <a:gd name="T10" fmla="*/ 20 w 294"/>
                    <a:gd name="T11" fmla="*/ 172 h 223"/>
                    <a:gd name="T12" fmla="*/ 30 w 294"/>
                    <a:gd name="T13" fmla="*/ 172 h 223"/>
                    <a:gd name="T14" fmla="*/ 51 w 294"/>
                    <a:gd name="T15" fmla="*/ 172 h 223"/>
                    <a:gd name="T16" fmla="*/ 61 w 294"/>
                    <a:gd name="T17" fmla="*/ 182 h 223"/>
                    <a:gd name="T18" fmla="*/ 71 w 294"/>
                    <a:gd name="T19" fmla="*/ 203 h 223"/>
                    <a:gd name="T20" fmla="*/ 81 w 294"/>
                    <a:gd name="T21" fmla="*/ 213 h 223"/>
                    <a:gd name="T22" fmla="*/ 91 w 294"/>
                    <a:gd name="T23" fmla="*/ 213 h 223"/>
                    <a:gd name="T24" fmla="*/ 142 w 294"/>
                    <a:gd name="T25" fmla="*/ 213 h 223"/>
                    <a:gd name="T26" fmla="*/ 152 w 294"/>
                    <a:gd name="T27" fmla="*/ 223 h 223"/>
                    <a:gd name="T28" fmla="*/ 162 w 294"/>
                    <a:gd name="T29" fmla="*/ 223 h 223"/>
                    <a:gd name="T30" fmla="*/ 172 w 294"/>
                    <a:gd name="T31" fmla="*/ 213 h 223"/>
                    <a:gd name="T32" fmla="*/ 172 w 294"/>
                    <a:gd name="T33" fmla="*/ 193 h 223"/>
                    <a:gd name="T34" fmla="*/ 172 w 294"/>
                    <a:gd name="T35" fmla="*/ 182 h 223"/>
                    <a:gd name="T36" fmla="*/ 182 w 294"/>
                    <a:gd name="T37" fmla="*/ 172 h 223"/>
                    <a:gd name="T38" fmla="*/ 202 w 294"/>
                    <a:gd name="T39" fmla="*/ 172 h 223"/>
                    <a:gd name="T40" fmla="*/ 213 w 294"/>
                    <a:gd name="T41" fmla="*/ 162 h 223"/>
                    <a:gd name="T42" fmla="*/ 213 w 294"/>
                    <a:gd name="T43" fmla="*/ 152 h 223"/>
                    <a:gd name="T44" fmla="*/ 213 w 294"/>
                    <a:gd name="T45" fmla="*/ 142 h 223"/>
                    <a:gd name="T46" fmla="*/ 213 w 294"/>
                    <a:gd name="T47" fmla="*/ 122 h 223"/>
                    <a:gd name="T48" fmla="*/ 223 w 294"/>
                    <a:gd name="T49" fmla="*/ 122 h 223"/>
                    <a:gd name="T50" fmla="*/ 233 w 294"/>
                    <a:gd name="T51" fmla="*/ 122 h 223"/>
                    <a:gd name="T52" fmla="*/ 243 w 294"/>
                    <a:gd name="T53" fmla="*/ 122 h 223"/>
                    <a:gd name="T54" fmla="*/ 253 w 294"/>
                    <a:gd name="T55" fmla="*/ 132 h 223"/>
                    <a:gd name="T56" fmla="*/ 263 w 294"/>
                    <a:gd name="T57" fmla="*/ 132 h 223"/>
                    <a:gd name="T58" fmla="*/ 283 w 294"/>
                    <a:gd name="T59" fmla="*/ 122 h 223"/>
                    <a:gd name="T60" fmla="*/ 294 w 294"/>
                    <a:gd name="T61" fmla="*/ 112 h 223"/>
                    <a:gd name="T62" fmla="*/ 283 w 294"/>
                    <a:gd name="T63" fmla="*/ 101 h 223"/>
                    <a:gd name="T64" fmla="*/ 273 w 294"/>
                    <a:gd name="T65" fmla="*/ 91 h 223"/>
                    <a:gd name="T66" fmla="*/ 273 w 294"/>
                    <a:gd name="T67" fmla="*/ 81 h 223"/>
                    <a:gd name="T68" fmla="*/ 263 w 294"/>
                    <a:gd name="T69" fmla="*/ 81 h 223"/>
                    <a:gd name="T70" fmla="*/ 243 w 294"/>
                    <a:gd name="T71" fmla="*/ 81 h 223"/>
                    <a:gd name="T72" fmla="*/ 223 w 294"/>
                    <a:gd name="T73" fmla="*/ 81 h 223"/>
                    <a:gd name="T74" fmla="*/ 202 w 294"/>
                    <a:gd name="T75" fmla="*/ 81 h 223"/>
                    <a:gd name="T76" fmla="*/ 202 w 294"/>
                    <a:gd name="T77" fmla="*/ 71 h 223"/>
                    <a:gd name="T78" fmla="*/ 202 w 294"/>
                    <a:gd name="T79" fmla="*/ 61 h 223"/>
                    <a:gd name="T80" fmla="*/ 202 w 294"/>
                    <a:gd name="T81" fmla="*/ 51 h 223"/>
                    <a:gd name="T82" fmla="*/ 213 w 294"/>
                    <a:gd name="T83" fmla="*/ 41 h 223"/>
                    <a:gd name="T84" fmla="*/ 213 w 294"/>
                    <a:gd name="T85" fmla="*/ 31 h 223"/>
                    <a:gd name="T86" fmla="*/ 202 w 294"/>
                    <a:gd name="T87" fmla="*/ 20 h 223"/>
                    <a:gd name="T88" fmla="*/ 192 w 294"/>
                    <a:gd name="T89" fmla="*/ 10 h 223"/>
                    <a:gd name="T90" fmla="*/ 172 w 294"/>
                    <a:gd name="T91" fmla="*/ 10 h 223"/>
                    <a:gd name="T92" fmla="*/ 152 w 294"/>
                    <a:gd name="T93" fmla="*/ 10 h 223"/>
                    <a:gd name="T94" fmla="*/ 142 w 294"/>
                    <a:gd name="T95" fmla="*/ 0 h 223"/>
                    <a:gd name="T96" fmla="*/ 132 w 294"/>
                    <a:gd name="T97" fmla="*/ 10 h 223"/>
                    <a:gd name="T98" fmla="*/ 101 w 294"/>
                    <a:gd name="T99" fmla="*/ 31 h 223"/>
                    <a:gd name="T100" fmla="*/ 91 w 294"/>
                    <a:gd name="T101" fmla="*/ 41 h 223"/>
                    <a:gd name="T102" fmla="*/ 81 w 294"/>
                    <a:gd name="T103" fmla="*/ 61 h 223"/>
                    <a:gd name="T104" fmla="*/ 61 w 294"/>
                    <a:gd name="T105" fmla="*/ 61 h 223"/>
                    <a:gd name="T106" fmla="*/ 51 w 294"/>
                    <a:gd name="T107" fmla="*/ 61 h 223"/>
                    <a:gd name="T108" fmla="*/ 41 w 294"/>
                    <a:gd name="T109" fmla="*/ 61 h 223"/>
                    <a:gd name="T110" fmla="*/ 30 w 294"/>
                    <a:gd name="T111" fmla="*/ 71 h 223"/>
                    <a:gd name="T112" fmla="*/ 30 w 294"/>
                    <a:gd name="T113" fmla="*/ 91 h 223"/>
                    <a:gd name="T114" fmla="*/ 30 w 294"/>
                    <a:gd name="T115" fmla="*/ 101 h 223"/>
                    <a:gd name="T116" fmla="*/ 20 w 294"/>
                    <a:gd name="T117" fmla="*/ 12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4" h="223">
                      <a:moveTo>
                        <a:pt x="20" y="122"/>
                      </a:moveTo>
                      <a:lnTo>
                        <a:pt x="20" y="122"/>
                      </a:lnTo>
                      <a:lnTo>
                        <a:pt x="10" y="132"/>
                      </a:lnTo>
                      <a:lnTo>
                        <a:pt x="10" y="142"/>
                      </a:lnTo>
                      <a:lnTo>
                        <a:pt x="10" y="152"/>
                      </a:lnTo>
                      <a:lnTo>
                        <a:pt x="0" y="162"/>
                      </a:lnTo>
                      <a:lnTo>
                        <a:pt x="0" y="172"/>
                      </a:lnTo>
                      <a:lnTo>
                        <a:pt x="10" y="182"/>
                      </a:lnTo>
                      <a:lnTo>
                        <a:pt x="20" y="182"/>
                      </a:lnTo>
                      <a:lnTo>
                        <a:pt x="20" y="172"/>
                      </a:lnTo>
                      <a:lnTo>
                        <a:pt x="30" y="172"/>
                      </a:lnTo>
                      <a:lnTo>
                        <a:pt x="41" y="172"/>
                      </a:lnTo>
                      <a:lnTo>
                        <a:pt x="51" y="172"/>
                      </a:lnTo>
                      <a:lnTo>
                        <a:pt x="61" y="182"/>
                      </a:lnTo>
                      <a:lnTo>
                        <a:pt x="71" y="193"/>
                      </a:lnTo>
                      <a:lnTo>
                        <a:pt x="71" y="203"/>
                      </a:lnTo>
                      <a:lnTo>
                        <a:pt x="81" y="203"/>
                      </a:lnTo>
                      <a:lnTo>
                        <a:pt x="81" y="213"/>
                      </a:lnTo>
                      <a:lnTo>
                        <a:pt x="91" y="213"/>
                      </a:lnTo>
                      <a:lnTo>
                        <a:pt x="132" y="213"/>
                      </a:lnTo>
                      <a:lnTo>
                        <a:pt x="142" y="213"/>
                      </a:lnTo>
                      <a:lnTo>
                        <a:pt x="142" y="223"/>
                      </a:lnTo>
                      <a:lnTo>
                        <a:pt x="152" y="223"/>
                      </a:lnTo>
                      <a:lnTo>
                        <a:pt x="162" y="223"/>
                      </a:lnTo>
                      <a:lnTo>
                        <a:pt x="162" y="213"/>
                      </a:lnTo>
                      <a:lnTo>
                        <a:pt x="172" y="213"/>
                      </a:lnTo>
                      <a:lnTo>
                        <a:pt x="172" y="203"/>
                      </a:lnTo>
                      <a:lnTo>
                        <a:pt x="172" y="193"/>
                      </a:lnTo>
                      <a:lnTo>
                        <a:pt x="172" y="182"/>
                      </a:lnTo>
                      <a:lnTo>
                        <a:pt x="182" y="172"/>
                      </a:lnTo>
                      <a:lnTo>
                        <a:pt x="192" y="172"/>
                      </a:lnTo>
                      <a:lnTo>
                        <a:pt x="202" y="172"/>
                      </a:lnTo>
                      <a:lnTo>
                        <a:pt x="213" y="162"/>
                      </a:lnTo>
                      <a:lnTo>
                        <a:pt x="213" y="152"/>
                      </a:lnTo>
                      <a:lnTo>
                        <a:pt x="213" y="142"/>
                      </a:lnTo>
                      <a:lnTo>
                        <a:pt x="213" y="132"/>
                      </a:lnTo>
                      <a:lnTo>
                        <a:pt x="213" y="122"/>
                      </a:lnTo>
                      <a:lnTo>
                        <a:pt x="223" y="122"/>
                      </a:lnTo>
                      <a:lnTo>
                        <a:pt x="233" y="122"/>
                      </a:lnTo>
                      <a:lnTo>
                        <a:pt x="243" y="122"/>
                      </a:lnTo>
                      <a:lnTo>
                        <a:pt x="243" y="132"/>
                      </a:lnTo>
                      <a:lnTo>
                        <a:pt x="253" y="132"/>
                      </a:lnTo>
                      <a:lnTo>
                        <a:pt x="263" y="132"/>
                      </a:lnTo>
                      <a:lnTo>
                        <a:pt x="273" y="132"/>
                      </a:lnTo>
                      <a:lnTo>
                        <a:pt x="283" y="122"/>
                      </a:lnTo>
                      <a:lnTo>
                        <a:pt x="294" y="112"/>
                      </a:lnTo>
                      <a:lnTo>
                        <a:pt x="294" y="101"/>
                      </a:lnTo>
                      <a:lnTo>
                        <a:pt x="283" y="101"/>
                      </a:lnTo>
                      <a:lnTo>
                        <a:pt x="283" y="91"/>
                      </a:lnTo>
                      <a:lnTo>
                        <a:pt x="273" y="91"/>
                      </a:lnTo>
                      <a:lnTo>
                        <a:pt x="273" y="81"/>
                      </a:lnTo>
                      <a:lnTo>
                        <a:pt x="263" y="81"/>
                      </a:lnTo>
                      <a:lnTo>
                        <a:pt x="243" y="81"/>
                      </a:lnTo>
                      <a:lnTo>
                        <a:pt x="233" y="81"/>
                      </a:lnTo>
                      <a:lnTo>
                        <a:pt x="223" y="81"/>
                      </a:lnTo>
                      <a:lnTo>
                        <a:pt x="213" y="91"/>
                      </a:lnTo>
                      <a:lnTo>
                        <a:pt x="202" y="81"/>
                      </a:lnTo>
                      <a:lnTo>
                        <a:pt x="202" y="71"/>
                      </a:lnTo>
                      <a:lnTo>
                        <a:pt x="202" y="61"/>
                      </a:lnTo>
                      <a:lnTo>
                        <a:pt x="202" y="51"/>
                      </a:lnTo>
                      <a:lnTo>
                        <a:pt x="213" y="41"/>
                      </a:lnTo>
                      <a:lnTo>
                        <a:pt x="213" y="31"/>
                      </a:lnTo>
                      <a:lnTo>
                        <a:pt x="202" y="20"/>
                      </a:lnTo>
                      <a:lnTo>
                        <a:pt x="192" y="10"/>
                      </a:lnTo>
                      <a:lnTo>
                        <a:pt x="182" y="10"/>
                      </a:lnTo>
                      <a:lnTo>
                        <a:pt x="172" y="10"/>
                      </a:lnTo>
                      <a:lnTo>
                        <a:pt x="162" y="10"/>
                      </a:lnTo>
                      <a:lnTo>
                        <a:pt x="152" y="10"/>
                      </a:lnTo>
                      <a:lnTo>
                        <a:pt x="142" y="0"/>
                      </a:lnTo>
                      <a:lnTo>
                        <a:pt x="132" y="10"/>
                      </a:lnTo>
                      <a:lnTo>
                        <a:pt x="122" y="10"/>
                      </a:lnTo>
                      <a:lnTo>
                        <a:pt x="101" y="31"/>
                      </a:lnTo>
                      <a:lnTo>
                        <a:pt x="91" y="31"/>
                      </a:lnTo>
                      <a:lnTo>
                        <a:pt x="91" y="41"/>
                      </a:lnTo>
                      <a:lnTo>
                        <a:pt x="81" y="51"/>
                      </a:lnTo>
                      <a:lnTo>
                        <a:pt x="81" y="61"/>
                      </a:lnTo>
                      <a:lnTo>
                        <a:pt x="71" y="61"/>
                      </a:lnTo>
                      <a:lnTo>
                        <a:pt x="61" y="61"/>
                      </a:lnTo>
                      <a:lnTo>
                        <a:pt x="51" y="61"/>
                      </a:lnTo>
                      <a:lnTo>
                        <a:pt x="41" y="61"/>
                      </a:lnTo>
                      <a:lnTo>
                        <a:pt x="30" y="71"/>
                      </a:lnTo>
                      <a:lnTo>
                        <a:pt x="30" y="81"/>
                      </a:lnTo>
                      <a:lnTo>
                        <a:pt x="30" y="91"/>
                      </a:lnTo>
                      <a:lnTo>
                        <a:pt x="30" y="101"/>
                      </a:lnTo>
                      <a:lnTo>
                        <a:pt x="20" y="112"/>
                      </a:lnTo>
                      <a:lnTo>
                        <a:pt x="20" y="122"/>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707" name="Freeform 13">
                  <a:extLst>
                    <a:ext uri="{FF2B5EF4-FFF2-40B4-BE49-F238E27FC236}">
                      <a16:creationId xmlns:a16="http://schemas.microsoft.com/office/drawing/2014/main" id="{5DD28DE9-C3C5-4814-A5D1-5E595B7797A2}"/>
                    </a:ext>
                  </a:extLst>
                </p:cNvPr>
                <p:cNvSpPr>
                  <a:spLocks noChangeAspect="1"/>
                </p:cNvSpPr>
                <p:nvPr/>
              </p:nvSpPr>
              <p:spPr bwMode="auto">
                <a:xfrm>
                  <a:off x="1870073" y="6416688"/>
                  <a:ext cx="114300" cy="84138"/>
                </a:xfrm>
                <a:custGeom>
                  <a:avLst/>
                  <a:gdLst>
                    <a:gd name="T0" fmla="*/ 30 w 111"/>
                    <a:gd name="T1" fmla="*/ 20 h 81"/>
                    <a:gd name="T2" fmla="*/ 20 w 111"/>
                    <a:gd name="T3" fmla="*/ 20 h 81"/>
                    <a:gd name="T4" fmla="*/ 10 w 111"/>
                    <a:gd name="T5" fmla="*/ 20 h 81"/>
                    <a:gd name="T6" fmla="*/ 10 w 111"/>
                    <a:gd name="T7" fmla="*/ 30 h 81"/>
                    <a:gd name="T8" fmla="*/ 10 w 111"/>
                    <a:gd name="T9" fmla="*/ 30 h 81"/>
                    <a:gd name="T10" fmla="*/ 10 w 111"/>
                    <a:gd name="T11" fmla="*/ 40 h 81"/>
                    <a:gd name="T12" fmla="*/ 10 w 111"/>
                    <a:gd name="T13" fmla="*/ 51 h 81"/>
                    <a:gd name="T14" fmla="*/ 0 w 111"/>
                    <a:gd name="T15" fmla="*/ 51 h 81"/>
                    <a:gd name="T16" fmla="*/ 0 w 111"/>
                    <a:gd name="T17" fmla="*/ 61 h 81"/>
                    <a:gd name="T18" fmla="*/ 0 w 111"/>
                    <a:gd name="T19" fmla="*/ 61 h 81"/>
                    <a:gd name="T20" fmla="*/ 0 w 111"/>
                    <a:gd name="T21" fmla="*/ 71 h 81"/>
                    <a:gd name="T22" fmla="*/ 10 w 111"/>
                    <a:gd name="T23" fmla="*/ 71 h 81"/>
                    <a:gd name="T24" fmla="*/ 20 w 111"/>
                    <a:gd name="T25" fmla="*/ 61 h 81"/>
                    <a:gd name="T26" fmla="*/ 30 w 111"/>
                    <a:gd name="T27" fmla="*/ 61 h 81"/>
                    <a:gd name="T28" fmla="*/ 40 w 111"/>
                    <a:gd name="T29" fmla="*/ 61 h 81"/>
                    <a:gd name="T30" fmla="*/ 40 w 111"/>
                    <a:gd name="T31" fmla="*/ 61 h 81"/>
                    <a:gd name="T32" fmla="*/ 50 w 111"/>
                    <a:gd name="T33" fmla="*/ 61 h 81"/>
                    <a:gd name="T34" fmla="*/ 50 w 111"/>
                    <a:gd name="T35" fmla="*/ 61 h 81"/>
                    <a:gd name="T36" fmla="*/ 50 w 111"/>
                    <a:gd name="T37" fmla="*/ 61 h 81"/>
                    <a:gd name="T38" fmla="*/ 50 w 111"/>
                    <a:gd name="T39" fmla="*/ 61 h 81"/>
                    <a:gd name="T40" fmla="*/ 60 w 111"/>
                    <a:gd name="T41" fmla="*/ 71 h 81"/>
                    <a:gd name="T42" fmla="*/ 60 w 111"/>
                    <a:gd name="T43" fmla="*/ 71 h 81"/>
                    <a:gd name="T44" fmla="*/ 71 w 111"/>
                    <a:gd name="T45" fmla="*/ 81 h 81"/>
                    <a:gd name="T46" fmla="*/ 71 w 111"/>
                    <a:gd name="T47" fmla="*/ 81 h 81"/>
                    <a:gd name="T48" fmla="*/ 81 w 111"/>
                    <a:gd name="T49" fmla="*/ 81 h 81"/>
                    <a:gd name="T50" fmla="*/ 81 w 111"/>
                    <a:gd name="T51" fmla="*/ 81 h 81"/>
                    <a:gd name="T52" fmla="*/ 91 w 111"/>
                    <a:gd name="T53" fmla="*/ 81 h 81"/>
                    <a:gd name="T54" fmla="*/ 91 w 111"/>
                    <a:gd name="T55" fmla="*/ 71 h 81"/>
                    <a:gd name="T56" fmla="*/ 101 w 111"/>
                    <a:gd name="T57" fmla="*/ 71 h 81"/>
                    <a:gd name="T58" fmla="*/ 111 w 111"/>
                    <a:gd name="T59" fmla="*/ 61 h 81"/>
                    <a:gd name="T60" fmla="*/ 111 w 111"/>
                    <a:gd name="T61" fmla="*/ 51 h 81"/>
                    <a:gd name="T62" fmla="*/ 111 w 111"/>
                    <a:gd name="T63" fmla="*/ 51 h 81"/>
                    <a:gd name="T64" fmla="*/ 111 w 111"/>
                    <a:gd name="T65" fmla="*/ 40 h 81"/>
                    <a:gd name="T66" fmla="*/ 111 w 111"/>
                    <a:gd name="T67" fmla="*/ 40 h 81"/>
                    <a:gd name="T68" fmla="*/ 101 w 111"/>
                    <a:gd name="T69" fmla="*/ 30 h 81"/>
                    <a:gd name="T70" fmla="*/ 101 w 111"/>
                    <a:gd name="T71" fmla="*/ 30 h 81"/>
                    <a:gd name="T72" fmla="*/ 101 w 111"/>
                    <a:gd name="T73" fmla="*/ 20 h 81"/>
                    <a:gd name="T74" fmla="*/ 91 w 111"/>
                    <a:gd name="T75" fmla="*/ 20 h 81"/>
                    <a:gd name="T76" fmla="*/ 91 w 111"/>
                    <a:gd name="T77" fmla="*/ 20 h 81"/>
                    <a:gd name="T78" fmla="*/ 91 w 111"/>
                    <a:gd name="T79" fmla="*/ 10 h 81"/>
                    <a:gd name="T80" fmla="*/ 91 w 111"/>
                    <a:gd name="T81" fmla="*/ 10 h 81"/>
                    <a:gd name="T82" fmla="*/ 81 w 111"/>
                    <a:gd name="T83" fmla="*/ 10 h 81"/>
                    <a:gd name="T84" fmla="*/ 81 w 111"/>
                    <a:gd name="T85" fmla="*/ 0 h 81"/>
                    <a:gd name="T86" fmla="*/ 71 w 111"/>
                    <a:gd name="T87" fmla="*/ 0 h 81"/>
                    <a:gd name="T88" fmla="*/ 71 w 111"/>
                    <a:gd name="T89" fmla="*/ 0 h 81"/>
                    <a:gd name="T90" fmla="*/ 60 w 111"/>
                    <a:gd name="T91" fmla="*/ 0 h 81"/>
                    <a:gd name="T92" fmla="*/ 60 w 111"/>
                    <a:gd name="T93" fmla="*/ 0 h 81"/>
                    <a:gd name="T94" fmla="*/ 60 w 111"/>
                    <a:gd name="T95" fmla="*/ 0 h 81"/>
                    <a:gd name="T96" fmla="*/ 50 w 111"/>
                    <a:gd name="T97" fmla="*/ 0 h 81"/>
                    <a:gd name="T98" fmla="*/ 50 w 111"/>
                    <a:gd name="T99" fmla="*/ 10 h 81"/>
                    <a:gd name="T100" fmla="*/ 50 w 111"/>
                    <a:gd name="T101" fmla="*/ 10 h 81"/>
                    <a:gd name="T102" fmla="*/ 50 w 111"/>
                    <a:gd name="T103" fmla="*/ 20 h 81"/>
                    <a:gd name="T104" fmla="*/ 30 w 111"/>
                    <a:gd name="T105" fmla="*/ 2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1" h="81">
                      <a:moveTo>
                        <a:pt x="30" y="20"/>
                      </a:moveTo>
                      <a:lnTo>
                        <a:pt x="20" y="20"/>
                      </a:lnTo>
                      <a:lnTo>
                        <a:pt x="10" y="20"/>
                      </a:lnTo>
                      <a:lnTo>
                        <a:pt x="10" y="30"/>
                      </a:lnTo>
                      <a:lnTo>
                        <a:pt x="10" y="40"/>
                      </a:lnTo>
                      <a:lnTo>
                        <a:pt x="10" y="51"/>
                      </a:lnTo>
                      <a:lnTo>
                        <a:pt x="0" y="51"/>
                      </a:lnTo>
                      <a:lnTo>
                        <a:pt x="0" y="61"/>
                      </a:lnTo>
                      <a:lnTo>
                        <a:pt x="0" y="71"/>
                      </a:lnTo>
                      <a:lnTo>
                        <a:pt x="10" y="71"/>
                      </a:lnTo>
                      <a:lnTo>
                        <a:pt x="20" y="61"/>
                      </a:lnTo>
                      <a:lnTo>
                        <a:pt x="30" y="61"/>
                      </a:lnTo>
                      <a:lnTo>
                        <a:pt x="40" y="61"/>
                      </a:lnTo>
                      <a:lnTo>
                        <a:pt x="50" y="61"/>
                      </a:lnTo>
                      <a:lnTo>
                        <a:pt x="60" y="71"/>
                      </a:lnTo>
                      <a:lnTo>
                        <a:pt x="71" y="81"/>
                      </a:lnTo>
                      <a:lnTo>
                        <a:pt x="81" y="81"/>
                      </a:lnTo>
                      <a:lnTo>
                        <a:pt x="91" y="81"/>
                      </a:lnTo>
                      <a:lnTo>
                        <a:pt x="91" y="71"/>
                      </a:lnTo>
                      <a:lnTo>
                        <a:pt x="101" y="71"/>
                      </a:lnTo>
                      <a:lnTo>
                        <a:pt x="111" y="61"/>
                      </a:lnTo>
                      <a:lnTo>
                        <a:pt x="111" y="51"/>
                      </a:lnTo>
                      <a:lnTo>
                        <a:pt x="111" y="40"/>
                      </a:lnTo>
                      <a:lnTo>
                        <a:pt x="101" y="30"/>
                      </a:lnTo>
                      <a:lnTo>
                        <a:pt x="101" y="20"/>
                      </a:lnTo>
                      <a:lnTo>
                        <a:pt x="91" y="20"/>
                      </a:lnTo>
                      <a:lnTo>
                        <a:pt x="91" y="10"/>
                      </a:lnTo>
                      <a:lnTo>
                        <a:pt x="81" y="10"/>
                      </a:lnTo>
                      <a:lnTo>
                        <a:pt x="81" y="0"/>
                      </a:lnTo>
                      <a:lnTo>
                        <a:pt x="71" y="0"/>
                      </a:lnTo>
                      <a:lnTo>
                        <a:pt x="60" y="0"/>
                      </a:lnTo>
                      <a:lnTo>
                        <a:pt x="50" y="0"/>
                      </a:lnTo>
                      <a:lnTo>
                        <a:pt x="50" y="10"/>
                      </a:lnTo>
                      <a:lnTo>
                        <a:pt x="50" y="20"/>
                      </a:lnTo>
                      <a:lnTo>
                        <a:pt x="30" y="20"/>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708" name="Freeform 12">
                  <a:extLst>
                    <a:ext uri="{FF2B5EF4-FFF2-40B4-BE49-F238E27FC236}">
                      <a16:creationId xmlns:a16="http://schemas.microsoft.com/office/drawing/2014/main" id="{5A664817-78EE-4404-921D-A538945D3CE2}"/>
                    </a:ext>
                  </a:extLst>
                </p:cNvPr>
                <p:cNvSpPr>
                  <a:spLocks noChangeAspect="1"/>
                </p:cNvSpPr>
                <p:nvPr/>
              </p:nvSpPr>
              <p:spPr bwMode="auto">
                <a:xfrm>
                  <a:off x="1849436" y="6132525"/>
                  <a:ext cx="93662" cy="52387"/>
                </a:xfrm>
                <a:custGeom>
                  <a:avLst/>
                  <a:gdLst>
                    <a:gd name="T0" fmla="*/ 50 w 91"/>
                    <a:gd name="T1" fmla="*/ 41 h 51"/>
                    <a:gd name="T2" fmla="*/ 50 w 91"/>
                    <a:gd name="T3" fmla="*/ 41 h 51"/>
                    <a:gd name="T4" fmla="*/ 50 w 91"/>
                    <a:gd name="T5" fmla="*/ 51 h 51"/>
                    <a:gd name="T6" fmla="*/ 60 w 91"/>
                    <a:gd name="T7" fmla="*/ 51 h 51"/>
                    <a:gd name="T8" fmla="*/ 60 w 91"/>
                    <a:gd name="T9" fmla="*/ 51 h 51"/>
                    <a:gd name="T10" fmla="*/ 70 w 91"/>
                    <a:gd name="T11" fmla="*/ 41 h 51"/>
                    <a:gd name="T12" fmla="*/ 70 w 91"/>
                    <a:gd name="T13" fmla="*/ 41 h 51"/>
                    <a:gd name="T14" fmla="*/ 80 w 91"/>
                    <a:gd name="T15" fmla="*/ 31 h 51"/>
                    <a:gd name="T16" fmla="*/ 80 w 91"/>
                    <a:gd name="T17" fmla="*/ 31 h 51"/>
                    <a:gd name="T18" fmla="*/ 80 w 91"/>
                    <a:gd name="T19" fmla="*/ 21 h 51"/>
                    <a:gd name="T20" fmla="*/ 80 w 91"/>
                    <a:gd name="T21" fmla="*/ 21 h 51"/>
                    <a:gd name="T22" fmla="*/ 91 w 91"/>
                    <a:gd name="T23" fmla="*/ 21 h 51"/>
                    <a:gd name="T24" fmla="*/ 91 w 91"/>
                    <a:gd name="T25" fmla="*/ 10 h 51"/>
                    <a:gd name="T26" fmla="*/ 80 w 91"/>
                    <a:gd name="T27" fmla="*/ 10 h 51"/>
                    <a:gd name="T28" fmla="*/ 70 w 91"/>
                    <a:gd name="T29" fmla="*/ 0 h 51"/>
                    <a:gd name="T30" fmla="*/ 70 w 91"/>
                    <a:gd name="T31" fmla="*/ 0 h 51"/>
                    <a:gd name="T32" fmla="*/ 60 w 91"/>
                    <a:gd name="T33" fmla="*/ 0 h 51"/>
                    <a:gd name="T34" fmla="*/ 50 w 91"/>
                    <a:gd name="T35" fmla="*/ 0 h 51"/>
                    <a:gd name="T36" fmla="*/ 40 w 91"/>
                    <a:gd name="T37" fmla="*/ 0 h 51"/>
                    <a:gd name="T38" fmla="*/ 30 w 91"/>
                    <a:gd name="T39" fmla="*/ 0 h 51"/>
                    <a:gd name="T40" fmla="*/ 20 w 91"/>
                    <a:gd name="T41" fmla="*/ 0 h 51"/>
                    <a:gd name="T42" fmla="*/ 20 w 91"/>
                    <a:gd name="T43" fmla="*/ 0 h 51"/>
                    <a:gd name="T44" fmla="*/ 10 w 91"/>
                    <a:gd name="T45" fmla="*/ 0 h 51"/>
                    <a:gd name="T46" fmla="*/ 10 w 91"/>
                    <a:gd name="T47" fmla="*/ 0 h 51"/>
                    <a:gd name="T48" fmla="*/ 0 w 91"/>
                    <a:gd name="T49" fmla="*/ 0 h 51"/>
                    <a:gd name="T50" fmla="*/ 10 w 91"/>
                    <a:gd name="T51" fmla="*/ 10 h 51"/>
                    <a:gd name="T52" fmla="*/ 10 w 91"/>
                    <a:gd name="T53" fmla="*/ 21 h 51"/>
                    <a:gd name="T54" fmla="*/ 10 w 91"/>
                    <a:gd name="T55" fmla="*/ 21 h 51"/>
                    <a:gd name="T56" fmla="*/ 20 w 91"/>
                    <a:gd name="T57" fmla="*/ 21 h 51"/>
                    <a:gd name="T58" fmla="*/ 30 w 91"/>
                    <a:gd name="T59" fmla="*/ 21 h 51"/>
                    <a:gd name="T60" fmla="*/ 30 w 91"/>
                    <a:gd name="T61" fmla="*/ 21 h 51"/>
                    <a:gd name="T62" fmla="*/ 40 w 91"/>
                    <a:gd name="T63" fmla="*/ 31 h 51"/>
                    <a:gd name="T64" fmla="*/ 40 w 91"/>
                    <a:gd name="T65" fmla="*/ 31 h 51"/>
                    <a:gd name="T66" fmla="*/ 40 w 91"/>
                    <a:gd name="T67" fmla="*/ 31 h 51"/>
                    <a:gd name="T68" fmla="*/ 50 w 91"/>
                    <a:gd name="T69"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51">
                      <a:moveTo>
                        <a:pt x="50" y="41"/>
                      </a:moveTo>
                      <a:lnTo>
                        <a:pt x="50" y="41"/>
                      </a:lnTo>
                      <a:lnTo>
                        <a:pt x="50" y="51"/>
                      </a:lnTo>
                      <a:lnTo>
                        <a:pt x="60" y="51"/>
                      </a:lnTo>
                      <a:lnTo>
                        <a:pt x="70" y="41"/>
                      </a:lnTo>
                      <a:lnTo>
                        <a:pt x="80" y="31"/>
                      </a:lnTo>
                      <a:lnTo>
                        <a:pt x="80" y="21"/>
                      </a:lnTo>
                      <a:lnTo>
                        <a:pt x="91" y="21"/>
                      </a:lnTo>
                      <a:lnTo>
                        <a:pt x="91" y="10"/>
                      </a:lnTo>
                      <a:lnTo>
                        <a:pt x="80" y="10"/>
                      </a:lnTo>
                      <a:lnTo>
                        <a:pt x="70" y="0"/>
                      </a:lnTo>
                      <a:lnTo>
                        <a:pt x="60" y="0"/>
                      </a:lnTo>
                      <a:lnTo>
                        <a:pt x="50" y="0"/>
                      </a:lnTo>
                      <a:lnTo>
                        <a:pt x="40" y="0"/>
                      </a:lnTo>
                      <a:lnTo>
                        <a:pt x="30" y="0"/>
                      </a:lnTo>
                      <a:lnTo>
                        <a:pt x="20" y="0"/>
                      </a:lnTo>
                      <a:lnTo>
                        <a:pt x="10" y="0"/>
                      </a:lnTo>
                      <a:lnTo>
                        <a:pt x="0" y="0"/>
                      </a:lnTo>
                      <a:lnTo>
                        <a:pt x="10" y="10"/>
                      </a:lnTo>
                      <a:lnTo>
                        <a:pt x="10" y="21"/>
                      </a:lnTo>
                      <a:lnTo>
                        <a:pt x="20" y="21"/>
                      </a:lnTo>
                      <a:lnTo>
                        <a:pt x="30" y="21"/>
                      </a:lnTo>
                      <a:lnTo>
                        <a:pt x="40" y="31"/>
                      </a:lnTo>
                      <a:lnTo>
                        <a:pt x="50" y="41"/>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709" name="Freeform 11">
                  <a:extLst>
                    <a:ext uri="{FF2B5EF4-FFF2-40B4-BE49-F238E27FC236}">
                      <a16:creationId xmlns:a16="http://schemas.microsoft.com/office/drawing/2014/main" id="{E9E46743-EFAB-4F4B-A0B7-EAC61B24D205}"/>
                    </a:ext>
                  </a:extLst>
                </p:cNvPr>
                <p:cNvSpPr>
                  <a:spLocks noChangeAspect="1"/>
                </p:cNvSpPr>
                <p:nvPr/>
              </p:nvSpPr>
              <p:spPr bwMode="auto">
                <a:xfrm>
                  <a:off x="1816097" y="6091258"/>
                  <a:ext cx="314325" cy="250825"/>
                </a:xfrm>
                <a:custGeom>
                  <a:avLst/>
                  <a:gdLst>
                    <a:gd name="T0" fmla="*/ 223 w 304"/>
                    <a:gd name="T1" fmla="*/ 152 h 243"/>
                    <a:gd name="T2" fmla="*/ 233 w 304"/>
                    <a:gd name="T3" fmla="*/ 142 h 243"/>
                    <a:gd name="T4" fmla="*/ 243 w 304"/>
                    <a:gd name="T5" fmla="*/ 142 h 243"/>
                    <a:gd name="T6" fmla="*/ 263 w 304"/>
                    <a:gd name="T7" fmla="*/ 132 h 243"/>
                    <a:gd name="T8" fmla="*/ 283 w 304"/>
                    <a:gd name="T9" fmla="*/ 121 h 243"/>
                    <a:gd name="T10" fmla="*/ 294 w 304"/>
                    <a:gd name="T11" fmla="*/ 111 h 243"/>
                    <a:gd name="T12" fmla="*/ 304 w 304"/>
                    <a:gd name="T13" fmla="*/ 101 h 243"/>
                    <a:gd name="T14" fmla="*/ 273 w 304"/>
                    <a:gd name="T15" fmla="*/ 101 h 243"/>
                    <a:gd name="T16" fmla="*/ 263 w 304"/>
                    <a:gd name="T17" fmla="*/ 101 h 243"/>
                    <a:gd name="T18" fmla="*/ 273 w 304"/>
                    <a:gd name="T19" fmla="*/ 81 h 243"/>
                    <a:gd name="T20" fmla="*/ 283 w 304"/>
                    <a:gd name="T21" fmla="*/ 71 h 243"/>
                    <a:gd name="T22" fmla="*/ 294 w 304"/>
                    <a:gd name="T23" fmla="*/ 50 h 243"/>
                    <a:gd name="T24" fmla="*/ 283 w 304"/>
                    <a:gd name="T25" fmla="*/ 40 h 243"/>
                    <a:gd name="T26" fmla="*/ 283 w 304"/>
                    <a:gd name="T27" fmla="*/ 30 h 243"/>
                    <a:gd name="T28" fmla="*/ 273 w 304"/>
                    <a:gd name="T29" fmla="*/ 10 h 243"/>
                    <a:gd name="T30" fmla="*/ 263 w 304"/>
                    <a:gd name="T31" fmla="*/ 10 h 243"/>
                    <a:gd name="T32" fmla="*/ 253 w 304"/>
                    <a:gd name="T33" fmla="*/ 10 h 243"/>
                    <a:gd name="T34" fmla="*/ 243 w 304"/>
                    <a:gd name="T35" fmla="*/ 30 h 243"/>
                    <a:gd name="T36" fmla="*/ 233 w 304"/>
                    <a:gd name="T37" fmla="*/ 61 h 243"/>
                    <a:gd name="T38" fmla="*/ 223 w 304"/>
                    <a:gd name="T39" fmla="*/ 61 h 243"/>
                    <a:gd name="T40" fmla="*/ 213 w 304"/>
                    <a:gd name="T41" fmla="*/ 61 h 243"/>
                    <a:gd name="T42" fmla="*/ 213 w 304"/>
                    <a:gd name="T43" fmla="*/ 40 h 243"/>
                    <a:gd name="T44" fmla="*/ 192 w 304"/>
                    <a:gd name="T45" fmla="*/ 40 h 243"/>
                    <a:gd name="T46" fmla="*/ 172 w 304"/>
                    <a:gd name="T47" fmla="*/ 50 h 243"/>
                    <a:gd name="T48" fmla="*/ 162 w 304"/>
                    <a:gd name="T49" fmla="*/ 61 h 243"/>
                    <a:gd name="T50" fmla="*/ 172 w 304"/>
                    <a:gd name="T51" fmla="*/ 81 h 243"/>
                    <a:gd name="T52" fmla="*/ 182 w 304"/>
                    <a:gd name="T53" fmla="*/ 91 h 243"/>
                    <a:gd name="T54" fmla="*/ 192 w 304"/>
                    <a:gd name="T55" fmla="*/ 101 h 243"/>
                    <a:gd name="T56" fmla="*/ 182 w 304"/>
                    <a:gd name="T57" fmla="*/ 111 h 243"/>
                    <a:gd name="T58" fmla="*/ 172 w 304"/>
                    <a:gd name="T59" fmla="*/ 132 h 243"/>
                    <a:gd name="T60" fmla="*/ 152 w 304"/>
                    <a:gd name="T61" fmla="*/ 142 h 243"/>
                    <a:gd name="T62" fmla="*/ 122 w 304"/>
                    <a:gd name="T63" fmla="*/ 152 h 243"/>
                    <a:gd name="T64" fmla="*/ 81 w 304"/>
                    <a:gd name="T65" fmla="*/ 152 h 243"/>
                    <a:gd name="T66" fmla="*/ 71 w 304"/>
                    <a:gd name="T67" fmla="*/ 142 h 243"/>
                    <a:gd name="T68" fmla="*/ 61 w 304"/>
                    <a:gd name="T69" fmla="*/ 132 h 243"/>
                    <a:gd name="T70" fmla="*/ 61 w 304"/>
                    <a:gd name="T71" fmla="*/ 152 h 243"/>
                    <a:gd name="T72" fmla="*/ 51 w 304"/>
                    <a:gd name="T73" fmla="*/ 162 h 243"/>
                    <a:gd name="T74" fmla="*/ 31 w 304"/>
                    <a:gd name="T75" fmla="*/ 182 h 243"/>
                    <a:gd name="T76" fmla="*/ 10 w 304"/>
                    <a:gd name="T77" fmla="*/ 182 h 243"/>
                    <a:gd name="T78" fmla="*/ 0 w 304"/>
                    <a:gd name="T79" fmla="*/ 202 h 243"/>
                    <a:gd name="T80" fmla="*/ 31 w 304"/>
                    <a:gd name="T81" fmla="*/ 202 h 243"/>
                    <a:gd name="T82" fmla="*/ 31 w 304"/>
                    <a:gd name="T83" fmla="*/ 213 h 243"/>
                    <a:gd name="T84" fmla="*/ 41 w 304"/>
                    <a:gd name="T85" fmla="*/ 223 h 243"/>
                    <a:gd name="T86" fmla="*/ 61 w 304"/>
                    <a:gd name="T87" fmla="*/ 223 h 243"/>
                    <a:gd name="T88" fmla="*/ 81 w 304"/>
                    <a:gd name="T89" fmla="*/ 233 h 243"/>
                    <a:gd name="T90" fmla="*/ 101 w 304"/>
                    <a:gd name="T91" fmla="*/ 243 h 243"/>
                    <a:gd name="T92" fmla="*/ 122 w 304"/>
                    <a:gd name="T93" fmla="*/ 223 h 243"/>
                    <a:gd name="T94" fmla="*/ 132 w 304"/>
                    <a:gd name="T95" fmla="*/ 202 h 243"/>
                    <a:gd name="T96" fmla="*/ 162 w 304"/>
                    <a:gd name="T97" fmla="*/ 202 h 243"/>
                    <a:gd name="T98" fmla="*/ 182 w 304"/>
                    <a:gd name="T99" fmla="*/ 202 h 243"/>
                    <a:gd name="T100" fmla="*/ 203 w 304"/>
                    <a:gd name="T101" fmla="*/ 213 h 243"/>
                    <a:gd name="T102" fmla="*/ 213 w 304"/>
                    <a:gd name="T103" fmla="*/ 223 h 243"/>
                    <a:gd name="T104" fmla="*/ 213 w 304"/>
                    <a:gd name="T105" fmla="*/ 202 h 243"/>
                    <a:gd name="T106" fmla="*/ 213 w 304"/>
                    <a:gd name="T107" fmla="*/ 182 h 243"/>
                    <a:gd name="T108" fmla="*/ 213 w 304"/>
                    <a:gd name="T109" fmla="*/ 17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4" h="243">
                      <a:moveTo>
                        <a:pt x="213" y="172"/>
                      </a:moveTo>
                      <a:lnTo>
                        <a:pt x="223" y="162"/>
                      </a:lnTo>
                      <a:lnTo>
                        <a:pt x="223" y="152"/>
                      </a:lnTo>
                      <a:lnTo>
                        <a:pt x="223" y="142"/>
                      </a:lnTo>
                      <a:lnTo>
                        <a:pt x="233" y="142"/>
                      </a:lnTo>
                      <a:lnTo>
                        <a:pt x="243" y="142"/>
                      </a:lnTo>
                      <a:lnTo>
                        <a:pt x="253" y="142"/>
                      </a:lnTo>
                      <a:lnTo>
                        <a:pt x="263" y="132"/>
                      </a:lnTo>
                      <a:lnTo>
                        <a:pt x="273" y="121"/>
                      </a:lnTo>
                      <a:lnTo>
                        <a:pt x="283" y="121"/>
                      </a:lnTo>
                      <a:lnTo>
                        <a:pt x="283" y="111"/>
                      </a:lnTo>
                      <a:lnTo>
                        <a:pt x="294" y="111"/>
                      </a:lnTo>
                      <a:lnTo>
                        <a:pt x="304" y="111"/>
                      </a:lnTo>
                      <a:lnTo>
                        <a:pt x="304" y="101"/>
                      </a:lnTo>
                      <a:lnTo>
                        <a:pt x="294" y="101"/>
                      </a:lnTo>
                      <a:lnTo>
                        <a:pt x="283" y="101"/>
                      </a:lnTo>
                      <a:lnTo>
                        <a:pt x="273" y="101"/>
                      </a:lnTo>
                      <a:lnTo>
                        <a:pt x="263" y="101"/>
                      </a:lnTo>
                      <a:lnTo>
                        <a:pt x="273" y="91"/>
                      </a:lnTo>
                      <a:lnTo>
                        <a:pt x="273" y="81"/>
                      </a:lnTo>
                      <a:lnTo>
                        <a:pt x="273" y="71"/>
                      </a:lnTo>
                      <a:lnTo>
                        <a:pt x="283" y="71"/>
                      </a:lnTo>
                      <a:lnTo>
                        <a:pt x="294" y="61"/>
                      </a:lnTo>
                      <a:lnTo>
                        <a:pt x="294" y="50"/>
                      </a:lnTo>
                      <a:lnTo>
                        <a:pt x="283" y="40"/>
                      </a:lnTo>
                      <a:lnTo>
                        <a:pt x="283" y="30"/>
                      </a:lnTo>
                      <a:lnTo>
                        <a:pt x="273" y="30"/>
                      </a:lnTo>
                      <a:lnTo>
                        <a:pt x="273" y="20"/>
                      </a:lnTo>
                      <a:lnTo>
                        <a:pt x="273" y="10"/>
                      </a:lnTo>
                      <a:lnTo>
                        <a:pt x="263" y="10"/>
                      </a:lnTo>
                      <a:lnTo>
                        <a:pt x="253" y="0"/>
                      </a:lnTo>
                      <a:lnTo>
                        <a:pt x="253" y="10"/>
                      </a:lnTo>
                      <a:lnTo>
                        <a:pt x="253" y="20"/>
                      </a:lnTo>
                      <a:lnTo>
                        <a:pt x="243" y="30"/>
                      </a:lnTo>
                      <a:lnTo>
                        <a:pt x="243" y="50"/>
                      </a:lnTo>
                      <a:lnTo>
                        <a:pt x="233" y="50"/>
                      </a:lnTo>
                      <a:lnTo>
                        <a:pt x="233" y="61"/>
                      </a:lnTo>
                      <a:lnTo>
                        <a:pt x="223" y="71"/>
                      </a:lnTo>
                      <a:lnTo>
                        <a:pt x="223" y="61"/>
                      </a:lnTo>
                      <a:lnTo>
                        <a:pt x="213" y="61"/>
                      </a:lnTo>
                      <a:lnTo>
                        <a:pt x="213" y="50"/>
                      </a:lnTo>
                      <a:lnTo>
                        <a:pt x="213" y="40"/>
                      </a:lnTo>
                      <a:lnTo>
                        <a:pt x="203" y="40"/>
                      </a:lnTo>
                      <a:lnTo>
                        <a:pt x="192" y="40"/>
                      </a:lnTo>
                      <a:lnTo>
                        <a:pt x="182" y="50"/>
                      </a:lnTo>
                      <a:lnTo>
                        <a:pt x="172" y="50"/>
                      </a:lnTo>
                      <a:lnTo>
                        <a:pt x="162" y="61"/>
                      </a:lnTo>
                      <a:lnTo>
                        <a:pt x="162" y="71"/>
                      </a:lnTo>
                      <a:lnTo>
                        <a:pt x="172" y="81"/>
                      </a:lnTo>
                      <a:lnTo>
                        <a:pt x="182" y="91"/>
                      </a:lnTo>
                      <a:lnTo>
                        <a:pt x="192" y="91"/>
                      </a:lnTo>
                      <a:lnTo>
                        <a:pt x="192" y="101"/>
                      </a:lnTo>
                      <a:lnTo>
                        <a:pt x="182" y="111"/>
                      </a:lnTo>
                      <a:lnTo>
                        <a:pt x="172" y="121"/>
                      </a:lnTo>
                      <a:lnTo>
                        <a:pt x="172" y="132"/>
                      </a:lnTo>
                      <a:lnTo>
                        <a:pt x="152" y="142"/>
                      </a:lnTo>
                      <a:lnTo>
                        <a:pt x="152" y="152"/>
                      </a:lnTo>
                      <a:lnTo>
                        <a:pt x="132" y="152"/>
                      </a:lnTo>
                      <a:lnTo>
                        <a:pt x="122" y="152"/>
                      </a:lnTo>
                      <a:lnTo>
                        <a:pt x="101" y="152"/>
                      </a:lnTo>
                      <a:lnTo>
                        <a:pt x="81" y="152"/>
                      </a:lnTo>
                      <a:lnTo>
                        <a:pt x="71" y="142"/>
                      </a:lnTo>
                      <a:lnTo>
                        <a:pt x="61" y="132"/>
                      </a:lnTo>
                      <a:lnTo>
                        <a:pt x="61" y="142"/>
                      </a:lnTo>
                      <a:lnTo>
                        <a:pt x="61" y="152"/>
                      </a:lnTo>
                      <a:lnTo>
                        <a:pt x="51" y="152"/>
                      </a:lnTo>
                      <a:lnTo>
                        <a:pt x="51" y="162"/>
                      </a:lnTo>
                      <a:lnTo>
                        <a:pt x="51" y="172"/>
                      </a:lnTo>
                      <a:lnTo>
                        <a:pt x="41" y="172"/>
                      </a:lnTo>
                      <a:lnTo>
                        <a:pt x="31" y="182"/>
                      </a:lnTo>
                      <a:lnTo>
                        <a:pt x="20" y="182"/>
                      </a:lnTo>
                      <a:lnTo>
                        <a:pt x="10" y="182"/>
                      </a:lnTo>
                      <a:lnTo>
                        <a:pt x="0" y="192"/>
                      </a:lnTo>
                      <a:lnTo>
                        <a:pt x="0" y="202"/>
                      </a:lnTo>
                      <a:lnTo>
                        <a:pt x="10" y="202"/>
                      </a:lnTo>
                      <a:lnTo>
                        <a:pt x="20" y="202"/>
                      </a:lnTo>
                      <a:lnTo>
                        <a:pt x="31" y="202"/>
                      </a:lnTo>
                      <a:lnTo>
                        <a:pt x="31" y="213"/>
                      </a:lnTo>
                      <a:lnTo>
                        <a:pt x="31" y="223"/>
                      </a:lnTo>
                      <a:lnTo>
                        <a:pt x="41" y="223"/>
                      </a:lnTo>
                      <a:lnTo>
                        <a:pt x="51" y="223"/>
                      </a:lnTo>
                      <a:lnTo>
                        <a:pt x="61" y="223"/>
                      </a:lnTo>
                      <a:lnTo>
                        <a:pt x="71" y="233"/>
                      </a:lnTo>
                      <a:lnTo>
                        <a:pt x="81" y="233"/>
                      </a:lnTo>
                      <a:lnTo>
                        <a:pt x="91" y="243"/>
                      </a:lnTo>
                      <a:lnTo>
                        <a:pt x="101" y="243"/>
                      </a:lnTo>
                      <a:lnTo>
                        <a:pt x="101" y="233"/>
                      </a:lnTo>
                      <a:lnTo>
                        <a:pt x="111" y="233"/>
                      </a:lnTo>
                      <a:lnTo>
                        <a:pt x="122" y="223"/>
                      </a:lnTo>
                      <a:lnTo>
                        <a:pt x="122" y="213"/>
                      </a:lnTo>
                      <a:lnTo>
                        <a:pt x="132" y="202"/>
                      </a:lnTo>
                      <a:lnTo>
                        <a:pt x="142" y="202"/>
                      </a:lnTo>
                      <a:lnTo>
                        <a:pt x="152" y="202"/>
                      </a:lnTo>
                      <a:lnTo>
                        <a:pt x="162" y="202"/>
                      </a:lnTo>
                      <a:lnTo>
                        <a:pt x="172" y="202"/>
                      </a:lnTo>
                      <a:lnTo>
                        <a:pt x="182" y="202"/>
                      </a:lnTo>
                      <a:lnTo>
                        <a:pt x="192" y="202"/>
                      </a:lnTo>
                      <a:lnTo>
                        <a:pt x="192" y="213"/>
                      </a:lnTo>
                      <a:lnTo>
                        <a:pt x="203" y="213"/>
                      </a:lnTo>
                      <a:lnTo>
                        <a:pt x="203" y="223"/>
                      </a:lnTo>
                      <a:lnTo>
                        <a:pt x="213" y="223"/>
                      </a:lnTo>
                      <a:lnTo>
                        <a:pt x="213" y="213"/>
                      </a:lnTo>
                      <a:lnTo>
                        <a:pt x="213" y="202"/>
                      </a:lnTo>
                      <a:lnTo>
                        <a:pt x="213" y="192"/>
                      </a:lnTo>
                      <a:lnTo>
                        <a:pt x="213" y="182"/>
                      </a:lnTo>
                      <a:lnTo>
                        <a:pt x="213" y="172"/>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710" name="Freeform 10">
                  <a:extLst>
                    <a:ext uri="{FF2B5EF4-FFF2-40B4-BE49-F238E27FC236}">
                      <a16:creationId xmlns:a16="http://schemas.microsoft.com/office/drawing/2014/main" id="{44738C68-DA9B-46CF-9176-381DE9A89654}"/>
                    </a:ext>
                  </a:extLst>
                </p:cNvPr>
                <p:cNvSpPr>
                  <a:spLocks noChangeAspect="1"/>
                </p:cNvSpPr>
                <p:nvPr/>
              </p:nvSpPr>
              <p:spPr bwMode="auto">
                <a:xfrm>
                  <a:off x="1754188" y="6426200"/>
                  <a:ext cx="42862" cy="42863"/>
                </a:xfrm>
                <a:custGeom>
                  <a:avLst/>
                  <a:gdLst>
                    <a:gd name="T0" fmla="*/ 31 w 41"/>
                    <a:gd name="T1" fmla="*/ 20 h 41"/>
                    <a:gd name="T2" fmla="*/ 31 w 41"/>
                    <a:gd name="T3" fmla="*/ 20 h 41"/>
                    <a:gd name="T4" fmla="*/ 41 w 41"/>
                    <a:gd name="T5" fmla="*/ 30 h 41"/>
                    <a:gd name="T6" fmla="*/ 41 w 41"/>
                    <a:gd name="T7" fmla="*/ 41 h 41"/>
                    <a:gd name="T8" fmla="*/ 31 w 41"/>
                    <a:gd name="T9" fmla="*/ 41 h 41"/>
                    <a:gd name="T10" fmla="*/ 31 w 41"/>
                    <a:gd name="T11" fmla="*/ 41 h 41"/>
                    <a:gd name="T12" fmla="*/ 21 w 41"/>
                    <a:gd name="T13" fmla="*/ 41 h 41"/>
                    <a:gd name="T14" fmla="*/ 11 w 41"/>
                    <a:gd name="T15" fmla="*/ 30 h 41"/>
                    <a:gd name="T16" fmla="*/ 11 w 41"/>
                    <a:gd name="T17" fmla="*/ 30 h 41"/>
                    <a:gd name="T18" fmla="*/ 0 w 41"/>
                    <a:gd name="T19" fmla="*/ 30 h 41"/>
                    <a:gd name="T20" fmla="*/ 0 w 41"/>
                    <a:gd name="T21" fmla="*/ 20 h 41"/>
                    <a:gd name="T22" fmla="*/ 0 w 41"/>
                    <a:gd name="T23" fmla="*/ 20 h 41"/>
                    <a:gd name="T24" fmla="*/ 0 w 41"/>
                    <a:gd name="T25" fmla="*/ 20 h 41"/>
                    <a:gd name="T26" fmla="*/ 11 w 41"/>
                    <a:gd name="T27" fmla="*/ 10 h 41"/>
                    <a:gd name="T28" fmla="*/ 11 w 41"/>
                    <a:gd name="T29" fmla="*/ 10 h 41"/>
                    <a:gd name="T30" fmla="*/ 11 w 41"/>
                    <a:gd name="T31" fmla="*/ 0 h 41"/>
                    <a:gd name="T32" fmla="*/ 21 w 41"/>
                    <a:gd name="T33" fmla="*/ 0 h 41"/>
                    <a:gd name="T34" fmla="*/ 21 w 41"/>
                    <a:gd name="T35" fmla="*/ 10 h 41"/>
                    <a:gd name="T36" fmla="*/ 31 w 41"/>
                    <a:gd name="T37" fmla="*/ 10 h 41"/>
                    <a:gd name="T38" fmla="*/ 31 w 41"/>
                    <a:gd name="T39" fmla="*/ 10 h 41"/>
                    <a:gd name="T40" fmla="*/ 31 w 41"/>
                    <a:gd name="T41"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 h="41">
                      <a:moveTo>
                        <a:pt x="31" y="20"/>
                      </a:moveTo>
                      <a:lnTo>
                        <a:pt x="31" y="20"/>
                      </a:lnTo>
                      <a:lnTo>
                        <a:pt x="41" y="30"/>
                      </a:lnTo>
                      <a:lnTo>
                        <a:pt x="41" y="41"/>
                      </a:lnTo>
                      <a:lnTo>
                        <a:pt x="31" y="41"/>
                      </a:lnTo>
                      <a:lnTo>
                        <a:pt x="21" y="41"/>
                      </a:lnTo>
                      <a:lnTo>
                        <a:pt x="11" y="30"/>
                      </a:lnTo>
                      <a:lnTo>
                        <a:pt x="0" y="30"/>
                      </a:lnTo>
                      <a:lnTo>
                        <a:pt x="0" y="20"/>
                      </a:lnTo>
                      <a:lnTo>
                        <a:pt x="11" y="10"/>
                      </a:lnTo>
                      <a:lnTo>
                        <a:pt x="11" y="0"/>
                      </a:lnTo>
                      <a:lnTo>
                        <a:pt x="21" y="0"/>
                      </a:lnTo>
                      <a:lnTo>
                        <a:pt x="21" y="10"/>
                      </a:lnTo>
                      <a:lnTo>
                        <a:pt x="31" y="10"/>
                      </a:lnTo>
                      <a:lnTo>
                        <a:pt x="31" y="20"/>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grpSp>
          <p:sp>
            <p:nvSpPr>
              <p:cNvPr id="711" name="ZoneTexte 710">
                <a:extLst>
                  <a:ext uri="{FF2B5EF4-FFF2-40B4-BE49-F238E27FC236}">
                    <a16:creationId xmlns:a16="http://schemas.microsoft.com/office/drawing/2014/main" id="{AA3FE056-8601-4113-A7E8-AA76932C9752}"/>
                  </a:ext>
                </a:extLst>
              </p:cNvPr>
              <p:cNvSpPr txBox="1"/>
              <p:nvPr/>
            </p:nvSpPr>
            <p:spPr>
              <a:xfrm>
                <a:off x="195397" y="4405562"/>
                <a:ext cx="1026563" cy="507831"/>
              </a:xfrm>
              <a:prstGeom prst="rect">
                <a:avLst/>
              </a:prstGeom>
              <a:noFill/>
            </p:spPr>
            <p:txBody>
              <a:bodyPr wrap="square" lIns="108000" rIns="108000" rtlCol="0">
                <a:spAutoFit/>
              </a:bodyPr>
              <a:lstStyle/>
              <a:p>
                <a:endParaRPr lang="fr-FR" sz="900">
                  <a:solidFill>
                    <a:srgbClr val="5F5F5F"/>
                  </a:solidFill>
                  <a:latin typeface="Tahoma"/>
                </a:endParaRPr>
              </a:p>
              <a:p>
                <a:pPr algn="ctr"/>
                <a:r>
                  <a:rPr lang="fr-FR" sz="900" b="1">
                    <a:solidFill>
                      <a:srgbClr val="503078"/>
                    </a:solidFill>
                    <a:latin typeface="Tahoma"/>
                  </a:rPr>
                  <a:t>Guadeloupe</a:t>
                </a:r>
                <a:endParaRPr lang="fr-FR" sz="900">
                  <a:solidFill>
                    <a:srgbClr val="5F5F5F"/>
                  </a:solidFill>
                  <a:latin typeface="Tahoma"/>
                </a:endParaRPr>
              </a:p>
              <a:p>
                <a:endParaRPr lang="fr-FR" sz="900">
                  <a:solidFill>
                    <a:srgbClr val="5F5F5F"/>
                  </a:solidFill>
                  <a:latin typeface="Tahoma"/>
                </a:endParaRPr>
              </a:p>
            </p:txBody>
          </p:sp>
          <p:sp>
            <p:nvSpPr>
              <p:cNvPr id="712" name="ZoneTexte 711">
                <a:extLst>
                  <a:ext uri="{FF2B5EF4-FFF2-40B4-BE49-F238E27FC236}">
                    <a16:creationId xmlns:a16="http://schemas.microsoft.com/office/drawing/2014/main" id="{3656C9FC-132A-4669-ADCB-41D7B7671F8F}"/>
                  </a:ext>
                </a:extLst>
              </p:cNvPr>
              <p:cNvSpPr txBox="1"/>
              <p:nvPr/>
            </p:nvSpPr>
            <p:spPr>
              <a:xfrm>
                <a:off x="-543415" y="4405562"/>
                <a:ext cx="850317" cy="507831"/>
              </a:xfrm>
              <a:prstGeom prst="rect">
                <a:avLst/>
              </a:prstGeom>
              <a:noFill/>
            </p:spPr>
            <p:txBody>
              <a:bodyPr wrap="square" lIns="108000" rIns="108000" rtlCol="0">
                <a:spAutoFit/>
              </a:bodyPr>
              <a:lstStyle/>
              <a:p>
                <a:endParaRPr lang="fr-FR" sz="900">
                  <a:solidFill>
                    <a:srgbClr val="5F5F5F"/>
                  </a:solidFill>
                  <a:latin typeface="Tahoma"/>
                </a:endParaRPr>
              </a:p>
              <a:p>
                <a:pPr algn="ctr"/>
                <a:r>
                  <a:rPr lang="fr-FR" sz="900" b="1">
                    <a:solidFill>
                      <a:srgbClr val="503078"/>
                    </a:solidFill>
                    <a:latin typeface="Tahoma"/>
                  </a:rPr>
                  <a:t>Martinique</a:t>
                </a:r>
                <a:endParaRPr lang="fr-FR" sz="900">
                  <a:solidFill>
                    <a:srgbClr val="5F5F5F"/>
                  </a:solidFill>
                  <a:latin typeface="Tahoma"/>
                </a:endParaRPr>
              </a:p>
              <a:p>
                <a:endParaRPr lang="fr-FR" sz="900">
                  <a:solidFill>
                    <a:srgbClr val="5F5F5F"/>
                  </a:solidFill>
                  <a:latin typeface="Tahoma"/>
                </a:endParaRPr>
              </a:p>
            </p:txBody>
          </p:sp>
          <p:sp>
            <p:nvSpPr>
              <p:cNvPr id="713" name="Martinique">
                <a:extLst>
                  <a:ext uri="{FF2B5EF4-FFF2-40B4-BE49-F238E27FC236}">
                    <a16:creationId xmlns:a16="http://schemas.microsoft.com/office/drawing/2014/main" id="{F0F50017-8529-4F9A-8EAF-B5475488FEC9}"/>
                  </a:ext>
                </a:extLst>
              </p:cNvPr>
              <p:cNvSpPr>
                <a:spLocks noChangeAspect="1"/>
              </p:cNvSpPr>
              <p:nvPr/>
            </p:nvSpPr>
            <p:spPr bwMode="auto">
              <a:xfrm>
                <a:off x="-257954" y="4782785"/>
                <a:ext cx="247476" cy="252447"/>
              </a:xfrm>
              <a:custGeom>
                <a:avLst/>
                <a:gdLst>
                  <a:gd name="T0" fmla="*/ 2985 w 4645"/>
                  <a:gd name="T1" fmla="*/ 1540 h 5278"/>
                  <a:gd name="T2" fmla="*/ 3319 w 4645"/>
                  <a:gd name="T3" fmla="*/ 1236 h 5278"/>
                  <a:gd name="T4" fmla="*/ 3694 w 4645"/>
                  <a:gd name="T5" fmla="*/ 1135 h 5278"/>
                  <a:gd name="T6" fmla="*/ 3916 w 4645"/>
                  <a:gd name="T7" fmla="*/ 1195 h 5278"/>
                  <a:gd name="T8" fmla="*/ 3694 w 4645"/>
                  <a:gd name="T9" fmla="*/ 1256 h 5278"/>
                  <a:gd name="T10" fmla="*/ 3734 w 4645"/>
                  <a:gd name="T11" fmla="*/ 1519 h 5278"/>
                  <a:gd name="T12" fmla="*/ 3481 w 4645"/>
                  <a:gd name="T13" fmla="*/ 1459 h 5278"/>
                  <a:gd name="T14" fmla="*/ 3147 w 4645"/>
                  <a:gd name="T15" fmla="*/ 1519 h 5278"/>
                  <a:gd name="T16" fmla="*/ 3259 w 4645"/>
                  <a:gd name="T17" fmla="*/ 1752 h 5278"/>
                  <a:gd name="T18" fmla="*/ 3431 w 4645"/>
                  <a:gd name="T19" fmla="*/ 1773 h 5278"/>
                  <a:gd name="T20" fmla="*/ 3593 w 4645"/>
                  <a:gd name="T21" fmla="*/ 1996 h 5278"/>
                  <a:gd name="T22" fmla="*/ 3390 w 4645"/>
                  <a:gd name="T23" fmla="*/ 2178 h 5278"/>
                  <a:gd name="T24" fmla="*/ 3289 w 4645"/>
                  <a:gd name="T25" fmla="*/ 2391 h 5278"/>
                  <a:gd name="T26" fmla="*/ 3582 w 4645"/>
                  <a:gd name="T27" fmla="*/ 2300 h 5278"/>
                  <a:gd name="T28" fmla="*/ 3835 w 4645"/>
                  <a:gd name="T29" fmla="*/ 2370 h 5278"/>
                  <a:gd name="T30" fmla="*/ 3593 w 4645"/>
                  <a:gd name="T31" fmla="*/ 2502 h 5278"/>
                  <a:gd name="T32" fmla="*/ 3744 w 4645"/>
                  <a:gd name="T33" fmla="*/ 2684 h 5278"/>
                  <a:gd name="T34" fmla="*/ 3835 w 4645"/>
                  <a:gd name="T35" fmla="*/ 2826 h 5278"/>
                  <a:gd name="T36" fmla="*/ 3977 w 4645"/>
                  <a:gd name="T37" fmla="*/ 3059 h 5278"/>
                  <a:gd name="T38" fmla="*/ 4250 w 4645"/>
                  <a:gd name="T39" fmla="*/ 3211 h 5278"/>
                  <a:gd name="T40" fmla="*/ 4250 w 4645"/>
                  <a:gd name="T41" fmla="*/ 3363 h 5278"/>
                  <a:gd name="T42" fmla="*/ 4422 w 4645"/>
                  <a:gd name="T43" fmla="*/ 3475 h 5278"/>
                  <a:gd name="T44" fmla="*/ 4453 w 4645"/>
                  <a:gd name="T45" fmla="*/ 3768 h 5278"/>
                  <a:gd name="T46" fmla="*/ 4422 w 4645"/>
                  <a:gd name="T47" fmla="*/ 4012 h 5278"/>
                  <a:gd name="T48" fmla="*/ 4645 w 4645"/>
                  <a:gd name="T49" fmla="*/ 4315 h 5278"/>
                  <a:gd name="T50" fmla="*/ 4645 w 4645"/>
                  <a:gd name="T51" fmla="*/ 4559 h 5278"/>
                  <a:gd name="T52" fmla="*/ 4432 w 4645"/>
                  <a:gd name="T53" fmla="*/ 4862 h 5278"/>
                  <a:gd name="T54" fmla="*/ 4260 w 4645"/>
                  <a:gd name="T55" fmla="*/ 4994 h 5278"/>
                  <a:gd name="T56" fmla="*/ 4139 w 4645"/>
                  <a:gd name="T57" fmla="*/ 5278 h 5278"/>
                  <a:gd name="T58" fmla="*/ 3835 w 4645"/>
                  <a:gd name="T59" fmla="*/ 5156 h 5278"/>
                  <a:gd name="T60" fmla="*/ 3896 w 4645"/>
                  <a:gd name="T61" fmla="*/ 4802 h 5278"/>
                  <a:gd name="T62" fmla="*/ 4068 w 4645"/>
                  <a:gd name="T63" fmla="*/ 4619 h 5278"/>
                  <a:gd name="T64" fmla="*/ 3754 w 4645"/>
                  <a:gd name="T65" fmla="*/ 4609 h 5278"/>
                  <a:gd name="T66" fmla="*/ 3552 w 4645"/>
                  <a:gd name="T67" fmla="*/ 4447 h 5278"/>
                  <a:gd name="T68" fmla="*/ 3046 w 4645"/>
                  <a:gd name="T69" fmla="*/ 4498 h 5278"/>
                  <a:gd name="T70" fmla="*/ 2743 w 4645"/>
                  <a:gd name="T71" fmla="*/ 4376 h 5278"/>
                  <a:gd name="T72" fmla="*/ 2550 w 4645"/>
                  <a:gd name="T73" fmla="*/ 4427 h 5278"/>
                  <a:gd name="T74" fmla="*/ 2054 w 4645"/>
                  <a:gd name="T75" fmla="*/ 4498 h 5278"/>
                  <a:gd name="T76" fmla="*/ 1670 w 4645"/>
                  <a:gd name="T77" fmla="*/ 4396 h 5278"/>
                  <a:gd name="T78" fmla="*/ 1478 w 4645"/>
                  <a:gd name="T79" fmla="*/ 4042 h 5278"/>
                  <a:gd name="T80" fmla="*/ 1751 w 4645"/>
                  <a:gd name="T81" fmla="*/ 3738 h 5278"/>
                  <a:gd name="T82" fmla="*/ 2014 w 4645"/>
                  <a:gd name="T83" fmla="*/ 3505 h 5278"/>
                  <a:gd name="T84" fmla="*/ 2277 w 4645"/>
                  <a:gd name="T85" fmla="*/ 3728 h 5278"/>
                  <a:gd name="T86" fmla="*/ 2601 w 4645"/>
                  <a:gd name="T87" fmla="*/ 3637 h 5278"/>
                  <a:gd name="T88" fmla="*/ 2500 w 4645"/>
                  <a:gd name="T89" fmla="*/ 3454 h 5278"/>
                  <a:gd name="T90" fmla="*/ 2318 w 4645"/>
                  <a:gd name="T91" fmla="*/ 3221 h 5278"/>
                  <a:gd name="T92" fmla="*/ 2257 w 4645"/>
                  <a:gd name="T93" fmla="*/ 2917 h 5278"/>
                  <a:gd name="T94" fmla="*/ 1974 w 4645"/>
                  <a:gd name="T95" fmla="*/ 3059 h 5278"/>
                  <a:gd name="T96" fmla="*/ 1771 w 4645"/>
                  <a:gd name="T97" fmla="*/ 3039 h 5278"/>
                  <a:gd name="T98" fmla="*/ 1457 w 4645"/>
                  <a:gd name="T99" fmla="*/ 2917 h 5278"/>
                  <a:gd name="T100" fmla="*/ 1043 w 4645"/>
                  <a:gd name="T101" fmla="*/ 2674 h 5278"/>
                  <a:gd name="T102" fmla="*/ 638 w 4645"/>
                  <a:gd name="T103" fmla="*/ 2148 h 5278"/>
                  <a:gd name="T104" fmla="*/ 577 w 4645"/>
                  <a:gd name="T105" fmla="*/ 1408 h 5278"/>
                  <a:gd name="T106" fmla="*/ 375 w 4645"/>
                  <a:gd name="T107" fmla="*/ 1216 h 5278"/>
                  <a:gd name="T108" fmla="*/ 91 w 4645"/>
                  <a:gd name="T109" fmla="*/ 902 h 5278"/>
                  <a:gd name="T110" fmla="*/ 102 w 4645"/>
                  <a:gd name="T111" fmla="*/ 415 h 5278"/>
                  <a:gd name="T112" fmla="*/ 638 w 4645"/>
                  <a:gd name="T113" fmla="*/ 30 h 5278"/>
                  <a:gd name="T114" fmla="*/ 1205 w 4645"/>
                  <a:gd name="T115" fmla="*/ 91 h 5278"/>
                  <a:gd name="T116" fmla="*/ 1700 w 4645"/>
                  <a:gd name="T117" fmla="*/ 334 h 5278"/>
                  <a:gd name="T118" fmla="*/ 2054 w 4645"/>
                  <a:gd name="T119" fmla="*/ 506 h 5278"/>
                  <a:gd name="T120" fmla="*/ 2378 w 4645"/>
                  <a:gd name="T121" fmla="*/ 760 h 5278"/>
                  <a:gd name="T122" fmla="*/ 2571 w 4645"/>
                  <a:gd name="T123" fmla="*/ 993 h 5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45" h="5278">
                    <a:moveTo>
                      <a:pt x="2773" y="1165"/>
                    </a:moveTo>
                    <a:lnTo>
                      <a:pt x="2773" y="1165"/>
                    </a:lnTo>
                    <a:lnTo>
                      <a:pt x="2773" y="1175"/>
                    </a:lnTo>
                    <a:lnTo>
                      <a:pt x="2773" y="1175"/>
                    </a:lnTo>
                    <a:lnTo>
                      <a:pt x="2783" y="1185"/>
                    </a:lnTo>
                    <a:lnTo>
                      <a:pt x="2783" y="1185"/>
                    </a:lnTo>
                    <a:lnTo>
                      <a:pt x="2793" y="1185"/>
                    </a:lnTo>
                    <a:lnTo>
                      <a:pt x="2793" y="1185"/>
                    </a:lnTo>
                    <a:lnTo>
                      <a:pt x="2803" y="1195"/>
                    </a:lnTo>
                    <a:lnTo>
                      <a:pt x="2803" y="1195"/>
                    </a:lnTo>
                    <a:lnTo>
                      <a:pt x="2803" y="1205"/>
                    </a:lnTo>
                    <a:lnTo>
                      <a:pt x="2803" y="1216"/>
                    </a:lnTo>
                    <a:lnTo>
                      <a:pt x="2803" y="1226"/>
                    </a:lnTo>
                    <a:lnTo>
                      <a:pt x="2813" y="1236"/>
                    </a:lnTo>
                    <a:lnTo>
                      <a:pt x="2834" y="1236"/>
                    </a:lnTo>
                    <a:lnTo>
                      <a:pt x="2844" y="1246"/>
                    </a:lnTo>
                    <a:lnTo>
                      <a:pt x="2854" y="1256"/>
                    </a:lnTo>
                    <a:lnTo>
                      <a:pt x="2854" y="1266"/>
                    </a:lnTo>
                    <a:lnTo>
                      <a:pt x="2854" y="1276"/>
                    </a:lnTo>
                    <a:lnTo>
                      <a:pt x="2864" y="1276"/>
                    </a:lnTo>
                    <a:lnTo>
                      <a:pt x="2874" y="1276"/>
                    </a:lnTo>
                    <a:lnTo>
                      <a:pt x="2874" y="1286"/>
                    </a:lnTo>
                    <a:lnTo>
                      <a:pt x="2874" y="1286"/>
                    </a:lnTo>
                    <a:lnTo>
                      <a:pt x="2884" y="1317"/>
                    </a:lnTo>
                    <a:lnTo>
                      <a:pt x="2884" y="1327"/>
                    </a:lnTo>
                    <a:lnTo>
                      <a:pt x="2884" y="1347"/>
                    </a:lnTo>
                    <a:lnTo>
                      <a:pt x="2884" y="1368"/>
                    </a:lnTo>
                    <a:lnTo>
                      <a:pt x="2884" y="1388"/>
                    </a:lnTo>
                    <a:lnTo>
                      <a:pt x="2884" y="1398"/>
                    </a:lnTo>
                    <a:lnTo>
                      <a:pt x="2884" y="1408"/>
                    </a:lnTo>
                    <a:lnTo>
                      <a:pt x="2894" y="1408"/>
                    </a:lnTo>
                    <a:lnTo>
                      <a:pt x="2894" y="1408"/>
                    </a:lnTo>
                    <a:lnTo>
                      <a:pt x="2904" y="1418"/>
                    </a:lnTo>
                    <a:lnTo>
                      <a:pt x="2904" y="1428"/>
                    </a:lnTo>
                    <a:lnTo>
                      <a:pt x="2915" y="1428"/>
                    </a:lnTo>
                    <a:lnTo>
                      <a:pt x="2925" y="1438"/>
                    </a:lnTo>
                    <a:lnTo>
                      <a:pt x="2925" y="1459"/>
                    </a:lnTo>
                    <a:lnTo>
                      <a:pt x="2925" y="1479"/>
                    </a:lnTo>
                    <a:lnTo>
                      <a:pt x="2925" y="1489"/>
                    </a:lnTo>
                    <a:lnTo>
                      <a:pt x="2935" y="1499"/>
                    </a:lnTo>
                    <a:lnTo>
                      <a:pt x="2935" y="1499"/>
                    </a:lnTo>
                    <a:lnTo>
                      <a:pt x="2935" y="1509"/>
                    </a:lnTo>
                    <a:lnTo>
                      <a:pt x="2945" y="1519"/>
                    </a:lnTo>
                    <a:lnTo>
                      <a:pt x="2945" y="1519"/>
                    </a:lnTo>
                    <a:lnTo>
                      <a:pt x="2945" y="1519"/>
                    </a:lnTo>
                    <a:lnTo>
                      <a:pt x="2955" y="1519"/>
                    </a:lnTo>
                    <a:lnTo>
                      <a:pt x="2965" y="1519"/>
                    </a:lnTo>
                    <a:lnTo>
                      <a:pt x="2975" y="1530"/>
                    </a:lnTo>
                    <a:lnTo>
                      <a:pt x="2975" y="1540"/>
                    </a:lnTo>
                    <a:lnTo>
                      <a:pt x="2985" y="1540"/>
                    </a:lnTo>
                    <a:lnTo>
                      <a:pt x="2985" y="1540"/>
                    </a:lnTo>
                    <a:lnTo>
                      <a:pt x="2996" y="1540"/>
                    </a:lnTo>
                    <a:lnTo>
                      <a:pt x="3006" y="1540"/>
                    </a:lnTo>
                    <a:lnTo>
                      <a:pt x="3016" y="1530"/>
                    </a:lnTo>
                    <a:lnTo>
                      <a:pt x="3026" y="1519"/>
                    </a:lnTo>
                    <a:lnTo>
                      <a:pt x="3036" y="1519"/>
                    </a:lnTo>
                    <a:lnTo>
                      <a:pt x="3036" y="1509"/>
                    </a:lnTo>
                    <a:lnTo>
                      <a:pt x="3046" y="1499"/>
                    </a:lnTo>
                    <a:lnTo>
                      <a:pt x="3046" y="1499"/>
                    </a:lnTo>
                    <a:lnTo>
                      <a:pt x="3046" y="1489"/>
                    </a:lnTo>
                    <a:lnTo>
                      <a:pt x="3056" y="1479"/>
                    </a:lnTo>
                    <a:lnTo>
                      <a:pt x="3056" y="1469"/>
                    </a:lnTo>
                    <a:lnTo>
                      <a:pt x="3056" y="1459"/>
                    </a:lnTo>
                    <a:lnTo>
                      <a:pt x="3046" y="1449"/>
                    </a:lnTo>
                    <a:lnTo>
                      <a:pt x="3046" y="1428"/>
                    </a:lnTo>
                    <a:lnTo>
                      <a:pt x="3046" y="1428"/>
                    </a:lnTo>
                    <a:lnTo>
                      <a:pt x="3046" y="1408"/>
                    </a:lnTo>
                    <a:lnTo>
                      <a:pt x="3056" y="1408"/>
                    </a:lnTo>
                    <a:lnTo>
                      <a:pt x="3076" y="1388"/>
                    </a:lnTo>
                    <a:lnTo>
                      <a:pt x="3076" y="1378"/>
                    </a:lnTo>
                    <a:lnTo>
                      <a:pt x="3087" y="1368"/>
                    </a:lnTo>
                    <a:lnTo>
                      <a:pt x="3107" y="1347"/>
                    </a:lnTo>
                    <a:lnTo>
                      <a:pt x="3117" y="1337"/>
                    </a:lnTo>
                    <a:lnTo>
                      <a:pt x="3117" y="1327"/>
                    </a:lnTo>
                    <a:lnTo>
                      <a:pt x="3117" y="1317"/>
                    </a:lnTo>
                    <a:lnTo>
                      <a:pt x="3117" y="1307"/>
                    </a:lnTo>
                    <a:lnTo>
                      <a:pt x="3127" y="1297"/>
                    </a:lnTo>
                    <a:lnTo>
                      <a:pt x="3137" y="1297"/>
                    </a:lnTo>
                    <a:lnTo>
                      <a:pt x="3147" y="1297"/>
                    </a:lnTo>
                    <a:lnTo>
                      <a:pt x="3147" y="1307"/>
                    </a:lnTo>
                    <a:lnTo>
                      <a:pt x="3147" y="1317"/>
                    </a:lnTo>
                    <a:lnTo>
                      <a:pt x="3157" y="1317"/>
                    </a:lnTo>
                    <a:lnTo>
                      <a:pt x="3157" y="1317"/>
                    </a:lnTo>
                    <a:lnTo>
                      <a:pt x="3168" y="1317"/>
                    </a:lnTo>
                    <a:lnTo>
                      <a:pt x="3198" y="1307"/>
                    </a:lnTo>
                    <a:lnTo>
                      <a:pt x="3208" y="1297"/>
                    </a:lnTo>
                    <a:lnTo>
                      <a:pt x="3218" y="1297"/>
                    </a:lnTo>
                    <a:lnTo>
                      <a:pt x="3218" y="1276"/>
                    </a:lnTo>
                    <a:lnTo>
                      <a:pt x="3228" y="1276"/>
                    </a:lnTo>
                    <a:lnTo>
                      <a:pt x="3228" y="1276"/>
                    </a:lnTo>
                    <a:lnTo>
                      <a:pt x="3238" y="1266"/>
                    </a:lnTo>
                    <a:lnTo>
                      <a:pt x="3249" y="1256"/>
                    </a:lnTo>
                    <a:lnTo>
                      <a:pt x="3249" y="1246"/>
                    </a:lnTo>
                    <a:lnTo>
                      <a:pt x="3259" y="1246"/>
                    </a:lnTo>
                    <a:lnTo>
                      <a:pt x="3269" y="1246"/>
                    </a:lnTo>
                    <a:lnTo>
                      <a:pt x="3279" y="1246"/>
                    </a:lnTo>
                    <a:lnTo>
                      <a:pt x="3279" y="1246"/>
                    </a:lnTo>
                    <a:lnTo>
                      <a:pt x="3289" y="1246"/>
                    </a:lnTo>
                    <a:lnTo>
                      <a:pt x="3299" y="1246"/>
                    </a:lnTo>
                    <a:lnTo>
                      <a:pt x="3309" y="1236"/>
                    </a:lnTo>
                    <a:lnTo>
                      <a:pt x="3309" y="1236"/>
                    </a:lnTo>
                    <a:lnTo>
                      <a:pt x="3319" y="1236"/>
                    </a:lnTo>
                    <a:lnTo>
                      <a:pt x="3340" y="1236"/>
                    </a:lnTo>
                    <a:lnTo>
                      <a:pt x="3350" y="1236"/>
                    </a:lnTo>
                    <a:lnTo>
                      <a:pt x="3360" y="1236"/>
                    </a:lnTo>
                    <a:lnTo>
                      <a:pt x="3360" y="1236"/>
                    </a:lnTo>
                    <a:lnTo>
                      <a:pt x="3360" y="1236"/>
                    </a:lnTo>
                    <a:lnTo>
                      <a:pt x="3370" y="1256"/>
                    </a:lnTo>
                    <a:lnTo>
                      <a:pt x="3370" y="1276"/>
                    </a:lnTo>
                    <a:lnTo>
                      <a:pt x="3370" y="1286"/>
                    </a:lnTo>
                    <a:lnTo>
                      <a:pt x="3370" y="1286"/>
                    </a:lnTo>
                    <a:lnTo>
                      <a:pt x="3390" y="1297"/>
                    </a:lnTo>
                    <a:lnTo>
                      <a:pt x="3390" y="1307"/>
                    </a:lnTo>
                    <a:lnTo>
                      <a:pt x="3400" y="1307"/>
                    </a:lnTo>
                    <a:lnTo>
                      <a:pt x="3400" y="1307"/>
                    </a:lnTo>
                    <a:lnTo>
                      <a:pt x="3421" y="1297"/>
                    </a:lnTo>
                    <a:lnTo>
                      <a:pt x="3431" y="1297"/>
                    </a:lnTo>
                    <a:lnTo>
                      <a:pt x="3441" y="1276"/>
                    </a:lnTo>
                    <a:lnTo>
                      <a:pt x="3451" y="1266"/>
                    </a:lnTo>
                    <a:lnTo>
                      <a:pt x="3451" y="1256"/>
                    </a:lnTo>
                    <a:lnTo>
                      <a:pt x="3461" y="1256"/>
                    </a:lnTo>
                    <a:lnTo>
                      <a:pt x="3461" y="1256"/>
                    </a:lnTo>
                    <a:lnTo>
                      <a:pt x="3471" y="1256"/>
                    </a:lnTo>
                    <a:lnTo>
                      <a:pt x="3481" y="1256"/>
                    </a:lnTo>
                    <a:lnTo>
                      <a:pt x="3491" y="1266"/>
                    </a:lnTo>
                    <a:lnTo>
                      <a:pt x="3491" y="1256"/>
                    </a:lnTo>
                    <a:lnTo>
                      <a:pt x="3501" y="1256"/>
                    </a:lnTo>
                    <a:lnTo>
                      <a:pt x="3512" y="1256"/>
                    </a:lnTo>
                    <a:lnTo>
                      <a:pt x="3512" y="1236"/>
                    </a:lnTo>
                    <a:lnTo>
                      <a:pt x="3512" y="1236"/>
                    </a:lnTo>
                    <a:lnTo>
                      <a:pt x="3512" y="1216"/>
                    </a:lnTo>
                    <a:lnTo>
                      <a:pt x="3512" y="1216"/>
                    </a:lnTo>
                    <a:lnTo>
                      <a:pt x="3512" y="1205"/>
                    </a:lnTo>
                    <a:lnTo>
                      <a:pt x="3522" y="1195"/>
                    </a:lnTo>
                    <a:lnTo>
                      <a:pt x="3532" y="1195"/>
                    </a:lnTo>
                    <a:lnTo>
                      <a:pt x="3552" y="1195"/>
                    </a:lnTo>
                    <a:lnTo>
                      <a:pt x="3572" y="1195"/>
                    </a:lnTo>
                    <a:lnTo>
                      <a:pt x="3582" y="1205"/>
                    </a:lnTo>
                    <a:lnTo>
                      <a:pt x="3593" y="1205"/>
                    </a:lnTo>
                    <a:lnTo>
                      <a:pt x="3613" y="1205"/>
                    </a:lnTo>
                    <a:lnTo>
                      <a:pt x="3613" y="1195"/>
                    </a:lnTo>
                    <a:lnTo>
                      <a:pt x="3613" y="1195"/>
                    </a:lnTo>
                    <a:lnTo>
                      <a:pt x="3623" y="1185"/>
                    </a:lnTo>
                    <a:lnTo>
                      <a:pt x="3623" y="1175"/>
                    </a:lnTo>
                    <a:lnTo>
                      <a:pt x="3623" y="1165"/>
                    </a:lnTo>
                    <a:lnTo>
                      <a:pt x="3633" y="1165"/>
                    </a:lnTo>
                    <a:lnTo>
                      <a:pt x="3633" y="1165"/>
                    </a:lnTo>
                    <a:lnTo>
                      <a:pt x="3653" y="1165"/>
                    </a:lnTo>
                    <a:lnTo>
                      <a:pt x="3653" y="1165"/>
                    </a:lnTo>
                    <a:lnTo>
                      <a:pt x="3663" y="1165"/>
                    </a:lnTo>
                    <a:lnTo>
                      <a:pt x="3663" y="1155"/>
                    </a:lnTo>
                    <a:lnTo>
                      <a:pt x="3684" y="1145"/>
                    </a:lnTo>
                    <a:lnTo>
                      <a:pt x="3694" y="1135"/>
                    </a:lnTo>
                    <a:lnTo>
                      <a:pt x="3704" y="1124"/>
                    </a:lnTo>
                    <a:lnTo>
                      <a:pt x="3714" y="1124"/>
                    </a:lnTo>
                    <a:lnTo>
                      <a:pt x="3714" y="1124"/>
                    </a:lnTo>
                    <a:lnTo>
                      <a:pt x="3724" y="1124"/>
                    </a:lnTo>
                    <a:lnTo>
                      <a:pt x="3724" y="1124"/>
                    </a:lnTo>
                    <a:lnTo>
                      <a:pt x="3724" y="1114"/>
                    </a:lnTo>
                    <a:lnTo>
                      <a:pt x="3734" y="1094"/>
                    </a:lnTo>
                    <a:lnTo>
                      <a:pt x="3734" y="1084"/>
                    </a:lnTo>
                    <a:lnTo>
                      <a:pt x="3744" y="1074"/>
                    </a:lnTo>
                    <a:lnTo>
                      <a:pt x="3754" y="1064"/>
                    </a:lnTo>
                    <a:lnTo>
                      <a:pt x="3765" y="1053"/>
                    </a:lnTo>
                    <a:lnTo>
                      <a:pt x="3765" y="1053"/>
                    </a:lnTo>
                    <a:lnTo>
                      <a:pt x="3775" y="1043"/>
                    </a:lnTo>
                    <a:lnTo>
                      <a:pt x="3785" y="1043"/>
                    </a:lnTo>
                    <a:lnTo>
                      <a:pt x="3785" y="1053"/>
                    </a:lnTo>
                    <a:lnTo>
                      <a:pt x="3795" y="1053"/>
                    </a:lnTo>
                    <a:lnTo>
                      <a:pt x="3795" y="1064"/>
                    </a:lnTo>
                    <a:lnTo>
                      <a:pt x="3795" y="1074"/>
                    </a:lnTo>
                    <a:lnTo>
                      <a:pt x="3795" y="1084"/>
                    </a:lnTo>
                    <a:lnTo>
                      <a:pt x="3795" y="1094"/>
                    </a:lnTo>
                    <a:lnTo>
                      <a:pt x="3805" y="1094"/>
                    </a:lnTo>
                    <a:lnTo>
                      <a:pt x="3805" y="1094"/>
                    </a:lnTo>
                    <a:lnTo>
                      <a:pt x="3815" y="1084"/>
                    </a:lnTo>
                    <a:lnTo>
                      <a:pt x="3825" y="1074"/>
                    </a:lnTo>
                    <a:lnTo>
                      <a:pt x="3835" y="1084"/>
                    </a:lnTo>
                    <a:lnTo>
                      <a:pt x="3846" y="1094"/>
                    </a:lnTo>
                    <a:lnTo>
                      <a:pt x="3846" y="1094"/>
                    </a:lnTo>
                    <a:lnTo>
                      <a:pt x="3866" y="1084"/>
                    </a:lnTo>
                    <a:lnTo>
                      <a:pt x="3866" y="1084"/>
                    </a:lnTo>
                    <a:lnTo>
                      <a:pt x="3876" y="1094"/>
                    </a:lnTo>
                    <a:lnTo>
                      <a:pt x="3876" y="1104"/>
                    </a:lnTo>
                    <a:lnTo>
                      <a:pt x="3876" y="1114"/>
                    </a:lnTo>
                    <a:lnTo>
                      <a:pt x="3886" y="1124"/>
                    </a:lnTo>
                    <a:lnTo>
                      <a:pt x="3886" y="1124"/>
                    </a:lnTo>
                    <a:lnTo>
                      <a:pt x="3886" y="1124"/>
                    </a:lnTo>
                    <a:lnTo>
                      <a:pt x="3896" y="1124"/>
                    </a:lnTo>
                    <a:lnTo>
                      <a:pt x="3906" y="1124"/>
                    </a:lnTo>
                    <a:lnTo>
                      <a:pt x="3916" y="1124"/>
                    </a:lnTo>
                    <a:lnTo>
                      <a:pt x="3916" y="1124"/>
                    </a:lnTo>
                    <a:lnTo>
                      <a:pt x="3916" y="1145"/>
                    </a:lnTo>
                    <a:lnTo>
                      <a:pt x="3926" y="1145"/>
                    </a:lnTo>
                    <a:lnTo>
                      <a:pt x="3926" y="1145"/>
                    </a:lnTo>
                    <a:lnTo>
                      <a:pt x="3926" y="1145"/>
                    </a:lnTo>
                    <a:lnTo>
                      <a:pt x="3937" y="1155"/>
                    </a:lnTo>
                    <a:lnTo>
                      <a:pt x="3926" y="1155"/>
                    </a:lnTo>
                    <a:lnTo>
                      <a:pt x="3926" y="1165"/>
                    </a:lnTo>
                    <a:lnTo>
                      <a:pt x="3916" y="1165"/>
                    </a:lnTo>
                    <a:lnTo>
                      <a:pt x="3916" y="1185"/>
                    </a:lnTo>
                    <a:lnTo>
                      <a:pt x="3916" y="1185"/>
                    </a:lnTo>
                    <a:lnTo>
                      <a:pt x="3916" y="1195"/>
                    </a:lnTo>
                    <a:lnTo>
                      <a:pt x="3916" y="1195"/>
                    </a:lnTo>
                    <a:lnTo>
                      <a:pt x="3916" y="1195"/>
                    </a:lnTo>
                    <a:lnTo>
                      <a:pt x="3906" y="1205"/>
                    </a:lnTo>
                    <a:lnTo>
                      <a:pt x="3906" y="1216"/>
                    </a:lnTo>
                    <a:lnTo>
                      <a:pt x="3906" y="1236"/>
                    </a:lnTo>
                    <a:lnTo>
                      <a:pt x="3906" y="1236"/>
                    </a:lnTo>
                    <a:lnTo>
                      <a:pt x="3906" y="1246"/>
                    </a:lnTo>
                    <a:lnTo>
                      <a:pt x="3906" y="1256"/>
                    </a:lnTo>
                    <a:lnTo>
                      <a:pt x="3916" y="1256"/>
                    </a:lnTo>
                    <a:lnTo>
                      <a:pt x="3937" y="1256"/>
                    </a:lnTo>
                    <a:lnTo>
                      <a:pt x="3937" y="1256"/>
                    </a:lnTo>
                    <a:lnTo>
                      <a:pt x="3947" y="1266"/>
                    </a:lnTo>
                    <a:lnTo>
                      <a:pt x="3947" y="1276"/>
                    </a:lnTo>
                    <a:lnTo>
                      <a:pt x="3947" y="1276"/>
                    </a:lnTo>
                    <a:lnTo>
                      <a:pt x="3937" y="1276"/>
                    </a:lnTo>
                    <a:lnTo>
                      <a:pt x="3916" y="1286"/>
                    </a:lnTo>
                    <a:lnTo>
                      <a:pt x="3916" y="1286"/>
                    </a:lnTo>
                    <a:lnTo>
                      <a:pt x="3906" y="1276"/>
                    </a:lnTo>
                    <a:lnTo>
                      <a:pt x="3896" y="1276"/>
                    </a:lnTo>
                    <a:lnTo>
                      <a:pt x="3886" y="1276"/>
                    </a:lnTo>
                    <a:lnTo>
                      <a:pt x="3876" y="1276"/>
                    </a:lnTo>
                    <a:lnTo>
                      <a:pt x="3866" y="1276"/>
                    </a:lnTo>
                    <a:lnTo>
                      <a:pt x="3846" y="1276"/>
                    </a:lnTo>
                    <a:lnTo>
                      <a:pt x="3835" y="1266"/>
                    </a:lnTo>
                    <a:lnTo>
                      <a:pt x="3835" y="1256"/>
                    </a:lnTo>
                    <a:lnTo>
                      <a:pt x="3825" y="1246"/>
                    </a:lnTo>
                    <a:lnTo>
                      <a:pt x="3825" y="1236"/>
                    </a:lnTo>
                    <a:lnTo>
                      <a:pt x="3825" y="1236"/>
                    </a:lnTo>
                    <a:lnTo>
                      <a:pt x="3815" y="1236"/>
                    </a:lnTo>
                    <a:lnTo>
                      <a:pt x="3815" y="1236"/>
                    </a:lnTo>
                    <a:lnTo>
                      <a:pt x="3815" y="1226"/>
                    </a:lnTo>
                    <a:lnTo>
                      <a:pt x="3815" y="1216"/>
                    </a:lnTo>
                    <a:lnTo>
                      <a:pt x="3815" y="1195"/>
                    </a:lnTo>
                    <a:lnTo>
                      <a:pt x="3805" y="1195"/>
                    </a:lnTo>
                    <a:lnTo>
                      <a:pt x="3805" y="1195"/>
                    </a:lnTo>
                    <a:lnTo>
                      <a:pt x="3795" y="1195"/>
                    </a:lnTo>
                    <a:lnTo>
                      <a:pt x="3785" y="1205"/>
                    </a:lnTo>
                    <a:lnTo>
                      <a:pt x="3785" y="1205"/>
                    </a:lnTo>
                    <a:lnTo>
                      <a:pt x="3775" y="1205"/>
                    </a:lnTo>
                    <a:lnTo>
                      <a:pt x="3765" y="1205"/>
                    </a:lnTo>
                    <a:lnTo>
                      <a:pt x="3744" y="1205"/>
                    </a:lnTo>
                    <a:lnTo>
                      <a:pt x="3734" y="1205"/>
                    </a:lnTo>
                    <a:lnTo>
                      <a:pt x="3724" y="1216"/>
                    </a:lnTo>
                    <a:lnTo>
                      <a:pt x="3724" y="1216"/>
                    </a:lnTo>
                    <a:lnTo>
                      <a:pt x="3714" y="1226"/>
                    </a:lnTo>
                    <a:lnTo>
                      <a:pt x="3714" y="1236"/>
                    </a:lnTo>
                    <a:lnTo>
                      <a:pt x="3714" y="1256"/>
                    </a:lnTo>
                    <a:lnTo>
                      <a:pt x="3714" y="1256"/>
                    </a:lnTo>
                    <a:lnTo>
                      <a:pt x="3704" y="1256"/>
                    </a:lnTo>
                    <a:lnTo>
                      <a:pt x="3704" y="1256"/>
                    </a:lnTo>
                    <a:lnTo>
                      <a:pt x="3694" y="1256"/>
                    </a:lnTo>
                    <a:lnTo>
                      <a:pt x="3694" y="1256"/>
                    </a:lnTo>
                    <a:lnTo>
                      <a:pt x="3684" y="1266"/>
                    </a:lnTo>
                    <a:lnTo>
                      <a:pt x="3674" y="1276"/>
                    </a:lnTo>
                    <a:lnTo>
                      <a:pt x="3674" y="1276"/>
                    </a:lnTo>
                    <a:lnTo>
                      <a:pt x="3663" y="1286"/>
                    </a:lnTo>
                    <a:lnTo>
                      <a:pt x="3674" y="1297"/>
                    </a:lnTo>
                    <a:lnTo>
                      <a:pt x="3684" y="1297"/>
                    </a:lnTo>
                    <a:lnTo>
                      <a:pt x="3694" y="1297"/>
                    </a:lnTo>
                    <a:lnTo>
                      <a:pt x="3704" y="1307"/>
                    </a:lnTo>
                    <a:lnTo>
                      <a:pt x="3704" y="1317"/>
                    </a:lnTo>
                    <a:lnTo>
                      <a:pt x="3714" y="1317"/>
                    </a:lnTo>
                    <a:lnTo>
                      <a:pt x="3724" y="1317"/>
                    </a:lnTo>
                    <a:lnTo>
                      <a:pt x="3724" y="1327"/>
                    </a:lnTo>
                    <a:lnTo>
                      <a:pt x="3734" y="1327"/>
                    </a:lnTo>
                    <a:lnTo>
                      <a:pt x="3744" y="1347"/>
                    </a:lnTo>
                    <a:lnTo>
                      <a:pt x="3744" y="1357"/>
                    </a:lnTo>
                    <a:lnTo>
                      <a:pt x="3754" y="1368"/>
                    </a:lnTo>
                    <a:lnTo>
                      <a:pt x="3754" y="1368"/>
                    </a:lnTo>
                    <a:lnTo>
                      <a:pt x="3754" y="1368"/>
                    </a:lnTo>
                    <a:lnTo>
                      <a:pt x="3744" y="1378"/>
                    </a:lnTo>
                    <a:lnTo>
                      <a:pt x="3744" y="1388"/>
                    </a:lnTo>
                    <a:lnTo>
                      <a:pt x="3734" y="1398"/>
                    </a:lnTo>
                    <a:lnTo>
                      <a:pt x="3734" y="1398"/>
                    </a:lnTo>
                    <a:lnTo>
                      <a:pt x="3724" y="1408"/>
                    </a:lnTo>
                    <a:lnTo>
                      <a:pt x="3724" y="1408"/>
                    </a:lnTo>
                    <a:lnTo>
                      <a:pt x="3714" y="1408"/>
                    </a:lnTo>
                    <a:lnTo>
                      <a:pt x="3704" y="1408"/>
                    </a:lnTo>
                    <a:lnTo>
                      <a:pt x="3694" y="1408"/>
                    </a:lnTo>
                    <a:lnTo>
                      <a:pt x="3684" y="1408"/>
                    </a:lnTo>
                    <a:lnTo>
                      <a:pt x="3684" y="1418"/>
                    </a:lnTo>
                    <a:lnTo>
                      <a:pt x="3674" y="1438"/>
                    </a:lnTo>
                    <a:lnTo>
                      <a:pt x="3663" y="1449"/>
                    </a:lnTo>
                    <a:lnTo>
                      <a:pt x="3653" y="1449"/>
                    </a:lnTo>
                    <a:lnTo>
                      <a:pt x="3653" y="1459"/>
                    </a:lnTo>
                    <a:lnTo>
                      <a:pt x="3653" y="1469"/>
                    </a:lnTo>
                    <a:lnTo>
                      <a:pt x="3674" y="1469"/>
                    </a:lnTo>
                    <a:lnTo>
                      <a:pt x="3674" y="1469"/>
                    </a:lnTo>
                    <a:lnTo>
                      <a:pt x="3684" y="1469"/>
                    </a:lnTo>
                    <a:lnTo>
                      <a:pt x="3694" y="1469"/>
                    </a:lnTo>
                    <a:lnTo>
                      <a:pt x="3694" y="1479"/>
                    </a:lnTo>
                    <a:lnTo>
                      <a:pt x="3694" y="1479"/>
                    </a:lnTo>
                    <a:lnTo>
                      <a:pt x="3694" y="1479"/>
                    </a:lnTo>
                    <a:lnTo>
                      <a:pt x="3704" y="1479"/>
                    </a:lnTo>
                    <a:lnTo>
                      <a:pt x="3714" y="1479"/>
                    </a:lnTo>
                    <a:lnTo>
                      <a:pt x="3724" y="1479"/>
                    </a:lnTo>
                    <a:lnTo>
                      <a:pt x="3724" y="1489"/>
                    </a:lnTo>
                    <a:lnTo>
                      <a:pt x="3724" y="1499"/>
                    </a:lnTo>
                    <a:lnTo>
                      <a:pt x="3724" y="1499"/>
                    </a:lnTo>
                    <a:lnTo>
                      <a:pt x="3724" y="1509"/>
                    </a:lnTo>
                    <a:lnTo>
                      <a:pt x="3724" y="1519"/>
                    </a:lnTo>
                    <a:lnTo>
                      <a:pt x="3734" y="1519"/>
                    </a:lnTo>
                    <a:lnTo>
                      <a:pt x="3734" y="1519"/>
                    </a:lnTo>
                    <a:lnTo>
                      <a:pt x="3744" y="1519"/>
                    </a:lnTo>
                    <a:lnTo>
                      <a:pt x="3744" y="1530"/>
                    </a:lnTo>
                    <a:lnTo>
                      <a:pt x="3744" y="1540"/>
                    </a:lnTo>
                    <a:lnTo>
                      <a:pt x="3734" y="1540"/>
                    </a:lnTo>
                    <a:lnTo>
                      <a:pt x="3734" y="1540"/>
                    </a:lnTo>
                    <a:lnTo>
                      <a:pt x="3724" y="1540"/>
                    </a:lnTo>
                    <a:lnTo>
                      <a:pt x="3714" y="1540"/>
                    </a:lnTo>
                    <a:lnTo>
                      <a:pt x="3704" y="1540"/>
                    </a:lnTo>
                    <a:lnTo>
                      <a:pt x="3694" y="1540"/>
                    </a:lnTo>
                    <a:lnTo>
                      <a:pt x="3684" y="1540"/>
                    </a:lnTo>
                    <a:lnTo>
                      <a:pt x="3684" y="1540"/>
                    </a:lnTo>
                    <a:lnTo>
                      <a:pt x="3674" y="1530"/>
                    </a:lnTo>
                    <a:lnTo>
                      <a:pt x="3674" y="1519"/>
                    </a:lnTo>
                    <a:lnTo>
                      <a:pt x="3663" y="1519"/>
                    </a:lnTo>
                    <a:lnTo>
                      <a:pt x="3663" y="1530"/>
                    </a:lnTo>
                    <a:lnTo>
                      <a:pt x="3663" y="1540"/>
                    </a:lnTo>
                    <a:lnTo>
                      <a:pt x="3663" y="1550"/>
                    </a:lnTo>
                    <a:lnTo>
                      <a:pt x="3663" y="1560"/>
                    </a:lnTo>
                    <a:lnTo>
                      <a:pt x="3663" y="1560"/>
                    </a:lnTo>
                    <a:lnTo>
                      <a:pt x="3653" y="1570"/>
                    </a:lnTo>
                    <a:lnTo>
                      <a:pt x="3643" y="1560"/>
                    </a:lnTo>
                    <a:lnTo>
                      <a:pt x="3633" y="1560"/>
                    </a:lnTo>
                    <a:lnTo>
                      <a:pt x="3633" y="1550"/>
                    </a:lnTo>
                    <a:lnTo>
                      <a:pt x="3633" y="1540"/>
                    </a:lnTo>
                    <a:lnTo>
                      <a:pt x="3633" y="1540"/>
                    </a:lnTo>
                    <a:lnTo>
                      <a:pt x="3633" y="1540"/>
                    </a:lnTo>
                    <a:lnTo>
                      <a:pt x="3623" y="1540"/>
                    </a:lnTo>
                    <a:lnTo>
                      <a:pt x="3613" y="1540"/>
                    </a:lnTo>
                    <a:lnTo>
                      <a:pt x="3603" y="1519"/>
                    </a:lnTo>
                    <a:lnTo>
                      <a:pt x="3603" y="1519"/>
                    </a:lnTo>
                    <a:lnTo>
                      <a:pt x="3603" y="1519"/>
                    </a:lnTo>
                    <a:lnTo>
                      <a:pt x="3593" y="1519"/>
                    </a:lnTo>
                    <a:lnTo>
                      <a:pt x="3582" y="1519"/>
                    </a:lnTo>
                    <a:lnTo>
                      <a:pt x="3572" y="1530"/>
                    </a:lnTo>
                    <a:lnTo>
                      <a:pt x="3542" y="1550"/>
                    </a:lnTo>
                    <a:lnTo>
                      <a:pt x="3532" y="1560"/>
                    </a:lnTo>
                    <a:lnTo>
                      <a:pt x="3522" y="1560"/>
                    </a:lnTo>
                    <a:lnTo>
                      <a:pt x="3522" y="1550"/>
                    </a:lnTo>
                    <a:lnTo>
                      <a:pt x="3522" y="1550"/>
                    </a:lnTo>
                    <a:lnTo>
                      <a:pt x="3512" y="1540"/>
                    </a:lnTo>
                    <a:lnTo>
                      <a:pt x="3522" y="1519"/>
                    </a:lnTo>
                    <a:lnTo>
                      <a:pt x="3522" y="1519"/>
                    </a:lnTo>
                    <a:lnTo>
                      <a:pt x="3532" y="1499"/>
                    </a:lnTo>
                    <a:lnTo>
                      <a:pt x="3522" y="1489"/>
                    </a:lnTo>
                    <a:lnTo>
                      <a:pt x="3512" y="1479"/>
                    </a:lnTo>
                    <a:lnTo>
                      <a:pt x="3512" y="1479"/>
                    </a:lnTo>
                    <a:lnTo>
                      <a:pt x="3512" y="1469"/>
                    </a:lnTo>
                    <a:lnTo>
                      <a:pt x="3512" y="1469"/>
                    </a:lnTo>
                    <a:lnTo>
                      <a:pt x="3501" y="1469"/>
                    </a:lnTo>
                    <a:lnTo>
                      <a:pt x="3491" y="1469"/>
                    </a:lnTo>
                    <a:lnTo>
                      <a:pt x="3481" y="1459"/>
                    </a:lnTo>
                    <a:lnTo>
                      <a:pt x="3481" y="1459"/>
                    </a:lnTo>
                    <a:lnTo>
                      <a:pt x="3471" y="1449"/>
                    </a:lnTo>
                    <a:lnTo>
                      <a:pt x="3471" y="1438"/>
                    </a:lnTo>
                    <a:lnTo>
                      <a:pt x="3451" y="1438"/>
                    </a:lnTo>
                    <a:lnTo>
                      <a:pt x="3441" y="1428"/>
                    </a:lnTo>
                    <a:lnTo>
                      <a:pt x="3431" y="1428"/>
                    </a:lnTo>
                    <a:lnTo>
                      <a:pt x="3431" y="1428"/>
                    </a:lnTo>
                    <a:lnTo>
                      <a:pt x="3421" y="1428"/>
                    </a:lnTo>
                    <a:lnTo>
                      <a:pt x="3421" y="1428"/>
                    </a:lnTo>
                    <a:lnTo>
                      <a:pt x="3421" y="1438"/>
                    </a:lnTo>
                    <a:lnTo>
                      <a:pt x="3410" y="1438"/>
                    </a:lnTo>
                    <a:lnTo>
                      <a:pt x="3400" y="1438"/>
                    </a:lnTo>
                    <a:lnTo>
                      <a:pt x="3390" y="1438"/>
                    </a:lnTo>
                    <a:lnTo>
                      <a:pt x="3380" y="1428"/>
                    </a:lnTo>
                    <a:lnTo>
                      <a:pt x="3370" y="1428"/>
                    </a:lnTo>
                    <a:lnTo>
                      <a:pt x="3370" y="1418"/>
                    </a:lnTo>
                    <a:lnTo>
                      <a:pt x="3370" y="1408"/>
                    </a:lnTo>
                    <a:lnTo>
                      <a:pt x="3370" y="1408"/>
                    </a:lnTo>
                    <a:lnTo>
                      <a:pt x="3370" y="1398"/>
                    </a:lnTo>
                    <a:lnTo>
                      <a:pt x="3360" y="1398"/>
                    </a:lnTo>
                    <a:lnTo>
                      <a:pt x="3350" y="1398"/>
                    </a:lnTo>
                    <a:lnTo>
                      <a:pt x="3340" y="1398"/>
                    </a:lnTo>
                    <a:lnTo>
                      <a:pt x="3329" y="1398"/>
                    </a:lnTo>
                    <a:lnTo>
                      <a:pt x="3319" y="1398"/>
                    </a:lnTo>
                    <a:lnTo>
                      <a:pt x="3309" y="1408"/>
                    </a:lnTo>
                    <a:lnTo>
                      <a:pt x="3289" y="1398"/>
                    </a:lnTo>
                    <a:lnTo>
                      <a:pt x="3279" y="1398"/>
                    </a:lnTo>
                    <a:lnTo>
                      <a:pt x="3269" y="1398"/>
                    </a:lnTo>
                    <a:lnTo>
                      <a:pt x="3259" y="1398"/>
                    </a:lnTo>
                    <a:lnTo>
                      <a:pt x="3259" y="1388"/>
                    </a:lnTo>
                    <a:lnTo>
                      <a:pt x="3249" y="1388"/>
                    </a:lnTo>
                    <a:lnTo>
                      <a:pt x="3249" y="1388"/>
                    </a:lnTo>
                    <a:lnTo>
                      <a:pt x="3238" y="1388"/>
                    </a:lnTo>
                    <a:lnTo>
                      <a:pt x="3228" y="1388"/>
                    </a:lnTo>
                    <a:lnTo>
                      <a:pt x="3218" y="1388"/>
                    </a:lnTo>
                    <a:lnTo>
                      <a:pt x="3208" y="1398"/>
                    </a:lnTo>
                    <a:lnTo>
                      <a:pt x="3208" y="1408"/>
                    </a:lnTo>
                    <a:lnTo>
                      <a:pt x="3208" y="1408"/>
                    </a:lnTo>
                    <a:lnTo>
                      <a:pt x="3208" y="1428"/>
                    </a:lnTo>
                    <a:lnTo>
                      <a:pt x="3208" y="1438"/>
                    </a:lnTo>
                    <a:lnTo>
                      <a:pt x="3208" y="1449"/>
                    </a:lnTo>
                    <a:lnTo>
                      <a:pt x="3188" y="1459"/>
                    </a:lnTo>
                    <a:lnTo>
                      <a:pt x="3188" y="1459"/>
                    </a:lnTo>
                    <a:lnTo>
                      <a:pt x="3178" y="1459"/>
                    </a:lnTo>
                    <a:lnTo>
                      <a:pt x="3157" y="1459"/>
                    </a:lnTo>
                    <a:lnTo>
                      <a:pt x="3157" y="1469"/>
                    </a:lnTo>
                    <a:lnTo>
                      <a:pt x="3147" y="1479"/>
                    </a:lnTo>
                    <a:lnTo>
                      <a:pt x="3147" y="1489"/>
                    </a:lnTo>
                    <a:lnTo>
                      <a:pt x="3147" y="1499"/>
                    </a:lnTo>
                    <a:lnTo>
                      <a:pt x="3147" y="1509"/>
                    </a:lnTo>
                    <a:lnTo>
                      <a:pt x="3147" y="1519"/>
                    </a:lnTo>
                    <a:lnTo>
                      <a:pt x="3157" y="1530"/>
                    </a:lnTo>
                    <a:lnTo>
                      <a:pt x="3157" y="1540"/>
                    </a:lnTo>
                    <a:lnTo>
                      <a:pt x="3157" y="1540"/>
                    </a:lnTo>
                    <a:lnTo>
                      <a:pt x="3168" y="1540"/>
                    </a:lnTo>
                    <a:lnTo>
                      <a:pt x="3178" y="1540"/>
                    </a:lnTo>
                    <a:lnTo>
                      <a:pt x="3188" y="1540"/>
                    </a:lnTo>
                    <a:lnTo>
                      <a:pt x="3188" y="1540"/>
                    </a:lnTo>
                    <a:lnTo>
                      <a:pt x="3198" y="1540"/>
                    </a:lnTo>
                    <a:lnTo>
                      <a:pt x="3198" y="1540"/>
                    </a:lnTo>
                    <a:lnTo>
                      <a:pt x="3198" y="1540"/>
                    </a:lnTo>
                    <a:lnTo>
                      <a:pt x="3208" y="1540"/>
                    </a:lnTo>
                    <a:lnTo>
                      <a:pt x="3218" y="1560"/>
                    </a:lnTo>
                    <a:lnTo>
                      <a:pt x="3228" y="1560"/>
                    </a:lnTo>
                    <a:lnTo>
                      <a:pt x="3228" y="1580"/>
                    </a:lnTo>
                    <a:lnTo>
                      <a:pt x="3228" y="1590"/>
                    </a:lnTo>
                    <a:lnTo>
                      <a:pt x="3218" y="1590"/>
                    </a:lnTo>
                    <a:lnTo>
                      <a:pt x="3208" y="1601"/>
                    </a:lnTo>
                    <a:lnTo>
                      <a:pt x="3208" y="1590"/>
                    </a:lnTo>
                    <a:lnTo>
                      <a:pt x="3198" y="1590"/>
                    </a:lnTo>
                    <a:lnTo>
                      <a:pt x="3198" y="1590"/>
                    </a:lnTo>
                    <a:lnTo>
                      <a:pt x="3188" y="1590"/>
                    </a:lnTo>
                    <a:lnTo>
                      <a:pt x="3157" y="1601"/>
                    </a:lnTo>
                    <a:lnTo>
                      <a:pt x="3147" y="1611"/>
                    </a:lnTo>
                    <a:lnTo>
                      <a:pt x="3147" y="1621"/>
                    </a:lnTo>
                    <a:lnTo>
                      <a:pt x="3147" y="1641"/>
                    </a:lnTo>
                    <a:lnTo>
                      <a:pt x="3147" y="1651"/>
                    </a:lnTo>
                    <a:lnTo>
                      <a:pt x="3147" y="1651"/>
                    </a:lnTo>
                    <a:lnTo>
                      <a:pt x="3157" y="1671"/>
                    </a:lnTo>
                    <a:lnTo>
                      <a:pt x="3168" y="1682"/>
                    </a:lnTo>
                    <a:lnTo>
                      <a:pt x="3168" y="1692"/>
                    </a:lnTo>
                    <a:lnTo>
                      <a:pt x="3168" y="1702"/>
                    </a:lnTo>
                    <a:lnTo>
                      <a:pt x="3168" y="1712"/>
                    </a:lnTo>
                    <a:lnTo>
                      <a:pt x="3188" y="1712"/>
                    </a:lnTo>
                    <a:lnTo>
                      <a:pt x="3198" y="1712"/>
                    </a:lnTo>
                    <a:lnTo>
                      <a:pt x="3198" y="1712"/>
                    </a:lnTo>
                    <a:lnTo>
                      <a:pt x="3198" y="1722"/>
                    </a:lnTo>
                    <a:lnTo>
                      <a:pt x="3208" y="1732"/>
                    </a:lnTo>
                    <a:lnTo>
                      <a:pt x="3208" y="1742"/>
                    </a:lnTo>
                    <a:lnTo>
                      <a:pt x="3218" y="1742"/>
                    </a:lnTo>
                    <a:lnTo>
                      <a:pt x="3218" y="1742"/>
                    </a:lnTo>
                    <a:lnTo>
                      <a:pt x="3218" y="1742"/>
                    </a:lnTo>
                    <a:lnTo>
                      <a:pt x="3218" y="1752"/>
                    </a:lnTo>
                    <a:lnTo>
                      <a:pt x="3218" y="1763"/>
                    </a:lnTo>
                    <a:lnTo>
                      <a:pt x="3228" y="1763"/>
                    </a:lnTo>
                    <a:lnTo>
                      <a:pt x="3238" y="1773"/>
                    </a:lnTo>
                    <a:lnTo>
                      <a:pt x="3238" y="1773"/>
                    </a:lnTo>
                    <a:lnTo>
                      <a:pt x="3249" y="1773"/>
                    </a:lnTo>
                    <a:lnTo>
                      <a:pt x="3259" y="1773"/>
                    </a:lnTo>
                    <a:lnTo>
                      <a:pt x="3259" y="1763"/>
                    </a:lnTo>
                    <a:lnTo>
                      <a:pt x="3259" y="1752"/>
                    </a:lnTo>
                    <a:lnTo>
                      <a:pt x="3259" y="1752"/>
                    </a:lnTo>
                    <a:lnTo>
                      <a:pt x="3259" y="1742"/>
                    </a:lnTo>
                    <a:lnTo>
                      <a:pt x="3259" y="1732"/>
                    </a:lnTo>
                    <a:lnTo>
                      <a:pt x="3259" y="1722"/>
                    </a:lnTo>
                    <a:lnTo>
                      <a:pt x="3269" y="1722"/>
                    </a:lnTo>
                    <a:lnTo>
                      <a:pt x="3269" y="1712"/>
                    </a:lnTo>
                    <a:lnTo>
                      <a:pt x="3279" y="1702"/>
                    </a:lnTo>
                    <a:lnTo>
                      <a:pt x="3279" y="1692"/>
                    </a:lnTo>
                    <a:lnTo>
                      <a:pt x="3279" y="1692"/>
                    </a:lnTo>
                    <a:lnTo>
                      <a:pt x="3289" y="1682"/>
                    </a:lnTo>
                    <a:lnTo>
                      <a:pt x="3299" y="1682"/>
                    </a:lnTo>
                    <a:lnTo>
                      <a:pt x="3299" y="1682"/>
                    </a:lnTo>
                    <a:lnTo>
                      <a:pt x="3309" y="1692"/>
                    </a:lnTo>
                    <a:lnTo>
                      <a:pt x="3319" y="1692"/>
                    </a:lnTo>
                    <a:lnTo>
                      <a:pt x="3340" y="1692"/>
                    </a:lnTo>
                    <a:lnTo>
                      <a:pt x="3340" y="1692"/>
                    </a:lnTo>
                    <a:lnTo>
                      <a:pt x="3340" y="1702"/>
                    </a:lnTo>
                    <a:lnTo>
                      <a:pt x="3340" y="1702"/>
                    </a:lnTo>
                    <a:lnTo>
                      <a:pt x="3350" y="1702"/>
                    </a:lnTo>
                    <a:lnTo>
                      <a:pt x="3340" y="1712"/>
                    </a:lnTo>
                    <a:lnTo>
                      <a:pt x="3340" y="1712"/>
                    </a:lnTo>
                    <a:lnTo>
                      <a:pt x="3329" y="1722"/>
                    </a:lnTo>
                    <a:lnTo>
                      <a:pt x="3319" y="1732"/>
                    </a:lnTo>
                    <a:lnTo>
                      <a:pt x="3319" y="1742"/>
                    </a:lnTo>
                    <a:lnTo>
                      <a:pt x="3309" y="1742"/>
                    </a:lnTo>
                    <a:lnTo>
                      <a:pt x="3309" y="1752"/>
                    </a:lnTo>
                    <a:lnTo>
                      <a:pt x="3309" y="1752"/>
                    </a:lnTo>
                    <a:lnTo>
                      <a:pt x="3309" y="1763"/>
                    </a:lnTo>
                    <a:lnTo>
                      <a:pt x="3309" y="1773"/>
                    </a:lnTo>
                    <a:lnTo>
                      <a:pt x="3309" y="1783"/>
                    </a:lnTo>
                    <a:lnTo>
                      <a:pt x="3299" y="1793"/>
                    </a:lnTo>
                    <a:lnTo>
                      <a:pt x="3289" y="1793"/>
                    </a:lnTo>
                    <a:lnTo>
                      <a:pt x="3279" y="1803"/>
                    </a:lnTo>
                    <a:lnTo>
                      <a:pt x="3269" y="1803"/>
                    </a:lnTo>
                    <a:lnTo>
                      <a:pt x="3259" y="1823"/>
                    </a:lnTo>
                    <a:lnTo>
                      <a:pt x="3259" y="1834"/>
                    </a:lnTo>
                    <a:lnTo>
                      <a:pt x="3279" y="1844"/>
                    </a:lnTo>
                    <a:lnTo>
                      <a:pt x="3299" y="1854"/>
                    </a:lnTo>
                    <a:lnTo>
                      <a:pt x="3319" y="1854"/>
                    </a:lnTo>
                    <a:lnTo>
                      <a:pt x="3329" y="1854"/>
                    </a:lnTo>
                    <a:lnTo>
                      <a:pt x="3340" y="1854"/>
                    </a:lnTo>
                    <a:lnTo>
                      <a:pt x="3340" y="1844"/>
                    </a:lnTo>
                    <a:lnTo>
                      <a:pt x="3360" y="1844"/>
                    </a:lnTo>
                    <a:lnTo>
                      <a:pt x="3360" y="1823"/>
                    </a:lnTo>
                    <a:lnTo>
                      <a:pt x="3370" y="1823"/>
                    </a:lnTo>
                    <a:lnTo>
                      <a:pt x="3380" y="1823"/>
                    </a:lnTo>
                    <a:lnTo>
                      <a:pt x="3390" y="1813"/>
                    </a:lnTo>
                    <a:lnTo>
                      <a:pt x="3400" y="1813"/>
                    </a:lnTo>
                    <a:lnTo>
                      <a:pt x="3400" y="1803"/>
                    </a:lnTo>
                    <a:lnTo>
                      <a:pt x="3421" y="1793"/>
                    </a:lnTo>
                    <a:lnTo>
                      <a:pt x="3421" y="1783"/>
                    </a:lnTo>
                    <a:lnTo>
                      <a:pt x="3431" y="1773"/>
                    </a:lnTo>
                    <a:lnTo>
                      <a:pt x="3431" y="1763"/>
                    </a:lnTo>
                    <a:lnTo>
                      <a:pt x="3441" y="1763"/>
                    </a:lnTo>
                    <a:lnTo>
                      <a:pt x="3451" y="1763"/>
                    </a:lnTo>
                    <a:lnTo>
                      <a:pt x="3461" y="1763"/>
                    </a:lnTo>
                    <a:lnTo>
                      <a:pt x="3471" y="1752"/>
                    </a:lnTo>
                    <a:lnTo>
                      <a:pt x="3481" y="1752"/>
                    </a:lnTo>
                    <a:lnTo>
                      <a:pt x="3481" y="1752"/>
                    </a:lnTo>
                    <a:lnTo>
                      <a:pt x="3481" y="1763"/>
                    </a:lnTo>
                    <a:lnTo>
                      <a:pt x="3481" y="1773"/>
                    </a:lnTo>
                    <a:lnTo>
                      <a:pt x="3481" y="1793"/>
                    </a:lnTo>
                    <a:lnTo>
                      <a:pt x="3481" y="1813"/>
                    </a:lnTo>
                    <a:lnTo>
                      <a:pt x="3481" y="1823"/>
                    </a:lnTo>
                    <a:lnTo>
                      <a:pt x="3481" y="1834"/>
                    </a:lnTo>
                    <a:lnTo>
                      <a:pt x="3481" y="1834"/>
                    </a:lnTo>
                    <a:lnTo>
                      <a:pt x="3491" y="1844"/>
                    </a:lnTo>
                    <a:lnTo>
                      <a:pt x="3501" y="1854"/>
                    </a:lnTo>
                    <a:lnTo>
                      <a:pt x="3501" y="1854"/>
                    </a:lnTo>
                    <a:lnTo>
                      <a:pt x="3501" y="1864"/>
                    </a:lnTo>
                    <a:lnTo>
                      <a:pt x="3491" y="1864"/>
                    </a:lnTo>
                    <a:lnTo>
                      <a:pt x="3481" y="1874"/>
                    </a:lnTo>
                    <a:lnTo>
                      <a:pt x="3481" y="1884"/>
                    </a:lnTo>
                    <a:lnTo>
                      <a:pt x="3481" y="1894"/>
                    </a:lnTo>
                    <a:lnTo>
                      <a:pt x="3481" y="1904"/>
                    </a:lnTo>
                    <a:lnTo>
                      <a:pt x="3491" y="1915"/>
                    </a:lnTo>
                    <a:lnTo>
                      <a:pt x="3491" y="1915"/>
                    </a:lnTo>
                    <a:lnTo>
                      <a:pt x="3501" y="1925"/>
                    </a:lnTo>
                    <a:lnTo>
                      <a:pt x="3512" y="1925"/>
                    </a:lnTo>
                    <a:lnTo>
                      <a:pt x="3522" y="1925"/>
                    </a:lnTo>
                    <a:lnTo>
                      <a:pt x="3542" y="1925"/>
                    </a:lnTo>
                    <a:lnTo>
                      <a:pt x="3552" y="1925"/>
                    </a:lnTo>
                    <a:lnTo>
                      <a:pt x="3562" y="1915"/>
                    </a:lnTo>
                    <a:lnTo>
                      <a:pt x="3572" y="1904"/>
                    </a:lnTo>
                    <a:lnTo>
                      <a:pt x="3593" y="1904"/>
                    </a:lnTo>
                    <a:lnTo>
                      <a:pt x="3603" y="1894"/>
                    </a:lnTo>
                    <a:lnTo>
                      <a:pt x="3603" y="1894"/>
                    </a:lnTo>
                    <a:lnTo>
                      <a:pt x="3613" y="1894"/>
                    </a:lnTo>
                    <a:lnTo>
                      <a:pt x="3623" y="1894"/>
                    </a:lnTo>
                    <a:lnTo>
                      <a:pt x="3623" y="1904"/>
                    </a:lnTo>
                    <a:lnTo>
                      <a:pt x="3623" y="1915"/>
                    </a:lnTo>
                    <a:lnTo>
                      <a:pt x="3623" y="1935"/>
                    </a:lnTo>
                    <a:lnTo>
                      <a:pt x="3613" y="1935"/>
                    </a:lnTo>
                    <a:lnTo>
                      <a:pt x="3613" y="1945"/>
                    </a:lnTo>
                    <a:lnTo>
                      <a:pt x="3623" y="1945"/>
                    </a:lnTo>
                    <a:lnTo>
                      <a:pt x="3623" y="1955"/>
                    </a:lnTo>
                    <a:lnTo>
                      <a:pt x="3623" y="1965"/>
                    </a:lnTo>
                    <a:lnTo>
                      <a:pt x="3613" y="1965"/>
                    </a:lnTo>
                    <a:lnTo>
                      <a:pt x="3613" y="1975"/>
                    </a:lnTo>
                    <a:lnTo>
                      <a:pt x="3613" y="1985"/>
                    </a:lnTo>
                    <a:lnTo>
                      <a:pt x="3613" y="1985"/>
                    </a:lnTo>
                    <a:lnTo>
                      <a:pt x="3603" y="1996"/>
                    </a:lnTo>
                    <a:lnTo>
                      <a:pt x="3593" y="1996"/>
                    </a:lnTo>
                    <a:lnTo>
                      <a:pt x="3582" y="1996"/>
                    </a:lnTo>
                    <a:lnTo>
                      <a:pt x="3572" y="1985"/>
                    </a:lnTo>
                    <a:lnTo>
                      <a:pt x="3562" y="1996"/>
                    </a:lnTo>
                    <a:lnTo>
                      <a:pt x="3562" y="1996"/>
                    </a:lnTo>
                    <a:lnTo>
                      <a:pt x="3552" y="1996"/>
                    </a:lnTo>
                    <a:lnTo>
                      <a:pt x="3552" y="2006"/>
                    </a:lnTo>
                    <a:lnTo>
                      <a:pt x="3552" y="2016"/>
                    </a:lnTo>
                    <a:lnTo>
                      <a:pt x="3552" y="2016"/>
                    </a:lnTo>
                    <a:lnTo>
                      <a:pt x="3542" y="2026"/>
                    </a:lnTo>
                    <a:lnTo>
                      <a:pt x="3532" y="2036"/>
                    </a:lnTo>
                    <a:lnTo>
                      <a:pt x="3532" y="2046"/>
                    </a:lnTo>
                    <a:lnTo>
                      <a:pt x="3522" y="2056"/>
                    </a:lnTo>
                    <a:lnTo>
                      <a:pt x="3512" y="2067"/>
                    </a:lnTo>
                    <a:lnTo>
                      <a:pt x="3512" y="2067"/>
                    </a:lnTo>
                    <a:lnTo>
                      <a:pt x="3501" y="2067"/>
                    </a:lnTo>
                    <a:lnTo>
                      <a:pt x="3501" y="2056"/>
                    </a:lnTo>
                    <a:lnTo>
                      <a:pt x="3501" y="2046"/>
                    </a:lnTo>
                    <a:lnTo>
                      <a:pt x="3501" y="2036"/>
                    </a:lnTo>
                    <a:lnTo>
                      <a:pt x="3501" y="2036"/>
                    </a:lnTo>
                    <a:lnTo>
                      <a:pt x="3491" y="2036"/>
                    </a:lnTo>
                    <a:lnTo>
                      <a:pt x="3481" y="2036"/>
                    </a:lnTo>
                    <a:lnTo>
                      <a:pt x="3471" y="2036"/>
                    </a:lnTo>
                    <a:lnTo>
                      <a:pt x="3461" y="2036"/>
                    </a:lnTo>
                    <a:lnTo>
                      <a:pt x="3451" y="2046"/>
                    </a:lnTo>
                    <a:lnTo>
                      <a:pt x="3441" y="2046"/>
                    </a:lnTo>
                    <a:lnTo>
                      <a:pt x="3431" y="2056"/>
                    </a:lnTo>
                    <a:lnTo>
                      <a:pt x="3431" y="2067"/>
                    </a:lnTo>
                    <a:lnTo>
                      <a:pt x="3410" y="2077"/>
                    </a:lnTo>
                    <a:lnTo>
                      <a:pt x="3400" y="2077"/>
                    </a:lnTo>
                    <a:lnTo>
                      <a:pt x="3390" y="2077"/>
                    </a:lnTo>
                    <a:lnTo>
                      <a:pt x="3380" y="2077"/>
                    </a:lnTo>
                    <a:lnTo>
                      <a:pt x="3380" y="2077"/>
                    </a:lnTo>
                    <a:lnTo>
                      <a:pt x="3370" y="2067"/>
                    </a:lnTo>
                    <a:lnTo>
                      <a:pt x="3370" y="2067"/>
                    </a:lnTo>
                    <a:lnTo>
                      <a:pt x="3360" y="2067"/>
                    </a:lnTo>
                    <a:lnTo>
                      <a:pt x="3350" y="2077"/>
                    </a:lnTo>
                    <a:lnTo>
                      <a:pt x="3340" y="2077"/>
                    </a:lnTo>
                    <a:lnTo>
                      <a:pt x="3329" y="2087"/>
                    </a:lnTo>
                    <a:lnTo>
                      <a:pt x="3319" y="2097"/>
                    </a:lnTo>
                    <a:lnTo>
                      <a:pt x="3319" y="2107"/>
                    </a:lnTo>
                    <a:lnTo>
                      <a:pt x="3329" y="2117"/>
                    </a:lnTo>
                    <a:lnTo>
                      <a:pt x="3329" y="2127"/>
                    </a:lnTo>
                    <a:lnTo>
                      <a:pt x="3340" y="2137"/>
                    </a:lnTo>
                    <a:lnTo>
                      <a:pt x="3340" y="2148"/>
                    </a:lnTo>
                    <a:lnTo>
                      <a:pt x="3350" y="2148"/>
                    </a:lnTo>
                    <a:lnTo>
                      <a:pt x="3360" y="2158"/>
                    </a:lnTo>
                    <a:lnTo>
                      <a:pt x="3360" y="2168"/>
                    </a:lnTo>
                    <a:lnTo>
                      <a:pt x="3370" y="2178"/>
                    </a:lnTo>
                    <a:lnTo>
                      <a:pt x="3380" y="2178"/>
                    </a:lnTo>
                    <a:lnTo>
                      <a:pt x="3380" y="2178"/>
                    </a:lnTo>
                    <a:lnTo>
                      <a:pt x="3390" y="2178"/>
                    </a:lnTo>
                    <a:lnTo>
                      <a:pt x="3380" y="2188"/>
                    </a:lnTo>
                    <a:lnTo>
                      <a:pt x="3370" y="2188"/>
                    </a:lnTo>
                    <a:lnTo>
                      <a:pt x="3360" y="2188"/>
                    </a:lnTo>
                    <a:lnTo>
                      <a:pt x="3360" y="2188"/>
                    </a:lnTo>
                    <a:lnTo>
                      <a:pt x="3350" y="2178"/>
                    </a:lnTo>
                    <a:lnTo>
                      <a:pt x="3340" y="2178"/>
                    </a:lnTo>
                    <a:lnTo>
                      <a:pt x="3329" y="2168"/>
                    </a:lnTo>
                    <a:lnTo>
                      <a:pt x="3309" y="2168"/>
                    </a:lnTo>
                    <a:lnTo>
                      <a:pt x="3279" y="2168"/>
                    </a:lnTo>
                    <a:lnTo>
                      <a:pt x="3269" y="2168"/>
                    </a:lnTo>
                    <a:lnTo>
                      <a:pt x="3269" y="2158"/>
                    </a:lnTo>
                    <a:lnTo>
                      <a:pt x="3259" y="2148"/>
                    </a:lnTo>
                    <a:lnTo>
                      <a:pt x="3259" y="2137"/>
                    </a:lnTo>
                    <a:lnTo>
                      <a:pt x="3249" y="2127"/>
                    </a:lnTo>
                    <a:lnTo>
                      <a:pt x="3249" y="2127"/>
                    </a:lnTo>
                    <a:lnTo>
                      <a:pt x="3238" y="2127"/>
                    </a:lnTo>
                    <a:lnTo>
                      <a:pt x="3238" y="2137"/>
                    </a:lnTo>
                    <a:lnTo>
                      <a:pt x="3228" y="2148"/>
                    </a:lnTo>
                    <a:lnTo>
                      <a:pt x="3218" y="2148"/>
                    </a:lnTo>
                    <a:lnTo>
                      <a:pt x="3218" y="2158"/>
                    </a:lnTo>
                    <a:lnTo>
                      <a:pt x="3198" y="2168"/>
                    </a:lnTo>
                    <a:lnTo>
                      <a:pt x="3198" y="2178"/>
                    </a:lnTo>
                    <a:lnTo>
                      <a:pt x="3198" y="2188"/>
                    </a:lnTo>
                    <a:lnTo>
                      <a:pt x="3198" y="2188"/>
                    </a:lnTo>
                    <a:lnTo>
                      <a:pt x="3188" y="2198"/>
                    </a:lnTo>
                    <a:lnTo>
                      <a:pt x="3188" y="2198"/>
                    </a:lnTo>
                    <a:lnTo>
                      <a:pt x="3178" y="2208"/>
                    </a:lnTo>
                    <a:lnTo>
                      <a:pt x="3178" y="2208"/>
                    </a:lnTo>
                    <a:lnTo>
                      <a:pt x="3178" y="2218"/>
                    </a:lnTo>
                    <a:lnTo>
                      <a:pt x="3178" y="2239"/>
                    </a:lnTo>
                    <a:lnTo>
                      <a:pt x="3188" y="2259"/>
                    </a:lnTo>
                    <a:lnTo>
                      <a:pt x="3188" y="2269"/>
                    </a:lnTo>
                    <a:lnTo>
                      <a:pt x="3188" y="2279"/>
                    </a:lnTo>
                    <a:lnTo>
                      <a:pt x="3198" y="2289"/>
                    </a:lnTo>
                    <a:lnTo>
                      <a:pt x="3198" y="2300"/>
                    </a:lnTo>
                    <a:lnTo>
                      <a:pt x="3208" y="2310"/>
                    </a:lnTo>
                    <a:lnTo>
                      <a:pt x="3208" y="2320"/>
                    </a:lnTo>
                    <a:lnTo>
                      <a:pt x="3208" y="2320"/>
                    </a:lnTo>
                    <a:lnTo>
                      <a:pt x="3218" y="2320"/>
                    </a:lnTo>
                    <a:lnTo>
                      <a:pt x="3218" y="2330"/>
                    </a:lnTo>
                    <a:lnTo>
                      <a:pt x="3238" y="2330"/>
                    </a:lnTo>
                    <a:lnTo>
                      <a:pt x="3249" y="2330"/>
                    </a:lnTo>
                    <a:lnTo>
                      <a:pt x="3259" y="2340"/>
                    </a:lnTo>
                    <a:lnTo>
                      <a:pt x="3259" y="2340"/>
                    </a:lnTo>
                    <a:lnTo>
                      <a:pt x="3259" y="2350"/>
                    </a:lnTo>
                    <a:lnTo>
                      <a:pt x="3259" y="2360"/>
                    </a:lnTo>
                    <a:lnTo>
                      <a:pt x="3269" y="2370"/>
                    </a:lnTo>
                    <a:lnTo>
                      <a:pt x="3269" y="2370"/>
                    </a:lnTo>
                    <a:lnTo>
                      <a:pt x="3279" y="2381"/>
                    </a:lnTo>
                    <a:lnTo>
                      <a:pt x="3289" y="2381"/>
                    </a:lnTo>
                    <a:lnTo>
                      <a:pt x="3289" y="2391"/>
                    </a:lnTo>
                    <a:lnTo>
                      <a:pt x="3289" y="2391"/>
                    </a:lnTo>
                    <a:lnTo>
                      <a:pt x="3289" y="2411"/>
                    </a:lnTo>
                    <a:lnTo>
                      <a:pt x="3289" y="2411"/>
                    </a:lnTo>
                    <a:lnTo>
                      <a:pt x="3289" y="2421"/>
                    </a:lnTo>
                    <a:lnTo>
                      <a:pt x="3289" y="2431"/>
                    </a:lnTo>
                    <a:lnTo>
                      <a:pt x="3289" y="2441"/>
                    </a:lnTo>
                    <a:lnTo>
                      <a:pt x="3299" y="2451"/>
                    </a:lnTo>
                    <a:lnTo>
                      <a:pt x="3319" y="2451"/>
                    </a:lnTo>
                    <a:lnTo>
                      <a:pt x="3340" y="2451"/>
                    </a:lnTo>
                    <a:lnTo>
                      <a:pt x="3360" y="2451"/>
                    </a:lnTo>
                    <a:lnTo>
                      <a:pt x="3370" y="2451"/>
                    </a:lnTo>
                    <a:lnTo>
                      <a:pt x="3380" y="2441"/>
                    </a:lnTo>
                    <a:lnTo>
                      <a:pt x="3390" y="2441"/>
                    </a:lnTo>
                    <a:lnTo>
                      <a:pt x="3400" y="2441"/>
                    </a:lnTo>
                    <a:lnTo>
                      <a:pt x="3410" y="2441"/>
                    </a:lnTo>
                    <a:lnTo>
                      <a:pt x="3421" y="2431"/>
                    </a:lnTo>
                    <a:lnTo>
                      <a:pt x="3421" y="2411"/>
                    </a:lnTo>
                    <a:lnTo>
                      <a:pt x="3431" y="2401"/>
                    </a:lnTo>
                    <a:lnTo>
                      <a:pt x="3431" y="2391"/>
                    </a:lnTo>
                    <a:lnTo>
                      <a:pt x="3431" y="2381"/>
                    </a:lnTo>
                    <a:lnTo>
                      <a:pt x="3441" y="2370"/>
                    </a:lnTo>
                    <a:lnTo>
                      <a:pt x="3441" y="2360"/>
                    </a:lnTo>
                    <a:lnTo>
                      <a:pt x="3451" y="2360"/>
                    </a:lnTo>
                    <a:lnTo>
                      <a:pt x="3451" y="2350"/>
                    </a:lnTo>
                    <a:lnTo>
                      <a:pt x="3451" y="2340"/>
                    </a:lnTo>
                    <a:lnTo>
                      <a:pt x="3451" y="2330"/>
                    </a:lnTo>
                    <a:lnTo>
                      <a:pt x="3451" y="2330"/>
                    </a:lnTo>
                    <a:lnTo>
                      <a:pt x="3451" y="2320"/>
                    </a:lnTo>
                    <a:lnTo>
                      <a:pt x="3461" y="2310"/>
                    </a:lnTo>
                    <a:lnTo>
                      <a:pt x="3471" y="2310"/>
                    </a:lnTo>
                    <a:lnTo>
                      <a:pt x="3481" y="2310"/>
                    </a:lnTo>
                    <a:lnTo>
                      <a:pt x="3481" y="2320"/>
                    </a:lnTo>
                    <a:lnTo>
                      <a:pt x="3491" y="2320"/>
                    </a:lnTo>
                    <a:lnTo>
                      <a:pt x="3501" y="2320"/>
                    </a:lnTo>
                    <a:lnTo>
                      <a:pt x="3512" y="2330"/>
                    </a:lnTo>
                    <a:lnTo>
                      <a:pt x="3522" y="2330"/>
                    </a:lnTo>
                    <a:lnTo>
                      <a:pt x="3532" y="2340"/>
                    </a:lnTo>
                    <a:lnTo>
                      <a:pt x="3532" y="2350"/>
                    </a:lnTo>
                    <a:lnTo>
                      <a:pt x="3542" y="2360"/>
                    </a:lnTo>
                    <a:lnTo>
                      <a:pt x="3552" y="2360"/>
                    </a:lnTo>
                    <a:lnTo>
                      <a:pt x="3552" y="2350"/>
                    </a:lnTo>
                    <a:lnTo>
                      <a:pt x="3562" y="2340"/>
                    </a:lnTo>
                    <a:lnTo>
                      <a:pt x="3562" y="2340"/>
                    </a:lnTo>
                    <a:lnTo>
                      <a:pt x="3562" y="2330"/>
                    </a:lnTo>
                    <a:lnTo>
                      <a:pt x="3562" y="2330"/>
                    </a:lnTo>
                    <a:lnTo>
                      <a:pt x="3552" y="2330"/>
                    </a:lnTo>
                    <a:lnTo>
                      <a:pt x="3552" y="2320"/>
                    </a:lnTo>
                    <a:lnTo>
                      <a:pt x="3552" y="2310"/>
                    </a:lnTo>
                    <a:lnTo>
                      <a:pt x="3562" y="2300"/>
                    </a:lnTo>
                    <a:lnTo>
                      <a:pt x="3562" y="2300"/>
                    </a:lnTo>
                    <a:lnTo>
                      <a:pt x="3582" y="2300"/>
                    </a:lnTo>
                    <a:lnTo>
                      <a:pt x="3593" y="2300"/>
                    </a:lnTo>
                    <a:lnTo>
                      <a:pt x="3593" y="2310"/>
                    </a:lnTo>
                    <a:lnTo>
                      <a:pt x="3593" y="2310"/>
                    </a:lnTo>
                    <a:lnTo>
                      <a:pt x="3603" y="2310"/>
                    </a:lnTo>
                    <a:lnTo>
                      <a:pt x="3613" y="2320"/>
                    </a:lnTo>
                    <a:lnTo>
                      <a:pt x="3613" y="2320"/>
                    </a:lnTo>
                    <a:lnTo>
                      <a:pt x="3613" y="2330"/>
                    </a:lnTo>
                    <a:lnTo>
                      <a:pt x="3613" y="2340"/>
                    </a:lnTo>
                    <a:lnTo>
                      <a:pt x="3623" y="2350"/>
                    </a:lnTo>
                    <a:lnTo>
                      <a:pt x="3623" y="2360"/>
                    </a:lnTo>
                    <a:lnTo>
                      <a:pt x="3633" y="2360"/>
                    </a:lnTo>
                    <a:lnTo>
                      <a:pt x="3633" y="2360"/>
                    </a:lnTo>
                    <a:lnTo>
                      <a:pt x="3643" y="2350"/>
                    </a:lnTo>
                    <a:lnTo>
                      <a:pt x="3643" y="2340"/>
                    </a:lnTo>
                    <a:lnTo>
                      <a:pt x="3653" y="2330"/>
                    </a:lnTo>
                    <a:lnTo>
                      <a:pt x="3653" y="2330"/>
                    </a:lnTo>
                    <a:lnTo>
                      <a:pt x="3663" y="2320"/>
                    </a:lnTo>
                    <a:lnTo>
                      <a:pt x="3663" y="2330"/>
                    </a:lnTo>
                    <a:lnTo>
                      <a:pt x="3674" y="2330"/>
                    </a:lnTo>
                    <a:lnTo>
                      <a:pt x="3674" y="2340"/>
                    </a:lnTo>
                    <a:lnTo>
                      <a:pt x="3684" y="2340"/>
                    </a:lnTo>
                    <a:lnTo>
                      <a:pt x="3674" y="2350"/>
                    </a:lnTo>
                    <a:lnTo>
                      <a:pt x="3674" y="2360"/>
                    </a:lnTo>
                    <a:lnTo>
                      <a:pt x="3674" y="2360"/>
                    </a:lnTo>
                    <a:lnTo>
                      <a:pt x="3663" y="2370"/>
                    </a:lnTo>
                    <a:lnTo>
                      <a:pt x="3674" y="2381"/>
                    </a:lnTo>
                    <a:lnTo>
                      <a:pt x="3674" y="2381"/>
                    </a:lnTo>
                    <a:lnTo>
                      <a:pt x="3684" y="2381"/>
                    </a:lnTo>
                    <a:lnTo>
                      <a:pt x="3694" y="2381"/>
                    </a:lnTo>
                    <a:lnTo>
                      <a:pt x="3704" y="2381"/>
                    </a:lnTo>
                    <a:lnTo>
                      <a:pt x="3714" y="2391"/>
                    </a:lnTo>
                    <a:lnTo>
                      <a:pt x="3724" y="2381"/>
                    </a:lnTo>
                    <a:lnTo>
                      <a:pt x="3724" y="2381"/>
                    </a:lnTo>
                    <a:lnTo>
                      <a:pt x="3734" y="2370"/>
                    </a:lnTo>
                    <a:lnTo>
                      <a:pt x="3744" y="2350"/>
                    </a:lnTo>
                    <a:lnTo>
                      <a:pt x="3744" y="2330"/>
                    </a:lnTo>
                    <a:lnTo>
                      <a:pt x="3744" y="2330"/>
                    </a:lnTo>
                    <a:lnTo>
                      <a:pt x="3744" y="2320"/>
                    </a:lnTo>
                    <a:lnTo>
                      <a:pt x="3765" y="2310"/>
                    </a:lnTo>
                    <a:lnTo>
                      <a:pt x="3765" y="2310"/>
                    </a:lnTo>
                    <a:lnTo>
                      <a:pt x="3775" y="2320"/>
                    </a:lnTo>
                    <a:lnTo>
                      <a:pt x="3795" y="2320"/>
                    </a:lnTo>
                    <a:lnTo>
                      <a:pt x="3815" y="2320"/>
                    </a:lnTo>
                    <a:lnTo>
                      <a:pt x="3825" y="2320"/>
                    </a:lnTo>
                    <a:lnTo>
                      <a:pt x="3825" y="2330"/>
                    </a:lnTo>
                    <a:lnTo>
                      <a:pt x="3835" y="2330"/>
                    </a:lnTo>
                    <a:lnTo>
                      <a:pt x="3835" y="2330"/>
                    </a:lnTo>
                    <a:lnTo>
                      <a:pt x="3835" y="2340"/>
                    </a:lnTo>
                    <a:lnTo>
                      <a:pt x="3835" y="2360"/>
                    </a:lnTo>
                    <a:lnTo>
                      <a:pt x="3835" y="2370"/>
                    </a:lnTo>
                    <a:lnTo>
                      <a:pt x="3835" y="2370"/>
                    </a:lnTo>
                    <a:lnTo>
                      <a:pt x="3835" y="2381"/>
                    </a:lnTo>
                    <a:lnTo>
                      <a:pt x="3835" y="2391"/>
                    </a:lnTo>
                    <a:lnTo>
                      <a:pt x="3835" y="2391"/>
                    </a:lnTo>
                    <a:lnTo>
                      <a:pt x="3825" y="2391"/>
                    </a:lnTo>
                    <a:lnTo>
                      <a:pt x="3815" y="2401"/>
                    </a:lnTo>
                    <a:lnTo>
                      <a:pt x="3815" y="2411"/>
                    </a:lnTo>
                    <a:lnTo>
                      <a:pt x="3805" y="2421"/>
                    </a:lnTo>
                    <a:lnTo>
                      <a:pt x="3805" y="2431"/>
                    </a:lnTo>
                    <a:lnTo>
                      <a:pt x="3805" y="2451"/>
                    </a:lnTo>
                    <a:lnTo>
                      <a:pt x="3805" y="2462"/>
                    </a:lnTo>
                    <a:lnTo>
                      <a:pt x="3805" y="2472"/>
                    </a:lnTo>
                    <a:lnTo>
                      <a:pt x="3795" y="2472"/>
                    </a:lnTo>
                    <a:lnTo>
                      <a:pt x="3795" y="2472"/>
                    </a:lnTo>
                    <a:lnTo>
                      <a:pt x="3785" y="2462"/>
                    </a:lnTo>
                    <a:lnTo>
                      <a:pt x="3785" y="2451"/>
                    </a:lnTo>
                    <a:lnTo>
                      <a:pt x="3765" y="2411"/>
                    </a:lnTo>
                    <a:lnTo>
                      <a:pt x="3765" y="2411"/>
                    </a:lnTo>
                    <a:lnTo>
                      <a:pt x="3754" y="2421"/>
                    </a:lnTo>
                    <a:lnTo>
                      <a:pt x="3754" y="2431"/>
                    </a:lnTo>
                    <a:lnTo>
                      <a:pt x="3754" y="2451"/>
                    </a:lnTo>
                    <a:lnTo>
                      <a:pt x="3744" y="2462"/>
                    </a:lnTo>
                    <a:lnTo>
                      <a:pt x="3744" y="2462"/>
                    </a:lnTo>
                    <a:lnTo>
                      <a:pt x="3734" y="2482"/>
                    </a:lnTo>
                    <a:lnTo>
                      <a:pt x="3724" y="2482"/>
                    </a:lnTo>
                    <a:lnTo>
                      <a:pt x="3714" y="2492"/>
                    </a:lnTo>
                    <a:lnTo>
                      <a:pt x="3714" y="2502"/>
                    </a:lnTo>
                    <a:lnTo>
                      <a:pt x="3704" y="2512"/>
                    </a:lnTo>
                    <a:lnTo>
                      <a:pt x="3694" y="2512"/>
                    </a:lnTo>
                    <a:lnTo>
                      <a:pt x="3694" y="2512"/>
                    </a:lnTo>
                    <a:lnTo>
                      <a:pt x="3684" y="2502"/>
                    </a:lnTo>
                    <a:lnTo>
                      <a:pt x="3684" y="2502"/>
                    </a:lnTo>
                    <a:lnTo>
                      <a:pt x="3674" y="2492"/>
                    </a:lnTo>
                    <a:lnTo>
                      <a:pt x="3663" y="2482"/>
                    </a:lnTo>
                    <a:lnTo>
                      <a:pt x="3653" y="2482"/>
                    </a:lnTo>
                    <a:lnTo>
                      <a:pt x="3653" y="2472"/>
                    </a:lnTo>
                    <a:lnTo>
                      <a:pt x="3653" y="2462"/>
                    </a:lnTo>
                    <a:lnTo>
                      <a:pt x="3653" y="2462"/>
                    </a:lnTo>
                    <a:lnTo>
                      <a:pt x="3643" y="2451"/>
                    </a:lnTo>
                    <a:lnTo>
                      <a:pt x="3643" y="2451"/>
                    </a:lnTo>
                    <a:lnTo>
                      <a:pt x="3633" y="2451"/>
                    </a:lnTo>
                    <a:lnTo>
                      <a:pt x="3633" y="2451"/>
                    </a:lnTo>
                    <a:lnTo>
                      <a:pt x="3633" y="2441"/>
                    </a:lnTo>
                    <a:lnTo>
                      <a:pt x="3623" y="2441"/>
                    </a:lnTo>
                    <a:lnTo>
                      <a:pt x="3623" y="2441"/>
                    </a:lnTo>
                    <a:lnTo>
                      <a:pt x="3613" y="2441"/>
                    </a:lnTo>
                    <a:lnTo>
                      <a:pt x="3613" y="2451"/>
                    </a:lnTo>
                    <a:lnTo>
                      <a:pt x="3603" y="2462"/>
                    </a:lnTo>
                    <a:lnTo>
                      <a:pt x="3603" y="2482"/>
                    </a:lnTo>
                    <a:lnTo>
                      <a:pt x="3603" y="2482"/>
                    </a:lnTo>
                    <a:lnTo>
                      <a:pt x="3603" y="2492"/>
                    </a:lnTo>
                    <a:lnTo>
                      <a:pt x="3593" y="2502"/>
                    </a:lnTo>
                    <a:lnTo>
                      <a:pt x="3572" y="2512"/>
                    </a:lnTo>
                    <a:lnTo>
                      <a:pt x="3562" y="2512"/>
                    </a:lnTo>
                    <a:lnTo>
                      <a:pt x="3552" y="2522"/>
                    </a:lnTo>
                    <a:lnTo>
                      <a:pt x="3552" y="2522"/>
                    </a:lnTo>
                    <a:lnTo>
                      <a:pt x="3552" y="2522"/>
                    </a:lnTo>
                    <a:lnTo>
                      <a:pt x="3552" y="2533"/>
                    </a:lnTo>
                    <a:lnTo>
                      <a:pt x="3562" y="2533"/>
                    </a:lnTo>
                    <a:lnTo>
                      <a:pt x="3572" y="2533"/>
                    </a:lnTo>
                    <a:lnTo>
                      <a:pt x="3582" y="2543"/>
                    </a:lnTo>
                    <a:lnTo>
                      <a:pt x="3613" y="2543"/>
                    </a:lnTo>
                    <a:lnTo>
                      <a:pt x="3633" y="2543"/>
                    </a:lnTo>
                    <a:lnTo>
                      <a:pt x="3633" y="2543"/>
                    </a:lnTo>
                    <a:lnTo>
                      <a:pt x="3643" y="2543"/>
                    </a:lnTo>
                    <a:lnTo>
                      <a:pt x="3653" y="2553"/>
                    </a:lnTo>
                    <a:lnTo>
                      <a:pt x="3653" y="2553"/>
                    </a:lnTo>
                    <a:lnTo>
                      <a:pt x="3663" y="2553"/>
                    </a:lnTo>
                    <a:lnTo>
                      <a:pt x="3674" y="2553"/>
                    </a:lnTo>
                    <a:lnTo>
                      <a:pt x="3674" y="2563"/>
                    </a:lnTo>
                    <a:lnTo>
                      <a:pt x="3684" y="2573"/>
                    </a:lnTo>
                    <a:lnTo>
                      <a:pt x="3694" y="2573"/>
                    </a:lnTo>
                    <a:lnTo>
                      <a:pt x="3704" y="2583"/>
                    </a:lnTo>
                    <a:lnTo>
                      <a:pt x="3714" y="2583"/>
                    </a:lnTo>
                    <a:lnTo>
                      <a:pt x="3714" y="2573"/>
                    </a:lnTo>
                    <a:lnTo>
                      <a:pt x="3734" y="2563"/>
                    </a:lnTo>
                    <a:lnTo>
                      <a:pt x="3744" y="2563"/>
                    </a:lnTo>
                    <a:lnTo>
                      <a:pt x="3754" y="2563"/>
                    </a:lnTo>
                    <a:lnTo>
                      <a:pt x="3765" y="2563"/>
                    </a:lnTo>
                    <a:lnTo>
                      <a:pt x="3775" y="2563"/>
                    </a:lnTo>
                    <a:lnTo>
                      <a:pt x="3775" y="2573"/>
                    </a:lnTo>
                    <a:lnTo>
                      <a:pt x="3785" y="2573"/>
                    </a:lnTo>
                    <a:lnTo>
                      <a:pt x="3775" y="2583"/>
                    </a:lnTo>
                    <a:lnTo>
                      <a:pt x="3754" y="2583"/>
                    </a:lnTo>
                    <a:lnTo>
                      <a:pt x="3734" y="2593"/>
                    </a:lnTo>
                    <a:lnTo>
                      <a:pt x="3734" y="2593"/>
                    </a:lnTo>
                    <a:lnTo>
                      <a:pt x="3724" y="2603"/>
                    </a:lnTo>
                    <a:lnTo>
                      <a:pt x="3704" y="2614"/>
                    </a:lnTo>
                    <a:lnTo>
                      <a:pt x="3704" y="2634"/>
                    </a:lnTo>
                    <a:lnTo>
                      <a:pt x="3704" y="2644"/>
                    </a:lnTo>
                    <a:lnTo>
                      <a:pt x="3724" y="2644"/>
                    </a:lnTo>
                    <a:lnTo>
                      <a:pt x="3734" y="2644"/>
                    </a:lnTo>
                    <a:lnTo>
                      <a:pt x="3734" y="2644"/>
                    </a:lnTo>
                    <a:lnTo>
                      <a:pt x="3734" y="2644"/>
                    </a:lnTo>
                    <a:lnTo>
                      <a:pt x="3744" y="2644"/>
                    </a:lnTo>
                    <a:lnTo>
                      <a:pt x="3744" y="2654"/>
                    </a:lnTo>
                    <a:lnTo>
                      <a:pt x="3744" y="2664"/>
                    </a:lnTo>
                    <a:lnTo>
                      <a:pt x="3754" y="2664"/>
                    </a:lnTo>
                    <a:lnTo>
                      <a:pt x="3754" y="2674"/>
                    </a:lnTo>
                    <a:lnTo>
                      <a:pt x="3754" y="2674"/>
                    </a:lnTo>
                    <a:lnTo>
                      <a:pt x="3754" y="2684"/>
                    </a:lnTo>
                    <a:lnTo>
                      <a:pt x="3754" y="2684"/>
                    </a:lnTo>
                    <a:lnTo>
                      <a:pt x="3744" y="2684"/>
                    </a:lnTo>
                    <a:lnTo>
                      <a:pt x="3734" y="2695"/>
                    </a:lnTo>
                    <a:lnTo>
                      <a:pt x="3724" y="2695"/>
                    </a:lnTo>
                    <a:lnTo>
                      <a:pt x="3714" y="2705"/>
                    </a:lnTo>
                    <a:lnTo>
                      <a:pt x="3704" y="2715"/>
                    </a:lnTo>
                    <a:lnTo>
                      <a:pt x="3694" y="2715"/>
                    </a:lnTo>
                    <a:lnTo>
                      <a:pt x="3684" y="2715"/>
                    </a:lnTo>
                    <a:lnTo>
                      <a:pt x="3684" y="2715"/>
                    </a:lnTo>
                    <a:lnTo>
                      <a:pt x="3674" y="2725"/>
                    </a:lnTo>
                    <a:lnTo>
                      <a:pt x="3674" y="2735"/>
                    </a:lnTo>
                    <a:lnTo>
                      <a:pt x="3684" y="2745"/>
                    </a:lnTo>
                    <a:lnTo>
                      <a:pt x="3684" y="2755"/>
                    </a:lnTo>
                    <a:lnTo>
                      <a:pt x="3694" y="2755"/>
                    </a:lnTo>
                    <a:lnTo>
                      <a:pt x="3684" y="2766"/>
                    </a:lnTo>
                    <a:lnTo>
                      <a:pt x="3684" y="2766"/>
                    </a:lnTo>
                    <a:lnTo>
                      <a:pt x="3674" y="2776"/>
                    </a:lnTo>
                    <a:lnTo>
                      <a:pt x="3663" y="2776"/>
                    </a:lnTo>
                    <a:lnTo>
                      <a:pt x="3663" y="2786"/>
                    </a:lnTo>
                    <a:lnTo>
                      <a:pt x="3663" y="2786"/>
                    </a:lnTo>
                    <a:lnTo>
                      <a:pt x="3663" y="2796"/>
                    </a:lnTo>
                    <a:lnTo>
                      <a:pt x="3674" y="2806"/>
                    </a:lnTo>
                    <a:lnTo>
                      <a:pt x="3684" y="2816"/>
                    </a:lnTo>
                    <a:lnTo>
                      <a:pt x="3684" y="2816"/>
                    </a:lnTo>
                    <a:lnTo>
                      <a:pt x="3694" y="2816"/>
                    </a:lnTo>
                    <a:lnTo>
                      <a:pt x="3704" y="2816"/>
                    </a:lnTo>
                    <a:lnTo>
                      <a:pt x="3714" y="2816"/>
                    </a:lnTo>
                    <a:lnTo>
                      <a:pt x="3724" y="2816"/>
                    </a:lnTo>
                    <a:lnTo>
                      <a:pt x="3734" y="2826"/>
                    </a:lnTo>
                    <a:lnTo>
                      <a:pt x="3734" y="2826"/>
                    </a:lnTo>
                    <a:lnTo>
                      <a:pt x="3744" y="2836"/>
                    </a:lnTo>
                    <a:lnTo>
                      <a:pt x="3744" y="2826"/>
                    </a:lnTo>
                    <a:lnTo>
                      <a:pt x="3754" y="2826"/>
                    </a:lnTo>
                    <a:lnTo>
                      <a:pt x="3754" y="2816"/>
                    </a:lnTo>
                    <a:lnTo>
                      <a:pt x="3754" y="2806"/>
                    </a:lnTo>
                    <a:lnTo>
                      <a:pt x="3754" y="2796"/>
                    </a:lnTo>
                    <a:lnTo>
                      <a:pt x="3765" y="2786"/>
                    </a:lnTo>
                    <a:lnTo>
                      <a:pt x="3765" y="2786"/>
                    </a:lnTo>
                    <a:lnTo>
                      <a:pt x="3775" y="2796"/>
                    </a:lnTo>
                    <a:lnTo>
                      <a:pt x="3785" y="2796"/>
                    </a:lnTo>
                    <a:lnTo>
                      <a:pt x="3785" y="2796"/>
                    </a:lnTo>
                    <a:lnTo>
                      <a:pt x="3785" y="2806"/>
                    </a:lnTo>
                    <a:lnTo>
                      <a:pt x="3795" y="2806"/>
                    </a:lnTo>
                    <a:lnTo>
                      <a:pt x="3795" y="2826"/>
                    </a:lnTo>
                    <a:lnTo>
                      <a:pt x="3795" y="2826"/>
                    </a:lnTo>
                    <a:lnTo>
                      <a:pt x="3795" y="2836"/>
                    </a:lnTo>
                    <a:lnTo>
                      <a:pt x="3795" y="2836"/>
                    </a:lnTo>
                    <a:lnTo>
                      <a:pt x="3805" y="2836"/>
                    </a:lnTo>
                    <a:lnTo>
                      <a:pt x="3815" y="2826"/>
                    </a:lnTo>
                    <a:lnTo>
                      <a:pt x="3815" y="2826"/>
                    </a:lnTo>
                    <a:lnTo>
                      <a:pt x="3825" y="2826"/>
                    </a:lnTo>
                    <a:lnTo>
                      <a:pt x="3835" y="2826"/>
                    </a:lnTo>
                    <a:lnTo>
                      <a:pt x="3835" y="2826"/>
                    </a:lnTo>
                    <a:lnTo>
                      <a:pt x="3846" y="2836"/>
                    </a:lnTo>
                    <a:lnTo>
                      <a:pt x="3856" y="2836"/>
                    </a:lnTo>
                    <a:lnTo>
                      <a:pt x="3866" y="2836"/>
                    </a:lnTo>
                    <a:lnTo>
                      <a:pt x="3866" y="2836"/>
                    </a:lnTo>
                    <a:lnTo>
                      <a:pt x="3876" y="2826"/>
                    </a:lnTo>
                    <a:lnTo>
                      <a:pt x="3876" y="2816"/>
                    </a:lnTo>
                    <a:lnTo>
                      <a:pt x="3876" y="2806"/>
                    </a:lnTo>
                    <a:lnTo>
                      <a:pt x="3886" y="2796"/>
                    </a:lnTo>
                    <a:lnTo>
                      <a:pt x="3886" y="2796"/>
                    </a:lnTo>
                    <a:lnTo>
                      <a:pt x="3886" y="2796"/>
                    </a:lnTo>
                    <a:lnTo>
                      <a:pt x="3896" y="2796"/>
                    </a:lnTo>
                    <a:lnTo>
                      <a:pt x="3906" y="2806"/>
                    </a:lnTo>
                    <a:lnTo>
                      <a:pt x="3916" y="2806"/>
                    </a:lnTo>
                    <a:lnTo>
                      <a:pt x="3926" y="2816"/>
                    </a:lnTo>
                    <a:lnTo>
                      <a:pt x="3926" y="2816"/>
                    </a:lnTo>
                    <a:lnTo>
                      <a:pt x="3937" y="2816"/>
                    </a:lnTo>
                    <a:lnTo>
                      <a:pt x="3947" y="2816"/>
                    </a:lnTo>
                    <a:lnTo>
                      <a:pt x="3957" y="2816"/>
                    </a:lnTo>
                    <a:lnTo>
                      <a:pt x="3967" y="2816"/>
                    </a:lnTo>
                    <a:lnTo>
                      <a:pt x="3977" y="2816"/>
                    </a:lnTo>
                    <a:lnTo>
                      <a:pt x="3977" y="2826"/>
                    </a:lnTo>
                    <a:lnTo>
                      <a:pt x="3987" y="2826"/>
                    </a:lnTo>
                    <a:lnTo>
                      <a:pt x="3977" y="2836"/>
                    </a:lnTo>
                    <a:lnTo>
                      <a:pt x="3977" y="2836"/>
                    </a:lnTo>
                    <a:lnTo>
                      <a:pt x="3967" y="2847"/>
                    </a:lnTo>
                    <a:lnTo>
                      <a:pt x="3957" y="2847"/>
                    </a:lnTo>
                    <a:lnTo>
                      <a:pt x="3937" y="2857"/>
                    </a:lnTo>
                    <a:lnTo>
                      <a:pt x="3926" y="2867"/>
                    </a:lnTo>
                    <a:lnTo>
                      <a:pt x="3916" y="2897"/>
                    </a:lnTo>
                    <a:lnTo>
                      <a:pt x="3916" y="2928"/>
                    </a:lnTo>
                    <a:lnTo>
                      <a:pt x="3916" y="2938"/>
                    </a:lnTo>
                    <a:lnTo>
                      <a:pt x="3926" y="2948"/>
                    </a:lnTo>
                    <a:lnTo>
                      <a:pt x="3926" y="2948"/>
                    </a:lnTo>
                    <a:lnTo>
                      <a:pt x="3937" y="2948"/>
                    </a:lnTo>
                    <a:lnTo>
                      <a:pt x="3947" y="2958"/>
                    </a:lnTo>
                    <a:lnTo>
                      <a:pt x="3957" y="2958"/>
                    </a:lnTo>
                    <a:lnTo>
                      <a:pt x="3957" y="2968"/>
                    </a:lnTo>
                    <a:lnTo>
                      <a:pt x="3967" y="2978"/>
                    </a:lnTo>
                    <a:lnTo>
                      <a:pt x="3967" y="2978"/>
                    </a:lnTo>
                    <a:lnTo>
                      <a:pt x="3977" y="2978"/>
                    </a:lnTo>
                    <a:lnTo>
                      <a:pt x="3987" y="2988"/>
                    </a:lnTo>
                    <a:lnTo>
                      <a:pt x="3987" y="2999"/>
                    </a:lnTo>
                    <a:lnTo>
                      <a:pt x="3997" y="2999"/>
                    </a:lnTo>
                    <a:lnTo>
                      <a:pt x="3997" y="3009"/>
                    </a:lnTo>
                    <a:lnTo>
                      <a:pt x="3987" y="3019"/>
                    </a:lnTo>
                    <a:lnTo>
                      <a:pt x="3977" y="3019"/>
                    </a:lnTo>
                    <a:lnTo>
                      <a:pt x="3967" y="3029"/>
                    </a:lnTo>
                    <a:lnTo>
                      <a:pt x="3957" y="3029"/>
                    </a:lnTo>
                    <a:lnTo>
                      <a:pt x="3967" y="3039"/>
                    </a:lnTo>
                    <a:lnTo>
                      <a:pt x="3967" y="3049"/>
                    </a:lnTo>
                    <a:lnTo>
                      <a:pt x="3977" y="3059"/>
                    </a:lnTo>
                    <a:lnTo>
                      <a:pt x="3977" y="3069"/>
                    </a:lnTo>
                    <a:lnTo>
                      <a:pt x="3977" y="3090"/>
                    </a:lnTo>
                    <a:lnTo>
                      <a:pt x="3977" y="3090"/>
                    </a:lnTo>
                    <a:lnTo>
                      <a:pt x="3987" y="3100"/>
                    </a:lnTo>
                    <a:lnTo>
                      <a:pt x="3987" y="3100"/>
                    </a:lnTo>
                    <a:lnTo>
                      <a:pt x="3997" y="3110"/>
                    </a:lnTo>
                    <a:lnTo>
                      <a:pt x="3997" y="3120"/>
                    </a:lnTo>
                    <a:lnTo>
                      <a:pt x="3997" y="3130"/>
                    </a:lnTo>
                    <a:lnTo>
                      <a:pt x="3997" y="3140"/>
                    </a:lnTo>
                    <a:lnTo>
                      <a:pt x="3997" y="3140"/>
                    </a:lnTo>
                    <a:lnTo>
                      <a:pt x="3997" y="3140"/>
                    </a:lnTo>
                    <a:lnTo>
                      <a:pt x="4007" y="3140"/>
                    </a:lnTo>
                    <a:lnTo>
                      <a:pt x="4018" y="3140"/>
                    </a:lnTo>
                    <a:lnTo>
                      <a:pt x="4038" y="3150"/>
                    </a:lnTo>
                    <a:lnTo>
                      <a:pt x="4068" y="3150"/>
                    </a:lnTo>
                    <a:lnTo>
                      <a:pt x="4088" y="3150"/>
                    </a:lnTo>
                    <a:lnTo>
                      <a:pt x="4098" y="3150"/>
                    </a:lnTo>
                    <a:lnTo>
                      <a:pt x="4098" y="3150"/>
                    </a:lnTo>
                    <a:lnTo>
                      <a:pt x="4109" y="3140"/>
                    </a:lnTo>
                    <a:lnTo>
                      <a:pt x="4119" y="3140"/>
                    </a:lnTo>
                    <a:lnTo>
                      <a:pt x="4139" y="3130"/>
                    </a:lnTo>
                    <a:lnTo>
                      <a:pt x="4149" y="3120"/>
                    </a:lnTo>
                    <a:lnTo>
                      <a:pt x="4149" y="3110"/>
                    </a:lnTo>
                    <a:lnTo>
                      <a:pt x="4149" y="3090"/>
                    </a:lnTo>
                    <a:lnTo>
                      <a:pt x="4159" y="3080"/>
                    </a:lnTo>
                    <a:lnTo>
                      <a:pt x="4169" y="3069"/>
                    </a:lnTo>
                    <a:lnTo>
                      <a:pt x="4169" y="3069"/>
                    </a:lnTo>
                    <a:lnTo>
                      <a:pt x="4169" y="3069"/>
                    </a:lnTo>
                    <a:lnTo>
                      <a:pt x="4179" y="3080"/>
                    </a:lnTo>
                    <a:lnTo>
                      <a:pt x="4179" y="3100"/>
                    </a:lnTo>
                    <a:lnTo>
                      <a:pt x="4179" y="3110"/>
                    </a:lnTo>
                    <a:lnTo>
                      <a:pt x="4179" y="3120"/>
                    </a:lnTo>
                    <a:lnTo>
                      <a:pt x="4179" y="3140"/>
                    </a:lnTo>
                    <a:lnTo>
                      <a:pt x="4190" y="3140"/>
                    </a:lnTo>
                    <a:lnTo>
                      <a:pt x="4190" y="3150"/>
                    </a:lnTo>
                    <a:lnTo>
                      <a:pt x="4200" y="3150"/>
                    </a:lnTo>
                    <a:lnTo>
                      <a:pt x="4200" y="3161"/>
                    </a:lnTo>
                    <a:lnTo>
                      <a:pt x="4200" y="3161"/>
                    </a:lnTo>
                    <a:lnTo>
                      <a:pt x="4200" y="3171"/>
                    </a:lnTo>
                    <a:lnTo>
                      <a:pt x="4200" y="3181"/>
                    </a:lnTo>
                    <a:lnTo>
                      <a:pt x="4200" y="3181"/>
                    </a:lnTo>
                    <a:lnTo>
                      <a:pt x="4200" y="3201"/>
                    </a:lnTo>
                    <a:lnTo>
                      <a:pt x="4200" y="3201"/>
                    </a:lnTo>
                    <a:lnTo>
                      <a:pt x="4210" y="3201"/>
                    </a:lnTo>
                    <a:lnTo>
                      <a:pt x="4210" y="3211"/>
                    </a:lnTo>
                    <a:lnTo>
                      <a:pt x="4220" y="3201"/>
                    </a:lnTo>
                    <a:lnTo>
                      <a:pt x="4240" y="3201"/>
                    </a:lnTo>
                    <a:lnTo>
                      <a:pt x="4240" y="3201"/>
                    </a:lnTo>
                    <a:lnTo>
                      <a:pt x="4250" y="3201"/>
                    </a:lnTo>
                    <a:lnTo>
                      <a:pt x="4250" y="3201"/>
                    </a:lnTo>
                    <a:lnTo>
                      <a:pt x="4250" y="3211"/>
                    </a:lnTo>
                    <a:lnTo>
                      <a:pt x="4250" y="3211"/>
                    </a:lnTo>
                    <a:lnTo>
                      <a:pt x="4250" y="3221"/>
                    </a:lnTo>
                    <a:lnTo>
                      <a:pt x="4240" y="3221"/>
                    </a:lnTo>
                    <a:lnTo>
                      <a:pt x="4210" y="3231"/>
                    </a:lnTo>
                    <a:lnTo>
                      <a:pt x="4200" y="3242"/>
                    </a:lnTo>
                    <a:lnTo>
                      <a:pt x="4200" y="3242"/>
                    </a:lnTo>
                    <a:lnTo>
                      <a:pt x="4200" y="3252"/>
                    </a:lnTo>
                    <a:lnTo>
                      <a:pt x="4200" y="3252"/>
                    </a:lnTo>
                    <a:lnTo>
                      <a:pt x="4200" y="3252"/>
                    </a:lnTo>
                    <a:lnTo>
                      <a:pt x="4210" y="3252"/>
                    </a:lnTo>
                    <a:lnTo>
                      <a:pt x="4220" y="3262"/>
                    </a:lnTo>
                    <a:lnTo>
                      <a:pt x="4230" y="3262"/>
                    </a:lnTo>
                    <a:lnTo>
                      <a:pt x="4240" y="3262"/>
                    </a:lnTo>
                    <a:lnTo>
                      <a:pt x="4250" y="3272"/>
                    </a:lnTo>
                    <a:lnTo>
                      <a:pt x="4250" y="3272"/>
                    </a:lnTo>
                    <a:lnTo>
                      <a:pt x="4260" y="3272"/>
                    </a:lnTo>
                    <a:lnTo>
                      <a:pt x="4271" y="3272"/>
                    </a:lnTo>
                    <a:lnTo>
                      <a:pt x="4281" y="3272"/>
                    </a:lnTo>
                    <a:lnTo>
                      <a:pt x="4281" y="3282"/>
                    </a:lnTo>
                    <a:lnTo>
                      <a:pt x="4281" y="3282"/>
                    </a:lnTo>
                    <a:lnTo>
                      <a:pt x="4281" y="3292"/>
                    </a:lnTo>
                    <a:lnTo>
                      <a:pt x="4271" y="3292"/>
                    </a:lnTo>
                    <a:lnTo>
                      <a:pt x="4240" y="3292"/>
                    </a:lnTo>
                    <a:lnTo>
                      <a:pt x="4210" y="3292"/>
                    </a:lnTo>
                    <a:lnTo>
                      <a:pt x="4200" y="3302"/>
                    </a:lnTo>
                    <a:lnTo>
                      <a:pt x="4190" y="3302"/>
                    </a:lnTo>
                    <a:lnTo>
                      <a:pt x="4169" y="3302"/>
                    </a:lnTo>
                    <a:lnTo>
                      <a:pt x="4169" y="3302"/>
                    </a:lnTo>
                    <a:lnTo>
                      <a:pt x="4159" y="3302"/>
                    </a:lnTo>
                    <a:lnTo>
                      <a:pt x="4159" y="3313"/>
                    </a:lnTo>
                    <a:lnTo>
                      <a:pt x="4149" y="3333"/>
                    </a:lnTo>
                    <a:lnTo>
                      <a:pt x="4159" y="3343"/>
                    </a:lnTo>
                    <a:lnTo>
                      <a:pt x="4159" y="3343"/>
                    </a:lnTo>
                    <a:lnTo>
                      <a:pt x="4159" y="3353"/>
                    </a:lnTo>
                    <a:lnTo>
                      <a:pt x="4159" y="3363"/>
                    </a:lnTo>
                    <a:lnTo>
                      <a:pt x="4159" y="3363"/>
                    </a:lnTo>
                    <a:lnTo>
                      <a:pt x="4169" y="3363"/>
                    </a:lnTo>
                    <a:lnTo>
                      <a:pt x="4169" y="3363"/>
                    </a:lnTo>
                    <a:lnTo>
                      <a:pt x="4179" y="3363"/>
                    </a:lnTo>
                    <a:lnTo>
                      <a:pt x="4190" y="3353"/>
                    </a:lnTo>
                    <a:lnTo>
                      <a:pt x="4200" y="3353"/>
                    </a:lnTo>
                    <a:lnTo>
                      <a:pt x="4200" y="3343"/>
                    </a:lnTo>
                    <a:lnTo>
                      <a:pt x="4210" y="3353"/>
                    </a:lnTo>
                    <a:lnTo>
                      <a:pt x="4220" y="3353"/>
                    </a:lnTo>
                    <a:lnTo>
                      <a:pt x="4230" y="3353"/>
                    </a:lnTo>
                    <a:lnTo>
                      <a:pt x="4230" y="3343"/>
                    </a:lnTo>
                    <a:lnTo>
                      <a:pt x="4240" y="3343"/>
                    </a:lnTo>
                    <a:lnTo>
                      <a:pt x="4250" y="3343"/>
                    </a:lnTo>
                    <a:lnTo>
                      <a:pt x="4250" y="3343"/>
                    </a:lnTo>
                    <a:lnTo>
                      <a:pt x="4250" y="3353"/>
                    </a:lnTo>
                    <a:lnTo>
                      <a:pt x="4250" y="3363"/>
                    </a:lnTo>
                    <a:lnTo>
                      <a:pt x="4250" y="3363"/>
                    </a:lnTo>
                    <a:lnTo>
                      <a:pt x="4240" y="3373"/>
                    </a:lnTo>
                    <a:lnTo>
                      <a:pt x="4230" y="3373"/>
                    </a:lnTo>
                    <a:lnTo>
                      <a:pt x="4230" y="3383"/>
                    </a:lnTo>
                    <a:lnTo>
                      <a:pt x="4220" y="3394"/>
                    </a:lnTo>
                    <a:lnTo>
                      <a:pt x="4220" y="3394"/>
                    </a:lnTo>
                    <a:lnTo>
                      <a:pt x="4220" y="3404"/>
                    </a:lnTo>
                    <a:lnTo>
                      <a:pt x="4210" y="3414"/>
                    </a:lnTo>
                    <a:lnTo>
                      <a:pt x="4220" y="3414"/>
                    </a:lnTo>
                    <a:lnTo>
                      <a:pt x="4220" y="3414"/>
                    </a:lnTo>
                    <a:lnTo>
                      <a:pt x="4230" y="3414"/>
                    </a:lnTo>
                    <a:lnTo>
                      <a:pt x="4260" y="3404"/>
                    </a:lnTo>
                    <a:lnTo>
                      <a:pt x="4271" y="3394"/>
                    </a:lnTo>
                    <a:lnTo>
                      <a:pt x="4271" y="3394"/>
                    </a:lnTo>
                    <a:lnTo>
                      <a:pt x="4281" y="3404"/>
                    </a:lnTo>
                    <a:lnTo>
                      <a:pt x="4281" y="3414"/>
                    </a:lnTo>
                    <a:lnTo>
                      <a:pt x="4281" y="3424"/>
                    </a:lnTo>
                    <a:lnTo>
                      <a:pt x="4281" y="3434"/>
                    </a:lnTo>
                    <a:lnTo>
                      <a:pt x="4271" y="3444"/>
                    </a:lnTo>
                    <a:lnTo>
                      <a:pt x="4271" y="3454"/>
                    </a:lnTo>
                    <a:lnTo>
                      <a:pt x="4271" y="3454"/>
                    </a:lnTo>
                    <a:lnTo>
                      <a:pt x="4271" y="3464"/>
                    </a:lnTo>
                    <a:lnTo>
                      <a:pt x="4281" y="3464"/>
                    </a:lnTo>
                    <a:lnTo>
                      <a:pt x="4291" y="3464"/>
                    </a:lnTo>
                    <a:lnTo>
                      <a:pt x="4301" y="3464"/>
                    </a:lnTo>
                    <a:lnTo>
                      <a:pt x="4311" y="3464"/>
                    </a:lnTo>
                    <a:lnTo>
                      <a:pt x="4331" y="3444"/>
                    </a:lnTo>
                    <a:lnTo>
                      <a:pt x="4351" y="3434"/>
                    </a:lnTo>
                    <a:lnTo>
                      <a:pt x="4362" y="3414"/>
                    </a:lnTo>
                    <a:lnTo>
                      <a:pt x="4372" y="3414"/>
                    </a:lnTo>
                    <a:lnTo>
                      <a:pt x="4382" y="3404"/>
                    </a:lnTo>
                    <a:lnTo>
                      <a:pt x="4392" y="3394"/>
                    </a:lnTo>
                    <a:lnTo>
                      <a:pt x="4402" y="3383"/>
                    </a:lnTo>
                    <a:lnTo>
                      <a:pt x="4402" y="3373"/>
                    </a:lnTo>
                    <a:lnTo>
                      <a:pt x="4412" y="3373"/>
                    </a:lnTo>
                    <a:lnTo>
                      <a:pt x="4422" y="3373"/>
                    </a:lnTo>
                    <a:lnTo>
                      <a:pt x="4422" y="3373"/>
                    </a:lnTo>
                    <a:lnTo>
                      <a:pt x="4432" y="3373"/>
                    </a:lnTo>
                    <a:lnTo>
                      <a:pt x="4443" y="3373"/>
                    </a:lnTo>
                    <a:lnTo>
                      <a:pt x="4443" y="3383"/>
                    </a:lnTo>
                    <a:lnTo>
                      <a:pt x="4443" y="3394"/>
                    </a:lnTo>
                    <a:lnTo>
                      <a:pt x="4443" y="3394"/>
                    </a:lnTo>
                    <a:lnTo>
                      <a:pt x="4432" y="3404"/>
                    </a:lnTo>
                    <a:lnTo>
                      <a:pt x="4432" y="3414"/>
                    </a:lnTo>
                    <a:lnTo>
                      <a:pt x="4422" y="3414"/>
                    </a:lnTo>
                    <a:lnTo>
                      <a:pt x="4422" y="3424"/>
                    </a:lnTo>
                    <a:lnTo>
                      <a:pt x="4412" y="3444"/>
                    </a:lnTo>
                    <a:lnTo>
                      <a:pt x="4412" y="3454"/>
                    </a:lnTo>
                    <a:lnTo>
                      <a:pt x="4412" y="3464"/>
                    </a:lnTo>
                    <a:lnTo>
                      <a:pt x="4422" y="3475"/>
                    </a:lnTo>
                    <a:lnTo>
                      <a:pt x="4422" y="3475"/>
                    </a:lnTo>
                    <a:lnTo>
                      <a:pt x="4422" y="3485"/>
                    </a:lnTo>
                    <a:lnTo>
                      <a:pt x="4412" y="3485"/>
                    </a:lnTo>
                    <a:lnTo>
                      <a:pt x="4402" y="3495"/>
                    </a:lnTo>
                    <a:lnTo>
                      <a:pt x="4382" y="3505"/>
                    </a:lnTo>
                    <a:lnTo>
                      <a:pt x="4372" y="3515"/>
                    </a:lnTo>
                    <a:lnTo>
                      <a:pt x="4372" y="3525"/>
                    </a:lnTo>
                    <a:lnTo>
                      <a:pt x="4372" y="3535"/>
                    </a:lnTo>
                    <a:lnTo>
                      <a:pt x="4372" y="3546"/>
                    </a:lnTo>
                    <a:lnTo>
                      <a:pt x="4372" y="3546"/>
                    </a:lnTo>
                    <a:lnTo>
                      <a:pt x="4362" y="3556"/>
                    </a:lnTo>
                    <a:lnTo>
                      <a:pt x="4362" y="3556"/>
                    </a:lnTo>
                    <a:lnTo>
                      <a:pt x="4362" y="3566"/>
                    </a:lnTo>
                    <a:lnTo>
                      <a:pt x="4351" y="3576"/>
                    </a:lnTo>
                    <a:lnTo>
                      <a:pt x="4341" y="3576"/>
                    </a:lnTo>
                    <a:lnTo>
                      <a:pt x="4331" y="3586"/>
                    </a:lnTo>
                    <a:lnTo>
                      <a:pt x="4331" y="3596"/>
                    </a:lnTo>
                    <a:lnTo>
                      <a:pt x="4331" y="3596"/>
                    </a:lnTo>
                    <a:lnTo>
                      <a:pt x="4331" y="3596"/>
                    </a:lnTo>
                    <a:lnTo>
                      <a:pt x="4341" y="3606"/>
                    </a:lnTo>
                    <a:lnTo>
                      <a:pt x="4362" y="3627"/>
                    </a:lnTo>
                    <a:lnTo>
                      <a:pt x="4382" y="3637"/>
                    </a:lnTo>
                    <a:lnTo>
                      <a:pt x="4392" y="3637"/>
                    </a:lnTo>
                    <a:lnTo>
                      <a:pt x="4402" y="3647"/>
                    </a:lnTo>
                    <a:lnTo>
                      <a:pt x="4402" y="3657"/>
                    </a:lnTo>
                    <a:lnTo>
                      <a:pt x="4412" y="3667"/>
                    </a:lnTo>
                    <a:lnTo>
                      <a:pt x="4422" y="3667"/>
                    </a:lnTo>
                    <a:lnTo>
                      <a:pt x="4432" y="3677"/>
                    </a:lnTo>
                    <a:lnTo>
                      <a:pt x="4432" y="3677"/>
                    </a:lnTo>
                    <a:lnTo>
                      <a:pt x="4443" y="3687"/>
                    </a:lnTo>
                    <a:lnTo>
                      <a:pt x="4453" y="3708"/>
                    </a:lnTo>
                    <a:lnTo>
                      <a:pt x="4463" y="3718"/>
                    </a:lnTo>
                    <a:lnTo>
                      <a:pt x="4463" y="3728"/>
                    </a:lnTo>
                    <a:lnTo>
                      <a:pt x="4453" y="3728"/>
                    </a:lnTo>
                    <a:lnTo>
                      <a:pt x="4453" y="3738"/>
                    </a:lnTo>
                    <a:lnTo>
                      <a:pt x="4422" y="3728"/>
                    </a:lnTo>
                    <a:lnTo>
                      <a:pt x="4412" y="3728"/>
                    </a:lnTo>
                    <a:lnTo>
                      <a:pt x="4402" y="3738"/>
                    </a:lnTo>
                    <a:lnTo>
                      <a:pt x="4392" y="3738"/>
                    </a:lnTo>
                    <a:lnTo>
                      <a:pt x="4382" y="3738"/>
                    </a:lnTo>
                    <a:lnTo>
                      <a:pt x="4372" y="3748"/>
                    </a:lnTo>
                    <a:lnTo>
                      <a:pt x="4372" y="3748"/>
                    </a:lnTo>
                    <a:lnTo>
                      <a:pt x="4372" y="3758"/>
                    </a:lnTo>
                    <a:lnTo>
                      <a:pt x="4362" y="3758"/>
                    </a:lnTo>
                    <a:lnTo>
                      <a:pt x="4372" y="3768"/>
                    </a:lnTo>
                    <a:lnTo>
                      <a:pt x="4372" y="3768"/>
                    </a:lnTo>
                    <a:lnTo>
                      <a:pt x="4382" y="3789"/>
                    </a:lnTo>
                    <a:lnTo>
                      <a:pt x="4382" y="3799"/>
                    </a:lnTo>
                    <a:lnTo>
                      <a:pt x="4382" y="3799"/>
                    </a:lnTo>
                    <a:lnTo>
                      <a:pt x="4402" y="3799"/>
                    </a:lnTo>
                    <a:lnTo>
                      <a:pt x="4432" y="3789"/>
                    </a:lnTo>
                    <a:lnTo>
                      <a:pt x="4453" y="3768"/>
                    </a:lnTo>
                    <a:lnTo>
                      <a:pt x="4463" y="3768"/>
                    </a:lnTo>
                    <a:lnTo>
                      <a:pt x="4473" y="3768"/>
                    </a:lnTo>
                    <a:lnTo>
                      <a:pt x="4473" y="3768"/>
                    </a:lnTo>
                    <a:lnTo>
                      <a:pt x="4483" y="3779"/>
                    </a:lnTo>
                    <a:lnTo>
                      <a:pt x="4483" y="3779"/>
                    </a:lnTo>
                    <a:lnTo>
                      <a:pt x="4483" y="3799"/>
                    </a:lnTo>
                    <a:lnTo>
                      <a:pt x="4483" y="3799"/>
                    </a:lnTo>
                    <a:lnTo>
                      <a:pt x="4483" y="3809"/>
                    </a:lnTo>
                    <a:lnTo>
                      <a:pt x="4483" y="3809"/>
                    </a:lnTo>
                    <a:lnTo>
                      <a:pt x="4473" y="3819"/>
                    </a:lnTo>
                    <a:lnTo>
                      <a:pt x="4473" y="3839"/>
                    </a:lnTo>
                    <a:lnTo>
                      <a:pt x="4473" y="3860"/>
                    </a:lnTo>
                    <a:lnTo>
                      <a:pt x="4473" y="3880"/>
                    </a:lnTo>
                    <a:lnTo>
                      <a:pt x="4473" y="3880"/>
                    </a:lnTo>
                    <a:lnTo>
                      <a:pt x="4463" y="3880"/>
                    </a:lnTo>
                    <a:lnTo>
                      <a:pt x="4453" y="3880"/>
                    </a:lnTo>
                    <a:lnTo>
                      <a:pt x="4432" y="3880"/>
                    </a:lnTo>
                    <a:lnTo>
                      <a:pt x="4432" y="3870"/>
                    </a:lnTo>
                    <a:lnTo>
                      <a:pt x="4422" y="3870"/>
                    </a:lnTo>
                    <a:lnTo>
                      <a:pt x="4422" y="3860"/>
                    </a:lnTo>
                    <a:lnTo>
                      <a:pt x="4412" y="3870"/>
                    </a:lnTo>
                    <a:lnTo>
                      <a:pt x="4402" y="3870"/>
                    </a:lnTo>
                    <a:lnTo>
                      <a:pt x="4392" y="3880"/>
                    </a:lnTo>
                    <a:lnTo>
                      <a:pt x="4382" y="3880"/>
                    </a:lnTo>
                    <a:lnTo>
                      <a:pt x="4382" y="3890"/>
                    </a:lnTo>
                    <a:lnTo>
                      <a:pt x="4382" y="3890"/>
                    </a:lnTo>
                    <a:lnTo>
                      <a:pt x="4382" y="3900"/>
                    </a:lnTo>
                    <a:lnTo>
                      <a:pt x="4392" y="3910"/>
                    </a:lnTo>
                    <a:lnTo>
                      <a:pt x="4392" y="3920"/>
                    </a:lnTo>
                    <a:lnTo>
                      <a:pt x="4392" y="3920"/>
                    </a:lnTo>
                    <a:lnTo>
                      <a:pt x="4392" y="3930"/>
                    </a:lnTo>
                    <a:lnTo>
                      <a:pt x="4382" y="3930"/>
                    </a:lnTo>
                    <a:lnTo>
                      <a:pt x="4382" y="3941"/>
                    </a:lnTo>
                    <a:lnTo>
                      <a:pt x="4382" y="3951"/>
                    </a:lnTo>
                    <a:lnTo>
                      <a:pt x="4362" y="3961"/>
                    </a:lnTo>
                    <a:lnTo>
                      <a:pt x="4362" y="3961"/>
                    </a:lnTo>
                    <a:lnTo>
                      <a:pt x="4351" y="3971"/>
                    </a:lnTo>
                    <a:lnTo>
                      <a:pt x="4351" y="3981"/>
                    </a:lnTo>
                    <a:lnTo>
                      <a:pt x="4351" y="3981"/>
                    </a:lnTo>
                    <a:lnTo>
                      <a:pt x="4341" y="3991"/>
                    </a:lnTo>
                    <a:lnTo>
                      <a:pt x="4341" y="4001"/>
                    </a:lnTo>
                    <a:lnTo>
                      <a:pt x="4351" y="4001"/>
                    </a:lnTo>
                    <a:lnTo>
                      <a:pt x="4372" y="4012"/>
                    </a:lnTo>
                    <a:lnTo>
                      <a:pt x="4382" y="4012"/>
                    </a:lnTo>
                    <a:lnTo>
                      <a:pt x="4392" y="4012"/>
                    </a:lnTo>
                    <a:lnTo>
                      <a:pt x="4392" y="4022"/>
                    </a:lnTo>
                    <a:lnTo>
                      <a:pt x="4402" y="4022"/>
                    </a:lnTo>
                    <a:lnTo>
                      <a:pt x="4402" y="4022"/>
                    </a:lnTo>
                    <a:lnTo>
                      <a:pt x="4412" y="4022"/>
                    </a:lnTo>
                    <a:lnTo>
                      <a:pt x="4422" y="4022"/>
                    </a:lnTo>
                    <a:lnTo>
                      <a:pt x="4422" y="4012"/>
                    </a:lnTo>
                    <a:lnTo>
                      <a:pt x="4422" y="4001"/>
                    </a:lnTo>
                    <a:lnTo>
                      <a:pt x="4422" y="3991"/>
                    </a:lnTo>
                    <a:lnTo>
                      <a:pt x="4422" y="3981"/>
                    </a:lnTo>
                    <a:lnTo>
                      <a:pt x="4432" y="3981"/>
                    </a:lnTo>
                    <a:lnTo>
                      <a:pt x="4443" y="3971"/>
                    </a:lnTo>
                    <a:lnTo>
                      <a:pt x="4463" y="3961"/>
                    </a:lnTo>
                    <a:lnTo>
                      <a:pt x="4463" y="3971"/>
                    </a:lnTo>
                    <a:lnTo>
                      <a:pt x="4473" y="3971"/>
                    </a:lnTo>
                    <a:lnTo>
                      <a:pt x="4473" y="3971"/>
                    </a:lnTo>
                    <a:lnTo>
                      <a:pt x="4483" y="3971"/>
                    </a:lnTo>
                    <a:lnTo>
                      <a:pt x="4483" y="3981"/>
                    </a:lnTo>
                    <a:lnTo>
                      <a:pt x="4493" y="3991"/>
                    </a:lnTo>
                    <a:lnTo>
                      <a:pt x="4493" y="4001"/>
                    </a:lnTo>
                    <a:lnTo>
                      <a:pt x="4493" y="4022"/>
                    </a:lnTo>
                    <a:lnTo>
                      <a:pt x="4503" y="4032"/>
                    </a:lnTo>
                    <a:lnTo>
                      <a:pt x="4503" y="4052"/>
                    </a:lnTo>
                    <a:lnTo>
                      <a:pt x="4503" y="4062"/>
                    </a:lnTo>
                    <a:lnTo>
                      <a:pt x="4503" y="4072"/>
                    </a:lnTo>
                    <a:lnTo>
                      <a:pt x="4503" y="4093"/>
                    </a:lnTo>
                    <a:lnTo>
                      <a:pt x="4503" y="4103"/>
                    </a:lnTo>
                    <a:lnTo>
                      <a:pt x="4503" y="4113"/>
                    </a:lnTo>
                    <a:lnTo>
                      <a:pt x="4503" y="4123"/>
                    </a:lnTo>
                    <a:lnTo>
                      <a:pt x="4513" y="4133"/>
                    </a:lnTo>
                    <a:lnTo>
                      <a:pt x="4513" y="4153"/>
                    </a:lnTo>
                    <a:lnTo>
                      <a:pt x="4513" y="4184"/>
                    </a:lnTo>
                    <a:lnTo>
                      <a:pt x="4513" y="4184"/>
                    </a:lnTo>
                    <a:lnTo>
                      <a:pt x="4523" y="4194"/>
                    </a:lnTo>
                    <a:lnTo>
                      <a:pt x="4534" y="4194"/>
                    </a:lnTo>
                    <a:lnTo>
                      <a:pt x="4534" y="4204"/>
                    </a:lnTo>
                    <a:lnTo>
                      <a:pt x="4544" y="4204"/>
                    </a:lnTo>
                    <a:lnTo>
                      <a:pt x="4554" y="4204"/>
                    </a:lnTo>
                    <a:lnTo>
                      <a:pt x="4564" y="4204"/>
                    </a:lnTo>
                    <a:lnTo>
                      <a:pt x="4564" y="4204"/>
                    </a:lnTo>
                    <a:lnTo>
                      <a:pt x="4564" y="4204"/>
                    </a:lnTo>
                    <a:lnTo>
                      <a:pt x="4574" y="4194"/>
                    </a:lnTo>
                    <a:lnTo>
                      <a:pt x="4574" y="4194"/>
                    </a:lnTo>
                    <a:lnTo>
                      <a:pt x="4584" y="4194"/>
                    </a:lnTo>
                    <a:lnTo>
                      <a:pt x="4584" y="4194"/>
                    </a:lnTo>
                    <a:lnTo>
                      <a:pt x="4584" y="4204"/>
                    </a:lnTo>
                    <a:lnTo>
                      <a:pt x="4584" y="4214"/>
                    </a:lnTo>
                    <a:lnTo>
                      <a:pt x="4594" y="4224"/>
                    </a:lnTo>
                    <a:lnTo>
                      <a:pt x="4604" y="4234"/>
                    </a:lnTo>
                    <a:lnTo>
                      <a:pt x="4604" y="4234"/>
                    </a:lnTo>
                    <a:lnTo>
                      <a:pt x="4604" y="4245"/>
                    </a:lnTo>
                    <a:lnTo>
                      <a:pt x="4604" y="4255"/>
                    </a:lnTo>
                    <a:lnTo>
                      <a:pt x="4625" y="4285"/>
                    </a:lnTo>
                    <a:lnTo>
                      <a:pt x="4625" y="4295"/>
                    </a:lnTo>
                    <a:lnTo>
                      <a:pt x="4625" y="4295"/>
                    </a:lnTo>
                    <a:lnTo>
                      <a:pt x="4635" y="4305"/>
                    </a:lnTo>
                    <a:lnTo>
                      <a:pt x="4645" y="4315"/>
                    </a:lnTo>
                    <a:lnTo>
                      <a:pt x="4645" y="4315"/>
                    </a:lnTo>
                    <a:lnTo>
                      <a:pt x="4645" y="4326"/>
                    </a:lnTo>
                    <a:lnTo>
                      <a:pt x="4635" y="4336"/>
                    </a:lnTo>
                    <a:lnTo>
                      <a:pt x="4635" y="4346"/>
                    </a:lnTo>
                    <a:lnTo>
                      <a:pt x="4625" y="4346"/>
                    </a:lnTo>
                    <a:lnTo>
                      <a:pt x="4625" y="4356"/>
                    </a:lnTo>
                    <a:lnTo>
                      <a:pt x="4635" y="4366"/>
                    </a:lnTo>
                    <a:lnTo>
                      <a:pt x="4625" y="4376"/>
                    </a:lnTo>
                    <a:lnTo>
                      <a:pt x="4625" y="4386"/>
                    </a:lnTo>
                    <a:lnTo>
                      <a:pt x="4625" y="4396"/>
                    </a:lnTo>
                    <a:lnTo>
                      <a:pt x="4615" y="4396"/>
                    </a:lnTo>
                    <a:lnTo>
                      <a:pt x="4604" y="4407"/>
                    </a:lnTo>
                    <a:lnTo>
                      <a:pt x="4594" y="4417"/>
                    </a:lnTo>
                    <a:lnTo>
                      <a:pt x="4594" y="4417"/>
                    </a:lnTo>
                    <a:lnTo>
                      <a:pt x="4584" y="4427"/>
                    </a:lnTo>
                    <a:lnTo>
                      <a:pt x="4584" y="4417"/>
                    </a:lnTo>
                    <a:lnTo>
                      <a:pt x="4574" y="4417"/>
                    </a:lnTo>
                    <a:lnTo>
                      <a:pt x="4564" y="4396"/>
                    </a:lnTo>
                    <a:lnTo>
                      <a:pt x="4564" y="4396"/>
                    </a:lnTo>
                    <a:lnTo>
                      <a:pt x="4554" y="4386"/>
                    </a:lnTo>
                    <a:lnTo>
                      <a:pt x="4554" y="4386"/>
                    </a:lnTo>
                    <a:lnTo>
                      <a:pt x="4544" y="4386"/>
                    </a:lnTo>
                    <a:lnTo>
                      <a:pt x="4534" y="4396"/>
                    </a:lnTo>
                    <a:lnTo>
                      <a:pt x="4513" y="4407"/>
                    </a:lnTo>
                    <a:lnTo>
                      <a:pt x="4503" y="4417"/>
                    </a:lnTo>
                    <a:lnTo>
                      <a:pt x="4493" y="4417"/>
                    </a:lnTo>
                    <a:lnTo>
                      <a:pt x="4493" y="4427"/>
                    </a:lnTo>
                    <a:lnTo>
                      <a:pt x="4493" y="4427"/>
                    </a:lnTo>
                    <a:lnTo>
                      <a:pt x="4493" y="4437"/>
                    </a:lnTo>
                    <a:lnTo>
                      <a:pt x="4503" y="4437"/>
                    </a:lnTo>
                    <a:lnTo>
                      <a:pt x="4523" y="4427"/>
                    </a:lnTo>
                    <a:lnTo>
                      <a:pt x="4534" y="4437"/>
                    </a:lnTo>
                    <a:lnTo>
                      <a:pt x="4534" y="4437"/>
                    </a:lnTo>
                    <a:lnTo>
                      <a:pt x="4544" y="4447"/>
                    </a:lnTo>
                    <a:lnTo>
                      <a:pt x="4554" y="4457"/>
                    </a:lnTo>
                    <a:lnTo>
                      <a:pt x="4554" y="4467"/>
                    </a:lnTo>
                    <a:lnTo>
                      <a:pt x="4554" y="4488"/>
                    </a:lnTo>
                    <a:lnTo>
                      <a:pt x="4554" y="4508"/>
                    </a:lnTo>
                    <a:lnTo>
                      <a:pt x="4554" y="4518"/>
                    </a:lnTo>
                    <a:lnTo>
                      <a:pt x="4564" y="4518"/>
                    </a:lnTo>
                    <a:lnTo>
                      <a:pt x="4564" y="4528"/>
                    </a:lnTo>
                    <a:lnTo>
                      <a:pt x="4564" y="4528"/>
                    </a:lnTo>
                    <a:lnTo>
                      <a:pt x="4574" y="4538"/>
                    </a:lnTo>
                    <a:lnTo>
                      <a:pt x="4584" y="4548"/>
                    </a:lnTo>
                    <a:lnTo>
                      <a:pt x="4584" y="4548"/>
                    </a:lnTo>
                    <a:lnTo>
                      <a:pt x="4594" y="4548"/>
                    </a:lnTo>
                    <a:lnTo>
                      <a:pt x="4604" y="4548"/>
                    </a:lnTo>
                    <a:lnTo>
                      <a:pt x="4615" y="4548"/>
                    </a:lnTo>
                    <a:lnTo>
                      <a:pt x="4615" y="4548"/>
                    </a:lnTo>
                    <a:lnTo>
                      <a:pt x="4625" y="4548"/>
                    </a:lnTo>
                    <a:lnTo>
                      <a:pt x="4635" y="4559"/>
                    </a:lnTo>
                    <a:lnTo>
                      <a:pt x="4645" y="4559"/>
                    </a:lnTo>
                    <a:lnTo>
                      <a:pt x="4645" y="4569"/>
                    </a:lnTo>
                    <a:lnTo>
                      <a:pt x="4635" y="4569"/>
                    </a:lnTo>
                    <a:lnTo>
                      <a:pt x="4615" y="4569"/>
                    </a:lnTo>
                    <a:lnTo>
                      <a:pt x="4604" y="4569"/>
                    </a:lnTo>
                    <a:lnTo>
                      <a:pt x="4594" y="4579"/>
                    </a:lnTo>
                    <a:lnTo>
                      <a:pt x="4584" y="4579"/>
                    </a:lnTo>
                    <a:lnTo>
                      <a:pt x="4574" y="4579"/>
                    </a:lnTo>
                    <a:lnTo>
                      <a:pt x="4554" y="4579"/>
                    </a:lnTo>
                    <a:lnTo>
                      <a:pt x="4554" y="4579"/>
                    </a:lnTo>
                    <a:lnTo>
                      <a:pt x="4544" y="4589"/>
                    </a:lnTo>
                    <a:lnTo>
                      <a:pt x="4544" y="4599"/>
                    </a:lnTo>
                    <a:lnTo>
                      <a:pt x="4544" y="4599"/>
                    </a:lnTo>
                    <a:lnTo>
                      <a:pt x="4544" y="4609"/>
                    </a:lnTo>
                    <a:lnTo>
                      <a:pt x="4544" y="4619"/>
                    </a:lnTo>
                    <a:lnTo>
                      <a:pt x="4544" y="4619"/>
                    </a:lnTo>
                    <a:lnTo>
                      <a:pt x="4534" y="4629"/>
                    </a:lnTo>
                    <a:lnTo>
                      <a:pt x="4534" y="4629"/>
                    </a:lnTo>
                    <a:lnTo>
                      <a:pt x="4534" y="4640"/>
                    </a:lnTo>
                    <a:lnTo>
                      <a:pt x="4534" y="4650"/>
                    </a:lnTo>
                    <a:lnTo>
                      <a:pt x="4523" y="4650"/>
                    </a:lnTo>
                    <a:lnTo>
                      <a:pt x="4513" y="4660"/>
                    </a:lnTo>
                    <a:lnTo>
                      <a:pt x="4503" y="4660"/>
                    </a:lnTo>
                    <a:lnTo>
                      <a:pt x="4503" y="4670"/>
                    </a:lnTo>
                    <a:lnTo>
                      <a:pt x="4503" y="4670"/>
                    </a:lnTo>
                    <a:lnTo>
                      <a:pt x="4503" y="4680"/>
                    </a:lnTo>
                    <a:lnTo>
                      <a:pt x="4503" y="4690"/>
                    </a:lnTo>
                    <a:lnTo>
                      <a:pt x="4513" y="4690"/>
                    </a:lnTo>
                    <a:lnTo>
                      <a:pt x="4523" y="4721"/>
                    </a:lnTo>
                    <a:lnTo>
                      <a:pt x="4523" y="4731"/>
                    </a:lnTo>
                    <a:lnTo>
                      <a:pt x="4523" y="4731"/>
                    </a:lnTo>
                    <a:lnTo>
                      <a:pt x="4523" y="4741"/>
                    </a:lnTo>
                    <a:lnTo>
                      <a:pt x="4523" y="4751"/>
                    </a:lnTo>
                    <a:lnTo>
                      <a:pt x="4523" y="4761"/>
                    </a:lnTo>
                    <a:lnTo>
                      <a:pt x="4513" y="4771"/>
                    </a:lnTo>
                    <a:lnTo>
                      <a:pt x="4503" y="4771"/>
                    </a:lnTo>
                    <a:lnTo>
                      <a:pt x="4493" y="4781"/>
                    </a:lnTo>
                    <a:lnTo>
                      <a:pt x="4493" y="4792"/>
                    </a:lnTo>
                    <a:lnTo>
                      <a:pt x="4493" y="4802"/>
                    </a:lnTo>
                    <a:lnTo>
                      <a:pt x="4493" y="4802"/>
                    </a:lnTo>
                    <a:lnTo>
                      <a:pt x="4483" y="4802"/>
                    </a:lnTo>
                    <a:lnTo>
                      <a:pt x="4483" y="4812"/>
                    </a:lnTo>
                    <a:lnTo>
                      <a:pt x="4483" y="4822"/>
                    </a:lnTo>
                    <a:lnTo>
                      <a:pt x="4483" y="4832"/>
                    </a:lnTo>
                    <a:lnTo>
                      <a:pt x="4473" y="4842"/>
                    </a:lnTo>
                    <a:lnTo>
                      <a:pt x="4463" y="4852"/>
                    </a:lnTo>
                    <a:lnTo>
                      <a:pt x="4463" y="4852"/>
                    </a:lnTo>
                    <a:lnTo>
                      <a:pt x="4453" y="4852"/>
                    </a:lnTo>
                    <a:lnTo>
                      <a:pt x="4443" y="4852"/>
                    </a:lnTo>
                    <a:lnTo>
                      <a:pt x="4432" y="4852"/>
                    </a:lnTo>
                    <a:lnTo>
                      <a:pt x="4432" y="4862"/>
                    </a:lnTo>
                    <a:lnTo>
                      <a:pt x="4432" y="4862"/>
                    </a:lnTo>
                    <a:lnTo>
                      <a:pt x="4422" y="4862"/>
                    </a:lnTo>
                    <a:lnTo>
                      <a:pt x="4422" y="4852"/>
                    </a:lnTo>
                    <a:lnTo>
                      <a:pt x="4412" y="4852"/>
                    </a:lnTo>
                    <a:lnTo>
                      <a:pt x="4412" y="4852"/>
                    </a:lnTo>
                    <a:lnTo>
                      <a:pt x="4402" y="4852"/>
                    </a:lnTo>
                    <a:lnTo>
                      <a:pt x="4402" y="4852"/>
                    </a:lnTo>
                    <a:lnTo>
                      <a:pt x="4392" y="4862"/>
                    </a:lnTo>
                    <a:lnTo>
                      <a:pt x="4392" y="4873"/>
                    </a:lnTo>
                    <a:lnTo>
                      <a:pt x="4402" y="4883"/>
                    </a:lnTo>
                    <a:lnTo>
                      <a:pt x="4402" y="4893"/>
                    </a:lnTo>
                    <a:lnTo>
                      <a:pt x="4402" y="4893"/>
                    </a:lnTo>
                    <a:lnTo>
                      <a:pt x="4412" y="4903"/>
                    </a:lnTo>
                    <a:lnTo>
                      <a:pt x="4412" y="4903"/>
                    </a:lnTo>
                    <a:lnTo>
                      <a:pt x="4412" y="4913"/>
                    </a:lnTo>
                    <a:lnTo>
                      <a:pt x="4402" y="4923"/>
                    </a:lnTo>
                    <a:lnTo>
                      <a:pt x="4392" y="4923"/>
                    </a:lnTo>
                    <a:lnTo>
                      <a:pt x="4392" y="4933"/>
                    </a:lnTo>
                    <a:lnTo>
                      <a:pt x="4392" y="4933"/>
                    </a:lnTo>
                    <a:lnTo>
                      <a:pt x="4392" y="4944"/>
                    </a:lnTo>
                    <a:lnTo>
                      <a:pt x="4392" y="4944"/>
                    </a:lnTo>
                    <a:lnTo>
                      <a:pt x="4402" y="4954"/>
                    </a:lnTo>
                    <a:lnTo>
                      <a:pt x="4392" y="4954"/>
                    </a:lnTo>
                    <a:lnTo>
                      <a:pt x="4392" y="4964"/>
                    </a:lnTo>
                    <a:lnTo>
                      <a:pt x="4382" y="4964"/>
                    </a:lnTo>
                    <a:lnTo>
                      <a:pt x="4372" y="4974"/>
                    </a:lnTo>
                    <a:lnTo>
                      <a:pt x="4362" y="4974"/>
                    </a:lnTo>
                    <a:lnTo>
                      <a:pt x="4351" y="4984"/>
                    </a:lnTo>
                    <a:lnTo>
                      <a:pt x="4341" y="4984"/>
                    </a:lnTo>
                    <a:lnTo>
                      <a:pt x="4341" y="4974"/>
                    </a:lnTo>
                    <a:lnTo>
                      <a:pt x="4341" y="4974"/>
                    </a:lnTo>
                    <a:lnTo>
                      <a:pt x="4341" y="4964"/>
                    </a:lnTo>
                    <a:lnTo>
                      <a:pt x="4331" y="4954"/>
                    </a:lnTo>
                    <a:lnTo>
                      <a:pt x="4321" y="4944"/>
                    </a:lnTo>
                    <a:lnTo>
                      <a:pt x="4321" y="4944"/>
                    </a:lnTo>
                    <a:lnTo>
                      <a:pt x="4301" y="4933"/>
                    </a:lnTo>
                    <a:lnTo>
                      <a:pt x="4291" y="4923"/>
                    </a:lnTo>
                    <a:lnTo>
                      <a:pt x="4281" y="4923"/>
                    </a:lnTo>
                    <a:lnTo>
                      <a:pt x="4271" y="4923"/>
                    </a:lnTo>
                    <a:lnTo>
                      <a:pt x="4271" y="4923"/>
                    </a:lnTo>
                    <a:lnTo>
                      <a:pt x="4260" y="4923"/>
                    </a:lnTo>
                    <a:lnTo>
                      <a:pt x="4260" y="4923"/>
                    </a:lnTo>
                    <a:lnTo>
                      <a:pt x="4260" y="4923"/>
                    </a:lnTo>
                    <a:lnTo>
                      <a:pt x="4250" y="4913"/>
                    </a:lnTo>
                    <a:lnTo>
                      <a:pt x="4250" y="4923"/>
                    </a:lnTo>
                    <a:lnTo>
                      <a:pt x="4240" y="4923"/>
                    </a:lnTo>
                    <a:lnTo>
                      <a:pt x="4240" y="4933"/>
                    </a:lnTo>
                    <a:lnTo>
                      <a:pt x="4240" y="4944"/>
                    </a:lnTo>
                    <a:lnTo>
                      <a:pt x="4240" y="4954"/>
                    </a:lnTo>
                    <a:lnTo>
                      <a:pt x="4250" y="4964"/>
                    </a:lnTo>
                    <a:lnTo>
                      <a:pt x="4260" y="4984"/>
                    </a:lnTo>
                    <a:lnTo>
                      <a:pt x="4260" y="4994"/>
                    </a:lnTo>
                    <a:lnTo>
                      <a:pt x="4260" y="5014"/>
                    </a:lnTo>
                    <a:lnTo>
                      <a:pt x="4260" y="5014"/>
                    </a:lnTo>
                    <a:lnTo>
                      <a:pt x="4260" y="5014"/>
                    </a:lnTo>
                    <a:lnTo>
                      <a:pt x="4271" y="5014"/>
                    </a:lnTo>
                    <a:lnTo>
                      <a:pt x="4291" y="5014"/>
                    </a:lnTo>
                    <a:lnTo>
                      <a:pt x="4301" y="5014"/>
                    </a:lnTo>
                    <a:lnTo>
                      <a:pt x="4301" y="5025"/>
                    </a:lnTo>
                    <a:lnTo>
                      <a:pt x="4301" y="5035"/>
                    </a:lnTo>
                    <a:lnTo>
                      <a:pt x="4291" y="5035"/>
                    </a:lnTo>
                    <a:lnTo>
                      <a:pt x="4291" y="5045"/>
                    </a:lnTo>
                    <a:lnTo>
                      <a:pt x="4291" y="5055"/>
                    </a:lnTo>
                    <a:lnTo>
                      <a:pt x="4291" y="5065"/>
                    </a:lnTo>
                    <a:lnTo>
                      <a:pt x="4301" y="5065"/>
                    </a:lnTo>
                    <a:lnTo>
                      <a:pt x="4311" y="5065"/>
                    </a:lnTo>
                    <a:lnTo>
                      <a:pt x="4331" y="5075"/>
                    </a:lnTo>
                    <a:lnTo>
                      <a:pt x="4341" y="5075"/>
                    </a:lnTo>
                    <a:lnTo>
                      <a:pt x="4351" y="5075"/>
                    </a:lnTo>
                    <a:lnTo>
                      <a:pt x="4351" y="5085"/>
                    </a:lnTo>
                    <a:lnTo>
                      <a:pt x="4351" y="5095"/>
                    </a:lnTo>
                    <a:lnTo>
                      <a:pt x="4351" y="5106"/>
                    </a:lnTo>
                    <a:lnTo>
                      <a:pt x="4341" y="5106"/>
                    </a:lnTo>
                    <a:lnTo>
                      <a:pt x="4331" y="5106"/>
                    </a:lnTo>
                    <a:lnTo>
                      <a:pt x="4331" y="5106"/>
                    </a:lnTo>
                    <a:lnTo>
                      <a:pt x="4321" y="5095"/>
                    </a:lnTo>
                    <a:lnTo>
                      <a:pt x="4321" y="5095"/>
                    </a:lnTo>
                    <a:lnTo>
                      <a:pt x="4311" y="5085"/>
                    </a:lnTo>
                    <a:lnTo>
                      <a:pt x="4301" y="5085"/>
                    </a:lnTo>
                    <a:lnTo>
                      <a:pt x="4281" y="5075"/>
                    </a:lnTo>
                    <a:lnTo>
                      <a:pt x="4260" y="5075"/>
                    </a:lnTo>
                    <a:lnTo>
                      <a:pt x="4260" y="5075"/>
                    </a:lnTo>
                    <a:lnTo>
                      <a:pt x="4240" y="5095"/>
                    </a:lnTo>
                    <a:lnTo>
                      <a:pt x="4230" y="5106"/>
                    </a:lnTo>
                    <a:lnTo>
                      <a:pt x="4220" y="5106"/>
                    </a:lnTo>
                    <a:lnTo>
                      <a:pt x="4210" y="5116"/>
                    </a:lnTo>
                    <a:lnTo>
                      <a:pt x="4210" y="5126"/>
                    </a:lnTo>
                    <a:lnTo>
                      <a:pt x="4200" y="5136"/>
                    </a:lnTo>
                    <a:lnTo>
                      <a:pt x="4190" y="5146"/>
                    </a:lnTo>
                    <a:lnTo>
                      <a:pt x="4179" y="5146"/>
                    </a:lnTo>
                    <a:lnTo>
                      <a:pt x="4179" y="5156"/>
                    </a:lnTo>
                    <a:lnTo>
                      <a:pt x="4169" y="5166"/>
                    </a:lnTo>
                    <a:lnTo>
                      <a:pt x="4179" y="5187"/>
                    </a:lnTo>
                    <a:lnTo>
                      <a:pt x="4179" y="5197"/>
                    </a:lnTo>
                    <a:lnTo>
                      <a:pt x="4169" y="5207"/>
                    </a:lnTo>
                    <a:lnTo>
                      <a:pt x="4169" y="5217"/>
                    </a:lnTo>
                    <a:lnTo>
                      <a:pt x="4169" y="5217"/>
                    </a:lnTo>
                    <a:lnTo>
                      <a:pt x="4169" y="5237"/>
                    </a:lnTo>
                    <a:lnTo>
                      <a:pt x="4169" y="5247"/>
                    </a:lnTo>
                    <a:lnTo>
                      <a:pt x="4169" y="5258"/>
                    </a:lnTo>
                    <a:lnTo>
                      <a:pt x="4159" y="5268"/>
                    </a:lnTo>
                    <a:lnTo>
                      <a:pt x="4149" y="5278"/>
                    </a:lnTo>
                    <a:lnTo>
                      <a:pt x="4139" y="5278"/>
                    </a:lnTo>
                    <a:lnTo>
                      <a:pt x="4139" y="5268"/>
                    </a:lnTo>
                    <a:lnTo>
                      <a:pt x="4129" y="5268"/>
                    </a:lnTo>
                    <a:lnTo>
                      <a:pt x="4119" y="5258"/>
                    </a:lnTo>
                    <a:lnTo>
                      <a:pt x="4119" y="5258"/>
                    </a:lnTo>
                    <a:lnTo>
                      <a:pt x="4109" y="5258"/>
                    </a:lnTo>
                    <a:lnTo>
                      <a:pt x="4109" y="5258"/>
                    </a:lnTo>
                    <a:lnTo>
                      <a:pt x="4098" y="5258"/>
                    </a:lnTo>
                    <a:lnTo>
                      <a:pt x="4088" y="5258"/>
                    </a:lnTo>
                    <a:lnTo>
                      <a:pt x="4088" y="5268"/>
                    </a:lnTo>
                    <a:lnTo>
                      <a:pt x="4078" y="5268"/>
                    </a:lnTo>
                    <a:lnTo>
                      <a:pt x="4078" y="5258"/>
                    </a:lnTo>
                    <a:lnTo>
                      <a:pt x="4068" y="5258"/>
                    </a:lnTo>
                    <a:lnTo>
                      <a:pt x="4068" y="5258"/>
                    </a:lnTo>
                    <a:lnTo>
                      <a:pt x="4058" y="5258"/>
                    </a:lnTo>
                    <a:lnTo>
                      <a:pt x="4058" y="5258"/>
                    </a:lnTo>
                    <a:lnTo>
                      <a:pt x="4048" y="5258"/>
                    </a:lnTo>
                    <a:lnTo>
                      <a:pt x="4048" y="5268"/>
                    </a:lnTo>
                    <a:lnTo>
                      <a:pt x="4038" y="5278"/>
                    </a:lnTo>
                    <a:lnTo>
                      <a:pt x="4038" y="5278"/>
                    </a:lnTo>
                    <a:lnTo>
                      <a:pt x="4028" y="5278"/>
                    </a:lnTo>
                    <a:lnTo>
                      <a:pt x="4018" y="5278"/>
                    </a:lnTo>
                    <a:lnTo>
                      <a:pt x="4007" y="5278"/>
                    </a:lnTo>
                    <a:lnTo>
                      <a:pt x="3997" y="5278"/>
                    </a:lnTo>
                    <a:lnTo>
                      <a:pt x="3987" y="5278"/>
                    </a:lnTo>
                    <a:lnTo>
                      <a:pt x="3977" y="5268"/>
                    </a:lnTo>
                    <a:lnTo>
                      <a:pt x="3977" y="5268"/>
                    </a:lnTo>
                    <a:lnTo>
                      <a:pt x="3957" y="5268"/>
                    </a:lnTo>
                    <a:lnTo>
                      <a:pt x="3947" y="5258"/>
                    </a:lnTo>
                    <a:lnTo>
                      <a:pt x="3937" y="5258"/>
                    </a:lnTo>
                    <a:lnTo>
                      <a:pt x="3937" y="5247"/>
                    </a:lnTo>
                    <a:lnTo>
                      <a:pt x="3947" y="5237"/>
                    </a:lnTo>
                    <a:lnTo>
                      <a:pt x="3947" y="5237"/>
                    </a:lnTo>
                    <a:lnTo>
                      <a:pt x="3947" y="5237"/>
                    </a:lnTo>
                    <a:lnTo>
                      <a:pt x="3947" y="5227"/>
                    </a:lnTo>
                    <a:lnTo>
                      <a:pt x="3947" y="5227"/>
                    </a:lnTo>
                    <a:lnTo>
                      <a:pt x="3937" y="5217"/>
                    </a:lnTo>
                    <a:lnTo>
                      <a:pt x="3937" y="5207"/>
                    </a:lnTo>
                    <a:lnTo>
                      <a:pt x="3926" y="5207"/>
                    </a:lnTo>
                    <a:lnTo>
                      <a:pt x="3916" y="5207"/>
                    </a:lnTo>
                    <a:lnTo>
                      <a:pt x="3916" y="5207"/>
                    </a:lnTo>
                    <a:lnTo>
                      <a:pt x="3906" y="5197"/>
                    </a:lnTo>
                    <a:lnTo>
                      <a:pt x="3896" y="5187"/>
                    </a:lnTo>
                    <a:lnTo>
                      <a:pt x="3886" y="5187"/>
                    </a:lnTo>
                    <a:lnTo>
                      <a:pt x="3866" y="5187"/>
                    </a:lnTo>
                    <a:lnTo>
                      <a:pt x="3866" y="5187"/>
                    </a:lnTo>
                    <a:lnTo>
                      <a:pt x="3856" y="5187"/>
                    </a:lnTo>
                    <a:lnTo>
                      <a:pt x="3856" y="5177"/>
                    </a:lnTo>
                    <a:lnTo>
                      <a:pt x="3846" y="5177"/>
                    </a:lnTo>
                    <a:lnTo>
                      <a:pt x="3846" y="5166"/>
                    </a:lnTo>
                    <a:lnTo>
                      <a:pt x="3835" y="5166"/>
                    </a:lnTo>
                    <a:lnTo>
                      <a:pt x="3835" y="5156"/>
                    </a:lnTo>
                    <a:lnTo>
                      <a:pt x="3835" y="5146"/>
                    </a:lnTo>
                    <a:lnTo>
                      <a:pt x="3846" y="5136"/>
                    </a:lnTo>
                    <a:lnTo>
                      <a:pt x="3835" y="5126"/>
                    </a:lnTo>
                    <a:lnTo>
                      <a:pt x="3835" y="5126"/>
                    </a:lnTo>
                    <a:lnTo>
                      <a:pt x="3825" y="5126"/>
                    </a:lnTo>
                    <a:lnTo>
                      <a:pt x="3825" y="5116"/>
                    </a:lnTo>
                    <a:lnTo>
                      <a:pt x="3825" y="5116"/>
                    </a:lnTo>
                    <a:lnTo>
                      <a:pt x="3835" y="5106"/>
                    </a:lnTo>
                    <a:lnTo>
                      <a:pt x="3846" y="5106"/>
                    </a:lnTo>
                    <a:lnTo>
                      <a:pt x="3856" y="5106"/>
                    </a:lnTo>
                    <a:lnTo>
                      <a:pt x="3856" y="5095"/>
                    </a:lnTo>
                    <a:lnTo>
                      <a:pt x="3856" y="5085"/>
                    </a:lnTo>
                    <a:lnTo>
                      <a:pt x="3846" y="5075"/>
                    </a:lnTo>
                    <a:lnTo>
                      <a:pt x="3846" y="5075"/>
                    </a:lnTo>
                    <a:lnTo>
                      <a:pt x="3835" y="5065"/>
                    </a:lnTo>
                    <a:lnTo>
                      <a:pt x="3835" y="5055"/>
                    </a:lnTo>
                    <a:lnTo>
                      <a:pt x="3825" y="5055"/>
                    </a:lnTo>
                    <a:lnTo>
                      <a:pt x="3825" y="5055"/>
                    </a:lnTo>
                    <a:lnTo>
                      <a:pt x="3815" y="5055"/>
                    </a:lnTo>
                    <a:lnTo>
                      <a:pt x="3805" y="5055"/>
                    </a:lnTo>
                    <a:lnTo>
                      <a:pt x="3805" y="5045"/>
                    </a:lnTo>
                    <a:lnTo>
                      <a:pt x="3795" y="5035"/>
                    </a:lnTo>
                    <a:lnTo>
                      <a:pt x="3795" y="5035"/>
                    </a:lnTo>
                    <a:lnTo>
                      <a:pt x="3785" y="5035"/>
                    </a:lnTo>
                    <a:lnTo>
                      <a:pt x="3765" y="5025"/>
                    </a:lnTo>
                    <a:lnTo>
                      <a:pt x="3765" y="5014"/>
                    </a:lnTo>
                    <a:lnTo>
                      <a:pt x="3765" y="5014"/>
                    </a:lnTo>
                    <a:lnTo>
                      <a:pt x="3765" y="5014"/>
                    </a:lnTo>
                    <a:lnTo>
                      <a:pt x="3765" y="5014"/>
                    </a:lnTo>
                    <a:lnTo>
                      <a:pt x="3775" y="5004"/>
                    </a:lnTo>
                    <a:lnTo>
                      <a:pt x="3785" y="4994"/>
                    </a:lnTo>
                    <a:lnTo>
                      <a:pt x="3795" y="4994"/>
                    </a:lnTo>
                    <a:lnTo>
                      <a:pt x="3805" y="4984"/>
                    </a:lnTo>
                    <a:lnTo>
                      <a:pt x="3805" y="4974"/>
                    </a:lnTo>
                    <a:lnTo>
                      <a:pt x="3815" y="4964"/>
                    </a:lnTo>
                    <a:lnTo>
                      <a:pt x="3815" y="4954"/>
                    </a:lnTo>
                    <a:lnTo>
                      <a:pt x="3825" y="4944"/>
                    </a:lnTo>
                    <a:lnTo>
                      <a:pt x="3835" y="4933"/>
                    </a:lnTo>
                    <a:lnTo>
                      <a:pt x="3835" y="4923"/>
                    </a:lnTo>
                    <a:lnTo>
                      <a:pt x="3846" y="4913"/>
                    </a:lnTo>
                    <a:lnTo>
                      <a:pt x="3846" y="4913"/>
                    </a:lnTo>
                    <a:lnTo>
                      <a:pt x="3846" y="4883"/>
                    </a:lnTo>
                    <a:lnTo>
                      <a:pt x="3846" y="4873"/>
                    </a:lnTo>
                    <a:lnTo>
                      <a:pt x="3856" y="4862"/>
                    </a:lnTo>
                    <a:lnTo>
                      <a:pt x="3876" y="4852"/>
                    </a:lnTo>
                    <a:lnTo>
                      <a:pt x="3876" y="4842"/>
                    </a:lnTo>
                    <a:lnTo>
                      <a:pt x="3876" y="4832"/>
                    </a:lnTo>
                    <a:lnTo>
                      <a:pt x="3886" y="4832"/>
                    </a:lnTo>
                    <a:lnTo>
                      <a:pt x="3886" y="4822"/>
                    </a:lnTo>
                    <a:lnTo>
                      <a:pt x="3896" y="4812"/>
                    </a:lnTo>
                    <a:lnTo>
                      <a:pt x="3896" y="4802"/>
                    </a:lnTo>
                    <a:lnTo>
                      <a:pt x="3886" y="4792"/>
                    </a:lnTo>
                    <a:lnTo>
                      <a:pt x="3886" y="4781"/>
                    </a:lnTo>
                    <a:lnTo>
                      <a:pt x="3876" y="4771"/>
                    </a:lnTo>
                    <a:lnTo>
                      <a:pt x="3866" y="4761"/>
                    </a:lnTo>
                    <a:lnTo>
                      <a:pt x="3866" y="4751"/>
                    </a:lnTo>
                    <a:lnTo>
                      <a:pt x="3856" y="4741"/>
                    </a:lnTo>
                    <a:lnTo>
                      <a:pt x="3846" y="4731"/>
                    </a:lnTo>
                    <a:lnTo>
                      <a:pt x="3846" y="4680"/>
                    </a:lnTo>
                    <a:lnTo>
                      <a:pt x="3846" y="4670"/>
                    </a:lnTo>
                    <a:lnTo>
                      <a:pt x="3856" y="4670"/>
                    </a:lnTo>
                    <a:lnTo>
                      <a:pt x="3856" y="4660"/>
                    </a:lnTo>
                    <a:lnTo>
                      <a:pt x="3866" y="4650"/>
                    </a:lnTo>
                    <a:lnTo>
                      <a:pt x="3876" y="4660"/>
                    </a:lnTo>
                    <a:lnTo>
                      <a:pt x="3876" y="4670"/>
                    </a:lnTo>
                    <a:lnTo>
                      <a:pt x="3886" y="4680"/>
                    </a:lnTo>
                    <a:lnTo>
                      <a:pt x="3886" y="4680"/>
                    </a:lnTo>
                    <a:lnTo>
                      <a:pt x="3896" y="4690"/>
                    </a:lnTo>
                    <a:lnTo>
                      <a:pt x="3906" y="4700"/>
                    </a:lnTo>
                    <a:lnTo>
                      <a:pt x="3906" y="4711"/>
                    </a:lnTo>
                    <a:lnTo>
                      <a:pt x="3916" y="4721"/>
                    </a:lnTo>
                    <a:lnTo>
                      <a:pt x="3926" y="4721"/>
                    </a:lnTo>
                    <a:lnTo>
                      <a:pt x="3937" y="4711"/>
                    </a:lnTo>
                    <a:lnTo>
                      <a:pt x="3937" y="4711"/>
                    </a:lnTo>
                    <a:lnTo>
                      <a:pt x="3947" y="4700"/>
                    </a:lnTo>
                    <a:lnTo>
                      <a:pt x="3957" y="4711"/>
                    </a:lnTo>
                    <a:lnTo>
                      <a:pt x="3957" y="4711"/>
                    </a:lnTo>
                    <a:lnTo>
                      <a:pt x="3967" y="4711"/>
                    </a:lnTo>
                    <a:lnTo>
                      <a:pt x="3977" y="4700"/>
                    </a:lnTo>
                    <a:lnTo>
                      <a:pt x="3987" y="4700"/>
                    </a:lnTo>
                    <a:lnTo>
                      <a:pt x="3987" y="4690"/>
                    </a:lnTo>
                    <a:lnTo>
                      <a:pt x="3987" y="4680"/>
                    </a:lnTo>
                    <a:lnTo>
                      <a:pt x="3987" y="4670"/>
                    </a:lnTo>
                    <a:lnTo>
                      <a:pt x="3977" y="4660"/>
                    </a:lnTo>
                    <a:lnTo>
                      <a:pt x="3977" y="4650"/>
                    </a:lnTo>
                    <a:lnTo>
                      <a:pt x="3977" y="4629"/>
                    </a:lnTo>
                    <a:lnTo>
                      <a:pt x="3977" y="4619"/>
                    </a:lnTo>
                    <a:lnTo>
                      <a:pt x="3987" y="4609"/>
                    </a:lnTo>
                    <a:lnTo>
                      <a:pt x="3987" y="4609"/>
                    </a:lnTo>
                    <a:lnTo>
                      <a:pt x="3997" y="4609"/>
                    </a:lnTo>
                    <a:lnTo>
                      <a:pt x="3997" y="4609"/>
                    </a:lnTo>
                    <a:lnTo>
                      <a:pt x="4007" y="4619"/>
                    </a:lnTo>
                    <a:lnTo>
                      <a:pt x="4007" y="4629"/>
                    </a:lnTo>
                    <a:lnTo>
                      <a:pt x="4018" y="4629"/>
                    </a:lnTo>
                    <a:lnTo>
                      <a:pt x="4028" y="4629"/>
                    </a:lnTo>
                    <a:lnTo>
                      <a:pt x="4038" y="4629"/>
                    </a:lnTo>
                    <a:lnTo>
                      <a:pt x="4048" y="4629"/>
                    </a:lnTo>
                    <a:lnTo>
                      <a:pt x="4048" y="4629"/>
                    </a:lnTo>
                    <a:lnTo>
                      <a:pt x="4058" y="4629"/>
                    </a:lnTo>
                    <a:lnTo>
                      <a:pt x="4058" y="4629"/>
                    </a:lnTo>
                    <a:lnTo>
                      <a:pt x="4068" y="4629"/>
                    </a:lnTo>
                    <a:lnTo>
                      <a:pt x="4068" y="4619"/>
                    </a:lnTo>
                    <a:lnTo>
                      <a:pt x="4068" y="4619"/>
                    </a:lnTo>
                    <a:lnTo>
                      <a:pt x="4058" y="4609"/>
                    </a:lnTo>
                    <a:lnTo>
                      <a:pt x="4048" y="4599"/>
                    </a:lnTo>
                    <a:lnTo>
                      <a:pt x="4048" y="4599"/>
                    </a:lnTo>
                    <a:lnTo>
                      <a:pt x="4038" y="4599"/>
                    </a:lnTo>
                    <a:lnTo>
                      <a:pt x="4038" y="4589"/>
                    </a:lnTo>
                    <a:lnTo>
                      <a:pt x="4048" y="4579"/>
                    </a:lnTo>
                    <a:lnTo>
                      <a:pt x="4058" y="4569"/>
                    </a:lnTo>
                    <a:lnTo>
                      <a:pt x="4068" y="4559"/>
                    </a:lnTo>
                    <a:lnTo>
                      <a:pt x="4078" y="4559"/>
                    </a:lnTo>
                    <a:lnTo>
                      <a:pt x="4088" y="4548"/>
                    </a:lnTo>
                    <a:lnTo>
                      <a:pt x="4088" y="4538"/>
                    </a:lnTo>
                    <a:lnTo>
                      <a:pt x="4078" y="4538"/>
                    </a:lnTo>
                    <a:lnTo>
                      <a:pt x="4068" y="4538"/>
                    </a:lnTo>
                    <a:lnTo>
                      <a:pt x="4058" y="4528"/>
                    </a:lnTo>
                    <a:lnTo>
                      <a:pt x="4058" y="4518"/>
                    </a:lnTo>
                    <a:lnTo>
                      <a:pt x="4048" y="4508"/>
                    </a:lnTo>
                    <a:lnTo>
                      <a:pt x="4038" y="4498"/>
                    </a:lnTo>
                    <a:lnTo>
                      <a:pt x="4038" y="4488"/>
                    </a:lnTo>
                    <a:lnTo>
                      <a:pt x="4038" y="4478"/>
                    </a:lnTo>
                    <a:lnTo>
                      <a:pt x="4038" y="4467"/>
                    </a:lnTo>
                    <a:lnTo>
                      <a:pt x="4038" y="4457"/>
                    </a:lnTo>
                    <a:lnTo>
                      <a:pt x="4028" y="4457"/>
                    </a:lnTo>
                    <a:lnTo>
                      <a:pt x="4028" y="4447"/>
                    </a:lnTo>
                    <a:lnTo>
                      <a:pt x="4007" y="4447"/>
                    </a:lnTo>
                    <a:lnTo>
                      <a:pt x="3997" y="4447"/>
                    </a:lnTo>
                    <a:lnTo>
                      <a:pt x="3987" y="4447"/>
                    </a:lnTo>
                    <a:lnTo>
                      <a:pt x="3977" y="4447"/>
                    </a:lnTo>
                    <a:lnTo>
                      <a:pt x="3967" y="4457"/>
                    </a:lnTo>
                    <a:lnTo>
                      <a:pt x="3957" y="4457"/>
                    </a:lnTo>
                    <a:lnTo>
                      <a:pt x="3947" y="4447"/>
                    </a:lnTo>
                    <a:lnTo>
                      <a:pt x="3937" y="4447"/>
                    </a:lnTo>
                    <a:lnTo>
                      <a:pt x="3926" y="4447"/>
                    </a:lnTo>
                    <a:lnTo>
                      <a:pt x="3916" y="4457"/>
                    </a:lnTo>
                    <a:lnTo>
                      <a:pt x="3896" y="4478"/>
                    </a:lnTo>
                    <a:lnTo>
                      <a:pt x="3866" y="4498"/>
                    </a:lnTo>
                    <a:lnTo>
                      <a:pt x="3846" y="4518"/>
                    </a:lnTo>
                    <a:lnTo>
                      <a:pt x="3835" y="4528"/>
                    </a:lnTo>
                    <a:lnTo>
                      <a:pt x="3825" y="4538"/>
                    </a:lnTo>
                    <a:lnTo>
                      <a:pt x="3815" y="4538"/>
                    </a:lnTo>
                    <a:lnTo>
                      <a:pt x="3815" y="4548"/>
                    </a:lnTo>
                    <a:lnTo>
                      <a:pt x="3805" y="4559"/>
                    </a:lnTo>
                    <a:lnTo>
                      <a:pt x="3805" y="4569"/>
                    </a:lnTo>
                    <a:lnTo>
                      <a:pt x="3805" y="4579"/>
                    </a:lnTo>
                    <a:lnTo>
                      <a:pt x="3805" y="4579"/>
                    </a:lnTo>
                    <a:lnTo>
                      <a:pt x="3795" y="4579"/>
                    </a:lnTo>
                    <a:lnTo>
                      <a:pt x="3785" y="4589"/>
                    </a:lnTo>
                    <a:lnTo>
                      <a:pt x="3785" y="4599"/>
                    </a:lnTo>
                    <a:lnTo>
                      <a:pt x="3765" y="4599"/>
                    </a:lnTo>
                    <a:lnTo>
                      <a:pt x="3765" y="4609"/>
                    </a:lnTo>
                    <a:lnTo>
                      <a:pt x="3754" y="4609"/>
                    </a:lnTo>
                    <a:lnTo>
                      <a:pt x="3754" y="4619"/>
                    </a:lnTo>
                    <a:lnTo>
                      <a:pt x="3754" y="4629"/>
                    </a:lnTo>
                    <a:lnTo>
                      <a:pt x="3754" y="4640"/>
                    </a:lnTo>
                    <a:lnTo>
                      <a:pt x="3754" y="4650"/>
                    </a:lnTo>
                    <a:lnTo>
                      <a:pt x="3744" y="4660"/>
                    </a:lnTo>
                    <a:lnTo>
                      <a:pt x="3744" y="4660"/>
                    </a:lnTo>
                    <a:lnTo>
                      <a:pt x="3744" y="4670"/>
                    </a:lnTo>
                    <a:lnTo>
                      <a:pt x="3734" y="4700"/>
                    </a:lnTo>
                    <a:lnTo>
                      <a:pt x="3734" y="4700"/>
                    </a:lnTo>
                    <a:lnTo>
                      <a:pt x="3724" y="4711"/>
                    </a:lnTo>
                    <a:lnTo>
                      <a:pt x="3724" y="4721"/>
                    </a:lnTo>
                    <a:lnTo>
                      <a:pt x="3714" y="4721"/>
                    </a:lnTo>
                    <a:lnTo>
                      <a:pt x="3704" y="4721"/>
                    </a:lnTo>
                    <a:lnTo>
                      <a:pt x="3694" y="4721"/>
                    </a:lnTo>
                    <a:lnTo>
                      <a:pt x="3694" y="4711"/>
                    </a:lnTo>
                    <a:lnTo>
                      <a:pt x="3694" y="4711"/>
                    </a:lnTo>
                    <a:lnTo>
                      <a:pt x="3694" y="4700"/>
                    </a:lnTo>
                    <a:lnTo>
                      <a:pt x="3694" y="4700"/>
                    </a:lnTo>
                    <a:lnTo>
                      <a:pt x="3684" y="4700"/>
                    </a:lnTo>
                    <a:lnTo>
                      <a:pt x="3674" y="4690"/>
                    </a:lnTo>
                    <a:lnTo>
                      <a:pt x="3663" y="4690"/>
                    </a:lnTo>
                    <a:lnTo>
                      <a:pt x="3663" y="4680"/>
                    </a:lnTo>
                    <a:lnTo>
                      <a:pt x="3663" y="4660"/>
                    </a:lnTo>
                    <a:lnTo>
                      <a:pt x="3653" y="4650"/>
                    </a:lnTo>
                    <a:lnTo>
                      <a:pt x="3653" y="4650"/>
                    </a:lnTo>
                    <a:lnTo>
                      <a:pt x="3643" y="4650"/>
                    </a:lnTo>
                    <a:lnTo>
                      <a:pt x="3643" y="4650"/>
                    </a:lnTo>
                    <a:lnTo>
                      <a:pt x="3633" y="4650"/>
                    </a:lnTo>
                    <a:lnTo>
                      <a:pt x="3633" y="4650"/>
                    </a:lnTo>
                    <a:lnTo>
                      <a:pt x="3623" y="4629"/>
                    </a:lnTo>
                    <a:lnTo>
                      <a:pt x="3623" y="4619"/>
                    </a:lnTo>
                    <a:lnTo>
                      <a:pt x="3613" y="4619"/>
                    </a:lnTo>
                    <a:lnTo>
                      <a:pt x="3613" y="4609"/>
                    </a:lnTo>
                    <a:lnTo>
                      <a:pt x="3613" y="4609"/>
                    </a:lnTo>
                    <a:lnTo>
                      <a:pt x="3613" y="4599"/>
                    </a:lnTo>
                    <a:lnTo>
                      <a:pt x="3603" y="4599"/>
                    </a:lnTo>
                    <a:lnTo>
                      <a:pt x="3603" y="4599"/>
                    </a:lnTo>
                    <a:lnTo>
                      <a:pt x="3593" y="4599"/>
                    </a:lnTo>
                    <a:lnTo>
                      <a:pt x="3582" y="4599"/>
                    </a:lnTo>
                    <a:lnTo>
                      <a:pt x="3562" y="4599"/>
                    </a:lnTo>
                    <a:lnTo>
                      <a:pt x="3562" y="4589"/>
                    </a:lnTo>
                    <a:lnTo>
                      <a:pt x="3562" y="4559"/>
                    </a:lnTo>
                    <a:lnTo>
                      <a:pt x="3552" y="4538"/>
                    </a:lnTo>
                    <a:lnTo>
                      <a:pt x="3552" y="4518"/>
                    </a:lnTo>
                    <a:lnTo>
                      <a:pt x="3552" y="4508"/>
                    </a:lnTo>
                    <a:lnTo>
                      <a:pt x="3552" y="4498"/>
                    </a:lnTo>
                    <a:lnTo>
                      <a:pt x="3552" y="4478"/>
                    </a:lnTo>
                    <a:lnTo>
                      <a:pt x="3562" y="4457"/>
                    </a:lnTo>
                    <a:lnTo>
                      <a:pt x="3552" y="4457"/>
                    </a:lnTo>
                    <a:lnTo>
                      <a:pt x="3552" y="4447"/>
                    </a:lnTo>
                    <a:lnTo>
                      <a:pt x="3552" y="4447"/>
                    </a:lnTo>
                    <a:lnTo>
                      <a:pt x="3542" y="4457"/>
                    </a:lnTo>
                    <a:lnTo>
                      <a:pt x="3542" y="4457"/>
                    </a:lnTo>
                    <a:lnTo>
                      <a:pt x="3532" y="4467"/>
                    </a:lnTo>
                    <a:lnTo>
                      <a:pt x="3522" y="4478"/>
                    </a:lnTo>
                    <a:lnTo>
                      <a:pt x="3512" y="4478"/>
                    </a:lnTo>
                    <a:lnTo>
                      <a:pt x="3501" y="4478"/>
                    </a:lnTo>
                    <a:lnTo>
                      <a:pt x="3501" y="4478"/>
                    </a:lnTo>
                    <a:lnTo>
                      <a:pt x="3491" y="4478"/>
                    </a:lnTo>
                    <a:lnTo>
                      <a:pt x="3491" y="4467"/>
                    </a:lnTo>
                    <a:lnTo>
                      <a:pt x="3481" y="4457"/>
                    </a:lnTo>
                    <a:lnTo>
                      <a:pt x="3481" y="4437"/>
                    </a:lnTo>
                    <a:lnTo>
                      <a:pt x="3471" y="4447"/>
                    </a:lnTo>
                    <a:lnTo>
                      <a:pt x="3471" y="4447"/>
                    </a:lnTo>
                    <a:lnTo>
                      <a:pt x="3471" y="4457"/>
                    </a:lnTo>
                    <a:lnTo>
                      <a:pt x="3471" y="4478"/>
                    </a:lnTo>
                    <a:lnTo>
                      <a:pt x="3471" y="4488"/>
                    </a:lnTo>
                    <a:lnTo>
                      <a:pt x="3461" y="4498"/>
                    </a:lnTo>
                    <a:lnTo>
                      <a:pt x="3461" y="4498"/>
                    </a:lnTo>
                    <a:lnTo>
                      <a:pt x="3451" y="4498"/>
                    </a:lnTo>
                    <a:lnTo>
                      <a:pt x="3431" y="4498"/>
                    </a:lnTo>
                    <a:lnTo>
                      <a:pt x="3421" y="4498"/>
                    </a:lnTo>
                    <a:lnTo>
                      <a:pt x="3410" y="4498"/>
                    </a:lnTo>
                    <a:lnTo>
                      <a:pt x="3380" y="4508"/>
                    </a:lnTo>
                    <a:lnTo>
                      <a:pt x="3360" y="4528"/>
                    </a:lnTo>
                    <a:lnTo>
                      <a:pt x="3340" y="4538"/>
                    </a:lnTo>
                    <a:lnTo>
                      <a:pt x="3340" y="4548"/>
                    </a:lnTo>
                    <a:lnTo>
                      <a:pt x="3319" y="4559"/>
                    </a:lnTo>
                    <a:lnTo>
                      <a:pt x="3309" y="4559"/>
                    </a:lnTo>
                    <a:lnTo>
                      <a:pt x="3299" y="4559"/>
                    </a:lnTo>
                    <a:lnTo>
                      <a:pt x="3289" y="4559"/>
                    </a:lnTo>
                    <a:lnTo>
                      <a:pt x="3289" y="4548"/>
                    </a:lnTo>
                    <a:lnTo>
                      <a:pt x="3289" y="4538"/>
                    </a:lnTo>
                    <a:lnTo>
                      <a:pt x="3279" y="4538"/>
                    </a:lnTo>
                    <a:lnTo>
                      <a:pt x="3269" y="4538"/>
                    </a:lnTo>
                    <a:lnTo>
                      <a:pt x="3249" y="4538"/>
                    </a:lnTo>
                    <a:lnTo>
                      <a:pt x="3238" y="4538"/>
                    </a:lnTo>
                    <a:lnTo>
                      <a:pt x="3218" y="4528"/>
                    </a:lnTo>
                    <a:lnTo>
                      <a:pt x="3198" y="4528"/>
                    </a:lnTo>
                    <a:lnTo>
                      <a:pt x="3168" y="4518"/>
                    </a:lnTo>
                    <a:lnTo>
                      <a:pt x="3147" y="4518"/>
                    </a:lnTo>
                    <a:lnTo>
                      <a:pt x="3137" y="4518"/>
                    </a:lnTo>
                    <a:lnTo>
                      <a:pt x="3127" y="4518"/>
                    </a:lnTo>
                    <a:lnTo>
                      <a:pt x="3097" y="4528"/>
                    </a:lnTo>
                    <a:lnTo>
                      <a:pt x="3076" y="4528"/>
                    </a:lnTo>
                    <a:lnTo>
                      <a:pt x="3066" y="4528"/>
                    </a:lnTo>
                    <a:lnTo>
                      <a:pt x="3056" y="4528"/>
                    </a:lnTo>
                    <a:lnTo>
                      <a:pt x="3046" y="4528"/>
                    </a:lnTo>
                    <a:lnTo>
                      <a:pt x="3046" y="4518"/>
                    </a:lnTo>
                    <a:lnTo>
                      <a:pt x="3046" y="4508"/>
                    </a:lnTo>
                    <a:lnTo>
                      <a:pt x="3046" y="4508"/>
                    </a:lnTo>
                    <a:lnTo>
                      <a:pt x="3046" y="4498"/>
                    </a:lnTo>
                    <a:lnTo>
                      <a:pt x="3036" y="4498"/>
                    </a:lnTo>
                    <a:lnTo>
                      <a:pt x="2996" y="4498"/>
                    </a:lnTo>
                    <a:lnTo>
                      <a:pt x="2996" y="4498"/>
                    </a:lnTo>
                    <a:lnTo>
                      <a:pt x="2985" y="4498"/>
                    </a:lnTo>
                    <a:lnTo>
                      <a:pt x="2975" y="4488"/>
                    </a:lnTo>
                    <a:lnTo>
                      <a:pt x="2975" y="4478"/>
                    </a:lnTo>
                    <a:lnTo>
                      <a:pt x="2975" y="4457"/>
                    </a:lnTo>
                    <a:lnTo>
                      <a:pt x="2975" y="4457"/>
                    </a:lnTo>
                    <a:lnTo>
                      <a:pt x="2965" y="4447"/>
                    </a:lnTo>
                    <a:lnTo>
                      <a:pt x="2955" y="4437"/>
                    </a:lnTo>
                    <a:lnTo>
                      <a:pt x="2945" y="4437"/>
                    </a:lnTo>
                    <a:lnTo>
                      <a:pt x="2925" y="4437"/>
                    </a:lnTo>
                    <a:lnTo>
                      <a:pt x="2915" y="4447"/>
                    </a:lnTo>
                    <a:lnTo>
                      <a:pt x="2904" y="4467"/>
                    </a:lnTo>
                    <a:lnTo>
                      <a:pt x="2894" y="4478"/>
                    </a:lnTo>
                    <a:lnTo>
                      <a:pt x="2894" y="4488"/>
                    </a:lnTo>
                    <a:lnTo>
                      <a:pt x="2884" y="4488"/>
                    </a:lnTo>
                    <a:lnTo>
                      <a:pt x="2864" y="4488"/>
                    </a:lnTo>
                    <a:lnTo>
                      <a:pt x="2854" y="4488"/>
                    </a:lnTo>
                    <a:lnTo>
                      <a:pt x="2844" y="4488"/>
                    </a:lnTo>
                    <a:lnTo>
                      <a:pt x="2844" y="4478"/>
                    </a:lnTo>
                    <a:lnTo>
                      <a:pt x="2834" y="4478"/>
                    </a:lnTo>
                    <a:lnTo>
                      <a:pt x="2824" y="4478"/>
                    </a:lnTo>
                    <a:lnTo>
                      <a:pt x="2813" y="4478"/>
                    </a:lnTo>
                    <a:lnTo>
                      <a:pt x="2813" y="4478"/>
                    </a:lnTo>
                    <a:lnTo>
                      <a:pt x="2803" y="4467"/>
                    </a:lnTo>
                    <a:lnTo>
                      <a:pt x="2803" y="4467"/>
                    </a:lnTo>
                    <a:lnTo>
                      <a:pt x="2813" y="4457"/>
                    </a:lnTo>
                    <a:lnTo>
                      <a:pt x="2824" y="4437"/>
                    </a:lnTo>
                    <a:lnTo>
                      <a:pt x="2824" y="4437"/>
                    </a:lnTo>
                    <a:lnTo>
                      <a:pt x="2824" y="4427"/>
                    </a:lnTo>
                    <a:lnTo>
                      <a:pt x="2813" y="4417"/>
                    </a:lnTo>
                    <a:lnTo>
                      <a:pt x="2813" y="4407"/>
                    </a:lnTo>
                    <a:lnTo>
                      <a:pt x="2824" y="4396"/>
                    </a:lnTo>
                    <a:lnTo>
                      <a:pt x="2813" y="4386"/>
                    </a:lnTo>
                    <a:lnTo>
                      <a:pt x="2813" y="4386"/>
                    </a:lnTo>
                    <a:lnTo>
                      <a:pt x="2813" y="4376"/>
                    </a:lnTo>
                    <a:lnTo>
                      <a:pt x="2813" y="4376"/>
                    </a:lnTo>
                    <a:lnTo>
                      <a:pt x="2803" y="4366"/>
                    </a:lnTo>
                    <a:lnTo>
                      <a:pt x="2793" y="4366"/>
                    </a:lnTo>
                    <a:lnTo>
                      <a:pt x="2783" y="4346"/>
                    </a:lnTo>
                    <a:lnTo>
                      <a:pt x="2783" y="4346"/>
                    </a:lnTo>
                    <a:lnTo>
                      <a:pt x="2773" y="4336"/>
                    </a:lnTo>
                    <a:lnTo>
                      <a:pt x="2773" y="4336"/>
                    </a:lnTo>
                    <a:lnTo>
                      <a:pt x="2763" y="4346"/>
                    </a:lnTo>
                    <a:lnTo>
                      <a:pt x="2753" y="4356"/>
                    </a:lnTo>
                    <a:lnTo>
                      <a:pt x="2743" y="4356"/>
                    </a:lnTo>
                    <a:lnTo>
                      <a:pt x="2743" y="4356"/>
                    </a:lnTo>
                    <a:lnTo>
                      <a:pt x="2743" y="4366"/>
                    </a:lnTo>
                    <a:lnTo>
                      <a:pt x="2743" y="4366"/>
                    </a:lnTo>
                    <a:lnTo>
                      <a:pt x="2743" y="4376"/>
                    </a:lnTo>
                    <a:lnTo>
                      <a:pt x="2753" y="4376"/>
                    </a:lnTo>
                    <a:lnTo>
                      <a:pt x="2753" y="4386"/>
                    </a:lnTo>
                    <a:lnTo>
                      <a:pt x="2753" y="4396"/>
                    </a:lnTo>
                    <a:lnTo>
                      <a:pt x="2743" y="4417"/>
                    </a:lnTo>
                    <a:lnTo>
                      <a:pt x="2732" y="4417"/>
                    </a:lnTo>
                    <a:lnTo>
                      <a:pt x="2732" y="4417"/>
                    </a:lnTo>
                    <a:lnTo>
                      <a:pt x="2732" y="4427"/>
                    </a:lnTo>
                    <a:lnTo>
                      <a:pt x="2732" y="4437"/>
                    </a:lnTo>
                    <a:lnTo>
                      <a:pt x="2732" y="4447"/>
                    </a:lnTo>
                    <a:lnTo>
                      <a:pt x="2722" y="4467"/>
                    </a:lnTo>
                    <a:lnTo>
                      <a:pt x="2722" y="4467"/>
                    </a:lnTo>
                    <a:lnTo>
                      <a:pt x="2712" y="4467"/>
                    </a:lnTo>
                    <a:lnTo>
                      <a:pt x="2712" y="4457"/>
                    </a:lnTo>
                    <a:lnTo>
                      <a:pt x="2712" y="4457"/>
                    </a:lnTo>
                    <a:lnTo>
                      <a:pt x="2702" y="4437"/>
                    </a:lnTo>
                    <a:lnTo>
                      <a:pt x="2692" y="4417"/>
                    </a:lnTo>
                    <a:lnTo>
                      <a:pt x="2682" y="4396"/>
                    </a:lnTo>
                    <a:lnTo>
                      <a:pt x="2682" y="4386"/>
                    </a:lnTo>
                    <a:lnTo>
                      <a:pt x="2672" y="4386"/>
                    </a:lnTo>
                    <a:lnTo>
                      <a:pt x="2672" y="4386"/>
                    </a:lnTo>
                    <a:lnTo>
                      <a:pt x="2672" y="4386"/>
                    </a:lnTo>
                    <a:lnTo>
                      <a:pt x="2662" y="4396"/>
                    </a:lnTo>
                    <a:lnTo>
                      <a:pt x="2672" y="4407"/>
                    </a:lnTo>
                    <a:lnTo>
                      <a:pt x="2682" y="4427"/>
                    </a:lnTo>
                    <a:lnTo>
                      <a:pt x="2682" y="4447"/>
                    </a:lnTo>
                    <a:lnTo>
                      <a:pt x="2682" y="4457"/>
                    </a:lnTo>
                    <a:lnTo>
                      <a:pt x="2682" y="4488"/>
                    </a:lnTo>
                    <a:lnTo>
                      <a:pt x="2682" y="4498"/>
                    </a:lnTo>
                    <a:lnTo>
                      <a:pt x="2672" y="4498"/>
                    </a:lnTo>
                    <a:lnTo>
                      <a:pt x="2672" y="4508"/>
                    </a:lnTo>
                    <a:lnTo>
                      <a:pt x="2662" y="4518"/>
                    </a:lnTo>
                    <a:lnTo>
                      <a:pt x="2651" y="4518"/>
                    </a:lnTo>
                    <a:lnTo>
                      <a:pt x="2651" y="4518"/>
                    </a:lnTo>
                    <a:lnTo>
                      <a:pt x="2641" y="4518"/>
                    </a:lnTo>
                    <a:lnTo>
                      <a:pt x="2641" y="4508"/>
                    </a:lnTo>
                    <a:lnTo>
                      <a:pt x="2631" y="4508"/>
                    </a:lnTo>
                    <a:lnTo>
                      <a:pt x="2621" y="4498"/>
                    </a:lnTo>
                    <a:lnTo>
                      <a:pt x="2611" y="4498"/>
                    </a:lnTo>
                    <a:lnTo>
                      <a:pt x="2601" y="4498"/>
                    </a:lnTo>
                    <a:lnTo>
                      <a:pt x="2591" y="4498"/>
                    </a:lnTo>
                    <a:lnTo>
                      <a:pt x="2581" y="4498"/>
                    </a:lnTo>
                    <a:lnTo>
                      <a:pt x="2581" y="4498"/>
                    </a:lnTo>
                    <a:lnTo>
                      <a:pt x="2571" y="4488"/>
                    </a:lnTo>
                    <a:lnTo>
                      <a:pt x="2560" y="4478"/>
                    </a:lnTo>
                    <a:lnTo>
                      <a:pt x="2560" y="4467"/>
                    </a:lnTo>
                    <a:lnTo>
                      <a:pt x="2560" y="4457"/>
                    </a:lnTo>
                    <a:lnTo>
                      <a:pt x="2560" y="4447"/>
                    </a:lnTo>
                    <a:lnTo>
                      <a:pt x="2550" y="4447"/>
                    </a:lnTo>
                    <a:lnTo>
                      <a:pt x="2550" y="4437"/>
                    </a:lnTo>
                    <a:lnTo>
                      <a:pt x="2550" y="4427"/>
                    </a:lnTo>
                    <a:lnTo>
                      <a:pt x="2550" y="4427"/>
                    </a:lnTo>
                    <a:lnTo>
                      <a:pt x="2550" y="4417"/>
                    </a:lnTo>
                    <a:lnTo>
                      <a:pt x="2540" y="4417"/>
                    </a:lnTo>
                    <a:lnTo>
                      <a:pt x="2540" y="4417"/>
                    </a:lnTo>
                    <a:lnTo>
                      <a:pt x="2530" y="4417"/>
                    </a:lnTo>
                    <a:lnTo>
                      <a:pt x="2520" y="4407"/>
                    </a:lnTo>
                    <a:lnTo>
                      <a:pt x="2510" y="4396"/>
                    </a:lnTo>
                    <a:lnTo>
                      <a:pt x="2500" y="4396"/>
                    </a:lnTo>
                    <a:lnTo>
                      <a:pt x="2490" y="4396"/>
                    </a:lnTo>
                    <a:lnTo>
                      <a:pt x="2490" y="4396"/>
                    </a:lnTo>
                    <a:lnTo>
                      <a:pt x="2490" y="4407"/>
                    </a:lnTo>
                    <a:lnTo>
                      <a:pt x="2490" y="4407"/>
                    </a:lnTo>
                    <a:lnTo>
                      <a:pt x="2479" y="4417"/>
                    </a:lnTo>
                    <a:lnTo>
                      <a:pt x="2479" y="4427"/>
                    </a:lnTo>
                    <a:lnTo>
                      <a:pt x="2479" y="4437"/>
                    </a:lnTo>
                    <a:lnTo>
                      <a:pt x="2490" y="4447"/>
                    </a:lnTo>
                    <a:lnTo>
                      <a:pt x="2490" y="4457"/>
                    </a:lnTo>
                    <a:lnTo>
                      <a:pt x="2479" y="4457"/>
                    </a:lnTo>
                    <a:lnTo>
                      <a:pt x="2479" y="4467"/>
                    </a:lnTo>
                    <a:lnTo>
                      <a:pt x="2479" y="4467"/>
                    </a:lnTo>
                    <a:lnTo>
                      <a:pt x="2469" y="4467"/>
                    </a:lnTo>
                    <a:lnTo>
                      <a:pt x="2459" y="4457"/>
                    </a:lnTo>
                    <a:lnTo>
                      <a:pt x="2449" y="4457"/>
                    </a:lnTo>
                    <a:lnTo>
                      <a:pt x="2429" y="4447"/>
                    </a:lnTo>
                    <a:lnTo>
                      <a:pt x="2419" y="4437"/>
                    </a:lnTo>
                    <a:lnTo>
                      <a:pt x="2419" y="4437"/>
                    </a:lnTo>
                    <a:lnTo>
                      <a:pt x="2409" y="4407"/>
                    </a:lnTo>
                    <a:lnTo>
                      <a:pt x="2388" y="4386"/>
                    </a:lnTo>
                    <a:lnTo>
                      <a:pt x="2388" y="4376"/>
                    </a:lnTo>
                    <a:lnTo>
                      <a:pt x="2378" y="4376"/>
                    </a:lnTo>
                    <a:lnTo>
                      <a:pt x="2368" y="4376"/>
                    </a:lnTo>
                    <a:lnTo>
                      <a:pt x="2358" y="4376"/>
                    </a:lnTo>
                    <a:lnTo>
                      <a:pt x="2338" y="4376"/>
                    </a:lnTo>
                    <a:lnTo>
                      <a:pt x="2328" y="4376"/>
                    </a:lnTo>
                    <a:lnTo>
                      <a:pt x="2307" y="4386"/>
                    </a:lnTo>
                    <a:lnTo>
                      <a:pt x="2277" y="4396"/>
                    </a:lnTo>
                    <a:lnTo>
                      <a:pt x="2247" y="4407"/>
                    </a:lnTo>
                    <a:lnTo>
                      <a:pt x="2237" y="4407"/>
                    </a:lnTo>
                    <a:lnTo>
                      <a:pt x="2227" y="4407"/>
                    </a:lnTo>
                    <a:lnTo>
                      <a:pt x="2196" y="4417"/>
                    </a:lnTo>
                    <a:lnTo>
                      <a:pt x="2186" y="4417"/>
                    </a:lnTo>
                    <a:lnTo>
                      <a:pt x="2176" y="4417"/>
                    </a:lnTo>
                    <a:lnTo>
                      <a:pt x="2166" y="4427"/>
                    </a:lnTo>
                    <a:lnTo>
                      <a:pt x="2146" y="4427"/>
                    </a:lnTo>
                    <a:lnTo>
                      <a:pt x="2125" y="4437"/>
                    </a:lnTo>
                    <a:lnTo>
                      <a:pt x="2105" y="4447"/>
                    </a:lnTo>
                    <a:lnTo>
                      <a:pt x="2095" y="4457"/>
                    </a:lnTo>
                    <a:lnTo>
                      <a:pt x="2085" y="4467"/>
                    </a:lnTo>
                    <a:lnTo>
                      <a:pt x="2085" y="4478"/>
                    </a:lnTo>
                    <a:lnTo>
                      <a:pt x="2075" y="4478"/>
                    </a:lnTo>
                    <a:lnTo>
                      <a:pt x="2065" y="4488"/>
                    </a:lnTo>
                    <a:lnTo>
                      <a:pt x="2054" y="4498"/>
                    </a:lnTo>
                    <a:lnTo>
                      <a:pt x="2054" y="4518"/>
                    </a:lnTo>
                    <a:lnTo>
                      <a:pt x="2054" y="4528"/>
                    </a:lnTo>
                    <a:lnTo>
                      <a:pt x="2054" y="4538"/>
                    </a:lnTo>
                    <a:lnTo>
                      <a:pt x="2054" y="4548"/>
                    </a:lnTo>
                    <a:lnTo>
                      <a:pt x="2044" y="4548"/>
                    </a:lnTo>
                    <a:lnTo>
                      <a:pt x="2044" y="4559"/>
                    </a:lnTo>
                    <a:lnTo>
                      <a:pt x="2034" y="4569"/>
                    </a:lnTo>
                    <a:lnTo>
                      <a:pt x="2034" y="4579"/>
                    </a:lnTo>
                    <a:lnTo>
                      <a:pt x="2034" y="4589"/>
                    </a:lnTo>
                    <a:lnTo>
                      <a:pt x="2034" y="4599"/>
                    </a:lnTo>
                    <a:lnTo>
                      <a:pt x="2034" y="4609"/>
                    </a:lnTo>
                    <a:lnTo>
                      <a:pt x="2024" y="4619"/>
                    </a:lnTo>
                    <a:lnTo>
                      <a:pt x="2014" y="4629"/>
                    </a:lnTo>
                    <a:lnTo>
                      <a:pt x="2004" y="4629"/>
                    </a:lnTo>
                    <a:lnTo>
                      <a:pt x="1994" y="4640"/>
                    </a:lnTo>
                    <a:lnTo>
                      <a:pt x="1984" y="4650"/>
                    </a:lnTo>
                    <a:lnTo>
                      <a:pt x="1974" y="4660"/>
                    </a:lnTo>
                    <a:lnTo>
                      <a:pt x="1963" y="4660"/>
                    </a:lnTo>
                    <a:lnTo>
                      <a:pt x="1943" y="4660"/>
                    </a:lnTo>
                    <a:lnTo>
                      <a:pt x="1923" y="4650"/>
                    </a:lnTo>
                    <a:lnTo>
                      <a:pt x="1913" y="4640"/>
                    </a:lnTo>
                    <a:lnTo>
                      <a:pt x="1893" y="4629"/>
                    </a:lnTo>
                    <a:lnTo>
                      <a:pt x="1872" y="4619"/>
                    </a:lnTo>
                    <a:lnTo>
                      <a:pt x="1862" y="4609"/>
                    </a:lnTo>
                    <a:lnTo>
                      <a:pt x="1852" y="4609"/>
                    </a:lnTo>
                    <a:lnTo>
                      <a:pt x="1842" y="4599"/>
                    </a:lnTo>
                    <a:lnTo>
                      <a:pt x="1842" y="4589"/>
                    </a:lnTo>
                    <a:lnTo>
                      <a:pt x="1832" y="4579"/>
                    </a:lnTo>
                    <a:lnTo>
                      <a:pt x="1832" y="4559"/>
                    </a:lnTo>
                    <a:lnTo>
                      <a:pt x="1832" y="4548"/>
                    </a:lnTo>
                    <a:lnTo>
                      <a:pt x="1812" y="4518"/>
                    </a:lnTo>
                    <a:lnTo>
                      <a:pt x="1802" y="4498"/>
                    </a:lnTo>
                    <a:lnTo>
                      <a:pt x="1802" y="4498"/>
                    </a:lnTo>
                    <a:lnTo>
                      <a:pt x="1791" y="4488"/>
                    </a:lnTo>
                    <a:lnTo>
                      <a:pt x="1771" y="4488"/>
                    </a:lnTo>
                    <a:lnTo>
                      <a:pt x="1761" y="4488"/>
                    </a:lnTo>
                    <a:lnTo>
                      <a:pt x="1741" y="4488"/>
                    </a:lnTo>
                    <a:lnTo>
                      <a:pt x="1741" y="4488"/>
                    </a:lnTo>
                    <a:lnTo>
                      <a:pt x="1731" y="4498"/>
                    </a:lnTo>
                    <a:lnTo>
                      <a:pt x="1721" y="4498"/>
                    </a:lnTo>
                    <a:lnTo>
                      <a:pt x="1710" y="4498"/>
                    </a:lnTo>
                    <a:lnTo>
                      <a:pt x="1710" y="4498"/>
                    </a:lnTo>
                    <a:lnTo>
                      <a:pt x="1700" y="4488"/>
                    </a:lnTo>
                    <a:lnTo>
                      <a:pt x="1690" y="4478"/>
                    </a:lnTo>
                    <a:lnTo>
                      <a:pt x="1690" y="4467"/>
                    </a:lnTo>
                    <a:lnTo>
                      <a:pt x="1680" y="4457"/>
                    </a:lnTo>
                    <a:lnTo>
                      <a:pt x="1680" y="4447"/>
                    </a:lnTo>
                    <a:lnTo>
                      <a:pt x="1670" y="4427"/>
                    </a:lnTo>
                    <a:lnTo>
                      <a:pt x="1670" y="4417"/>
                    </a:lnTo>
                    <a:lnTo>
                      <a:pt x="1670" y="4407"/>
                    </a:lnTo>
                    <a:lnTo>
                      <a:pt x="1670" y="4396"/>
                    </a:lnTo>
                    <a:lnTo>
                      <a:pt x="1680" y="4396"/>
                    </a:lnTo>
                    <a:lnTo>
                      <a:pt x="1680" y="4386"/>
                    </a:lnTo>
                    <a:lnTo>
                      <a:pt x="1690" y="4376"/>
                    </a:lnTo>
                    <a:lnTo>
                      <a:pt x="1700" y="4366"/>
                    </a:lnTo>
                    <a:lnTo>
                      <a:pt x="1690" y="4356"/>
                    </a:lnTo>
                    <a:lnTo>
                      <a:pt x="1690" y="4346"/>
                    </a:lnTo>
                    <a:lnTo>
                      <a:pt x="1690" y="4336"/>
                    </a:lnTo>
                    <a:lnTo>
                      <a:pt x="1680" y="4315"/>
                    </a:lnTo>
                    <a:lnTo>
                      <a:pt x="1680" y="4305"/>
                    </a:lnTo>
                    <a:lnTo>
                      <a:pt x="1690" y="4295"/>
                    </a:lnTo>
                    <a:lnTo>
                      <a:pt x="1690" y="4275"/>
                    </a:lnTo>
                    <a:lnTo>
                      <a:pt x="1690" y="4265"/>
                    </a:lnTo>
                    <a:lnTo>
                      <a:pt x="1680" y="4255"/>
                    </a:lnTo>
                    <a:lnTo>
                      <a:pt x="1670" y="4245"/>
                    </a:lnTo>
                    <a:lnTo>
                      <a:pt x="1670" y="4245"/>
                    </a:lnTo>
                    <a:lnTo>
                      <a:pt x="1660" y="4234"/>
                    </a:lnTo>
                    <a:lnTo>
                      <a:pt x="1650" y="4234"/>
                    </a:lnTo>
                    <a:lnTo>
                      <a:pt x="1640" y="4245"/>
                    </a:lnTo>
                    <a:lnTo>
                      <a:pt x="1629" y="4245"/>
                    </a:lnTo>
                    <a:lnTo>
                      <a:pt x="1619" y="4245"/>
                    </a:lnTo>
                    <a:lnTo>
                      <a:pt x="1609" y="4234"/>
                    </a:lnTo>
                    <a:lnTo>
                      <a:pt x="1589" y="4224"/>
                    </a:lnTo>
                    <a:lnTo>
                      <a:pt x="1589" y="4204"/>
                    </a:lnTo>
                    <a:lnTo>
                      <a:pt x="1589" y="4184"/>
                    </a:lnTo>
                    <a:lnTo>
                      <a:pt x="1589" y="4174"/>
                    </a:lnTo>
                    <a:lnTo>
                      <a:pt x="1589" y="4163"/>
                    </a:lnTo>
                    <a:lnTo>
                      <a:pt x="1599" y="4163"/>
                    </a:lnTo>
                    <a:lnTo>
                      <a:pt x="1599" y="4153"/>
                    </a:lnTo>
                    <a:lnTo>
                      <a:pt x="1609" y="4133"/>
                    </a:lnTo>
                    <a:lnTo>
                      <a:pt x="1619" y="4133"/>
                    </a:lnTo>
                    <a:lnTo>
                      <a:pt x="1619" y="4123"/>
                    </a:lnTo>
                    <a:lnTo>
                      <a:pt x="1619" y="4113"/>
                    </a:lnTo>
                    <a:lnTo>
                      <a:pt x="1619" y="4103"/>
                    </a:lnTo>
                    <a:lnTo>
                      <a:pt x="1619" y="4103"/>
                    </a:lnTo>
                    <a:lnTo>
                      <a:pt x="1619" y="4093"/>
                    </a:lnTo>
                    <a:lnTo>
                      <a:pt x="1599" y="4093"/>
                    </a:lnTo>
                    <a:lnTo>
                      <a:pt x="1589" y="4082"/>
                    </a:lnTo>
                    <a:lnTo>
                      <a:pt x="1579" y="4072"/>
                    </a:lnTo>
                    <a:lnTo>
                      <a:pt x="1579" y="4062"/>
                    </a:lnTo>
                    <a:lnTo>
                      <a:pt x="1569" y="4052"/>
                    </a:lnTo>
                    <a:lnTo>
                      <a:pt x="1549" y="4052"/>
                    </a:lnTo>
                    <a:lnTo>
                      <a:pt x="1538" y="4042"/>
                    </a:lnTo>
                    <a:lnTo>
                      <a:pt x="1518" y="4052"/>
                    </a:lnTo>
                    <a:lnTo>
                      <a:pt x="1508" y="4062"/>
                    </a:lnTo>
                    <a:lnTo>
                      <a:pt x="1508" y="4062"/>
                    </a:lnTo>
                    <a:lnTo>
                      <a:pt x="1498" y="4072"/>
                    </a:lnTo>
                    <a:lnTo>
                      <a:pt x="1488" y="4072"/>
                    </a:lnTo>
                    <a:lnTo>
                      <a:pt x="1457" y="4072"/>
                    </a:lnTo>
                    <a:lnTo>
                      <a:pt x="1457" y="4062"/>
                    </a:lnTo>
                    <a:lnTo>
                      <a:pt x="1468" y="4052"/>
                    </a:lnTo>
                    <a:lnTo>
                      <a:pt x="1478" y="4042"/>
                    </a:lnTo>
                    <a:lnTo>
                      <a:pt x="1488" y="4032"/>
                    </a:lnTo>
                    <a:lnTo>
                      <a:pt x="1498" y="4022"/>
                    </a:lnTo>
                    <a:lnTo>
                      <a:pt x="1498" y="4022"/>
                    </a:lnTo>
                    <a:lnTo>
                      <a:pt x="1498" y="4001"/>
                    </a:lnTo>
                    <a:lnTo>
                      <a:pt x="1498" y="3981"/>
                    </a:lnTo>
                    <a:lnTo>
                      <a:pt x="1488" y="3971"/>
                    </a:lnTo>
                    <a:lnTo>
                      <a:pt x="1498" y="3961"/>
                    </a:lnTo>
                    <a:lnTo>
                      <a:pt x="1498" y="3941"/>
                    </a:lnTo>
                    <a:lnTo>
                      <a:pt x="1498" y="3930"/>
                    </a:lnTo>
                    <a:lnTo>
                      <a:pt x="1498" y="3930"/>
                    </a:lnTo>
                    <a:lnTo>
                      <a:pt x="1508" y="3920"/>
                    </a:lnTo>
                    <a:lnTo>
                      <a:pt x="1528" y="3910"/>
                    </a:lnTo>
                    <a:lnTo>
                      <a:pt x="1528" y="3910"/>
                    </a:lnTo>
                    <a:lnTo>
                      <a:pt x="1538" y="3900"/>
                    </a:lnTo>
                    <a:lnTo>
                      <a:pt x="1528" y="3880"/>
                    </a:lnTo>
                    <a:lnTo>
                      <a:pt x="1528" y="3880"/>
                    </a:lnTo>
                    <a:lnTo>
                      <a:pt x="1538" y="3870"/>
                    </a:lnTo>
                    <a:lnTo>
                      <a:pt x="1549" y="3870"/>
                    </a:lnTo>
                    <a:lnTo>
                      <a:pt x="1549" y="3870"/>
                    </a:lnTo>
                    <a:lnTo>
                      <a:pt x="1559" y="3870"/>
                    </a:lnTo>
                    <a:lnTo>
                      <a:pt x="1569" y="3870"/>
                    </a:lnTo>
                    <a:lnTo>
                      <a:pt x="1569" y="3860"/>
                    </a:lnTo>
                    <a:lnTo>
                      <a:pt x="1579" y="3860"/>
                    </a:lnTo>
                    <a:lnTo>
                      <a:pt x="1589" y="3849"/>
                    </a:lnTo>
                    <a:lnTo>
                      <a:pt x="1589" y="3839"/>
                    </a:lnTo>
                    <a:lnTo>
                      <a:pt x="1599" y="3839"/>
                    </a:lnTo>
                    <a:lnTo>
                      <a:pt x="1599" y="3829"/>
                    </a:lnTo>
                    <a:lnTo>
                      <a:pt x="1599" y="3819"/>
                    </a:lnTo>
                    <a:lnTo>
                      <a:pt x="1589" y="3809"/>
                    </a:lnTo>
                    <a:lnTo>
                      <a:pt x="1589" y="3799"/>
                    </a:lnTo>
                    <a:lnTo>
                      <a:pt x="1579" y="3799"/>
                    </a:lnTo>
                    <a:lnTo>
                      <a:pt x="1579" y="3789"/>
                    </a:lnTo>
                    <a:lnTo>
                      <a:pt x="1589" y="3779"/>
                    </a:lnTo>
                    <a:lnTo>
                      <a:pt x="1589" y="3779"/>
                    </a:lnTo>
                    <a:lnTo>
                      <a:pt x="1609" y="3779"/>
                    </a:lnTo>
                    <a:lnTo>
                      <a:pt x="1629" y="3779"/>
                    </a:lnTo>
                    <a:lnTo>
                      <a:pt x="1629" y="3768"/>
                    </a:lnTo>
                    <a:lnTo>
                      <a:pt x="1640" y="3768"/>
                    </a:lnTo>
                    <a:lnTo>
                      <a:pt x="1650" y="3758"/>
                    </a:lnTo>
                    <a:lnTo>
                      <a:pt x="1660" y="3748"/>
                    </a:lnTo>
                    <a:lnTo>
                      <a:pt x="1680" y="3738"/>
                    </a:lnTo>
                    <a:lnTo>
                      <a:pt x="1690" y="3738"/>
                    </a:lnTo>
                    <a:lnTo>
                      <a:pt x="1690" y="3728"/>
                    </a:lnTo>
                    <a:lnTo>
                      <a:pt x="1700" y="3718"/>
                    </a:lnTo>
                    <a:lnTo>
                      <a:pt x="1710" y="3708"/>
                    </a:lnTo>
                    <a:lnTo>
                      <a:pt x="1710" y="3697"/>
                    </a:lnTo>
                    <a:lnTo>
                      <a:pt x="1721" y="3697"/>
                    </a:lnTo>
                    <a:lnTo>
                      <a:pt x="1731" y="3697"/>
                    </a:lnTo>
                    <a:lnTo>
                      <a:pt x="1741" y="3708"/>
                    </a:lnTo>
                    <a:lnTo>
                      <a:pt x="1751" y="3718"/>
                    </a:lnTo>
                    <a:lnTo>
                      <a:pt x="1751" y="3738"/>
                    </a:lnTo>
                    <a:lnTo>
                      <a:pt x="1761" y="3728"/>
                    </a:lnTo>
                    <a:lnTo>
                      <a:pt x="1761" y="3728"/>
                    </a:lnTo>
                    <a:lnTo>
                      <a:pt x="1761" y="3718"/>
                    </a:lnTo>
                    <a:lnTo>
                      <a:pt x="1771" y="3708"/>
                    </a:lnTo>
                    <a:lnTo>
                      <a:pt x="1771" y="3708"/>
                    </a:lnTo>
                    <a:lnTo>
                      <a:pt x="1781" y="3708"/>
                    </a:lnTo>
                    <a:lnTo>
                      <a:pt x="1791" y="3718"/>
                    </a:lnTo>
                    <a:lnTo>
                      <a:pt x="1832" y="3708"/>
                    </a:lnTo>
                    <a:lnTo>
                      <a:pt x="1842" y="3697"/>
                    </a:lnTo>
                    <a:lnTo>
                      <a:pt x="1842" y="3687"/>
                    </a:lnTo>
                    <a:lnTo>
                      <a:pt x="1842" y="3677"/>
                    </a:lnTo>
                    <a:lnTo>
                      <a:pt x="1842" y="3667"/>
                    </a:lnTo>
                    <a:lnTo>
                      <a:pt x="1842" y="3657"/>
                    </a:lnTo>
                    <a:lnTo>
                      <a:pt x="1842" y="3647"/>
                    </a:lnTo>
                    <a:lnTo>
                      <a:pt x="1852" y="3637"/>
                    </a:lnTo>
                    <a:lnTo>
                      <a:pt x="1862" y="3627"/>
                    </a:lnTo>
                    <a:lnTo>
                      <a:pt x="1872" y="3616"/>
                    </a:lnTo>
                    <a:lnTo>
                      <a:pt x="1872" y="3606"/>
                    </a:lnTo>
                    <a:lnTo>
                      <a:pt x="1872" y="3596"/>
                    </a:lnTo>
                    <a:lnTo>
                      <a:pt x="1872" y="3586"/>
                    </a:lnTo>
                    <a:lnTo>
                      <a:pt x="1882" y="3576"/>
                    </a:lnTo>
                    <a:lnTo>
                      <a:pt x="1893" y="3576"/>
                    </a:lnTo>
                    <a:lnTo>
                      <a:pt x="1903" y="3576"/>
                    </a:lnTo>
                    <a:lnTo>
                      <a:pt x="1933" y="3586"/>
                    </a:lnTo>
                    <a:lnTo>
                      <a:pt x="1943" y="3586"/>
                    </a:lnTo>
                    <a:lnTo>
                      <a:pt x="1943" y="3586"/>
                    </a:lnTo>
                    <a:lnTo>
                      <a:pt x="1953" y="3576"/>
                    </a:lnTo>
                    <a:lnTo>
                      <a:pt x="1953" y="3566"/>
                    </a:lnTo>
                    <a:lnTo>
                      <a:pt x="1943" y="3546"/>
                    </a:lnTo>
                    <a:lnTo>
                      <a:pt x="1943" y="3546"/>
                    </a:lnTo>
                    <a:lnTo>
                      <a:pt x="1933" y="3535"/>
                    </a:lnTo>
                    <a:lnTo>
                      <a:pt x="1943" y="3535"/>
                    </a:lnTo>
                    <a:lnTo>
                      <a:pt x="1943" y="3525"/>
                    </a:lnTo>
                    <a:lnTo>
                      <a:pt x="1953" y="3515"/>
                    </a:lnTo>
                    <a:lnTo>
                      <a:pt x="1953" y="3505"/>
                    </a:lnTo>
                    <a:lnTo>
                      <a:pt x="1963" y="3495"/>
                    </a:lnTo>
                    <a:lnTo>
                      <a:pt x="1963" y="3475"/>
                    </a:lnTo>
                    <a:lnTo>
                      <a:pt x="1963" y="3475"/>
                    </a:lnTo>
                    <a:lnTo>
                      <a:pt x="1974" y="3475"/>
                    </a:lnTo>
                    <a:lnTo>
                      <a:pt x="1974" y="3475"/>
                    </a:lnTo>
                    <a:lnTo>
                      <a:pt x="1974" y="3475"/>
                    </a:lnTo>
                    <a:lnTo>
                      <a:pt x="1974" y="3485"/>
                    </a:lnTo>
                    <a:lnTo>
                      <a:pt x="1984" y="3485"/>
                    </a:lnTo>
                    <a:lnTo>
                      <a:pt x="1984" y="3495"/>
                    </a:lnTo>
                    <a:lnTo>
                      <a:pt x="1984" y="3495"/>
                    </a:lnTo>
                    <a:lnTo>
                      <a:pt x="1984" y="3505"/>
                    </a:lnTo>
                    <a:lnTo>
                      <a:pt x="1994" y="3505"/>
                    </a:lnTo>
                    <a:lnTo>
                      <a:pt x="1994" y="3495"/>
                    </a:lnTo>
                    <a:lnTo>
                      <a:pt x="2004" y="3495"/>
                    </a:lnTo>
                    <a:lnTo>
                      <a:pt x="2014" y="3495"/>
                    </a:lnTo>
                    <a:lnTo>
                      <a:pt x="2014" y="3505"/>
                    </a:lnTo>
                    <a:lnTo>
                      <a:pt x="2014" y="3505"/>
                    </a:lnTo>
                    <a:lnTo>
                      <a:pt x="2004" y="3525"/>
                    </a:lnTo>
                    <a:lnTo>
                      <a:pt x="2004" y="3535"/>
                    </a:lnTo>
                    <a:lnTo>
                      <a:pt x="1994" y="3546"/>
                    </a:lnTo>
                    <a:lnTo>
                      <a:pt x="1994" y="3556"/>
                    </a:lnTo>
                    <a:lnTo>
                      <a:pt x="1994" y="3566"/>
                    </a:lnTo>
                    <a:lnTo>
                      <a:pt x="2014" y="3566"/>
                    </a:lnTo>
                    <a:lnTo>
                      <a:pt x="2024" y="3566"/>
                    </a:lnTo>
                    <a:lnTo>
                      <a:pt x="2024" y="3566"/>
                    </a:lnTo>
                    <a:lnTo>
                      <a:pt x="2065" y="3556"/>
                    </a:lnTo>
                    <a:lnTo>
                      <a:pt x="2075" y="3556"/>
                    </a:lnTo>
                    <a:lnTo>
                      <a:pt x="2085" y="3556"/>
                    </a:lnTo>
                    <a:lnTo>
                      <a:pt x="2095" y="3546"/>
                    </a:lnTo>
                    <a:lnTo>
                      <a:pt x="2105" y="3535"/>
                    </a:lnTo>
                    <a:lnTo>
                      <a:pt x="2115" y="3535"/>
                    </a:lnTo>
                    <a:lnTo>
                      <a:pt x="2125" y="3525"/>
                    </a:lnTo>
                    <a:lnTo>
                      <a:pt x="2135" y="3525"/>
                    </a:lnTo>
                    <a:lnTo>
                      <a:pt x="2135" y="3535"/>
                    </a:lnTo>
                    <a:lnTo>
                      <a:pt x="2135" y="3535"/>
                    </a:lnTo>
                    <a:lnTo>
                      <a:pt x="2146" y="3566"/>
                    </a:lnTo>
                    <a:lnTo>
                      <a:pt x="2146" y="3576"/>
                    </a:lnTo>
                    <a:lnTo>
                      <a:pt x="2146" y="3586"/>
                    </a:lnTo>
                    <a:lnTo>
                      <a:pt x="2135" y="3596"/>
                    </a:lnTo>
                    <a:lnTo>
                      <a:pt x="2125" y="3596"/>
                    </a:lnTo>
                    <a:lnTo>
                      <a:pt x="2105" y="3606"/>
                    </a:lnTo>
                    <a:lnTo>
                      <a:pt x="2085" y="3616"/>
                    </a:lnTo>
                    <a:lnTo>
                      <a:pt x="2075" y="3627"/>
                    </a:lnTo>
                    <a:lnTo>
                      <a:pt x="2075" y="3637"/>
                    </a:lnTo>
                    <a:lnTo>
                      <a:pt x="2075" y="3637"/>
                    </a:lnTo>
                    <a:lnTo>
                      <a:pt x="2075" y="3647"/>
                    </a:lnTo>
                    <a:lnTo>
                      <a:pt x="2085" y="3647"/>
                    </a:lnTo>
                    <a:lnTo>
                      <a:pt x="2095" y="3667"/>
                    </a:lnTo>
                    <a:lnTo>
                      <a:pt x="2115" y="3677"/>
                    </a:lnTo>
                    <a:lnTo>
                      <a:pt x="2125" y="3687"/>
                    </a:lnTo>
                    <a:lnTo>
                      <a:pt x="2135" y="3687"/>
                    </a:lnTo>
                    <a:lnTo>
                      <a:pt x="2146" y="3677"/>
                    </a:lnTo>
                    <a:lnTo>
                      <a:pt x="2156" y="3677"/>
                    </a:lnTo>
                    <a:lnTo>
                      <a:pt x="2156" y="3677"/>
                    </a:lnTo>
                    <a:lnTo>
                      <a:pt x="2166" y="3687"/>
                    </a:lnTo>
                    <a:lnTo>
                      <a:pt x="2186" y="3687"/>
                    </a:lnTo>
                    <a:lnTo>
                      <a:pt x="2216" y="3687"/>
                    </a:lnTo>
                    <a:lnTo>
                      <a:pt x="2216" y="3708"/>
                    </a:lnTo>
                    <a:lnTo>
                      <a:pt x="2216" y="3728"/>
                    </a:lnTo>
                    <a:lnTo>
                      <a:pt x="2216" y="3728"/>
                    </a:lnTo>
                    <a:lnTo>
                      <a:pt x="2227" y="3728"/>
                    </a:lnTo>
                    <a:lnTo>
                      <a:pt x="2247" y="3738"/>
                    </a:lnTo>
                    <a:lnTo>
                      <a:pt x="2257" y="3748"/>
                    </a:lnTo>
                    <a:lnTo>
                      <a:pt x="2267" y="3748"/>
                    </a:lnTo>
                    <a:lnTo>
                      <a:pt x="2267" y="3748"/>
                    </a:lnTo>
                    <a:lnTo>
                      <a:pt x="2277" y="3738"/>
                    </a:lnTo>
                    <a:lnTo>
                      <a:pt x="2277" y="3728"/>
                    </a:lnTo>
                    <a:lnTo>
                      <a:pt x="2287" y="3718"/>
                    </a:lnTo>
                    <a:lnTo>
                      <a:pt x="2307" y="3708"/>
                    </a:lnTo>
                    <a:lnTo>
                      <a:pt x="2307" y="3708"/>
                    </a:lnTo>
                    <a:lnTo>
                      <a:pt x="2318" y="3708"/>
                    </a:lnTo>
                    <a:lnTo>
                      <a:pt x="2328" y="3718"/>
                    </a:lnTo>
                    <a:lnTo>
                      <a:pt x="2338" y="3718"/>
                    </a:lnTo>
                    <a:lnTo>
                      <a:pt x="2348" y="3718"/>
                    </a:lnTo>
                    <a:lnTo>
                      <a:pt x="2358" y="3728"/>
                    </a:lnTo>
                    <a:lnTo>
                      <a:pt x="2368" y="3738"/>
                    </a:lnTo>
                    <a:lnTo>
                      <a:pt x="2378" y="3748"/>
                    </a:lnTo>
                    <a:lnTo>
                      <a:pt x="2378" y="3758"/>
                    </a:lnTo>
                    <a:lnTo>
                      <a:pt x="2378" y="3768"/>
                    </a:lnTo>
                    <a:lnTo>
                      <a:pt x="2378" y="3768"/>
                    </a:lnTo>
                    <a:lnTo>
                      <a:pt x="2378" y="3779"/>
                    </a:lnTo>
                    <a:lnTo>
                      <a:pt x="2399" y="3768"/>
                    </a:lnTo>
                    <a:lnTo>
                      <a:pt x="2409" y="3768"/>
                    </a:lnTo>
                    <a:lnTo>
                      <a:pt x="2419" y="3758"/>
                    </a:lnTo>
                    <a:lnTo>
                      <a:pt x="2419" y="3758"/>
                    </a:lnTo>
                    <a:lnTo>
                      <a:pt x="2419" y="3748"/>
                    </a:lnTo>
                    <a:lnTo>
                      <a:pt x="2419" y="3738"/>
                    </a:lnTo>
                    <a:lnTo>
                      <a:pt x="2419" y="3718"/>
                    </a:lnTo>
                    <a:lnTo>
                      <a:pt x="2419" y="3718"/>
                    </a:lnTo>
                    <a:lnTo>
                      <a:pt x="2419" y="3708"/>
                    </a:lnTo>
                    <a:lnTo>
                      <a:pt x="2429" y="3697"/>
                    </a:lnTo>
                    <a:lnTo>
                      <a:pt x="2429" y="3687"/>
                    </a:lnTo>
                    <a:lnTo>
                      <a:pt x="2439" y="3687"/>
                    </a:lnTo>
                    <a:lnTo>
                      <a:pt x="2449" y="3677"/>
                    </a:lnTo>
                    <a:lnTo>
                      <a:pt x="2469" y="3677"/>
                    </a:lnTo>
                    <a:lnTo>
                      <a:pt x="2479" y="3677"/>
                    </a:lnTo>
                    <a:lnTo>
                      <a:pt x="2479" y="3687"/>
                    </a:lnTo>
                    <a:lnTo>
                      <a:pt x="2479" y="3687"/>
                    </a:lnTo>
                    <a:lnTo>
                      <a:pt x="2479" y="3697"/>
                    </a:lnTo>
                    <a:lnTo>
                      <a:pt x="2479" y="3718"/>
                    </a:lnTo>
                    <a:lnTo>
                      <a:pt x="2490" y="3738"/>
                    </a:lnTo>
                    <a:lnTo>
                      <a:pt x="2490" y="3748"/>
                    </a:lnTo>
                    <a:lnTo>
                      <a:pt x="2490" y="3758"/>
                    </a:lnTo>
                    <a:lnTo>
                      <a:pt x="2500" y="3758"/>
                    </a:lnTo>
                    <a:lnTo>
                      <a:pt x="2510" y="3748"/>
                    </a:lnTo>
                    <a:lnTo>
                      <a:pt x="2510" y="3738"/>
                    </a:lnTo>
                    <a:lnTo>
                      <a:pt x="2510" y="3708"/>
                    </a:lnTo>
                    <a:lnTo>
                      <a:pt x="2510" y="3697"/>
                    </a:lnTo>
                    <a:lnTo>
                      <a:pt x="2510" y="3687"/>
                    </a:lnTo>
                    <a:lnTo>
                      <a:pt x="2520" y="3677"/>
                    </a:lnTo>
                    <a:lnTo>
                      <a:pt x="2530" y="3667"/>
                    </a:lnTo>
                    <a:lnTo>
                      <a:pt x="2540" y="3667"/>
                    </a:lnTo>
                    <a:lnTo>
                      <a:pt x="2550" y="3657"/>
                    </a:lnTo>
                    <a:lnTo>
                      <a:pt x="2550" y="3657"/>
                    </a:lnTo>
                    <a:lnTo>
                      <a:pt x="2560" y="3647"/>
                    </a:lnTo>
                    <a:lnTo>
                      <a:pt x="2571" y="3637"/>
                    </a:lnTo>
                    <a:lnTo>
                      <a:pt x="2591" y="3637"/>
                    </a:lnTo>
                    <a:lnTo>
                      <a:pt x="2601" y="3637"/>
                    </a:lnTo>
                    <a:lnTo>
                      <a:pt x="2611" y="3627"/>
                    </a:lnTo>
                    <a:lnTo>
                      <a:pt x="2611" y="3627"/>
                    </a:lnTo>
                    <a:lnTo>
                      <a:pt x="2611" y="3616"/>
                    </a:lnTo>
                    <a:lnTo>
                      <a:pt x="2611" y="3616"/>
                    </a:lnTo>
                    <a:lnTo>
                      <a:pt x="2611" y="3616"/>
                    </a:lnTo>
                    <a:lnTo>
                      <a:pt x="2601" y="3606"/>
                    </a:lnTo>
                    <a:lnTo>
                      <a:pt x="2601" y="3606"/>
                    </a:lnTo>
                    <a:lnTo>
                      <a:pt x="2591" y="3596"/>
                    </a:lnTo>
                    <a:lnTo>
                      <a:pt x="2581" y="3596"/>
                    </a:lnTo>
                    <a:lnTo>
                      <a:pt x="2571" y="3596"/>
                    </a:lnTo>
                    <a:lnTo>
                      <a:pt x="2571" y="3596"/>
                    </a:lnTo>
                    <a:lnTo>
                      <a:pt x="2571" y="3586"/>
                    </a:lnTo>
                    <a:lnTo>
                      <a:pt x="2571" y="3586"/>
                    </a:lnTo>
                    <a:lnTo>
                      <a:pt x="2581" y="3576"/>
                    </a:lnTo>
                    <a:lnTo>
                      <a:pt x="2591" y="3576"/>
                    </a:lnTo>
                    <a:lnTo>
                      <a:pt x="2611" y="3576"/>
                    </a:lnTo>
                    <a:lnTo>
                      <a:pt x="2621" y="3576"/>
                    </a:lnTo>
                    <a:lnTo>
                      <a:pt x="2621" y="3576"/>
                    </a:lnTo>
                    <a:lnTo>
                      <a:pt x="2631" y="3596"/>
                    </a:lnTo>
                    <a:lnTo>
                      <a:pt x="2641" y="3606"/>
                    </a:lnTo>
                    <a:lnTo>
                      <a:pt x="2641" y="3606"/>
                    </a:lnTo>
                    <a:lnTo>
                      <a:pt x="2651" y="3616"/>
                    </a:lnTo>
                    <a:lnTo>
                      <a:pt x="2662" y="3616"/>
                    </a:lnTo>
                    <a:lnTo>
                      <a:pt x="2662" y="3606"/>
                    </a:lnTo>
                    <a:lnTo>
                      <a:pt x="2662" y="3586"/>
                    </a:lnTo>
                    <a:lnTo>
                      <a:pt x="2662" y="3576"/>
                    </a:lnTo>
                    <a:lnTo>
                      <a:pt x="2651" y="3576"/>
                    </a:lnTo>
                    <a:lnTo>
                      <a:pt x="2641" y="3566"/>
                    </a:lnTo>
                    <a:lnTo>
                      <a:pt x="2631" y="3556"/>
                    </a:lnTo>
                    <a:lnTo>
                      <a:pt x="2631" y="3556"/>
                    </a:lnTo>
                    <a:lnTo>
                      <a:pt x="2621" y="3535"/>
                    </a:lnTo>
                    <a:lnTo>
                      <a:pt x="2611" y="3535"/>
                    </a:lnTo>
                    <a:lnTo>
                      <a:pt x="2601" y="3535"/>
                    </a:lnTo>
                    <a:lnTo>
                      <a:pt x="2601" y="3525"/>
                    </a:lnTo>
                    <a:lnTo>
                      <a:pt x="2591" y="3515"/>
                    </a:lnTo>
                    <a:lnTo>
                      <a:pt x="2591" y="3505"/>
                    </a:lnTo>
                    <a:lnTo>
                      <a:pt x="2601" y="3495"/>
                    </a:lnTo>
                    <a:lnTo>
                      <a:pt x="2601" y="3485"/>
                    </a:lnTo>
                    <a:lnTo>
                      <a:pt x="2601" y="3485"/>
                    </a:lnTo>
                    <a:lnTo>
                      <a:pt x="2601" y="3475"/>
                    </a:lnTo>
                    <a:lnTo>
                      <a:pt x="2591" y="3475"/>
                    </a:lnTo>
                    <a:lnTo>
                      <a:pt x="2581" y="3464"/>
                    </a:lnTo>
                    <a:lnTo>
                      <a:pt x="2571" y="3475"/>
                    </a:lnTo>
                    <a:lnTo>
                      <a:pt x="2550" y="3485"/>
                    </a:lnTo>
                    <a:lnTo>
                      <a:pt x="2540" y="3485"/>
                    </a:lnTo>
                    <a:lnTo>
                      <a:pt x="2530" y="3485"/>
                    </a:lnTo>
                    <a:lnTo>
                      <a:pt x="2530" y="3485"/>
                    </a:lnTo>
                    <a:lnTo>
                      <a:pt x="2520" y="3475"/>
                    </a:lnTo>
                    <a:lnTo>
                      <a:pt x="2510" y="3464"/>
                    </a:lnTo>
                    <a:lnTo>
                      <a:pt x="2500" y="3464"/>
                    </a:lnTo>
                    <a:lnTo>
                      <a:pt x="2500" y="3454"/>
                    </a:lnTo>
                    <a:lnTo>
                      <a:pt x="2490" y="3454"/>
                    </a:lnTo>
                    <a:lnTo>
                      <a:pt x="2490" y="3454"/>
                    </a:lnTo>
                    <a:lnTo>
                      <a:pt x="2479" y="3454"/>
                    </a:lnTo>
                    <a:lnTo>
                      <a:pt x="2479" y="3464"/>
                    </a:lnTo>
                    <a:lnTo>
                      <a:pt x="2479" y="3475"/>
                    </a:lnTo>
                    <a:lnTo>
                      <a:pt x="2469" y="3475"/>
                    </a:lnTo>
                    <a:lnTo>
                      <a:pt x="2459" y="3485"/>
                    </a:lnTo>
                    <a:lnTo>
                      <a:pt x="2449" y="3495"/>
                    </a:lnTo>
                    <a:lnTo>
                      <a:pt x="2439" y="3495"/>
                    </a:lnTo>
                    <a:lnTo>
                      <a:pt x="2439" y="3495"/>
                    </a:lnTo>
                    <a:lnTo>
                      <a:pt x="2439" y="3485"/>
                    </a:lnTo>
                    <a:lnTo>
                      <a:pt x="2439" y="3464"/>
                    </a:lnTo>
                    <a:lnTo>
                      <a:pt x="2429" y="3444"/>
                    </a:lnTo>
                    <a:lnTo>
                      <a:pt x="2429" y="3434"/>
                    </a:lnTo>
                    <a:lnTo>
                      <a:pt x="2419" y="3424"/>
                    </a:lnTo>
                    <a:lnTo>
                      <a:pt x="2419" y="3414"/>
                    </a:lnTo>
                    <a:lnTo>
                      <a:pt x="2419" y="3414"/>
                    </a:lnTo>
                    <a:lnTo>
                      <a:pt x="2419" y="3404"/>
                    </a:lnTo>
                    <a:lnTo>
                      <a:pt x="2409" y="3394"/>
                    </a:lnTo>
                    <a:lnTo>
                      <a:pt x="2399" y="3394"/>
                    </a:lnTo>
                    <a:lnTo>
                      <a:pt x="2399" y="3383"/>
                    </a:lnTo>
                    <a:lnTo>
                      <a:pt x="2399" y="3363"/>
                    </a:lnTo>
                    <a:lnTo>
                      <a:pt x="2409" y="3353"/>
                    </a:lnTo>
                    <a:lnTo>
                      <a:pt x="2419" y="3333"/>
                    </a:lnTo>
                    <a:lnTo>
                      <a:pt x="2419" y="3323"/>
                    </a:lnTo>
                    <a:lnTo>
                      <a:pt x="2419" y="3323"/>
                    </a:lnTo>
                    <a:lnTo>
                      <a:pt x="2429" y="3313"/>
                    </a:lnTo>
                    <a:lnTo>
                      <a:pt x="2429" y="3313"/>
                    </a:lnTo>
                    <a:lnTo>
                      <a:pt x="2439" y="3302"/>
                    </a:lnTo>
                    <a:lnTo>
                      <a:pt x="2439" y="3292"/>
                    </a:lnTo>
                    <a:lnTo>
                      <a:pt x="2439" y="3282"/>
                    </a:lnTo>
                    <a:lnTo>
                      <a:pt x="2429" y="3282"/>
                    </a:lnTo>
                    <a:lnTo>
                      <a:pt x="2429" y="3282"/>
                    </a:lnTo>
                    <a:lnTo>
                      <a:pt x="2419" y="3292"/>
                    </a:lnTo>
                    <a:lnTo>
                      <a:pt x="2409" y="3292"/>
                    </a:lnTo>
                    <a:lnTo>
                      <a:pt x="2399" y="3292"/>
                    </a:lnTo>
                    <a:lnTo>
                      <a:pt x="2399" y="3282"/>
                    </a:lnTo>
                    <a:lnTo>
                      <a:pt x="2399" y="3272"/>
                    </a:lnTo>
                    <a:lnTo>
                      <a:pt x="2388" y="3262"/>
                    </a:lnTo>
                    <a:lnTo>
                      <a:pt x="2378" y="3252"/>
                    </a:lnTo>
                    <a:lnTo>
                      <a:pt x="2368" y="3242"/>
                    </a:lnTo>
                    <a:lnTo>
                      <a:pt x="2358" y="3242"/>
                    </a:lnTo>
                    <a:lnTo>
                      <a:pt x="2358" y="3231"/>
                    </a:lnTo>
                    <a:lnTo>
                      <a:pt x="2348" y="3231"/>
                    </a:lnTo>
                    <a:lnTo>
                      <a:pt x="2348" y="3221"/>
                    </a:lnTo>
                    <a:lnTo>
                      <a:pt x="2348" y="3211"/>
                    </a:lnTo>
                    <a:lnTo>
                      <a:pt x="2338" y="3211"/>
                    </a:lnTo>
                    <a:lnTo>
                      <a:pt x="2338" y="3201"/>
                    </a:lnTo>
                    <a:lnTo>
                      <a:pt x="2328" y="3211"/>
                    </a:lnTo>
                    <a:lnTo>
                      <a:pt x="2318" y="3211"/>
                    </a:lnTo>
                    <a:lnTo>
                      <a:pt x="2318" y="3221"/>
                    </a:lnTo>
                    <a:lnTo>
                      <a:pt x="2318" y="3221"/>
                    </a:lnTo>
                    <a:lnTo>
                      <a:pt x="2307" y="3231"/>
                    </a:lnTo>
                    <a:lnTo>
                      <a:pt x="2297" y="3221"/>
                    </a:lnTo>
                    <a:lnTo>
                      <a:pt x="2297" y="3221"/>
                    </a:lnTo>
                    <a:lnTo>
                      <a:pt x="2297" y="3211"/>
                    </a:lnTo>
                    <a:lnTo>
                      <a:pt x="2287" y="3201"/>
                    </a:lnTo>
                    <a:lnTo>
                      <a:pt x="2287" y="3191"/>
                    </a:lnTo>
                    <a:lnTo>
                      <a:pt x="2287" y="3161"/>
                    </a:lnTo>
                    <a:lnTo>
                      <a:pt x="2287" y="3150"/>
                    </a:lnTo>
                    <a:lnTo>
                      <a:pt x="2287" y="3140"/>
                    </a:lnTo>
                    <a:lnTo>
                      <a:pt x="2297" y="3140"/>
                    </a:lnTo>
                    <a:lnTo>
                      <a:pt x="2297" y="3140"/>
                    </a:lnTo>
                    <a:lnTo>
                      <a:pt x="2318" y="3130"/>
                    </a:lnTo>
                    <a:lnTo>
                      <a:pt x="2328" y="3120"/>
                    </a:lnTo>
                    <a:lnTo>
                      <a:pt x="2338" y="3110"/>
                    </a:lnTo>
                    <a:lnTo>
                      <a:pt x="2348" y="3110"/>
                    </a:lnTo>
                    <a:lnTo>
                      <a:pt x="2348" y="3100"/>
                    </a:lnTo>
                    <a:lnTo>
                      <a:pt x="2348" y="3090"/>
                    </a:lnTo>
                    <a:lnTo>
                      <a:pt x="2348" y="3080"/>
                    </a:lnTo>
                    <a:lnTo>
                      <a:pt x="2348" y="3069"/>
                    </a:lnTo>
                    <a:lnTo>
                      <a:pt x="2338" y="3059"/>
                    </a:lnTo>
                    <a:lnTo>
                      <a:pt x="2338" y="3059"/>
                    </a:lnTo>
                    <a:lnTo>
                      <a:pt x="2328" y="3049"/>
                    </a:lnTo>
                    <a:lnTo>
                      <a:pt x="2328" y="3039"/>
                    </a:lnTo>
                    <a:lnTo>
                      <a:pt x="2338" y="3029"/>
                    </a:lnTo>
                    <a:lnTo>
                      <a:pt x="2328" y="3019"/>
                    </a:lnTo>
                    <a:lnTo>
                      <a:pt x="2328" y="3019"/>
                    </a:lnTo>
                    <a:lnTo>
                      <a:pt x="2318" y="3019"/>
                    </a:lnTo>
                    <a:lnTo>
                      <a:pt x="2318" y="3009"/>
                    </a:lnTo>
                    <a:lnTo>
                      <a:pt x="2307" y="3009"/>
                    </a:lnTo>
                    <a:lnTo>
                      <a:pt x="2307" y="2999"/>
                    </a:lnTo>
                    <a:lnTo>
                      <a:pt x="2318" y="2999"/>
                    </a:lnTo>
                    <a:lnTo>
                      <a:pt x="2307" y="2988"/>
                    </a:lnTo>
                    <a:lnTo>
                      <a:pt x="2307" y="2978"/>
                    </a:lnTo>
                    <a:lnTo>
                      <a:pt x="2307" y="2968"/>
                    </a:lnTo>
                    <a:lnTo>
                      <a:pt x="2318" y="2968"/>
                    </a:lnTo>
                    <a:lnTo>
                      <a:pt x="2318" y="2958"/>
                    </a:lnTo>
                    <a:lnTo>
                      <a:pt x="2318" y="2958"/>
                    </a:lnTo>
                    <a:lnTo>
                      <a:pt x="2328" y="2948"/>
                    </a:lnTo>
                    <a:lnTo>
                      <a:pt x="2328" y="2938"/>
                    </a:lnTo>
                    <a:lnTo>
                      <a:pt x="2328" y="2917"/>
                    </a:lnTo>
                    <a:lnTo>
                      <a:pt x="2318" y="2928"/>
                    </a:lnTo>
                    <a:lnTo>
                      <a:pt x="2307" y="2928"/>
                    </a:lnTo>
                    <a:lnTo>
                      <a:pt x="2287" y="2928"/>
                    </a:lnTo>
                    <a:lnTo>
                      <a:pt x="2267" y="2928"/>
                    </a:lnTo>
                    <a:lnTo>
                      <a:pt x="2267" y="2907"/>
                    </a:lnTo>
                    <a:lnTo>
                      <a:pt x="2267" y="2907"/>
                    </a:lnTo>
                    <a:lnTo>
                      <a:pt x="2267" y="2907"/>
                    </a:lnTo>
                    <a:lnTo>
                      <a:pt x="2257" y="2907"/>
                    </a:lnTo>
                    <a:lnTo>
                      <a:pt x="2257" y="2907"/>
                    </a:lnTo>
                    <a:lnTo>
                      <a:pt x="2257" y="2917"/>
                    </a:lnTo>
                    <a:lnTo>
                      <a:pt x="2247" y="2928"/>
                    </a:lnTo>
                    <a:lnTo>
                      <a:pt x="2247" y="2928"/>
                    </a:lnTo>
                    <a:lnTo>
                      <a:pt x="2227" y="2948"/>
                    </a:lnTo>
                    <a:lnTo>
                      <a:pt x="2216" y="2958"/>
                    </a:lnTo>
                    <a:lnTo>
                      <a:pt x="2206" y="2968"/>
                    </a:lnTo>
                    <a:lnTo>
                      <a:pt x="2196" y="2968"/>
                    </a:lnTo>
                    <a:lnTo>
                      <a:pt x="2176" y="2978"/>
                    </a:lnTo>
                    <a:lnTo>
                      <a:pt x="2166" y="2978"/>
                    </a:lnTo>
                    <a:lnTo>
                      <a:pt x="2146" y="2988"/>
                    </a:lnTo>
                    <a:lnTo>
                      <a:pt x="2135" y="2988"/>
                    </a:lnTo>
                    <a:lnTo>
                      <a:pt x="2125" y="2988"/>
                    </a:lnTo>
                    <a:lnTo>
                      <a:pt x="2115" y="2988"/>
                    </a:lnTo>
                    <a:lnTo>
                      <a:pt x="2115" y="2988"/>
                    </a:lnTo>
                    <a:lnTo>
                      <a:pt x="2105" y="2988"/>
                    </a:lnTo>
                    <a:lnTo>
                      <a:pt x="2105" y="2988"/>
                    </a:lnTo>
                    <a:lnTo>
                      <a:pt x="2095" y="2988"/>
                    </a:lnTo>
                    <a:lnTo>
                      <a:pt x="2095" y="2988"/>
                    </a:lnTo>
                    <a:lnTo>
                      <a:pt x="2085" y="2988"/>
                    </a:lnTo>
                    <a:lnTo>
                      <a:pt x="2085" y="2999"/>
                    </a:lnTo>
                    <a:lnTo>
                      <a:pt x="2095" y="3009"/>
                    </a:lnTo>
                    <a:lnTo>
                      <a:pt x="2105" y="3029"/>
                    </a:lnTo>
                    <a:lnTo>
                      <a:pt x="2115" y="3039"/>
                    </a:lnTo>
                    <a:lnTo>
                      <a:pt x="2125" y="3059"/>
                    </a:lnTo>
                    <a:lnTo>
                      <a:pt x="2135" y="3069"/>
                    </a:lnTo>
                    <a:lnTo>
                      <a:pt x="2135" y="3080"/>
                    </a:lnTo>
                    <a:lnTo>
                      <a:pt x="2146" y="3080"/>
                    </a:lnTo>
                    <a:lnTo>
                      <a:pt x="2146" y="3090"/>
                    </a:lnTo>
                    <a:lnTo>
                      <a:pt x="2146" y="3090"/>
                    </a:lnTo>
                    <a:lnTo>
                      <a:pt x="2146" y="3110"/>
                    </a:lnTo>
                    <a:lnTo>
                      <a:pt x="2146" y="3120"/>
                    </a:lnTo>
                    <a:lnTo>
                      <a:pt x="2146" y="3120"/>
                    </a:lnTo>
                    <a:lnTo>
                      <a:pt x="2135" y="3120"/>
                    </a:lnTo>
                    <a:lnTo>
                      <a:pt x="2115" y="3120"/>
                    </a:lnTo>
                    <a:lnTo>
                      <a:pt x="2105" y="3110"/>
                    </a:lnTo>
                    <a:lnTo>
                      <a:pt x="2095" y="3110"/>
                    </a:lnTo>
                    <a:lnTo>
                      <a:pt x="2085" y="3100"/>
                    </a:lnTo>
                    <a:lnTo>
                      <a:pt x="2085" y="3100"/>
                    </a:lnTo>
                    <a:lnTo>
                      <a:pt x="2065" y="3110"/>
                    </a:lnTo>
                    <a:lnTo>
                      <a:pt x="2054" y="3110"/>
                    </a:lnTo>
                    <a:lnTo>
                      <a:pt x="2044" y="3110"/>
                    </a:lnTo>
                    <a:lnTo>
                      <a:pt x="2044" y="3110"/>
                    </a:lnTo>
                    <a:lnTo>
                      <a:pt x="2044" y="3100"/>
                    </a:lnTo>
                    <a:lnTo>
                      <a:pt x="2044" y="3090"/>
                    </a:lnTo>
                    <a:lnTo>
                      <a:pt x="2034" y="3090"/>
                    </a:lnTo>
                    <a:lnTo>
                      <a:pt x="2034" y="3080"/>
                    </a:lnTo>
                    <a:lnTo>
                      <a:pt x="2024" y="3080"/>
                    </a:lnTo>
                    <a:lnTo>
                      <a:pt x="2004" y="3080"/>
                    </a:lnTo>
                    <a:lnTo>
                      <a:pt x="2004" y="3080"/>
                    </a:lnTo>
                    <a:lnTo>
                      <a:pt x="1994" y="3069"/>
                    </a:lnTo>
                    <a:lnTo>
                      <a:pt x="1984" y="3059"/>
                    </a:lnTo>
                    <a:lnTo>
                      <a:pt x="1974" y="3059"/>
                    </a:lnTo>
                    <a:lnTo>
                      <a:pt x="1963" y="3069"/>
                    </a:lnTo>
                    <a:lnTo>
                      <a:pt x="1963" y="3080"/>
                    </a:lnTo>
                    <a:lnTo>
                      <a:pt x="1963" y="3080"/>
                    </a:lnTo>
                    <a:lnTo>
                      <a:pt x="1953" y="3090"/>
                    </a:lnTo>
                    <a:lnTo>
                      <a:pt x="1943" y="3100"/>
                    </a:lnTo>
                    <a:lnTo>
                      <a:pt x="1933" y="3110"/>
                    </a:lnTo>
                    <a:lnTo>
                      <a:pt x="1923" y="3110"/>
                    </a:lnTo>
                    <a:lnTo>
                      <a:pt x="1923" y="3100"/>
                    </a:lnTo>
                    <a:lnTo>
                      <a:pt x="1903" y="3090"/>
                    </a:lnTo>
                    <a:lnTo>
                      <a:pt x="1903" y="3090"/>
                    </a:lnTo>
                    <a:lnTo>
                      <a:pt x="1903" y="3080"/>
                    </a:lnTo>
                    <a:lnTo>
                      <a:pt x="1893" y="3069"/>
                    </a:lnTo>
                    <a:lnTo>
                      <a:pt x="1893" y="3059"/>
                    </a:lnTo>
                    <a:lnTo>
                      <a:pt x="1893" y="3049"/>
                    </a:lnTo>
                    <a:lnTo>
                      <a:pt x="1893" y="3039"/>
                    </a:lnTo>
                    <a:lnTo>
                      <a:pt x="1893" y="3029"/>
                    </a:lnTo>
                    <a:lnTo>
                      <a:pt x="1903" y="3019"/>
                    </a:lnTo>
                    <a:lnTo>
                      <a:pt x="1903" y="2999"/>
                    </a:lnTo>
                    <a:lnTo>
                      <a:pt x="1903" y="2988"/>
                    </a:lnTo>
                    <a:lnTo>
                      <a:pt x="1903" y="2988"/>
                    </a:lnTo>
                    <a:lnTo>
                      <a:pt x="1903" y="2978"/>
                    </a:lnTo>
                    <a:lnTo>
                      <a:pt x="1893" y="2978"/>
                    </a:lnTo>
                    <a:lnTo>
                      <a:pt x="1893" y="2988"/>
                    </a:lnTo>
                    <a:lnTo>
                      <a:pt x="1893" y="2999"/>
                    </a:lnTo>
                    <a:lnTo>
                      <a:pt x="1882" y="3009"/>
                    </a:lnTo>
                    <a:lnTo>
                      <a:pt x="1872" y="3009"/>
                    </a:lnTo>
                    <a:lnTo>
                      <a:pt x="1872" y="3019"/>
                    </a:lnTo>
                    <a:lnTo>
                      <a:pt x="1862" y="3029"/>
                    </a:lnTo>
                    <a:lnTo>
                      <a:pt x="1862" y="3039"/>
                    </a:lnTo>
                    <a:lnTo>
                      <a:pt x="1862" y="3049"/>
                    </a:lnTo>
                    <a:lnTo>
                      <a:pt x="1862" y="3049"/>
                    </a:lnTo>
                    <a:lnTo>
                      <a:pt x="1852" y="3049"/>
                    </a:lnTo>
                    <a:lnTo>
                      <a:pt x="1842" y="3049"/>
                    </a:lnTo>
                    <a:lnTo>
                      <a:pt x="1832" y="3049"/>
                    </a:lnTo>
                    <a:lnTo>
                      <a:pt x="1832" y="3039"/>
                    </a:lnTo>
                    <a:lnTo>
                      <a:pt x="1822" y="3029"/>
                    </a:lnTo>
                    <a:lnTo>
                      <a:pt x="1822" y="3029"/>
                    </a:lnTo>
                    <a:lnTo>
                      <a:pt x="1822" y="3039"/>
                    </a:lnTo>
                    <a:lnTo>
                      <a:pt x="1822" y="3059"/>
                    </a:lnTo>
                    <a:lnTo>
                      <a:pt x="1822" y="3069"/>
                    </a:lnTo>
                    <a:lnTo>
                      <a:pt x="1812" y="3080"/>
                    </a:lnTo>
                    <a:lnTo>
                      <a:pt x="1812" y="3090"/>
                    </a:lnTo>
                    <a:lnTo>
                      <a:pt x="1802" y="3090"/>
                    </a:lnTo>
                    <a:lnTo>
                      <a:pt x="1791" y="3090"/>
                    </a:lnTo>
                    <a:lnTo>
                      <a:pt x="1791" y="3090"/>
                    </a:lnTo>
                    <a:lnTo>
                      <a:pt x="1781" y="3069"/>
                    </a:lnTo>
                    <a:lnTo>
                      <a:pt x="1781" y="3059"/>
                    </a:lnTo>
                    <a:lnTo>
                      <a:pt x="1781" y="3049"/>
                    </a:lnTo>
                    <a:lnTo>
                      <a:pt x="1781" y="3039"/>
                    </a:lnTo>
                    <a:lnTo>
                      <a:pt x="1781" y="3039"/>
                    </a:lnTo>
                    <a:lnTo>
                      <a:pt x="1771" y="3039"/>
                    </a:lnTo>
                    <a:lnTo>
                      <a:pt x="1761" y="3039"/>
                    </a:lnTo>
                    <a:lnTo>
                      <a:pt x="1751" y="3039"/>
                    </a:lnTo>
                    <a:lnTo>
                      <a:pt x="1731" y="3029"/>
                    </a:lnTo>
                    <a:lnTo>
                      <a:pt x="1721" y="3029"/>
                    </a:lnTo>
                    <a:lnTo>
                      <a:pt x="1721" y="3019"/>
                    </a:lnTo>
                    <a:lnTo>
                      <a:pt x="1710" y="3019"/>
                    </a:lnTo>
                    <a:lnTo>
                      <a:pt x="1700" y="3019"/>
                    </a:lnTo>
                    <a:lnTo>
                      <a:pt x="1700" y="3019"/>
                    </a:lnTo>
                    <a:lnTo>
                      <a:pt x="1690" y="3029"/>
                    </a:lnTo>
                    <a:lnTo>
                      <a:pt x="1680" y="3039"/>
                    </a:lnTo>
                    <a:lnTo>
                      <a:pt x="1670" y="3049"/>
                    </a:lnTo>
                    <a:lnTo>
                      <a:pt x="1670" y="3049"/>
                    </a:lnTo>
                    <a:lnTo>
                      <a:pt x="1660" y="3049"/>
                    </a:lnTo>
                    <a:lnTo>
                      <a:pt x="1650" y="3049"/>
                    </a:lnTo>
                    <a:lnTo>
                      <a:pt x="1640" y="3059"/>
                    </a:lnTo>
                    <a:lnTo>
                      <a:pt x="1619" y="3059"/>
                    </a:lnTo>
                    <a:lnTo>
                      <a:pt x="1619" y="3069"/>
                    </a:lnTo>
                    <a:lnTo>
                      <a:pt x="1609" y="3059"/>
                    </a:lnTo>
                    <a:lnTo>
                      <a:pt x="1609" y="3059"/>
                    </a:lnTo>
                    <a:lnTo>
                      <a:pt x="1609" y="3049"/>
                    </a:lnTo>
                    <a:lnTo>
                      <a:pt x="1599" y="3049"/>
                    </a:lnTo>
                    <a:lnTo>
                      <a:pt x="1589" y="3049"/>
                    </a:lnTo>
                    <a:lnTo>
                      <a:pt x="1589" y="3049"/>
                    </a:lnTo>
                    <a:lnTo>
                      <a:pt x="1579" y="3049"/>
                    </a:lnTo>
                    <a:lnTo>
                      <a:pt x="1579" y="3059"/>
                    </a:lnTo>
                    <a:lnTo>
                      <a:pt x="1559" y="3069"/>
                    </a:lnTo>
                    <a:lnTo>
                      <a:pt x="1559" y="3069"/>
                    </a:lnTo>
                    <a:lnTo>
                      <a:pt x="1549" y="3069"/>
                    </a:lnTo>
                    <a:lnTo>
                      <a:pt x="1538" y="3069"/>
                    </a:lnTo>
                    <a:lnTo>
                      <a:pt x="1538" y="3059"/>
                    </a:lnTo>
                    <a:lnTo>
                      <a:pt x="1538" y="3059"/>
                    </a:lnTo>
                    <a:lnTo>
                      <a:pt x="1528" y="3049"/>
                    </a:lnTo>
                    <a:lnTo>
                      <a:pt x="1528" y="3049"/>
                    </a:lnTo>
                    <a:lnTo>
                      <a:pt x="1518" y="3039"/>
                    </a:lnTo>
                    <a:lnTo>
                      <a:pt x="1508" y="3019"/>
                    </a:lnTo>
                    <a:lnTo>
                      <a:pt x="1508" y="3019"/>
                    </a:lnTo>
                    <a:lnTo>
                      <a:pt x="1498" y="3009"/>
                    </a:lnTo>
                    <a:lnTo>
                      <a:pt x="1488" y="3009"/>
                    </a:lnTo>
                    <a:lnTo>
                      <a:pt x="1488" y="3009"/>
                    </a:lnTo>
                    <a:lnTo>
                      <a:pt x="1488" y="3009"/>
                    </a:lnTo>
                    <a:lnTo>
                      <a:pt x="1488" y="2999"/>
                    </a:lnTo>
                    <a:lnTo>
                      <a:pt x="1488" y="2988"/>
                    </a:lnTo>
                    <a:lnTo>
                      <a:pt x="1488" y="2978"/>
                    </a:lnTo>
                    <a:lnTo>
                      <a:pt x="1478" y="2968"/>
                    </a:lnTo>
                    <a:lnTo>
                      <a:pt x="1468" y="2958"/>
                    </a:lnTo>
                    <a:lnTo>
                      <a:pt x="1468" y="2948"/>
                    </a:lnTo>
                    <a:lnTo>
                      <a:pt x="1468" y="2948"/>
                    </a:lnTo>
                    <a:lnTo>
                      <a:pt x="1468" y="2938"/>
                    </a:lnTo>
                    <a:lnTo>
                      <a:pt x="1468" y="2928"/>
                    </a:lnTo>
                    <a:lnTo>
                      <a:pt x="1468" y="2928"/>
                    </a:lnTo>
                    <a:lnTo>
                      <a:pt x="1457" y="2917"/>
                    </a:lnTo>
                    <a:lnTo>
                      <a:pt x="1457" y="2907"/>
                    </a:lnTo>
                    <a:lnTo>
                      <a:pt x="1447" y="2897"/>
                    </a:lnTo>
                    <a:lnTo>
                      <a:pt x="1447" y="2897"/>
                    </a:lnTo>
                    <a:lnTo>
                      <a:pt x="1447" y="2887"/>
                    </a:lnTo>
                    <a:lnTo>
                      <a:pt x="1437" y="2877"/>
                    </a:lnTo>
                    <a:lnTo>
                      <a:pt x="1427" y="2867"/>
                    </a:lnTo>
                    <a:lnTo>
                      <a:pt x="1427" y="2867"/>
                    </a:lnTo>
                    <a:lnTo>
                      <a:pt x="1427" y="2857"/>
                    </a:lnTo>
                    <a:lnTo>
                      <a:pt x="1417" y="2857"/>
                    </a:lnTo>
                    <a:lnTo>
                      <a:pt x="1407" y="2857"/>
                    </a:lnTo>
                    <a:lnTo>
                      <a:pt x="1407" y="2836"/>
                    </a:lnTo>
                    <a:lnTo>
                      <a:pt x="1397" y="2826"/>
                    </a:lnTo>
                    <a:lnTo>
                      <a:pt x="1397" y="2816"/>
                    </a:lnTo>
                    <a:lnTo>
                      <a:pt x="1356" y="2796"/>
                    </a:lnTo>
                    <a:lnTo>
                      <a:pt x="1356" y="2796"/>
                    </a:lnTo>
                    <a:lnTo>
                      <a:pt x="1346" y="2786"/>
                    </a:lnTo>
                    <a:lnTo>
                      <a:pt x="1346" y="2786"/>
                    </a:lnTo>
                    <a:lnTo>
                      <a:pt x="1336" y="2776"/>
                    </a:lnTo>
                    <a:lnTo>
                      <a:pt x="1316" y="2766"/>
                    </a:lnTo>
                    <a:lnTo>
                      <a:pt x="1306" y="2755"/>
                    </a:lnTo>
                    <a:lnTo>
                      <a:pt x="1306" y="2745"/>
                    </a:lnTo>
                    <a:lnTo>
                      <a:pt x="1285" y="2735"/>
                    </a:lnTo>
                    <a:lnTo>
                      <a:pt x="1275" y="2735"/>
                    </a:lnTo>
                    <a:lnTo>
                      <a:pt x="1265" y="2725"/>
                    </a:lnTo>
                    <a:lnTo>
                      <a:pt x="1245" y="2715"/>
                    </a:lnTo>
                    <a:lnTo>
                      <a:pt x="1245" y="2715"/>
                    </a:lnTo>
                    <a:lnTo>
                      <a:pt x="1235" y="2705"/>
                    </a:lnTo>
                    <a:lnTo>
                      <a:pt x="1225" y="2705"/>
                    </a:lnTo>
                    <a:lnTo>
                      <a:pt x="1215" y="2715"/>
                    </a:lnTo>
                    <a:lnTo>
                      <a:pt x="1205" y="2725"/>
                    </a:lnTo>
                    <a:lnTo>
                      <a:pt x="1194" y="2725"/>
                    </a:lnTo>
                    <a:lnTo>
                      <a:pt x="1184" y="2735"/>
                    </a:lnTo>
                    <a:lnTo>
                      <a:pt x="1184" y="2735"/>
                    </a:lnTo>
                    <a:lnTo>
                      <a:pt x="1174" y="2725"/>
                    </a:lnTo>
                    <a:lnTo>
                      <a:pt x="1174" y="2725"/>
                    </a:lnTo>
                    <a:lnTo>
                      <a:pt x="1164" y="2715"/>
                    </a:lnTo>
                    <a:lnTo>
                      <a:pt x="1164" y="2715"/>
                    </a:lnTo>
                    <a:lnTo>
                      <a:pt x="1154" y="2705"/>
                    </a:lnTo>
                    <a:lnTo>
                      <a:pt x="1144" y="2705"/>
                    </a:lnTo>
                    <a:lnTo>
                      <a:pt x="1134" y="2705"/>
                    </a:lnTo>
                    <a:lnTo>
                      <a:pt x="1124" y="2695"/>
                    </a:lnTo>
                    <a:lnTo>
                      <a:pt x="1124" y="2695"/>
                    </a:lnTo>
                    <a:lnTo>
                      <a:pt x="1103" y="2684"/>
                    </a:lnTo>
                    <a:lnTo>
                      <a:pt x="1093" y="2674"/>
                    </a:lnTo>
                    <a:lnTo>
                      <a:pt x="1093" y="2674"/>
                    </a:lnTo>
                    <a:lnTo>
                      <a:pt x="1093" y="2674"/>
                    </a:lnTo>
                    <a:lnTo>
                      <a:pt x="1083" y="2674"/>
                    </a:lnTo>
                    <a:lnTo>
                      <a:pt x="1073" y="2674"/>
                    </a:lnTo>
                    <a:lnTo>
                      <a:pt x="1053" y="2674"/>
                    </a:lnTo>
                    <a:lnTo>
                      <a:pt x="1043" y="2674"/>
                    </a:lnTo>
                    <a:lnTo>
                      <a:pt x="1043" y="2674"/>
                    </a:lnTo>
                    <a:lnTo>
                      <a:pt x="1032" y="2664"/>
                    </a:lnTo>
                    <a:lnTo>
                      <a:pt x="1022" y="2644"/>
                    </a:lnTo>
                    <a:lnTo>
                      <a:pt x="1002" y="2614"/>
                    </a:lnTo>
                    <a:lnTo>
                      <a:pt x="992" y="2573"/>
                    </a:lnTo>
                    <a:lnTo>
                      <a:pt x="982" y="2573"/>
                    </a:lnTo>
                    <a:lnTo>
                      <a:pt x="982" y="2563"/>
                    </a:lnTo>
                    <a:lnTo>
                      <a:pt x="972" y="2563"/>
                    </a:lnTo>
                    <a:lnTo>
                      <a:pt x="962" y="2563"/>
                    </a:lnTo>
                    <a:lnTo>
                      <a:pt x="962" y="2553"/>
                    </a:lnTo>
                    <a:lnTo>
                      <a:pt x="962" y="2543"/>
                    </a:lnTo>
                    <a:lnTo>
                      <a:pt x="952" y="2543"/>
                    </a:lnTo>
                    <a:lnTo>
                      <a:pt x="941" y="2533"/>
                    </a:lnTo>
                    <a:lnTo>
                      <a:pt x="931" y="2533"/>
                    </a:lnTo>
                    <a:lnTo>
                      <a:pt x="911" y="2533"/>
                    </a:lnTo>
                    <a:lnTo>
                      <a:pt x="901" y="2533"/>
                    </a:lnTo>
                    <a:lnTo>
                      <a:pt x="881" y="2522"/>
                    </a:lnTo>
                    <a:lnTo>
                      <a:pt x="871" y="2512"/>
                    </a:lnTo>
                    <a:lnTo>
                      <a:pt x="871" y="2512"/>
                    </a:lnTo>
                    <a:lnTo>
                      <a:pt x="860" y="2492"/>
                    </a:lnTo>
                    <a:lnTo>
                      <a:pt x="860" y="2482"/>
                    </a:lnTo>
                    <a:lnTo>
                      <a:pt x="860" y="2472"/>
                    </a:lnTo>
                    <a:lnTo>
                      <a:pt x="840" y="2451"/>
                    </a:lnTo>
                    <a:lnTo>
                      <a:pt x="840" y="2441"/>
                    </a:lnTo>
                    <a:lnTo>
                      <a:pt x="840" y="2431"/>
                    </a:lnTo>
                    <a:lnTo>
                      <a:pt x="840" y="2431"/>
                    </a:lnTo>
                    <a:lnTo>
                      <a:pt x="830" y="2421"/>
                    </a:lnTo>
                    <a:lnTo>
                      <a:pt x="820" y="2421"/>
                    </a:lnTo>
                    <a:lnTo>
                      <a:pt x="810" y="2421"/>
                    </a:lnTo>
                    <a:lnTo>
                      <a:pt x="810" y="2421"/>
                    </a:lnTo>
                    <a:lnTo>
                      <a:pt x="800" y="2411"/>
                    </a:lnTo>
                    <a:lnTo>
                      <a:pt x="800" y="2411"/>
                    </a:lnTo>
                    <a:lnTo>
                      <a:pt x="790" y="2381"/>
                    </a:lnTo>
                    <a:lnTo>
                      <a:pt x="780" y="2370"/>
                    </a:lnTo>
                    <a:lnTo>
                      <a:pt x="780" y="2360"/>
                    </a:lnTo>
                    <a:lnTo>
                      <a:pt x="780" y="2350"/>
                    </a:lnTo>
                    <a:lnTo>
                      <a:pt x="780" y="2330"/>
                    </a:lnTo>
                    <a:lnTo>
                      <a:pt x="769" y="2320"/>
                    </a:lnTo>
                    <a:lnTo>
                      <a:pt x="769" y="2310"/>
                    </a:lnTo>
                    <a:lnTo>
                      <a:pt x="759" y="2300"/>
                    </a:lnTo>
                    <a:lnTo>
                      <a:pt x="749" y="2300"/>
                    </a:lnTo>
                    <a:lnTo>
                      <a:pt x="739" y="2289"/>
                    </a:lnTo>
                    <a:lnTo>
                      <a:pt x="739" y="2279"/>
                    </a:lnTo>
                    <a:lnTo>
                      <a:pt x="729" y="2259"/>
                    </a:lnTo>
                    <a:lnTo>
                      <a:pt x="729" y="2249"/>
                    </a:lnTo>
                    <a:lnTo>
                      <a:pt x="709" y="2229"/>
                    </a:lnTo>
                    <a:lnTo>
                      <a:pt x="688" y="2208"/>
                    </a:lnTo>
                    <a:lnTo>
                      <a:pt x="688" y="2198"/>
                    </a:lnTo>
                    <a:lnTo>
                      <a:pt x="688" y="2178"/>
                    </a:lnTo>
                    <a:lnTo>
                      <a:pt x="668" y="2168"/>
                    </a:lnTo>
                    <a:lnTo>
                      <a:pt x="658" y="2148"/>
                    </a:lnTo>
                    <a:lnTo>
                      <a:pt x="638" y="2148"/>
                    </a:lnTo>
                    <a:lnTo>
                      <a:pt x="628" y="2137"/>
                    </a:lnTo>
                    <a:lnTo>
                      <a:pt x="618" y="2127"/>
                    </a:lnTo>
                    <a:lnTo>
                      <a:pt x="607" y="2097"/>
                    </a:lnTo>
                    <a:lnTo>
                      <a:pt x="597" y="2087"/>
                    </a:lnTo>
                    <a:lnTo>
                      <a:pt x="587" y="2067"/>
                    </a:lnTo>
                    <a:lnTo>
                      <a:pt x="587" y="2056"/>
                    </a:lnTo>
                    <a:lnTo>
                      <a:pt x="577" y="2046"/>
                    </a:lnTo>
                    <a:lnTo>
                      <a:pt x="577" y="2026"/>
                    </a:lnTo>
                    <a:lnTo>
                      <a:pt x="577" y="2006"/>
                    </a:lnTo>
                    <a:lnTo>
                      <a:pt x="567" y="1996"/>
                    </a:lnTo>
                    <a:lnTo>
                      <a:pt x="557" y="1975"/>
                    </a:lnTo>
                    <a:lnTo>
                      <a:pt x="557" y="1965"/>
                    </a:lnTo>
                    <a:lnTo>
                      <a:pt x="547" y="1945"/>
                    </a:lnTo>
                    <a:lnTo>
                      <a:pt x="547" y="1945"/>
                    </a:lnTo>
                    <a:lnTo>
                      <a:pt x="547" y="1935"/>
                    </a:lnTo>
                    <a:lnTo>
                      <a:pt x="537" y="1925"/>
                    </a:lnTo>
                    <a:lnTo>
                      <a:pt x="527" y="1915"/>
                    </a:lnTo>
                    <a:lnTo>
                      <a:pt x="516" y="1894"/>
                    </a:lnTo>
                    <a:lnTo>
                      <a:pt x="516" y="1884"/>
                    </a:lnTo>
                    <a:lnTo>
                      <a:pt x="516" y="1874"/>
                    </a:lnTo>
                    <a:lnTo>
                      <a:pt x="516" y="1864"/>
                    </a:lnTo>
                    <a:lnTo>
                      <a:pt x="506" y="1864"/>
                    </a:lnTo>
                    <a:lnTo>
                      <a:pt x="506" y="1854"/>
                    </a:lnTo>
                    <a:lnTo>
                      <a:pt x="506" y="1823"/>
                    </a:lnTo>
                    <a:lnTo>
                      <a:pt x="506" y="1803"/>
                    </a:lnTo>
                    <a:lnTo>
                      <a:pt x="516" y="1783"/>
                    </a:lnTo>
                    <a:lnTo>
                      <a:pt x="516" y="1773"/>
                    </a:lnTo>
                    <a:lnTo>
                      <a:pt x="516" y="1763"/>
                    </a:lnTo>
                    <a:lnTo>
                      <a:pt x="516" y="1742"/>
                    </a:lnTo>
                    <a:lnTo>
                      <a:pt x="527" y="1712"/>
                    </a:lnTo>
                    <a:lnTo>
                      <a:pt x="537" y="1682"/>
                    </a:lnTo>
                    <a:lnTo>
                      <a:pt x="537" y="1661"/>
                    </a:lnTo>
                    <a:lnTo>
                      <a:pt x="537" y="1651"/>
                    </a:lnTo>
                    <a:lnTo>
                      <a:pt x="537" y="1641"/>
                    </a:lnTo>
                    <a:lnTo>
                      <a:pt x="557" y="1611"/>
                    </a:lnTo>
                    <a:lnTo>
                      <a:pt x="557" y="1590"/>
                    </a:lnTo>
                    <a:lnTo>
                      <a:pt x="557" y="1580"/>
                    </a:lnTo>
                    <a:lnTo>
                      <a:pt x="577" y="1540"/>
                    </a:lnTo>
                    <a:lnTo>
                      <a:pt x="587" y="1519"/>
                    </a:lnTo>
                    <a:lnTo>
                      <a:pt x="597" y="1509"/>
                    </a:lnTo>
                    <a:lnTo>
                      <a:pt x="597" y="1499"/>
                    </a:lnTo>
                    <a:lnTo>
                      <a:pt x="597" y="1499"/>
                    </a:lnTo>
                    <a:lnTo>
                      <a:pt x="607" y="1479"/>
                    </a:lnTo>
                    <a:lnTo>
                      <a:pt x="618" y="1469"/>
                    </a:lnTo>
                    <a:lnTo>
                      <a:pt x="618" y="1459"/>
                    </a:lnTo>
                    <a:lnTo>
                      <a:pt x="618" y="1449"/>
                    </a:lnTo>
                    <a:lnTo>
                      <a:pt x="618" y="1438"/>
                    </a:lnTo>
                    <a:lnTo>
                      <a:pt x="607" y="1428"/>
                    </a:lnTo>
                    <a:lnTo>
                      <a:pt x="597" y="1428"/>
                    </a:lnTo>
                    <a:lnTo>
                      <a:pt x="587" y="1408"/>
                    </a:lnTo>
                    <a:lnTo>
                      <a:pt x="577" y="1408"/>
                    </a:lnTo>
                    <a:lnTo>
                      <a:pt x="577" y="1408"/>
                    </a:lnTo>
                    <a:lnTo>
                      <a:pt x="567" y="1398"/>
                    </a:lnTo>
                    <a:lnTo>
                      <a:pt x="557" y="1388"/>
                    </a:lnTo>
                    <a:lnTo>
                      <a:pt x="557" y="1388"/>
                    </a:lnTo>
                    <a:lnTo>
                      <a:pt x="547" y="1388"/>
                    </a:lnTo>
                    <a:lnTo>
                      <a:pt x="537" y="1388"/>
                    </a:lnTo>
                    <a:lnTo>
                      <a:pt x="537" y="1378"/>
                    </a:lnTo>
                    <a:lnTo>
                      <a:pt x="537" y="1368"/>
                    </a:lnTo>
                    <a:lnTo>
                      <a:pt x="537" y="1357"/>
                    </a:lnTo>
                    <a:lnTo>
                      <a:pt x="547" y="1357"/>
                    </a:lnTo>
                    <a:lnTo>
                      <a:pt x="557" y="1347"/>
                    </a:lnTo>
                    <a:lnTo>
                      <a:pt x="587" y="1327"/>
                    </a:lnTo>
                    <a:lnTo>
                      <a:pt x="597" y="1317"/>
                    </a:lnTo>
                    <a:lnTo>
                      <a:pt x="607" y="1307"/>
                    </a:lnTo>
                    <a:lnTo>
                      <a:pt x="607" y="1297"/>
                    </a:lnTo>
                    <a:lnTo>
                      <a:pt x="607" y="1297"/>
                    </a:lnTo>
                    <a:lnTo>
                      <a:pt x="587" y="1297"/>
                    </a:lnTo>
                    <a:lnTo>
                      <a:pt x="577" y="1307"/>
                    </a:lnTo>
                    <a:lnTo>
                      <a:pt x="547" y="1317"/>
                    </a:lnTo>
                    <a:lnTo>
                      <a:pt x="527" y="1327"/>
                    </a:lnTo>
                    <a:lnTo>
                      <a:pt x="516" y="1337"/>
                    </a:lnTo>
                    <a:lnTo>
                      <a:pt x="516" y="1337"/>
                    </a:lnTo>
                    <a:lnTo>
                      <a:pt x="506" y="1337"/>
                    </a:lnTo>
                    <a:lnTo>
                      <a:pt x="496" y="1327"/>
                    </a:lnTo>
                    <a:lnTo>
                      <a:pt x="486" y="1317"/>
                    </a:lnTo>
                    <a:lnTo>
                      <a:pt x="486" y="1307"/>
                    </a:lnTo>
                    <a:lnTo>
                      <a:pt x="486" y="1297"/>
                    </a:lnTo>
                    <a:lnTo>
                      <a:pt x="466" y="1286"/>
                    </a:lnTo>
                    <a:lnTo>
                      <a:pt x="446" y="1276"/>
                    </a:lnTo>
                    <a:lnTo>
                      <a:pt x="446" y="1266"/>
                    </a:lnTo>
                    <a:lnTo>
                      <a:pt x="435" y="1256"/>
                    </a:lnTo>
                    <a:lnTo>
                      <a:pt x="425" y="1256"/>
                    </a:lnTo>
                    <a:lnTo>
                      <a:pt x="435" y="1246"/>
                    </a:lnTo>
                    <a:lnTo>
                      <a:pt x="435" y="1236"/>
                    </a:lnTo>
                    <a:lnTo>
                      <a:pt x="446" y="1216"/>
                    </a:lnTo>
                    <a:lnTo>
                      <a:pt x="456" y="1195"/>
                    </a:lnTo>
                    <a:lnTo>
                      <a:pt x="456" y="1195"/>
                    </a:lnTo>
                    <a:lnTo>
                      <a:pt x="466" y="1195"/>
                    </a:lnTo>
                    <a:lnTo>
                      <a:pt x="466" y="1185"/>
                    </a:lnTo>
                    <a:lnTo>
                      <a:pt x="466" y="1175"/>
                    </a:lnTo>
                    <a:lnTo>
                      <a:pt x="446" y="1175"/>
                    </a:lnTo>
                    <a:lnTo>
                      <a:pt x="425" y="1185"/>
                    </a:lnTo>
                    <a:lnTo>
                      <a:pt x="415" y="1195"/>
                    </a:lnTo>
                    <a:lnTo>
                      <a:pt x="405" y="1195"/>
                    </a:lnTo>
                    <a:lnTo>
                      <a:pt x="405" y="1216"/>
                    </a:lnTo>
                    <a:lnTo>
                      <a:pt x="405" y="1216"/>
                    </a:lnTo>
                    <a:lnTo>
                      <a:pt x="405" y="1216"/>
                    </a:lnTo>
                    <a:lnTo>
                      <a:pt x="395" y="1216"/>
                    </a:lnTo>
                    <a:lnTo>
                      <a:pt x="385" y="1216"/>
                    </a:lnTo>
                    <a:lnTo>
                      <a:pt x="375" y="1216"/>
                    </a:lnTo>
                    <a:lnTo>
                      <a:pt x="375" y="1216"/>
                    </a:lnTo>
                    <a:lnTo>
                      <a:pt x="365" y="1205"/>
                    </a:lnTo>
                    <a:lnTo>
                      <a:pt x="365" y="1195"/>
                    </a:lnTo>
                    <a:lnTo>
                      <a:pt x="344" y="1195"/>
                    </a:lnTo>
                    <a:lnTo>
                      <a:pt x="334" y="1185"/>
                    </a:lnTo>
                    <a:lnTo>
                      <a:pt x="334" y="1175"/>
                    </a:lnTo>
                    <a:lnTo>
                      <a:pt x="324" y="1165"/>
                    </a:lnTo>
                    <a:lnTo>
                      <a:pt x="324" y="1155"/>
                    </a:lnTo>
                    <a:lnTo>
                      <a:pt x="334" y="1155"/>
                    </a:lnTo>
                    <a:lnTo>
                      <a:pt x="334" y="1145"/>
                    </a:lnTo>
                    <a:lnTo>
                      <a:pt x="334" y="1124"/>
                    </a:lnTo>
                    <a:lnTo>
                      <a:pt x="334" y="1114"/>
                    </a:lnTo>
                    <a:lnTo>
                      <a:pt x="334" y="1104"/>
                    </a:lnTo>
                    <a:lnTo>
                      <a:pt x="334" y="1104"/>
                    </a:lnTo>
                    <a:lnTo>
                      <a:pt x="334" y="1104"/>
                    </a:lnTo>
                    <a:lnTo>
                      <a:pt x="324" y="1104"/>
                    </a:lnTo>
                    <a:lnTo>
                      <a:pt x="324" y="1114"/>
                    </a:lnTo>
                    <a:lnTo>
                      <a:pt x="304" y="1135"/>
                    </a:lnTo>
                    <a:lnTo>
                      <a:pt x="294" y="1145"/>
                    </a:lnTo>
                    <a:lnTo>
                      <a:pt x="294" y="1145"/>
                    </a:lnTo>
                    <a:lnTo>
                      <a:pt x="284" y="1145"/>
                    </a:lnTo>
                    <a:lnTo>
                      <a:pt x="284" y="1135"/>
                    </a:lnTo>
                    <a:lnTo>
                      <a:pt x="284" y="1124"/>
                    </a:lnTo>
                    <a:lnTo>
                      <a:pt x="284" y="1114"/>
                    </a:lnTo>
                    <a:lnTo>
                      <a:pt x="274" y="1104"/>
                    </a:lnTo>
                    <a:lnTo>
                      <a:pt x="274" y="1094"/>
                    </a:lnTo>
                    <a:lnTo>
                      <a:pt x="274" y="1084"/>
                    </a:lnTo>
                    <a:lnTo>
                      <a:pt x="263" y="1064"/>
                    </a:lnTo>
                    <a:lnTo>
                      <a:pt x="263" y="1053"/>
                    </a:lnTo>
                    <a:lnTo>
                      <a:pt x="263" y="1043"/>
                    </a:lnTo>
                    <a:lnTo>
                      <a:pt x="253" y="1033"/>
                    </a:lnTo>
                    <a:lnTo>
                      <a:pt x="243" y="1033"/>
                    </a:lnTo>
                    <a:lnTo>
                      <a:pt x="223" y="1023"/>
                    </a:lnTo>
                    <a:lnTo>
                      <a:pt x="213" y="1013"/>
                    </a:lnTo>
                    <a:lnTo>
                      <a:pt x="193" y="1023"/>
                    </a:lnTo>
                    <a:lnTo>
                      <a:pt x="193" y="1023"/>
                    </a:lnTo>
                    <a:lnTo>
                      <a:pt x="183" y="1023"/>
                    </a:lnTo>
                    <a:lnTo>
                      <a:pt x="172" y="1023"/>
                    </a:lnTo>
                    <a:lnTo>
                      <a:pt x="162" y="1023"/>
                    </a:lnTo>
                    <a:lnTo>
                      <a:pt x="152" y="1023"/>
                    </a:lnTo>
                    <a:lnTo>
                      <a:pt x="142" y="1013"/>
                    </a:lnTo>
                    <a:lnTo>
                      <a:pt x="132" y="993"/>
                    </a:lnTo>
                    <a:lnTo>
                      <a:pt x="132" y="983"/>
                    </a:lnTo>
                    <a:lnTo>
                      <a:pt x="122" y="983"/>
                    </a:lnTo>
                    <a:lnTo>
                      <a:pt x="122" y="983"/>
                    </a:lnTo>
                    <a:lnTo>
                      <a:pt x="122" y="972"/>
                    </a:lnTo>
                    <a:lnTo>
                      <a:pt x="122" y="962"/>
                    </a:lnTo>
                    <a:lnTo>
                      <a:pt x="122" y="962"/>
                    </a:lnTo>
                    <a:lnTo>
                      <a:pt x="122" y="962"/>
                    </a:lnTo>
                    <a:lnTo>
                      <a:pt x="112" y="932"/>
                    </a:lnTo>
                    <a:lnTo>
                      <a:pt x="102" y="912"/>
                    </a:lnTo>
                    <a:lnTo>
                      <a:pt x="91" y="902"/>
                    </a:lnTo>
                    <a:lnTo>
                      <a:pt x="91" y="891"/>
                    </a:lnTo>
                    <a:lnTo>
                      <a:pt x="91" y="881"/>
                    </a:lnTo>
                    <a:lnTo>
                      <a:pt x="81" y="871"/>
                    </a:lnTo>
                    <a:lnTo>
                      <a:pt x="81" y="851"/>
                    </a:lnTo>
                    <a:lnTo>
                      <a:pt x="81" y="851"/>
                    </a:lnTo>
                    <a:lnTo>
                      <a:pt x="81" y="841"/>
                    </a:lnTo>
                    <a:lnTo>
                      <a:pt x="61" y="841"/>
                    </a:lnTo>
                    <a:lnTo>
                      <a:pt x="41" y="841"/>
                    </a:lnTo>
                    <a:lnTo>
                      <a:pt x="41" y="831"/>
                    </a:lnTo>
                    <a:lnTo>
                      <a:pt x="41" y="831"/>
                    </a:lnTo>
                    <a:lnTo>
                      <a:pt x="31" y="810"/>
                    </a:lnTo>
                    <a:lnTo>
                      <a:pt x="31" y="800"/>
                    </a:lnTo>
                    <a:lnTo>
                      <a:pt x="41" y="790"/>
                    </a:lnTo>
                    <a:lnTo>
                      <a:pt x="41" y="780"/>
                    </a:lnTo>
                    <a:lnTo>
                      <a:pt x="31" y="770"/>
                    </a:lnTo>
                    <a:lnTo>
                      <a:pt x="31" y="760"/>
                    </a:lnTo>
                    <a:lnTo>
                      <a:pt x="31" y="760"/>
                    </a:lnTo>
                    <a:lnTo>
                      <a:pt x="21" y="750"/>
                    </a:lnTo>
                    <a:lnTo>
                      <a:pt x="21" y="739"/>
                    </a:lnTo>
                    <a:lnTo>
                      <a:pt x="21" y="729"/>
                    </a:lnTo>
                    <a:lnTo>
                      <a:pt x="21" y="729"/>
                    </a:lnTo>
                    <a:lnTo>
                      <a:pt x="21" y="719"/>
                    </a:lnTo>
                    <a:lnTo>
                      <a:pt x="0" y="699"/>
                    </a:lnTo>
                    <a:lnTo>
                      <a:pt x="0" y="689"/>
                    </a:lnTo>
                    <a:lnTo>
                      <a:pt x="0" y="679"/>
                    </a:lnTo>
                    <a:lnTo>
                      <a:pt x="0" y="669"/>
                    </a:lnTo>
                    <a:lnTo>
                      <a:pt x="0" y="648"/>
                    </a:lnTo>
                    <a:lnTo>
                      <a:pt x="10" y="638"/>
                    </a:lnTo>
                    <a:lnTo>
                      <a:pt x="10" y="618"/>
                    </a:lnTo>
                    <a:lnTo>
                      <a:pt x="0" y="608"/>
                    </a:lnTo>
                    <a:lnTo>
                      <a:pt x="10" y="587"/>
                    </a:lnTo>
                    <a:lnTo>
                      <a:pt x="10" y="577"/>
                    </a:lnTo>
                    <a:lnTo>
                      <a:pt x="21" y="577"/>
                    </a:lnTo>
                    <a:lnTo>
                      <a:pt x="31" y="567"/>
                    </a:lnTo>
                    <a:lnTo>
                      <a:pt x="31" y="557"/>
                    </a:lnTo>
                    <a:lnTo>
                      <a:pt x="31" y="537"/>
                    </a:lnTo>
                    <a:lnTo>
                      <a:pt x="31" y="527"/>
                    </a:lnTo>
                    <a:lnTo>
                      <a:pt x="31" y="506"/>
                    </a:lnTo>
                    <a:lnTo>
                      <a:pt x="41" y="496"/>
                    </a:lnTo>
                    <a:lnTo>
                      <a:pt x="41" y="496"/>
                    </a:lnTo>
                    <a:lnTo>
                      <a:pt x="51" y="486"/>
                    </a:lnTo>
                    <a:lnTo>
                      <a:pt x="61" y="486"/>
                    </a:lnTo>
                    <a:lnTo>
                      <a:pt x="61" y="476"/>
                    </a:lnTo>
                    <a:lnTo>
                      <a:pt x="61" y="466"/>
                    </a:lnTo>
                    <a:lnTo>
                      <a:pt x="61" y="456"/>
                    </a:lnTo>
                    <a:lnTo>
                      <a:pt x="61" y="446"/>
                    </a:lnTo>
                    <a:lnTo>
                      <a:pt x="61" y="436"/>
                    </a:lnTo>
                    <a:lnTo>
                      <a:pt x="71" y="425"/>
                    </a:lnTo>
                    <a:lnTo>
                      <a:pt x="81" y="425"/>
                    </a:lnTo>
                    <a:lnTo>
                      <a:pt x="91" y="425"/>
                    </a:lnTo>
                    <a:lnTo>
                      <a:pt x="102" y="415"/>
                    </a:lnTo>
                    <a:lnTo>
                      <a:pt x="112" y="415"/>
                    </a:lnTo>
                    <a:lnTo>
                      <a:pt x="112" y="405"/>
                    </a:lnTo>
                    <a:lnTo>
                      <a:pt x="112" y="395"/>
                    </a:lnTo>
                    <a:lnTo>
                      <a:pt x="112" y="375"/>
                    </a:lnTo>
                    <a:lnTo>
                      <a:pt x="112" y="354"/>
                    </a:lnTo>
                    <a:lnTo>
                      <a:pt x="122" y="344"/>
                    </a:lnTo>
                    <a:lnTo>
                      <a:pt x="132" y="334"/>
                    </a:lnTo>
                    <a:lnTo>
                      <a:pt x="142" y="334"/>
                    </a:lnTo>
                    <a:lnTo>
                      <a:pt x="152" y="324"/>
                    </a:lnTo>
                    <a:lnTo>
                      <a:pt x="162" y="324"/>
                    </a:lnTo>
                    <a:lnTo>
                      <a:pt x="162" y="314"/>
                    </a:lnTo>
                    <a:lnTo>
                      <a:pt x="162" y="314"/>
                    </a:lnTo>
                    <a:lnTo>
                      <a:pt x="162" y="304"/>
                    </a:lnTo>
                    <a:lnTo>
                      <a:pt x="172" y="294"/>
                    </a:lnTo>
                    <a:lnTo>
                      <a:pt x="172" y="284"/>
                    </a:lnTo>
                    <a:lnTo>
                      <a:pt x="183" y="273"/>
                    </a:lnTo>
                    <a:lnTo>
                      <a:pt x="183" y="253"/>
                    </a:lnTo>
                    <a:lnTo>
                      <a:pt x="193" y="243"/>
                    </a:lnTo>
                    <a:lnTo>
                      <a:pt x="193" y="223"/>
                    </a:lnTo>
                    <a:lnTo>
                      <a:pt x="193" y="213"/>
                    </a:lnTo>
                    <a:lnTo>
                      <a:pt x="203" y="213"/>
                    </a:lnTo>
                    <a:lnTo>
                      <a:pt x="203" y="203"/>
                    </a:lnTo>
                    <a:lnTo>
                      <a:pt x="213" y="203"/>
                    </a:lnTo>
                    <a:lnTo>
                      <a:pt x="223" y="192"/>
                    </a:lnTo>
                    <a:lnTo>
                      <a:pt x="233" y="182"/>
                    </a:lnTo>
                    <a:lnTo>
                      <a:pt x="243" y="182"/>
                    </a:lnTo>
                    <a:lnTo>
                      <a:pt x="253" y="172"/>
                    </a:lnTo>
                    <a:lnTo>
                      <a:pt x="274" y="172"/>
                    </a:lnTo>
                    <a:lnTo>
                      <a:pt x="294" y="162"/>
                    </a:lnTo>
                    <a:lnTo>
                      <a:pt x="304" y="162"/>
                    </a:lnTo>
                    <a:lnTo>
                      <a:pt x="314" y="162"/>
                    </a:lnTo>
                    <a:lnTo>
                      <a:pt x="324" y="152"/>
                    </a:lnTo>
                    <a:lnTo>
                      <a:pt x="355" y="132"/>
                    </a:lnTo>
                    <a:lnTo>
                      <a:pt x="385" y="121"/>
                    </a:lnTo>
                    <a:lnTo>
                      <a:pt x="425" y="111"/>
                    </a:lnTo>
                    <a:lnTo>
                      <a:pt x="425" y="111"/>
                    </a:lnTo>
                    <a:lnTo>
                      <a:pt x="435" y="101"/>
                    </a:lnTo>
                    <a:lnTo>
                      <a:pt x="456" y="91"/>
                    </a:lnTo>
                    <a:lnTo>
                      <a:pt x="486" y="71"/>
                    </a:lnTo>
                    <a:lnTo>
                      <a:pt x="496" y="51"/>
                    </a:lnTo>
                    <a:lnTo>
                      <a:pt x="506" y="40"/>
                    </a:lnTo>
                    <a:lnTo>
                      <a:pt x="527" y="30"/>
                    </a:lnTo>
                    <a:lnTo>
                      <a:pt x="527" y="20"/>
                    </a:lnTo>
                    <a:lnTo>
                      <a:pt x="537" y="20"/>
                    </a:lnTo>
                    <a:lnTo>
                      <a:pt x="547" y="30"/>
                    </a:lnTo>
                    <a:lnTo>
                      <a:pt x="557" y="30"/>
                    </a:lnTo>
                    <a:lnTo>
                      <a:pt x="557" y="30"/>
                    </a:lnTo>
                    <a:lnTo>
                      <a:pt x="567" y="30"/>
                    </a:lnTo>
                    <a:lnTo>
                      <a:pt x="597" y="30"/>
                    </a:lnTo>
                    <a:lnTo>
                      <a:pt x="628" y="30"/>
                    </a:lnTo>
                    <a:lnTo>
                      <a:pt x="638" y="30"/>
                    </a:lnTo>
                    <a:lnTo>
                      <a:pt x="668" y="20"/>
                    </a:lnTo>
                    <a:lnTo>
                      <a:pt x="688" y="20"/>
                    </a:lnTo>
                    <a:lnTo>
                      <a:pt x="688" y="10"/>
                    </a:lnTo>
                    <a:lnTo>
                      <a:pt x="729" y="10"/>
                    </a:lnTo>
                    <a:lnTo>
                      <a:pt x="749" y="10"/>
                    </a:lnTo>
                    <a:lnTo>
                      <a:pt x="759" y="10"/>
                    </a:lnTo>
                    <a:lnTo>
                      <a:pt x="769" y="10"/>
                    </a:lnTo>
                    <a:lnTo>
                      <a:pt x="780" y="10"/>
                    </a:lnTo>
                    <a:lnTo>
                      <a:pt x="800" y="0"/>
                    </a:lnTo>
                    <a:lnTo>
                      <a:pt x="820" y="10"/>
                    </a:lnTo>
                    <a:lnTo>
                      <a:pt x="840" y="10"/>
                    </a:lnTo>
                    <a:lnTo>
                      <a:pt x="850" y="10"/>
                    </a:lnTo>
                    <a:lnTo>
                      <a:pt x="860" y="10"/>
                    </a:lnTo>
                    <a:lnTo>
                      <a:pt x="881" y="20"/>
                    </a:lnTo>
                    <a:lnTo>
                      <a:pt x="891" y="20"/>
                    </a:lnTo>
                    <a:lnTo>
                      <a:pt x="901" y="30"/>
                    </a:lnTo>
                    <a:lnTo>
                      <a:pt x="911" y="30"/>
                    </a:lnTo>
                    <a:lnTo>
                      <a:pt x="921" y="20"/>
                    </a:lnTo>
                    <a:lnTo>
                      <a:pt x="941" y="10"/>
                    </a:lnTo>
                    <a:lnTo>
                      <a:pt x="952" y="0"/>
                    </a:lnTo>
                    <a:lnTo>
                      <a:pt x="962" y="0"/>
                    </a:lnTo>
                    <a:lnTo>
                      <a:pt x="962" y="0"/>
                    </a:lnTo>
                    <a:lnTo>
                      <a:pt x="972" y="10"/>
                    </a:lnTo>
                    <a:lnTo>
                      <a:pt x="982" y="10"/>
                    </a:lnTo>
                    <a:lnTo>
                      <a:pt x="992" y="10"/>
                    </a:lnTo>
                    <a:lnTo>
                      <a:pt x="992" y="10"/>
                    </a:lnTo>
                    <a:lnTo>
                      <a:pt x="1002" y="10"/>
                    </a:lnTo>
                    <a:lnTo>
                      <a:pt x="1002" y="20"/>
                    </a:lnTo>
                    <a:lnTo>
                      <a:pt x="1012" y="20"/>
                    </a:lnTo>
                    <a:lnTo>
                      <a:pt x="1032" y="30"/>
                    </a:lnTo>
                    <a:lnTo>
                      <a:pt x="1053" y="30"/>
                    </a:lnTo>
                    <a:lnTo>
                      <a:pt x="1073" y="30"/>
                    </a:lnTo>
                    <a:lnTo>
                      <a:pt x="1083" y="30"/>
                    </a:lnTo>
                    <a:lnTo>
                      <a:pt x="1093" y="30"/>
                    </a:lnTo>
                    <a:lnTo>
                      <a:pt x="1093" y="30"/>
                    </a:lnTo>
                    <a:lnTo>
                      <a:pt x="1103" y="30"/>
                    </a:lnTo>
                    <a:lnTo>
                      <a:pt x="1113" y="30"/>
                    </a:lnTo>
                    <a:lnTo>
                      <a:pt x="1113" y="30"/>
                    </a:lnTo>
                    <a:lnTo>
                      <a:pt x="1124" y="30"/>
                    </a:lnTo>
                    <a:lnTo>
                      <a:pt x="1134" y="40"/>
                    </a:lnTo>
                    <a:lnTo>
                      <a:pt x="1134" y="51"/>
                    </a:lnTo>
                    <a:lnTo>
                      <a:pt x="1144" y="61"/>
                    </a:lnTo>
                    <a:lnTo>
                      <a:pt x="1154" y="61"/>
                    </a:lnTo>
                    <a:lnTo>
                      <a:pt x="1164" y="61"/>
                    </a:lnTo>
                    <a:lnTo>
                      <a:pt x="1164" y="71"/>
                    </a:lnTo>
                    <a:lnTo>
                      <a:pt x="1174" y="81"/>
                    </a:lnTo>
                    <a:lnTo>
                      <a:pt x="1184" y="81"/>
                    </a:lnTo>
                    <a:lnTo>
                      <a:pt x="1194" y="81"/>
                    </a:lnTo>
                    <a:lnTo>
                      <a:pt x="1194" y="91"/>
                    </a:lnTo>
                    <a:lnTo>
                      <a:pt x="1205" y="91"/>
                    </a:lnTo>
                    <a:lnTo>
                      <a:pt x="1205" y="91"/>
                    </a:lnTo>
                    <a:lnTo>
                      <a:pt x="1215" y="91"/>
                    </a:lnTo>
                    <a:lnTo>
                      <a:pt x="1225" y="91"/>
                    </a:lnTo>
                    <a:lnTo>
                      <a:pt x="1235" y="81"/>
                    </a:lnTo>
                    <a:lnTo>
                      <a:pt x="1235" y="71"/>
                    </a:lnTo>
                    <a:lnTo>
                      <a:pt x="1255" y="81"/>
                    </a:lnTo>
                    <a:lnTo>
                      <a:pt x="1265" y="91"/>
                    </a:lnTo>
                    <a:lnTo>
                      <a:pt x="1275" y="101"/>
                    </a:lnTo>
                    <a:lnTo>
                      <a:pt x="1285" y="111"/>
                    </a:lnTo>
                    <a:lnTo>
                      <a:pt x="1296" y="111"/>
                    </a:lnTo>
                    <a:lnTo>
                      <a:pt x="1316" y="111"/>
                    </a:lnTo>
                    <a:lnTo>
                      <a:pt x="1326" y="121"/>
                    </a:lnTo>
                    <a:lnTo>
                      <a:pt x="1336" y="121"/>
                    </a:lnTo>
                    <a:lnTo>
                      <a:pt x="1346" y="121"/>
                    </a:lnTo>
                    <a:lnTo>
                      <a:pt x="1356" y="121"/>
                    </a:lnTo>
                    <a:lnTo>
                      <a:pt x="1366" y="121"/>
                    </a:lnTo>
                    <a:lnTo>
                      <a:pt x="1366" y="142"/>
                    </a:lnTo>
                    <a:lnTo>
                      <a:pt x="1377" y="152"/>
                    </a:lnTo>
                    <a:lnTo>
                      <a:pt x="1387" y="152"/>
                    </a:lnTo>
                    <a:lnTo>
                      <a:pt x="1397" y="152"/>
                    </a:lnTo>
                    <a:lnTo>
                      <a:pt x="1407" y="152"/>
                    </a:lnTo>
                    <a:lnTo>
                      <a:pt x="1417" y="152"/>
                    </a:lnTo>
                    <a:lnTo>
                      <a:pt x="1427" y="162"/>
                    </a:lnTo>
                    <a:lnTo>
                      <a:pt x="1437" y="162"/>
                    </a:lnTo>
                    <a:lnTo>
                      <a:pt x="1437" y="172"/>
                    </a:lnTo>
                    <a:lnTo>
                      <a:pt x="1447" y="182"/>
                    </a:lnTo>
                    <a:lnTo>
                      <a:pt x="1447" y="192"/>
                    </a:lnTo>
                    <a:lnTo>
                      <a:pt x="1447" y="203"/>
                    </a:lnTo>
                    <a:lnTo>
                      <a:pt x="1457" y="203"/>
                    </a:lnTo>
                    <a:lnTo>
                      <a:pt x="1457" y="213"/>
                    </a:lnTo>
                    <a:lnTo>
                      <a:pt x="1468" y="223"/>
                    </a:lnTo>
                    <a:lnTo>
                      <a:pt x="1468" y="233"/>
                    </a:lnTo>
                    <a:lnTo>
                      <a:pt x="1478" y="233"/>
                    </a:lnTo>
                    <a:lnTo>
                      <a:pt x="1478" y="233"/>
                    </a:lnTo>
                    <a:lnTo>
                      <a:pt x="1498" y="243"/>
                    </a:lnTo>
                    <a:lnTo>
                      <a:pt x="1518" y="253"/>
                    </a:lnTo>
                    <a:lnTo>
                      <a:pt x="1559" y="253"/>
                    </a:lnTo>
                    <a:lnTo>
                      <a:pt x="1569" y="263"/>
                    </a:lnTo>
                    <a:lnTo>
                      <a:pt x="1579" y="273"/>
                    </a:lnTo>
                    <a:lnTo>
                      <a:pt x="1599" y="273"/>
                    </a:lnTo>
                    <a:lnTo>
                      <a:pt x="1609" y="273"/>
                    </a:lnTo>
                    <a:lnTo>
                      <a:pt x="1609" y="273"/>
                    </a:lnTo>
                    <a:lnTo>
                      <a:pt x="1619" y="284"/>
                    </a:lnTo>
                    <a:lnTo>
                      <a:pt x="1619" y="294"/>
                    </a:lnTo>
                    <a:lnTo>
                      <a:pt x="1619" y="294"/>
                    </a:lnTo>
                    <a:lnTo>
                      <a:pt x="1629" y="304"/>
                    </a:lnTo>
                    <a:lnTo>
                      <a:pt x="1629" y="304"/>
                    </a:lnTo>
                    <a:lnTo>
                      <a:pt x="1650" y="314"/>
                    </a:lnTo>
                    <a:lnTo>
                      <a:pt x="1660" y="324"/>
                    </a:lnTo>
                    <a:lnTo>
                      <a:pt x="1700" y="334"/>
                    </a:lnTo>
                    <a:lnTo>
                      <a:pt x="1700" y="334"/>
                    </a:lnTo>
                    <a:lnTo>
                      <a:pt x="1700" y="334"/>
                    </a:lnTo>
                    <a:lnTo>
                      <a:pt x="1710" y="344"/>
                    </a:lnTo>
                    <a:lnTo>
                      <a:pt x="1710" y="344"/>
                    </a:lnTo>
                    <a:lnTo>
                      <a:pt x="1731" y="354"/>
                    </a:lnTo>
                    <a:lnTo>
                      <a:pt x="1741" y="354"/>
                    </a:lnTo>
                    <a:lnTo>
                      <a:pt x="1751" y="354"/>
                    </a:lnTo>
                    <a:lnTo>
                      <a:pt x="1761" y="354"/>
                    </a:lnTo>
                    <a:lnTo>
                      <a:pt x="1771" y="365"/>
                    </a:lnTo>
                    <a:lnTo>
                      <a:pt x="1771" y="365"/>
                    </a:lnTo>
                    <a:lnTo>
                      <a:pt x="1781" y="375"/>
                    </a:lnTo>
                    <a:lnTo>
                      <a:pt x="1791" y="375"/>
                    </a:lnTo>
                    <a:lnTo>
                      <a:pt x="1802" y="375"/>
                    </a:lnTo>
                    <a:lnTo>
                      <a:pt x="1812" y="375"/>
                    </a:lnTo>
                    <a:lnTo>
                      <a:pt x="1822" y="375"/>
                    </a:lnTo>
                    <a:lnTo>
                      <a:pt x="1822" y="375"/>
                    </a:lnTo>
                    <a:lnTo>
                      <a:pt x="1822" y="375"/>
                    </a:lnTo>
                    <a:lnTo>
                      <a:pt x="1822" y="385"/>
                    </a:lnTo>
                    <a:lnTo>
                      <a:pt x="1822" y="395"/>
                    </a:lnTo>
                    <a:lnTo>
                      <a:pt x="1822" y="405"/>
                    </a:lnTo>
                    <a:lnTo>
                      <a:pt x="1832" y="415"/>
                    </a:lnTo>
                    <a:lnTo>
                      <a:pt x="1842" y="436"/>
                    </a:lnTo>
                    <a:lnTo>
                      <a:pt x="1852" y="446"/>
                    </a:lnTo>
                    <a:lnTo>
                      <a:pt x="1852" y="456"/>
                    </a:lnTo>
                    <a:lnTo>
                      <a:pt x="1872" y="466"/>
                    </a:lnTo>
                    <a:lnTo>
                      <a:pt x="1872" y="476"/>
                    </a:lnTo>
                    <a:lnTo>
                      <a:pt x="1882" y="476"/>
                    </a:lnTo>
                    <a:lnTo>
                      <a:pt x="1903" y="476"/>
                    </a:lnTo>
                    <a:lnTo>
                      <a:pt x="1903" y="476"/>
                    </a:lnTo>
                    <a:lnTo>
                      <a:pt x="1913" y="476"/>
                    </a:lnTo>
                    <a:lnTo>
                      <a:pt x="1913" y="486"/>
                    </a:lnTo>
                    <a:lnTo>
                      <a:pt x="1923" y="486"/>
                    </a:lnTo>
                    <a:lnTo>
                      <a:pt x="1933" y="486"/>
                    </a:lnTo>
                    <a:lnTo>
                      <a:pt x="1953" y="486"/>
                    </a:lnTo>
                    <a:lnTo>
                      <a:pt x="1963" y="486"/>
                    </a:lnTo>
                    <a:lnTo>
                      <a:pt x="1963" y="486"/>
                    </a:lnTo>
                    <a:lnTo>
                      <a:pt x="1994" y="466"/>
                    </a:lnTo>
                    <a:lnTo>
                      <a:pt x="2014" y="456"/>
                    </a:lnTo>
                    <a:lnTo>
                      <a:pt x="2024" y="446"/>
                    </a:lnTo>
                    <a:lnTo>
                      <a:pt x="2034" y="446"/>
                    </a:lnTo>
                    <a:lnTo>
                      <a:pt x="2034" y="446"/>
                    </a:lnTo>
                    <a:lnTo>
                      <a:pt x="2034" y="446"/>
                    </a:lnTo>
                    <a:lnTo>
                      <a:pt x="2044" y="456"/>
                    </a:lnTo>
                    <a:lnTo>
                      <a:pt x="2044" y="456"/>
                    </a:lnTo>
                    <a:lnTo>
                      <a:pt x="2054" y="456"/>
                    </a:lnTo>
                    <a:lnTo>
                      <a:pt x="2065" y="456"/>
                    </a:lnTo>
                    <a:lnTo>
                      <a:pt x="2065" y="456"/>
                    </a:lnTo>
                    <a:lnTo>
                      <a:pt x="2075" y="466"/>
                    </a:lnTo>
                    <a:lnTo>
                      <a:pt x="2075" y="476"/>
                    </a:lnTo>
                    <a:lnTo>
                      <a:pt x="2075" y="476"/>
                    </a:lnTo>
                    <a:lnTo>
                      <a:pt x="2075" y="486"/>
                    </a:lnTo>
                    <a:lnTo>
                      <a:pt x="2054" y="506"/>
                    </a:lnTo>
                    <a:lnTo>
                      <a:pt x="2054" y="506"/>
                    </a:lnTo>
                    <a:lnTo>
                      <a:pt x="2054" y="517"/>
                    </a:lnTo>
                    <a:lnTo>
                      <a:pt x="2065" y="517"/>
                    </a:lnTo>
                    <a:lnTo>
                      <a:pt x="2065" y="517"/>
                    </a:lnTo>
                    <a:lnTo>
                      <a:pt x="2065" y="517"/>
                    </a:lnTo>
                    <a:lnTo>
                      <a:pt x="2075" y="517"/>
                    </a:lnTo>
                    <a:lnTo>
                      <a:pt x="2085" y="506"/>
                    </a:lnTo>
                    <a:lnTo>
                      <a:pt x="2085" y="496"/>
                    </a:lnTo>
                    <a:lnTo>
                      <a:pt x="2095" y="496"/>
                    </a:lnTo>
                    <a:lnTo>
                      <a:pt x="2115" y="496"/>
                    </a:lnTo>
                    <a:lnTo>
                      <a:pt x="2135" y="496"/>
                    </a:lnTo>
                    <a:lnTo>
                      <a:pt x="2156" y="506"/>
                    </a:lnTo>
                    <a:lnTo>
                      <a:pt x="2176" y="506"/>
                    </a:lnTo>
                    <a:lnTo>
                      <a:pt x="2196" y="506"/>
                    </a:lnTo>
                    <a:lnTo>
                      <a:pt x="2196" y="517"/>
                    </a:lnTo>
                    <a:lnTo>
                      <a:pt x="2206" y="527"/>
                    </a:lnTo>
                    <a:lnTo>
                      <a:pt x="2196" y="537"/>
                    </a:lnTo>
                    <a:lnTo>
                      <a:pt x="2196" y="537"/>
                    </a:lnTo>
                    <a:lnTo>
                      <a:pt x="2186" y="547"/>
                    </a:lnTo>
                    <a:lnTo>
                      <a:pt x="2186" y="547"/>
                    </a:lnTo>
                    <a:lnTo>
                      <a:pt x="2186" y="557"/>
                    </a:lnTo>
                    <a:lnTo>
                      <a:pt x="2176" y="577"/>
                    </a:lnTo>
                    <a:lnTo>
                      <a:pt x="2166" y="587"/>
                    </a:lnTo>
                    <a:lnTo>
                      <a:pt x="2166" y="598"/>
                    </a:lnTo>
                    <a:lnTo>
                      <a:pt x="2176" y="608"/>
                    </a:lnTo>
                    <a:lnTo>
                      <a:pt x="2186" y="608"/>
                    </a:lnTo>
                    <a:lnTo>
                      <a:pt x="2196" y="608"/>
                    </a:lnTo>
                    <a:lnTo>
                      <a:pt x="2206" y="598"/>
                    </a:lnTo>
                    <a:lnTo>
                      <a:pt x="2216" y="598"/>
                    </a:lnTo>
                    <a:lnTo>
                      <a:pt x="2227" y="598"/>
                    </a:lnTo>
                    <a:lnTo>
                      <a:pt x="2237" y="598"/>
                    </a:lnTo>
                    <a:lnTo>
                      <a:pt x="2257" y="598"/>
                    </a:lnTo>
                    <a:lnTo>
                      <a:pt x="2267" y="608"/>
                    </a:lnTo>
                    <a:lnTo>
                      <a:pt x="2267" y="608"/>
                    </a:lnTo>
                    <a:lnTo>
                      <a:pt x="2267" y="618"/>
                    </a:lnTo>
                    <a:lnTo>
                      <a:pt x="2277" y="628"/>
                    </a:lnTo>
                    <a:lnTo>
                      <a:pt x="2277" y="628"/>
                    </a:lnTo>
                    <a:lnTo>
                      <a:pt x="2297" y="628"/>
                    </a:lnTo>
                    <a:lnTo>
                      <a:pt x="2297" y="648"/>
                    </a:lnTo>
                    <a:lnTo>
                      <a:pt x="2307" y="658"/>
                    </a:lnTo>
                    <a:lnTo>
                      <a:pt x="2297" y="669"/>
                    </a:lnTo>
                    <a:lnTo>
                      <a:pt x="2297" y="679"/>
                    </a:lnTo>
                    <a:lnTo>
                      <a:pt x="2297" y="689"/>
                    </a:lnTo>
                    <a:lnTo>
                      <a:pt x="2297" y="689"/>
                    </a:lnTo>
                    <a:lnTo>
                      <a:pt x="2307" y="689"/>
                    </a:lnTo>
                    <a:lnTo>
                      <a:pt x="2307" y="699"/>
                    </a:lnTo>
                    <a:lnTo>
                      <a:pt x="2307" y="719"/>
                    </a:lnTo>
                    <a:lnTo>
                      <a:pt x="2318" y="729"/>
                    </a:lnTo>
                    <a:lnTo>
                      <a:pt x="2338" y="739"/>
                    </a:lnTo>
                    <a:lnTo>
                      <a:pt x="2348" y="739"/>
                    </a:lnTo>
                    <a:lnTo>
                      <a:pt x="2368" y="750"/>
                    </a:lnTo>
                    <a:lnTo>
                      <a:pt x="2378" y="760"/>
                    </a:lnTo>
                    <a:lnTo>
                      <a:pt x="2388" y="760"/>
                    </a:lnTo>
                    <a:lnTo>
                      <a:pt x="2388" y="770"/>
                    </a:lnTo>
                    <a:lnTo>
                      <a:pt x="2399" y="770"/>
                    </a:lnTo>
                    <a:lnTo>
                      <a:pt x="2409" y="770"/>
                    </a:lnTo>
                    <a:lnTo>
                      <a:pt x="2409" y="760"/>
                    </a:lnTo>
                    <a:lnTo>
                      <a:pt x="2419" y="750"/>
                    </a:lnTo>
                    <a:lnTo>
                      <a:pt x="2419" y="739"/>
                    </a:lnTo>
                    <a:lnTo>
                      <a:pt x="2419" y="739"/>
                    </a:lnTo>
                    <a:lnTo>
                      <a:pt x="2429" y="729"/>
                    </a:lnTo>
                    <a:lnTo>
                      <a:pt x="2439" y="729"/>
                    </a:lnTo>
                    <a:lnTo>
                      <a:pt x="2449" y="719"/>
                    </a:lnTo>
                    <a:lnTo>
                      <a:pt x="2459" y="709"/>
                    </a:lnTo>
                    <a:lnTo>
                      <a:pt x="2459" y="719"/>
                    </a:lnTo>
                    <a:lnTo>
                      <a:pt x="2459" y="719"/>
                    </a:lnTo>
                    <a:lnTo>
                      <a:pt x="2459" y="739"/>
                    </a:lnTo>
                    <a:lnTo>
                      <a:pt x="2459" y="750"/>
                    </a:lnTo>
                    <a:lnTo>
                      <a:pt x="2459" y="760"/>
                    </a:lnTo>
                    <a:lnTo>
                      <a:pt x="2469" y="760"/>
                    </a:lnTo>
                    <a:lnTo>
                      <a:pt x="2469" y="760"/>
                    </a:lnTo>
                    <a:lnTo>
                      <a:pt x="2479" y="750"/>
                    </a:lnTo>
                    <a:lnTo>
                      <a:pt x="2490" y="750"/>
                    </a:lnTo>
                    <a:lnTo>
                      <a:pt x="2490" y="750"/>
                    </a:lnTo>
                    <a:lnTo>
                      <a:pt x="2490" y="750"/>
                    </a:lnTo>
                    <a:lnTo>
                      <a:pt x="2490" y="770"/>
                    </a:lnTo>
                    <a:lnTo>
                      <a:pt x="2490" y="780"/>
                    </a:lnTo>
                    <a:lnTo>
                      <a:pt x="2479" y="790"/>
                    </a:lnTo>
                    <a:lnTo>
                      <a:pt x="2479" y="800"/>
                    </a:lnTo>
                    <a:lnTo>
                      <a:pt x="2479" y="810"/>
                    </a:lnTo>
                    <a:lnTo>
                      <a:pt x="2469" y="810"/>
                    </a:lnTo>
                    <a:lnTo>
                      <a:pt x="2469" y="820"/>
                    </a:lnTo>
                    <a:lnTo>
                      <a:pt x="2469" y="831"/>
                    </a:lnTo>
                    <a:lnTo>
                      <a:pt x="2469" y="841"/>
                    </a:lnTo>
                    <a:lnTo>
                      <a:pt x="2479" y="841"/>
                    </a:lnTo>
                    <a:lnTo>
                      <a:pt x="2479" y="851"/>
                    </a:lnTo>
                    <a:lnTo>
                      <a:pt x="2479" y="861"/>
                    </a:lnTo>
                    <a:lnTo>
                      <a:pt x="2490" y="871"/>
                    </a:lnTo>
                    <a:lnTo>
                      <a:pt x="2490" y="871"/>
                    </a:lnTo>
                    <a:lnTo>
                      <a:pt x="2510" y="881"/>
                    </a:lnTo>
                    <a:lnTo>
                      <a:pt x="2510" y="881"/>
                    </a:lnTo>
                    <a:lnTo>
                      <a:pt x="2510" y="891"/>
                    </a:lnTo>
                    <a:lnTo>
                      <a:pt x="2520" y="902"/>
                    </a:lnTo>
                    <a:lnTo>
                      <a:pt x="2530" y="912"/>
                    </a:lnTo>
                    <a:lnTo>
                      <a:pt x="2530" y="922"/>
                    </a:lnTo>
                    <a:lnTo>
                      <a:pt x="2530" y="932"/>
                    </a:lnTo>
                    <a:lnTo>
                      <a:pt x="2540" y="952"/>
                    </a:lnTo>
                    <a:lnTo>
                      <a:pt x="2540" y="962"/>
                    </a:lnTo>
                    <a:lnTo>
                      <a:pt x="2540" y="962"/>
                    </a:lnTo>
                    <a:lnTo>
                      <a:pt x="2550" y="972"/>
                    </a:lnTo>
                    <a:lnTo>
                      <a:pt x="2550" y="983"/>
                    </a:lnTo>
                    <a:lnTo>
                      <a:pt x="2560" y="983"/>
                    </a:lnTo>
                    <a:lnTo>
                      <a:pt x="2571" y="993"/>
                    </a:lnTo>
                    <a:lnTo>
                      <a:pt x="2571" y="993"/>
                    </a:lnTo>
                    <a:lnTo>
                      <a:pt x="2571" y="993"/>
                    </a:lnTo>
                    <a:lnTo>
                      <a:pt x="2571" y="1003"/>
                    </a:lnTo>
                    <a:lnTo>
                      <a:pt x="2581" y="1003"/>
                    </a:lnTo>
                    <a:lnTo>
                      <a:pt x="2581" y="1003"/>
                    </a:lnTo>
                    <a:lnTo>
                      <a:pt x="2591" y="1003"/>
                    </a:lnTo>
                    <a:lnTo>
                      <a:pt x="2601" y="1003"/>
                    </a:lnTo>
                    <a:lnTo>
                      <a:pt x="2601" y="993"/>
                    </a:lnTo>
                    <a:lnTo>
                      <a:pt x="2601" y="983"/>
                    </a:lnTo>
                    <a:lnTo>
                      <a:pt x="2601" y="983"/>
                    </a:lnTo>
                    <a:lnTo>
                      <a:pt x="2611" y="972"/>
                    </a:lnTo>
                    <a:lnTo>
                      <a:pt x="2621" y="962"/>
                    </a:lnTo>
                    <a:lnTo>
                      <a:pt x="2631" y="962"/>
                    </a:lnTo>
                    <a:lnTo>
                      <a:pt x="2641" y="962"/>
                    </a:lnTo>
                    <a:lnTo>
                      <a:pt x="2641" y="972"/>
                    </a:lnTo>
                    <a:lnTo>
                      <a:pt x="2631" y="983"/>
                    </a:lnTo>
                    <a:lnTo>
                      <a:pt x="2631" y="983"/>
                    </a:lnTo>
                    <a:lnTo>
                      <a:pt x="2631" y="983"/>
                    </a:lnTo>
                    <a:lnTo>
                      <a:pt x="2631" y="993"/>
                    </a:lnTo>
                    <a:lnTo>
                      <a:pt x="2631" y="1013"/>
                    </a:lnTo>
                    <a:lnTo>
                      <a:pt x="2631" y="1033"/>
                    </a:lnTo>
                    <a:lnTo>
                      <a:pt x="2631" y="1043"/>
                    </a:lnTo>
                    <a:lnTo>
                      <a:pt x="2631" y="1043"/>
                    </a:lnTo>
                    <a:lnTo>
                      <a:pt x="2651" y="1064"/>
                    </a:lnTo>
                    <a:lnTo>
                      <a:pt x="2651" y="1074"/>
                    </a:lnTo>
                    <a:lnTo>
                      <a:pt x="2651" y="1084"/>
                    </a:lnTo>
                    <a:lnTo>
                      <a:pt x="2672" y="1084"/>
                    </a:lnTo>
                    <a:lnTo>
                      <a:pt x="2682" y="1074"/>
                    </a:lnTo>
                    <a:lnTo>
                      <a:pt x="2702" y="1074"/>
                    </a:lnTo>
                    <a:lnTo>
                      <a:pt x="2712" y="1074"/>
                    </a:lnTo>
                    <a:lnTo>
                      <a:pt x="2732" y="1074"/>
                    </a:lnTo>
                    <a:lnTo>
                      <a:pt x="2743" y="1084"/>
                    </a:lnTo>
                    <a:lnTo>
                      <a:pt x="2753" y="1084"/>
                    </a:lnTo>
                    <a:lnTo>
                      <a:pt x="2753" y="1084"/>
                    </a:lnTo>
                    <a:lnTo>
                      <a:pt x="2753" y="1104"/>
                    </a:lnTo>
                    <a:lnTo>
                      <a:pt x="2743" y="1104"/>
                    </a:lnTo>
                    <a:lnTo>
                      <a:pt x="2743" y="1104"/>
                    </a:lnTo>
                    <a:lnTo>
                      <a:pt x="2722" y="1114"/>
                    </a:lnTo>
                    <a:lnTo>
                      <a:pt x="2712" y="1124"/>
                    </a:lnTo>
                    <a:lnTo>
                      <a:pt x="2712" y="1135"/>
                    </a:lnTo>
                    <a:lnTo>
                      <a:pt x="2712" y="1145"/>
                    </a:lnTo>
                    <a:lnTo>
                      <a:pt x="2712" y="1145"/>
                    </a:lnTo>
                    <a:lnTo>
                      <a:pt x="2722" y="1145"/>
                    </a:lnTo>
                    <a:lnTo>
                      <a:pt x="2743" y="1155"/>
                    </a:lnTo>
                    <a:lnTo>
                      <a:pt x="2743" y="1155"/>
                    </a:lnTo>
                    <a:lnTo>
                      <a:pt x="2753" y="1155"/>
                    </a:lnTo>
                    <a:lnTo>
                      <a:pt x="2773" y="1165"/>
                    </a:lnTo>
                  </a:path>
                </a:pathLst>
              </a:custGeom>
              <a:solidFill>
                <a:srgbClr val="7030A0"/>
              </a:solid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714" name="Guyane">
                <a:extLst>
                  <a:ext uri="{FF2B5EF4-FFF2-40B4-BE49-F238E27FC236}">
                    <a16:creationId xmlns:a16="http://schemas.microsoft.com/office/drawing/2014/main" id="{F541D978-7A8F-4E5B-9E64-41D48494AEDE}"/>
                  </a:ext>
                </a:extLst>
              </p:cNvPr>
              <p:cNvSpPr>
                <a:spLocks noChangeAspect="1"/>
              </p:cNvSpPr>
              <p:nvPr/>
            </p:nvSpPr>
            <p:spPr bwMode="auto">
              <a:xfrm>
                <a:off x="-968283" y="4803573"/>
                <a:ext cx="360625" cy="183081"/>
              </a:xfrm>
              <a:custGeom>
                <a:avLst/>
                <a:gdLst>
                  <a:gd name="T0" fmla="*/ 4371 w 4462"/>
                  <a:gd name="T1" fmla="*/ 2532 h 5349"/>
                  <a:gd name="T2" fmla="*/ 4442 w 4462"/>
                  <a:gd name="T3" fmla="*/ 2239 h 5349"/>
                  <a:gd name="T4" fmla="*/ 4351 w 4462"/>
                  <a:gd name="T5" fmla="*/ 1965 h 5349"/>
                  <a:gd name="T6" fmla="*/ 4179 w 4462"/>
                  <a:gd name="T7" fmla="*/ 1702 h 5349"/>
                  <a:gd name="T8" fmla="*/ 4047 w 4462"/>
                  <a:gd name="T9" fmla="*/ 1661 h 5349"/>
                  <a:gd name="T10" fmla="*/ 3987 w 4462"/>
                  <a:gd name="T11" fmla="*/ 1975 h 5349"/>
                  <a:gd name="T12" fmla="*/ 3966 w 4462"/>
                  <a:gd name="T13" fmla="*/ 1793 h 5349"/>
                  <a:gd name="T14" fmla="*/ 3835 w 4462"/>
                  <a:gd name="T15" fmla="*/ 1621 h 5349"/>
                  <a:gd name="T16" fmla="*/ 3643 w 4462"/>
                  <a:gd name="T17" fmla="*/ 1438 h 5349"/>
                  <a:gd name="T18" fmla="*/ 3430 w 4462"/>
                  <a:gd name="T19" fmla="*/ 1276 h 5349"/>
                  <a:gd name="T20" fmla="*/ 3299 w 4462"/>
                  <a:gd name="T21" fmla="*/ 1226 h 5349"/>
                  <a:gd name="T22" fmla="*/ 3126 w 4462"/>
                  <a:gd name="T23" fmla="*/ 1084 h 5349"/>
                  <a:gd name="T24" fmla="*/ 2985 w 4462"/>
                  <a:gd name="T25" fmla="*/ 993 h 5349"/>
                  <a:gd name="T26" fmla="*/ 2884 w 4462"/>
                  <a:gd name="T27" fmla="*/ 841 h 5349"/>
                  <a:gd name="T28" fmla="*/ 2661 w 4462"/>
                  <a:gd name="T29" fmla="*/ 668 h 5349"/>
                  <a:gd name="T30" fmla="*/ 2408 w 4462"/>
                  <a:gd name="T31" fmla="*/ 527 h 5349"/>
                  <a:gd name="T32" fmla="*/ 2175 w 4462"/>
                  <a:gd name="T33" fmla="*/ 486 h 5349"/>
                  <a:gd name="T34" fmla="*/ 1821 w 4462"/>
                  <a:gd name="T35" fmla="*/ 425 h 5349"/>
                  <a:gd name="T36" fmla="*/ 1518 w 4462"/>
                  <a:gd name="T37" fmla="*/ 304 h 5349"/>
                  <a:gd name="T38" fmla="*/ 1275 w 4462"/>
                  <a:gd name="T39" fmla="*/ 212 h 5349"/>
                  <a:gd name="T40" fmla="*/ 991 w 4462"/>
                  <a:gd name="T41" fmla="*/ 71 h 5349"/>
                  <a:gd name="T42" fmla="*/ 870 w 4462"/>
                  <a:gd name="T43" fmla="*/ 61 h 5349"/>
                  <a:gd name="T44" fmla="*/ 941 w 4462"/>
                  <a:gd name="T45" fmla="*/ 152 h 5349"/>
                  <a:gd name="T46" fmla="*/ 840 w 4462"/>
                  <a:gd name="T47" fmla="*/ 304 h 5349"/>
                  <a:gd name="T48" fmla="*/ 647 w 4462"/>
                  <a:gd name="T49" fmla="*/ 658 h 5349"/>
                  <a:gd name="T50" fmla="*/ 354 w 4462"/>
                  <a:gd name="T51" fmla="*/ 932 h 5349"/>
                  <a:gd name="T52" fmla="*/ 141 w 4462"/>
                  <a:gd name="T53" fmla="*/ 1195 h 5349"/>
                  <a:gd name="T54" fmla="*/ 131 w 4462"/>
                  <a:gd name="T55" fmla="*/ 1580 h 5349"/>
                  <a:gd name="T56" fmla="*/ 121 w 4462"/>
                  <a:gd name="T57" fmla="*/ 1904 h 5349"/>
                  <a:gd name="T58" fmla="*/ 202 w 4462"/>
                  <a:gd name="T59" fmla="*/ 2269 h 5349"/>
                  <a:gd name="T60" fmla="*/ 313 w 4462"/>
                  <a:gd name="T61" fmla="*/ 2492 h 5349"/>
                  <a:gd name="T62" fmla="*/ 445 w 4462"/>
                  <a:gd name="T63" fmla="*/ 2806 h 5349"/>
                  <a:gd name="T64" fmla="*/ 627 w 4462"/>
                  <a:gd name="T65" fmla="*/ 2968 h 5349"/>
                  <a:gd name="T66" fmla="*/ 779 w 4462"/>
                  <a:gd name="T67" fmla="*/ 3100 h 5349"/>
                  <a:gd name="T68" fmla="*/ 830 w 4462"/>
                  <a:gd name="T69" fmla="*/ 3302 h 5349"/>
                  <a:gd name="T70" fmla="*/ 799 w 4462"/>
                  <a:gd name="T71" fmla="*/ 3474 h 5349"/>
                  <a:gd name="T72" fmla="*/ 718 w 4462"/>
                  <a:gd name="T73" fmla="*/ 3637 h 5349"/>
                  <a:gd name="T74" fmla="*/ 566 w 4462"/>
                  <a:gd name="T75" fmla="*/ 3809 h 5349"/>
                  <a:gd name="T76" fmla="*/ 566 w 4462"/>
                  <a:gd name="T77" fmla="*/ 3951 h 5349"/>
                  <a:gd name="T78" fmla="*/ 597 w 4462"/>
                  <a:gd name="T79" fmla="*/ 4113 h 5349"/>
                  <a:gd name="T80" fmla="*/ 546 w 4462"/>
                  <a:gd name="T81" fmla="*/ 4336 h 5349"/>
                  <a:gd name="T82" fmla="*/ 354 w 4462"/>
                  <a:gd name="T83" fmla="*/ 4720 h 5349"/>
                  <a:gd name="T84" fmla="*/ 182 w 4462"/>
                  <a:gd name="T85" fmla="*/ 4953 h 5349"/>
                  <a:gd name="T86" fmla="*/ 0 w 4462"/>
                  <a:gd name="T87" fmla="*/ 5136 h 5349"/>
                  <a:gd name="T88" fmla="*/ 293 w 4462"/>
                  <a:gd name="T89" fmla="*/ 5197 h 5349"/>
                  <a:gd name="T90" fmla="*/ 556 w 4462"/>
                  <a:gd name="T91" fmla="*/ 5278 h 5349"/>
                  <a:gd name="T92" fmla="*/ 749 w 4462"/>
                  <a:gd name="T93" fmla="*/ 5318 h 5349"/>
                  <a:gd name="T94" fmla="*/ 941 w 4462"/>
                  <a:gd name="T95" fmla="*/ 5197 h 5349"/>
                  <a:gd name="T96" fmla="*/ 1133 w 4462"/>
                  <a:gd name="T97" fmla="*/ 5035 h 5349"/>
                  <a:gd name="T98" fmla="*/ 1295 w 4462"/>
                  <a:gd name="T99" fmla="*/ 5055 h 5349"/>
                  <a:gd name="T100" fmla="*/ 1538 w 4462"/>
                  <a:gd name="T101" fmla="*/ 5105 h 5349"/>
                  <a:gd name="T102" fmla="*/ 1811 w 4462"/>
                  <a:gd name="T103" fmla="*/ 5075 h 5349"/>
                  <a:gd name="T104" fmla="*/ 2074 w 4462"/>
                  <a:gd name="T105" fmla="*/ 5095 h 5349"/>
                  <a:gd name="T106" fmla="*/ 2226 w 4462"/>
                  <a:gd name="T107" fmla="*/ 5166 h 5349"/>
                  <a:gd name="T108" fmla="*/ 2529 w 4462"/>
                  <a:gd name="T109" fmla="*/ 5247 h 5349"/>
                  <a:gd name="T110" fmla="*/ 2803 w 4462"/>
                  <a:gd name="T111" fmla="*/ 5045 h 5349"/>
                  <a:gd name="T112" fmla="*/ 3035 w 4462"/>
                  <a:gd name="T113" fmla="*/ 4832 h 5349"/>
                  <a:gd name="T114" fmla="*/ 3137 w 4462"/>
                  <a:gd name="T115" fmla="*/ 4558 h 5349"/>
                  <a:gd name="T116" fmla="*/ 3369 w 4462"/>
                  <a:gd name="T117" fmla="*/ 4082 h 5349"/>
                  <a:gd name="T118" fmla="*/ 3460 w 4462"/>
                  <a:gd name="T119" fmla="*/ 3738 h 5349"/>
                  <a:gd name="T120" fmla="*/ 3784 w 4462"/>
                  <a:gd name="T121" fmla="*/ 3312 h 5349"/>
                  <a:gd name="T122" fmla="*/ 4007 w 4462"/>
                  <a:gd name="T123" fmla="*/ 2998 h 5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62" h="5349">
                    <a:moveTo>
                      <a:pt x="4098" y="2836"/>
                    </a:moveTo>
                    <a:lnTo>
                      <a:pt x="4098" y="2826"/>
                    </a:lnTo>
                    <a:lnTo>
                      <a:pt x="4108" y="2816"/>
                    </a:lnTo>
                    <a:lnTo>
                      <a:pt x="4118" y="2806"/>
                    </a:lnTo>
                    <a:lnTo>
                      <a:pt x="4128" y="2796"/>
                    </a:lnTo>
                    <a:lnTo>
                      <a:pt x="4148" y="2775"/>
                    </a:lnTo>
                    <a:lnTo>
                      <a:pt x="4169" y="2755"/>
                    </a:lnTo>
                    <a:lnTo>
                      <a:pt x="4199" y="2725"/>
                    </a:lnTo>
                    <a:lnTo>
                      <a:pt x="4229" y="2694"/>
                    </a:lnTo>
                    <a:lnTo>
                      <a:pt x="4240" y="2674"/>
                    </a:lnTo>
                    <a:lnTo>
                      <a:pt x="4240" y="2664"/>
                    </a:lnTo>
                    <a:lnTo>
                      <a:pt x="4260" y="2634"/>
                    </a:lnTo>
                    <a:lnTo>
                      <a:pt x="4270" y="2613"/>
                    </a:lnTo>
                    <a:lnTo>
                      <a:pt x="4280" y="2603"/>
                    </a:lnTo>
                    <a:lnTo>
                      <a:pt x="4290" y="2593"/>
                    </a:lnTo>
                    <a:lnTo>
                      <a:pt x="4310" y="2583"/>
                    </a:lnTo>
                    <a:lnTo>
                      <a:pt x="4341" y="2563"/>
                    </a:lnTo>
                    <a:lnTo>
                      <a:pt x="4371" y="2532"/>
                    </a:lnTo>
                    <a:lnTo>
                      <a:pt x="4401" y="2512"/>
                    </a:lnTo>
                    <a:lnTo>
                      <a:pt x="4412" y="2492"/>
                    </a:lnTo>
                    <a:lnTo>
                      <a:pt x="4412" y="2482"/>
                    </a:lnTo>
                    <a:lnTo>
                      <a:pt x="4422" y="2461"/>
                    </a:lnTo>
                    <a:lnTo>
                      <a:pt x="4432" y="2441"/>
                    </a:lnTo>
                    <a:lnTo>
                      <a:pt x="4432" y="2421"/>
                    </a:lnTo>
                    <a:lnTo>
                      <a:pt x="4432" y="2391"/>
                    </a:lnTo>
                    <a:lnTo>
                      <a:pt x="4432" y="2370"/>
                    </a:lnTo>
                    <a:lnTo>
                      <a:pt x="4442" y="2360"/>
                    </a:lnTo>
                    <a:lnTo>
                      <a:pt x="4452" y="2350"/>
                    </a:lnTo>
                    <a:lnTo>
                      <a:pt x="4452" y="2340"/>
                    </a:lnTo>
                    <a:lnTo>
                      <a:pt x="4462" y="2309"/>
                    </a:lnTo>
                    <a:lnTo>
                      <a:pt x="4462" y="2289"/>
                    </a:lnTo>
                    <a:lnTo>
                      <a:pt x="4462" y="2279"/>
                    </a:lnTo>
                    <a:lnTo>
                      <a:pt x="4462" y="2259"/>
                    </a:lnTo>
                    <a:lnTo>
                      <a:pt x="4462" y="2249"/>
                    </a:lnTo>
                    <a:lnTo>
                      <a:pt x="4452" y="2239"/>
                    </a:lnTo>
                    <a:lnTo>
                      <a:pt x="4442" y="2239"/>
                    </a:lnTo>
                    <a:lnTo>
                      <a:pt x="4422" y="2228"/>
                    </a:lnTo>
                    <a:lnTo>
                      <a:pt x="4422" y="2218"/>
                    </a:lnTo>
                    <a:lnTo>
                      <a:pt x="4412" y="2218"/>
                    </a:lnTo>
                    <a:lnTo>
                      <a:pt x="4401" y="2198"/>
                    </a:lnTo>
                    <a:lnTo>
                      <a:pt x="4391" y="2178"/>
                    </a:lnTo>
                    <a:lnTo>
                      <a:pt x="4381" y="2158"/>
                    </a:lnTo>
                    <a:lnTo>
                      <a:pt x="4381" y="2147"/>
                    </a:lnTo>
                    <a:lnTo>
                      <a:pt x="4371" y="2137"/>
                    </a:lnTo>
                    <a:lnTo>
                      <a:pt x="4371" y="2127"/>
                    </a:lnTo>
                    <a:lnTo>
                      <a:pt x="4371" y="2117"/>
                    </a:lnTo>
                    <a:lnTo>
                      <a:pt x="4361" y="2107"/>
                    </a:lnTo>
                    <a:lnTo>
                      <a:pt x="4361" y="2097"/>
                    </a:lnTo>
                    <a:lnTo>
                      <a:pt x="4361" y="2087"/>
                    </a:lnTo>
                    <a:lnTo>
                      <a:pt x="4361" y="2066"/>
                    </a:lnTo>
                    <a:lnTo>
                      <a:pt x="4361" y="2066"/>
                    </a:lnTo>
                    <a:lnTo>
                      <a:pt x="4351" y="2026"/>
                    </a:lnTo>
                    <a:lnTo>
                      <a:pt x="4351" y="1975"/>
                    </a:lnTo>
                    <a:lnTo>
                      <a:pt x="4351" y="1965"/>
                    </a:lnTo>
                    <a:lnTo>
                      <a:pt x="4351" y="1955"/>
                    </a:lnTo>
                    <a:lnTo>
                      <a:pt x="4341" y="1935"/>
                    </a:lnTo>
                    <a:lnTo>
                      <a:pt x="4341" y="1925"/>
                    </a:lnTo>
                    <a:lnTo>
                      <a:pt x="4341" y="1914"/>
                    </a:lnTo>
                    <a:lnTo>
                      <a:pt x="4331" y="1904"/>
                    </a:lnTo>
                    <a:lnTo>
                      <a:pt x="4321" y="1904"/>
                    </a:lnTo>
                    <a:lnTo>
                      <a:pt x="4310" y="1904"/>
                    </a:lnTo>
                    <a:lnTo>
                      <a:pt x="4310" y="1894"/>
                    </a:lnTo>
                    <a:lnTo>
                      <a:pt x="4300" y="1884"/>
                    </a:lnTo>
                    <a:lnTo>
                      <a:pt x="4290" y="1864"/>
                    </a:lnTo>
                    <a:lnTo>
                      <a:pt x="4280" y="1843"/>
                    </a:lnTo>
                    <a:lnTo>
                      <a:pt x="4270" y="1813"/>
                    </a:lnTo>
                    <a:lnTo>
                      <a:pt x="4250" y="1793"/>
                    </a:lnTo>
                    <a:lnTo>
                      <a:pt x="4229" y="1752"/>
                    </a:lnTo>
                    <a:lnTo>
                      <a:pt x="4209" y="1732"/>
                    </a:lnTo>
                    <a:lnTo>
                      <a:pt x="4199" y="1722"/>
                    </a:lnTo>
                    <a:lnTo>
                      <a:pt x="4189" y="1712"/>
                    </a:lnTo>
                    <a:lnTo>
                      <a:pt x="4179" y="1702"/>
                    </a:lnTo>
                    <a:lnTo>
                      <a:pt x="4169" y="1692"/>
                    </a:lnTo>
                    <a:lnTo>
                      <a:pt x="4169" y="1681"/>
                    </a:lnTo>
                    <a:lnTo>
                      <a:pt x="4159" y="1681"/>
                    </a:lnTo>
                    <a:lnTo>
                      <a:pt x="4138" y="1671"/>
                    </a:lnTo>
                    <a:lnTo>
                      <a:pt x="4128" y="1651"/>
                    </a:lnTo>
                    <a:lnTo>
                      <a:pt x="4118" y="1651"/>
                    </a:lnTo>
                    <a:lnTo>
                      <a:pt x="4108" y="1641"/>
                    </a:lnTo>
                    <a:lnTo>
                      <a:pt x="4098" y="1641"/>
                    </a:lnTo>
                    <a:lnTo>
                      <a:pt x="4088" y="1641"/>
                    </a:lnTo>
                    <a:lnTo>
                      <a:pt x="4088" y="1641"/>
                    </a:lnTo>
                    <a:lnTo>
                      <a:pt x="4068" y="1631"/>
                    </a:lnTo>
                    <a:lnTo>
                      <a:pt x="4057" y="1621"/>
                    </a:lnTo>
                    <a:lnTo>
                      <a:pt x="4057" y="1621"/>
                    </a:lnTo>
                    <a:lnTo>
                      <a:pt x="4047" y="1621"/>
                    </a:lnTo>
                    <a:lnTo>
                      <a:pt x="4047" y="1631"/>
                    </a:lnTo>
                    <a:lnTo>
                      <a:pt x="4047" y="1641"/>
                    </a:lnTo>
                    <a:lnTo>
                      <a:pt x="4047" y="1651"/>
                    </a:lnTo>
                    <a:lnTo>
                      <a:pt x="4047" y="1661"/>
                    </a:lnTo>
                    <a:lnTo>
                      <a:pt x="4037" y="1671"/>
                    </a:lnTo>
                    <a:lnTo>
                      <a:pt x="4037" y="1671"/>
                    </a:lnTo>
                    <a:lnTo>
                      <a:pt x="4027" y="1681"/>
                    </a:lnTo>
                    <a:lnTo>
                      <a:pt x="4027" y="1692"/>
                    </a:lnTo>
                    <a:lnTo>
                      <a:pt x="4027" y="1712"/>
                    </a:lnTo>
                    <a:lnTo>
                      <a:pt x="4027" y="1742"/>
                    </a:lnTo>
                    <a:lnTo>
                      <a:pt x="4027" y="1762"/>
                    </a:lnTo>
                    <a:lnTo>
                      <a:pt x="4027" y="1773"/>
                    </a:lnTo>
                    <a:lnTo>
                      <a:pt x="4027" y="1793"/>
                    </a:lnTo>
                    <a:lnTo>
                      <a:pt x="4017" y="1803"/>
                    </a:lnTo>
                    <a:lnTo>
                      <a:pt x="4017" y="1813"/>
                    </a:lnTo>
                    <a:lnTo>
                      <a:pt x="4027" y="1843"/>
                    </a:lnTo>
                    <a:lnTo>
                      <a:pt x="4027" y="1904"/>
                    </a:lnTo>
                    <a:lnTo>
                      <a:pt x="4017" y="1925"/>
                    </a:lnTo>
                    <a:lnTo>
                      <a:pt x="4017" y="1935"/>
                    </a:lnTo>
                    <a:lnTo>
                      <a:pt x="3997" y="1955"/>
                    </a:lnTo>
                    <a:lnTo>
                      <a:pt x="3987" y="1965"/>
                    </a:lnTo>
                    <a:lnTo>
                      <a:pt x="3987" y="1975"/>
                    </a:lnTo>
                    <a:lnTo>
                      <a:pt x="3976" y="1995"/>
                    </a:lnTo>
                    <a:lnTo>
                      <a:pt x="3966" y="1995"/>
                    </a:lnTo>
                    <a:lnTo>
                      <a:pt x="3956" y="2006"/>
                    </a:lnTo>
                    <a:lnTo>
                      <a:pt x="3946" y="2006"/>
                    </a:lnTo>
                    <a:lnTo>
                      <a:pt x="3946" y="1995"/>
                    </a:lnTo>
                    <a:lnTo>
                      <a:pt x="3946" y="1985"/>
                    </a:lnTo>
                    <a:lnTo>
                      <a:pt x="3956" y="1985"/>
                    </a:lnTo>
                    <a:lnTo>
                      <a:pt x="3956" y="1975"/>
                    </a:lnTo>
                    <a:lnTo>
                      <a:pt x="3966" y="1965"/>
                    </a:lnTo>
                    <a:lnTo>
                      <a:pt x="3966" y="1945"/>
                    </a:lnTo>
                    <a:lnTo>
                      <a:pt x="3976" y="1935"/>
                    </a:lnTo>
                    <a:lnTo>
                      <a:pt x="3976" y="1914"/>
                    </a:lnTo>
                    <a:lnTo>
                      <a:pt x="3976" y="1894"/>
                    </a:lnTo>
                    <a:lnTo>
                      <a:pt x="3966" y="1884"/>
                    </a:lnTo>
                    <a:lnTo>
                      <a:pt x="3966" y="1874"/>
                    </a:lnTo>
                    <a:lnTo>
                      <a:pt x="3966" y="1864"/>
                    </a:lnTo>
                    <a:lnTo>
                      <a:pt x="3966" y="1803"/>
                    </a:lnTo>
                    <a:lnTo>
                      <a:pt x="3966" y="1793"/>
                    </a:lnTo>
                    <a:lnTo>
                      <a:pt x="3956" y="1783"/>
                    </a:lnTo>
                    <a:lnTo>
                      <a:pt x="3956" y="1773"/>
                    </a:lnTo>
                    <a:lnTo>
                      <a:pt x="3946" y="1762"/>
                    </a:lnTo>
                    <a:lnTo>
                      <a:pt x="3936" y="1752"/>
                    </a:lnTo>
                    <a:lnTo>
                      <a:pt x="3926" y="1742"/>
                    </a:lnTo>
                    <a:lnTo>
                      <a:pt x="3916" y="1742"/>
                    </a:lnTo>
                    <a:lnTo>
                      <a:pt x="3916" y="1742"/>
                    </a:lnTo>
                    <a:lnTo>
                      <a:pt x="3906" y="1722"/>
                    </a:lnTo>
                    <a:lnTo>
                      <a:pt x="3896" y="1712"/>
                    </a:lnTo>
                    <a:lnTo>
                      <a:pt x="3885" y="1692"/>
                    </a:lnTo>
                    <a:lnTo>
                      <a:pt x="3875" y="1692"/>
                    </a:lnTo>
                    <a:lnTo>
                      <a:pt x="3875" y="1681"/>
                    </a:lnTo>
                    <a:lnTo>
                      <a:pt x="3865" y="1671"/>
                    </a:lnTo>
                    <a:lnTo>
                      <a:pt x="3855" y="1661"/>
                    </a:lnTo>
                    <a:lnTo>
                      <a:pt x="3855" y="1641"/>
                    </a:lnTo>
                    <a:lnTo>
                      <a:pt x="3845" y="1631"/>
                    </a:lnTo>
                    <a:lnTo>
                      <a:pt x="3845" y="1621"/>
                    </a:lnTo>
                    <a:lnTo>
                      <a:pt x="3835" y="1621"/>
                    </a:lnTo>
                    <a:lnTo>
                      <a:pt x="3825" y="1610"/>
                    </a:lnTo>
                    <a:lnTo>
                      <a:pt x="3825" y="1600"/>
                    </a:lnTo>
                    <a:lnTo>
                      <a:pt x="3825" y="1590"/>
                    </a:lnTo>
                    <a:lnTo>
                      <a:pt x="3825" y="1580"/>
                    </a:lnTo>
                    <a:lnTo>
                      <a:pt x="3815" y="1560"/>
                    </a:lnTo>
                    <a:lnTo>
                      <a:pt x="3804" y="1550"/>
                    </a:lnTo>
                    <a:lnTo>
                      <a:pt x="3794" y="1540"/>
                    </a:lnTo>
                    <a:lnTo>
                      <a:pt x="3784" y="1540"/>
                    </a:lnTo>
                    <a:lnTo>
                      <a:pt x="3754" y="1519"/>
                    </a:lnTo>
                    <a:lnTo>
                      <a:pt x="3744" y="1509"/>
                    </a:lnTo>
                    <a:lnTo>
                      <a:pt x="3734" y="1509"/>
                    </a:lnTo>
                    <a:lnTo>
                      <a:pt x="3734" y="1499"/>
                    </a:lnTo>
                    <a:lnTo>
                      <a:pt x="3713" y="1499"/>
                    </a:lnTo>
                    <a:lnTo>
                      <a:pt x="3703" y="1489"/>
                    </a:lnTo>
                    <a:lnTo>
                      <a:pt x="3693" y="1489"/>
                    </a:lnTo>
                    <a:lnTo>
                      <a:pt x="3683" y="1479"/>
                    </a:lnTo>
                    <a:lnTo>
                      <a:pt x="3673" y="1459"/>
                    </a:lnTo>
                    <a:lnTo>
                      <a:pt x="3643" y="1438"/>
                    </a:lnTo>
                    <a:lnTo>
                      <a:pt x="3632" y="1428"/>
                    </a:lnTo>
                    <a:lnTo>
                      <a:pt x="3612" y="1408"/>
                    </a:lnTo>
                    <a:lnTo>
                      <a:pt x="3602" y="1398"/>
                    </a:lnTo>
                    <a:lnTo>
                      <a:pt x="3602" y="1388"/>
                    </a:lnTo>
                    <a:lnTo>
                      <a:pt x="3592" y="1367"/>
                    </a:lnTo>
                    <a:lnTo>
                      <a:pt x="3582" y="1337"/>
                    </a:lnTo>
                    <a:lnTo>
                      <a:pt x="3572" y="1317"/>
                    </a:lnTo>
                    <a:lnTo>
                      <a:pt x="3551" y="1296"/>
                    </a:lnTo>
                    <a:lnTo>
                      <a:pt x="3531" y="1286"/>
                    </a:lnTo>
                    <a:lnTo>
                      <a:pt x="3521" y="1276"/>
                    </a:lnTo>
                    <a:lnTo>
                      <a:pt x="3511" y="1276"/>
                    </a:lnTo>
                    <a:lnTo>
                      <a:pt x="3491" y="1276"/>
                    </a:lnTo>
                    <a:lnTo>
                      <a:pt x="3481" y="1286"/>
                    </a:lnTo>
                    <a:lnTo>
                      <a:pt x="3471" y="1286"/>
                    </a:lnTo>
                    <a:lnTo>
                      <a:pt x="3460" y="1286"/>
                    </a:lnTo>
                    <a:lnTo>
                      <a:pt x="3460" y="1276"/>
                    </a:lnTo>
                    <a:lnTo>
                      <a:pt x="3440" y="1276"/>
                    </a:lnTo>
                    <a:lnTo>
                      <a:pt x="3430" y="1276"/>
                    </a:lnTo>
                    <a:lnTo>
                      <a:pt x="3420" y="1276"/>
                    </a:lnTo>
                    <a:lnTo>
                      <a:pt x="3410" y="1286"/>
                    </a:lnTo>
                    <a:lnTo>
                      <a:pt x="3390" y="1296"/>
                    </a:lnTo>
                    <a:lnTo>
                      <a:pt x="3379" y="1307"/>
                    </a:lnTo>
                    <a:lnTo>
                      <a:pt x="3369" y="1317"/>
                    </a:lnTo>
                    <a:lnTo>
                      <a:pt x="3359" y="1337"/>
                    </a:lnTo>
                    <a:lnTo>
                      <a:pt x="3349" y="1347"/>
                    </a:lnTo>
                    <a:lnTo>
                      <a:pt x="3339" y="1347"/>
                    </a:lnTo>
                    <a:lnTo>
                      <a:pt x="3339" y="1337"/>
                    </a:lnTo>
                    <a:lnTo>
                      <a:pt x="3329" y="1337"/>
                    </a:lnTo>
                    <a:lnTo>
                      <a:pt x="3339" y="1317"/>
                    </a:lnTo>
                    <a:lnTo>
                      <a:pt x="3339" y="1307"/>
                    </a:lnTo>
                    <a:lnTo>
                      <a:pt x="3329" y="1286"/>
                    </a:lnTo>
                    <a:lnTo>
                      <a:pt x="3319" y="1276"/>
                    </a:lnTo>
                    <a:lnTo>
                      <a:pt x="3319" y="1256"/>
                    </a:lnTo>
                    <a:lnTo>
                      <a:pt x="3309" y="1246"/>
                    </a:lnTo>
                    <a:lnTo>
                      <a:pt x="3299" y="1236"/>
                    </a:lnTo>
                    <a:lnTo>
                      <a:pt x="3299" y="1226"/>
                    </a:lnTo>
                    <a:lnTo>
                      <a:pt x="3299" y="1195"/>
                    </a:lnTo>
                    <a:lnTo>
                      <a:pt x="3299" y="1185"/>
                    </a:lnTo>
                    <a:lnTo>
                      <a:pt x="3299" y="1175"/>
                    </a:lnTo>
                    <a:lnTo>
                      <a:pt x="3278" y="1165"/>
                    </a:lnTo>
                    <a:lnTo>
                      <a:pt x="3268" y="1165"/>
                    </a:lnTo>
                    <a:lnTo>
                      <a:pt x="3258" y="1165"/>
                    </a:lnTo>
                    <a:lnTo>
                      <a:pt x="3248" y="1165"/>
                    </a:lnTo>
                    <a:lnTo>
                      <a:pt x="3238" y="1165"/>
                    </a:lnTo>
                    <a:lnTo>
                      <a:pt x="3238" y="1155"/>
                    </a:lnTo>
                    <a:lnTo>
                      <a:pt x="3228" y="1155"/>
                    </a:lnTo>
                    <a:lnTo>
                      <a:pt x="3218" y="1144"/>
                    </a:lnTo>
                    <a:lnTo>
                      <a:pt x="3207" y="1124"/>
                    </a:lnTo>
                    <a:lnTo>
                      <a:pt x="3197" y="1104"/>
                    </a:lnTo>
                    <a:lnTo>
                      <a:pt x="3187" y="1094"/>
                    </a:lnTo>
                    <a:lnTo>
                      <a:pt x="3177" y="1084"/>
                    </a:lnTo>
                    <a:lnTo>
                      <a:pt x="3157" y="1084"/>
                    </a:lnTo>
                    <a:lnTo>
                      <a:pt x="3137" y="1084"/>
                    </a:lnTo>
                    <a:lnTo>
                      <a:pt x="3126" y="1084"/>
                    </a:lnTo>
                    <a:lnTo>
                      <a:pt x="3126" y="1084"/>
                    </a:lnTo>
                    <a:lnTo>
                      <a:pt x="3116" y="1074"/>
                    </a:lnTo>
                    <a:lnTo>
                      <a:pt x="3116" y="1063"/>
                    </a:lnTo>
                    <a:lnTo>
                      <a:pt x="3096" y="1053"/>
                    </a:lnTo>
                    <a:lnTo>
                      <a:pt x="3096" y="1053"/>
                    </a:lnTo>
                    <a:lnTo>
                      <a:pt x="3086" y="1043"/>
                    </a:lnTo>
                    <a:lnTo>
                      <a:pt x="3086" y="1033"/>
                    </a:lnTo>
                    <a:lnTo>
                      <a:pt x="3076" y="1023"/>
                    </a:lnTo>
                    <a:lnTo>
                      <a:pt x="3076" y="1013"/>
                    </a:lnTo>
                    <a:lnTo>
                      <a:pt x="3056" y="1003"/>
                    </a:lnTo>
                    <a:lnTo>
                      <a:pt x="3056" y="993"/>
                    </a:lnTo>
                    <a:lnTo>
                      <a:pt x="3046" y="993"/>
                    </a:lnTo>
                    <a:lnTo>
                      <a:pt x="3046" y="982"/>
                    </a:lnTo>
                    <a:lnTo>
                      <a:pt x="3046" y="982"/>
                    </a:lnTo>
                    <a:lnTo>
                      <a:pt x="3035" y="982"/>
                    </a:lnTo>
                    <a:lnTo>
                      <a:pt x="3025" y="982"/>
                    </a:lnTo>
                    <a:lnTo>
                      <a:pt x="2995" y="982"/>
                    </a:lnTo>
                    <a:lnTo>
                      <a:pt x="2985" y="993"/>
                    </a:lnTo>
                    <a:lnTo>
                      <a:pt x="2975" y="993"/>
                    </a:lnTo>
                    <a:lnTo>
                      <a:pt x="2965" y="1003"/>
                    </a:lnTo>
                    <a:lnTo>
                      <a:pt x="2954" y="1003"/>
                    </a:lnTo>
                    <a:lnTo>
                      <a:pt x="2954" y="1003"/>
                    </a:lnTo>
                    <a:lnTo>
                      <a:pt x="2944" y="1003"/>
                    </a:lnTo>
                    <a:lnTo>
                      <a:pt x="2944" y="993"/>
                    </a:lnTo>
                    <a:lnTo>
                      <a:pt x="2954" y="982"/>
                    </a:lnTo>
                    <a:lnTo>
                      <a:pt x="2965" y="952"/>
                    </a:lnTo>
                    <a:lnTo>
                      <a:pt x="2975" y="942"/>
                    </a:lnTo>
                    <a:lnTo>
                      <a:pt x="2975" y="922"/>
                    </a:lnTo>
                    <a:lnTo>
                      <a:pt x="2975" y="922"/>
                    </a:lnTo>
                    <a:lnTo>
                      <a:pt x="2975" y="911"/>
                    </a:lnTo>
                    <a:lnTo>
                      <a:pt x="2954" y="901"/>
                    </a:lnTo>
                    <a:lnTo>
                      <a:pt x="2944" y="901"/>
                    </a:lnTo>
                    <a:lnTo>
                      <a:pt x="2934" y="891"/>
                    </a:lnTo>
                    <a:lnTo>
                      <a:pt x="2914" y="871"/>
                    </a:lnTo>
                    <a:lnTo>
                      <a:pt x="2894" y="851"/>
                    </a:lnTo>
                    <a:lnTo>
                      <a:pt x="2884" y="841"/>
                    </a:lnTo>
                    <a:lnTo>
                      <a:pt x="2863" y="841"/>
                    </a:lnTo>
                    <a:lnTo>
                      <a:pt x="2853" y="830"/>
                    </a:lnTo>
                    <a:lnTo>
                      <a:pt x="2843" y="820"/>
                    </a:lnTo>
                    <a:lnTo>
                      <a:pt x="2813" y="800"/>
                    </a:lnTo>
                    <a:lnTo>
                      <a:pt x="2793" y="780"/>
                    </a:lnTo>
                    <a:lnTo>
                      <a:pt x="2782" y="770"/>
                    </a:lnTo>
                    <a:lnTo>
                      <a:pt x="2772" y="770"/>
                    </a:lnTo>
                    <a:lnTo>
                      <a:pt x="2762" y="760"/>
                    </a:lnTo>
                    <a:lnTo>
                      <a:pt x="2752" y="749"/>
                    </a:lnTo>
                    <a:lnTo>
                      <a:pt x="2742" y="739"/>
                    </a:lnTo>
                    <a:lnTo>
                      <a:pt x="2732" y="729"/>
                    </a:lnTo>
                    <a:lnTo>
                      <a:pt x="2712" y="719"/>
                    </a:lnTo>
                    <a:lnTo>
                      <a:pt x="2702" y="709"/>
                    </a:lnTo>
                    <a:lnTo>
                      <a:pt x="2702" y="699"/>
                    </a:lnTo>
                    <a:lnTo>
                      <a:pt x="2691" y="689"/>
                    </a:lnTo>
                    <a:lnTo>
                      <a:pt x="2681" y="678"/>
                    </a:lnTo>
                    <a:lnTo>
                      <a:pt x="2671" y="678"/>
                    </a:lnTo>
                    <a:lnTo>
                      <a:pt x="2661" y="668"/>
                    </a:lnTo>
                    <a:lnTo>
                      <a:pt x="2641" y="658"/>
                    </a:lnTo>
                    <a:lnTo>
                      <a:pt x="2631" y="658"/>
                    </a:lnTo>
                    <a:lnTo>
                      <a:pt x="2621" y="648"/>
                    </a:lnTo>
                    <a:lnTo>
                      <a:pt x="2610" y="628"/>
                    </a:lnTo>
                    <a:lnTo>
                      <a:pt x="2600" y="618"/>
                    </a:lnTo>
                    <a:lnTo>
                      <a:pt x="2570" y="597"/>
                    </a:lnTo>
                    <a:lnTo>
                      <a:pt x="2560" y="587"/>
                    </a:lnTo>
                    <a:lnTo>
                      <a:pt x="2540" y="567"/>
                    </a:lnTo>
                    <a:lnTo>
                      <a:pt x="2529" y="557"/>
                    </a:lnTo>
                    <a:lnTo>
                      <a:pt x="2519" y="547"/>
                    </a:lnTo>
                    <a:lnTo>
                      <a:pt x="2509" y="537"/>
                    </a:lnTo>
                    <a:lnTo>
                      <a:pt x="2489" y="527"/>
                    </a:lnTo>
                    <a:lnTo>
                      <a:pt x="2479" y="516"/>
                    </a:lnTo>
                    <a:lnTo>
                      <a:pt x="2469" y="516"/>
                    </a:lnTo>
                    <a:lnTo>
                      <a:pt x="2449" y="516"/>
                    </a:lnTo>
                    <a:lnTo>
                      <a:pt x="2438" y="516"/>
                    </a:lnTo>
                    <a:lnTo>
                      <a:pt x="2418" y="516"/>
                    </a:lnTo>
                    <a:lnTo>
                      <a:pt x="2408" y="527"/>
                    </a:lnTo>
                    <a:lnTo>
                      <a:pt x="2398" y="527"/>
                    </a:lnTo>
                    <a:lnTo>
                      <a:pt x="2388" y="537"/>
                    </a:lnTo>
                    <a:lnTo>
                      <a:pt x="2378" y="537"/>
                    </a:lnTo>
                    <a:lnTo>
                      <a:pt x="2357" y="537"/>
                    </a:lnTo>
                    <a:lnTo>
                      <a:pt x="2357" y="537"/>
                    </a:lnTo>
                    <a:lnTo>
                      <a:pt x="2347" y="537"/>
                    </a:lnTo>
                    <a:lnTo>
                      <a:pt x="2337" y="527"/>
                    </a:lnTo>
                    <a:lnTo>
                      <a:pt x="2317" y="516"/>
                    </a:lnTo>
                    <a:lnTo>
                      <a:pt x="2307" y="516"/>
                    </a:lnTo>
                    <a:lnTo>
                      <a:pt x="2307" y="506"/>
                    </a:lnTo>
                    <a:lnTo>
                      <a:pt x="2297" y="506"/>
                    </a:lnTo>
                    <a:lnTo>
                      <a:pt x="2297" y="506"/>
                    </a:lnTo>
                    <a:lnTo>
                      <a:pt x="2287" y="506"/>
                    </a:lnTo>
                    <a:lnTo>
                      <a:pt x="2277" y="506"/>
                    </a:lnTo>
                    <a:lnTo>
                      <a:pt x="2256" y="496"/>
                    </a:lnTo>
                    <a:lnTo>
                      <a:pt x="2236" y="486"/>
                    </a:lnTo>
                    <a:lnTo>
                      <a:pt x="2206" y="486"/>
                    </a:lnTo>
                    <a:lnTo>
                      <a:pt x="2175" y="486"/>
                    </a:lnTo>
                    <a:lnTo>
                      <a:pt x="2135" y="486"/>
                    </a:lnTo>
                    <a:lnTo>
                      <a:pt x="2104" y="496"/>
                    </a:lnTo>
                    <a:lnTo>
                      <a:pt x="2084" y="496"/>
                    </a:lnTo>
                    <a:lnTo>
                      <a:pt x="2074" y="486"/>
                    </a:lnTo>
                    <a:lnTo>
                      <a:pt x="2034" y="476"/>
                    </a:lnTo>
                    <a:lnTo>
                      <a:pt x="2024" y="466"/>
                    </a:lnTo>
                    <a:lnTo>
                      <a:pt x="2003" y="456"/>
                    </a:lnTo>
                    <a:lnTo>
                      <a:pt x="1983" y="456"/>
                    </a:lnTo>
                    <a:lnTo>
                      <a:pt x="1973" y="456"/>
                    </a:lnTo>
                    <a:lnTo>
                      <a:pt x="1953" y="456"/>
                    </a:lnTo>
                    <a:lnTo>
                      <a:pt x="1943" y="445"/>
                    </a:lnTo>
                    <a:lnTo>
                      <a:pt x="1932" y="445"/>
                    </a:lnTo>
                    <a:lnTo>
                      <a:pt x="1912" y="435"/>
                    </a:lnTo>
                    <a:lnTo>
                      <a:pt x="1902" y="435"/>
                    </a:lnTo>
                    <a:lnTo>
                      <a:pt x="1882" y="435"/>
                    </a:lnTo>
                    <a:lnTo>
                      <a:pt x="1862" y="435"/>
                    </a:lnTo>
                    <a:lnTo>
                      <a:pt x="1841" y="435"/>
                    </a:lnTo>
                    <a:lnTo>
                      <a:pt x="1821" y="425"/>
                    </a:lnTo>
                    <a:lnTo>
                      <a:pt x="1801" y="425"/>
                    </a:lnTo>
                    <a:lnTo>
                      <a:pt x="1781" y="415"/>
                    </a:lnTo>
                    <a:lnTo>
                      <a:pt x="1760" y="405"/>
                    </a:lnTo>
                    <a:lnTo>
                      <a:pt x="1740" y="405"/>
                    </a:lnTo>
                    <a:lnTo>
                      <a:pt x="1720" y="395"/>
                    </a:lnTo>
                    <a:lnTo>
                      <a:pt x="1690" y="395"/>
                    </a:lnTo>
                    <a:lnTo>
                      <a:pt x="1679" y="385"/>
                    </a:lnTo>
                    <a:lnTo>
                      <a:pt x="1659" y="385"/>
                    </a:lnTo>
                    <a:lnTo>
                      <a:pt x="1639" y="364"/>
                    </a:lnTo>
                    <a:lnTo>
                      <a:pt x="1619" y="354"/>
                    </a:lnTo>
                    <a:lnTo>
                      <a:pt x="1599" y="334"/>
                    </a:lnTo>
                    <a:lnTo>
                      <a:pt x="1578" y="324"/>
                    </a:lnTo>
                    <a:lnTo>
                      <a:pt x="1558" y="314"/>
                    </a:lnTo>
                    <a:lnTo>
                      <a:pt x="1558" y="304"/>
                    </a:lnTo>
                    <a:lnTo>
                      <a:pt x="1548" y="304"/>
                    </a:lnTo>
                    <a:lnTo>
                      <a:pt x="1538" y="304"/>
                    </a:lnTo>
                    <a:lnTo>
                      <a:pt x="1528" y="304"/>
                    </a:lnTo>
                    <a:lnTo>
                      <a:pt x="1518" y="304"/>
                    </a:lnTo>
                    <a:lnTo>
                      <a:pt x="1507" y="304"/>
                    </a:lnTo>
                    <a:lnTo>
                      <a:pt x="1487" y="294"/>
                    </a:lnTo>
                    <a:lnTo>
                      <a:pt x="1477" y="283"/>
                    </a:lnTo>
                    <a:lnTo>
                      <a:pt x="1457" y="283"/>
                    </a:lnTo>
                    <a:lnTo>
                      <a:pt x="1447" y="283"/>
                    </a:lnTo>
                    <a:lnTo>
                      <a:pt x="1437" y="283"/>
                    </a:lnTo>
                    <a:lnTo>
                      <a:pt x="1427" y="283"/>
                    </a:lnTo>
                    <a:lnTo>
                      <a:pt x="1427" y="273"/>
                    </a:lnTo>
                    <a:lnTo>
                      <a:pt x="1416" y="273"/>
                    </a:lnTo>
                    <a:lnTo>
                      <a:pt x="1406" y="273"/>
                    </a:lnTo>
                    <a:lnTo>
                      <a:pt x="1386" y="263"/>
                    </a:lnTo>
                    <a:lnTo>
                      <a:pt x="1386" y="263"/>
                    </a:lnTo>
                    <a:lnTo>
                      <a:pt x="1376" y="263"/>
                    </a:lnTo>
                    <a:lnTo>
                      <a:pt x="1356" y="253"/>
                    </a:lnTo>
                    <a:lnTo>
                      <a:pt x="1346" y="243"/>
                    </a:lnTo>
                    <a:lnTo>
                      <a:pt x="1315" y="233"/>
                    </a:lnTo>
                    <a:lnTo>
                      <a:pt x="1295" y="223"/>
                    </a:lnTo>
                    <a:lnTo>
                      <a:pt x="1275" y="212"/>
                    </a:lnTo>
                    <a:lnTo>
                      <a:pt x="1265" y="202"/>
                    </a:lnTo>
                    <a:lnTo>
                      <a:pt x="1255" y="202"/>
                    </a:lnTo>
                    <a:lnTo>
                      <a:pt x="1224" y="192"/>
                    </a:lnTo>
                    <a:lnTo>
                      <a:pt x="1214" y="192"/>
                    </a:lnTo>
                    <a:lnTo>
                      <a:pt x="1204" y="182"/>
                    </a:lnTo>
                    <a:lnTo>
                      <a:pt x="1184" y="172"/>
                    </a:lnTo>
                    <a:lnTo>
                      <a:pt x="1163" y="162"/>
                    </a:lnTo>
                    <a:lnTo>
                      <a:pt x="1153" y="152"/>
                    </a:lnTo>
                    <a:lnTo>
                      <a:pt x="1143" y="142"/>
                    </a:lnTo>
                    <a:lnTo>
                      <a:pt x="1123" y="142"/>
                    </a:lnTo>
                    <a:lnTo>
                      <a:pt x="1103" y="131"/>
                    </a:lnTo>
                    <a:lnTo>
                      <a:pt x="1082" y="121"/>
                    </a:lnTo>
                    <a:lnTo>
                      <a:pt x="1062" y="101"/>
                    </a:lnTo>
                    <a:lnTo>
                      <a:pt x="1052" y="91"/>
                    </a:lnTo>
                    <a:lnTo>
                      <a:pt x="1042" y="91"/>
                    </a:lnTo>
                    <a:lnTo>
                      <a:pt x="1032" y="91"/>
                    </a:lnTo>
                    <a:lnTo>
                      <a:pt x="1012" y="81"/>
                    </a:lnTo>
                    <a:lnTo>
                      <a:pt x="991" y="71"/>
                    </a:lnTo>
                    <a:lnTo>
                      <a:pt x="971" y="61"/>
                    </a:lnTo>
                    <a:lnTo>
                      <a:pt x="961" y="61"/>
                    </a:lnTo>
                    <a:lnTo>
                      <a:pt x="941" y="50"/>
                    </a:lnTo>
                    <a:lnTo>
                      <a:pt x="921" y="30"/>
                    </a:lnTo>
                    <a:lnTo>
                      <a:pt x="910" y="30"/>
                    </a:lnTo>
                    <a:lnTo>
                      <a:pt x="910" y="20"/>
                    </a:lnTo>
                    <a:lnTo>
                      <a:pt x="900" y="10"/>
                    </a:lnTo>
                    <a:lnTo>
                      <a:pt x="880" y="10"/>
                    </a:lnTo>
                    <a:lnTo>
                      <a:pt x="870" y="0"/>
                    </a:lnTo>
                    <a:lnTo>
                      <a:pt x="860" y="10"/>
                    </a:lnTo>
                    <a:lnTo>
                      <a:pt x="850" y="10"/>
                    </a:lnTo>
                    <a:lnTo>
                      <a:pt x="850" y="20"/>
                    </a:lnTo>
                    <a:lnTo>
                      <a:pt x="850" y="30"/>
                    </a:lnTo>
                    <a:lnTo>
                      <a:pt x="860" y="40"/>
                    </a:lnTo>
                    <a:lnTo>
                      <a:pt x="870" y="40"/>
                    </a:lnTo>
                    <a:lnTo>
                      <a:pt x="870" y="50"/>
                    </a:lnTo>
                    <a:lnTo>
                      <a:pt x="870" y="61"/>
                    </a:lnTo>
                    <a:lnTo>
                      <a:pt x="870" y="61"/>
                    </a:lnTo>
                    <a:lnTo>
                      <a:pt x="860" y="71"/>
                    </a:lnTo>
                    <a:lnTo>
                      <a:pt x="860" y="81"/>
                    </a:lnTo>
                    <a:lnTo>
                      <a:pt x="850" y="81"/>
                    </a:lnTo>
                    <a:lnTo>
                      <a:pt x="850" y="91"/>
                    </a:lnTo>
                    <a:lnTo>
                      <a:pt x="850" y="101"/>
                    </a:lnTo>
                    <a:lnTo>
                      <a:pt x="850" y="121"/>
                    </a:lnTo>
                    <a:lnTo>
                      <a:pt x="850" y="131"/>
                    </a:lnTo>
                    <a:lnTo>
                      <a:pt x="860" y="131"/>
                    </a:lnTo>
                    <a:lnTo>
                      <a:pt x="860" y="131"/>
                    </a:lnTo>
                    <a:lnTo>
                      <a:pt x="870" y="142"/>
                    </a:lnTo>
                    <a:lnTo>
                      <a:pt x="880" y="142"/>
                    </a:lnTo>
                    <a:lnTo>
                      <a:pt x="880" y="142"/>
                    </a:lnTo>
                    <a:lnTo>
                      <a:pt x="890" y="142"/>
                    </a:lnTo>
                    <a:lnTo>
                      <a:pt x="900" y="152"/>
                    </a:lnTo>
                    <a:lnTo>
                      <a:pt x="900" y="152"/>
                    </a:lnTo>
                    <a:lnTo>
                      <a:pt x="910" y="152"/>
                    </a:lnTo>
                    <a:lnTo>
                      <a:pt x="921" y="152"/>
                    </a:lnTo>
                    <a:lnTo>
                      <a:pt x="941" y="152"/>
                    </a:lnTo>
                    <a:lnTo>
                      <a:pt x="951" y="152"/>
                    </a:lnTo>
                    <a:lnTo>
                      <a:pt x="961" y="152"/>
                    </a:lnTo>
                    <a:lnTo>
                      <a:pt x="961" y="162"/>
                    </a:lnTo>
                    <a:lnTo>
                      <a:pt x="961" y="162"/>
                    </a:lnTo>
                    <a:lnTo>
                      <a:pt x="961" y="172"/>
                    </a:lnTo>
                    <a:lnTo>
                      <a:pt x="951" y="172"/>
                    </a:lnTo>
                    <a:lnTo>
                      <a:pt x="941" y="172"/>
                    </a:lnTo>
                    <a:lnTo>
                      <a:pt x="931" y="172"/>
                    </a:lnTo>
                    <a:lnTo>
                      <a:pt x="910" y="172"/>
                    </a:lnTo>
                    <a:lnTo>
                      <a:pt x="900" y="182"/>
                    </a:lnTo>
                    <a:lnTo>
                      <a:pt x="880" y="192"/>
                    </a:lnTo>
                    <a:lnTo>
                      <a:pt x="870" y="202"/>
                    </a:lnTo>
                    <a:lnTo>
                      <a:pt x="850" y="223"/>
                    </a:lnTo>
                    <a:lnTo>
                      <a:pt x="850" y="243"/>
                    </a:lnTo>
                    <a:lnTo>
                      <a:pt x="840" y="263"/>
                    </a:lnTo>
                    <a:lnTo>
                      <a:pt x="840" y="283"/>
                    </a:lnTo>
                    <a:lnTo>
                      <a:pt x="840" y="294"/>
                    </a:lnTo>
                    <a:lnTo>
                      <a:pt x="840" y="304"/>
                    </a:lnTo>
                    <a:lnTo>
                      <a:pt x="830" y="324"/>
                    </a:lnTo>
                    <a:lnTo>
                      <a:pt x="819" y="344"/>
                    </a:lnTo>
                    <a:lnTo>
                      <a:pt x="819" y="364"/>
                    </a:lnTo>
                    <a:lnTo>
                      <a:pt x="830" y="385"/>
                    </a:lnTo>
                    <a:lnTo>
                      <a:pt x="830" y="425"/>
                    </a:lnTo>
                    <a:lnTo>
                      <a:pt x="830" y="435"/>
                    </a:lnTo>
                    <a:lnTo>
                      <a:pt x="830" y="445"/>
                    </a:lnTo>
                    <a:lnTo>
                      <a:pt x="809" y="466"/>
                    </a:lnTo>
                    <a:lnTo>
                      <a:pt x="789" y="506"/>
                    </a:lnTo>
                    <a:lnTo>
                      <a:pt x="779" y="527"/>
                    </a:lnTo>
                    <a:lnTo>
                      <a:pt x="769" y="537"/>
                    </a:lnTo>
                    <a:lnTo>
                      <a:pt x="749" y="557"/>
                    </a:lnTo>
                    <a:lnTo>
                      <a:pt x="718" y="587"/>
                    </a:lnTo>
                    <a:lnTo>
                      <a:pt x="708" y="597"/>
                    </a:lnTo>
                    <a:lnTo>
                      <a:pt x="698" y="608"/>
                    </a:lnTo>
                    <a:lnTo>
                      <a:pt x="688" y="638"/>
                    </a:lnTo>
                    <a:lnTo>
                      <a:pt x="657" y="658"/>
                    </a:lnTo>
                    <a:lnTo>
                      <a:pt x="647" y="658"/>
                    </a:lnTo>
                    <a:lnTo>
                      <a:pt x="647" y="668"/>
                    </a:lnTo>
                    <a:lnTo>
                      <a:pt x="637" y="668"/>
                    </a:lnTo>
                    <a:lnTo>
                      <a:pt x="617" y="689"/>
                    </a:lnTo>
                    <a:lnTo>
                      <a:pt x="607" y="699"/>
                    </a:lnTo>
                    <a:lnTo>
                      <a:pt x="597" y="709"/>
                    </a:lnTo>
                    <a:lnTo>
                      <a:pt x="556" y="729"/>
                    </a:lnTo>
                    <a:lnTo>
                      <a:pt x="536" y="739"/>
                    </a:lnTo>
                    <a:lnTo>
                      <a:pt x="506" y="770"/>
                    </a:lnTo>
                    <a:lnTo>
                      <a:pt x="485" y="790"/>
                    </a:lnTo>
                    <a:lnTo>
                      <a:pt x="465" y="800"/>
                    </a:lnTo>
                    <a:lnTo>
                      <a:pt x="455" y="820"/>
                    </a:lnTo>
                    <a:lnTo>
                      <a:pt x="445" y="841"/>
                    </a:lnTo>
                    <a:lnTo>
                      <a:pt x="425" y="861"/>
                    </a:lnTo>
                    <a:lnTo>
                      <a:pt x="384" y="891"/>
                    </a:lnTo>
                    <a:lnTo>
                      <a:pt x="374" y="901"/>
                    </a:lnTo>
                    <a:lnTo>
                      <a:pt x="364" y="911"/>
                    </a:lnTo>
                    <a:lnTo>
                      <a:pt x="354" y="922"/>
                    </a:lnTo>
                    <a:lnTo>
                      <a:pt x="354" y="932"/>
                    </a:lnTo>
                    <a:lnTo>
                      <a:pt x="334" y="942"/>
                    </a:lnTo>
                    <a:lnTo>
                      <a:pt x="313" y="962"/>
                    </a:lnTo>
                    <a:lnTo>
                      <a:pt x="303" y="972"/>
                    </a:lnTo>
                    <a:lnTo>
                      <a:pt x="293" y="993"/>
                    </a:lnTo>
                    <a:lnTo>
                      <a:pt x="273" y="1003"/>
                    </a:lnTo>
                    <a:lnTo>
                      <a:pt x="263" y="1023"/>
                    </a:lnTo>
                    <a:lnTo>
                      <a:pt x="243" y="1053"/>
                    </a:lnTo>
                    <a:lnTo>
                      <a:pt x="243" y="1063"/>
                    </a:lnTo>
                    <a:lnTo>
                      <a:pt x="243" y="1074"/>
                    </a:lnTo>
                    <a:lnTo>
                      <a:pt x="222" y="1084"/>
                    </a:lnTo>
                    <a:lnTo>
                      <a:pt x="202" y="1104"/>
                    </a:lnTo>
                    <a:lnTo>
                      <a:pt x="192" y="1114"/>
                    </a:lnTo>
                    <a:lnTo>
                      <a:pt x="182" y="1134"/>
                    </a:lnTo>
                    <a:lnTo>
                      <a:pt x="182" y="1144"/>
                    </a:lnTo>
                    <a:lnTo>
                      <a:pt x="172" y="1165"/>
                    </a:lnTo>
                    <a:lnTo>
                      <a:pt x="162" y="1185"/>
                    </a:lnTo>
                    <a:lnTo>
                      <a:pt x="152" y="1185"/>
                    </a:lnTo>
                    <a:lnTo>
                      <a:pt x="141" y="1195"/>
                    </a:lnTo>
                    <a:lnTo>
                      <a:pt x="141" y="1215"/>
                    </a:lnTo>
                    <a:lnTo>
                      <a:pt x="141" y="1226"/>
                    </a:lnTo>
                    <a:lnTo>
                      <a:pt x="141" y="1256"/>
                    </a:lnTo>
                    <a:lnTo>
                      <a:pt x="141" y="1266"/>
                    </a:lnTo>
                    <a:lnTo>
                      <a:pt x="141" y="1276"/>
                    </a:lnTo>
                    <a:lnTo>
                      <a:pt x="121" y="1286"/>
                    </a:lnTo>
                    <a:lnTo>
                      <a:pt x="111" y="1307"/>
                    </a:lnTo>
                    <a:lnTo>
                      <a:pt x="111" y="1317"/>
                    </a:lnTo>
                    <a:lnTo>
                      <a:pt x="101" y="1357"/>
                    </a:lnTo>
                    <a:lnTo>
                      <a:pt x="91" y="1398"/>
                    </a:lnTo>
                    <a:lnTo>
                      <a:pt x="91" y="1418"/>
                    </a:lnTo>
                    <a:lnTo>
                      <a:pt x="101" y="1428"/>
                    </a:lnTo>
                    <a:lnTo>
                      <a:pt x="101" y="1459"/>
                    </a:lnTo>
                    <a:lnTo>
                      <a:pt x="111" y="1479"/>
                    </a:lnTo>
                    <a:lnTo>
                      <a:pt x="121" y="1499"/>
                    </a:lnTo>
                    <a:lnTo>
                      <a:pt x="121" y="1519"/>
                    </a:lnTo>
                    <a:lnTo>
                      <a:pt x="131" y="1560"/>
                    </a:lnTo>
                    <a:lnTo>
                      <a:pt x="131" y="1580"/>
                    </a:lnTo>
                    <a:lnTo>
                      <a:pt x="131" y="1590"/>
                    </a:lnTo>
                    <a:lnTo>
                      <a:pt x="141" y="1600"/>
                    </a:lnTo>
                    <a:lnTo>
                      <a:pt x="141" y="1621"/>
                    </a:lnTo>
                    <a:lnTo>
                      <a:pt x="141" y="1631"/>
                    </a:lnTo>
                    <a:lnTo>
                      <a:pt x="152" y="1651"/>
                    </a:lnTo>
                    <a:lnTo>
                      <a:pt x="152" y="1661"/>
                    </a:lnTo>
                    <a:lnTo>
                      <a:pt x="162" y="1661"/>
                    </a:lnTo>
                    <a:lnTo>
                      <a:pt x="162" y="1671"/>
                    </a:lnTo>
                    <a:lnTo>
                      <a:pt x="162" y="1692"/>
                    </a:lnTo>
                    <a:lnTo>
                      <a:pt x="162" y="1712"/>
                    </a:lnTo>
                    <a:lnTo>
                      <a:pt x="162" y="1762"/>
                    </a:lnTo>
                    <a:lnTo>
                      <a:pt x="162" y="1783"/>
                    </a:lnTo>
                    <a:lnTo>
                      <a:pt x="162" y="1793"/>
                    </a:lnTo>
                    <a:lnTo>
                      <a:pt x="162" y="1803"/>
                    </a:lnTo>
                    <a:lnTo>
                      <a:pt x="141" y="1854"/>
                    </a:lnTo>
                    <a:lnTo>
                      <a:pt x="141" y="1874"/>
                    </a:lnTo>
                    <a:lnTo>
                      <a:pt x="131" y="1884"/>
                    </a:lnTo>
                    <a:lnTo>
                      <a:pt x="121" y="1904"/>
                    </a:lnTo>
                    <a:lnTo>
                      <a:pt x="131" y="1925"/>
                    </a:lnTo>
                    <a:lnTo>
                      <a:pt x="141" y="1945"/>
                    </a:lnTo>
                    <a:lnTo>
                      <a:pt x="141" y="1965"/>
                    </a:lnTo>
                    <a:lnTo>
                      <a:pt x="152" y="1985"/>
                    </a:lnTo>
                    <a:lnTo>
                      <a:pt x="152" y="2046"/>
                    </a:lnTo>
                    <a:lnTo>
                      <a:pt x="152" y="2066"/>
                    </a:lnTo>
                    <a:lnTo>
                      <a:pt x="152" y="2097"/>
                    </a:lnTo>
                    <a:lnTo>
                      <a:pt x="152" y="2107"/>
                    </a:lnTo>
                    <a:lnTo>
                      <a:pt x="162" y="2127"/>
                    </a:lnTo>
                    <a:lnTo>
                      <a:pt x="172" y="2147"/>
                    </a:lnTo>
                    <a:lnTo>
                      <a:pt x="182" y="2168"/>
                    </a:lnTo>
                    <a:lnTo>
                      <a:pt x="182" y="2178"/>
                    </a:lnTo>
                    <a:lnTo>
                      <a:pt x="182" y="2188"/>
                    </a:lnTo>
                    <a:lnTo>
                      <a:pt x="192" y="2198"/>
                    </a:lnTo>
                    <a:lnTo>
                      <a:pt x="192" y="2208"/>
                    </a:lnTo>
                    <a:lnTo>
                      <a:pt x="202" y="2239"/>
                    </a:lnTo>
                    <a:lnTo>
                      <a:pt x="202" y="2259"/>
                    </a:lnTo>
                    <a:lnTo>
                      <a:pt x="202" y="2269"/>
                    </a:lnTo>
                    <a:lnTo>
                      <a:pt x="202" y="2279"/>
                    </a:lnTo>
                    <a:lnTo>
                      <a:pt x="202" y="2289"/>
                    </a:lnTo>
                    <a:lnTo>
                      <a:pt x="222" y="2299"/>
                    </a:lnTo>
                    <a:lnTo>
                      <a:pt x="222" y="2309"/>
                    </a:lnTo>
                    <a:lnTo>
                      <a:pt x="233" y="2330"/>
                    </a:lnTo>
                    <a:lnTo>
                      <a:pt x="233" y="2350"/>
                    </a:lnTo>
                    <a:lnTo>
                      <a:pt x="243" y="2360"/>
                    </a:lnTo>
                    <a:lnTo>
                      <a:pt x="243" y="2370"/>
                    </a:lnTo>
                    <a:lnTo>
                      <a:pt x="263" y="2380"/>
                    </a:lnTo>
                    <a:lnTo>
                      <a:pt x="283" y="2391"/>
                    </a:lnTo>
                    <a:lnTo>
                      <a:pt x="293" y="2401"/>
                    </a:lnTo>
                    <a:lnTo>
                      <a:pt x="293" y="2411"/>
                    </a:lnTo>
                    <a:lnTo>
                      <a:pt x="293" y="2431"/>
                    </a:lnTo>
                    <a:lnTo>
                      <a:pt x="293" y="2441"/>
                    </a:lnTo>
                    <a:lnTo>
                      <a:pt x="293" y="2441"/>
                    </a:lnTo>
                    <a:lnTo>
                      <a:pt x="313" y="2472"/>
                    </a:lnTo>
                    <a:lnTo>
                      <a:pt x="313" y="2482"/>
                    </a:lnTo>
                    <a:lnTo>
                      <a:pt x="313" y="2492"/>
                    </a:lnTo>
                    <a:lnTo>
                      <a:pt x="313" y="2512"/>
                    </a:lnTo>
                    <a:lnTo>
                      <a:pt x="313" y="2532"/>
                    </a:lnTo>
                    <a:lnTo>
                      <a:pt x="313" y="2553"/>
                    </a:lnTo>
                    <a:lnTo>
                      <a:pt x="313" y="2563"/>
                    </a:lnTo>
                    <a:lnTo>
                      <a:pt x="313" y="2573"/>
                    </a:lnTo>
                    <a:lnTo>
                      <a:pt x="313" y="2573"/>
                    </a:lnTo>
                    <a:lnTo>
                      <a:pt x="324" y="2583"/>
                    </a:lnTo>
                    <a:lnTo>
                      <a:pt x="334" y="2583"/>
                    </a:lnTo>
                    <a:lnTo>
                      <a:pt x="334" y="2593"/>
                    </a:lnTo>
                    <a:lnTo>
                      <a:pt x="334" y="2603"/>
                    </a:lnTo>
                    <a:lnTo>
                      <a:pt x="344" y="2634"/>
                    </a:lnTo>
                    <a:lnTo>
                      <a:pt x="344" y="2654"/>
                    </a:lnTo>
                    <a:lnTo>
                      <a:pt x="354" y="2674"/>
                    </a:lnTo>
                    <a:lnTo>
                      <a:pt x="364" y="2684"/>
                    </a:lnTo>
                    <a:lnTo>
                      <a:pt x="384" y="2725"/>
                    </a:lnTo>
                    <a:lnTo>
                      <a:pt x="415" y="2755"/>
                    </a:lnTo>
                    <a:lnTo>
                      <a:pt x="435" y="2796"/>
                    </a:lnTo>
                    <a:lnTo>
                      <a:pt x="445" y="2806"/>
                    </a:lnTo>
                    <a:lnTo>
                      <a:pt x="455" y="2816"/>
                    </a:lnTo>
                    <a:lnTo>
                      <a:pt x="465" y="2826"/>
                    </a:lnTo>
                    <a:lnTo>
                      <a:pt x="475" y="2836"/>
                    </a:lnTo>
                    <a:lnTo>
                      <a:pt x="475" y="2846"/>
                    </a:lnTo>
                    <a:lnTo>
                      <a:pt x="475" y="2857"/>
                    </a:lnTo>
                    <a:lnTo>
                      <a:pt x="485" y="2857"/>
                    </a:lnTo>
                    <a:lnTo>
                      <a:pt x="496" y="2867"/>
                    </a:lnTo>
                    <a:lnTo>
                      <a:pt x="506" y="2867"/>
                    </a:lnTo>
                    <a:lnTo>
                      <a:pt x="526" y="2877"/>
                    </a:lnTo>
                    <a:lnTo>
                      <a:pt x="546" y="2887"/>
                    </a:lnTo>
                    <a:lnTo>
                      <a:pt x="556" y="2897"/>
                    </a:lnTo>
                    <a:lnTo>
                      <a:pt x="566" y="2897"/>
                    </a:lnTo>
                    <a:lnTo>
                      <a:pt x="577" y="2907"/>
                    </a:lnTo>
                    <a:lnTo>
                      <a:pt x="597" y="2917"/>
                    </a:lnTo>
                    <a:lnTo>
                      <a:pt x="607" y="2917"/>
                    </a:lnTo>
                    <a:lnTo>
                      <a:pt x="607" y="2927"/>
                    </a:lnTo>
                    <a:lnTo>
                      <a:pt x="627" y="2958"/>
                    </a:lnTo>
                    <a:lnTo>
                      <a:pt x="627" y="2968"/>
                    </a:lnTo>
                    <a:lnTo>
                      <a:pt x="627" y="2968"/>
                    </a:lnTo>
                    <a:lnTo>
                      <a:pt x="627" y="2968"/>
                    </a:lnTo>
                    <a:lnTo>
                      <a:pt x="637" y="2968"/>
                    </a:lnTo>
                    <a:lnTo>
                      <a:pt x="647" y="2968"/>
                    </a:lnTo>
                    <a:lnTo>
                      <a:pt x="647" y="2978"/>
                    </a:lnTo>
                    <a:lnTo>
                      <a:pt x="657" y="2978"/>
                    </a:lnTo>
                    <a:lnTo>
                      <a:pt x="657" y="2988"/>
                    </a:lnTo>
                    <a:lnTo>
                      <a:pt x="678" y="3039"/>
                    </a:lnTo>
                    <a:lnTo>
                      <a:pt x="688" y="3049"/>
                    </a:lnTo>
                    <a:lnTo>
                      <a:pt x="698" y="3069"/>
                    </a:lnTo>
                    <a:lnTo>
                      <a:pt x="708" y="3069"/>
                    </a:lnTo>
                    <a:lnTo>
                      <a:pt x="718" y="3069"/>
                    </a:lnTo>
                    <a:lnTo>
                      <a:pt x="728" y="3079"/>
                    </a:lnTo>
                    <a:lnTo>
                      <a:pt x="728" y="3079"/>
                    </a:lnTo>
                    <a:lnTo>
                      <a:pt x="749" y="3090"/>
                    </a:lnTo>
                    <a:lnTo>
                      <a:pt x="759" y="3090"/>
                    </a:lnTo>
                    <a:lnTo>
                      <a:pt x="769" y="3100"/>
                    </a:lnTo>
                    <a:lnTo>
                      <a:pt x="779" y="3100"/>
                    </a:lnTo>
                    <a:lnTo>
                      <a:pt x="789" y="3100"/>
                    </a:lnTo>
                    <a:lnTo>
                      <a:pt x="799" y="3100"/>
                    </a:lnTo>
                    <a:lnTo>
                      <a:pt x="809" y="3120"/>
                    </a:lnTo>
                    <a:lnTo>
                      <a:pt x="819" y="3130"/>
                    </a:lnTo>
                    <a:lnTo>
                      <a:pt x="830" y="3150"/>
                    </a:lnTo>
                    <a:lnTo>
                      <a:pt x="840" y="3150"/>
                    </a:lnTo>
                    <a:lnTo>
                      <a:pt x="840" y="3160"/>
                    </a:lnTo>
                    <a:lnTo>
                      <a:pt x="850" y="3171"/>
                    </a:lnTo>
                    <a:lnTo>
                      <a:pt x="860" y="3171"/>
                    </a:lnTo>
                    <a:lnTo>
                      <a:pt x="860" y="3191"/>
                    </a:lnTo>
                    <a:lnTo>
                      <a:pt x="860" y="3201"/>
                    </a:lnTo>
                    <a:lnTo>
                      <a:pt x="860" y="3211"/>
                    </a:lnTo>
                    <a:lnTo>
                      <a:pt x="850" y="3231"/>
                    </a:lnTo>
                    <a:lnTo>
                      <a:pt x="840" y="3252"/>
                    </a:lnTo>
                    <a:lnTo>
                      <a:pt x="830" y="3262"/>
                    </a:lnTo>
                    <a:lnTo>
                      <a:pt x="830" y="3272"/>
                    </a:lnTo>
                    <a:lnTo>
                      <a:pt x="830" y="3292"/>
                    </a:lnTo>
                    <a:lnTo>
                      <a:pt x="830" y="3302"/>
                    </a:lnTo>
                    <a:lnTo>
                      <a:pt x="830" y="3322"/>
                    </a:lnTo>
                    <a:lnTo>
                      <a:pt x="819" y="3322"/>
                    </a:lnTo>
                    <a:lnTo>
                      <a:pt x="819" y="3333"/>
                    </a:lnTo>
                    <a:lnTo>
                      <a:pt x="830" y="3343"/>
                    </a:lnTo>
                    <a:lnTo>
                      <a:pt x="830" y="3353"/>
                    </a:lnTo>
                    <a:lnTo>
                      <a:pt x="830" y="3363"/>
                    </a:lnTo>
                    <a:lnTo>
                      <a:pt x="830" y="3373"/>
                    </a:lnTo>
                    <a:lnTo>
                      <a:pt x="819" y="3383"/>
                    </a:lnTo>
                    <a:lnTo>
                      <a:pt x="809" y="3393"/>
                    </a:lnTo>
                    <a:lnTo>
                      <a:pt x="809" y="3404"/>
                    </a:lnTo>
                    <a:lnTo>
                      <a:pt x="809" y="3414"/>
                    </a:lnTo>
                    <a:lnTo>
                      <a:pt x="809" y="3424"/>
                    </a:lnTo>
                    <a:lnTo>
                      <a:pt x="819" y="3434"/>
                    </a:lnTo>
                    <a:lnTo>
                      <a:pt x="819" y="3434"/>
                    </a:lnTo>
                    <a:lnTo>
                      <a:pt x="809" y="3444"/>
                    </a:lnTo>
                    <a:lnTo>
                      <a:pt x="809" y="3454"/>
                    </a:lnTo>
                    <a:lnTo>
                      <a:pt x="799" y="3464"/>
                    </a:lnTo>
                    <a:lnTo>
                      <a:pt x="799" y="3474"/>
                    </a:lnTo>
                    <a:lnTo>
                      <a:pt x="799" y="3495"/>
                    </a:lnTo>
                    <a:lnTo>
                      <a:pt x="799" y="3495"/>
                    </a:lnTo>
                    <a:lnTo>
                      <a:pt x="789" y="3505"/>
                    </a:lnTo>
                    <a:lnTo>
                      <a:pt x="789" y="3505"/>
                    </a:lnTo>
                    <a:lnTo>
                      <a:pt x="779" y="3515"/>
                    </a:lnTo>
                    <a:lnTo>
                      <a:pt x="769" y="3515"/>
                    </a:lnTo>
                    <a:lnTo>
                      <a:pt x="759" y="3515"/>
                    </a:lnTo>
                    <a:lnTo>
                      <a:pt x="759" y="3525"/>
                    </a:lnTo>
                    <a:lnTo>
                      <a:pt x="759" y="3535"/>
                    </a:lnTo>
                    <a:lnTo>
                      <a:pt x="749" y="3545"/>
                    </a:lnTo>
                    <a:lnTo>
                      <a:pt x="749" y="3566"/>
                    </a:lnTo>
                    <a:lnTo>
                      <a:pt x="749" y="3576"/>
                    </a:lnTo>
                    <a:lnTo>
                      <a:pt x="738" y="3596"/>
                    </a:lnTo>
                    <a:lnTo>
                      <a:pt x="738" y="3606"/>
                    </a:lnTo>
                    <a:lnTo>
                      <a:pt x="738" y="3616"/>
                    </a:lnTo>
                    <a:lnTo>
                      <a:pt x="738" y="3626"/>
                    </a:lnTo>
                    <a:lnTo>
                      <a:pt x="728" y="3637"/>
                    </a:lnTo>
                    <a:lnTo>
                      <a:pt x="718" y="3637"/>
                    </a:lnTo>
                    <a:lnTo>
                      <a:pt x="708" y="3647"/>
                    </a:lnTo>
                    <a:lnTo>
                      <a:pt x="688" y="3657"/>
                    </a:lnTo>
                    <a:lnTo>
                      <a:pt x="678" y="3657"/>
                    </a:lnTo>
                    <a:lnTo>
                      <a:pt x="678" y="3667"/>
                    </a:lnTo>
                    <a:lnTo>
                      <a:pt x="678" y="3677"/>
                    </a:lnTo>
                    <a:lnTo>
                      <a:pt x="678" y="3697"/>
                    </a:lnTo>
                    <a:lnTo>
                      <a:pt x="678" y="3707"/>
                    </a:lnTo>
                    <a:lnTo>
                      <a:pt x="668" y="3718"/>
                    </a:lnTo>
                    <a:lnTo>
                      <a:pt x="657" y="3718"/>
                    </a:lnTo>
                    <a:lnTo>
                      <a:pt x="657" y="3718"/>
                    </a:lnTo>
                    <a:lnTo>
                      <a:pt x="647" y="3728"/>
                    </a:lnTo>
                    <a:lnTo>
                      <a:pt x="617" y="3748"/>
                    </a:lnTo>
                    <a:lnTo>
                      <a:pt x="607" y="3758"/>
                    </a:lnTo>
                    <a:lnTo>
                      <a:pt x="607" y="3768"/>
                    </a:lnTo>
                    <a:lnTo>
                      <a:pt x="577" y="3788"/>
                    </a:lnTo>
                    <a:lnTo>
                      <a:pt x="566" y="3788"/>
                    </a:lnTo>
                    <a:lnTo>
                      <a:pt x="566" y="3799"/>
                    </a:lnTo>
                    <a:lnTo>
                      <a:pt x="566" y="3809"/>
                    </a:lnTo>
                    <a:lnTo>
                      <a:pt x="566" y="3829"/>
                    </a:lnTo>
                    <a:lnTo>
                      <a:pt x="566" y="3839"/>
                    </a:lnTo>
                    <a:lnTo>
                      <a:pt x="556" y="3839"/>
                    </a:lnTo>
                    <a:lnTo>
                      <a:pt x="546" y="3849"/>
                    </a:lnTo>
                    <a:lnTo>
                      <a:pt x="546" y="3859"/>
                    </a:lnTo>
                    <a:lnTo>
                      <a:pt x="546" y="3870"/>
                    </a:lnTo>
                    <a:lnTo>
                      <a:pt x="546" y="3870"/>
                    </a:lnTo>
                    <a:lnTo>
                      <a:pt x="546" y="3880"/>
                    </a:lnTo>
                    <a:lnTo>
                      <a:pt x="546" y="3880"/>
                    </a:lnTo>
                    <a:lnTo>
                      <a:pt x="546" y="3890"/>
                    </a:lnTo>
                    <a:lnTo>
                      <a:pt x="546" y="3890"/>
                    </a:lnTo>
                    <a:lnTo>
                      <a:pt x="546" y="3900"/>
                    </a:lnTo>
                    <a:lnTo>
                      <a:pt x="546" y="3910"/>
                    </a:lnTo>
                    <a:lnTo>
                      <a:pt x="556" y="3920"/>
                    </a:lnTo>
                    <a:lnTo>
                      <a:pt x="566" y="3930"/>
                    </a:lnTo>
                    <a:lnTo>
                      <a:pt x="566" y="3940"/>
                    </a:lnTo>
                    <a:lnTo>
                      <a:pt x="577" y="3951"/>
                    </a:lnTo>
                    <a:lnTo>
                      <a:pt x="566" y="3951"/>
                    </a:lnTo>
                    <a:lnTo>
                      <a:pt x="566" y="3951"/>
                    </a:lnTo>
                    <a:lnTo>
                      <a:pt x="556" y="3961"/>
                    </a:lnTo>
                    <a:lnTo>
                      <a:pt x="546" y="3971"/>
                    </a:lnTo>
                    <a:lnTo>
                      <a:pt x="546" y="3971"/>
                    </a:lnTo>
                    <a:lnTo>
                      <a:pt x="556" y="3971"/>
                    </a:lnTo>
                    <a:lnTo>
                      <a:pt x="556" y="4001"/>
                    </a:lnTo>
                    <a:lnTo>
                      <a:pt x="556" y="4021"/>
                    </a:lnTo>
                    <a:lnTo>
                      <a:pt x="566" y="4032"/>
                    </a:lnTo>
                    <a:lnTo>
                      <a:pt x="577" y="4042"/>
                    </a:lnTo>
                    <a:lnTo>
                      <a:pt x="587" y="4052"/>
                    </a:lnTo>
                    <a:lnTo>
                      <a:pt x="587" y="4062"/>
                    </a:lnTo>
                    <a:lnTo>
                      <a:pt x="587" y="4072"/>
                    </a:lnTo>
                    <a:lnTo>
                      <a:pt x="587" y="4072"/>
                    </a:lnTo>
                    <a:lnTo>
                      <a:pt x="587" y="4082"/>
                    </a:lnTo>
                    <a:lnTo>
                      <a:pt x="597" y="4092"/>
                    </a:lnTo>
                    <a:lnTo>
                      <a:pt x="597" y="4103"/>
                    </a:lnTo>
                    <a:lnTo>
                      <a:pt x="597" y="4103"/>
                    </a:lnTo>
                    <a:lnTo>
                      <a:pt x="597" y="4113"/>
                    </a:lnTo>
                    <a:lnTo>
                      <a:pt x="597" y="4123"/>
                    </a:lnTo>
                    <a:lnTo>
                      <a:pt x="597" y="4123"/>
                    </a:lnTo>
                    <a:lnTo>
                      <a:pt x="587" y="4133"/>
                    </a:lnTo>
                    <a:lnTo>
                      <a:pt x="577" y="4143"/>
                    </a:lnTo>
                    <a:lnTo>
                      <a:pt x="587" y="4153"/>
                    </a:lnTo>
                    <a:lnTo>
                      <a:pt x="587" y="4163"/>
                    </a:lnTo>
                    <a:lnTo>
                      <a:pt x="597" y="4173"/>
                    </a:lnTo>
                    <a:lnTo>
                      <a:pt x="597" y="4184"/>
                    </a:lnTo>
                    <a:lnTo>
                      <a:pt x="597" y="4184"/>
                    </a:lnTo>
                    <a:lnTo>
                      <a:pt x="587" y="4194"/>
                    </a:lnTo>
                    <a:lnTo>
                      <a:pt x="577" y="4204"/>
                    </a:lnTo>
                    <a:lnTo>
                      <a:pt x="577" y="4224"/>
                    </a:lnTo>
                    <a:lnTo>
                      <a:pt x="577" y="4244"/>
                    </a:lnTo>
                    <a:lnTo>
                      <a:pt x="577" y="4275"/>
                    </a:lnTo>
                    <a:lnTo>
                      <a:pt x="577" y="4285"/>
                    </a:lnTo>
                    <a:lnTo>
                      <a:pt x="566" y="4305"/>
                    </a:lnTo>
                    <a:lnTo>
                      <a:pt x="556" y="4325"/>
                    </a:lnTo>
                    <a:lnTo>
                      <a:pt x="546" y="4336"/>
                    </a:lnTo>
                    <a:lnTo>
                      <a:pt x="546" y="4346"/>
                    </a:lnTo>
                    <a:lnTo>
                      <a:pt x="546" y="4356"/>
                    </a:lnTo>
                    <a:lnTo>
                      <a:pt x="536" y="4376"/>
                    </a:lnTo>
                    <a:lnTo>
                      <a:pt x="526" y="4396"/>
                    </a:lnTo>
                    <a:lnTo>
                      <a:pt x="506" y="4406"/>
                    </a:lnTo>
                    <a:lnTo>
                      <a:pt x="485" y="4447"/>
                    </a:lnTo>
                    <a:lnTo>
                      <a:pt x="465" y="4477"/>
                    </a:lnTo>
                    <a:lnTo>
                      <a:pt x="445" y="4518"/>
                    </a:lnTo>
                    <a:lnTo>
                      <a:pt x="415" y="4548"/>
                    </a:lnTo>
                    <a:lnTo>
                      <a:pt x="415" y="4558"/>
                    </a:lnTo>
                    <a:lnTo>
                      <a:pt x="405" y="4569"/>
                    </a:lnTo>
                    <a:lnTo>
                      <a:pt x="405" y="4579"/>
                    </a:lnTo>
                    <a:lnTo>
                      <a:pt x="405" y="4589"/>
                    </a:lnTo>
                    <a:lnTo>
                      <a:pt x="394" y="4619"/>
                    </a:lnTo>
                    <a:lnTo>
                      <a:pt x="384" y="4660"/>
                    </a:lnTo>
                    <a:lnTo>
                      <a:pt x="374" y="4690"/>
                    </a:lnTo>
                    <a:lnTo>
                      <a:pt x="364" y="4710"/>
                    </a:lnTo>
                    <a:lnTo>
                      <a:pt x="354" y="4720"/>
                    </a:lnTo>
                    <a:lnTo>
                      <a:pt x="354" y="4731"/>
                    </a:lnTo>
                    <a:lnTo>
                      <a:pt x="354" y="4751"/>
                    </a:lnTo>
                    <a:lnTo>
                      <a:pt x="354" y="4771"/>
                    </a:lnTo>
                    <a:lnTo>
                      <a:pt x="344" y="4791"/>
                    </a:lnTo>
                    <a:lnTo>
                      <a:pt x="334" y="4802"/>
                    </a:lnTo>
                    <a:lnTo>
                      <a:pt x="313" y="4812"/>
                    </a:lnTo>
                    <a:lnTo>
                      <a:pt x="303" y="4822"/>
                    </a:lnTo>
                    <a:lnTo>
                      <a:pt x="293" y="4842"/>
                    </a:lnTo>
                    <a:lnTo>
                      <a:pt x="293" y="4842"/>
                    </a:lnTo>
                    <a:lnTo>
                      <a:pt x="283" y="4852"/>
                    </a:lnTo>
                    <a:lnTo>
                      <a:pt x="263" y="4862"/>
                    </a:lnTo>
                    <a:lnTo>
                      <a:pt x="243" y="4872"/>
                    </a:lnTo>
                    <a:lnTo>
                      <a:pt x="233" y="4883"/>
                    </a:lnTo>
                    <a:lnTo>
                      <a:pt x="222" y="4893"/>
                    </a:lnTo>
                    <a:lnTo>
                      <a:pt x="212" y="4903"/>
                    </a:lnTo>
                    <a:lnTo>
                      <a:pt x="202" y="4913"/>
                    </a:lnTo>
                    <a:lnTo>
                      <a:pt x="192" y="4933"/>
                    </a:lnTo>
                    <a:lnTo>
                      <a:pt x="182" y="4953"/>
                    </a:lnTo>
                    <a:lnTo>
                      <a:pt x="162" y="4964"/>
                    </a:lnTo>
                    <a:lnTo>
                      <a:pt x="162" y="4964"/>
                    </a:lnTo>
                    <a:lnTo>
                      <a:pt x="141" y="4994"/>
                    </a:lnTo>
                    <a:lnTo>
                      <a:pt x="141" y="5004"/>
                    </a:lnTo>
                    <a:lnTo>
                      <a:pt x="141" y="5014"/>
                    </a:lnTo>
                    <a:lnTo>
                      <a:pt x="141" y="5014"/>
                    </a:lnTo>
                    <a:lnTo>
                      <a:pt x="131" y="5024"/>
                    </a:lnTo>
                    <a:lnTo>
                      <a:pt x="101" y="5035"/>
                    </a:lnTo>
                    <a:lnTo>
                      <a:pt x="81" y="5045"/>
                    </a:lnTo>
                    <a:lnTo>
                      <a:pt x="71" y="5055"/>
                    </a:lnTo>
                    <a:lnTo>
                      <a:pt x="60" y="5065"/>
                    </a:lnTo>
                    <a:lnTo>
                      <a:pt x="50" y="5075"/>
                    </a:lnTo>
                    <a:lnTo>
                      <a:pt x="50" y="5085"/>
                    </a:lnTo>
                    <a:lnTo>
                      <a:pt x="30" y="5095"/>
                    </a:lnTo>
                    <a:lnTo>
                      <a:pt x="10" y="5105"/>
                    </a:lnTo>
                    <a:lnTo>
                      <a:pt x="0" y="5116"/>
                    </a:lnTo>
                    <a:lnTo>
                      <a:pt x="0" y="5126"/>
                    </a:lnTo>
                    <a:lnTo>
                      <a:pt x="0" y="5136"/>
                    </a:lnTo>
                    <a:lnTo>
                      <a:pt x="0" y="5146"/>
                    </a:lnTo>
                    <a:lnTo>
                      <a:pt x="0" y="5156"/>
                    </a:lnTo>
                    <a:lnTo>
                      <a:pt x="0" y="5156"/>
                    </a:lnTo>
                    <a:lnTo>
                      <a:pt x="0" y="5166"/>
                    </a:lnTo>
                    <a:lnTo>
                      <a:pt x="0" y="5176"/>
                    </a:lnTo>
                    <a:lnTo>
                      <a:pt x="20" y="5186"/>
                    </a:lnTo>
                    <a:lnTo>
                      <a:pt x="30" y="5197"/>
                    </a:lnTo>
                    <a:lnTo>
                      <a:pt x="50" y="5197"/>
                    </a:lnTo>
                    <a:lnTo>
                      <a:pt x="91" y="5197"/>
                    </a:lnTo>
                    <a:lnTo>
                      <a:pt x="121" y="5207"/>
                    </a:lnTo>
                    <a:lnTo>
                      <a:pt x="121" y="5207"/>
                    </a:lnTo>
                    <a:lnTo>
                      <a:pt x="121" y="5207"/>
                    </a:lnTo>
                    <a:lnTo>
                      <a:pt x="141" y="5217"/>
                    </a:lnTo>
                    <a:lnTo>
                      <a:pt x="152" y="5217"/>
                    </a:lnTo>
                    <a:lnTo>
                      <a:pt x="182" y="5217"/>
                    </a:lnTo>
                    <a:lnTo>
                      <a:pt x="233" y="5207"/>
                    </a:lnTo>
                    <a:lnTo>
                      <a:pt x="263" y="5197"/>
                    </a:lnTo>
                    <a:lnTo>
                      <a:pt x="293" y="5197"/>
                    </a:lnTo>
                    <a:lnTo>
                      <a:pt x="313" y="5197"/>
                    </a:lnTo>
                    <a:lnTo>
                      <a:pt x="313" y="5207"/>
                    </a:lnTo>
                    <a:lnTo>
                      <a:pt x="334" y="5217"/>
                    </a:lnTo>
                    <a:lnTo>
                      <a:pt x="344" y="5217"/>
                    </a:lnTo>
                    <a:lnTo>
                      <a:pt x="354" y="5227"/>
                    </a:lnTo>
                    <a:lnTo>
                      <a:pt x="374" y="5237"/>
                    </a:lnTo>
                    <a:lnTo>
                      <a:pt x="374" y="5247"/>
                    </a:lnTo>
                    <a:lnTo>
                      <a:pt x="384" y="5268"/>
                    </a:lnTo>
                    <a:lnTo>
                      <a:pt x="394" y="5278"/>
                    </a:lnTo>
                    <a:lnTo>
                      <a:pt x="405" y="5278"/>
                    </a:lnTo>
                    <a:lnTo>
                      <a:pt x="415" y="5278"/>
                    </a:lnTo>
                    <a:lnTo>
                      <a:pt x="435" y="5278"/>
                    </a:lnTo>
                    <a:lnTo>
                      <a:pt x="445" y="5278"/>
                    </a:lnTo>
                    <a:lnTo>
                      <a:pt x="455" y="5268"/>
                    </a:lnTo>
                    <a:lnTo>
                      <a:pt x="506" y="5268"/>
                    </a:lnTo>
                    <a:lnTo>
                      <a:pt x="526" y="5268"/>
                    </a:lnTo>
                    <a:lnTo>
                      <a:pt x="536" y="5278"/>
                    </a:lnTo>
                    <a:lnTo>
                      <a:pt x="556" y="5278"/>
                    </a:lnTo>
                    <a:lnTo>
                      <a:pt x="566" y="5278"/>
                    </a:lnTo>
                    <a:lnTo>
                      <a:pt x="577" y="5278"/>
                    </a:lnTo>
                    <a:lnTo>
                      <a:pt x="587" y="5278"/>
                    </a:lnTo>
                    <a:lnTo>
                      <a:pt x="587" y="5288"/>
                    </a:lnTo>
                    <a:lnTo>
                      <a:pt x="597" y="5288"/>
                    </a:lnTo>
                    <a:lnTo>
                      <a:pt x="607" y="5298"/>
                    </a:lnTo>
                    <a:lnTo>
                      <a:pt x="637" y="5298"/>
                    </a:lnTo>
                    <a:lnTo>
                      <a:pt x="647" y="5308"/>
                    </a:lnTo>
                    <a:lnTo>
                      <a:pt x="668" y="5318"/>
                    </a:lnTo>
                    <a:lnTo>
                      <a:pt x="678" y="5338"/>
                    </a:lnTo>
                    <a:lnTo>
                      <a:pt x="688" y="5338"/>
                    </a:lnTo>
                    <a:lnTo>
                      <a:pt x="698" y="5349"/>
                    </a:lnTo>
                    <a:lnTo>
                      <a:pt x="708" y="5349"/>
                    </a:lnTo>
                    <a:lnTo>
                      <a:pt x="718" y="5349"/>
                    </a:lnTo>
                    <a:lnTo>
                      <a:pt x="738" y="5338"/>
                    </a:lnTo>
                    <a:lnTo>
                      <a:pt x="738" y="5338"/>
                    </a:lnTo>
                    <a:lnTo>
                      <a:pt x="749" y="5328"/>
                    </a:lnTo>
                    <a:lnTo>
                      <a:pt x="749" y="5318"/>
                    </a:lnTo>
                    <a:lnTo>
                      <a:pt x="749" y="5318"/>
                    </a:lnTo>
                    <a:lnTo>
                      <a:pt x="759" y="5308"/>
                    </a:lnTo>
                    <a:lnTo>
                      <a:pt x="769" y="5308"/>
                    </a:lnTo>
                    <a:lnTo>
                      <a:pt x="769" y="5298"/>
                    </a:lnTo>
                    <a:lnTo>
                      <a:pt x="779" y="5288"/>
                    </a:lnTo>
                    <a:lnTo>
                      <a:pt x="789" y="5288"/>
                    </a:lnTo>
                    <a:lnTo>
                      <a:pt x="799" y="5278"/>
                    </a:lnTo>
                    <a:lnTo>
                      <a:pt x="809" y="5268"/>
                    </a:lnTo>
                    <a:lnTo>
                      <a:pt x="819" y="5268"/>
                    </a:lnTo>
                    <a:lnTo>
                      <a:pt x="819" y="5257"/>
                    </a:lnTo>
                    <a:lnTo>
                      <a:pt x="840" y="5237"/>
                    </a:lnTo>
                    <a:lnTo>
                      <a:pt x="850" y="5227"/>
                    </a:lnTo>
                    <a:lnTo>
                      <a:pt x="860" y="5227"/>
                    </a:lnTo>
                    <a:lnTo>
                      <a:pt x="870" y="5217"/>
                    </a:lnTo>
                    <a:lnTo>
                      <a:pt x="890" y="5207"/>
                    </a:lnTo>
                    <a:lnTo>
                      <a:pt x="900" y="5207"/>
                    </a:lnTo>
                    <a:lnTo>
                      <a:pt x="921" y="5207"/>
                    </a:lnTo>
                    <a:lnTo>
                      <a:pt x="941" y="5197"/>
                    </a:lnTo>
                    <a:lnTo>
                      <a:pt x="961" y="5186"/>
                    </a:lnTo>
                    <a:lnTo>
                      <a:pt x="971" y="5186"/>
                    </a:lnTo>
                    <a:lnTo>
                      <a:pt x="971" y="5176"/>
                    </a:lnTo>
                    <a:lnTo>
                      <a:pt x="991" y="5166"/>
                    </a:lnTo>
                    <a:lnTo>
                      <a:pt x="991" y="5166"/>
                    </a:lnTo>
                    <a:lnTo>
                      <a:pt x="991" y="5156"/>
                    </a:lnTo>
                    <a:lnTo>
                      <a:pt x="1002" y="5126"/>
                    </a:lnTo>
                    <a:lnTo>
                      <a:pt x="1002" y="5116"/>
                    </a:lnTo>
                    <a:lnTo>
                      <a:pt x="1012" y="5105"/>
                    </a:lnTo>
                    <a:lnTo>
                      <a:pt x="1032" y="5095"/>
                    </a:lnTo>
                    <a:lnTo>
                      <a:pt x="1052" y="5085"/>
                    </a:lnTo>
                    <a:lnTo>
                      <a:pt x="1072" y="5075"/>
                    </a:lnTo>
                    <a:lnTo>
                      <a:pt x="1093" y="5065"/>
                    </a:lnTo>
                    <a:lnTo>
                      <a:pt x="1113" y="5065"/>
                    </a:lnTo>
                    <a:lnTo>
                      <a:pt x="1113" y="5055"/>
                    </a:lnTo>
                    <a:lnTo>
                      <a:pt x="1123" y="5045"/>
                    </a:lnTo>
                    <a:lnTo>
                      <a:pt x="1123" y="5035"/>
                    </a:lnTo>
                    <a:lnTo>
                      <a:pt x="1133" y="5035"/>
                    </a:lnTo>
                    <a:lnTo>
                      <a:pt x="1143" y="5024"/>
                    </a:lnTo>
                    <a:lnTo>
                      <a:pt x="1143" y="5024"/>
                    </a:lnTo>
                    <a:lnTo>
                      <a:pt x="1153" y="5024"/>
                    </a:lnTo>
                    <a:lnTo>
                      <a:pt x="1163" y="5024"/>
                    </a:lnTo>
                    <a:lnTo>
                      <a:pt x="1163" y="5024"/>
                    </a:lnTo>
                    <a:lnTo>
                      <a:pt x="1174" y="5014"/>
                    </a:lnTo>
                    <a:lnTo>
                      <a:pt x="1184" y="5004"/>
                    </a:lnTo>
                    <a:lnTo>
                      <a:pt x="1194" y="5004"/>
                    </a:lnTo>
                    <a:lnTo>
                      <a:pt x="1204" y="5004"/>
                    </a:lnTo>
                    <a:lnTo>
                      <a:pt x="1224" y="5004"/>
                    </a:lnTo>
                    <a:lnTo>
                      <a:pt x="1234" y="5004"/>
                    </a:lnTo>
                    <a:lnTo>
                      <a:pt x="1234" y="5004"/>
                    </a:lnTo>
                    <a:lnTo>
                      <a:pt x="1244" y="5014"/>
                    </a:lnTo>
                    <a:lnTo>
                      <a:pt x="1255" y="5014"/>
                    </a:lnTo>
                    <a:lnTo>
                      <a:pt x="1265" y="5035"/>
                    </a:lnTo>
                    <a:lnTo>
                      <a:pt x="1275" y="5045"/>
                    </a:lnTo>
                    <a:lnTo>
                      <a:pt x="1295" y="5045"/>
                    </a:lnTo>
                    <a:lnTo>
                      <a:pt x="1295" y="5055"/>
                    </a:lnTo>
                    <a:lnTo>
                      <a:pt x="1305" y="5055"/>
                    </a:lnTo>
                    <a:lnTo>
                      <a:pt x="1305" y="5065"/>
                    </a:lnTo>
                    <a:lnTo>
                      <a:pt x="1305" y="5075"/>
                    </a:lnTo>
                    <a:lnTo>
                      <a:pt x="1315" y="5075"/>
                    </a:lnTo>
                    <a:lnTo>
                      <a:pt x="1315" y="5075"/>
                    </a:lnTo>
                    <a:lnTo>
                      <a:pt x="1325" y="5075"/>
                    </a:lnTo>
                    <a:lnTo>
                      <a:pt x="1346" y="5075"/>
                    </a:lnTo>
                    <a:lnTo>
                      <a:pt x="1376" y="5075"/>
                    </a:lnTo>
                    <a:lnTo>
                      <a:pt x="1396" y="5075"/>
                    </a:lnTo>
                    <a:lnTo>
                      <a:pt x="1406" y="5075"/>
                    </a:lnTo>
                    <a:lnTo>
                      <a:pt x="1427" y="5075"/>
                    </a:lnTo>
                    <a:lnTo>
                      <a:pt x="1437" y="5085"/>
                    </a:lnTo>
                    <a:lnTo>
                      <a:pt x="1457" y="5085"/>
                    </a:lnTo>
                    <a:lnTo>
                      <a:pt x="1477" y="5085"/>
                    </a:lnTo>
                    <a:lnTo>
                      <a:pt x="1497" y="5095"/>
                    </a:lnTo>
                    <a:lnTo>
                      <a:pt x="1507" y="5095"/>
                    </a:lnTo>
                    <a:lnTo>
                      <a:pt x="1518" y="5105"/>
                    </a:lnTo>
                    <a:lnTo>
                      <a:pt x="1538" y="5105"/>
                    </a:lnTo>
                    <a:lnTo>
                      <a:pt x="1558" y="5105"/>
                    </a:lnTo>
                    <a:lnTo>
                      <a:pt x="1578" y="5105"/>
                    </a:lnTo>
                    <a:lnTo>
                      <a:pt x="1588" y="5105"/>
                    </a:lnTo>
                    <a:lnTo>
                      <a:pt x="1599" y="5105"/>
                    </a:lnTo>
                    <a:lnTo>
                      <a:pt x="1609" y="5095"/>
                    </a:lnTo>
                    <a:lnTo>
                      <a:pt x="1619" y="5095"/>
                    </a:lnTo>
                    <a:lnTo>
                      <a:pt x="1629" y="5095"/>
                    </a:lnTo>
                    <a:lnTo>
                      <a:pt x="1629" y="5095"/>
                    </a:lnTo>
                    <a:lnTo>
                      <a:pt x="1649" y="5105"/>
                    </a:lnTo>
                    <a:lnTo>
                      <a:pt x="1659" y="5116"/>
                    </a:lnTo>
                    <a:lnTo>
                      <a:pt x="1669" y="5116"/>
                    </a:lnTo>
                    <a:lnTo>
                      <a:pt x="1690" y="5116"/>
                    </a:lnTo>
                    <a:lnTo>
                      <a:pt x="1720" y="5105"/>
                    </a:lnTo>
                    <a:lnTo>
                      <a:pt x="1740" y="5105"/>
                    </a:lnTo>
                    <a:lnTo>
                      <a:pt x="1760" y="5095"/>
                    </a:lnTo>
                    <a:lnTo>
                      <a:pt x="1781" y="5085"/>
                    </a:lnTo>
                    <a:lnTo>
                      <a:pt x="1801" y="5075"/>
                    </a:lnTo>
                    <a:lnTo>
                      <a:pt x="1811" y="5075"/>
                    </a:lnTo>
                    <a:lnTo>
                      <a:pt x="1831" y="5065"/>
                    </a:lnTo>
                    <a:lnTo>
                      <a:pt x="1841" y="5065"/>
                    </a:lnTo>
                    <a:lnTo>
                      <a:pt x="1872" y="5045"/>
                    </a:lnTo>
                    <a:lnTo>
                      <a:pt x="1902" y="5035"/>
                    </a:lnTo>
                    <a:lnTo>
                      <a:pt x="1922" y="5024"/>
                    </a:lnTo>
                    <a:lnTo>
                      <a:pt x="1932" y="5024"/>
                    </a:lnTo>
                    <a:lnTo>
                      <a:pt x="1943" y="5024"/>
                    </a:lnTo>
                    <a:lnTo>
                      <a:pt x="1963" y="5035"/>
                    </a:lnTo>
                    <a:lnTo>
                      <a:pt x="1973" y="5035"/>
                    </a:lnTo>
                    <a:lnTo>
                      <a:pt x="1993" y="5045"/>
                    </a:lnTo>
                    <a:lnTo>
                      <a:pt x="2013" y="5055"/>
                    </a:lnTo>
                    <a:lnTo>
                      <a:pt x="2034" y="5055"/>
                    </a:lnTo>
                    <a:lnTo>
                      <a:pt x="2044" y="5045"/>
                    </a:lnTo>
                    <a:lnTo>
                      <a:pt x="2054" y="5055"/>
                    </a:lnTo>
                    <a:lnTo>
                      <a:pt x="2054" y="5055"/>
                    </a:lnTo>
                    <a:lnTo>
                      <a:pt x="2074" y="5065"/>
                    </a:lnTo>
                    <a:lnTo>
                      <a:pt x="2074" y="5075"/>
                    </a:lnTo>
                    <a:lnTo>
                      <a:pt x="2074" y="5095"/>
                    </a:lnTo>
                    <a:lnTo>
                      <a:pt x="2074" y="5105"/>
                    </a:lnTo>
                    <a:lnTo>
                      <a:pt x="2064" y="5116"/>
                    </a:lnTo>
                    <a:lnTo>
                      <a:pt x="2044" y="5136"/>
                    </a:lnTo>
                    <a:lnTo>
                      <a:pt x="2044" y="5146"/>
                    </a:lnTo>
                    <a:lnTo>
                      <a:pt x="2044" y="5156"/>
                    </a:lnTo>
                    <a:lnTo>
                      <a:pt x="2044" y="5166"/>
                    </a:lnTo>
                    <a:lnTo>
                      <a:pt x="2054" y="5176"/>
                    </a:lnTo>
                    <a:lnTo>
                      <a:pt x="2054" y="5186"/>
                    </a:lnTo>
                    <a:lnTo>
                      <a:pt x="2054" y="5197"/>
                    </a:lnTo>
                    <a:lnTo>
                      <a:pt x="2054" y="5197"/>
                    </a:lnTo>
                    <a:lnTo>
                      <a:pt x="2064" y="5207"/>
                    </a:lnTo>
                    <a:lnTo>
                      <a:pt x="2074" y="5207"/>
                    </a:lnTo>
                    <a:lnTo>
                      <a:pt x="2084" y="5197"/>
                    </a:lnTo>
                    <a:lnTo>
                      <a:pt x="2094" y="5197"/>
                    </a:lnTo>
                    <a:lnTo>
                      <a:pt x="2125" y="5186"/>
                    </a:lnTo>
                    <a:lnTo>
                      <a:pt x="2175" y="5176"/>
                    </a:lnTo>
                    <a:lnTo>
                      <a:pt x="2196" y="5166"/>
                    </a:lnTo>
                    <a:lnTo>
                      <a:pt x="2226" y="5166"/>
                    </a:lnTo>
                    <a:lnTo>
                      <a:pt x="2256" y="5176"/>
                    </a:lnTo>
                    <a:lnTo>
                      <a:pt x="2277" y="5166"/>
                    </a:lnTo>
                    <a:lnTo>
                      <a:pt x="2287" y="5166"/>
                    </a:lnTo>
                    <a:lnTo>
                      <a:pt x="2297" y="5176"/>
                    </a:lnTo>
                    <a:lnTo>
                      <a:pt x="2307" y="5176"/>
                    </a:lnTo>
                    <a:lnTo>
                      <a:pt x="2327" y="5186"/>
                    </a:lnTo>
                    <a:lnTo>
                      <a:pt x="2337" y="5197"/>
                    </a:lnTo>
                    <a:lnTo>
                      <a:pt x="2357" y="5197"/>
                    </a:lnTo>
                    <a:lnTo>
                      <a:pt x="2378" y="5207"/>
                    </a:lnTo>
                    <a:lnTo>
                      <a:pt x="2398" y="5207"/>
                    </a:lnTo>
                    <a:lnTo>
                      <a:pt x="2408" y="5217"/>
                    </a:lnTo>
                    <a:lnTo>
                      <a:pt x="2418" y="5217"/>
                    </a:lnTo>
                    <a:lnTo>
                      <a:pt x="2428" y="5227"/>
                    </a:lnTo>
                    <a:lnTo>
                      <a:pt x="2449" y="5227"/>
                    </a:lnTo>
                    <a:lnTo>
                      <a:pt x="2459" y="5227"/>
                    </a:lnTo>
                    <a:lnTo>
                      <a:pt x="2479" y="5227"/>
                    </a:lnTo>
                    <a:lnTo>
                      <a:pt x="2519" y="5237"/>
                    </a:lnTo>
                    <a:lnTo>
                      <a:pt x="2529" y="5247"/>
                    </a:lnTo>
                    <a:lnTo>
                      <a:pt x="2540" y="5247"/>
                    </a:lnTo>
                    <a:lnTo>
                      <a:pt x="2560" y="5237"/>
                    </a:lnTo>
                    <a:lnTo>
                      <a:pt x="2580" y="5227"/>
                    </a:lnTo>
                    <a:lnTo>
                      <a:pt x="2590" y="5217"/>
                    </a:lnTo>
                    <a:lnTo>
                      <a:pt x="2600" y="5207"/>
                    </a:lnTo>
                    <a:lnTo>
                      <a:pt x="2610" y="5197"/>
                    </a:lnTo>
                    <a:lnTo>
                      <a:pt x="2621" y="5176"/>
                    </a:lnTo>
                    <a:lnTo>
                      <a:pt x="2631" y="5146"/>
                    </a:lnTo>
                    <a:lnTo>
                      <a:pt x="2641" y="5136"/>
                    </a:lnTo>
                    <a:lnTo>
                      <a:pt x="2651" y="5126"/>
                    </a:lnTo>
                    <a:lnTo>
                      <a:pt x="2651" y="5116"/>
                    </a:lnTo>
                    <a:lnTo>
                      <a:pt x="2671" y="5105"/>
                    </a:lnTo>
                    <a:lnTo>
                      <a:pt x="2691" y="5095"/>
                    </a:lnTo>
                    <a:lnTo>
                      <a:pt x="2712" y="5085"/>
                    </a:lnTo>
                    <a:lnTo>
                      <a:pt x="2732" y="5075"/>
                    </a:lnTo>
                    <a:lnTo>
                      <a:pt x="2752" y="5065"/>
                    </a:lnTo>
                    <a:lnTo>
                      <a:pt x="2793" y="5055"/>
                    </a:lnTo>
                    <a:lnTo>
                      <a:pt x="2803" y="5045"/>
                    </a:lnTo>
                    <a:lnTo>
                      <a:pt x="2823" y="5045"/>
                    </a:lnTo>
                    <a:lnTo>
                      <a:pt x="2833" y="5024"/>
                    </a:lnTo>
                    <a:lnTo>
                      <a:pt x="2853" y="5004"/>
                    </a:lnTo>
                    <a:lnTo>
                      <a:pt x="2853" y="4994"/>
                    </a:lnTo>
                    <a:lnTo>
                      <a:pt x="2863" y="4994"/>
                    </a:lnTo>
                    <a:lnTo>
                      <a:pt x="2874" y="4984"/>
                    </a:lnTo>
                    <a:lnTo>
                      <a:pt x="2894" y="4964"/>
                    </a:lnTo>
                    <a:lnTo>
                      <a:pt x="2914" y="4943"/>
                    </a:lnTo>
                    <a:lnTo>
                      <a:pt x="2944" y="4933"/>
                    </a:lnTo>
                    <a:lnTo>
                      <a:pt x="2965" y="4913"/>
                    </a:lnTo>
                    <a:lnTo>
                      <a:pt x="2995" y="4883"/>
                    </a:lnTo>
                    <a:lnTo>
                      <a:pt x="2995" y="4883"/>
                    </a:lnTo>
                    <a:lnTo>
                      <a:pt x="3005" y="4872"/>
                    </a:lnTo>
                    <a:lnTo>
                      <a:pt x="3015" y="4862"/>
                    </a:lnTo>
                    <a:lnTo>
                      <a:pt x="3015" y="4862"/>
                    </a:lnTo>
                    <a:lnTo>
                      <a:pt x="3025" y="4842"/>
                    </a:lnTo>
                    <a:lnTo>
                      <a:pt x="3025" y="4832"/>
                    </a:lnTo>
                    <a:lnTo>
                      <a:pt x="3035" y="4832"/>
                    </a:lnTo>
                    <a:lnTo>
                      <a:pt x="3046" y="4812"/>
                    </a:lnTo>
                    <a:lnTo>
                      <a:pt x="3056" y="4781"/>
                    </a:lnTo>
                    <a:lnTo>
                      <a:pt x="3066" y="4771"/>
                    </a:lnTo>
                    <a:lnTo>
                      <a:pt x="3076" y="4761"/>
                    </a:lnTo>
                    <a:lnTo>
                      <a:pt x="3086" y="4751"/>
                    </a:lnTo>
                    <a:lnTo>
                      <a:pt x="3086" y="4741"/>
                    </a:lnTo>
                    <a:lnTo>
                      <a:pt x="3096" y="4720"/>
                    </a:lnTo>
                    <a:lnTo>
                      <a:pt x="3116" y="4700"/>
                    </a:lnTo>
                    <a:lnTo>
                      <a:pt x="3116" y="4690"/>
                    </a:lnTo>
                    <a:lnTo>
                      <a:pt x="3116" y="4680"/>
                    </a:lnTo>
                    <a:lnTo>
                      <a:pt x="3126" y="4670"/>
                    </a:lnTo>
                    <a:lnTo>
                      <a:pt x="3126" y="4660"/>
                    </a:lnTo>
                    <a:lnTo>
                      <a:pt x="3137" y="4650"/>
                    </a:lnTo>
                    <a:lnTo>
                      <a:pt x="3137" y="4639"/>
                    </a:lnTo>
                    <a:lnTo>
                      <a:pt x="3126" y="4589"/>
                    </a:lnTo>
                    <a:lnTo>
                      <a:pt x="3126" y="4569"/>
                    </a:lnTo>
                    <a:lnTo>
                      <a:pt x="3137" y="4558"/>
                    </a:lnTo>
                    <a:lnTo>
                      <a:pt x="3137" y="4558"/>
                    </a:lnTo>
                    <a:lnTo>
                      <a:pt x="3157" y="4538"/>
                    </a:lnTo>
                    <a:lnTo>
                      <a:pt x="3167" y="4528"/>
                    </a:lnTo>
                    <a:lnTo>
                      <a:pt x="3177" y="4508"/>
                    </a:lnTo>
                    <a:lnTo>
                      <a:pt x="3187" y="4487"/>
                    </a:lnTo>
                    <a:lnTo>
                      <a:pt x="3207" y="4447"/>
                    </a:lnTo>
                    <a:lnTo>
                      <a:pt x="3238" y="4346"/>
                    </a:lnTo>
                    <a:lnTo>
                      <a:pt x="3258" y="4295"/>
                    </a:lnTo>
                    <a:lnTo>
                      <a:pt x="3258" y="4275"/>
                    </a:lnTo>
                    <a:lnTo>
                      <a:pt x="3268" y="4254"/>
                    </a:lnTo>
                    <a:lnTo>
                      <a:pt x="3278" y="4234"/>
                    </a:lnTo>
                    <a:lnTo>
                      <a:pt x="3288" y="4224"/>
                    </a:lnTo>
                    <a:lnTo>
                      <a:pt x="3299" y="4204"/>
                    </a:lnTo>
                    <a:lnTo>
                      <a:pt x="3309" y="4173"/>
                    </a:lnTo>
                    <a:lnTo>
                      <a:pt x="3319" y="4153"/>
                    </a:lnTo>
                    <a:lnTo>
                      <a:pt x="3339" y="4133"/>
                    </a:lnTo>
                    <a:lnTo>
                      <a:pt x="3349" y="4123"/>
                    </a:lnTo>
                    <a:lnTo>
                      <a:pt x="3359" y="4103"/>
                    </a:lnTo>
                    <a:lnTo>
                      <a:pt x="3369" y="4082"/>
                    </a:lnTo>
                    <a:lnTo>
                      <a:pt x="3379" y="4052"/>
                    </a:lnTo>
                    <a:lnTo>
                      <a:pt x="3400" y="4021"/>
                    </a:lnTo>
                    <a:lnTo>
                      <a:pt x="3410" y="4011"/>
                    </a:lnTo>
                    <a:lnTo>
                      <a:pt x="3410" y="3991"/>
                    </a:lnTo>
                    <a:lnTo>
                      <a:pt x="3420" y="3951"/>
                    </a:lnTo>
                    <a:lnTo>
                      <a:pt x="3420" y="3930"/>
                    </a:lnTo>
                    <a:lnTo>
                      <a:pt x="3420" y="3910"/>
                    </a:lnTo>
                    <a:lnTo>
                      <a:pt x="3420" y="3880"/>
                    </a:lnTo>
                    <a:lnTo>
                      <a:pt x="3420" y="3870"/>
                    </a:lnTo>
                    <a:lnTo>
                      <a:pt x="3420" y="3859"/>
                    </a:lnTo>
                    <a:lnTo>
                      <a:pt x="3430" y="3849"/>
                    </a:lnTo>
                    <a:lnTo>
                      <a:pt x="3430" y="3839"/>
                    </a:lnTo>
                    <a:lnTo>
                      <a:pt x="3430" y="3819"/>
                    </a:lnTo>
                    <a:lnTo>
                      <a:pt x="3430" y="3809"/>
                    </a:lnTo>
                    <a:lnTo>
                      <a:pt x="3430" y="3788"/>
                    </a:lnTo>
                    <a:lnTo>
                      <a:pt x="3440" y="3768"/>
                    </a:lnTo>
                    <a:lnTo>
                      <a:pt x="3450" y="3748"/>
                    </a:lnTo>
                    <a:lnTo>
                      <a:pt x="3460" y="3738"/>
                    </a:lnTo>
                    <a:lnTo>
                      <a:pt x="3481" y="3718"/>
                    </a:lnTo>
                    <a:lnTo>
                      <a:pt x="3501" y="3687"/>
                    </a:lnTo>
                    <a:lnTo>
                      <a:pt x="3511" y="3677"/>
                    </a:lnTo>
                    <a:lnTo>
                      <a:pt x="3521" y="3667"/>
                    </a:lnTo>
                    <a:lnTo>
                      <a:pt x="3541" y="3647"/>
                    </a:lnTo>
                    <a:lnTo>
                      <a:pt x="3562" y="3637"/>
                    </a:lnTo>
                    <a:lnTo>
                      <a:pt x="3592" y="3596"/>
                    </a:lnTo>
                    <a:lnTo>
                      <a:pt x="3602" y="3576"/>
                    </a:lnTo>
                    <a:lnTo>
                      <a:pt x="3612" y="3566"/>
                    </a:lnTo>
                    <a:lnTo>
                      <a:pt x="3622" y="3525"/>
                    </a:lnTo>
                    <a:lnTo>
                      <a:pt x="3673" y="3444"/>
                    </a:lnTo>
                    <a:lnTo>
                      <a:pt x="3673" y="3434"/>
                    </a:lnTo>
                    <a:lnTo>
                      <a:pt x="3683" y="3414"/>
                    </a:lnTo>
                    <a:lnTo>
                      <a:pt x="3713" y="3393"/>
                    </a:lnTo>
                    <a:lnTo>
                      <a:pt x="3724" y="3383"/>
                    </a:lnTo>
                    <a:lnTo>
                      <a:pt x="3734" y="3363"/>
                    </a:lnTo>
                    <a:lnTo>
                      <a:pt x="3764" y="3333"/>
                    </a:lnTo>
                    <a:lnTo>
                      <a:pt x="3784" y="3312"/>
                    </a:lnTo>
                    <a:lnTo>
                      <a:pt x="3794" y="3302"/>
                    </a:lnTo>
                    <a:lnTo>
                      <a:pt x="3804" y="3292"/>
                    </a:lnTo>
                    <a:lnTo>
                      <a:pt x="3825" y="3252"/>
                    </a:lnTo>
                    <a:lnTo>
                      <a:pt x="3855" y="3211"/>
                    </a:lnTo>
                    <a:lnTo>
                      <a:pt x="3865" y="3191"/>
                    </a:lnTo>
                    <a:lnTo>
                      <a:pt x="3885" y="3181"/>
                    </a:lnTo>
                    <a:lnTo>
                      <a:pt x="3896" y="3160"/>
                    </a:lnTo>
                    <a:lnTo>
                      <a:pt x="3916" y="3130"/>
                    </a:lnTo>
                    <a:lnTo>
                      <a:pt x="3926" y="3110"/>
                    </a:lnTo>
                    <a:lnTo>
                      <a:pt x="3926" y="3100"/>
                    </a:lnTo>
                    <a:lnTo>
                      <a:pt x="3936" y="3090"/>
                    </a:lnTo>
                    <a:lnTo>
                      <a:pt x="3946" y="3079"/>
                    </a:lnTo>
                    <a:lnTo>
                      <a:pt x="3956" y="3069"/>
                    </a:lnTo>
                    <a:lnTo>
                      <a:pt x="3966" y="3059"/>
                    </a:lnTo>
                    <a:lnTo>
                      <a:pt x="3976" y="3049"/>
                    </a:lnTo>
                    <a:lnTo>
                      <a:pt x="3987" y="3039"/>
                    </a:lnTo>
                    <a:lnTo>
                      <a:pt x="3997" y="3008"/>
                    </a:lnTo>
                    <a:lnTo>
                      <a:pt x="4007" y="2998"/>
                    </a:lnTo>
                    <a:lnTo>
                      <a:pt x="4017" y="2978"/>
                    </a:lnTo>
                    <a:lnTo>
                      <a:pt x="4017" y="2968"/>
                    </a:lnTo>
                    <a:lnTo>
                      <a:pt x="4017" y="2958"/>
                    </a:lnTo>
                    <a:lnTo>
                      <a:pt x="4027" y="2938"/>
                    </a:lnTo>
                    <a:lnTo>
                      <a:pt x="4037" y="2917"/>
                    </a:lnTo>
                    <a:lnTo>
                      <a:pt x="4078" y="2857"/>
                    </a:lnTo>
                    <a:lnTo>
                      <a:pt x="4088" y="2846"/>
                    </a:lnTo>
                    <a:lnTo>
                      <a:pt x="4098" y="2836"/>
                    </a:lnTo>
                    <a:lnTo>
                      <a:pt x="4098" y="2826"/>
                    </a:lnTo>
                    <a:lnTo>
                      <a:pt x="4098" y="2836"/>
                    </a:lnTo>
                  </a:path>
                </a:pathLst>
              </a:custGeom>
              <a:solidFill>
                <a:srgbClr val="EBE4F4"/>
              </a:solid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715" name="Réunion">
                <a:extLst>
                  <a:ext uri="{FF2B5EF4-FFF2-40B4-BE49-F238E27FC236}">
                    <a16:creationId xmlns:a16="http://schemas.microsoft.com/office/drawing/2014/main" id="{8685392E-ADD9-489E-A525-180E8A11FD6F}"/>
                  </a:ext>
                </a:extLst>
              </p:cNvPr>
              <p:cNvSpPr>
                <a:spLocks noChangeAspect="1"/>
              </p:cNvSpPr>
              <p:nvPr/>
            </p:nvSpPr>
            <p:spPr bwMode="auto">
              <a:xfrm>
                <a:off x="-1482851" y="4781959"/>
                <a:ext cx="284501" cy="226388"/>
              </a:xfrm>
              <a:custGeom>
                <a:avLst/>
                <a:gdLst>
                  <a:gd name="T0" fmla="*/ 2216 w 5889"/>
                  <a:gd name="T1" fmla="*/ 10 h 5217"/>
                  <a:gd name="T2" fmla="*/ 2378 w 5889"/>
                  <a:gd name="T3" fmla="*/ 91 h 5217"/>
                  <a:gd name="T4" fmla="*/ 2702 w 5889"/>
                  <a:gd name="T5" fmla="*/ 182 h 5217"/>
                  <a:gd name="T6" fmla="*/ 3086 w 5889"/>
                  <a:gd name="T7" fmla="*/ 233 h 5217"/>
                  <a:gd name="T8" fmla="*/ 3531 w 5889"/>
                  <a:gd name="T9" fmla="*/ 263 h 5217"/>
                  <a:gd name="T10" fmla="*/ 3815 w 5889"/>
                  <a:gd name="T11" fmla="*/ 365 h 5217"/>
                  <a:gd name="T12" fmla="*/ 4058 w 5889"/>
                  <a:gd name="T13" fmla="*/ 446 h 5217"/>
                  <a:gd name="T14" fmla="*/ 4310 w 5889"/>
                  <a:gd name="T15" fmla="*/ 608 h 5217"/>
                  <a:gd name="T16" fmla="*/ 4472 w 5889"/>
                  <a:gd name="T17" fmla="*/ 780 h 5217"/>
                  <a:gd name="T18" fmla="*/ 4563 w 5889"/>
                  <a:gd name="T19" fmla="*/ 993 h 5217"/>
                  <a:gd name="T20" fmla="*/ 4624 w 5889"/>
                  <a:gd name="T21" fmla="*/ 1246 h 5217"/>
                  <a:gd name="T22" fmla="*/ 4685 w 5889"/>
                  <a:gd name="T23" fmla="*/ 1530 h 5217"/>
                  <a:gd name="T24" fmla="*/ 4827 w 5889"/>
                  <a:gd name="T25" fmla="*/ 1732 h 5217"/>
                  <a:gd name="T26" fmla="*/ 4978 w 5889"/>
                  <a:gd name="T27" fmla="*/ 1985 h 5217"/>
                  <a:gd name="T28" fmla="*/ 5090 w 5889"/>
                  <a:gd name="T29" fmla="*/ 2198 h 5217"/>
                  <a:gd name="T30" fmla="*/ 5312 w 5889"/>
                  <a:gd name="T31" fmla="*/ 2512 h 5217"/>
                  <a:gd name="T32" fmla="*/ 5636 w 5889"/>
                  <a:gd name="T33" fmla="*/ 2694 h 5217"/>
                  <a:gd name="T34" fmla="*/ 5828 w 5889"/>
                  <a:gd name="T35" fmla="*/ 2857 h 5217"/>
                  <a:gd name="T36" fmla="*/ 5889 w 5889"/>
                  <a:gd name="T37" fmla="*/ 3069 h 5217"/>
                  <a:gd name="T38" fmla="*/ 5818 w 5889"/>
                  <a:gd name="T39" fmla="*/ 3282 h 5217"/>
                  <a:gd name="T40" fmla="*/ 5768 w 5889"/>
                  <a:gd name="T41" fmla="*/ 3485 h 5217"/>
                  <a:gd name="T42" fmla="*/ 5646 w 5889"/>
                  <a:gd name="T43" fmla="*/ 3768 h 5217"/>
                  <a:gd name="T44" fmla="*/ 5596 w 5889"/>
                  <a:gd name="T45" fmla="*/ 4133 h 5217"/>
                  <a:gd name="T46" fmla="*/ 5596 w 5889"/>
                  <a:gd name="T47" fmla="*/ 4366 h 5217"/>
                  <a:gd name="T48" fmla="*/ 5646 w 5889"/>
                  <a:gd name="T49" fmla="*/ 4690 h 5217"/>
                  <a:gd name="T50" fmla="*/ 5535 w 5889"/>
                  <a:gd name="T51" fmla="*/ 4903 h 5217"/>
                  <a:gd name="T52" fmla="*/ 5272 w 5889"/>
                  <a:gd name="T53" fmla="*/ 5014 h 5217"/>
                  <a:gd name="T54" fmla="*/ 4968 w 5889"/>
                  <a:gd name="T55" fmla="*/ 5065 h 5217"/>
                  <a:gd name="T56" fmla="*/ 4685 w 5889"/>
                  <a:gd name="T57" fmla="*/ 5156 h 5217"/>
                  <a:gd name="T58" fmla="*/ 4361 w 5889"/>
                  <a:gd name="T59" fmla="*/ 5186 h 5217"/>
                  <a:gd name="T60" fmla="*/ 3987 w 5889"/>
                  <a:gd name="T61" fmla="*/ 5217 h 5217"/>
                  <a:gd name="T62" fmla="*/ 3703 w 5889"/>
                  <a:gd name="T63" fmla="*/ 5217 h 5217"/>
                  <a:gd name="T64" fmla="*/ 3491 w 5889"/>
                  <a:gd name="T65" fmla="*/ 5105 h 5217"/>
                  <a:gd name="T66" fmla="*/ 3137 w 5889"/>
                  <a:gd name="T67" fmla="*/ 5075 h 5217"/>
                  <a:gd name="T68" fmla="*/ 2823 w 5889"/>
                  <a:gd name="T69" fmla="*/ 4953 h 5217"/>
                  <a:gd name="T70" fmla="*/ 2509 w 5889"/>
                  <a:gd name="T71" fmla="*/ 4842 h 5217"/>
                  <a:gd name="T72" fmla="*/ 2287 w 5889"/>
                  <a:gd name="T73" fmla="*/ 4751 h 5217"/>
                  <a:gd name="T74" fmla="*/ 2054 w 5889"/>
                  <a:gd name="T75" fmla="*/ 4639 h 5217"/>
                  <a:gd name="T76" fmla="*/ 1831 w 5889"/>
                  <a:gd name="T77" fmla="*/ 4457 h 5217"/>
                  <a:gd name="T78" fmla="*/ 1528 w 5889"/>
                  <a:gd name="T79" fmla="*/ 4255 h 5217"/>
                  <a:gd name="T80" fmla="*/ 1244 w 5889"/>
                  <a:gd name="T81" fmla="*/ 4184 h 5217"/>
                  <a:gd name="T82" fmla="*/ 1093 w 5889"/>
                  <a:gd name="T83" fmla="*/ 4032 h 5217"/>
                  <a:gd name="T84" fmla="*/ 931 w 5889"/>
                  <a:gd name="T85" fmla="*/ 3839 h 5217"/>
                  <a:gd name="T86" fmla="*/ 708 w 5889"/>
                  <a:gd name="T87" fmla="*/ 3545 h 5217"/>
                  <a:gd name="T88" fmla="*/ 658 w 5889"/>
                  <a:gd name="T89" fmla="*/ 3241 h 5217"/>
                  <a:gd name="T90" fmla="*/ 627 w 5889"/>
                  <a:gd name="T91" fmla="*/ 2958 h 5217"/>
                  <a:gd name="T92" fmla="*/ 415 w 5889"/>
                  <a:gd name="T93" fmla="*/ 2512 h 5217"/>
                  <a:gd name="T94" fmla="*/ 233 w 5889"/>
                  <a:gd name="T95" fmla="*/ 2330 h 5217"/>
                  <a:gd name="T96" fmla="*/ 91 w 5889"/>
                  <a:gd name="T97" fmla="*/ 2066 h 5217"/>
                  <a:gd name="T98" fmla="*/ 30 w 5889"/>
                  <a:gd name="T99" fmla="*/ 1833 h 5217"/>
                  <a:gd name="T100" fmla="*/ 101 w 5889"/>
                  <a:gd name="T101" fmla="*/ 1631 h 5217"/>
                  <a:gd name="T102" fmla="*/ 344 w 5889"/>
                  <a:gd name="T103" fmla="*/ 1489 h 5217"/>
                  <a:gd name="T104" fmla="*/ 577 w 5889"/>
                  <a:gd name="T105" fmla="*/ 1317 h 5217"/>
                  <a:gd name="T106" fmla="*/ 708 w 5889"/>
                  <a:gd name="T107" fmla="*/ 1246 h 5217"/>
                  <a:gd name="T108" fmla="*/ 880 w 5889"/>
                  <a:gd name="T109" fmla="*/ 1246 h 5217"/>
                  <a:gd name="T110" fmla="*/ 658 w 5889"/>
                  <a:gd name="T111" fmla="*/ 1145 h 5217"/>
                  <a:gd name="T112" fmla="*/ 627 w 5889"/>
                  <a:gd name="T113" fmla="*/ 861 h 5217"/>
                  <a:gd name="T114" fmla="*/ 698 w 5889"/>
                  <a:gd name="T115" fmla="*/ 567 h 5217"/>
                  <a:gd name="T116" fmla="*/ 1032 w 5889"/>
                  <a:gd name="T117" fmla="*/ 577 h 5217"/>
                  <a:gd name="T118" fmla="*/ 1295 w 5889"/>
                  <a:gd name="T119" fmla="*/ 395 h 5217"/>
                  <a:gd name="T120" fmla="*/ 1487 w 5889"/>
                  <a:gd name="T121" fmla="*/ 253 h 5217"/>
                  <a:gd name="T122" fmla="*/ 1700 w 5889"/>
                  <a:gd name="T123" fmla="*/ 111 h 5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89" h="5217">
                    <a:moveTo>
                      <a:pt x="2044" y="61"/>
                    </a:moveTo>
                    <a:lnTo>
                      <a:pt x="2054" y="61"/>
                    </a:lnTo>
                    <a:lnTo>
                      <a:pt x="2064" y="61"/>
                    </a:lnTo>
                    <a:lnTo>
                      <a:pt x="2074" y="61"/>
                    </a:lnTo>
                    <a:lnTo>
                      <a:pt x="2084" y="61"/>
                    </a:lnTo>
                    <a:lnTo>
                      <a:pt x="2105" y="61"/>
                    </a:lnTo>
                    <a:lnTo>
                      <a:pt x="2125" y="61"/>
                    </a:lnTo>
                    <a:lnTo>
                      <a:pt x="2125" y="61"/>
                    </a:lnTo>
                    <a:lnTo>
                      <a:pt x="2135" y="61"/>
                    </a:lnTo>
                    <a:lnTo>
                      <a:pt x="2135" y="51"/>
                    </a:lnTo>
                    <a:lnTo>
                      <a:pt x="2145" y="51"/>
                    </a:lnTo>
                    <a:lnTo>
                      <a:pt x="2155" y="51"/>
                    </a:lnTo>
                    <a:lnTo>
                      <a:pt x="2165" y="40"/>
                    </a:lnTo>
                    <a:lnTo>
                      <a:pt x="2165" y="40"/>
                    </a:lnTo>
                    <a:lnTo>
                      <a:pt x="2175" y="30"/>
                    </a:lnTo>
                    <a:lnTo>
                      <a:pt x="2186" y="20"/>
                    </a:lnTo>
                    <a:lnTo>
                      <a:pt x="2186" y="10"/>
                    </a:lnTo>
                    <a:lnTo>
                      <a:pt x="2196" y="10"/>
                    </a:lnTo>
                    <a:lnTo>
                      <a:pt x="2196" y="10"/>
                    </a:lnTo>
                    <a:lnTo>
                      <a:pt x="2206" y="0"/>
                    </a:lnTo>
                    <a:lnTo>
                      <a:pt x="2206" y="0"/>
                    </a:lnTo>
                    <a:lnTo>
                      <a:pt x="2216" y="10"/>
                    </a:lnTo>
                    <a:lnTo>
                      <a:pt x="2216" y="10"/>
                    </a:lnTo>
                    <a:lnTo>
                      <a:pt x="2226" y="20"/>
                    </a:lnTo>
                    <a:lnTo>
                      <a:pt x="2226" y="20"/>
                    </a:lnTo>
                    <a:lnTo>
                      <a:pt x="2236" y="20"/>
                    </a:lnTo>
                    <a:lnTo>
                      <a:pt x="2236" y="20"/>
                    </a:lnTo>
                    <a:lnTo>
                      <a:pt x="2246" y="20"/>
                    </a:lnTo>
                    <a:lnTo>
                      <a:pt x="2256" y="30"/>
                    </a:lnTo>
                    <a:lnTo>
                      <a:pt x="2266" y="30"/>
                    </a:lnTo>
                    <a:lnTo>
                      <a:pt x="2277" y="51"/>
                    </a:lnTo>
                    <a:lnTo>
                      <a:pt x="2277" y="51"/>
                    </a:lnTo>
                    <a:lnTo>
                      <a:pt x="2287" y="51"/>
                    </a:lnTo>
                    <a:lnTo>
                      <a:pt x="2297" y="51"/>
                    </a:lnTo>
                    <a:lnTo>
                      <a:pt x="2307" y="51"/>
                    </a:lnTo>
                    <a:lnTo>
                      <a:pt x="2307" y="51"/>
                    </a:lnTo>
                    <a:lnTo>
                      <a:pt x="2307" y="61"/>
                    </a:lnTo>
                    <a:lnTo>
                      <a:pt x="2317" y="71"/>
                    </a:lnTo>
                    <a:lnTo>
                      <a:pt x="2317" y="71"/>
                    </a:lnTo>
                    <a:lnTo>
                      <a:pt x="2327" y="81"/>
                    </a:lnTo>
                    <a:lnTo>
                      <a:pt x="2347" y="81"/>
                    </a:lnTo>
                    <a:lnTo>
                      <a:pt x="2358" y="91"/>
                    </a:lnTo>
                    <a:lnTo>
                      <a:pt x="2368" y="91"/>
                    </a:lnTo>
                    <a:lnTo>
                      <a:pt x="2378" y="91"/>
                    </a:lnTo>
                    <a:lnTo>
                      <a:pt x="2388" y="101"/>
                    </a:lnTo>
                    <a:lnTo>
                      <a:pt x="2408" y="101"/>
                    </a:lnTo>
                    <a:lnTo>
                      <a:pt x="2418" y="101"/>
                    </a:lnTo>
                    <a:lnTo>
                      <a:pt x="2428" y="111"/>
                    </a:lnTo>
                    <a:lnTo>
                      <a:pt x="2449" y="111"/>
                    </a:lnTo>
                    <a:lnTo>
                      <a:pt x="2459" y="111"/>
                    </a:lnTo>
                    <a:lnTo>
                      <a:pt x="2479" y="121"/>
                    </a:lnTo>
                    <a:lnTo>
                      <a:pt x="2489" y="132"/>
                    </a:lnTo>
                    <a:lnTo>
                      <a:pt x="2499" y="142"/>
                    </a:lnTo>
                    <a:lnTo>
                      <a:pt x="2509" y="152"/>
                    </a:lnTo>
                    <a:lnTo>
                      <a:pt x="2519" y="152"/>
                    </a:lnTo>
                    <a:lnTo>
                      <a:pt x="2530" y="152"/>
                    </a:lnTo>
                    <a:lnTo>
                      <a:pt x="2540" y="162"/>
                    </a:lnTo>
                    <a:lnTo>
                      <a:pt x="2550" y="162"/>
                    </a:lnTo>
                    <a:lnTo>
                      <a:pt x="2570" y="172"/>
                    </a:lnTo>
                    <a:lnTo>
                      <a:pt x="2590" y="172"/>
                    </a:lnTo>
                    <a:lnTo>
                      <a:pt x="2611" y="172"/>
                    </a:lnTo>
                    <a:lnTo>
                      <a:pt x="2621" y="172"/>
                    </a:lnTo>
                    <a:lnTo>
                      <a:pt x="2661" y="172"/>
                    </a:lnTo>
                    <a:lnTo>
                      <a:pt x="2671" y="182"/>
                    </a:lnTo>
                    <a:lnTo>
                      <a:pt x="2691" y="182"/>
                    </a:lnTo>
                    <a:lnTo>
                      <a:pt x="2702" y="182"/>
                    </a:lnTo>
                    <a:lnTo>
                      <a:pt x="2722" y="182"/>
                    </a:lnTo>
                    <a:lnTo>
                      <a:pt x="2742" y="182"/>
                    </a:lnTo>
                    <a:lnTo>
                      <a:pt x="2752" y="172"/>
                    </a:lnTo>
                    <a:lnTo>
                      <a:pt x="2772" y="172"/>
                    </a:lnTo>
                    <a:lnTo>
                      <a:pt x="2783" y="172"/>
                    </a:lnTo>
                    <a:lnTo>
                      <a:pt x="2793" y="162"/>
                    </a:lnTo>
                    <a:lnTo>
                      <a:pt x="2803" y="162"/>
                    </a:lnTo>
                    <a:lnTo>
                      <a:pt x="2823" y="162"/>
                    </a:lnTo>
                    <a:lnTo>
                      <a:pt x="2833" y="162"/>
                    </a:lnTo>
                    <a:lnTo>
                      <a:pt x="2853" y="172"/>
                    </a:lnTo>
                    <a:lnTo>
                      <a:pt x="2884" y="182"/>
                    </a:lnTo>
                    <a:lnTo>
                      <a:pt x="2924" y="192"/>
                    </a:lnTo>
                    <a:lnTo>
                      <a:pt x="2955" y="202"/>
                    </a:lnTo>
                    <a:lnTo>
                      <a:pt x="2965" y="202"/>
                    </a:lnTo>
                    <a:lnTo>
                      <a:pt x="2985" y="202"/>
                    </a:lnTo>
                    <a:lnTo>
                      <a:pt x="2995" y="213"/>
                    </a:lnTo>
                    <a:lnTo>
                      <a:pt x="3005" y="213"/>
                    </a:lnTo>
                    <a:lnTo>
                      <a:pt x="3025" y="213"/>
                    </a:lnTo>
                    <a:lnTo>
                      <a:pt x="3035" y="223"/>
                    </a:lnTo>
                    <a:lnTo>
                      <a:pt x="3066" y="223"/>
                    </a:lnTo>
                    <a:lnTo>
                      <a:pt x="3076" y="233"/>
                    </a:lnTo>
                    <a:lnTo>
                      <a:pt x="3086" y="233"/>
                    </a:lnTo>
                    <a:lnTo>
                      <a:pt x="3106" y="233"/>
                    </a:lnTo>
                    <a:lnTo>
                      <a:pt x="3116" y="233"/>
                    </a:lnTo>
                    <a:lnTo>
                      <a:pt x="3137" y="243"/>
                    </a:lnTo>
                    <a:lnTo>
                      <a:pt x="3167" y="233"/>
                    </a:lnTo>
                    <a:lnTo>
                      <a:pt x="3197" y="233"/>
                    </a:lnTo>
                    <a:lnTo>
                      <a:pt x="3228" y="233"/>
                    </a:lnTo>
                    <a:lnTo>
                      <a:pt x="3248" y="233"/>
                    </a:lnTo>
                    <a:lnTo>
                      <a:pt x="3258" y="233"/>
                    </a:lnTo>
                    <a:lnTo>
                      <a:pt x="3268" y="233"/>
                    </a:lnTo>
                    <a:lnTo>
                      <a:pt x="3278" y="243"/>
                    </a:lnTo>
                    <a:lnTo>
                      <a:pt x="3288" y="243"/>
                    </a:lnTo>
                    <a:lnTo>
                      <a:pt x="3309" y="243"/>
                    </a:lnTo>
                    <a:lnTo>
                      <a:pt x="3339" y="243"/>
                    </a:lnTo>
                    <a:lnTo>
                      <a:pt x="3359" y="243"/>
                    </a:lnTo>
                    <a:lnTo>
                      <a:pt x="3369" y="243"/>
                    </a:lnTo>
                    <a:lnTo>
                      <a:pt x="3400" y="253"/>
                    </a:lnTo>
                    <a:lnTo>
                      <a:pt x="3410" y="253"/>
                    </a:lnTo>
                    <a:lnTo>
                      <a:pt x="3430" y="253"/>
                    </a:lnTo>
                    <a:lnTo>
                      <a:pt x="3460" y="263"/>
                    </a:lnTo>
                    <a:lnTo>
                      <a:pt x="3491" y="263"/>
                    </a:lnTo>
                    <a:lnTo>
                      <a:pt x="3521" y="263"/>
                    </a:lnTo>
                    <a:lnTo>
                      <a:pt x="3531" y="263"/>
                    </a:lnTo>
                    <a:lnTo>
                      <a:pt x="3552" y="263"/>
                    </a:lnTo>
                    <a:lnTo>
                      <a:pt x="3562" y="273"/>
                    </a:lnTo>
                    <a:lnTo>
                      <a:pt x="3572" y="273"/>
                    </a:lnTo>
                    <a:lnTo>
                      <a:pt x="3592" y="273"/>
                    </a:lnTo>
                    <a:lnTo>
                      <a:pt x="3602" y="273"/>
                    </a:lnTo>
                    <a:lnTo>
                      <a:pt x="3612" y="273"/>
                    </a:lnTo>
                    <a:lnTo>
                      <a:pt x="3622" y="283"/>
                    </a:lnTo>
                    <a:lnTo>
                      <a:pt x="3633" y="283"/>
                    </a:lnTo>
                    <a:lnTo>
                      <a:pt x="3643" y="283"/>
                    </a:lnTo>
                    <a:lnTo>
                      <a:pt x="3663" y="304"/>
                    </a:lnTo>
                    <a:lnTo>
                      <a:pt x="3683" y="314"/>
                    </a:lnTo>
                    <a:lnTo>
                      <a:pt x="3693" y="314"/>
                    </a:lnTo>
                    <a:lnTo>
                      <a:pt x="3713" y="324"/>
                    </a:lnTo>
                    <a:lnTo>
                      <a:pt x="3734" y="334"/>
                    </a:lnTo>
                    <a:lnTo>
                      <a:pt x="3744" y="344"/>
                    </a:lnTo>
                    <a:lnTo>
                      <a:pt x="3754" y="344"/>
                    </a:lnTo>
                    <a:lnTo>
                      <a:pt x="3764" y="344"/>
                    </a:lnTo>
                    <a:lnTo>
                      <a:pt x="3774" y="354"/>
                    </a:lnTo>
                    <a:lnTo>
                      <a:pt x="3774" y="354"/>
                    </a:lnTo>
                    <a:lnTo>
                      <a:pt x="3784" y="365"/>
                    </a:lnTo>
                    <a:lnTo>
                      <a:pt x="3794" y="365"/>
                    </a:lnTo>
                    <a:lnTo>
                      <a:pt x="3815" y="365"/>
                    </a:lnTo>
                    <a:lnTo>
                      <a:pt x="3815" y="375"/>
                    </a:lnTo>
                    <a:lnTo>
                      <a:pt x="3835" y="385"/>
                    </a:lnTo>
                    <a:lnTo>
                      <a:pt x="3845" y="385"/>
                    </a:lnTo>
                    <a:lnTo>
                      <a:pt x="3855" y="385"/>
                    </a:lnTo>
                    <a:lnTo>
                      <a:pt x="3855" y="395"/>
                    </a:lnTo>
                    <a:lnTo>
                      <a:pt x="3865" y="395"/>
                    </a:lnTo>
                    <a:lnTo>
                      <a:pt x="3875" y="395"/>
                    </a:lnTo>
                    <a:lnTo>
                      <a:pt x="3875" y="405"/>
                    </a:lnTo>
                    <a:lnTo>
                      <a:pt x="3896" y="405"/>
                    </a:lnTo>
                    <a:lnTo>
                      <a:pt x="3896" y="405"/>
                    </a:lnTo>
                    <a:lnTo>
                      <a:pt x="3906" y="405"/>
                    </a:lnTo>
                    <a:lnTo>
                      <a:pt x="3916" y="405"/>
                    </a:lnTo>
                    <a:lnTo>
                      <a:pt x="3936" y="415"/>
                    </a:lnTo>
                    <a:lnTo>
                      <a:pt x="3946" y="415"/>
                    </a:lnTo>
                    <a:lnTo>
                      <a:pt x="3966" y="425"/>
                    </a:lnTo>
                    <a:lnTo>
                      <a:pt x="3966" y="425"/>
                    </a:lnTo>
                    <a:lnTo>
                      <a:pt x="3977" y="425"/>
                    </a:lnTo>
                    <a:lnTo>
                      <a:pt x="3997" y="425"/>
                    </a:lnTo>
                    <a:lnTo>
                      <a:pt x="4017" y="425"/>
                    </a:lnTo>
                    <a:lnTo>
                      <a:pt x="4017" y="435"/>
                    </a:lnTo>
                    <a:lnTo>
                      <a:pt x="4027" y="435"/>
                    </a:lnTo>
                    <a:lnTo>
                      <a:pt x="4058" y="446"/>
                    </a:lnTo>
                    <a:lnTo>
                      <a:pt x="4078" y="456"/>
                    </a:lnTo>
                    <a:lnTo>
                      <a:pt x="4098" y="466"/>
                    </a:lnTo>
                    <a:lnTo>
                      <a:pt x="4108" y="466"/>
                    </a:lnTo>
                    <a:lnTo>
                      <a:pt x="4118" y="476"/>
                    </a:lnTo>
                    <a:lnTo>
                      <a:pt x="4128" y="476"/>
                    </a:lnTo>
                    <a:lnTo>
                      <a:pt x="4149" y="486"/>
                    </a:lnTo>
                    <a:lnTo>
                      <a:pt x="4149" y="496"/>
                    </a:lnTo>
                    <a:lnTo>
                      <a:pt x="4159" y="496"/>
                    </a:lnTo>
                    <a:lnTo>
                      <a:pt x="4189" y="506"/>
                    </a:lnTo>
                    <a:lnTo>
                      <a:pt x="4199" y="506"/>
                    </a:lnTo>
                    <a:lnTo>
                      <a:pt x="4219" y="516"/>
                    </a:lnTo>
                    <a:lnTo>
                      <a:pt x="4230" y="516"/>
                    </a:lnTo>
                    <a:lnTo>
                      <a:pt x="4240" y="527"/>
                    </a:lnTo>
                    <a:lnTo>
                      <a:pt x="4260" y="537"/>
                    </a:lnTo>
                    <a:lnTo>
                      <a:pt x="4280" y="547"/>
                    </a:lnTo>
                    <a:lnTo>
                      <a:pt x="4290" y="557"/>
                    </a:lnTo>
                    <a:lnTo>
                      <a:pt x="4290" y="557"/>
                    </a:lnTo>
                    <a:lnTo>
                      <a:pt x="4300" y="577"/>
                    </a:lnTo>
                    <a:lnTo>
                      <a:pt x="4300" y="587"/>
                    </a:lnTo>
                    <a:lnTo>
                      <a:pt x="4300" y="598"/>
                    </a:lnTo>
                    <a:lnTo>
                      <a:pt x="4300" y="598"/>
                    </a:lnTo>
                    <a:lnTo>
                      <a:pt x="4310" y="608"/>
                    </a:lnTo>
                    <a:lnTo>
                      <a:pt x="4321" y="608"/>
                    </a:lnTo>
                    <a:lnTo>
                      <a:pt x="4341" y="618"/>
                    </a:lnTo>
                    <a:lnTo>
                      <a:pt x="4341" y="618"/>
                    </a:lnTo>
                    <a:lnTo>
                      <a:pt x="4351" y="628"/>
                    </a:lnTo>
                    <a:lnTo>
                      <a:pt x="4361" y="648"/>
                    </a:lnTo>
                    <a:lnTo>
                      <a:pt x="4371" y="658"/>
                    </a:lnTo>
                    <a:lnTo>
                      <a:pt x="4381" y="668"/>
                    </a:lnTo>
                    <a:lnTo>
                      <a:pt x="4391" y="679"/>
                    </a:lnTo>
                    <a:lnTo>
                      <a:pt x="4412" y="689"/>
                    </a:lnTo>
                    <a:lnTo>
                      <a:pt x="4422" y="699"/>
                    </a:lnTo>
                    <a:lnTo>
                      <a:pt x="4422" y="709"/>
                    </a:lnTo>
                    <a:lnTo>
                      <a:pt x="4422" y="709"/>
                    </a:lnTo>
                    <a:lnTo>
                      <a:pt x="4422" y="719"/>
                    </a:lnTo>
                    <a:lnTo>
                      <a:pt x="4422" y="719"/>
                    </a:lnTo>
                    <a:lnTo>
                      <a:pt x="4432" y="729"/>
                    </a:lnTo>
                    <a:lnTo>
                      <a:pt x="4432" y="729"/>
                    </a:lnTo>
                    <a:lnTo>
                      <a:pt x="4442" y="739"/>
                    </a:lnTo>
                    <a:lnTo>
                      <a:pt x="4452" y="739"/>
                    </a:lnTo>
                    <a:lnTo>
                      <a:pt x="4462" y="749"/>
                    </a:lnTo>
                    <a:lnTo>
                      <a:pt x="4462" y="760"/>
                    </a:lnTo>
                    <a:lnTo>
                      <a:pt x="4462" y="770"/>
                    </a:lnTo>
                    <a:lnTo>
                      <a:pt x="4472" y="780"/>
                    </a:lnTo>
                    <a:lnTo>
                      <a:pt x="4472" y="800"/>
                    </a:lnTo>
                    <a:lnTo>
                      <a:pt x="4482" y="810"/>
                    </a:lnTo>
                    <a:lnTo>
                      <a:pt x="4482" y="831"/>
                    </a:lnTo>
                    <a:lnTo>
                      <a:pt x="4482" y="831"/>
                    </a:lnTo>
                    <a:lnTo>
                      <a:pt x="4493" y="841"/>
                    </a:lnTo>
                    <a:lnTo>
                      <a:pt x="4503" y="841"/>
                    </a:lnTo>
                    <a:lnTo>
                      <a:pt x="4503" y="851"/>
                    </a:lnTo>
                    <a:lnTo>
                      <a:pt x="4503" y="851"/>
                    </a:lnTo>
                    <a:lnTo>
                      <a:pt x="4503" y="871"/>
                    </a:lnTo>
                    <a:lnTo>
                      <a:pt x="4503" y="881"/>
                    </a:lnTo>
                    <a:lnTo>
                      <a:pt x="4513" y="891"/>
                    </a:lnTo>
                    <a:lnTo>
                      <a:pt x="4523" y="891"/>
                    </a:lnTo>
                    <a:lnTo>
                      <a:pt x="4533" y="912"/>
                    </a:lnTo>
                    <a:lnTo>
                      <a:pt x="4533" y="922"/>
                    </a:lnTo>
                    <a:lnTo>
                      <a:pt x="4533" y="922"/>
                    </a:lnTo>
                    <a:lnTo>
                      <a:pt x="4533" y="932"/>
                    </a:lnTo>
                    <a:lnTo>
                      <a:pt x="4533" y="942"/>
                    </a:lnTo>
                    <a:lnTo>
                      <a:pt x="4533" y="952"/>
                    </a:lnTo>
                    <a:lnTo>
                      <a:pt x="4543" y="962"/>
                    </a:lnTo>
                    <a:lnTo>
                      <a:pt x="4553" y="972"/>
                    </a:lnTo>
                    <a:lnTo>
                      <a:pt x="4563" y="982"/>
                    </a:lnTo>
                    <a:lnTo>
                      <a:pt x="4563" y="993"/>
                    </a:lnTo>
                    <a:lnTo>
                      <a:pt x="4574" y="1013"/>
                    </a:lnTo>
                    <a:lnTo>
                      <a:pt x="4584" y="1023"/>
                    </a:lnTo>
                    <a:lnTo>
                      <a:pt x="4584" y="1033"/>
                    </a:lnTo>
                    <a:lnTo>
                      <a:pt x="4594" y="1043"/>
                    </a:lnTo>
                    <a:lnTo>
                      <a:pt x="4594" y="1053"/>
                    </a:lnTo>
                    <a:lnTo>
                      <a:pt x="4594" y="1064"/>
                    </a:lnTo>
                    <a:lnTo>
                      <a:pt x="4604" y="1074"/>
                    </a:lnTo>
                    <a:lnTo>
                      <a:pt x="4604" y="1084"/>
                    </a:lnTo>
                    <a:lnTo>
                      <a:pt x="4604" y="1084"/>
                    </a:lnTo>
                    <a:lnTo>
                      <a:pt x="4614" y="1094"/>
                    </a:lnTo>
                    <a:lnTo>
                      <a:pt x="4614" y="1104"/>
                    </a:lnTo>
                    <a:lnTo>
                      <a:pt x="4614" y="1114"/>
                    </a:lnTo>
                    <a:lnTo>
                      <a:pt x="4614" y="1124"/>
                    </a:lnTo>
                    <a:lnTo>
                      <a:pt x="4614" y="1124"/>
                    </a:lnTo>
                    <a:lnTo>
                      <a:pt x="4614" y="1145"/>
                    </a:lnTo>
                    <a:lnTo>
                      <a:pt x="4614" y="1155"/>
                    </a:lnTo>
                    <a:lnTo>
                      <a:pt x="4614" y="1175"/>
                    </a:lnTo>
                    <a:lnTo>
                      <a:pt x="4614" y="1195"/>
                    </a:lnTo>
                    <a:lnTo>
                      <a:pt x="4624" y="1205"/>
                    </a:lnTo>
                    <a:lnTo>
                      <a:pt x="4624" y="1215"/>
                    </a:lnTo>
                    <a:lnTo>
                      <a:pt x="4624" y="1236"/>
                    </a:lnTo>
                    <a:lnTo>
                      <a:pt x="4624" y="1246"/>
                    </a:lnTo>
                    <a:lnTo>
                      <a:pt x="4624" y="1256"/>
                    </a:lnTo>
                    <a:lnTo>
                      <a:pt x="4624" y="1266"/>
                    </a:lnTo>
                    <a:lnTo>
                      <a:pt x="4634" y="1286"/>
                    </a:lnTo>
                    <a:lnTo>
                      <a:pt x="4634" y="1297"/>
                    </a:lnTo>
                    <a:lnTo>
                      <a:pt x="4634" y="1307"/>
                    </a:lnTo>
                    <a:lnTo>
                      <a:pt x="4634" y="1317"/>
                    </a:lnTo>
                    <a:lnTo>
                      <a:pt x="4634" y="1337"/>
                    </a:lnTo>
                    <a:lnTo>
                      <a:pt x="4644" y="1347"/>
                    </a:lnTo>
                    <a:lnTo>
                      <a:pt x="4644" y="1347"/>
                    </a:lnTo>
                    <a:lnTo>
                      <a:pt x="4644" y="1378"/>
                    </a:lnTo>
                    <a:lnTo>
                      <a:pt x="4644" y="1408"/>
                    </a:lnTo>
                    <a:lnTo>
                      <a:pt x="4644" y="1418"/>
                    </a:lnTo>
                    <a:lnTo>
                      <a:pt x="4644" y="1428"/>
                    </a:lnTo>
                    <a:lnTo>
                      <a:pt x="4644" y="1438"/>
                    </a:lnTo>
                    <a:lnTo>
                      <a:pt x="4655" y="1438"/>
                    </a:lnTo>
                    <a:lnTo>
                      <a:pt x="4655" y="1448"/>
                    </a:lnTo>
                    <a:lnTo>
                      <a:pt x="4665" y="1459"/>
                    </a:lnTo>
                    <a:lnTo>
                      <a:pt x="4675" y="1469"/>
                    </a:lnTo>
                    <a:lnTo>
                      <a:pt x="4685" y="1489"/>
                    </a:lnTo>
                    <a:lnTo>
                      <a:pt x="4685" y="1499"/>
                    </a:lnTo>
                    <a:lnTo>
                      <a:pt x="4685" y="1519"/>
                    </a:lnTo>
                    <a:lnTo>
                      <a:pt x="4685" y="1530"/>
                    </a:lnTo>
                    <a:lnTo>
                      <a:pt x="4695" y="1540"/>
                    </a:lnTo>
                    <a:lnTo>
                      <a:pt x="4715" y="1550"/>
                    </a:lnTo>
                    <a:lnTo>
                      <a:pt x="4725" y="1560"/>
                    </a:lnTo>
                    <a:lnTo>
                      <a:pt x="4735" y="1570"/>
                    </a:lnTo>
                    <a:lnTo>
                      <a:pt x="4746" y="1580"/>
                    </a:lnTo>
                    <a:lnTo>
                      <a:pt x="4746" y="1590"/>
                    </a:lnTo>
                    <a:lnTo>
                      <a:pt x="4756" y="1600"/>
                    </a:lnTo>
                    <a:lnTo>
                      <a:pt x="4766" y="1611"/>
                    </a:lnTo>
                    <a:lnTo>
                      <a:pt x="4776" y="1621"/>
                    </a:lnTo>
                    <a:lnTo>
                      <a:pt x="4786" y="1631"/>
                    </a:lnTo>
                    <a:lnTo>
                      <a:pt x="4786" y="1641"/>
                    </a:lnTo>
                    <a:lnTo>
                      <a:pt x="4796" y="1651"/>
                    </a:lnTo>
                    <a:lnTo>
                      <a:pt x="4796" y="1661"/>
                    </a:lnTo>
                    <a:lnTo>
                      <a:pt x="4806" y="1671"/>
                    </a:lnTo>
                    <a:lnTo>
                      <a:pt x="4806" y="1671"/>
                    </a:lnTo>
                    <a:lnTo>
                      <a:pt x="4806" y="1681"/>
                    </a:lnTo>
                    <a:lnTo>
                      <a:pt x="4806" y="1692"/>
                    </a:lnTo>
                    <a:lnTo>
                      <a:pt x="4806" y="1702"/>
                    </a:lnTo>
                    <a:lnTo>
                      <a:pt x="4806" y="1712"/>
                    </a:lnTo>
                    <a:lnTo>
                      <a:pt x="4816" y="1722"/>
                    </a:lnTo>
                    <a:lnTo>
                      <a:pt x="4816" y="1722"/>
                    </a:lnTo>
                    <a:lnTo>
                      <a:pt x="4827" y="1732"/>
                    </a:lnTo>
                    <a:lnTo>
                      <a:pt x="4837" y="1732"/>
                    </a:lnTo>
                    <a:lnTo>
                      <a:pt x="4837" y="1732"/>
                    </a:lnTo>
                    <a:lnTo>
                      <a:pt x="4837" y="1742"/>
                    </a:lnTo>
                    <a:lnTo>
                      <a:pt x="4847" y="1752"/>
                    </a:lnTo>
                    <a:lnTo>
                      <a:pt x="4847" y="1762"/>
                    </a:lnTo>
                    <a:lnTo>
                      <a:pt x="4847" y="1773"/>
                    </a:lnTo>
                    <a:lnTo>
                      <a:pt x="4857" y="1783"/>
                    </a:lnTo>
                    <a:lnTo>
                      <a:pt x="4867" y="1803"/>
                    </a:lnTo>
                    <a:lnTo>
                      <a:pt x="4877" y="1823"/>
                    </a:lnTo>
                    <a:lnTo>
                      <a:pt x="4877" y="1833"/>
                    </a:lnTo>
                    <a:lnTo>
                      <a:pt x="4887" y="1844"/>
                    </a:lnTo>
                    <a:lnTo>
                      <a:pt x="4897" y="1854"/>
                    </a:lnTo>
                    <a:lnTo>
                      <a:pt x="4918" y="1884"/>
                    </a:lnTo>
                    <a:lnTo>
                      <a:pt x="4928" y="1904"/>
                    </a:lnTo>
                    <a:lnTo>
                      <a:pt x="4928" y="1914"/>
                    </a:lnTo>
                    <a:lnTo>
                      <a:pt x="4928" y="1914"/>
                    </a:lnTo>
                    <a:lnTo>
                      <a:pt x="4938" y="1935"/>
                    </a:lnTo>
                    <a:lnTo>
                      <a:pt x="4948" y="1945"/>
                    </a:lnTo>
                    <a:lnTo>
                      <a:pt x="4958" y="1955"/>
                    </a:lnTo>
                    <a:lnTo>
                      <a:pt x="4978" y="1975"/>
                    </a:lnTo>
                    <a:lnTo>
                      <a:pt x="4978" y="1985"/>
                    </a:lnTo>
                    <a:lnTo>
                      <a:pt x="4978" y="1985"/>
                    </a:lnTo>
                    <a:lnTo>
                      <a:pt x="4978" y="1995"/>
                    </a:lnTo>
                    <a:lnTo>
                      <a:pt x="4978" y="2006"/>
                    </a:lnTo>
                    <a:lnTo>
                      <a:pt x="4988" y="2006"/>
                    </a:lnTo>
                    <a:lnTo>
                      <a:pt x="4999" y="2016"/>
                    </a:lnTo>
                    <a:lnTo>
                      <a:pt x="4999" y="2026"/>
                    </a:lnTo>
                    <a:lnTo>
                      <a:pt x="5009" y="2036"/>
                    </a:lnTo>
                    <a:lnTo>
                      <a:pt x="5009" y="2046"/>
                    </a:lnTo>
                    <a:lnTo>
                      <a:pt x="5019" y="2056"/>
                    </a:lnTo>
                    <a:lnTo>
                      <a:pt x="5029" y="2066"/>
                    </a:lnTo>
                    <a:lnTo>
                      <a:pt x="5029" y="2077"/>
                    </a:lnTo>
                    <a:lnTo>
                      <a:pt x="5029" y="2087"/>
                    </a:lnTo>
                    <a:lnTo>
                      <a:pt x="5039" y="2097"/>
                    </a:lnTo>
                    <a:lnTo>
                      <a:pt x="5039" y="2107"/>
                    </a:lnTo>
                    <a:lnTo>
                      <a:pt x="5049" y="2127"/>
                    </a:lnTo>
                    <a:lnTo>
                      <a:pt x="5049" y="2137"/>
                    </a:lnTo>
                    <a:lnTo>
                      <a:pt x="5059" y="2137"/>
                    </a:lnTo>
                    <a:lnTo>
                      <a:pt x="5059" y="2147"/>
                    </a:lnTo>
                    <a:lnTo>
                      <a:pt x="5059" y="2158"/>
                    </a:lnTo>
                    <a:lnTo>
                      <a:pt x="5069" y="2168"/>
                    </a:lnTo>
                    <a:lnTo>
                      <a:pt x="5069" y="2178"/>
                    </a:lnTo>
                    <a:lnTo>
                      <a:pt x="5090" y="2188"/>
                    </a:lnTo>
                    <a:lnTo>
                      <a:pt x="5090" y="2198"/>
                    </a:lnTo>
                    <a:lnTo>
                      <a:pt x="5090" y="2198"/>
                    </a:lnTo>
                    <a:lnTo>
                      <a:pt x="5100" y="2208"/>
                    </a:lnTo>
                    <a:lnTo>
                      <a:pt x="5100" y="2228"/>
                    </a:lnTo>
                    <a:lnTo>
                      <a:pt x="5100" y="2239"/>
                    </a:lnTo>
                    <a:lnTo>
                      <a:pt x="5110" y="2249"/>
                    </a:lnTo>
                    <a:lnTo>
                      <a:pt x="5120" y="2269"/>
                    </a:lnTo>
                    <a:lnTo>
                      <a:pt x="5140" y="2289"/>
                    </a:lnTo>
                    <a:lnTo>
                      <a:pt x="5150" y="2299"/>
                    </a:lnTo>
                    <a:lnTo>
                      <a:pt x="5160" y="2310"/>
                    </a:lnTo>
                    <a:lnTo>
                      <a:pt x="5171" y="2320"/>
                    </a:lnTo>
                    <a:lnTo>
                      <a:pt x="5181" y="2330"/>
                    </a:lnTo>
                    <a:lnTo>
                      <a:pt x="5201" y="2350"/>
                    </a:lnTo>
                    <a:lnTo>
                      <a:pt x="5211" y="2370"/>
                    </a:lnTo>
                    <a:lnTo>
                      <a:pt x="5231" y="2380"/>
                    </a:lnTo>
                    <a:lnTo>
                      <a:pt x="5252" y="2411"/>
                    </a:lnTo>
                    <a:lnTo>
                      <a:pt x="5262" y="2421"/>
                    </a:lnTo>
                    <a:lnTo>
                      <a:pt x="5262" y="2441"/>
                    </a:lnTo>
                    <a:lnTo>
                      <a:pt x="5272" y="2461"/>
                    </a:lnTo>
                    <a:lnTo>
                      <a:pt x="5282" y="2472"/>
                    </a:lnTo>
                    <a:lnTo>
                      <a:pt x="5282" y="2482"/>
                    </a:lnTo>
                    <a:lnTo>
                      <a:pt x="5302" y="2502"/>
                    </a:lnTo>
                    <a:lnTo>
                      <a:pt x="5312" y="2512"/>
                    </a:lnTo>
                    <a:lnTo>
                      <a:pt x="5332" y="2522"/>
                    </a:lnTo>
                    <a:lnTo>
                      <a:pt x="5343" y="2532"/>
                    </a:lnTo>
                    <a:lnTo>
                      <a:pt x="5353" y="2553"/>
                    </a:lnTo>
                    <a:lnTo>
                      <a:pt x="5363" y="2563"/>
                    </a:lnTo>
                    <a:lnTo>
                      <a:pt x="5383" y="2583"/>
                    </a:lnTo>
                    <a:lnTo>
                      <a:pt x="5393" y="2593"/>
                    </a:lnTo>
                    <a:lnTo>
                      <a:pt x="5413" y="2593"/>
                    </a:lnTo>
                    <a:lnTo>
                      <a:pt x="5434" y="2603"/>
                    </a:lnTo>
                    <a:lnTo>
                      <a:pt x="5464" y="2613"/>
                    </a:lnTo>
                    <a:lnTo>
                      <a:pt x="5474" y="2613"/>
                    </a:lnTo>
                    <a:lnTo>
                      <a:pt x="5484" y="2613"/>
                    </a:lnTo>
                    <a:lnTo>
                      <a:pt x="5504" y="2624"/>
                    </a:lnTo>
                    <a:lnTo>
                      <a:pt x="5515" y="2624"/>
                    </a:lnTo>
                    <a:lnTo>
                      <a:pt x="5525" y="2624"/>
                    </a:lnTo>
                    <a:lnTo>
                      <a:pt x="5535" y="2624"/>
                    </a:lnTo>
                    <a:lnTo>
                      <a:pt x="5535" y="2634"/>
                    </a:lnTo>
                    <a:lnTo>
                      <a:pt x="5545" y="2634"/>
                    </a:lnTo>
                    <a:lnTo>
                      <a:pt x="5555" y="2644"/>
                    </a:lnTo>
                    <a:lnTo>
                      <a:pt x="5575" y="2654"/>
                    </a:lnTo>
                    <a:lnTo>
                      <a:pt x="5596" y="2674"/>
                    </a:lnTo>
                    <a:lnTo>
                      <a:pt x="5616" y="2684"/>
                    </a:lnTo>
                    <a:lnTo>
                      <a:pt x="5636" y="2694"/>
                    </a:lnTo>
                    <a:lnTo>
                      <a:pt x="5646" y="2705"/>
                    </a:lnTo>
                    <a:lnTo>
                      <a:pt x="5656" y="2705"/>
                    </a:lnTo>
                    <a:lnTo>
                      <a:pt x="5666" y="2715"/>
                    </a:lnTo>
                    <a:lnTo>
                      <a:pt x="5687" y="2725"/>
                    </a:lnTo>
                    <a:lnTo>
                      <a:pt x="5697" y="2735"/>
                    </a:lnTo>
                    <a:lnTo>
                      <a:pt x="5707" y="2735"/>
                    </a:lnTo>
                    <a:lnTo>
                      <a:pt x="5717" y="2745"/>
                    </a:lnTo>
                    <a:lnTo>
                      <a:pt x="5727" y="2755"/>
                    </a:lnTo>
                    <a:lnTo>
                      <a:pt x="5747" y="2755"/>
                    </a:lnTo>
                    <a:lnTo>
                      <a:pt x="5757" y="2765"/>
                    </a:lnTo>
                    <a:lnTo>
                      <a:pt x="5768" y="2765"/>
                    </a:lnTo>
                    <a:lnTo>
                      <a:pt x="5778" y="2765"/>
                    </a:lnTo>
                    <a:lnTo>
                      <a:pt x="5788" y="2765"/>
                    </a:lnTo>
                    <a:lnTo>
                      <a:pt x="5788" y="2776"/>
                    </a:lnTo>
                    <a:lnTo>
                      <a:pt x="5798" y="2776"/>
                    </a:lnTo>
                    <a:lnTo>
                      <a:pt x="5808" y="2786"/>
                    </a:lnTo>
                    <a:lnTo>
                      <a:pt x="5818" y="2806"/>
                    </a:lnTo>
                    <a:lnTo>
                      <a:pt x="5818" y="2806"/>
                    </a:lnTo>
                    <a:lnTo>
                      <a:pt x="5828" y="2816"/>
                    </a:lnTo>
                    <a:lnTo>
                      <a:pt x="5828" y="2836"/>
                    </a:lnTo>
                    <a:lnTo>
                      <a:pt x="5828" y="2846"/>
                    </a:lnTo>
                    <a:lnTo>
                      <a:pt x="5828" y="2857"/>
                    </a:lnTo>
                    <a:lnTo>
                      <a:pt x="5838" y="2867"/>
                    </a:lnTo>
                    <a:lnTo>
                      <a:pt x="5838" y="2877"/>
                    </a:lnTo>
                    <a:lnTo>
                      <a:pt x="5838" y="2887"/>
                    </a:lnTo>
                    <a:lnTo>
                      <a:pt x="5838" y="2897"/>
                    </a:lnTo>
                    <a:lnTo>
                      <a:pt x="5838" y="2917"/>
                    </a:lnTo>
                    <a:lnTo>
                      <a:pt x="5849" y="2927"/>
                    </a:lnTo>
                    <a:lnTo>
                      <a:pt x="5849" y="2938"/>
                    </a:lnTo>
                    <a:lnTo>
                      <a:pt x="5859" y="2958"/>
                    </a:lnTo>
                    <a:lnTo>
                      <a:pt x="5869" y="2958"/>
                    </a:lnTo>
                    <a:lnTo>
                      <a:pt x="5879" y="2968"/>
                    </a:lnTo>
                    <a:lnTo>
                      <a:pt x="5879" y="2978"/>
                    </a:lnTo>
                    <a:lnTo>
                      <a:pt x="5879" y="2988"/>
                    </a:lnTo>
                    <a:lnTo>
                      <a:pt x="5879" y="2998"/>
                    </a:lnTo>
                    <a:lnTo>
                      <a:pt x="5869" y="2998"/>
                    </a:lnTo>
                    <a:lnTo>
                      <a:pt x="5869" y="3009"/>
                    </a:lnTo>
                    <a:lnTo>
                      <a:pt x="5869" y="3019"/>
                    </a:lnTo>
                    <a:lnTo>
                      <a:pt x="5869" y="3029"/>
                    </a:lnTo>
                    <a:lnTo>
                      <a:pt x="5879" y="3039"/>
                    </a:lnTo>
                    <a:lnTo>
                      <a:pt x="5879" y="3039"/>
                    </a:lnTo>
                    <a:lnTo>
                      <a:pt x="5889" y="3049"/>
                    </a:lnTo>
                    <a:lnTo>
                      <a:pt x="5889" y="3059"/>
                    </a:lnTo>
                    <a:lnTo>
                      <a:pt x="5889" y="3069"/>
                    </a:lnTo>
                    <a:lnTo>
                      <a:pt x="5889" y="3090"/>
                    </a:lnTo>
                    <a:lnTo>
                      <a:pt x="5889" y="3110"/>
                    </a:lnTo>
                    <a:lnTo>
                      <a:pt x="5889" y="3120"/>
                    </a:lnTo>
                    <a:lnTo>
                      <a:pt x="5889" y="3130"/>
                    </a:lnTo>
                    <a:lnTo>
                      <a:pt x="5889" y="3140"/>
                    </a:lnTo>
                    <a:lnTo>
                      <a:pt x="5889" y="3160"/>
                    </a:lnTo>
                    <a:lnTo>
                      <a:pt x="5889" y="3160"/>
                    </a:lnTo>
                    <a:lnTo>
                      <a:pt x="5879" y="3171"/>
                    </a:lnTo>
                    <a:lnTo>
                      <a:pt x="5879" y="3171"/>
                    </a:lnTo>
                    <a:lnTo>
                      <a:pt x="5869" y="3181"/>
                    </a:lnTo>
                    <a:lnTo>
                      <a:pt x="5849" y="3181"/>
                    </a:lnTo>
                    <a:lnTo>
                      <a:pt x="5838" y="3191"/>
                    </a:lnTo>
                    <a:lnTo>
                      <a:pt x="5838" y="3191"/>
                    </a:lnTo>
                    <a:lnTo>
                      <a:pt x="5828" y="3201"/>
                    </a:lnTo>
                    <a:lnTo>
                      <a:pt x="5828" y="3211"/>
                    </a:lnTo>
                    <a:lnTo>
                      <a:pt x="5828" y="3221"/>
                    </a:lnTo>
                    <a:lnTo>
                      <a:pt x="5828" y="3231"/>
                    </a:lnTo>
                    <a:lnTo>
                      <a:pt x="5818" y="3241"/>
                    </a:lnTo>
                    <a:lnTo>
                      <a:pt x="5818" y="3252"/>
                    </a:lnTo>
                    <a:lnTo>
                      <a:pt x="5818" y="3262"/>
                    </a:lnTo>
                    <a:lnTo>
                      <a:pt x="5818" y="3272"/>
                    </a:lnTo>
                    <a:lnTo>
                      <a:pt x="5818" y="3282"/>
                    </a:lnTo>
                    <a:lnTo>
                      <a:pt x="5818" y="3292"/>
                    </a:lnTo>
                    <a:lnTo>
                      <a:pt x="5828" y="3302"/>
                    </a:lnTo>
                    <a:lnTo>
                      <a:pt x="5828" y="3302"/>
                    </a:lnTo>
                    <a:lnTo>
                      <a:pt x="5828" y="3312"/>
                    </a:lnTo>
                    <a:lnTo>
                      <a:pt x="5828" y="3323"/>
                    </a:lnTo>
                    <a:lnTo>
                      <a:pt x="5828" y="3333"/>
                    </a:lnTo>
                    <a:lnTo>
                      <a:pt x="5828" y="3343"/>
                    </a:lnTo>
                    <a:lnTo>
                      <a:pt x="5828" y="3343"/>
                    </a:lnTo>
                    <a:lnTo>
                      <a:pt x="5818" y="3353"/>
                    </a:lnTo>
                    <a:lnTo>
                      <a:pt x="5818" y="3363"/>
                    </a:lnTo>
                    <a:lnTo>
                      <a:pt x="5808" y="3373"/>
                    </a:lnTo>
                    <a:lnTo>
                      <a:pt x="5798" y="3383"/>
                    </a:lnTo>
                    <a:lnTo>
                      <a:pt x="5788" y="3393"/>
                    </a:lnTo>
                    <a:lnTo>
                      <a:pt x="5778" y="3404"/>
                    </a:lnTo>
                    <a:lnTo>
                      <a:pt x="5778" y="3414"/>
                    </a:lnTo>
                    <a:lnTo>
                      <a:pt x="5778" y="3424"/>
                    </a:lnTo>
                    <a:lnTo>
                      <a:pt x="5778" y="3434"/>
                    </a:lnTo>
                    <a:lnTo>
                      <a:pt x="5768" y="3444"/>
                    </a:lnTo>
                    <a:lnTo>
                      <a:pt x="5768" y="3464"/>
                    </a:lnTo>
                    <a:lnTo>
                      <a:pt x="5768" y="3464"/>
                    </a:lnTo>
                    <a:lnTo>
                      <a:pt x="5768" y="3474"/>
                    </a:lnTo>
                    <a:lnTo>
                      <a:pt x="5768" y="3485"/>
                    </a:lnTo>
                    <a:lnTo>
                      <a:pt x="5757" y="3505"/>
                    </a:lnTo>
                    <a:lnTo>
                      <a:pt x="5757" y="3515"/>
                    </a:lnTo>
                    <a:lnTo>
                      <a:pt x="5737" y="3545"/>
                    </a:lnTo>
                    <a:lnTo>
                      <a:pt x="5717" y="3566"/>
                    </a:lnTo>
                    <a:lnTo>
                      <a:pt x="5717" y="3576"/>
                    </a:lnTo>
                    <a:lnTo>
                      <a:pt x="5707" y="3596"/>
                    </a:lnTo>
                    <a:lnTo>
                      <a:pt x="5707" y="3606"/>
                    </a:lnTo>
                    <a:lnTo>
                      <a:pt x="5697" y="3616"/>
                    </a:lnTo>
                    <a:lnTo>
                      <a:pt x="5697" y="3626"/>
                    </a:lnTo>
                    <a:lnTo>
                      <a:pt x="5687" y="3637"/>
                    </a:lnTo>
                    <a:lnTo>
                      <a:pt x="5687" y="3637"/>
                    </a:lnTo>
                    <a:lnTo>
                      <a:pt x="5677" y="3647"/>
                    </a:lnTo>
                    <a:lnTo>
                      <a:pt x="5666" y="3667"/>
                    </a:lnTo>
                    <a:lnTo>
                      <a:pt x="5656" y="3677"/>
                    </a:lnTo>
                    <a:lnTo>
                      <a:pt x="5656" y="3697"/>
                    </a:lnTo>
                    <a:lnTo>
                      <a:pt x="5656" y="3718"/>
                    </a:lnTo>
                    <a:lnTo>
                      <a:pt x="5656" y="3728"/>
                    </a:lnTo>
                    <a:lnTo>
                      <a:pt x="5656" y="3728"/>
                    </a:lnTo>
                    <a:lnTo>
                      <a:pt x="5656" y="3738"/>
                    </a:lnTo>
                    <a:lnTo>
                      <a:pt x="5646" y="3738"/>
                    </a:lnTo>
                    <a:lnTo>
                      <a:pt x="5646" y="3758"/>
                    </a:lnTo>
                    <a:lnTo>
                      <a:pt x="5646" y="3768"/>
                    </a:lnTo>
                    <a:lnTo>
                      <a:pt x="5636" y="3778"/>
                    </a:lnTo>
                    <a:lnTo>
                      <a:pt x="5636" y="3799"/>
                    </a:lnTo>
                    <a:lnTo>
                      <a:pt x="5626" y="3819"/>
                    </a:lnTo>
                    <a:lnTo>
                      <a:pt x="5626" y="3839"/>
                    </a:lnTo>
                    <a:lnTo>
                      <a:pt x="5616" y="3859"/>
                    </a:lnTo>
                    <a:lnTo>
                      <a:pt x="5616" y="3870"/>
                    </a:lnTo>
                    <a:lnTo>
                      <a:pt x="5616" y="3890"/>
                    </a:lnTo>
                    <a:lnTo>
                      <a:pt x="5606" y="3910"/>
                    </a:lnTo>
                    <a:lnTo>
                      <a:pt x="5606" y="3930"/>
                    </a:lnTo>
                    <a:lnTo>
                      <a:pt x="5606" y="3951"/>
                    </a:lnTo>
                    <a:lnTo>
                      <a:pt x="5606" y="3971"/>
                    </a:lnTo>
                    <a:lnTo>
                      <a:pt x="5606" y="3971"/>
                    </a:lnTo>
                    <a:lnTo>
                      <a:pt x="5606" y="3991"/>
                    </a:lnTo>
                    <a:lnTo>
                      <a:pt x="5606" y="4011"/>
                    </a:lnTo>
                    <a:lnTo>
                      <a:pt x="5606" y="4032"/>
                    </a:lnTo>
                    <a:lnTo>
                      <a:pt x="5606" y="4062"/>
                    </a:lnTo>
                    <a:lnTo>
                      <a:pt x="5606" y="4082"/>
                    </a:lnTo>
                    <a:lnTo>
                      <a:pt x="5606" y="4082"/>
                    </a:lnTo>
                    <a:lnTo>
                      <a:pt x="5596" y="4092"/>
                    </a:lnTo>
                    <a:lnTo>
                      <a:pt x="5596" y="4113"/>
                    </a:lnTo>
                    <a:lnTo>
                      <a:pt x="5596" y="4113"/>
                    </a:lnTo>
                    <a:lnTo>
                      <a:pt x="5596" y="4133"/>
                    </a:lnTo>
                    <a:lnTo>
                      <a:pt x="5596" y="4143"/>
                    </a:lnTo>
                    <a:lnTo>
                      <a:pt x="5606" y="4143"/>
                    </a:lnTo>
                    <a:lnTo>
                      <a:pt x="5606" y="4153"/>
                    </a:lnTo>
                    <a:lnTo>
                      <a:pt x="5616" y="4153"/>
                    </a:lnTo>
                    <a:lnTo>
                      <a:pt x="5606" y="4153"/>
                    </a:lnTo>
                    <a:lnTo>
                      <a:pt x="5606" y="4163"/>
                    </a:lnTo>
                    <a:lnTo>
                      <a:pt x="5606" y="4163"/>
                    </a:lnTo>
                    <a:lnTo>
                      <a:pt x="5596" y="4173"/>
                    </a:lnTo>
                    <a:lnTo>
                      <a:pt x="5596" y="4184"/>
                    </a:lnTo>
                    <a:lnTo>
                      <a:pt x="5606" y="4194"/>
                    </a:lnTo>
                    <a:lnTo>
                      <a:pt x="5606" y="4214"/>
                    </a:lnTo>
                    <a:lnTo>
                      <a:pt x="5606" y="4224"/>
                    </a:lnTo>
                    <a:lnTo>
                      <a:pt x="5606" y="4234"/>
                    </a:lnTo>
                    <a:lnTo>
                      <a:pt x="5606" y="4244"/>
                    </a:lnTo>
                    <a:lnTo>
                      <a:pt x="5606" y="4255"/>
                    </a:lnTo>
                    <a:lnTo>
                      <a:pt x="5596" y="4275"/>
                    </a:lnTo>
                    <a:lnTo>
                      <a:pt x="5596" y="4295"/>
                    </a:lnTo>
                    <a:lnTo>
                      <a:pt x="5596" y="4305"/>
                    </a:lnTo>
                    <a:lnTo>
                      <a:pt x="5596" y="4315"/>
                    </a:lnTo>
                    <a:lnTo>
                      <a:pt x="5596" y="4325"/>
                    </a:lnTo>
                    <a:lnTo>
                      <a:pt x="5596" y="4336"/>
                    </a:lnTo>
                    <a:lnTo>
                      <a:pt x="5596" y="4366"/>
                    </a:lnTo>
                    <a:lnTo>
                      <a:pt x="5596" y="4386"/>
                    </a:lnTo>
                    <a:lnTo>
                      <a:pt x="5596" y="4406"/>
                    </a:lnTo>
                    <a:lnTo>
                      <a:pt x="5596" y="4417"/>
                    </a:lnTo>
                    <a:lnTo>
                      <a:pt x="5596" y="4437"/>
                    </a:lnTo>
                    <a:lnTo>
                      <a:pt x="5606" y="4447"/>
                    </a:lnTo>
                    <a:lnTo>
                      <a:pt x="5606" y="4467"/>
                    </a:lnTo>
                    <a:lnTo>
                      <a:pt x="5616" y="4477"/>
                    </a:lnTo>
                    <a:lnTo>
                      <a:pt x="5616" y="4498"/>
                    </a:lnTo>
                    <a:lnTo>
                      <a:pt x="5616" y="4498"/>
                    </a:lnTo>
                    <a:lnTo>
                      <a:pt x="5616" y="4508"/>
                    </a:lnTo>
                    <a:lnTo>
                      <a:pt x="5616" y="4528"/>
                    </a:lnTo>
                    <a:lnTo>
                      <a:pt x="5616" y="4528"/>
                    </a:lnTo>
                    <a:lnTo>
                      <a:pt x="5616" y="4548"/>
                    </a:lnTo>
                    <a:lnTo>
                      <a:pt x="5616" y="4558"/>
                    </a:lnTo>
                    <a:lnTo>
                      <a:pt x="5626" y="4579"/>
                    </a:lnTo>
                    <a:lnTo>
                      <a:pt x="5636" y="4599"/>
                    </a:lnTo>
                    <a:lnTo>
                      <a:pt x="5636" y="4619"/>
                    </a:lnTo>
                    <a:lnTo>
                      <a:pt x="5636" y="4639"/>
                    </a:lnTo>
                    <a:lnTo>
                      <a:pt x="5636" y="4660"/>
                    </a:lnTo>
                    <a:lnTo>
                      <a:pt x="5646" y="4670"/>
                    </a:lnTo>
                    <a:lnTo>
                      <a:pt x="5646" y="4680"/>
                    </a:lnTo>
                    <a:lnTo>
                      <a:pt x="5646" y="4690"/>
                    </a:lnTo>
                    <a:lnTo>
                      <a:pt x="5646" y="4700"/>
                    </a:lnTo>
                    <a:lnTo>
                      <a:pt x="5646" y="4710"/>
                    </a:lnTo>
                    <a:lnTo>
                      <a:pt x="5636" y="4720"/>
                    </a:lnTo>
                    <a:lnTo>
                      <a:pt x="5636" y="4731"/>
                    </a:lnTo>
                    <a:lnTo>
                      <a:pt x="5626" y="4731"/>
                    </a:lnTo>
                    <a:lnTo>
                      <a:pt x="5626" y="4751"/>
                    </a:lnTo>
                    <a:lnTo>
                      <a:pt x="5626" y="4771"/>
                    </a:lnTo>
                    <a:lnTo>
                      <a:pt x="5616" y="4781"/>
                    </a:lnTo>
                    <a:lnTo>
                      <a:pt x="5616" y="4781"/>
                    </a:lnTo>
                    <a:lnTo>
                      <a:pt x="5616" y="4802"/>
                    </a:lnTo>
                    <a:lnTo>
                      <a:pt x="5616" y="4822"/>
                    </a:lnTo>
                    <a:lnTo>
                      <a:pt x="5616" y="4842"/>
                    </a:lnTo>
                    <a:lnTo>
                      <a:pt x="5616" y="4842"/>
                    </a:lnTo>
                    <a:lnTo>
                      <a:pt x="5616" y="4852"/>
                    </a:lnTo>
                    <a:lnTo>
                      <a:pt x="5606" y="4872"/>
                    </a:lnTo>
                    <a:lnTo>
                      <a:pt x="5596" y="4872"/>
                    </a:lnTo>
                    <a:lnTo>
                      <a:pt x="5596" y="4872"/>
                    </a:lnTo>
                    <a:lnTo>
                      <a:pt x="5575" y="4872"/>
                    </a:lnTo>
                    <a:lnTo>
                      <a:pt x="5565" y="4883"/>
                    </a:lnTo>
                    <a:lnTo>
                      <a:pt x="5555" y="4883"/>
                    </a:lnTo>
                    <a:lnTo>
                      <a:pt x="5545" y="4903"/>
                    </a:lnTo>
                    <a:lnTo>
                      <a:pt x="5535" y="4903"/>
                    </a:lnTo>
                    <a:lnTo>
                      <a:pt x="5525" y="4913"/>
                    </a:lnTo>
                    <a:lnTo>
                      <a:pt x="5515" y="4933"/>
                    </a:lnTo>
                    <a:lnTo>
                      <a:pt x="5494" y="4953"/>
                    </a:lnTo>
                    <a:lnTo>
                      <a:pt x="5484" y="4964"/>
                    </a:lnTo>
                    <a:lnTo>
                      <a:pt x="5484" y="4974"/>
                    </a:lnTo>
                    <a:lnTo>
                      <a:pt x="5474" y="4974"/>
                    </a:lnTo>
                    <a:lnTo>
                      <a:pt x="5464" y="4974"/>
                    </a:lnTo>
                    <a:lnTo>
                      <a:pt x="5444" y="4974"/>
                    </a:lnTo>
                    <a:lnTo>
                      <a:pt x="5434" y="4974"/>
                    </a:lnTo>
                    <a:lnTo>
                      <a:pt x="5424" y="4984"/>
                    </a:lnTo>
                    <a:lnTo>
                      <a:pt x="5413" y="4984"/>
                    </a:lnTo>
                    <a:lnTo>
                      <a:pt x="5403" y="4984"/>
                    </a:lnTo>
                    <a:lnTo>
                      <a:pt x="5393" y="4994"/>
                    </a:lnTo>
                    <a:lnTo>
                      <a:pt x="5373" y="5004"/>
                    </a:lnTo>
                    <a:lnTo>
                      <a:pt x="5353" y="5004"/>
                    </a:lnTo>
                    <a:lnTo>
                      <a:pt x="5343" y="5004"/>
                    </a:lnTo>
                    <a:lnTo>
                      <a:pt x="5322" y="5004"/>
                    </a:lnTo>
                    <a:lnTo>
                      <a:pt x="5312" y="5014"/>
                    </a:lnTo>
                    <a:lnTo>
                      <a:pt x="5302" y="5014"/>
                    </a:lnTo>
                    <a:lnTo>
                      <a:pt x="5292" y="5014"/>
                    </a:lnTo>
                    <a:lnTo>
                      <a:pt x="5282" y="5014"/>
                    </a:lnTo>
                    <a:lnTo>
                      <a:pt x="5272" y="5014"/>
                    </a:lnTo>
                    <a:lnTo>
                      <a:pt x="5262" y="5024"/>
                    </a:lnTo>
                    <a:lnTo>
                      <a:pt x="5252" y="5024"/>
                    </a:lnTo>
                    <a:lnTo>
                      <a:pt x="5252" y="5035"/>
                    </a:lnTo>
                    <a:lnTo>
                      <a:pt x="5231" y="5035"/>
                    </a:lnTo>
                    <a:lnTo>
                      <a:pt x="5221" y="5045"/>
                    </a:lnTo>
                    <a:lnTo>
                      <a:pt x="5201" y="5045"/>
                    </a:lnTo>
                    <a:lnTo>
                      <a:pt x="5191" y="5045"/>
                    </a:lnTo>
                    <a:lnTo>
                      <a:pt x="5191" y="5055"/>
                    </a:lnTo>
                    <a:lnTo>
                      <a:pt x="5171" y="5055"/>
                    </a:lnTo>
                    <a:lnTo>
                      <a:pt x="5160" y="5055"/>
                    </a:lnTo>
                    <a:lnTo>
                      <a:pt x="5140" y="5045"/>
                    </a:lnTo>
                    <a:lnTo>
                      <a:pt x="5120" y="5035"/>
                    </a:lnTo>
                    <a:lnTo>
                      <a:pt x="5100" y="5035"/>
                    </a:lnTo>
                    <a:lnTo>
                      <a:pt x="5080" y="5035"/>
                    </a:lnTo>
                    <a:lnTo>
                      <a:pt x="5059" y="5045"/>
                    </a:lnTo>
                    <a:lnTo>
                      <a:pt x="5039" y="5045"/>
                    </a:lnTo>
                    <a:lnTo>
                      <a:pt x="5029" y="5045"/>
                    </a:lnTo>
                    <a:lnTo>
                      <a:pt x="5019" y="5045"/>
                    </a:lnTo>
                    <a:lnTo>
                      <a:pt x="5009" y="5045"/>
                    </a:lnTo>
                    <a:lnTo>
                      <a:pt x="4999" y="5055"/>
                    </a:lnTo>
                    <a:lnTo>
                      <a:pt x="4978" y="5065"/>
                    </a:lnTo>
                    <a:lnTo>
                      <a:pt x="4968" y="5065"/>
                    </a:lnTo>
                    <a:lnTo>
                      <a:pt x="4958" y="5065"/>
                    </a:lnTo>
                    <a:lnTo>
                      <a:pt x="4948" y="5075"/>
                    </a:lnTo>
                    <a:lnTo>
                      <a:pt x="4938" y="5075"/>
                    </a:lnTo>
                    <a:lnTo>
                      <a:pt x="4928" y="5075"/>
                    </a:lnTo>
                    <a:lnTo>
                      <a:pt x="4918" y="5075"/>
                    </a:lnTo>
                    <a:lnTo>
                      <a:pt x="4907" y="5085"/>
                    </a:lnTo>
                    <a:lnTo>
                      <a:pt x="4897" y="5085"/>
                    </a:lnTo>
                    <a:lnTo>
                      <a:pt x="4887" y="5095"/>
                    </a:lnTo>
                    <a:lnTo>
                      <a:pt x="4867" y="5095"/>
                    </a:lnTo>
                    <a:lnTo>
                      <a:pt x="4847" y="5105"/>
                    </a:lnTo>
                    <a:lnTo>
                      <a:pt x="4837" y="5105"/>
                    </a:lnTo>
                    <a:lnTo>
                      <a:pt x="4827" y="5105"/>
                    </a:lnTo>
                    <a:lnTo>
                      <a:pt x="4816" y="5116"/>
                    </a:lnTo>
                    <a:lnTo>
                      <a:pt x="4806" y="5116"/>
                    </a:lnTo>
                    <a:lnTo>
                      <a:pt x="4786" y="5126"/>
                    </a:lnTo>
                    <a:lnTo>
                      <a:pt x="4776" y="5126"/>
                    </a:lnTo>
                    <a:lnTo>
                      <a:pt x="4766" y="5136"/>
                    </a:lnTo>
                    <a:lnTo>
                      <a:pt x="4756" y="5136"/>
                    </a:lnTo>
                    <a:lnTo>
                      <a:pt x="4735" y="5136"/>
                    </a:lnTo>
                    <a:lnTo>
                      <a:pt x="4705" y="5146"/>
                    </a:lnTo>
                    <a:lnTo>
                      <a:pt x="4695" y="5146"/>
                    </a:lnTo>
                    <a:lnTo>
                      <a:pt x="4685" y="5156"/>
                    </a:lnTo>
                    <a:lnTo>
                      <a:pt x="4675" y="5156"/>
                    </a:lnTo>
                    <a:lnTo>
                      <a:pt x="4675" y="5156"/>
                    </a:lnTo>
                    <a:lnTo>
                      <a:pt x="4655" y="5156"/>
                    </a:lnTo>
                    <a:lnTo>
                      <a:pt x="4634" y="5156"/>
                    </a:lnTo>
                    <a:lnTo>
                      <a:pt x="4614" y="5156"/>
                    </a:lnTo>
                    <a:lnTo>
                      <a:pt x="4594" y="5156"/>
                    </a:lnTo>
                    <a:lnTo>
                      <a:pt x="4574" y="5156"/>
                    </a:lnTo>
                    <a:lnTo>
                      <a:pt x="4553" y="5146"/>
                    </a:lnTo>
                    <a:lnTo>
                      <a:pt x="4543" y="5146"/>
                    </a:lnTo>
                    <a:lnTo>
                      <a:pt x="4523" y="5146"/>
                    </a:lnTo>
                    <a:lnTo>
                      <a:pt x="4513" y="5156"/>
                    </a:lnTo>
                    <a:lnTo>
                      <a:pt x="4503" y="5156"/>
                    </a:lnTo>
                    <a:lnTo>
                      <a:pt x="4493" y="5156"/>
                    </a:lnTo>
                    <a:lnTo>
                      <a:pt x="4482" y="5156"/>
                    </a:lnTo>
                    <a:lnTo>
                      <a:pt x="4462" y="5156"/>
                    </a:lnTo>
                    <a:lnTo>
                      <a:pt x="4452" y="5166"/>
                    </a:lnTo>
                    <a:lnTo>
                      <a:pt x="4442" y="5166"/>
                    </a:lnTo>
                    <a:lnTo>
                      <a:pt x="4412" y="5166"/>
                    </a:lnTo>
                    <a:lnTo>
                      <a:pt x="4402" y="5166"/>
                    </a:lnTo>
                    <a:lnTo>
                      <a:pt x="4381" y="5166"/>
                    </a:lnTo>
                    <a:lnTo>
                      <a:pt x="4371" y="5176"/>
                    </a:lnTo>
                    <a:lnTo>
                      <a:pt x="4361" y="5186"/>
                    </a:lnTo>
                    <a:lnTo>
                      <a:pt x="4351" y="5197"/>
                    </a:lnTo>
                    <a:lnTo>
                      <a:pt x="4341" y="5197"/>
                    </a:lnTo>
                    <a:lnTo>
                      <a:pt x="4331" y="5207"/>
                    </a:lnTo>
                    <a:lnTo>
                      <a:pt x="4310" y="5207"/>
                    </a:lnTo>
                    <a:lnTo>
                      <a:pt x="4280" y="5207"/>
                    </a:lnTo>
                    <a:lnTo>
                      <a:pt x="4270" y="5197"/>
                    </a:lnTo>
                    <a:lnTo>
                      <a:pt x="4260" y="5197"/>
                    </a:lnTo>
                    <a:lnTo>
                      <a:pt x="4250" y="5197"/>
                    </a:lnTo>
                    <a:lnTo>
                      <a:pt x="4230" y="5207"/>
                    </a:lnTo>
                    <a:lnTo>
                      <a:pt x="4209" y="5217"/>
                    </a:lnTo>
                    <a:lnTo>
                      <a:pt x="4199" y="5217"/>
                    </a:lnTo>
                    <a:lnTo>
                      <a:pt x="4189" y="5217"/>
                    </a:lnTo>
                    <a:lnTo>
                      <a:pt x="4169" y="5217"/>
                    </a:lnTo>
                    <a:lnTo>
                      <a:pt x="4138" y="5217"/>
                    </a:lnTo>
                    <a:lnTo>
                      <a:pt x="4128" y="5217"/>
                    </a:lnTo>
                    <a:lnTo>
                      <a:pt x="4118" y="5217"/>
                    </a:lnTo>
                    <a:lnTo>
                      <a:pt x="4088" y="5217"/>
                    </a:lnTo>
                    <a:lnTo>
                      <a:pt x="4068" y="5217"/>
                    </a:lnTo>
                    <a:lnTo>
                      <a:pt x="4037" y="5217"/>
                    </a:lnTo>
                    <a:lnTo>
                      <a:pt x="4027" y="5217"/>
                    </a:lnTo>
                    <a:lnTo>
                      <a:pt x="4017" y="5217"/>
                    </a:lnTo>
                    <a:lnTo>
                      <a:pt x="3987" y="5217"/>
                    </a:lnTo>
                    <a:lnTo>
                      <a:pt x="3977" y="5217"/>
                    </a:lnTo>
                    <a:lnTo>
                      <a:pt x="3966" y="5217"/>
                    </a:lnTo>
                    <a:lnTo>
                      <a:pt x="3946" y="5217"/>
                    </a:lnTo>
                    <a:lnTo>
                      <a:pt x="3926" y="5217"/>
                    </a:lnTo>
                    <a:lnTo>
                      <a:pt x="3916" y="5207"/>
                    </a:lnTo>
                    <a:lnTo>
                      <a:pt x="3906" y="5197"/>
                    </a:lnTo>
                    <a:lnTo>
                      <a:pt x="3896" y="5197"/>
                    </a:lnTo>
                    <a:lnTo>
                      <a:pt x="3875" y="5197"/>
                    </a:lnTo>
                    <a:lnTo>
                      <a:pt x="3865" y="5197"/>
                    </a:lnTo>
                    <a:lnTo>
                      <a:pt x="3855" y="5197"/>
                    </a:lnTo>
                    <a:lnTo>
                      <a:pt x="3835" y="5186"/>
                    </a:lnTo>
                    <a:lnTo>
                      <a:pt x="3815" y="5186"/>
                    </a:lnTo>
                    <a:lnTo>
                      <a:pt x="3774" y="5186"/>
                    </a:lnTo>
                    <a:lnTo>
                      <a:pt x="3764" y="5186"/>
                    </a:lnTo>
                    <a:lnTo>
                      <a:pt x="3754" y="5186"/>
                    </a:lnTo>
                    <a:lnTo>
                      <a:pt x="3754" y="5197"/>
                    </a:lnTo>
                    <a:lnTo>
                      <a:pt x="3744" y="5207"/>
                    </a:lnTo>
                    <a:lnTo>
                      <a:pt x="3734" y="5207"/>
                    </a:lnTo>
                    <a:lnTo>
                      <a:pt x="3734" y="5217"/>
                    </a:lnTo>
                    <a:lnTo>
                      <a:pt x="3734" y="5217"/>
                    </a:lnTo>
                    <a:lnTo>
                      <a:pt x="3713" y="5217"/>
                    </a:lnTo>
                    <a:lnTo>
                      <a:pt x="3703" y="5217"/>
                    </a:lnTo>
                    <a:lnTo>
                      <a:pt x="3703" y="5217"/>
                    </a:lnTo>
                    <a:lnTo>
                      <a:pt x="3693" y="5207"/>
                    </a:lnTo>
                    <a:lnTo>
                      <a:pt x="3683" y="5197"/>
                    </a:lnTo>
                    <a:lnTo>
                      <a:pt x="3683" y="5197"/>
                    </a:lnTo>
                    <a:lnTo>
                      <a:pt x="3673" y="5186"/>
                    </a:lnTo>
                    <a:lnTo>
                      <a:pt x="3673" y="5176"/>
                    </a:lnTo>
                    <a:lnTo>
                      <a:pt x="3663" y="5176"/>
                    </a:lnTo>
                    <a:lnTo>
                      <a:pt x="3653" y="5176"/>
                    </a:lnTo>
                    <a:lnTo>
                      <a:pt x="3643" y="5176"/>
                    </a:lnTo>
                    <a:lnTo>
                      <a:pt x="3633" y="5166"/>
                    </a:lnTo>
                    <a:lnTo>
                      <a:pt x="3622" y="5166"/>
                    </a:lnTo>
                    <a:lnTo>
                      <a:pt x="3612" y="5156"/>
                    </a:lnTo>
                    <a:lnTo>
                      <a:pt x="3602" y="5146"/>
                    </a:lnTo>
                    <a:lnTo>
                      <a:pt x="3582" y="5136"/>
                    </a:lnTo>
                    <a:lnTo>
                      <a:pt x="3572" y="5126"/>
                    </a:lnTo>
                    <a:lnTo>
                      <a:pt x="3562" y="5126"/>
                    </a:lnTo>
                    <a:lnTo>
                      <a:pt x="3562" y="5126"/>
                    </a:lnTo>
                    <a:lnTo>
                      <a:pt x="3541" y="5116"/>
                    </a:lnTo>
                    <a:lnTo>
                      <a:pt x="3531" y="5116"/>
                    </a:lnTo>
                    <a:lnTo>
                      <a:pt x="3501" y="5105"/>
                    </a:lnTo>
                    <a:lnTo>
                      <a:pt x="3491" y="5105"/>
                    </a:lnTo>
                    <a:lnTo>
                      <a:pt x="3491" y="5105"/>
                    </a:lnTo>
                    <a:lnTo>
                      <a:pt x="3481" y="5105"/>
                    </a:lnTo>
                    <a:lnTo>
                      <a:pt x="3471" y="5095"/>
                    </a:lnTo>
                    <a:lnTo>
                      <a:pt x="3450" y="5085"/>
                    </a:lnTo>
                    <a:lnTo>
                      <a:pt x="3440" y="5085"/>
                    </a:lnTo>
                    <a:lnTo>
                      <a:pt x="3420" y="5085"/>
                    </a:lnTo>
                    <a:lnTo>
                      <a:pt x="3410" y="5075"/>
                    </a:lnTo>
                    <a:lnTo>
                      <a:pt x="3390" y="5085"/>
                    </a:lnTo>
                    <a:lnTo>
                      <a:pt x="3359" y="5085"/>
                    </a:lnTo>
                    <a:lnTo>
                      <a:pt x="3339" y="5075"/>
                    </a:lnTo>
                    <a:lnTo>
                      <a:pt x="3319" y="5075"/>
                    </a:lnTo>
                    <a:lnTo>
                      <a:pt x="3309" y="5075"/>
                    </a:lnTo>
                    <a:lnTo>
                      <a:pt x="3288" y="5075"/>
                    </a:lnTo>
                    <a:lnTo>
                      <a:pt x="3278" y="5075"/>
                    </a:lnTo>
                    <a:lnTo>
                      <a:pt x="3268" y="5075"/>
                    </a:lnTo>
                    <a:lnTo>
                      <a:pt x="3258" y="5085"/>
                    </a:lnTo>
                    <a:lnTo>
                      <a:pt x="3248" y="5095"/>
                    </a:lnTo>
                    <a:lnTo>
                      <a:pt x="3238" y="5095"/>
                    </a:lnTo>
                    <a:lnTo>
                      <a:pt x="3218" y="5095"/>
                    </a:lnTo>
                    <a:lnTo>
                      <a:pt x="3197" y="5095"/>
                    </a:lnTo>
                    <a:lnTo>
                      <a:pt x="3187" y="5095"/>
                    </a:lnTo>
                    <a:lnTo>
                      <a:pt x="3147" y="5085"/>
                    </a:lnTo>
                    <a:lnTo>
                      <a:pt x="3137" y="5075"/>
                    </a:lnTo>
                    <a:lnTo>
                      <a:pt x="3127" y="5065"/>
                    </a:lnTo>
                    <a:lnTo>
                      <a:pt x="3116" y="5055"/>
                    </a:lnTo>
                    <a:lnTo>
                      <a:pt x="3096" y="5055"/>
                    </a:lnTo>
                    <a:lnTo>
                      <a:pt x="3056" y="5045"/>
                    </a:lnTo>
                    <a:lnTo>
                      <a:pt x="3025" y="5035"/>
                    </a:lnTo>
                    <a:lnTo>
                      <a:pt x="3015" y="5035"/>
                    </a:lnTo>
                    <a:lnTo>
                      <a:pt x="3015" y="5024"/>
                    </a:lnTo>
                    <a:lnTo>
                      <a:pt x="3005" y="5024"/>
                    </a:lnTo>
                    <a:lnTo>
                      <a:pt x="2995" y="5014"/>
                    </a:lnTo>
                    <a:lnTo>
                      <a:pt x="2985" y="5014"/>
                    </a:lnTo>
                    <a:lnTo>
                      <a:pt x="2955" y="5004"/>
                    </a:lnTo>
                    <a:lnTo>
                      <a:pt x="2934" y="5004"/>
                    </a:lnTo>
                    <a:lnTo>
                      <a:pt x="2924" y="5004"/>
                    </a:lnTo>
                    <a:lnTo>
                      <a:pt x="2914" y="5004"/>
                    </a:lnTo>
                    <a:lnTo>
                      <a:pt x="2914" y="4994"/>
                    </a:lnTo>
                    <a:lnTo>
                      <a:pt x="2904" y="4994"/>
                    </a:lnTo>
                    <a:lnTo>
                      <a:pt x="2894" y="4984"/>
                    </a:lnTo>
                    <a:lnTo>
                      <a:pt x="2884" y="4974"/>
                    </a:lnTo>
                    <a:lnTo>
                      <a:pt x="2874" y="4974"/>
                    </a:lnTo>
                    <a:lnTo>
                      <a:pt x="2863" y="4964"/>
                    </a:lnTo>
                    <a:lnTo>
                      <a:pt x="2843" y="4953"/>
                    </a:lnTo>
                    <a:lnTo>
                      <a:pt x="2823" y="4953"/>
                    </a:lnTo>
                    <a:lnTo>
                      <a:pt x="2813" y="4953"/>
                    </a:lnTo>
                    <a:lnTo>
                      <a:pt x="2803" y="4953"/>
                    </a:lnTo>
                    <a:lnTo>
                      <a:pt x="2803" y="4953"/>
                    </a:lnTo>
                    <a:lnTo>
                      <a:pt x="2793" y="4943"/>
                    </a:lnTo>
                    <a:lnTo>
                      <a:pt x="2783" y="4933"/>
                    </a:lnTo>
                    <a:lnTo>
                      <a:pt x="2772" y="4923"/>
                    </a:lnTo>
                    <a:lnTo>
                      <a:pt x="2742" y="4903"/>
                    </a:lnTo>
                    <a:lnTo>
                      <a:pt x="2732" y="4893"/>
                    </a:lnTo>
                    <a:lnTo>
                      <a:pt x="2722" y="4893"/>
                    </a:lnTo>
                    <a:lnTo>
                      <a:pt x="2702" y="4883"/>
                    </a:lnTo>
                    <a:lnTo>
                      <a:pt x="2691" y="4872"/>
                    </a:lnTo>
                    <a:lnTo>
                      <a:pt x="2681" y="4872"/>
                    </a:lnTo>
                    <a:lnTo>
                      <a:pt x="2671" y="4872"/>
                    </a:lnTo>
                    <a:lnTo>
                      <a:pt x="2641" y="4883"/>
                    </a:lnTo>
                    <a:lnTo>
                      <a:pt x="2621" y="4883"/>
                    </a:lnTo>
                    <a:lnTo>
                      <a:pt x="2590" y="4893"/>
                    </a:lnTo>
                    <a:lnTo>
                      <a:pt x="2580" y="4893"/>
                    </a:lnTo>
                    <a:lnTo>
                      <a:pt x="2570" y="4893"/>
                    </a:lnTo>
                    <a:lnTo>
                      <a:pt x="2560" y="4883"/>
                    </a:lnTo>
                    <a:lnTo>
                      <a:pt x="2540" y="4862"/>
                    </a:lnTo>
                    <a:lnTo>
                      <a:pt x="2519" y="4852"/>
                    </a:lnTo>
                    <a:lnTo>
                      <a:pt x="2509" y="4842"/>
                    </a:lnTo>
                    <a:lnTo>
                      <a:pt x="2499" y="4842"/>
                    </a:lnTo>
                    <a:lnTo>
                      <a:pt x="2489" y="4832"/>
                    </a:lnTo>
                    <a:lnTo>
                      <a:pt x="2479" y="4832"/>
                    </a:lnTo>
                    <a:lnTo>
                      <a:pt x="2469" y="4822"/>
                    </a:lnTo>
                    <a:lnTo>
                      <a:pt x="2469" y="4812"/>
                    </a:lnTo>
                    <a:lnTo>
                      <a:pt x="2459" y="4802"/>
                    </a:lnTo>
                    <a:lnTo>
                      <a:pt x="2438" y="4791"/>
                    </a:lnTo>
                    <a:lnTo>
                      <a:pt x="2428" y="4791"/>
                    </a:lnTo>
                    <a:lnTo>
                      <a:pt x="2418" y="4781"/>
                    </a:lnTo>
                    <a:lnTo>
                      <a:pt x="2388" y="4781"/>
                    </a:lnTo>
                    <a:lnTo>
                      <a:pt x="2378" y="4781"/>
                    </a:lnTo>
                    <a:lnTo>
                      <a:pt x="2358" y="4781"/>
                    </a:lnTo>
                    <a:lnTo>
                      <a:pt x="2347" y="4771"/>
                    </a:lnTo>
                    <a:lnTo>
                      <a:pt x="2337" y="4771"/>
                    </a:lnTo>
                    <a:lnTo>
                      <a:pt x="2327" y="4771"/>
                    </a:lnTo>
                    <a:lnTo>
                      <a:pt x="2327" y="4771"/>
                    </a:lnTo>
                    <a:lnTo>
                      <a:pt x="2317" y="4771"/>
                    </a:lnTo>
                    <a:lnTo>
                      <a:pt x="2317" y="4771"/>
                    </a:lnTo>
                    <a:lnTo>
                      <a:pt x="2307" y="4771"/>
                    </a:lnTo>
                    <a:lnTo>
                      <a:pt x="2297" y="4771"/>
                    </a:lnTo>
                    <a:lnTo>
                      <a:pt x="2297" y="4761"/>
                    </a:lnTo>
                    <a:lnTo>
                      <a:pt x="2287" y="4751"/>
                    </a:lnTo>
                    <a:lnTo>
                      <a:pt x="2287" y="4751"/>
                    </a:lnTo>
                    <a:lnTo>
                      <a:pt x="2266" y="4741"/>
                    </a:lnTo>
                    <a:lnTo>
                      <a:pt x="2256" y="4731"/>
                    </a:lnTo>
                    <a:lnTo>
                      <a:pt x="2246" y="4731"/>
                    </a:lnTo>
                    <a:lnTo>
                      <a:pt x="2236" y="4731"/>
                    </a:lnTo>
                    <a:lnTo>
                      <a:pt x="2236" y="4720"/>
                    </a:lnTo>
                    <a:lnTo>
                      <a:pt x="2226" y="4710"/>
                    </a:lnTo>
                    <a:lnTo>
                      <a:pt x="2226" y="4700"/>
                    </a:lnTo>
                    <a:lnTo>
                      <a:pt x="2226" y="4690"/>
                    </a:lnTo>
                    <a:lnTo>
                      <a:pt x="2196" y="4670"/>
                    </a:lnTo>
                    <a:lnTo>
                      <a:pt x="2196" y="4660"/>
                    </a:lnTo>
                    <a:lnTo>
                      <a:pt x="2175" y="4650"/>
                    </a:lnTo>
                    <a:lnTo>
                      <a:pt x="2175" y="4650"/>
                    </a:lnTo>
                    <a:lnTo>
                      <a:pt x="2165" y="4639"/>
                    </a:lnTo>
                    <a:lnTo>
                      <a:pt x="2155" y="4639"/>
                    </a:lnTo>
                    <a:lnTo>
                      <a:pt x="2145" y="4639"/>
                    </a:lnTo>
                    <a:lnTo>
                      <a:pt x="2135" y="4639"/>
                    </a:lnTo>
                    <a:lnTo>
                      <a:pt x="2115" y="4639"/>
                    </a:lnTo>
                    <a:lnTo>
                      <a:pt x="2105" y="4639"/>
                    </a:lnTo>
                    <a:lnTo>
                      <a:pt x="2084" y="4639"/>
                    </a:lnTo>
                    <a:lnTo>
                      <a:pt x="2074" y="4639"/>
                    </a:lnTo>
                    <a:lnTo>
                      <a:pt x="2054" y="4639"/>
                    </a:lnTo>
                    <a:lnTo>
                      <a:pt x="2044" y="4629"/>
                    </a:lnTo>
                    <a:lnTo>
                      <a:pt x="2034" y="4629"/>
                    </a:lnTo>
                    <a:lnTo>
                      <a:pt x="2003" y="4619"/>
                    </a:lnTo>
                    <a:lnTo>
                      <a:pt x="1983" y="4619"/>
                    </a:lnTo>
                    <a:lnTo>
                      <a:pt x="1973" y="4619"/>
                    </a:lnTo>
                    <a:lnTo>
                      <a:pt x="1973" y="4619"/>
                    </a:lnTo>
                    <a:lnTo>
                      <a:pt x="1963" y="4609"/>
                    </a:lnTo>
                    <a:lnTo>
                      <a:pt x="1953" y="4599"/>
                    </a:lnTo>
                    <a:lnTo>
                      <a:pt x="1953" y="4589"/>
                    </a:lnTo>
                    <a:lnTo>
                      <a:pt x="1943" y="4579"/>
                    </a:lnTo>
                    <a:lnTo>
                      <a:pt x="1933" y="4579"/>
                    </a:lnTo>
                    <a:lnTo>
                      <a:pt x="1922" y="4569"/>
                    </a:lnTo>
                    <a:lnTo>
                      <a:pt x="1912" y="4558"/>
                    </a:lnTo>
                    <a:lnTo>
                      <a:pt x="1902" y="4548"/>
                    </a:lnTo>
                    <a:lnTo>
                      <a:pt x="1892" y="4528"/>
                    </a:lnTo>
                    <a:lnTo>
                      <a:pt x="1882" y="4518"/>
                    </a:lnTo>
                    <a:lnTo>
                      <a:pt x="1882" y="4518"/>
                    </a:lnTo>
                    <a:lnTo>
                      <a:pt x="1872" y="4508"/>
                    </a:lnTo>
                    <a:lnTo>
                      <a:pt x="1862" y="4498"/>
                    </a:lnTo>
                    <a:lnTo>
                      <a:pt x="1852" y="4487"/>
                    </a:lnTo>
                    <a:lnTo>
                      <a:pt x="1841" y="4467"/>
                    </a:lnTo>
                    <a:lnTo>
                      <a:pt x="1831" y="4457"/>
                    </a:lnTo>
                    <a:lnTo>
                      <a:pt x="1821" y="4447"/>
                    </a:lnTo>
                    <a:lnTo>
                      <a:pt x="1811" y="4437"/>
                    </a:lnTo>
                    <a:lnTo>
                      <a:pt x="1801" y="4417"/>
                    </a:lnTo>
                    <a:lnTo>
                      <a:pt x="1781" y="4406"/>
                    </a:lnTo>
                    <a:lnTo>
                      <a:pt x="1771" y="4396"/>
                    </a:lnTo>
                    <a:lnTo>
                      <a:pt x="1771" y="4386"/>
                    </a:lnTo>
                    <a:lnTo>
                      <a:pt x="1750" y="4376"/>
                    </a:lnTo>
                    <a:lnTo>
                      <a:pt x="1740" y="4376"/>
                    </a:lnTo>
                    <a:lnTo>
                      <a:pt x="1710" y="4356"/>
                    </a:lnTo>
                    <a:lnTo>
                      <a:pt x="1700" y="4356"/>
                    </a:lnTo>
                    <a:lnTo>
                      <a:pt x="1690" y="4346"/>
                    </a:lnTo>
                    <a:lnTo>
                      <a:pt x="1680" y="4325"/>
                    </a:lnTo>
                    <a:lnTo>
                      <a:pt x="1659" y="4325"/>
                    </a:lnTo>
                    <a:lnTo>
                      <a:pt x="1639" y="4315"/>
                    </a:lnTo>
                    <a:lnTo>
                      <a:pt x="1629" y="4305"/>
                    </a:lnTo>
                    <a:lnTo>
                      <a:pt x="1609" y="4305"/>
                    </a:lnTo>
                    <a:lnTo>
                      <a:pt x="1578" y="4285"/>
                    </a:lnTo>
                    <a:lnTo>
                      <a:pt x="1568" y="4275"/>
                    </a:lnTo>
                    <a:lnTo>
                      <a:pt x="1548" y="4275"/>
                    </a:lnTo>
                    <a:lnTo>
                      <a:pt x="1548" y="4265"/>
                    </a:lnTo>
                    <a:lnTo>
                      <a:pt x="1538" y="4265"/>
                    </a:lnTo>
                    <a:lnTo>
                      <a:pt x="1528" y="4255"/>
                    </a:lnTo>
                    <a:lnTo>
                      <a:pt x="1518" y="4255"/>
                    </a:lnTo>
                    <a:lnTo>
                      <a:pt x="1497" y="4244"/>
                    </a:lnTo>
                    <a:lnTo>
                      <a:pt x="1487" y="4234"/>
                    </a:lnTo>
                    <a:lnTo>
                      <a:pt x="1467" y="4224"/>
                    </a:lnTo>
                    <a:lnTo>
                      <a:pt x="1467" y="4224"/>
                    </a:lnTo>
                    <a:lnTo>
                      <a:pt x="1457" y="4214"/>
                    </a:lnTo>
                    <a:lnTo>
                      <a:pt x="1437" y="4214"/>
                    </a:lnTo>
                    <a:lnTo>
                      <a:pt x="1427" y="4214"/>
                    </a:lnTo>
                    <a:lnTo>
                      <a:pt x="1416" y="4214"/>
                    </a:lnTo>
                    <a:lnTo>
                      <a:pt x="1396" y="4214"/>
                    </a:lnTo>
                    <a:lnTo>
                      <a:pt x="1386" y="4214"/>
                    </a:lnTo>
                    <a:lnTo>
                      <a:pt x="1366" y="4214"/>
                    </a:lnTo>
                    <a:lnTo>
                      <a:pt x="1346" y="4224"/>
                    </a:lnTo>
                    <a:lnTo>
                      <a:pt x="1336" y="4214"/>
                    </a:lnTo>
                    <a:lnTo>
                      <a:pt x="1325" y="4214"/>
                    </a:lnTo>
                    <a:lnTo>
                      <a:pt x="1315" y="4204"/>
                    </a:lnTo>
                    <a:lnTo>
                      <a:pt x="1295" y="4204"/>
                    </a:lnTo>
                    <a:lnTo>
                      <a:pt x="1285" y="4204"/>
                    </a:lnTo>
                    <a:lnTo>
                      <a:pt x="1275" y="4204"/>
                    </a:lnTo>
                    <a:lnTo>
                      <a:pt x="1255" y="4194"/>
                    </a:lnTo>
                    <a:lnTo>
                      <a:pt x="1255" y="4194"/>
                    </a:lnTo>
                    <a:lnTo>
                      <a:pt x="1244" y="4184"/>
                    </a:lnTo>
                    <a:lnTo>
                      <a:pt x="1234" y="4184"/>
                    </a:lnTo>
                    <a:lnTo>
                      <a:pt x="1204" y="4173"/>
                    </a:lnTo>
                    <a:lnTo>
                      <a:pt x="1194" y="4163"/>
                    </a:lnTo>
                    <a:lnTo>
                      <a:pt x="1184" y="4163"/>
                    </a:lnTo>
                    <a:lnTo>
                      <a:pt x="1174" y="4153"/>
                    </a:lnTo>
                    <a:lnTo>
                      <a:pt x="1153" y="4143"/>
                    </a:lnTo>
                    <a:lnTo>
                      <a:pt x="1143" y="4143"/>
                    </a:lnTo>
                    <a:lnTo>
                      <a:pt x="1133" y="4143"/>
                    </a:lnTo>
                    <a:lnTo>
                      <a:pt x="1123" y="4133"/>
                    </a:lnTo>
                    <a:lnTo>
                      <a:pt x="1113" y="4133"/>
                    </a:lnTo>
                    <a:lnTo>
                      <a:pt x="1103" y="4133"/>
                    </a:lnTo>
                    <a:lnTo>
                      <a:pt x="1093" y="4123"/>
                    </a:lnTo>
                    <a:lnTo>
                      <a:pt x="1093" y="4103"/>
                    </a:lnTo>
                    <a:lnTo>
                      <a:pt x="1083" y="4092"/>
                    </a:lnTo>
                    <a:lnTo>
                      <a:pt x="1083" y="4082"/>
                    </a:lnTo>
                    <a:lnTo>
                      <a:pt x="1083" y="4072"/>
                    </a:lnTo>
                    <a:lnTo>
                      <a:pt x="1083" y="4072"/>
                    </a:lnTo>
                    <a:lnTo>
                      <a:pt x="1083" y="4072"/>
                    </a:lnTo>
                    <a:lnTo>
                      <a:pt x="1093" y="4052"/>
                    </a:lnTo>
                    <a:lnTo>
                      <a:pt x="1093" y="4042"/>
                    </a:lnTo>
                    <a:lnTo>
                      <a:pt x="1093" y="4042"/>
                    </a:lnTo>
                    <a:lnTo>
                      <a:pt x="1093" y="4032"/>
                    </a:lnTo>
                    <a:lnTo>
                      <a:pt x="1093" y="4022"/>
                    </a:lnTo>
                    <a:lnTo>
                      <a:pt x="1093" y="4022"/>
                    </a:lnTo>
                    <a:lnTo>
                      <a:pt x="1083" y="4011"/>
                    </a:lnTo>
                    <a:lnTo>
                      <a:pt x="1083" y="4001"/>
                    </a:lnTo>
                    <a:lnTo>
                      <a:pt x="1083" y="3991"/>
                    </a:lnTo>
                    <a:lnTo>
                      <a:pt x="1072" y="3981"/>
                    </a:lnTo>
                    <a:lnTo>
                      <a:pt x="1062" y="3981"/>
                    </a:lnTo>
                    <a:lnTo>
                      <a:pt x="1052" y="3971"/>
                    </a:lnTo>
                    <a:lnTo>
                      <a:pt x="1052" y="3971"/>
                    </a:lnTo>
                    <a:lnTo>
                      <a:pt x="1042" y="3961"/>
                    </a:lnTo>
                    <a:lnTo>
                      <a:pt x="1042" y="3951"/>
                    </a:lnTo>
                    <a:lnTo>
                      <a:pt x="1032" y="3940"/>
                    </a:lnTo>
                    <a:lnTo>
                      <a:pt x="1022" y="3930"/>
                    </a:lnTo>
                    <a:lnTo>
                      <a:pt x="1002" y="3920"/>
                    </a:lnTo>
                    <a:lnTo>
                      <a:pt x="991" y="3910"/>
                    </a:lnTo>
                    <a:lnTo>
                      <a:pt x="981" y="3900"/>
                    </a:lnTo>
                    <a:lnTo>
                      <a:pt x="971" y="3890"/>
                    </a:lnTo>
                    <a:lnTo>
                      <a:pt x="961" y="3880"/>
                    </a:lnTo>
                    <a:lnTo>
                      <a:pt x="951" y="3880"/>
                    </a:lnTo>
                    <a:lnTo>
                      <a:pt x="941" y="3870"/>
                    </a:lnTo>
                    <a:lnTo>
                      <a:pt x="941" y="3849"/>
                    </a:lnTo>
                    <a:lnTo>
                      <a:pt x="931" y="3839"/>
                    </a:lnTo>
                    <a:lnTo>
                      <a:pt x="911" y="3819"/>
                    </a:lnTo>
                    <a:lnTo>
                      <a:pt x="900" y="3809"/>
                    </a:lnTo>
                    <a:lnTo>
                      <a:pt x="890" y="3789"/>
                    </a:lnTo>
                    <a:lnTo>
                      <a:pt x="880" y="3778"/>
                    </a:lnTo>
                    <a:lnTo>
                      <a:pt x="870" y="3768"/>
                    </a:lnTo>
                    <a:lnTo>
                      <a:pt x="860" y="3758"/>
                    </a:lnTo>
                    <a:lnTo>
                      <a:pt x="850" y="3748"/>
                    </a:lnTo>
                    <a:lnTo>
                      <a:pt x="840" y="3738"/>
                    </a:lnTo>
                    <a:lnTo>
                      <a:pt x="819" y="3728"/>
                    </a:lnTo>
                    <a:lnTo>
                      <a:pt x="799" y="3718"/>
                    </a:lnTo>
                    <a:lnTo>
                      <a:pt x="779" y="3707"/>
                    </a:lnTo>
                    <a:lnTo>
                      <a:pt x="759" y="3697"/>
                    </a:lnTo>
                    <a:lnTo>
                      <a:pt x="749" y="3687"/>
                    </a:lnTo>
                    <a:lnTo>
                      <a:pt x="739" y="3677"/>
                    </a:lnTo>
                    <a:lnTo>
                      <a:pt x="728" y="3667"/>
                    </a:lnTo>
                    <a:lnTo>
                      <a:pt x="728" y="3657"/>
                    </a:lnTo>
                    <a:lnTo>
                      <a:pt x="718" y="3647"/>
                    </a:lnTo>
                    <a:lnTo>
                      <a:pt x="718" y="3637"/>
                    </a:lnTo>
                    <a:lnTo>
                      <a:pt x="718" y="3606"/>
                    </a:lnTo>
                    <a:lnTo>
                      <a:pt x="718" y="3596"/>
                    </a:lnTo>
                    <a:lnTo>
                      <a:pt x="718" y="3576"/>
                    </a:lnTo>
                    <a:lnTo>
                      <a:pt x="708" y="3545"/>
                    </a:lnTo>
                    <a:lnTo>
                      <a:pt x="698" y="3535"/>
                    </a:lnTo>
                    <a:lnTo>
                      <a:pt x="688" y="3525"/>
                    </a:lnTo>
                    <a:lnTo>
                      <a:pt x="678" y="3515"/>
                    </a:lnTo>
                    <a:lnTo>
                      <a:pt x="678" y="3495"/>
                    </a:lnTo>
                    <a:lnTo>
                      <a:pt x="668" y="3485"/>
                    </a:lnTo>
                    <a:lnTo>
                      <a:pt x="658" y="3464"/>
                    </a:lnTo>
                    <a:lnTo>
                      <a:pt x="658" y="3454"/>
                    </a:lnTo>
                    <a:lnTo>
                      <a:pt x="647" y="3434"/>
                    </a:lnTo>
                    <a:lnTo>
                      <a:pt x="647" y="3414"/>
                    </a:lnTo>
                    <a:lnTo>
                      <a:pt x="637" y="3393"/>
                    </a:lnTo>
                    <a:lnTo>
                      <a:pt x="647" y="3383"/>
                    </a:lnTo>
                    <a:lnTo>
                      <a:pt x="647" y="3363"/>
                    </a:lnTo>
                    <a:lnTo>
                      <a:pt x="647" y="3343"/>
                    </a:lnTo>
                    <a:lnTo>
                      <a:pt x="647" y="3343"/>
                    </a:lnTo>
                    <a:lnTo>
                      <a:pt x="647" y="3333"/>
                    </a:lnTo>
                    <a:lnTo>
                      <a:pt x="647" y="3323"/>
                    </a:lnTo>
                    <a:lnTo>
                      <a:pt x="647" y="3312"/>
                    </a:lnTo>
                    <a:lnTo>
                      <a:pt x="647" y="3292"/>
                    </a:lnTo>
                    <a:lnTo>
                      <a:pt x="647" y="3282"/>
                    </a:lnTo>
                    <a:lnTo>
                      <a:pt x="647" y="3272"/>
                    </a:lnTo>
                    <a:lnTo>
                      <a:pt x="647" y="3262"/>
                    </a:lnTo>
                    <a:lnTo>
                      <a:pt x="658" y="3241"/>
                    </a:lnTo>
                    <a:lnTo>
                      <a:pt x="658" y="3231"/>
                    </a:lnTo>
                    <a:lnTo>
                      <a:pt x="658" y="3221"/>
                    </a:lnTo>
                    <a:lnTo>
                      <a:pt x="658" y="3211"/>
                    </a:lnTo>
                    <a:lnTo>
                      <a:pt x="658" y="3211"/>
                    </a:lnTo>
                    <a:lnTo>
                      <a:pt x="668" y="3191"/>
                    </a:lnTo>
                    <a:lnTo>
                      <a:pt x="678" y="3181"/>
                    </a:lnTo>
                    <a:lnTo>
                      <a:pt x="678" y="3181"/>
                    </a:lnTo>
                    <a:lnTo>
                      <a:pt x="678" y="3171"/>
                    </a:lnTo>
                    <a:lnTo>
                      <a:pt x="678" y="3160"/>
                    </a:lnTo>
                    <a:lnTo>
                      <a:pt x="678" y="3150"/>
                    </a:lnTo>
                    <a:lnTo>
                      <a:pt x="668" y="3140"/>
                    </a:lnTo>
                    <a:lnTo>
                      <a:pt x="668" y="3130"/>
                    </a:lnTo>
                    <a:lnTo>
                      <a:pt x="668" y="3120"/>
                    </a:lnTo>
                    <a:lnTo>
                      <a:pt x="678" y="3110"/>
                    </a:lnTo>
                    <a:lnTo>
                      <a:pt x="668" y="3100"/>
                    </a:lnTo>
                    <a:lnTo>
                      <a:pt x="668" y="3059"/>
                    </a:lnTo>
                    <a:lnTo>
                      <a:pt x="668" y="3049"/>
                    </a:lnTo>
                    <a:lnTo>
                      <a:pt x="668" y="3039"/>
                    </a:lnTo>
                    <a:lnTo>
                      <a:pt x="658" y="3009"/>
                    </a:lnTo>
                    <a:lnTo>
                      <a:pt x="637" y="2968"/>
                    </a:lnTo>
                    <a:lnTo>
                      <a:pt x="627" y="2968"/>
                    </a:lnTo>
                    <a:lnTo>
                      <a:pt x="627" y="2958"/>
                    </a:lnTo>
                    <a:lnTo>
                      <a:pt x="617" y="2948"/>
                    </a:lnTo>
                    <a:lnTo>
                      <a:pt x="597" y="2917"/>
                    </a:lnTo>
                    <a:lnTo>
                      <a:pt x="577" y="2887"/>
                    </a:lnTo>
                    <a:lnTo>
                      <a:pt x="556" y="2857"/>
                    </a:lnTo>
                    <a:lnTo>
                      <a:pt x="536" y="2826"/>
                    </a:lnTo>
                    <a:lnTo>
                      <a:pt x="536" y="2816"/>
                    </a:lnTo>
                    <a:lnTo>
                      <a:pt x="526" y="2796"/>
                    </a:lnTo>
                    <a:lnTo>
                      <a:pt x="516" y="2776"/>
                    </a:lnTo>
                    <a:lnTo>
                      <a:pt x="506" y="2745"/>
                    </a:lnTo>
                    <a:lnTo>
                      <a:pt x="496" y="2715"/>
                    </a:lnTo>
                    <a:lnTo>
                      <a:pt x="486" y="2694"/>
                    </a:lnTo>
                    <a:lnTo>
                      <a:pt x="486" y="2684"/>
                    </a:lnTo>
                    <a:lnTo>
                      <a:pt x="475" y="2664"/>
                    </a:lnTo>
                    <a:lnTo>
                      <a:pt x="475" y="2654"/>
                    </a:lnTo>
                    <a:lnTo>
                      <a:pt x="465" y="2624"/>
                    </a:lnTo>
                    <a:lnTo>
                      <a:pt x="455" y="2593"/>
                    </a:lnTo>
                    <a:lnTo>
                      <a:pt x="445" y="2583"/>
                    </a:lnTo>
                    <a:lnTo>
                      <a:pt x="445" y="2573"/>
                    </a:lnTo>
                    <a:lnTo>
                      <a:pt x="425" y="2543"/>
                    </a:lnTo>
                    <a:lnTo>
                      <a:pt x="425" y="2532"/>
                    </a:lnTo>
                    <a:lnTo>
                      <a:pt x="415" y="2522"/>
                    </a:lnTo>
                    <a:lnTo>
                      <a:pt x="415" y="2512"/>
                    </a:lnTo>
                    <a:lnTo>
                      <a:pt x="415" y="2502"/>
                    </a:lnTo>
                    <a:lnTo>
                      <a:pt x="405" y="2492"/>
                    </a:lnTo>
                    <a:lnTo>
                      <a:pt x="394" y="2492"/>
                    </a:lnTo>
                    <a:lnTo>
                      <a:pt x="394" y="2482"/>
                    </a:lnTo>
                    <a:lnTo>
                      <a:pt x="394" y="2472"/>
                    </a:lnTo>
                    <a:lnTo>
                      <a:pt x="394" y="2472"/>
                    </a:lnTo>
                    <a:lnTo>
                      <a:pt x="384" y="2461"/>
                    </a:lnTo>
                    <a:lnTo>
                      <a:pt x="374" y="2461"/>
                    </a:lnTo>
                    <a:lnTo>
                      <a:pt x="374" y="2451"/>
                    </a:lnTo>
                    <a:lnTo>
                      <a:pt x="364" y="2441"/>
                    </a:lnTo>
                    <a:lnTo>
                      <a:pt x="364" y="2431"/>
                    </a:lnTo>
                    <a:lnTo>
                      <a:pt x="354" y="2431"/>
                    </a:lnTo>
                    <a:lnTo>
                      <a:pt x="354" y="2421"/>
                    </a:lnTo>
                    <a:lnTo>
                      <a:pt x="344" y="2421"/>
                    </a:lnTo>
                    <a:lnTo>
                      <a:pt x="344" y="2421"/>
                    </a:lnTo>
                    <a:lnTo>
                      <a:pt x="314" y="2401"/>
                    </a:lnTo>
                    <a:lnTo>
                      <a:pt x="303" y="2401"/>
                    </a:lnTo>
                    <a:lnTo>
                      <a:pt x="303" y="2391"/>
                    </a:lnTo>
                    <a:lnTo>
                      <a:pt x="283" y="2380"/>
                    </a:lnTo>
                    <a:lnTo>
                      <a:pt x="283" y="2370"/>
                    </a:lnTo>
                    <a:lnTo>
                      <a:pt x="263" y="2360"/>
                    </a:lnTo>
                    <a:lnTo>
                      <a:pt x="233" y="2330"/>
                    </a:lnTo>
                    <a:lnTo>
                      <a:pt x="222" y="2320"/>
                    </a:lnTo>
                    <a:lnTo>
                      <a:pt x="202" y="2310"/>
                    </a:lnTo>
                    <a:lnTo>
                      <a:pt x="192" y="2310"/>
                    </a:lnTo>
                    <a:lnTo>
                      <a:pt x="192" y="2299"/>
                    </a:lnTo>
                    <a:lnTo>
                      <a:pt x="172" y="2289"/>
                    </a:lnTo>
                    <a:lnTo>
                      <a:pt x="172" y="2279"/>
                    </a:lnTo>
                    <a:lnTo>
                      <a:pt x="172" y="2269"/>
                    </a:lnTo>
                    <a:lnTo>
                      <a:pt x="162" y="2269"/>
                    </a:lnTo>
                    <a:lnTo>
                      <a:pt x="152" y="2259"/>
                    </a:lnTo>
                    <a:lnTo>
                      <a:pt x="152" y="2249"/>
                    </a:lnTo>
                    <a:lnTo>
                      <a:pt x="142" y="2239"/>
                    </a:lnTo>
                    <a:lnTo>
                      <a:pt x="131" y="2218"/>
                    </a:lnTo>
                    <a:lnTo>
                      <a:pt x="131" y="2208"/>
                    </a:lnTo>
                    <a:lnTo>
                      <a:pt x="121" y="2198"/>
                    </a:lnTo>
                    <a:lnTo>
                      <a:pt x="111" y="2188"/>
                    </a:lnTo>
                    <a:lnTo>
                      <a:pt x="111" y="2178"/>
                    </a:lnTo>
                    <a:lnTo>
                      <a:pt x="91" y="2137"/>
                    </a:lnTo>
                    <a:lnTo>
                      <a:pt x="91" y="2117"/>
                    </a:lnTo>
                    <a:lnTo>
                      <a:pt x="81" y="2107"/>
                    </a:lnTo>
                    <a:lnTo>
                      <a:pt x="81" y="2087"/>
                    </a:lnTo>
                    <a:lnTo>
                      <a:pt x="91" y="2077"/>
                    </a:lnTo>
                    <a:lnTo>
                      <a:pt x="91" y="2066"/>
                    </a:lnTo>
                    <a:lnTo>
                      <a:pt x="81" y="2056"/>
                    </a:lnTo>
                    <a:lnTo>
                      <a:pt x="81" y="2036"/>
                    </a:lnTo>
                    <a:lnTo>
                      <a:pt x="81" y="2026"/>
                    </a:lnTo>
                    <a:lnTo>
                      <a:pt x="81" y="2026"/>
                    </a:lnTo>
                    <a:lnTo>
                      <a:pt x="71" y="2026"/>
                    </a:lnTo>
                    <a:lnTo>
                      <a:pt x="81" y="2016"/>
                    </a:lnTo>
                    <a:lnTo>
                      <a:pt x="81" y="2006"/>
                    </a:lnTo>
                    <a:lnTo>
                      <a:pt x="81" y="1985"/>
                    </a:lnTo>
                    <a:lnTo>
                      <a:pt x="81" y="1965"/>
                    </a:lnTo>
                    <a:lnTo>
                      <a:pt x="81" y="1945"/>
                    </a:lnTo>
                    <a:lnTo>
                      <a:pt x="81" y="1925"/>
                    </a:lnTo>
                    <a:lnTo>
                      <a:pt x="81" y="1914"/>
                    </a:lnTo>
                    <a:lnTo>
                      <a:pt x="81" y="1904"/>
                    </a:lnTo>
                    <a:lnTo>
                      <a:pt x="91" y="1894"/>
                    </a:lnTo>
                    <a:lnTo>
                      <a:pt x="91" y="1894"/>
                    </a:lnTo>
                    <a:lnTo>
                      <a:pt x="91" y="1884"/>
                    </a:lnTo>
                    <a:lnTo>
                      <a:pt x="81" y="1874"/>
                    </a:lnTo>
                    <a:lnTo>
                      <a:pt x="71" y="1864"/>
                    </a:lnTo>
                    <a:lnTo>
                      <a:pt x="61" y="1854"/>
                    </a:lnTo>
                    <a:lnTo>
                      <a:pt x="50" y="1844"/>
                    </a:lnTo>
                    <a:lnTo>
                      <a:pt x="40" y="1844"/>
                    </a:lnTo>
                    <a:lnTo>
                      <a:pt x="30" y="1833"/>
                    </a:lnTo>
                    <a:lnTo>
                      <a:pt x="20" y="1813"/>
                    </a:lnTo>
                    <a:lnTo>
                      <a:pt x="20" y="1803"/>
                    </a:lnTo>
                    <a:lnTo>
                      <a:pt x="10" y="1793"/>
                    </a:lnTo>
                    <a:lnTo>
                      <a:pt x="0" y="1783"/>
                    </a:lnTo>
                    <a:lnTo>
                      <a:pt x="0" y="1773"/>
                    </a:lnTo>
                    <a:lnTo>
                      <a:pt x="0" y="1762"/>
                    </a:lnTo>
                    <a:lnTo>
                      <a:pt x="0" y="1752"/>
                    </a:lnTo>
                    <a:lnTo>
                      <a:pt x="0" y="1742"/>
                    </a:lnTo>
                    <a:lnTo>
                      <a:pt x="10" y="1732"/>
                    </a:lnTo>
                    <a:lnTo>
                      <a:pt x="10" y="1732"/>
                    </a:lnTo>
                    <a:lnTo>
                      <a:pt x="10" y="1722"/>
                    </a:lnTo>
                    <a:lnTo>
                      <a:pt x="20" y="1712"/>
                    </a:lnTo>
                    <a:lnTo>
                      <a:pt x="20" y="1712"/>
                    </a:lnTo>
                    <a:lnTo>
                      <a:pt x="30" y="1702"/>
                    </a:lnTo>
                    <a:lnTo>
                      <a:pt x="40" y="1702"/>
                    </a:lnTo>
                    <a:lnTo>
                      <a:pt x="40" y="1692"/>
                    </a:lnTo>
                    <a:lnTo>
                      <a:pt x="50" y="1692"/>
                    </a:lnTo>
                    <a:lnTo>
                      <a:pt x="61" y="1681"/>
                    </a:lnTo>
                    <a:lnTo>
                      <a:pt x="71" y="1671"/>
                    </a:lnTo>
                    <a:lnTo>
                      <a:pt x="81" y="1661"/>
                    </a:lnTo>
                    <a:lnTo>
                      <a:pt x="91" y="1651"/>
                    </a:lnTo>
                    <a:lnTo>
                      <a:pt x="101" y="1631"/>
                    </a:lnTo>
                    <a:lnTo>
                      <a:pt x="111" y="1621"/>
                    </a:lnTo>
                    <a:lnTo>
                      <a:pt x="121" y="1611"/>
                    </a:lnTo>
                    <a:lnTo>
                      <a:pt x="131" y="1600"/>
                    </a:lnTo>
                    <a:lnTo>
                      <a:pt x="131" y="1600"/>
                    </a:lnTo>
                    <a:lnTo>
                      <a:pt x="142" y="1600"/>
                    </a:lnTo>
                    <a:lnTo>
                      <a:pt x="152" y="1590"/>
                    </a:lnTo>
                    <a:lnTo>
                      <a:pt x="172" y="1590"/>
                    </a:lnTo>
                    <a:lnTo>
                      <a:pt x="192" y="1570"/>
                    </a:lnTo>
                    <a:lnTo>
                      <a:pt x="202" y="1560"/>
                    </a:lnTo>
                    <a:lnTo>
                      <a:pt x="212" y="1550"/>
                    </a:lnTo>
                    <a:lnTo>
                      <a:pt x="212" y="1550"/>
                    </a:lnTo>
                    <a:lnTo>
                      <a:pt x="222" y="1540"/>
                    </a:lnTo>
                    <a:lnTo>
                      <a:pt x="233" y="1540"/>
                    </a:lnTo>
                    <a:lnTo>
                      <a:pt x="233" y="1530"/>
                    </a:lnTo>
                    <a:lnTo>
                      <a:pt x="243" y="1519"/>
                    </a:lnTo>
                    <a:lnTo>
                      <a:pt x="253" y="1519"/>
                    </a:lnTo>
                    <a:lnTo>
                      <a:pt x="263" y="1509"/>
                    </a:lnTo>
                    <a:lnTo>
                      <a:pt x="273" y="1509"/>
                    </a:lnTo>
                    <a:lnTo>
                      <a:pt x="293" y="1509"/>
                    </a:lnTo>
                    <a:lnTo>
                      <a:pt x="314" y="1499"/>
                    </a:lnTo>
                    <a:lnTo>
                      <a:pt x="334" y="1489"/>
                    </a:lnTo>
                    <a:lnTo>
                      <a:pt x="344" y="1489"/>
                    </a:lnTo>
                    <a:lnTo>
                      <a:pt x="354" y="1489"/>
                    </a:lnTo>
                    <a:lnTo>
                      <a:pt x="374" y="1479"/>
                    </a:lnTo>
                    <a:lnTo>
                      <a:pt x="384" y="1479"/>
                    </a:lnTo>
                    <a:lnTo>
                      <a:pt x="394" y="1469"/>
                    </a:lnTo>
                    <a:lnTo>
                      <a:pt x="405" y="1459"/>
                    </a:lnTo>
                    <a:lnTo>
                      <a:pt x="415" y="1448"/>
                    </a:lnTo>
                    <a:lnTo>
                      <a:pt x="415" y="1448"/>
                    </a:lnTo>
                    <a:lnTo>
                      <a:pt x="425" y="1438"/>
                    </a:lnTo>
                    <a:lnTo>
                      <a:pt x="435" y="1438"/>
                    </a:lnTo>
                    <a:lnTo>
                      <a:pt x="445" y="1428"/>
                    </a:lnTo>
                    <a:lnTo>
                      <a:pt x="455" y="1428"/>
                    </a:lnTo>
                    <a:lnTo>
                      <a:pt x="465" y="1418"/>
                    </a:lnTo>
                    <a:lnTo>
                      <a:pt x="486" y="1398"/>
                    </a:lnTo>
                    <a:lnTo>
                      <a:pt x="506" y="1388"/>
                    </a:lnTo>
                    <a:lnTo>
                      <a:pt x="516" y="1367"/>
                    </a:lnTo>
                    <a:lnTo>
                      <a:pt x="526" y="1357"/>
                    </a:lnTo>
                    <a:lnTo>
                      <a:pt x="536" y="1357"/>
                    </a:lnTo>
                    <a:lnTo>
                      <a:pt x="536" y="1347"/>
                    </a:lnTo>
                    <a:lnTo>
                      <a:pt x="546" y="1337"/>
                    </a:lnTo>
                    <a:lnTo>
                      <a:pt x="556" y="1337"/>
                    </a:lnTo>
                    <a:lnTo>
                      <a:pt x="577" y="1317"/>
                    </a:lnTo>
                    <a:lnTo>
                      <a:pt x="577" y="1317"/>
                    </a:lnTo>
                    <a:lnTo>
                      <a:pt x="587" y="1307"/>
                    </a:lnTo>
                    <a:lnTo>
                      <a:pt x="597" y="1286"/>
                    </a:lnTo>
                    <a:lnTo>
                      <a:pt x="597" y="1276"/>
                    </a:lnTo>
                    <a:lnTo>
                      <a:pt x="597" y="1266"/>
                    </a:lnTo>
                    <a:lnTo>
                      <a:pt x="597" y="1256"/>
                    </a:lnTo>
                    <a:lnTo>
                      <a:pt x="597" y="1246"/>
                    </a:lnTo>
                    <a:lnTo>
                      <a:pt x="607" y="1236"/>
                    </a:lnTo>
                    <a:lnTo>
                      <a:pt x="617" y="1226"/>
                    </a:lnTo>
                    <a:lnTo>
                      <a:pt x="617" y="1215"/>
                    </a:lnTo>
                    <a:lnTo>
                      <a:pt x="617" y="1215"/>
                    </a:lnTo>
                    <a:lnTo>
                      <a:pt x="627" y="1205"/>
                    </a:lnTo>
                    <a:lnTo>
                      <a:pt x="647" y="1205"/>
                    </a:lnTo>
                    <a:lnTo>
                      <a:pt x="658" y="1205"/>
                    </a:lnTo>
                    <a:lnTo>
                      <a:pt x="658" y="1205"/>
                    </a:lnTo>
                    <a:lnTo>
                      <a:pt x="658" y="1205"/>
                    </a:lnTo>
                    <a:lnTo>
                      <a:pt x="678" y="1205"/>
                    </a:lnTo>
                    <a:lnTo>
                      <a:pt x="688" y="1205"/>
                    </a:lnTo>
                    <a:lnTo>
                      <a:pt x="698" y="1215"/>
                    </a:lnTo>
                    <a:lnTo>
                      <a:pt x="698" y="1215"/>
                    </a:lnTo>
                    <a:lnTo>
                      <a:pt x="708" y="1226"/>
                    </a:lnTo>
                    <a:lnTo>
                      <a:pt x="708" y="1236"/>
                    </a:lnTo>
                    <a:lnTo>
                      <a:pt x="708" y="1246"/>
                    </a:lnTo>
                    <a:lnTo>
                      <a:pt x="708" y="1256"/>
                    </a:lnTo>
                    <a:lnTo>
                      <a:pt x="708" y="1266"/>
                    </a:lnTo>
                    <a:lnTo>
                      <a:pt x="718" y="1286"/>
                    </a:lnTo>
                    <a:lnTo>
                      <a:pt x="728" y="1297"/>
                    </a:lnTo>
                    <a:lnTo>
                      <a:pt x="728" y="1307"/>
                    </a:lnTo>
                    <a:lnTo>
                      <a:pt x="739" y="1317"/>
                    </a:lnTo>
                    <a:lnTo>
                      <a:pt x="749" y="1317"/>
                    </a:lnTo>
                    <a:lnTo>
                      <a:pt x="749" y="1307"/>
                    </a:lnTo>
                    <a:lnTo>
                      <a:pt x="759" y="1307"/>
                    </a:lnTo>
                    <a:lnTo>
                      <a:pt x="759" y="1297"/>
                    </a:lnTo>
                    <a:lnTo>
                      <a:pt x="769" y="1297"/>
                    </a:lnTo>
                    <a:lnTo>
                      <a:pt x="779" y="1297"/>
                    </a:lnTo>
                    <a:lnTo>
                      <a:pt x="789" y="1286"/>
                    </a:lnTo>
                    <a:lnTo>
                      <a:pt x="809" y="1276"/>
                    </a:lnTo>
                    <a:lnTo>
                      <a:pt x="830" y="1276"/>
                    </a:lnTo>
                    <a:lnTo>
                      <a:pt x="860" y="1276"/>
                    </a:lnTo>
                    <a:lnTo>
                      <a:pt x="890" y="1276"/>
                    </a:lnTo>
                    <a:lnTo>
                      <a:pt x="900" y="1276"/>
                    </a:lnTo>
                    <a:lnTo>
                      <a:pt x="911" y="1266"/>
                    </a:lnTo>
                    <a:lnTo>
                      <a:pt x="911" y="1256"/>
                    </a:lnTo>
                    <a:lnTo>
                      <a:pt x="900" y="1246"/>
                    </a:lnTo>
                    <a:lnTo>
                      <a:pt x="880" y="1246"/>
                    </a:lnTo>
                    <a:lnTo>
                      <a:pt x="870" y="1236"/>
                    </a:lnTo>
                    <a:lnTo>
                      <a:pt x="860" y="1226"/>
                    </a:lnTo>
                    <a:lnTo>
                      <a:pt x="850" y="1215"/>
                    </a:lnTo>
                    <a:lnTo>
                      <a:pt x="850" y="1205"/>
                    </a:lnTo>
                    <a:lnTo>
                      <a:pt x="840" y="1195"/>
                    </a:lnTo>
                    <a:lnTo>
                      <a:pt x="830" y="1185"/>
                    </a:lnTo>
                    <a:lnTo>
                      <a:pt x="819" y="1185"/>
                    </a:lnTo>
                    <a:lnTo>
                      <a:pt x="809" y="1175"/>
                    </a:lnTo>
                    <a:lnTo>
                      <a:pt x="799" y="1165"/>
                    </a:lnTo>
                    <a:lnTo>
                      <a:pt x="789" y="1165"/>
                    </a:lnTo>
                    <a:lnTo>
                      <a:pt x="769" y="1155"/>
                    </a:lnTo>
                    <a:lnTo>
                      <a:pt x="759" y="1145"/>
                    </a:lnTo>
                    <a:lnTo>
                      <a:pt x="749" y="1145"/>
                    </a:lnTo>
                    <a:lnTo>
                      <a:pt x="739" y="1145"/>
                    </a:lnTo>
                    <a:lnTo>
                      <a:pt x="708" y="1145"/>
                    </a:lnTo>
                    <a:lnTo>
                      <a:pt x="698" y="1145"/>
                    </a:lnTo>
                    <a:lnTo>
                      <a:pt x="688" y="1145"/>
                    </a:lnTo>
                    <a:lnTo>
                      <a:pt x="678" y="1145"/>
                    </a:lnTo>
                    <a:lnTo>
                      <a:pt x="678" y="1155"/>
                    </a:lnTo>
                    <a:lnTo>
                      <a:pt x="668" y="1145"/>
                    </a:lnTo>
                    <a:lnTo>
                      <a:pt x="668" y="1145"/>
                    </a:lnTo>
                    <a:lnTo>
                      <a:pt x="658" y="1145"/>
                    </a:lnTo>
                    <a:lnTo>
                      <a:pt x="658" y="1134"/>
                    </a:lnTo>
                    <a:lnTo>
                      <a:pt x="668" y="1124"/>
                    </a:lnTo>
                    <a:lnTo>
                      <a:pt x="658" y="1114"/>
                    </a:lnTo>
                    <a:lnTo>
                      <a:pt x="658" y="1084"/>
                    </a:lnTo>
                    <a:lnTo>
                      <a:pt x="647" y="1064"/>
                    </a:lnTo>
                    <a:lnTo>
                      <a:pt x="647" y="1053"/>
                    </a:lnTo>
                    <a:lnTo>
                      <a:pt x="647" y="1043"/>
                    </a:lnTo>
                    <a:lnTo>
                      <a:pt x="647" y="1033"/>
                    </a:lnTo>
                    <a:lnTo>
                      <a:pt x="647" y="1033"/>
                    </a:lnTo>
                    <a:lnTo>
                      <a:pt x="647" y="1023"/>
                    </a:lnTo>
                    <a:lnTo>
                      <a:pt x="637" y="993"/>
                    </a:lnTo>
                    <a:lnTo>
                      <a:pt x="637" y="972"/>
                    </a:lnTo>
                    <a:lnTo>
                      <a:pt x="637" y="962"/>
                    </a:lnTo>
                    <a:lnTo>
                      <a:pt x="637" y="962"/>
                    </a:lnTo>
                    <a:lnTo>
                      <a:pt x="647" y="952"/>
                    </a:lnTo>
                    <a:lnTo>
                      <a:pt x="637" y="942"/>
                    </a:lnTo>
                    <a:lnTo>
                      <a:pt x="637" y="942"/>
                    </a:lnTo>
                    <a:lnTo>
                      <a:pt x="627" y="932"/>
                    </a:lnTo>
                    <a:lnTo>
                      <a:pt x="627" y="912"/>
                    </a:lnTo>
                    <a:lnTo>
                      <a:pt x="617" y="891"/>
                    </a:lnTo>
                    <a:lnTo>
                      <a:pt x="617" y="871"/>
                    </a:lnTo>
                    <a:lnTo>
                      <a:pt x="627" y="861"/>
                    </a:lnTo>
                    <a:lnTo>
                      <a:pt x="627" y="841"/>
                    </a:lnTo>
                    <a:lnTo>
                      <a:pt x="637" y="820"/>
                    </a:lnTo>
                    <a:lnTo>
                      <a:pt x="637" y="810"/>
                    </a:lnTo>
                    <a:lnTo>
                      <a:pt x="637" y="790"/>
                    </a:lnTo>
                    <a:lnTo>
                      <a:pt x="637" y="790"/>
                    </a:lnTo>
                    <a:lnTo>
                      <a:pt x="647" y="780"/>
                    </a:lnTo>
                    <a:lnTo>
                      <a:pt x="647" y="760"/>
                    </a:lnTo>
                    <a:lnTo>
                      <a:pt x="658" y="729"/>
                    </a:lnTo>
                    <a:lnTo>
                      <a:pt x="658" y="719"/>
                    </a:lnTo>
                    <a:lnTo>
                      <a:pt x="658" y="709"/>
                    </a:lnTo>
                    <a:lnTo>
                      <a:pt x="668" y="699"/>
                    </a:lnTo>
                    <a:lnTo>
                      <a:pt x="668" y="689"/>
                    </a:lnTo>
                    <a:lnTo>
                      <a:pt x="668" y="679"/>
                    </a:lnTo>
                    <a:lnTo>
                      <a:pt x="668" y="658"/>
                    </a:lnTo>
                    <a:lnTo>
                      <a:pt x="668" y="648"/>
                    </a:lnTo>
                    <a:lnTo>
                      <a:pt x="668" y="628"/>
                    </a:lnTo>
                    <a:lnTo>
                      <a:pt x="668" y="618"/>
                    </a:lnTo>
                    <a:lnTo>
                      <a:pt x="678" y="587"/>
                    </a:lnTo>
                    <a:lnTo>
                      <a:pt x="678" y="577"/>
                    </a:lnTo>
                    <a:lnTo>
                      <a:pt x="678" y="577"/>
                    </a:lnTo>
                    <a:lnTo>
                      <a:pt x="688" y="567"/>
                    </a:lnTo>
                    <a:lnTo>
                      <a:pt x="698" y="567"/>
                    </a:lnTo>
                    <a:lnTo>
                      <a:pt x="708" y="557"/>
                    </a:lnTo>
                    <a:lnTo>
                      <a:pt x="728" y="557"/>
                    </a:lnTo>
                    <a:lnTo>
                      <a:pt x="749" y="557"/>
                    </a:lnTo>
                    <a:lnTo>
                      <a:pt x="779" y="557"/>
                    </a:lnTo>
                    <a:lnTo>
                      <a:pt x="789" y="557"/>
                    </a:lnTo>
                    <a:lnTo>
                      <a:pt x="799" y="557"/>
                    </a:lnTo>
                    <a:lnTo>
                      <a:pt x="819" y="567"/>
                    </a:lnTo>
                    <a:lnTo>
                      <a:pt x="830" y="577"/>
                    </a:lnTo>
                    <a:lnTo>
                      <a:pt x="840" y="587"/>
                    </a:lnTo>
                    <a:lnTo>
                      <a:pt x="870" y="598"/>
                    </a:lnTo>
                    <a:lnTo>
                      <a:pt x="880" y="598"/>
                    </a:lnTo>
                    <a:lnTo>
                      <a:pt x="900" y="598"/>
                    </a:lnTo>
                    <a:lnTo>
                      <a:pt x="911" y="598"/>
                    </a:lnTo>
                    <a:lnTo>
                      <a:pt x="931" y="608"/>
                    </a:lnTo>
                    <a:lnTo>
                      <a:pt x="941" y="598"/>
                    </a:lnTo>
                    <a:lnTo>
                      <a:pt x="961" y="598"/>
                    </a:lnTo>
                    <a:lnTo>
                      <a:pt x="981" y="587"/>
                    </a:lnTo>
                    <a:lnTo>
                      <a:pt x="991" y="587"/>
                    </a:lnTo>
                    <a:lnTo>
                      <a:pt x="1002" y="577"/>
                    </a:lnTo>
                    <a:lnTo>
                      <a:pt x="1012" y="577"/>
                    </a:lnTo>
                    <a:lnTo>
                      <a:pt x="1022" y="577"/>
                    </a:lnTo>
                    <a:lnTo>
                      <a:pt x="1032" y="577"/>
                    </a:lnTo>
                    <a:lnTo>
                      <a:pt x="1052" y="577"/>
                    </a:lnTo>
                    <a:lnTo>
                      <a:pt x="1072" y="567"/>
                    </a:lnTo>
                    <a:lnTo>
                      <a:pt x="1083" y="567"/>
                    </a:lnTo>
                    <a:lnTo>
                      <a:pt x="1103" y="567"/>
                    </a:lnTo>
                    <a:lnTo>
                      <a:pt x="1123" y="557"/>
                    </a:lnTo>
                    <a:lnTo>
                      <a:pt x="1133" y="557"/>
                    </a:lnTo>
                    <a:lnTo>
                      <a:pt x="1164" y="547"/>
                    </a:lnTo>
                    <a:lnTo>
                      <a:pt x="1174" y="537"/>
                    </a:lnTo>
                    <a:lnTo>
                      <a:pt x="1184" y="527"/>
                    </a:lnTo>
                    <a:lnTo>
                      <a:pt x="1194" y="516"/>
                    </a:lnTo>
                    <a:lnTo>
                      <a:pt x="1204" y="516"/>
                    </a:lnTo>
                    <a:lnTo>
                      <a:pt x="1214" y="506"/>
                    </a:lnTo>
                    <a:lnTo>
                      <a:pt x="1234" y="496"/>
                    </a:lnTo>
                    <a:lnTo>
                      <a:pt x="1234" y="486"/>
                    </a:lnTo>
                    <a:lnTo>
                      <a:pt x="1234" y="476"/>
                    </a:lnTo>
                    <a:lnTo>
                      <a:pt x="1244" y="466"/>
                    </a:lnTo>
                    <a:lnTo>
                      <a:pt x="1244" y="456"/>
                    </a:lnTo>
                    <a:lnTo>
                      <a:pt x="1265" y="446"/>
                    </a:lnTo>
                    <a:lnTo>
                      <a:pt x="1275" y="435"/>
                    </a:lnTo>
                    <a:lnTo>
                      <a:pt x="1285" y="425"/>
                    </a:lnTo>
                    <a:lnTo>
                      <a:pt x="1285" y="415"/>
                    </a:lnTo>
                    <a:lnTo>
                      <a:pt x="1295" y="395"/>
                    </a:lnTo>
                    <a:lnTo>
                      <a:pt x="1295" y="385"/>
                    </a:lnTo>
                    <a:lnTo>
                      <a:pt x="1305" y="375"/>
                    </a:lnTo>
                    <a:lnTo>
                      <a:pt x="1315" y="375"/>
                    </a:lnTo>
                    <a:lnTo>
                      <a:pt x="1325" y="365"/>
                    </a:lnTo>
                    <a:lnTo>
                      <a:pt x="1336" y="365"/>
                    </a:lnTo>
                    <a:lnTo>
                      <a:pt x="1356" y="354"/>
                    </a:lnTo>
                    <a:lnTo>
                      <a:pt x="1376" y="354"/>
                    </a:lnTo>
                    <a:lnTo>
                      <a:pt x="1386" y="344"/>
                    </a:lnTo>
                    <a:lnTo>
                      <a:pt x="1386" y="334"/>
                    </a:lnTo>
                    <a:lnTo>
                      <a:pt x="1396" y="324"/>
                    </a:lnTo>
                    <a:lnTo>
                      <a:pt x="1406" y="324"/>
                    </a:lnTo>
                    <a:lnTo>
                      <a:pt x="1416" y="314"/>
                    </a:lnTo>
                    <a:lnTo>
                      <a:pt x="1427" y="314"/>
                    </a:lnTo>
                    <a:lnTo>
                      <a:pt x="1427" y="314"/>
                    </a:lnTo>
                    <a:lnTo>
                      <a:pt x="1437" y="304"/>
                    </a:lnTo>
                    <a:lnTo>
                      <a:pt x="1437" y="294"/>
                    </a:lnTo>
                    <a:lnTo>
                      <a:pt x="1437" y="283"/>
                    </a:lnTo>
                    <a:lnTo>
                      <a:pt x="1447" y="283"/>
                    </a:lnTo>
                    <a:lnTo>
                      <a:pt x="1467" y="273"/>
                    </a:lnTo>
                    <a:lnTo>
                      <a:pt x="1477" y="263"/>
                    </a:lnTo>
                    <a:lnTo>
                      <a:pt x="1487" y="253"/>
                    </a:lnTo>
                    <a:lnTo>
                      <a:pt x="1487" y="253"/>
                    </a:lnTo>
                    <a:lnTo>
                      <a:pt x="1497" y="253"/>
                    </a:lnTo>
                    <a:lnTo>
                      <a:pt x="1508" y="253"/>
                    </a:lnTo>
                    <a:lnTo>
                      <a:pt x="1528" y="253"/>
                    </a:lnTo>
                    <a:lnTo>
                      <a:pt x="1538" y="243"/>
                    </a:lnTo>
                    <a:lnTo>
                      <a:pt x="1548" y="243"/>
                    </a:lnTo>
                    <a:lnTo>
                      <a:pt x="1568" y="233"/>
                    </a:lnTo>
                    <a:lnTo>
                      <a:pt x="1568" y="233"/>
                    </a:lnTo>
                    <a:lnTo>
                      <a:pt x="1578" y="223"/>
                    </a:lnTo>
                    <a:lnTo>
                      <a:pt x="1578" y="223"/>
                    </a:lnTo>
                    <a:lnTo>
                      <a:pt x="1599" y="202"/>
                    </a:lnTo>
                    <a:lnTo>
                      <a:pt x="1619" y="192"/>
                    </a:lnTo>
                    <a:lnTo>
                      <a:pt x="1629" y="182"/>
                    </a:lnTo>
                    <a:lnTo>
                      <a:pt x="1639" y="172"/>
                    </a:lnTo>
                    <a:lnTo>
                      <a:pt x="1639" y="162"/>
                    </a:lnTo>
                    <a:lnTo>
                      <a:pt x="1649" y="152"/>
                    </a:lnTo>
                    <a:lnTo>
                      <a:pt x="1649" y="142"/>
                    </a:lnTo>
                    <a:lnTo>
                      <a:pt x="1659" y="132"/>
                    </a:lnTo>
                    <a:lnTo>
                      <a:pt x="1669" y="132"/>
                    </a:lnTo>
                    <a:lnTo>
                      <a:pt x="1680" y="121"/>
                    </a:lnTo>
                    <a:lnTo>
                      <a:pt x="1680" y="111"/>
                    </a:lnTo>
                    <a:lnTo>
                      <a:pt x="1690" y="111"/>
                    </a:lnTo>
                    <a:lnTo>
                      <a:pt x="1700" y="111"/>
                    </a:lnTo>
                    <a:lnTo>
                      <a:pt x="1710" y="101"/>
                    </a:lnTo>
                    <a:lnTo>
                      <a:pt x="1720" y="91"/>
                    </a:lnTo>
                    <a:lnTo>
                      <a:pt x="1720" y="91"/>
                    </a:lnTo>
                    <a:lnTo>
                      <a:pt x="1730" y="91"/>
                    </a:lnTo>
                    <a:lnTo>
                      <a:pt x="1740" y="91"/>
                    </a:lnTo>
                    <a:lnTo>
                      <a:pt x="1750" y="91"/>
                    </a:lnTo>
                    <a:lnTo>
                      <a:pt x="1771" y="91"/>
                    </a:lnTo>
                    <a:lnTo>
                      <a:pt x="1781" y="91"/>
                    </a:lnTo>
                    <a:lnTo>
                      <a:pt x="1791" y="81"/>
                    </a:lnTo>
                    <a:lnTo>
                      <a:pt x="1811" y="81"/>
                    </a:lnTo>
                    <a:lnTo>
                      <a:pt x="1821" y="81"/>
                    </a:lnTo>
                    <a:lnTo>
                      <a:pt x="1852" y="71"/>
                    </a:lnTo>
                    <a:lnTo>
                      <a:pt x="1862" y="71"/>
                    </a:lnTo>
                    <a:lnTo>
                      <a:pt x="1882" y="71"/>
                    </a:lnTo>
                    <a:lnTo>
                      <a:pt x="1892" y="71"/>
                    </a:lnTo>
                    <a:lnTo>
                      <a:pt x="1912" y="71"/>
                    </a:lnTo>
                    <a:lnTo>
                      <a:pt x="1933" y="71"/>
                    </a:lnTo>
                    <a:lnTo>
                      <a:pt x="1943" y="71"/>
                    </a:lnTo>
                    <a:lnTo>
                      <a:pt x="1973" y="61"/>
                    </a:lnTo>
                    <a:lnTo>
                      <a:pt x="2003" y="51"/>
                    </a:lnTo>
                    <a:lnTo>
                      <a:pt x="2044" y="61"/>
                    </a:lnTo>
                  </a:path>
                </a:pathLst>
              </a:custGeom>
              <a:solidFill>
                <a:schemeClr val="bg2">
                  <a:lumMod val="75000"/>
                </a:schemeClr>
              </a:solid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pic>
          <p:nvPicPr>
            <p:cNvPr id="4098" name="Picture 2" descr="Mayotte Vectoriels et illustrations libres de droits - iStock">
              <a:extLst>
                <a:ext uri="{FF2B5EF4-FFF2-40B4-BE49-F238E27FC236}">
                  <a16:creationId xmlns:a16="http://schemas.microsoft.com/office/drawing/2014/main" id="{29D99FE1-6D0F-481D-9E8D-213B7387CA86}"/>
                </a:ext>
              </a:extLst>
            </p:cNvPr>
            <p:cNvPicPr>
              <a:picLocks noChangeAspect="1" noChangeArrowheads="1"/>
            </p:cNvPicPr>
            <p:nvPr/>
          </p:nvPicPr>
          <p:blipFill>
            <a:blip r:embed="rId8" cstate="print">
              <a:lum bright="70000" contrast="-70000"/>
              <a:extLst>
                <a:ext uri="{BEBA8EAE-BF5A-486C-A8C5-ECC9F3942E4B}">
                  <a14:imgProps xmlns:a14="http://schemas.microsoft.com/office/drawing/2010/main">
                    <a14:imgLayer r:embed="rId9">
                      <a14:imgEffect>
                        <a14:backgroundRemoval t="10000" b="90000" l="10000" r="90000">
                          <a14:foregroundMark x1="74183" y1="42647" x2="74183" y2="42647"/>
                          <a14:foregroundMark x1="64542" y1="47549" x2="64542" y2="47549"/>
                          <a14:foregroundMark x1="25490" y1="15850" x2="25490" y2="15850"/>
                          <a14:foregroundMark x1="64706" y1="65033" x2="64706" y2="65033"/>
                        </a14:backgroundRemoval>
                      </a14:imgEffect>
                    </a14:imgLayer>
                  </a14:imgProps>
                </a:ext>
                <a:ext uri="{28A0092B-C50C-407E-A947-70E740481C1C}">
                  <a14:useLocalDpi xmlns:a14="http://schemas.microsoft.com/office/drawing/2010/main" val="0"/>
                </a:ext>
              </a:extLst>
            </a:blip>
            <a:srcRect/>
            <a:stretch>
              <a:fillRect/>
            </a:stretch>
          </p:blipFill>
          <p:spPr bwMode="auto">
            <a:xfrm>
              <a:off x="4326974" y="6343702"/>
              <a:ext cx="476961" cy="476961"/>
            </a:xfrm>
            <a:prstGeom prst="rect">
              <a:avLst/>
            </a:prstGeom>
            <a:noFill/>
            <a:extLst>
              <a:ext uri="{909E8E84-426E-40DD-AFC4-6F175D3DCCD1}">
                <a14:hiddenFill xmlns:a14="http://schemas.microsoft.com/office/drawing/2010/main">
                  <a:solidFill>
                    <a:srgbClr val="FFFFFF"/>
                  </a:solidFill>
                </a14:hiddenFill>
              </a:ext>
            </a:extLst>
          </p:spPr>
        </p:pic>
        <p:sp>
          <p:nvSpPr>
            <p:cNvPr id="463" name="ZoneTexte 462">
              <a:extLst>
                <a:ext uri="{FF2B5EF4-FFF2-40B4-BE49-F238E27FC236}">
                  <a16:creationId xmlns:a16="http://schemas.microsoft.com/office/drawing/2014/main" id="{017A6BE2-D20A-4365-83B6-69EF95726C5B}"/>
                </a:ext>
              </a:extLst>
            </p:cNvPr>
            <p:cNvSpPr txBox="1"/>
            <p:nvPr/>
          </p:nvSpPr>
          <p:spPr>
            <a:xfrm>
              <a:off x="4024281" y="6075560"/>
              <a:ext cx="1026563" cy="507831"/>
            </a:xfrm>
            <a:prstGeom prst="rect">
              <a:avLst/>
            </a:prstGeom>
            <a:noFill/>
          </p:spPr>
          <p:txBody>
            <a:bodyPr wrap="square" lIns="108000" rIns="108000" rtlCol="0">
              <a:spAutoFit/>
            </a:bodyPr>
            <a:lstStyle/>
            <a:p>
              <a:endParaRPr lang="fr-FR" sz="900">
                <a:solidFill>
                  <a:srgbClr val="5F5F5F"/>
                </a:solidFill>
                <a:latin typeface="Tahoma"/>
              </a:endParaRPr>
            </a:p>
            <a:p>
              <a:pPr algn="ctr"/>
              <a:r>
                <a:rPr lang="fr-FR" sz="900" b="1">
                  <a:solidFill>
                    <a:srgbClr val="503078"/>
                  </a:solidFill>
                  <a:latin typeface="Tahoma"/>
                </a:rPr>
                <a:t>Mayotte</a:t>
              </a:r>
              <a:endParaRPr lang="fr-FR" sz="900">
                <a:solidFill>
                  <a:srgbClr val="5F5F5F"/>
                </a:solidFill>
                <a:latin typeface="Tahoma"/>
              </a:endParaRPr>
            </a:p>
            <a:p>
              <a:endParaRPr lang="fr-FR" sz="900">
                <a:solidFill>
                  <a:srgbClr val="5F5F5F"/>
                </a:solidFill>
                <a:latin typeface="Tahoma"/>
              </a:endParaRPr>
            </a:p>
          </p:txBody>
        </p:sp>
      </p:grpSp>
      <p:pic>
        <p:nvPicPr>
          <p:cNvPr id="471" name="Graphique 470" descr="Loupe avec un remplissage uni">
            <a:extLst>
              <a:ext uri="{FF2B5EF4-FFF2-40B4-BE49-F238E27FC236}">
                <a16:creationId xmlns:a16="http://schemas.microsoft.com/office/drawing/2014/main" id="{A4AFA574-7EDF-4B12-A3F4-6FDAF0F4FDDE}"/>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8030230" y="29133"/>
            <a:ext cx="359231" cy="359231"/>
          </a:xfrm>
          <a:prstGeom prst="rect">
            <a:avLst/>
          </a:prstGeom>
        </p:spPr>
      </p:pic>
      <p:sp>
        <p:nvSpPr>
          <p:cNvPr id="472" name="ZoneTexte 471">
            <a:extLst>
              <a:ext uri="{FF2B5EF4-FFF2-40B4-BE49-F238E27FC236}">
                <a16:creationId xmlns:a16="http://schemas.microsoft.com/office/drawing/2014/main" id="{06C97E14-5E37-4551-A82D-90441C36D94D}"/>
              </a:ext>
            </a:extLst>
          </p:cNvPr>
          <p:cNvSpPr txBox="1"/>
          <p:nvPr/>
        </p:nvSpPr>
        <p:spPr>
          <a:xfrm>
            <a:off x="8389461" y="85220"/>
            <a:ext cx="3374039" cy="261610"/>
          </a:xfrm>
          <a:prstGeom prst="rect">
            <a:avLst/>
          </a:prstGeom>
          <a:noFill/>
        </p:spPr>
        <p:txBody>
          <a:bodyPr wrap="square" lIns="108000" rIns="108000" rtlCol="0">
            <a:spAutoFit/>
          </a:bodyPr>
          <a:lstStyle/>
          <a:p>
            <a:pPr>
              <a:defRPr/>
            </a:pPr>
            <a:r>
              <a:rPr lang="fr-FR" sz="1100" i="1" kern="0">
                <a:solidFill>
                  <a:srgbClr val="048B9A"/>
                </a:solidFill>
                <a:latin typeface="Tahoma"/>
              </a:rPr>
              <a:t>Compléments disponibles </a:t>
            </a:r>
            <a:r>
              <a:rPr lang="fr-FR" sz="1100" i="1" kern="0">
                <a:solidFill>
                  <a:srgbClr val="048B9A"/>
                </a:solidFill>
                <a:latin typeface="Tahoma"/>
                <a:hlinkClick r:id="rId12" action="ppaction://hlinksldjump"/>
              </a:rPr>
              <a:t>en annexe</a:t>
            </a:r>
            <a:endParaRPr lang="fr-FR" sz="1100" i="1" kern="0">
              <a:solidFill>
                <a:srgbClr val="048B9A"/>
              </a:solidFill>
              <a:latin typeface="Tahoma"/>
            </a:endParaRPr>
          </a:p>
        </p:txBody>
      </p:sp>
    </p:spTree>
    <p:extLst>
      <p:ext uri="{BB962C8B-B14F-4D97-AF65-F5344CB8AC3E}">
        <p14:creationId xmlns:p14="http://schemas.microsoft.com/office/powerpoint/2010/main" val="24061356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2689997E-763F-41EE-92A2-E8A25B005753}"/>
              </a:ext>
            </a:extLst>
          </p:cNvPr>
          <p:cNvSpPr>
            <a:spLocks noGrp="1"/>
          </p:cNvSpPr>
          <p:nvPr>
            <p:ph type="title"/>
          </p:nvPr>
        </p:nvSpPr>
        <p:spPr/>
        <p:txBody>
          <a:bodyPr/>
          <a:lstStyle/>
          <a:p>
            <a:pPr algn="l" fontAlgn="base"/>
            <a:r>
              <a:rPr lang="fr-FR"/>
              <a:t>Personnes en situation de handicap : bénéficiaires de l’AAH</a:t>
            </a:r>
          </a:p>
        </p:txBody>
      </p:sp>
      <p:sp>
        <p:nvSpPr>
          <p:cNvPr id="3" name="Espace réservé du texte 2">
            <a:extLst>
              <a:ext uri="{FF2B5EF4-FFF2-40B4-BE49-F238E27FC236}">
                <a16:creationId xmlns:a16="http://schemas.microsoft.com/office/drawing/2014/main" id="{120CAE43-622C-4D87-BF98-1721B6F2A21E}"/>
              </a:ext>
            </a:extLst>
          </p:cNvPr>
          <p:cNvSpPr>
            <a:spLocks noGrp="1"/>
          </p:cNvSpPr>
          <p:nvPr>
            <p:ph type="body" sz="quarter" idx="13"/>
          </p:nvPr>
        </p:nvSpPr>
        <p:spPr/>
        <p:txBody>
          <a:bodyPr/>
          <a:lstStyle/>
          <a:p>
            <a:r>
              <a:rPr lang="fr-FR">
                <a:solidFill>
                  <a:srgbClr val="938481"/>
                </a:solidFill>
              </a:rPr>
              <a:t>Dimensionnement des besoins et du marché</a:t>
            </a:r>
          </a:p>
        </p:txBody>
      </p:sp>
      <p:grpSp>
        <p:nvGrpSpPr>
          <p:cNvPr id="145" name="France - 13 Regions Department level">
            <a:extLst>
              <a:ext uri="{FF2B5EF4-FFF2-40B4-BE49-F238E27FC236}">
                <a16:creationId xmlns:a16="http://schemas.microsoft.com/office/drawing/2014/main" id="{8C79DF32-6CCA-415D-A9DD-5EB8AA63AB4F}"/>
              </a:ext>
            </a:extLst>
          </p:cNvPr>
          <p:cNvGrpSpPr/>
          <p:nvPr/>
        </p:nvGrpSpPr>
        <p:grpSpPr>
          <a:xfrm>
            <a:off x="1621986" y="2261495"/>
            <a:ext cx="4097036" cy="3888646"/>
            <a:chOff x="4773804" y="1329043"/>
            <a:chExt cx="5003732" cy="4668479"/>
          </a:xfrm>
        </p:grpSpPr>
        <p:grpSp>
          <p:nvGrpSpPr>
            <p:cNvPr id="146" name="Provence Alpes Côte d'Azure (formes)">
              <a:extLst>
                <a:ext uri="{FF2B5EF4-FFF2-40B4-BE49-F238E27FC236}">
                  <a16:creationId xmlns:a16="http://schemas.microsoft.com/office/drawing/2014/main" id="{CC175B0D-69FF-4228-B0FD-F7D37690C005}"/>
                </a:ext>
              </a:extLst>
            </p:cNvPr>
            <p:cNvGrpSpPr/>
            <p:nvPr/>
          </p:nvGrpSpPr>
          <p:grpSpPr>
            <a:xfrm>
              <a:off x="7944071" y="4433411"/>
              <a:ext cx="1312230" cy="1101644"/>
              <a:chOff x="7190615" y="4602796"/>
              <a:chExt cx="1312230" cy="1101644"/>
            </a:xfrm>
            <a:solidFill>
              <a:srgbClr val="CAC5B8"/>
            </a:solidFill>
          </p:grpSpPr>
          <p:sp>
            <p:nvSpPr>
              <p:cNvPr id="380" name="84">
                <a:extLst>
                  <a:ext uri="{FF2B5EF4-FFF2-40B4-BE49-F238E27FC236}">
                    <a16:creationId xmlns:a16="http://schemas.microsoft.com/office/drawing/2014/main" id="{0B29D6CF-BB0C-463D-ABA1-09ADF7CAC0ED}"/>
                  </a:ext>
                </a:extLst>
              </p:cNvPr>
              <p:cNvSpPr>
                <a:spLocks/>
              </p:cNvSpPr>
              <p:nvPr/>
            </p:nvSpPr>
            <p:spPr bwMode="gray">
              <a:xfrm>
                <a:off x="7342467" y="5038296"/>
                <a:ext cx="426904" cy="340951"/>
              </a:xfrm>
              <a:custGeom>
                <a:avLst/>
                <a:gdLst>
                  <a:gd name="T0" fmla="*/ 2 w 298"/>
                  <a:gd name="T1" fmla="*/ 17 h 238"/>
                  <a:gd name="T2" fmla="*/ 2 w 298"/>
                  <a:gd name="T3" fmla="*/ 0 h 238"/>
                  <a:gd name="T4" fmla="*/ 43 w 298"/>
                  <a:gd name="T5" fmla="*/ 8 h 238"/>
                  <a:gd name="T6" fmla="*/ 47 w 298"/>
                  <a:gd name="T7" fmla="*/ 36 h 238"/>
                  <a:gd name="T8" fmla="*/ 136 w 298"/>
                  <a:gd name="T9" fmla="*/ 4 h 238"/>
                  <a:gd name="T10" fmla="*/ 138 w 298"/>
                  <a:gd name="T11" fmla="*/ 36 h 238"/>
                  <a:gd name="T12" fmla="*/ 187 w 298"/>
                  <a:gd name="T13" fmla="*/ 38 h 238"/>
                  <a:gd name="T14" fmla="*/ 226 w 298"/>
                  <a:gd name="T15" fmla="*/ 74 h 238"/>
                  <a:gd name="T16" fmla="*/ 228 w 298"/>
                  <a:gd name="T17" fmla="*/ 91 h 238"/>
                  <a:gd name="T18" fmla="*/ 230 w 298"/>
                  <a:gd name="T19" fmla="*/ 134 h 238"/>
                  <a:gd name="T20" fmla="*/ 255 w 298"/>
                  <a:gd name="T21" fmla="*/ 146 h 238"/>
                  <a:gd name="T22" fmla="*/ 243 w 298"/>
                  <a:gd name="T23" fmla="*/ 180 h 238"/>
                  <a:gd name="T24" fmla="*/ 268 w 298"/>
                  <a:gd name="T25" fmla="*/ 178 h 238"/>
                  <a:gd name="T26" fmla="*/ 298 w 298"/>
                  <a:gd name="T27" fmla="*/ 210 h 238"/>
                  <a:gd name="T28" fmla="*/ 298 w 298"/>
                  <a:gd name="T29" fmla="*/ 214 h 238"/>
                  <a:gd name="T30" fmla="*/ 257 w 298"/>
                  <a:gd name="T31" fmla="*/ 238 h 238"/>
                  <a:gd name="T32" fmla="*/ 228 w 298"/>
                  <a:gd name="T33" fmla="*/ 236 h 238"/>
                  <a:gd name="T34" fmla="*/ 179 w 298"/>
                  <a:gd name="T35" fmla="*/ 212 h 238"/>
                  <a:gd name="T36" fmla="*/ 147 w 298"/>
                  <a:gd name="T37" fmla="*/ 214 h 238"/>
                  <a:gd name="T38" fmla="*/ 92 w 298"/>
                  <a:gd name="T39" fmla="*/ 168 h 238"/>
                  <a:gd name="T40" fmla="*/ 28 w 298"/>
                  <a:gd name="T41" fmla="*/ 148 h 238"/>
                  <a:gd name="T42" fmla="*/ 53 w 298"/>
                  <a:gd name="T43" fmla="*/ 114 h 238"/>
                  <a:gd name="T44" fmla="*/ 17 w 298"/>
                  <a:gd name="T45" fmla="*/ 80 h 238"/>
                  <a:gd name="T46" fmla="*/ 22 w 298"/>
                  <a:gd name="T47" fmla="*/ 51 h 238"/>
                  <a:gd name="T48" fmla="*/ 0 w 298"/>
                  <a:gd name="T49" fmla="*/ 19 h 238"/>
                  <a:gd name="T50" fmla="*/ 2 w 298"/>
                  <a:gd name="T51" fmla="*/ 1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8" h="238">
                    <a:moveTo>
                      <a:pt x="2" y="17"/>
                    </a:moveTo>
                    <a:lnTo>
                      <a:pt x="2" y="0"/>
                    </a:lnTo>
                    <a:lnTo>
                      <a:pt x="43" y="8"/>
                    </a:lnTo>
                    <a:lnTo>
                      <a:pt x="47" y="36"/>
                    </a:lnTo>
                    <a:lnTo>
                      <a:pt x="136" y="4"/>
                    </a:lnTo>
                    <a:lnTo>
                      <a:pt x="138" y="36"/>
                    </a:lnTo>
                    <a:lnTo>
                      <a:pt x="187" y="38"/>
                    </a:lnTo>
                    <a:lnTo>
                      <a:pt x="226" y="74"/>
                    </a:lnTo>
                    <a:lnTo>
                      <a:pt x="228" y="91"/>
                    </a:lnTo>
                    <a:lnTo>
                      <a:pt x="230" y="134"/>
                    </a:lnTo>
                    <a:lnTo>
                      <a:pt x="255" y="146"/>
                    </a:lnTo>
                    <a:lnTo>
                      <a:pt x="243" y="180"/>
                    </a:lnTo>
                    <a:lnTo>
                      <a:pt x="268" y="178"/>
                    </a:lnTo>
                    <a:lnTo>
                      <a:pt x="298" y="210"/>
                    </a:lnTo>
                    <a:lnTo>
                      <a:pt x="298" y="214"/>
                    </a:lnTo>
                    <a:lnTo>
                      <a:pt x="257" y="238"/>
                    </a:lnTo>
                    <a:lnTo>
                      <a:pt x="228" y="236"/>
                    </a:lnTo>
                    <a:lnTo>
                      <a:pt x="179" y="212"/>
                    </a:lnTo>
                    <a:lnTo>
                      <a:pt x="147" y="214"/>
                    </a:lnTo>
                    <a:lnTo>
                      <a:pt x="92" y="168"/>
                    </a:lnTo>
                    <a:lnTo>
                      <a:pt x="28" y="148"/>
                    </a:lnTo>
                    <a:lnTo>
                      <a:pt x="53" y="114"/>
                    </a:lnTo>
                    <a:lnTo>
                      <a:pt x="17" y="80"/>
                    </a:lnTo>
                    <a:lnTo>
                      <a:pt x="22" y="51"/>
                    </a:lnTo>
                    <a:lnTo>
                      <a:pt x="0" y="19"/>
                    </a:lnTo>
                    <a:lnTo>
                      <a:pt x="2" y="17"/>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81" name="06">
                <a:extLst>
                  <a:ext uri="{FF2B5EF4-FFF2-40B4-BE49-F238E27FC236}">
                    <a16:creationId xmlns:a16="http://schemas.microsoft.com/office/drawing/2014/main" id="{87DDD9B5-2843-4E02-9FFD-1DF849E90B89}"/>
                  </a:ext>
                </a:extLst>
              </p:cNvPr>
              <p:cNvSpPr>
                <a:spLocks/>
              </p:cNvSpPr>
              <p:nvPr/>
            </p:nvSpPr>
            <p:spPr bwMode="gray">
              <a:xfrm>
                <a:off x="8101727" y="4995319"/>
                <a:ext cx="401118" cy="459854"/>
              </a:xfrm>
              <a:custGeom>
                <a:avLst/>
                <a:gdLst>
                  <a:gd name="T0" fmla="*/ 0 w 280"/>
                  <a:gd name="T1" fmla="*/ 212 h 321"/>
                  <a:gd name="T2" fmla="*/ 19 w 280"/>
                  <a:gd name="T3" fmla="*/ 204 h 321"/>
                  <a:gd name="T4" fmla="*/ 8 w 280"/>
                  <a:gd name="T5" fmla="*/ 176 h 321"/>
                  <a:gd name="T6" fmla="*/ 80 w 280"/>
                  <a:gd name="T7" fmla="*/ 168 h 321"/>
                  <a:gd name="T8" fmla="*/ 25 w 280"/>
                  <a:gd name="T9" fmla="*/ 119 h 321"/>
                  <a:gd name="T10" fmla="*/ 8 w 280"/>
                  <a:gd name="T11" fmla="*/ 72 h 321"/>
                  <a:gd name="T12" fmla="*/ 59 w 280"/>
                  <a:gd name="T13" fmla="*/ 0 h 321"/>
                  <a:gd name="T14" fmla="*/ 93 w 280"/>
                  <a:gd name="T15" fmla="*/ 47 h 321"/>
                  <a:gd name="T16" fmla="*/ 159 w 280"/>
                  <a:gd name="T17" fmla="*/ 72 h 321"/>
                  <a:gd name="T18" fmla="*/ 204 w 280"/>
                  <a:gd name="T19" fmla="*/ 83 h 321"/>
                  <a:gd name="T20" fmla="*/ 270 w 280"/>
                  <a:gd name="T21" fmla="*/ 57 h 321"/>
                  <a:gd name="T22" fmla="*/ 280 w 280"/>
                  <a:gd name="T23" fmla="*/ 91 h 321"/>
                  <a:gd name="T24" fmla="*/ 227 w 280"/>
                  <a:gd name="T25" fmla="*/ 168 h 321"/>
                  <a:gd name="T26" fmla="*/ 236 w 280"/>
                  <a:gd name="T27" fmla="*/ 202 h 321"/>
                  <a:gd name="T28" fmla="*/ 184 w 280"/>
                  <a:gd name="T29" fmla="*/ 244 h 321"/>
                  <a:gd name="T30" fmla="*/ 180 w 280"/>
                  <a:gd name="T31" fmla="*/ 234 h 321"/>
                  <a:gd name="T32" fmla="*/ 138 w 280"/>
                  <a:gd name="T33" fmla="*/ 255 h 321"/>
                  <a:gd name="T34" fmla="*/ 138 w 280"/>
                  <a:gd name="T35" fmla="*/ 293 h 321"/>
                  <a:gd name="T36" fmla="*/ 89 w 280"/>
                  <a:gd name="T37" fmla="*/ 300 h 321"/>
                  <a:gd name="T38" fmla="*/ 82 w 280"/>
                  <a:gd name="T39" fmla="*/ 321 h 321"/>
                  <a:gd name="T40" fmla="*/ 68 w 280"/>
                  <a:gd name="T41" fmla="*/ 304 h 321"/>
                  <a:gd name="T42" fmla="*/ 76 w 280"/>
                  <a:gd name="T43" fmla="*/ 278 h 321"/>
                  <a:gd name="T44" fmla="*/ 46 w 280"/>
                  <a:gd name="T45" fmla="*/ 268 h 321"/>
                  <a:gd name="T46" fmla="*/ 31 w 280"/>
                  <a:gd name="T47" fmla="*/ 229 h 321"/>
                  <a:gd name="T48" fmla="*/ 0 w 280"/>
                  <a:gd name="T49" fmla="*/ 215 h 321"/>
                  <a:gd name="T50" fmla="*/ 0 w 280"/>
                  <a:gd name="T51" fmla="*/ 21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0" h="321">
                    <a:moveTo>
                      <a:pt x="0" y="212"/>
                    </a:moveTo>
                    <a:lnTo>
                      <a:pt x="19" y="204"/>
                    </a:lnTo>
                    <a:lnTo>
                      <a:pt x="8" y="176"/>
                    </a:lnTo>
                    <a:lnTo>
                      <a:pt x="80" y="168"/>
                    </a:lnTo>
                    <a:lnTo>
                      <a:pt x="25" y="119"/>
                    </a:lnTo>
                    <a:lnTo>
                      <a:pt x="8" y="72"/>
                    </a:lnTo>
                    <a:lnTo>
                      <a:pt x="59" y="0"/>
                    </a:lnTo>
                    <a:lnTo>
                      <a:pt x="93" y="47"/>
                    </a:lnTo>
                    <a:lnTo>
                      <a:pt x="159" y="72"/>
                    </a:lnTo>
                    <a:lnTo>
                      <a:pt x="204" y="83"/>
                    </a:lnTo>
                    <a:lnTo>
                      <a:pt x="270" y="57"/>
                    </a:lnTo>
                    <a:lnTo>
                      <a:pt x="280" y="91"/>
                    </a:lnTo>
                    <a:lnTo>
                      <a:pt x="227" y="168"/>
                    </a:lnTo>
                    <a:lnTo>
                      <a:pt x="236" y="202"/>
                    </a:lnTo>
                    <a:lnTo>
                      <a:pt x="184" y="244"/>
                    </a:lnTo>
                    <a:lnTo>
                      <a:pt x="180" y="234"/>
                    </a:lnTo>
                    <a:lnTo>
                      <a:pt x="138" y="255"/>
                    </a:lnTo>
                    <a:lnTo>
                      <a:pt x="138" y="293"/>
                    </a:lnTo>
                    <a:lnTo>
                      <a:pt x="89" y="300"/>
                    </a:lnTo>
                    <a:lnTo>
                      <a:pt x="82" y="321"/>
                    </a:lnTo>
                    <a:lnTo>
                      <a:pt x="68" y="304"/>
                    </a:lnTo>
                    <a:lnTo>
                      <a:pt x="76" y="278"/>
                    </a:lnTo>
                    <a:lnTo>
                      <a:pt x="46" y="268"/>
                    </a:lnTo>
                    <a:lnTo>
                      <a:pt x="31" y="229"/>
                    </a:lnTo>
                    <a:lnTo>
                      <a:pt x="0" y="215"/>
                    </a:lnTo>
                    <a:lnTo>
                      <a:pt x="0" y="212"/>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82" name="04">
                <a:extLst>
                  <a:ext uri="{FF2B5EF4-FFF2-40B4-BE49-F238E27FC236}">
                    <a16:creationId xmlns:a16="http://schemas.microsoft.com/office/drawing/2014/main" id="{C70982B1-E09B-4A29-BDDC-1F0B025DC677}"/>
                  </a:ext>
                </a:extLst>
              </p:cNvPr>
              <p:cNvSpPr>
                <a:spLocks/>
              </p:cNvSpPr>
              <p:nvPr/>
            </p:nvSpPr>
            <p:spPr bwMode="gray">
              <a:xfrm>
                <a:off x="7666227" y="4839170"/>
                <a:ext cx="550105" cy="530049"/>
              </a:xfrm>
              <a:custGeom>
                <a:avLst/>
                <a:gdLst>
                  <a:gd name="T0" fmla="*/ 2 w 384"/>
                  <a:gd name="T1" fmla="*/ 230 h 370"/>
                  <a:gd name="T2" fmla="*/ 4 w 384"/>
                  <a:gd name="T3" fmla="*/ 273 h 370"/>
                  <a:gd name="T4" fmla="*/ 29 w 384"/>
                  <a:gd name="T5" fmla="*/ 285 h 370"/>
                  <a:gd name="T6" fmla="*/ 17 w 384"/>
                  <a:gd name="T7" fmla="*/ 319 h 370"/>
                  <a:gd name="T8" fmla="*/ 42 w 384"/>
                  <a:gd name="T9" fmla="*/ 317 h 370"/>
                  <a:gd name="T10" fmla="*/ 72 w 384"/>
                  <a:gd name="T11" fmla="*/ 349 h 370"/>
                  <a:gd name="T12" fmla="*/ 116 w 384"/>
                  <a:gd name="T13" fmla="*/ 341 h 370"/>
                  <a:gd name="T14" fmla="*/ 144 w 384"/>
                  <a:gd name="T15" fmla="*/ 370 h 370"/>
                  <a:gd name="T16" fmla="*/ 193 w 384"/>
                  <a:gd name="T17" fmla="*/ 321 h 370"/>
                  <a:gd name="T18" fmla="*/ 229 w 384"/>
                  <a:gd name="T19" fmla="*/ 343 h 370"/>
                  <a:gd name="T20" fmla="*/ 253 w 384"/>
                  <a:gd name="T21" fmla="*/ 319 h 370"/>
                  <a:gd name="T22" fmla="*/ 304 w 384"/>
                  <a:gd name="T23" fmla="*/ 321 h 370"/>
                  <a:gd name="T24" fmla="*/ 323 w 384"/>
                  <a:gd name="T25" fmla="*/ 313 h 370"/>
                  <a:gd name="T26" fmla="*/ 312 w 384"/>
                  <a:gd name="T27" fmla="*/ 285 h 370"/>
                  <a:gd name="T28" fmla="*/ 384 w 384"/>
                  <a:gd name="T29" fmla="*/ 277 h 370"/>
                  <a:gd name="T30" fmla="*/ 329 w 384"/>
                  <a:gd name="T31" fmla="*/ 228 h 370"/>
                  <a:gd name="T32" fmla="*/ 312 w 384"/>
                  <a:gd name="T33" fmla="*/ 181 h 370"/>
                  <a:gd name="T34" fmla="*/ 363 w 384"/>
                  <a:gd name="T35" fmla="*/ 109 h 370"/>
                  <a:gd name="T36" fmla="*/ 376 w 384"/>
                  <a:gd name="T37" fmla="*/ 83 h 370"/>
                  <a:gd name="T38" fmla="*/ 350 w 384"/>
                  <a:gd name="T39" fmla="*/ 47 h 370"/>
                  <a:gd name="T40" fmla="*/ 369 w 384"/>
                  <a:gd name="T41" fmla="*/ 30 h 370"/>
                  <a:gd name="T42" fmla="*/ 372 w 384"/>
                  <a:gd name="T43" fmla="*/ 0 h 370"/>
                  <a:gd name="T44" fmla="*/ 306 w 384"/>
                  <a:gd name="T45" fmla="*/ 45 h 370"/>
                  <a:gd name="T46" fmla="*/ 293 w 384"/>
                  <a:gd name="T47" fmla="*/ 81 h 370"/>
                  <a:gd name="T48" fmla="*/ 255 w 384"/>
                  <a:gd name="T49" fmla="*/ 81 h 370"/>
                  <a:gd name="T50" fmla="*/ 223 w 384"/>
                  <a:gd name="T51" fmla="*/ 56 h 370"/>
                  <a:gd name="T52" fmla="*/ 212 w 384"/>
                  <a:gd name="T53" fmla="*/ 77 h 370"/>
                  <a:gd name="T54" fmla="*/ 189 w 384"/>
                  <a:gd name="T55" fmla="*/ 79 h 370"/>
                  <a:gd name="T56" fmla="*/ 189 w 384"/>
                  <a:gd name="T57" fmla="*/ 109 h 370"/>
                  <a:gd name="T58" fmla="*/ 148 w 384"/>
                  <a:gd name="T59" fmla="*/ 75 h 370"/>
                  <a:gd name="T60" fmla="*/ 102 w 384"/>
                  <a:gd name="T61" fmla="*/ 134 h 370"/>
                  <a:gd name="T62" fmla="*/ 108 w 384"/>
                  <a:gd name="T63" fmla="*/ 160 h 370"/>
                  <a:gd name="T64" fmla="*/ 87 w 384"/>
                  <a:gd name="T65" fmla="*/ 143 h 370"/>
                  <a:gd name="T66" fmla="*/ 104 w 384"/>
                  <a:gd name="T67" fmla="*/ 181 h 370"/>
                  <a:gd name="T68" fmla="*/ 46 w 384"/>
                  <a:gd name="T69" fmla="*/ 183 h 370"/>
                  <a:gd name="T70" fmla="*/ 48 w 384"/>
                  <a:gd name="T71" fmla="*/ 198 h 370"/>
                  <a:gd name="T72" fmla="*/ 21 w 384"/>
                  <a:gd name="T73" fmla="*/ 183 h 370"/>
                  <a:gd name="T74" fmla="*/ 0 w 384"/>
                  <a:gd name="T75" fmla="*/ 213 h 370"/>
                  <a:gd name="T76" fmla="*/ 2 w 384"/>
                  <a:gd name="T77" fmla="*/ 23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4" h="370">
                    <a:moveTo>
                      <a:pt x="2" y="230"/>
                    </a:moveTo>
                    <a:lnTo>
                      <a:pt x="4" y="273"/>
                    </a:lnTo>
                    <a:lnTo>
                      <a:pt x="29" y="285"/>
                    </a:lnTo>
                    <a:lnTo>
                      <a:pt x="17" y="319"/>
                    </a:lnTo>
                    <a:lnTo>
                      <a:pt x="42" y="317"/>
                    </a:lnTo>
                    <a:lnTo>
                      <a:pt x="72" y="349"/>
                    </a:lnTo>
                    <a:lnTo>
                      <a:pt x="116" y="341"/>
                    </a:lnTo>
                    <a:lnTo>
                      <a:pt x="144" y="370"/>
                    </a:lnTo>
                    <a:lnTo>
                      <a:pt x="193" y="321"/>
                    </a:lnTo>
                    <a:lnTo>
                      <a:pt x="229" y="343"/>
                    </a:lnTo>
                    <a:lnTo>
                      <a:pt x="253" y="319"/>
                    </a:lnTo>
                    <a:lnTo>
                      <a:pt x="304" y="321"/>
                    </a:lnTo>
                    <a:lnTo>
                      <a:pt x="323" y="313"/>
                    </a:lnTo>
                    <a:lnTo>
                      <a:pt x="312" y="285"/>
                    </a:lnTo>
                    <a:lnTo>
                      <a:pt x="384" y="277"/>
                    </a:lnTo>
                    <a:lnTo>
                      <a:pt x="329" y="228"/>
                    </a:lnTo>
                    <a:lnTo>
                      <a:pt x="312" y="181"/>
                    </a:lnTo>
                    <a:lnTo>
                      <a:pt x="363" y="109"/>
                    </a:lnTo>
                    <a:lnTo>
                      <a:pt x="376" y="83"/>
                    </a:lnTo>
                    <a:lnTo>
                      <a:pt x="350" y="47"/>
                    </a:lnTo>
                    <a:lnTo>
                      <a:pt x="369" y="30"/>
                    </a:lnTo>
                    <a:lnTo>
                      <a:pt x="372" y="0"/>
                    </a:lnTo>
                    <a:lnTo>
                      <a:pt x="306" y="45"/>
                    </a:lnTo>
                    <a:lnTo>
                      <a:pt x="293" y="81"/>
                    </a:lnTo>
                    <a:lnTo>
                      <a:pt x="255" y="81"/>
                    </a:lnTo>
                    <a:lnTo>
                      <a:pt x="223" y="56"/>
                    </a:lnTo>
                    <a:lnTo>
                      <a:pt x="212" y="77"/>
                    </a:lnTo>
                    <a:lnTo>
                      <a:pt x="189" y="79"/>
                    </a:lnTo>
                    <a:lnTo>
                      <a:pt x="189" y="109"/>
                    </a:lnTo>
                    <a:lnTo>
                      <a:pt x="148" y="75"/>
                    </a:lnTo>
                    <a:lnTo>
                      <a:pt x="102" y="134"/>
                    </a:lnTo>
                    <a:lnTo>
                      <a:pt x="108" y="160"/>
                    </a:lnTo>
                    <a:lnTo>
                      <a:pt x="87" y="143"/>
                    </a:lnTo>
                    <a:lnTo>
                      <a:pt x="104" y="181"/>
                    </a:lnTo>
                    <a:lnTo>
                      <a:pt x="46" y="183"/>
                    </a:lnTo>
                    <a:lnTo>
                      <a:pt x="48" y="198"/>
                    </a:lnTo>
                    <a:lnTo>
                      <a:pt x="21" y="183"/>
                    </a:lnTo>
                    <a:lnTo>
                      <a:pt x="0" y="213"/>
                    </a:lnTo>
                    <a:lnTo>
                      <a:pt x="2" y="230"/>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83" name="05">
                <a:extLst>
                  <a:ext uri="{FF2B5EF4-FFF2-40B4-BE49-F238E27FC236}">
                    <a16:creationId xmlns:a16="http://schemas.microsoft.com/office/drawing/2014/main" id="{0D2ADC49-5EE9-4C12-A3EC-58EE0FAC9CBB}"/>
                  </a:ext>
                </a:extLst>
              </p:cNvPr>
              <p:cNvSpPr>
                <a:spLocks/>
              </p:cNvSpPr>
              <p:nvPr/>
            </p:nvSpPr>
            <p:spPr bwMode="gray">
              <a:xfrm>
                <a:off x="7631845" y="4602796"/>
                <a:ext cx="618868" cy="498532"/>
              </a:xfrm>
              <a:custGeom>
                <a:avLst/>
                <a:gdLst>
                  <a:gd name="T0" fmla="*/ 4 w 432"/>
                  <a:gd name="T1" fmla="*/ 270 h 348"/>
                  <a:gd name="T2" fmla="*/ 21 w 432"/>
                  <a:gd name="T3" fmla="*/ 295 h 348"/>
                  <a:gd name="T4" fmla="*/ 55 w 432"/>
                  <a:gd name="T5" fmla="*/ 295 h 348"/>
                  <a:gd name="T6" fmla="*/ 70 w 432"/>
                  <a:gd name="T7" fmla="*/ 348 h 348"/>
                  <a:gd name="T8" fmla="*/ 128 w 432"/>
                  <a:gd name="T9" fmla="*/ 346 h 348"/>
                  <a:gd name="T10" fmla="*/ 111 w 432"/>
                  <a:gd name="T11" fmla="*/ 308 h 348"/>
                  <a:gd name="T12" fmla="*/ 132 w 432"/>
                  <a:gd name="T13" fmla="*/ 325 h 348"/>
                  <a:gd name="T14" fmla="*/ 126 w 432"/>
                  <a:gd name="T15" fmla="*/ 299 h 348"/>
                  <a:gd name="T16" fmla="*/ 172 w 432"/>
                  <a:gd name="T17" fmla="*/ 240 h 348"/>
                  <a:gd name="T18" fmla="*/ 213 w 432"/>
                  <a:gd name="T19" fmla="*/ 274 h 348"/>
                  <a:gd name="T20" fmla="*/ 213 w 432"/>
                  <a:gd name="T21" fmla="*/ 244 h 348"/>
                  <a:gd name="T22" fmla="*/ 236 w 432"/>
                  <a:gd name="T23" fmla="*/ 242 h 348"/>
                  <a:gd name="T24" fmla="*/ 247 w 432"/>
                  <a:gd name="T25" fmla="*/ 221 h 348"/>
                  <a:gd name="T26" fmla="*/ 279 w 432"/>
                  <a:gd name="T27" fmla="*/ 246 h 348"/>
                  <a:gd name="T28" fmla="*/ 317 w 432"/>
                  <a:gd name="T29" fmla="*/ 246 h 348"/>
                  <a:gd name="T30" fmla="*/ 330 w 432"/>
                  <a:gd name="T31" fmla="*/ 210 h 348"/>
                  <a:gd name="T32" fmla="*/ 396 w 432"/>
                  <a:gd name="T33" fmla="*/ 165 h 348"/>
                  <a:gd name="T34" fmla="*/ 432 w 432"/>
                  <a:gd name="T35" fmla="*/ 155 h 348"/>
                  <a:gd name="T36" fmla="*/ 413 w 432"/>
                  <a:gd name="T37" fmla="*/ 104 h 348"/>
                  <a:gd name="T38" fmla="*/ 342 w 432"/>
                  <a:gd name="T39" fmla="*/ 76 h 348"/>
                  <a:gd name="T40" fmla="*/ 336 w 432"/>
                  <a:gd name="T41" fmla="*/ 36 h 348"/>
                  <a:gd name="T42" fmla="*/ 319 w 432"/>
                  <a:gd name="T43" fmla="*/ 34 h 348"/>
                  <a:gd name="T44" fmla="*/ 306 w 432"/>
                  <a:gd name="T45" fmla="*/ 2 h 348"/>
                  <a:gd name="T46" fmla="*/ 274 w 432"/>
                  <a:gd name="T47" fmla="*/ 6 h 348"/>
                  <a:gd name="T48" fmla="*/ 262 w 432"/>
                  <a:gd name="T49" fmla="*/ 25 h 348"/>
                  <a:gd name="T50" fmla="*/ 211 w 432"/>
                  <a:gd name="T51" fmla="*/ 0 h 348"/>
                  <a:gd name="T52" fmla="*/ 198 w 432"/>
                  <a:gd name="T53" fmla="*/ 42 h 348"/>
                  <a:gd name="T54" fmla="*/ 228 w 432"/>
                  <a:gd name="T55" fmla="*/ 44 h 348"/>
                  <a:gd name="T56" fmla="*/ 240 w 432"/>
                  <a:gd name="T57" fmla="*/ 97 h 348"/>
                  <a:gd name="T58" fmla="*/ 151 w 432"/>
                  <a:gd name="T59" fmla="*/ 110 h 348"/>
                  <a:gd name="T60" fmla="*/ 98 w 432"/>
                  <a:gd name="T61" fmla="*/ 159 h 348"/>
                  <a:gd name="T62" fmla="*/ 94 w 432"/>
                  <a:gd name="T63" fmla="*/ 178 h 348"/>
                  <a:gd name="T64" fmla="*/ 55 w 432"/>
                  <a:gd name="T65" fmla="*/ 180 h 348"/>
                  <a:gd name="T66" fmla="*/ 45 w 432"/>
                  <a:gd name="T67" fmla="*/ 219 h 348"/>
                  <a:gd name="T68" fmla="*/ 62 w 432"/>
                  <a:gd name="T69" fmla="*/ 233 h 348"/>
                  <a:gd name="T70" fmla="*/ 49 w 432"/>
                  <a:gd name="T71" fmla="*/ 246 h 348"/>
                  <a:gd name="T72" fmla="*/ 9 w 432"/>
                  <a:gd name="T73" fmla="*/ 238 h 348"/>
                  <a:gd name="T74" fmla="*/ 19 w 432"/>
                  <a:gd name="T75" fmla="*/ 263 h 348"/>
                  <a:gd name="T76" fmla="*/ 0 w 432"/>
                  <a:gd name="T77" fmla="*/ 265 h 348"/>
                  <a:gd name="T78" fmla="*/ 4 w 432"/>
                  <a:gd name="T79" fmla="*/ 27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2" h="348">
                    <a:moveTo>
                      <a:pt x="4" y="270"/>
                    </a:moveTo>
                    <a:lnTo>
                      <a:pt x="21" y="295"/>
                    </a:lnTo>
                    <a:lnTo>
                      <a:pt x="55" y="295"/>
                    </a:lnTo>
                    <a:lnTo>
                      <a:pt x="70" y="348"/>
                    </a:lnTo>
                    <a:lnTo>
                      <a:pt x="128" y="346"/>
                    </a:lnTo>
                    <a:lnTo>
                      <a:pt x="111" y="308"/>
                    </a:lnTo>
                    <a:lnTo>
                      <a:pt x="132" y="325"/>
                    </a:lnTo>
                    <a:lnTo>
                      <a:pt x="126" y="299"/>
                    </a:lnTo>
                    <a:lnTo>
                      <a:pt x="172" y="240"/>
                    </a:lnTo>
                    <a:lnTo>
                      <a:pt x="213" y="274"/>
                    </a:lnTo>
                    <a:lnTo>
                      <a:pt x="213" y="244"/>
                    </a:lnTo>
                    <a:lnTo>
                      <a:pt x="236" y="242"/>
                    </a:lnTo>
                    <a:lnTo>
                      <a:pt x="247" y="221"/>
                    </a:lnTo>
                    <a:lnTo>
                      <a:pt x="279" y="246"/>
                    </a:lnTo>
                    <a:lnTo>
                      <a:pt x="317" y="246"/>
                    </a:lnTo>
                    <a:lnTo>
                      <a:pt x="330" y="210"/>
                    </a:lnTo>
                    <a:lnTo>
                      <a:pt x="396" y="165"/>
                    </a:lnTo>
                    <a:lnTo>
                      <a:pt x="432" y="155"/>
                    </a:lnTo>
                    <a:lnTo>
                      <a:pt x="413" y="104"/>
                    </a:lnTo>
                    <a:lnTo>
                      <a:pt x="342" y="76"/>
                    </a:lnTo>
                    <a:lnTo>
                      <a:pt x="336" y="36"/>
                    </a:lnTo>
                    <a:lnTo>
                      <a:pt x="319" y="34"/>
                    </a:lnTo>
                    <a:lnTo>
                      <a:pt x="306" y="2"/>
                    </a:lnTo>
                    <a:lnTo>
                      <a:pt x="274" y="6"/>
                    </a:lnTo>
                    <a:lnTo>
                      <a:pt x="262" y="25"/>
                    </a:lnTo>
                    <a:lnTo>
                      <a:pt x="211" y="0"/>
                    </a:lnTo>
                    <a:lnTo>
                      <a:pt x="198" y="42"/>
                    </a:lnTo>
                    <a:lnTo>
                      <a:pt x="228" y="44"/>
                    </a:lnTo>
                    <a:lnTo>
                      <a:pt x="240" y="97"/>
                    </a:lnTo>
                    <a:lnTo>
                      <a:pt x="151" y="110"/>
                    </a:lnTo>
                    <a:lnTo>
                      <a:pt x="98" y="159"/>
                    </a:lnTo>
                    <a:lnTo>
                      <a:pt x="94" y="178"/>
                    </a:lnTo>
                    <a:lnTo>
                      <a:pt x="55" y="180"/>
                    </a:lnTo>
                    <a:lnTo>
                      <a:pt x="45" y="219"/>
                    </a:lnTo>
                    <a:lnTo>
                      <a:pt x="62" y="233"/>
                    </a:lnTo>
                    <a:lnTo>
                      <a:pt x="49" y="246"/>
                    </a:lnTo>
                    <a:lnTo>
                      <a:pt x="9" y="238"/>
                    </a:lnTo>
                    <a:lnTo>
                      <a:pt x="19" y="263"/>
                    </a:lnTo>
                    <a:lnTo>
                      <a:pt x="0" y="265"/>
                    </a:lnTo>
                    <a:lnTo>
                      <a:pt x="4" y="270"/>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84" name="13">
                <a:extLst>
                  <a:ext uri="{FF2B5EF4-FFF2-40B4-BE49-F238E27FC236}">
                    <a16:creationId xmlns:a16="http://schemas.microsoft.com/office/drawing/2014/main" id="{A0DB511E-3BDE-42D2-BB27-E1922FD32E15}"/>
                  </a:ext>
                </a:extLst>
              </p:cNvPr>
              <p:cNvSpPr>
                <a:spLocks/>
              </p:cNvSpPr>
              <p:nvPr/>
            </p:nvSpPr>
            <p:spPr bwMode="gray">
              <a:xfrm>
                <a:off x="7190615" y="5250317"/>
                <a:ext cx="593082" cy="381062"/>
              </a:xfrm>
              <a:custGeom>
                <a:avLst/>
                <a:gdLst>
                  <a:gd name="T0" fmla="*/ 2 w 414"/>
                  <a:gd name="T1" fmla="*/ 160 h 266"/>
                  <a:gd name="T2" fmla="*/ 64 w 414"/>
                  <a:gd name="T3" fmla="*/ 122 h 266"/>
                  <a:gd name="T4" fmla="*/ 53 w 414"/>
                  <a:gd name="T5" fmla="*/ 111 h 266"/>
                  <a:gd name="T6" fmla="*/ 68 w 414"/>
                  <a:gd name="T7" fmla="*/ 83 h 266"/>
                  <a:gd name="T8" fmla="*/ 104 w 414"/>
                  <a:gd name="T9" fmla="*/ 85 h 266"/>
                  <a:gd name="T10" fmla="*/ 108 w 414"/>
                  <a:gd name="T11" fmla="*/ 20 h 266"/>
                  <a:gd name="T12" fmla="*/ 134 w 414"/>
                  <a:gd name="T13" fmla="*/ 0 h 266"/>
                  <a:gd name="T14" fmla="*/ 198 w 414"/>
                  <a:gd name="T15" fmla="*/ 20 h 266"/>
                  <a:gd name="T16" fmla="*/ 253 w 414"/>
                  <a:gd name="T17" fmla="*/ 66 h 266"/>
                  <a:gd name="T18" fmla="*/ 285 w 414"/>
                  <a:gd name="T19" fmla="*/ 64 h 266"/>
                  <a:gd name="T20" fmla="*/ 334 w 414"/>
                  <a:gd name="T21" fmla="*/ 88 h 266"/>
                  <a:gd name="T22" fmla="*/ 363 w 414"/>
                  <a:gd name="T23" fmla="*/ 90 h 266"/>
                  <a:gd name="T24" fmla="*/ 404 w 414"/>
                  <a:gd name="T25" fmla="*/ 66 h 266"/>
                  <a:gd name="T26" fmla="*/ 414 w 414"/>
                  <a:gd name="T27" fmla="*/ 90 h 266"/>
                  <a:gd name="T28" fmla="*/ 395 w 414"/>
                  <a:gd name="T29" fmla="*/ 92 h 266"/>
                  <a:gd name="T30" fmla="*/ 380 w 414"/>
                  <a:gd name="T31" fmla="*/ 120 h 266"/>
                  <a:gd name="T32" fmla="*/ 380 w 414"/>
                  <a:gd name="T33" fmla="*/ 124 h 266"/>
                  <a:gd name="T34" fmla="*/ 397 w 414"/>
                  <a:gd name="T35" fmla="*/ 130 h 266"/>
                  <a:gd name="T36" fmla="*/ 391 w 414"/>
                  <a:gd name="T37" fmla="*/ 156 h 266"/>
                  <a:gd name="T38" fmla="*/ 414 w 414"/>
                  <a:gd name="T39" fmla="*/ 177 h 266"/>
                  <a:gd name="T40" fmla="*/ 387 w 414"/>
                  <a:gd name="T41" fmla="*/ 185 h 266"/>
                  <a:gd name="T42" fmla="*/ 387 w 414"/>
                  <a:gd name="T43" fmla="*/ 215 h 266"/>
                  <a:gd name="T44" fmla="*/ 410 w 414"/>
                  <a:gd name="T45" fmla="*/ 234 h 266"/>
                  <a:gd name="T46" fmla="*/ 387 w 414"/>
                  <a:gd name="T47" fmla="*/ 266 h 266"/>
                  <a:gd name="T48" fmla="*/ 298 w 414"/>
                  <a:gd name="T49" fmla="*/ 258 h 266"/>
                  <a:gd name="T50" fmla="*/ 304 w 414"/>
                  <a:gd name="T51" fmla="*/ 219 h 266"/>
                  <a:gd name="T52" fmla="*/ 287 w 414"/>
                  <a:gd name="T53" fmla="*/ 202 h 266"/>
                  <a:gd name="T54" fmla="*/ 217 w 414"/>
                  <a:gd name="T55" fmla="*/ 215 h 266"/>
                  <a:gd name="T56" fmla="*/ 204 w 414"/>
                  <a:gd name="T57" fmla="*/ 196 h 266"/>
                  <a:gd name="T58" fmla="*/ 240 w 414"/>
                  <a:gd name="T59" fmla="*/ 190 h 266"/>
                  <a:gd name="T60" fmla="*/ 266 w 414"/>
                  <a:gd name="T61" fmla="*/ 160 h 266"/>
                  <a:gd name="T62" fmla="*/ 249 w 414"/>
                  <a:gd name="T63" fmla="*/ 171 h 266"/>
                  <a:gd name="T64" fmla="*/ 210 w 414"/>
                  <a:gd name="T65" fmla="*/ 132 h 266"/>
                  <a:gd name="T66" fmla="*/ 221 w 414"/>
                  <a:gd name="T67" fmla="*/ 188 h 266"/>
                  <a:gd name="T68" fmla="*/ 185 w 414"/>
                  <a:gd name="T69" fmla="*/ 179 h 266"/>
                  <a:gd name="T70" fmla="*/ 164 w 414"/>
                  <a:gd name="T71" fmla="*/ 217 h 266"/>
                  <a:gd name="T72" fmla="*/ 91 w 414"/>
                  <a:gd name="T73" fmla="*/ 205 h 266"/>
                  <a:gd name="T74" fmla="*/ 100 w 414"/>
                  <a:gd name="T75" fmla="*/ 190 h 266"/>
                  <a:gd name="T76" fmla="*/ 85 w 414"/>
                  <a:gd name="T77" fmla="*/ 175 h 266"/>
                  <a:gd name="T78" fmla="*/ 0 w 414"/>
                  <a:gd name="T79" fmla="*/ 173 h 266"/>
                  <a:gd name="T80" fmla="*/ 2 w 414"/>
                  <a:gd name="T81" fmla="*/ 16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266">
                    <a:moveTo>
                      <a:pt x="2" y="160"/>
                    </a:moveTo>
                    <a:lnTo>
                      <a:pt x="64" y="122"/>
                    </a:lnTo>
                    <a:lnTo>
                      <a:pt x="53" y="111"/>
                    </a:lnTo>
                    <a:lnTo>
                      <a:pt x="68" y="83"/>
                    </a:lnTo>
                    <a:lnTo>
                      <a:pt x="104" y="85"/>
                    </a:lnTo>
                    <a:lnTo>
                      <a:pt x="108" y="20"/>
                    </a:lnTo>
                    <a:lnTo>
                      <a:pt x="134" y="0"/>
                    </a:lnTo>
                    <a:lnTo>
                      <a:pt x="198" y="20"/>
                    </a:lnTo>
                    <a:lnTo>
                      <a:pt x="253" y="66"/>
                    </a:lnTo>
                    <a:lnTo>
                      <a:pt x="285" y="64"/>
                    </a:lnTo>
                    <a:lnTo>
                      <a:pt x="334" y="88"/>
                    </a:lnTo>
                    <a:lnTo>
                      <a:pt x="363" y="90"/>
                    </a:lnTo>
                    <a:lnTo>
                      <a:pt x="404" y="66"/>
                    </a:lnTo>
                    <a:lnTo>
                      <a:pt x="414" y="90"/>
                    </a:lnTo>
                    <a:lnTo>
                      <a:pt x="395" y="92"/>
                    </a:lnTo>
                    <a:lnTo>
                      <a:pt x="380" y="120"/>
                    </a:lnTo>
                    <a:lnTo>
                      <a:pt x="380" y="124"/>
                    </a:lnTo>
                    <a:lnTo>
                      <a:pt x="397" y="130"/>
                    </a:lnTo>
                    <a:lnTo>
                      <a:pt x="391" y="156"/>
                    </a:lnTo>
                    <a:lnTo>
                      <a:pt x="414" y="177"/>
                    </a:lnTo>
                    <a:lnTo>
                      <a:pt x="387" y="185"/>
                    </a:lnTo>
                    <a:lnTo>
                      <a:pt x="387" y="215"/>
                    </a:lnTo>
                    <a:lnTo>
                      <a:pt x="410" y="234"/>
                    </a:lnTo>
                    <a:lnTo>
                      <a:pt x="387" y="266"/>
                    </a:lnTo>
                    <a:lnTo>
                      <a:pt x="298" y="258"/>
                    </a:lnTo>
                    <a:lnTo>
                      <a:pt x="304" y="219"/>
                    </a:lnTo>
                    <a:lnTo>
                      <a:pt x="287" y="202"/>
                    </a:lnTo>
                    <a:lnTo>
                      <a:pt x="217" y="215"/>
                    </a:lnTo>
                    <a:lnTo>
                      <a:pt x="204" y="196"/>
                    </a:lnTo>
                    <a:lnTo>
                      <a:pt x="240" y="190"/>
                    </a:lnTo>
                    <a:lnTo>
                      <a:pt x="266" y="160"/>
                    </a:lnTo>
                    <a:lnTo>
                      <a:pt x="249" y="171"/>
                    </a:lnTo>
                    <a:lnTo>
                      <a:pt x="210" y="132"/>
                    </a:lnTo>
                    <a:lnTo>
                      <a:pt x="221" y="188"/>
                    </a:lnTo>
                    <a:lnTo>
                      <a:pt x="185" y="179"/>
                    </a:lnTo>
                    <a:lnTo>
                      <a:pt x="164" y="217"/>
                    </a:lnTo>
                    <a:lnTo>
                      <a:pt x="91" y="205"/>
                    </a:lnTo>
                    <a:lnTo>
                      <a:pt x="100" y="190"/>
                    </a:lnTo>
                    <a:lnTo>
                      <a:pt x="85" y="175"/>
                    </a:lnTo>
                    <a:lnTo>
                      <a:pt x="0" y="173"/>
                    </a:lnTo>
                    <a:lnTo>
                      <a:pt x="2" y="160"/>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85" name="83">
                <a:extLst>
                  <a:ext uri="{FF2B5EF4-FFF2-40B4-BE49-F238E27FC236}">
                    <a16:creationId xmlns:a16="http://schemas.microsoft.com/office/drawing/2014/main" id="{FF4880B0-28BF-4028-88BE-65A18BCF3A25}"/>
                  </a:ext>
                </a:extLst>
              </p:cNvPr>
              <p:cNvSpPr>
                <a:spLocks/>
              </p:cNvSpPr>
              <p:nvPr/>
            </p:nvSpPr>
            <p:spPr bwMode="gray">
              <a:xfrm>
                <a:off x="7734990" y="5296159"/>
                <a:ext cx="484207" cy="408281"/>
              </a:xfrm>
              <a:custGeom>
                <a:avLst/>
                <a:gdLst>
                  <a:gd name="T0" fmla="*/ 0 w 338"/>
                  <a:gd name="T1" fmla="*/ 92 h 285"/>
                  <a:gd name="T2" fmla="*/ 17 w 338"/>
                  <a:gd name="T3" fmla="*/ 98 h 285"/>
                  <a:gd name="T4" fmla="*/ 11 w 338"/>
                  <a:gd name="T5" fmla="*/ 124 h 285"/>
                  <a:gd name="T6" fmla="*/ 34 w 338"/>
                  <a:gd name="T7" fmla="*/ 145 h 285"/>
                  <a:gd name="T8" fmla="*/ 7 w 338"/>
                  <a:gd name="T9" fmla="*/ 153 h 285"/>
                  <a:gd name="T10" fmla="*/ 7 w 338"/>
                  <a:gd name="T11" fmla="*/ 183 h 285"/>
                  <a:gd name="T12" fmla="*/ 30 w 338"/>
                  <a:gd name="T13" fmla="*/ 202 h 285"/>
                  <a:gd name="T14" fmla="*/ 7 w 338"/>
                  <a:gd name="T15" fmla="*/ 234 h 285"/>
                  <a:gd name="T16" fmla="*/ 43 w 338"/>
                  <a:gd name="T17" fmla="*/ 258 h 285"/>
                  <a:gd name="T18" fmla="*/ 49 w 338"/>
                  <a:gd name="T19" fmla="*/ 279 h 285"/>
                  <a:gd name="T20" fmla="*/ 83 w 338"/>
                  <a:gd name="T21" fmla="*/ 272 h 285"/>
                  <a:gd name="T22" fmla="*/ 73 w 338"/>
                  <a:gd name="T23" fmla="*/ 253 h 285"/>
                  <a:gd name="T24" fmla="*/ 130 w 338"/>
                  <a:gd name="T25" fmla="*/ 266 h 285"/>
                  <a:gd name="T26" fmla="*/ 124 w 338"/>
                  <a:gd name="T27" fmla="*/ 285 h 285"/>
                  <a:gd name="T28" fmla="*/ 137 w 338"/>
                  <a:gd name="T29" fmla="*/ 285 h 285"/>
                  <a:gd name="T30" fmla="*/ 149 w 338"/>
                  <a:gd name="T31" fmla="*/ 253 h 285"/>
                  <a:gd name="T32" fmla="*/ 192 w 338"/>
                  <a:gd name="T33" fmla="*/ 262 h 285"/>
                  <a:gd name="T34" fmla="*/ 194 w 338"/>
                  <a:gd name="T35" fmla="*/ 243 h 285"/>
                  <a:gd name="T36" fmla="*/ 268 w 338"/>
                  <a:gd name="T37" fmla="*/ 226 h 285"/>
                  <a:gd name="T38" fmla="*/ 281 w 338"/>
                  <a:gd name="T39" fmla="*/ 192 h 285"/>
                  <a:gd name="T40" fmla="*/ 251 w 338"/>
                  <a:gd name="T41" fmla="*/ 187 h 285"/>
                  <a:gd name="T42" fmla="*/ 290 w 338"/>
                  <a:gd name="T43" fmla="*/ 136 h 285"/>
                  <a:gd name="T44" fmla="*/ 328 w 338"/>
                  <a:gd name="T45" fmla="*/ 132 h 285"/>
                  <a:gd name="T46" fmla="*/ 338 w 338"/>
                  <a:gd name="T47" fmla="*/ 111 h 285"/>
                  <a:gd name="T48" fmla="*/ 324 w 338"/>
                  <a:gd name="T49" fmla="*/ 94 h 285"/>
                  <a:gd name="T50" fmla="*/ 332 w 338"/>
                  <a:gd name="T51" fmla="*/ 68 h 285"/>
                  <a:gd name="T52" fmla="*/ 302 w 338"/>
                  <a:gd name="T53" fmla="*/ 58 h 285"/>
                  <a:gd name="T54" fmla="*/ 287 w 338"/>
                  <a:gd name="T55" fmla="*/ 19 h 285"/>
                  <a:gd name="T56" fmla="*/ 256 w 338"/>
                  <a:gd name="T57" fmla="*/ 5 h 285"/>
                  <a:gd name="T58" fmla="*/ 256 w 338"/>
                  <a:gd name="T59" fmla="*/ 2 h 285"/>
                  <a:gd name="T60" fmla="*/ 205 w 338"/>
                  <a:gd name="T61" fmla="*/ 0 h 285"/>
                  <a:gd name="T62" fmla="*/ 181 w 338"/>
                  <a:gd name="T63" fmla="*/ 24 h 285"/>
                  <a:gd name="T64" fmla="*/ 145 w 338"/>
                  <a:gd name="T65" fmla="*/ 2 h 285"/>
                  <a:gd name="T66" fmla="*/ 96 w 338"/>
                  <a:gd name="T67" fmla="*/ 51 h 285"/>
                  <a:gd name="T68" fmla="*/ 68 w 338"/>
                  <a:gd name="T69" fmla="*/ 22 h 285"/>
                  <a:gd name="T70" fmla="*/ 24 w 338"/>
                  <a:gd name="T71" fmla="*/ 30 h 285"/>
                  <a:gd name="T72" fmla="*/ 24 w 338"/>
                  <a:gd name="T73" fmla="*/ 34 h 285"/>
                  <a:gd name="T74" fmla="*/ 34 w 338"/>
                  <a:gd name="T75" fmla="*/ 58 h 285"/>
                  <a:gd name="T76" fmla="*/ 15 w 338"/>
                  <a:gd name="T77" fmla="*/ 60 h 285"/>
                  <a:gd name="T78" fmla="*/ 0 w 338"/>
                  <a:gd name="T79" fmla="*/ 88 h 285"/>
                  <a:gd name="T80" fmla="*/ 0 w 338"/>
                  <a:gd name="T81" fmla="*/ 9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8" h="285">
                    <a:moveTo>
                      <a:pt x="0" y="92"/>
                    </a:moveTo>
                    <a:lnTo>
                      <a:pt x="17" y="98"/>
                    </a:lnTo>
                    <a:lnTo>
                      <a:pt x="11" y="124"/>
                    </a:lnTo>
                    <a:lnTo>
                      <a:pt x="34" y="145"/>
                    </a:lnTo>
                    <a:lnTo>
                      <a:pt x="7" y="153"/>
                    </a:lnTo>
                    <a:lnTo>
                      <a:pt x="7" y="183"/>
                    </a:lnTo>
                    <a:lnTo>
                      <a:pt x="30" y="202"/>
                    </a:lnTo>
                    <a:lnTo>
                      <a:pt x="7" y="234"/>
                    </a:lnTo>
                    <a:lnTo>
                      <a:pt x="43" y="258"/>
                    </a:lnTo>
                    <a:lnTo>
                      <a:pt x="49" y="279"/>
                    </a:lnTo>
                    <a:lnTo>
                      <a:pt x="83" y="272"/>
                    </a:lnTo>
                    <a:lnTo>
                      <a:pt x="73" y="253"/>
                    </a:lnTo>
                    <a:lnTo>
                      <a:pt x="130" y="266"/>
                    </a:lnTo>
                    <a:lnTo>
                      <a:pt x="124" y="285"/>
                    </a:lnTo>
                    <a:lnTo>
                      <a:pt x="137" y="285"/>
                    </a:lnTo>
                    <a:lnTo>
                      <a:pt x="149" y="253"/>
                    </a:lnTo>
                    <a:lnTo>
                      <a:pt x="192" y="262"/>
                    </a:lnTo>
                    <a:lnTo>
                      <a:pt x="194" y="243"/>
                    </a:lnTo>
                    <a:lnTo>
                      <a:pt x="268" y="226"/>
                    </a:lnTo>
                    <a:lnTo>
                      <a:pt x="281" y="192"/>
                    </a:lnTo>
                    <a:lnTo>
                      <a:pt x="251" y="187"/>
                    </a:lnTo>
                    <a:lnTo>
                      <a:pt x="290" y="136"/>
                    </a:lnTo>
                    <a:lnTo>
                      <a:pt x="328" y="132"/>
                    </a:lnTo>
                    <a:lnTo>
                      <a:pt x="338" y="111"/>
                    </a:lnTo>
                    <a:lnTo>
                      <a:pt x="324" y="94"/>
                    </a:lnTo>
                    <a:lnTo>
                      <a:pt x="332" y="68"/>
                    </a:lnTo>
                    <a:lnTo>
                      <a:pt x="302" y="58"/>
                    </a:lnTo>
                    <a:lnTo>
                      <a:pt x="287" y="19"/>
                    </a:lnTo>
                    <a:lnTo>
                      <a:pt x="256" y="5"/>
                    </a:lnTo>
                    <a:lnTo>
                      <a:pt x="256" y="2"/>
                    </a:lnTo>
                    <a:lnTo>
                      <a:pt x="205" y="0"/>
                    </a:lnTo>
                    <a:lnTo>
                      <a:pt x="181" y="24"/>
                    </a:lnTo>
                    <a:lnTo>
                      <a:pt x="145" y="2"/>
                    </a:lnTo>
                    <a:lnTo>
                      <a:pt x="96" y="51"/>
                    </a:lnTo>
                    <a:lnTo>
                      <a:pt x="68" y="22"/>
                    </a:lnTo>
                    <a:lnTo>
                      <a:pt x="24" y="30"/>
                    </a:lnTo>
                    <a:lnTo>
                      <a:pt x="24" y="34"/>
                    </a:lnTo>
                    <a:lnTo>
                      <a:pt x="34" y="58"/>
                    </a:lnTo>
                    <a:lnTo>
                      <a:pt x="15" y="60"/>
                    </a:lnTo>
                    <a:lnTo>
                      <a:pt x="0" y="88"/>
                    </a:lnTo>
                    <a:lnTo>
                      <a:pt x="0" y="92"/>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grpSp>
        <p:grpSp>
          <p:nvGrpSpPr>
            <p:cNvPr id="147" name="Provence Alpes Côte d'Azure (N° Départements)">
              <a:extLst>
                <a:ext uri="{FF2B5EF4-FFF2-40B4-BE49-F238E27FC236}">
                  <a16:creationId xmlns:a16="http://schemas.microsoft.com/office/drawing/2014/main" id="{27442441-D557-49CC-ADE9-789F707C21B5}"/>
                </a:ext>
              </a:extLst>
            </p:cNvPr>
            <p:cNvGrpSpPr/>
            <p:nvPr/>
          </p:nvGrpSpPr>
          <p:grpSpPr>
            <a:xfrm>
              <a:off x="8118816" y="4593867"/>
              <a:ext cx="1021476" cy="810588"/>
              <a:chOff x="7365360" y="4763252"/>
              <a:chExt cx="1021476" cy="810588"/>
            </a:xfrm>
            <a:noFill/>
          </p:grpSpPr>
          <p:sp>
            <p:nvSpPr>
              <p:cNvPr id="374" name="04">
                <a:extLst>
                  <a:ext uri="{FF2B5EF4-FFF2-40B4-BE49-F238E27FC236}">
                    <a16:creationId xmlns:a16="http://schemas.microsoft.com/office/drawing/2014/main" id="{F94E7ECC-96D5-471E-9673-2FFC99B12BD1}"/>
                  </a:ext>
                </a:extLst>
              </p:cNvPr>
              <p:cNvSpPr txBox="1"/>
              <p:nvPr/>
            </p:nvSpPr>
            <p:spPr>
              <a:xfrm>
                <a:off x="7871054" y="5055445"/>
                <a:ext cx="184830" cy="166169"/>
              </a:xfrm>
              <a:prstGeom prst="rect">
                <a:avLst/>
              </a:prstGeom>
              <a:grpFill/>
            </p:spPr>
            <p:txBody>
              <a:bodyPr wrap="none" lIns="0" tIns="0" rIns="0" bIns="0" rtlCol="0">
                <a:noAutofit/>
              </a:bodyPr>
              <a:lstStyle/>
              <a:p>
                <a:r>
                  <a:rPr lang="fr-FR" sz="800">
                    <a:solidFill>
                      <a:srgbClr val="FFFFFF"/>
                    </a:solidFill>
                    <a:latin typeface="Tahoma"/>
                  </a:rPr>
                  <a:t>04</a:t>
                </a:r>
              </a:p>
            </p:txBody>
          </p:sp>
          <p:sp>
            <p:nvSpPr>
              <p:cNvPr id="375" name="06">
                <a:extLst>
                  <a:ext uri="{FF2B5EF4-FFF2-40B4-BE49-F238E27FC236}">
                    <a16:creationId xmlns:a16="http://schemas.microsoft.com/office/drawing/2014/main" id="{D3AD2E93-D8FB-44F7-BC29-2BDDA4DC89BE}"/>
                  </a:ext>
                </a:extLst>
              </p:cNvPr>
              <p:cNvSpPr txBox="1"/>
              <p:nvPr/>
            </p:nvSpPr>
            <p:spPr>
              <a:xfrm>
                <a:off x="8202006" y="5142161"/>
                <a:ext cx="184830" cy="166169"/>
              </a:xfrm>
              <a:prstGeom prst="rect">
                <a:avLst/>
              </a:prstGeom>
              <a:grpFill/>
            </p:spPr>
            <p:txBody>
              <a:bodyPr wrap="none" lIns="0" tIns="0" rIns="0" bIns="0" rtlCol="0">
                <a:noAutofit/>
              </a:bodyPr>
              <a:lstStyle/>
              <a:p>
                <a:r>
                  <a:rPr lang="fr-FR" sz="800">
                    <a:solidFill>
                      <a:srgbClr val="FFFFFF"/>
                    </a:solidFill>
                    <a:latin typeface="Tahoma"/>
                  </a:rPr>
                  <a:t>06</a:t>
                </a:r>
              </a:p>
            </p:txBody>
          </p:sp>
          <p:sp>
            <p:nvSpPr>
              <p:cNvPr id="376" name="13">
                <a:extLst>
                  <a:ext uri="{FF2B5EF4-FFF2-40B4-BE49-F238E27FC236}">
                    <a16:creationId xmlns:a16="http://schemas.microsoft.com/office/drawing/2014/main" id="{9414CE17-1E8F-4D9D-8634-933E10FB30CE}"/>
                  </a:ext>
                </a:extLst>
              </p:cNvPr>
              <p:cNvSpPr txBox="1"/>
              <p:nvPr/>
            </p:nvSpPr>
            <p:spPr>
              <a:xfrm>
                <a:off x="7365360" y="5324587"/>
                <a:ext cx="184830" cy="166169"/>
              </a:xfrm>
              <a:prstGeom prst="rect">
                <a:avLst/>
              </a:prstGeom>
              <a:grpFill/>
            </p:spPr>
            <p:txBody>
              <a:bodyPr wrap="none" lIns="0" tIns="0" rIns="0" bIns="0" rtlCol="0">
                <a:noAutofit/>
              </a:bodyPr>
              <a:lstStyle/>
              <a:p>
                <a:r>
                  <a:rPr lang="fr-FR" sz="800">
                    <a:solidFill>
                      <a:srgbClr val="503078"/>
                    </a:solidFill>
                    <a:latin typeface="Tahoma"/>
                  </a:rPr>
                  <a:t>13</a:t>
                </a:r>
              </a:p>
            </p:txBody>
          </p:sp>
          <p:sp>
            <p:nvSpPr>
              <p:cNvPr id="377" name="83">
                <a:extLst>
                  <a:ext uri="{FF2B5EF4-FFF2-40B4-BE49-F238E27FC236}">
                    <a16:creationId xmlns:a16="http://schemas.microsoft.com/office/drawing/2014/main" id="{DB29CEE6-7F3D-4DA0-8326-E25A883E2F27}"/>
                  </a:ext>
                </a:extLst>
              </p:cNvPr>
              <p:cNvSpPr txBox="1"/>
              <p:nvPr/>
            </p:nvSpPr>
            <p:spPr>
              <a:xfrm>
                <a:off x="7871054" y="5407671"/>
                <a:ext cx="184830" cy="166169"/>
              </a:xfrm>
              <a:prstGeom prst="rect">
                <a:avLst/>
              </a:prstGeom>
              <a:grpFill/>
            </p:spPr>
            <p:txBody>
              <a:bodyPr wrap="none" lIns="0" tIns="0" rIns="0" bIns="0" rtlCol="0">
                <a:noAutofit/>
              </a:bodyPr>
              <a:lstStyle/>
              <a:p>
                <a:r>
                  <a:rPr lang="fr-FR" sz="800">
                    <a:solidFill>
                      <a:srgbClr val="FFFFFF"/>
                    </a:solidFill>
                    <a:latin typeface="Tahoma"/>
                  </a:rPr>
                  <a:t>83</a:t>
                </a:r>
              </a:p>
            </p:txBody>
          </p:sp>
          <p:sp>
            <p:nvSpPr>
              <p:cNvPr id="378" name="05">
                <a:extLst>
                  <a:ext uri="{FF2B5EF4-FFF2-40B4-BE49-F238E27FC236}">
                    <a16:creationId xmlns:a16="http://schemas.microsoft.com/office/drawing/2014/main" id="{7596E6AB-FEDD-43FE-A6DB-A522253321F2}"/>
                  </a:ext>
                </a:extLst>
              </p:cNvPr>
              <p:cNvSpPr txBox="1"/>
              <p:nvPr/>
            </p:nvSpPr>
            <p:spPr>
              <a:xfrm>
                <a:off x="7871054" y="4763252"/>
                <a:ext cx="184830" cy="166169"/>
              </a:xfrm>
              <a:prstGeom prst="rect">
                <a:avLst/>
              </a:prstGeom>
              <a:grpFill/>
            </p:spPr>
            <p:txBody>
              <a:bodyPr wrap="none" lIns="0" tIns="0" rIns="0" bIns="0" rtlCol="0">
                <a:noAutofit/>
              </a:bodyPr>
              <a:lstStyle/>
              <a:p>
                <a:r>
                  <a:rPr lang="fr-FR" sz="800">
                    <a:solidFill>
                      <a:srgbClr val="FFFFFF"/>
                    </a:solidFill>
                    <a:latin typeface="Tahoma"/>
                  </a:rPr>
                  <a:t>05</a:t>
                </a:r>
              </a:p>
            </p:txBody>
          </p:sp>
          <p:sp>
            <p:nvSpPr>
              <p:cNvPr id="379" name="84">
                <a:extLst>
                  <a:ext uri="{FF2B5EF4-FFF2-40B4-BE49-F238E27FC236}">
                    <a16:creationId xmlns:a16="http://schemas.microsoft.com/office/drawing/2014/main" id="{D2A96135-5CB1-4B84-956E-8660CD5894A1}"/>
                  </a:ext>
                </a:extLst>
              </p:cNvPr>
              <p:cNvSpPr txBox="1"/>
              <p:nvPr/>
            </p:nvSpPr>
            <p:spPr>
              <a:xfrm>
                <a:off x="7443649" y="5104194"/>
                <a:ext cx="184830" cy="166169"/>
              </a:xfrm>
              <a:prstGeom prst="rect">
                <a:avLst/>
              </a:prstGeom>
              <a:grpFill/>
            </p:spPr>
            <p:txBody>
              <a:bodyPr wrap="none" lIns="0" tIns="0" rIns="0" bIns="0" rtlCol="0">
                <a:noAutofit/>
              </a:bodyPr>
              <a:lstStyle/>
              <a:p>
                <a:r>
                  <a:rPr lang="fr-FR" sz="800">
                    <a:solidFill>
                      <a:srgbClr val="FFFFFF"/>
                    </a:solidFill>
                    <a:latin typeface="Tahoma"/>
                  </a:rPr>
                  <a:t>84</a:t>
                </a:r>
              </a:p>
            </p:txBody>
          </p:sp>
        </p:grpSp>
        <p:grpSp>
          <p:nvGrpSpPr>
            <p:cNvPr id="148" name="Pays de la Loire (Formes)">
              <a:extLst>
                <a:ext uri="{FF2B5EF4-FFF2-40B4-BE49-F238E27FC236}">
                  <a16:creationId xmlns:a16="http://schemas.microsoft.com/office/drawing/2014/main" id="{E6D5B807-18E1-47B0-A8AE-D1A1B5293C60}"/>
                </a:ext>
              </a:extLst>
            </p:cNvPr>
            <p:cNvGrpSpPr/>
            <p:nvPr/>
          </p:nvGrpSpPr>
          <p:grpSpPr>
            <a:xfrm>
              <a:off x="5511575" y="2621217"/>
              <a:ext cx="1244899" cy="1187596"/>
              <a:chOff x="4758119" y="2790602"/>
              <a:chExt cx="1244899" cy="1187596"/>
            </a:xfrm>
            <a:solidFill>
              <a:srgbClr val="8C9B9C"/>
            </a:solidFill>
          </p:grpSpPr>
          <p:sp>
            <p:nvSpPr>
              <p:cNvPr id="369" name="44">
                <a:extLst>
                  <a:ext uri="{FF2B5EF4-FFF2-40B4-BE49-F238E27FC236}">
                    <a16:creationId xmlns:a16="http://schemas.microsoft.com/office/drawing/2014/main" id="{60FD616F-26C4-4D54-A883-33A9DEBD8AF1}"/>
                  </a:ext>
                </a:extLst>
              </p:cNvPr>
              <p:cNvSpPr>
                <a:spLocks/>
              </p:cNvSpPr>
              <p:nvPr/>
            </p:nvSpPr>
            <p:spPr bwMode="gray">
              <a:xfrm>
                <a:off x="4758119" y="3150176"/>
                <a:ext cx="581622" cy="504263"/>
              </a:xfrm>
              <a:custGeom>
                <a:avLst/>
                <a:gdLst>
                  <a:gd name="T0" fmla="*/ 12 w 406"/>
                  <a:gd name="T1" fmla="*/ 165 h 352"/>
                  <a:gd name="T2" fmla="*/ 2 w 406"/>
                  <a:gd name="T3" fmla="*/ 180 h 352"/>
                  <a:gd name="T4" fmla="*/ 61 w 406"/>
                  <a:gd name="T5" fmla="*/ 204 h 352"/>
                  <a:gd name="T6" fmla="*/ 91 w 406"/>
                  <a:gd name="T7" fmla="*/ 184 h 352"/>
                  <a:gd name="T8" fmla="*/ 151 w 406"/>
                  <a:gd name="T9" fmla="*/ 184 h 352"/>
                  <a:gd name="T10" fmla="*/ 187 w 406"/>
                  <a:gd name="T11" fmla="*/ 221 h 352"/>
                  <a:gd name="T12" fmla="*/ 127 w 406"/>
                  <a:gd name="T13" fmla="*/ 189 h 352"/>
                  <a:gd name="T14" fmla="*/ 93 w 406"/>
                  <a:gd name="T15" fmla="*/ 195 h 352"/>
                  <a:gd name="T16" fmla="*/ 91 w 406"/>
                  <a:gd name="T17" fmla="*/ 233 h 352"/>
                  <a:gd name="T18" fmla="*/ 70 w 406"/>
                  <a:gd name="T19" fmla="*/ 242 h 352"/>
                  <a:gd name="T20" fmla="*/ 136 w 406"/>
                  <a:gd name="T21" fmla="*/ 284 h 352"/>
                  <a:gd name="T22" fmla="*/ 193 w 406"/>
                  <a:gd name="T23" fmla="*/ 340 h 352"/>
                  <a:gd name="T24" fmla="*/ 238 w 406"/>
                  <a:gd name="T25" fmla="*/ 352 h 352"/>
                  <a:gd name="T26" fmla="*/ 250 w 406"/>
                  <a:gd name="T27" fmla="*/ 346 h 352"/>
                  <a:gd name="T28" fmla="*/ 240 w 406"/>
                  <a:gd name="T29" fmla="*/ 295 h 352"/>
                  <a:gd name="T30" fmla="*/ 255 w 406"/>
                  <a:gd name="T31" fmla="*/ 289 h 352"/>
                  <a:gd name="T32" fmla="*/ 261 w 406"/>
                  <a:gd name="T33" fmla="*/ 331 h 352"/>
                  <a:gd name="T34" fmla="*/ 312 w 406"/>
                  <a:gd name="T35" fmla="*/ 278 h 352"/>
                  <a:gd name="T36" fmla="*/ 342 w 406"/>
                  <a:gd name="T37" fmla="*/ 299 h 352"/>
                  <a:gd name="T38" fmla="*/ 350 w 406"/>
                  <a:gd name="T39" fmla="*/ 287 h 352"/>
                  <a:gd name="T40" fmla="*/ 316 w 406"/>
                  <a:gd name="T41" fmla="*/ 272 h 352"/>
                  <a:gd name="T42" fmla="*/ 342 w 406"/>
                  <a:gd name="T43" fmla="*/ 244 h 352"/>
                  <a:gd name="T44" fmla="*/ 338 w 406"/>
                  <a:gd name="T45" fmla="*/ 221 h 352"/>
                  <a:gd name="T46" fmla="*/ 299 w 406"/>
                  <a:gd name="T47" fmla="*/ 195 h 352"/>
                  <a:gd name="T48" fmla="*/ 299 w 406"/>
                  <a:gd name="T49" fmla="*/ 193 h 352"/>
                  <a:gd name="T50" fmla="*/ 406 w 406"/>
                  <a:gd name="T51" fmla="*/ 167 h 352"/>
                  <a:gd name="T52" fmla="*/ 393 w 406"/>
                  <a:gd name="T53" fmla="*/ 131 h 352"/>
                  <a:gd name="T54" fmla="*/ 348 w 406"/>
                  <a:gd name="T55" fmla="*/ 121 h 352"/>
                  <a:gd name="T56" fmla="*/ 348 w 406"/>
                  <a:gd name="T57" fmla="*/ 102 h 352"/>
                  <a:gd name="T58" fmla="*/ 389 w 406"/>
                  <a:gd name="T59" fmla="*/ 97 h 352"/>
                  <a:gd name="T60" fmla="*/ 357 w 406"/>
                  <a:gd name="T61" fmla="*/ 82 h 352"/>
                  <a:gd name="T62" fmla="*/ 331 w 406"/>
                  <a:gd name="T63" fmla="*/ 25 h 352"/>
                  <a:gd name="T64" fmla="*/ 280 w 406"/>
                  <a:gd name="T65" fmla="*/ 0 h 352"/>
                  <a:gd name="T66" fmla="*/ 229 w 406"/>
                  <a:gd name="T67" fmla="*/ 40 h 352"/>
                  <a:gd name="T68" fmla="*/ 153 w 406"/>
                  <a:gd name="T69" fmla="*/ 44 h 352"/>
                  <a:gd name="T70" fmla="*/ 119 w 406"/>
                  <a:gd name="T71" fmla="*/ 63 h 352"/>
                  <a:gd name="T72" fmla="*/ 102 w 406"/>
                  <a:gd name="T73" fmla="*/ 112 h 352"/>
                  <a:gd name="T74" fmla="*/ 68 w 406"/>
                  <a:gd name="T75" fmla="*/ 104 h 352"/>
                  <a:gd name="T76" fmla="*/ 63 w 406"/>
                  <a:gd name="T77" fmla="*/ 121 h 352"/>
                  <a:gd name="T78" fmla="*/ 25 w 406"/>
                  <a:gd name="T79" fmla="*/ 123 h 352"/>
                  <a:gd name="T80" fmla="*/ 29 w 406"/>
                  <a:gd name="T81" fmla="*/ 138 h 352"/>
                  <a:gd name="T82" fmla="*/ 0 w 406"/>
                  <a:gd name="T83" fmla="*/ 148 h 352"/>
                  <a:gd name="T84" fmla="*/ 12 w 406"/>
                  <a:gd name="T85" fmla="*/ 165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6" h="352">
                    <a:moveTo>
                      <a:pt x="12" y="165"/>
                    </a:moveTo>
                    <a:lnTo>
                      <a:pt x="2" y="180"/>
                    </a:lnTo>
                    <a:lnTo>
                      <a:pt x="61" y="204"/>
                    </a:lnTo>
                    <a:lnTo>
                      <a:pt x="91" y="184"/>
                    </a:lnTo>
                    <a:lnTo>
                      <a:pt x="151" y="184"/>
                    </a:lnTo>
                    <a:lnTo>
                      <a:pt x="187" y="221"/>
                    </a:lnTo>
                    <a:lnTo>
                      <a:pt x="127" y="189"/>
                    </a:lnTo>
                    <a:lnTo>
                      <a:pt x="93" y="195"/>
                    </a:lnTo>
                    <a:lnTo>
                      <a:pt x="91" y="233"/>
                    </a:lnTo>
                    <a:lnTo>
                      <a:pt x="70" y="242"/>
                    </a:lnTo>
                    <a:lnTo>
                      <a:pt x="136" y="284"/>
                    </a:lnTo>
                    <a:lnTo>
                      <a:pt x="193" y="340"/>
                    </a:lnTo>
                    <a:lnTo>
                      <a:pt x="238" y="352"/>
                    </a:lnTo>
                    <a:lnTo>
                      <a:pt x="250" y="346"/>
                    </a:lnTo>
                    <a:lnTo>
                      <a:pt x="240" y="295"/>
                    </a:lnTo>
                    <a:lnTo>
                      <a:pt x="255" y="289"/>
                    </a:lnTo>
                    <a:lnTo>
                      <a:pt x="261" y="331"/>
                    </a:lnTo>
                    <a:lnTo>
                      <a:pt x="312" y="278"/>
                    </a:lnTo>
                    <a:lnTo>
                      <a:pt x="342" y="299"/>
                    </a:lnTo>
                    <a:lnTo>
                      <a:pt x="350" y="287"/>
                    </a:lnTo>
                    <a:lnTo>
                      <a:pt x="316" y="272"/>
                    </a:lnTo>
                    <a:lnTo>
                      <a:pt x="342" y="244"/>
                    </a:lnTo>
                    <a:lnTo>
                      <a:pt x="338" y="221"/>
                    </a:lnTo>
                    <a:lnTo>
                      <a:pt x="299" y="195"/>
                    </a:lnTo>
                    <a:lnTo>
                      <a:pt x="299" y="193"/>
                    </a:lnTo>
                    <a:lnTo>
                      <a:pt x="406" y="167"/>
                    </a:lnTo>
                    <a:lnTo>
                      <a:pt x="393" y="131"/>
                    </a:lnTo>
                    <a:lnTo>
                      <a:pt x="348" y="121"/>
                    </a:lnTo>
                    <a:lnTo>
                      <a:pt x="348" y="102"/>
                    </a:lnTo>
                    <a:lnTo>
                      <a:pt x="389" y="97"/>
                    </a:lnTo>
                    <a:lnTo>
                      <a:pt x="357" y="82"/>
                    </a:lnTo>
                    <a:lnTo>
                      <a:pt x="331" y="25"/>
                    </a:lnTo>
                    <a:lnTo>
                      <a:pt x="280" y="0"/>
                    </a:lnTo>
                    <a:lnTo>
                      <a:pt x="229" y="40"/>
                    </a:lnTo>
                    <a:lnTo>
                      <a:pt x="153" y="44"/>
                    </a:lnTo>
                    <a:lnTo>
                      <a:pt x="119" y="63"/>
                    </a:lnTo>
                    <a:lnTo>
                      <a:pt x="102" y="112"/>
                    </a:lnTo>
                    <a:lnTo>
                      <a:pt x="68" y="104"/>
                    </a:lnTo>
                    <a:lnTo>
                      <a:pt x="63" y="121"/>
                    </a:lnTo>
                    <a:lnTo>
                      <a:pt x="25" y="123"/>
                    </a:lnTo>
                    <a:lnTo>
                      <a:pt x="29" y="138"/>
                    </a:lnTo>
                    <a:lnTo>
                      <a:pt x="0" y="148"/>
                    </a:lnTo>
                    <a:lnTo>
                      <a:pt x="12" y="165"/>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70" name="72">
                <a:extLst>
                  <a:ext uri="{FF2B5EF4-FFF2-40B4-BE49-F238E27FC236}">
                    <a16:creationId xmlns:a16="http://schemas.microsoft.com/office/drawing/2014/main" id="{774FFCF5-AC0A-4D15-9B6C-D56E84F0E573}"/>
                  </a:ext>
                </a:extLst>
              </p:cNvPr>
              <p:cNvSpPr>
                <a:spLocks/>
              </p:cNvSpPr>
              <p:nvPr/>
            </p:nvSpPr>
            <p:spPr bwMode="gray">
              <a:xfrm>
                <a:off x="5518811" y="2842174"/>
                <a:ext cx="484207" cy="478477"/>
              </a:xfrm>
              <a:custGeom>
                <a:avLst/>
                <a:gdLst>
                  <a:gd name="T0" fmla="*/ 2 w 338"/>
                  <a:gd name="T1" fmla="*/ 234 h 334"/>
                  <a:gd name="T2" fmla="*/ 13 w 338"/>
                  <a:gd name="T3" fmla="*/ 255 h 334"/>
                  <a:gd name="T4" fmla="*/ 17 w 338"/>
                  <a:gd name="T5" fmla="*/ 272 h 334"/>
                  <a:gd name="T6" fmla="*/ 64 w 338"/>
                  <a:gd name="T7" fmla="*/ 276 h 334"/>
                  <a:gd name="T8" fmla="*/ 60 w 338"/>
                  <a:gd name="T9" fmla="*/ 300 h 334"/>
                  <a:gd name="T10" fmla="*/ 83 w 338"/>
                  <a:gd name="T11" fmla="*/ 293 h 334"/>
                  <a:gd name="T12" fmla="*/ 142 w 338"/>
                  <a:gd name="T13" fmla="*/ 327 h 334"/>
                  <a:gd name="T14" fmla="*/ 162 w 338"/>
                  <a:gd name="T15" fmla="*/ 319 h 334"/>
                  <a:gd name="T16" fmla="*/ 198 w 338"/>
                  <a:gd name="T17" fmla="*/ 334 h 334"/>
                  <a:gd name="T18" fmla="*/ 202 w 338"/>
                  <a:gd name="T19" fmla="*/ 308 h 334"/>
                  <a:gd name="T20" fmla="*/ 217 w 338"/>
                  <a:gd name="T21" fmla="*/ 317 h 334"/>
                  <a:gd name="T22" fmla="*/ 259 w 338"/>
                  <a:gd name="T23" fmla="*/ 291 h 334"/>
                  <a:gd name="T24" fmla="*/ 255 w 338"/>
                  <a:gd name="T25" fmla="*/ 293 h 334"/>
                  <a:gd name="T26" fmla="*/ 251 w 338"/>
                  <a:gd name="T27" fmla="*/ 285 h 334"/>
                  <a:gd name="T28" fmla="*/ 298 w 338"/>
                  <a:gd name="T29" fmla="*/ 242 h 334"/>
                  <a:gd name="T30" fmla="*/ 295 w 338"/>
                  <a:gd name="T31" fmla="*/ 219 h 334"/>
                  <a:gd name="T32" fmla="*/ 312 w 338"/>
                  <a:gd name="T33" fmla="*/ 219 h 334"/>
                  <a:gd name="T34" fmla="*/ 306 w 338"/>
                  <a:gd name="T35" fmla="*/ 157 h 334"/>
                  <a:gd name="T36" fmla="*/ 321 w 338"/>
                  <a:gd name="T37" fmla="*/ 142 h 334"/>
                  <a:gd name="T38" fmla="*/ 338 w 338"/>
                  <a:gd name="T39" fmla="*/ 127 h 334"/>
                  <a:gd name="T40" fmla="*/ 308 w 338"/>
                  <a:gd name="T41" fmla="*/ 110 h 334"/>
                  <a:gd name="T42" fmla="*/ 215 w 338"/>
                  <a:gd name="T43" fmla="*/ 61 h 334"/>
                  <a:gd name="T44" fmla="*/ 213 w 338"/>
                  <a:gd name="T45" fmla="*/ 21 h 334"/>
                  <a:gd name="T46" fmla="*/ 189 w 338"/>
                  <a:gd name="T47" fmla="*/ 0 h 334"/>
                  <a:gd name="T48" fmla="*/ 106 w 338"/>
                  <a:gd name="T49" fmla="*/ 36 h 334"/>
                  <a:gd name="T50" fmla="*/ 79 w 338"/>
                  <a:gd name="T51" fmla="*/ 51 h 334"/>
                  <a:gd name="T52" fmla="*/ 79 w 338"/>
                  <a:gd name="T53" fmla="*/ 98 h 334"/>
                  <a:gd name="T54" fmla="*/ 53 w 338"/>
                  <a:gd name="T55" fmla="*/ 112 h 334"/>
                  <a:gd name="T56" fmla="*/ 55 w 338"/>
                  <a:gd name="T57" fmla="*/ 149 h 334"/>
                  <a:gd name="T58" fmla="*/ 30 w 338"/>
                  <a:gd name="T59" fmla="*/ 153 h 334"/>
                  <a:gd name="T60" fmla="*/ 40 w 338"/>
                  <a:gd name="T61" fmla="*/ 187 h 334"/>
                  <a:gd name="T62" fmla="*/ 11 w 338"/>
                  <a:gd name="T63" fmla="*/ 200 h 334"/>
                  <a:gd name="T64" fmla="*/ 19 w 338"/>
                  <a:gd name="T65" fmla="*/ 215 h 334"/>
                  <a:gd name="T66" fmla="*/ 0 w 338"/>
                  <a:gd name="T67" fmla="*/ 229 h 334"/>
                  <a:gd name="T68" fmla="*/ 2 w 338"/>
                  <a:gd name="T69" fmla="*/ 2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8" h="334">
                    <a:moveTo>
                      <a:pt x="2" y="234"/>
                    </a:moveTo>
                    <a:lnTo>
                      <a:pt x="13" y="255"/>
                    </a:lnTo>
                    <a:lnTo>
                      <a:pt x="17" y="272"/>
                    </a:lnTo>
                    <a:lnTo>
                      <a:pt x="64" y="276"/>
                    </a:lnTo>
                    <a:lnTo>
                      <a:pt x="60" y="300"/>
                    </a:lnTo>
                    <a:lnTo>
                      <a:pt x="83" y="293"/>
                    </a:lnTo>
                    <a:lnTo>
                      <a:pt x="142" y="327"/>
                    </a:lnTo>
                    <a:lnTo>
                      <a:pt x="162" y="319"/>
                    </a:lnTo>
                    <a:lnTo>
                      <a:pt x="198" y="334"/>
                    </a:lnTo>
                    <a:lnTo>
                      <a:pt x="202" y="308"/>
                    </a:lnTo>
                    <a:lnTo>
                      <a:pt x="217" y="317"/>
                    </a:lnTo>
                    <a:lnTo>
                      <a:pt x="259" y="291"/>
                    </a:lnTo>
                    <a:lnTo>
                      <a:pt x="255" y="293"/>
                    </a:lnTo>
                    <a:lnTo>
                      <a:pt x="251" y="285"/>
                    </a:lnTo>
                    <a:lnTo>
                      <a:pt x="298" y="242"/>
                    </a:lnTo>
                    <a:lnTo>
                      <a:pt x="295" y="219"/>
                    </a:lnTo>
                    <a:lnTo>
                      <a:pt x="312" y="219"/>
                    </a:lnTo>
                    <a:lnTo>
                      <a:pt x="306" y="157"/>
                    </a:lnTo>
                    <a:lnTo>
                      <a:pt x="321" y="142"/>
                    </a:lnTo>
                    <a:lnTo>
                      <a:pt x="338" y="127"/>
                    </a:lnTo>
                    <a:lnTo>
                      <a:pt x="308" y="110"/>
                    </a:lnTo>
                    <a:lnTo>
                      <a:pt x="215" y="61"/>
                    </a:lnTo>
                    <a:lnTo>
                      <a:pt x="213" y="21"/>
                    </a:lnTo>
                    <a:lnTo>
                      <a:pt x="189" y="0"/>
                    </a:lnTo>
                    <a:lnTo>
                      <a:pt x="106" y="36"/>
                    </a:lnTo>
                    <a:lnTo>
                      <a:pt x="79" y="51"/>
                    </a:lnTo>
                    <a:lnTo>
                      <a:pt x="79" y="98"/>
                    </a:lnTo>
                    <a:lnTo>
                      <a:pt x="53" y="112"/>
                    </a:lnTo>
                    <a:lnTo>
                      <a:pt x="55" y="149"/>
                    </a:lnTo>
                    <a:lnTo>
                      <a:pt x="30" y="153"/>
                    </a:lnTo>
                    <a:lnTo>
                      <a:pt x="40" y="187"/>
                    </a:lnTo>
                    <a:lnTo>
                      <a:pt x="11" y="200"/>
                    </a:lnTo>
                    <a:lnTo>
                      <a:pt x="19" y="215"/>
                    </a:lnTo>
                    <a:lnTo>
                      <a:pt x="0" y="229"/>
                    </a:lnTo>
                    <a:lnTo>
                      <a:pt x="2" y="234"/>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71" name="53">
                <a:extLst>
                  <a:ext uri="{FF2B5EF4-FFF2-40B4-BE49-F238E27FC236}">
                    <a16:creationId xmlns:a16="http://schemas.microsoft.com/office/drawing/2014/main" id="{67A2B7CE-872E-430A-A74D-DEFD82517304}"/>
                  </a:ext>
                </a:extLst>
              </p:cNvPr>
              <p:cNvSpPr>
                <a:spLocks/>
              </p:cNvSpPr>
              <p:nvPr/>
            </p:nvSpPr>
            <p:spPr bwMode="gray">
              <a:xfrm>
                <a:off x="5238028" y="2790602"/>
                <a:ext cx="435500" cy="428337"/>
              </a:xfrm>
              <a:custGeom>
                <a:avLst/>
                <a:gdLst>
                  <a:gd name="T0" fmla="*/ 0 w 304"/>
                  <a:gd name="T1" fmla="*/ 263 h 299"/>
                  <a:gd name="T2" fmla="*/ 143 w 304"/>
                  <a:gd name="T3" fmla="*/ 299 h 299"/>
                  <a:gd name="T4" fmla="*/ 181 w 304"/>
                  <a:gd name="T5" fmla="*/ 282 h 299"/>
                  <a:gd name="T6" fmla="*/ 209 w 304"/>
                  <a:gd name="T7" fmla="*/ 291 h 299"/>
                  <a:gd name="T8" fmla="*/ 198 w 304"/>
                  <a:gd name="T9" fmla="*/ 270 h 299"/>
                  <a:gd name="T10" fmla="*/ 196 w 304"/>
                  <a:gd name="T11" fmla="*/ 265 h 299"/>
                  <a:gd name="T12" fmla="*/ 215 w 304"/>
                  <a:gd name="T13" fmla="*/ 251 h 299"/>
                  <a:gd name="T14" fmla="*/ 207 w 304"/>
                  <a:gd name="T15" fmla="*/ 236 h 299"/>
                  <a:gd name="T16" fmla="*/ 236 w 304"/>
                  <a:gd name="T17" fmla="*/ 223 h 299"/>
                  <a:gd name="T18" fmla="*/ 226 w 304"/>
                  <a:gd name="T19" fmla="*/ 189 h 299"/>
                  <a:gd name="T20" fmla="*/ 251 w 304"/>
                  <a:gd name="T21" fmla="*/ 185 h 299"/>
                  <a:gd name="T22" fmla="*/ 249 w 304"/>
                  <a:gd name="T23" fmla="*/ 148 h 299"/>
                  <a:gd name="T24" fmla="*/ 275 w 304"/>
                  <a:gd name="T25" fmla="*/ 134 h 299"/>
                  <a:gd name="T26" fmla="*/ 275 w 304"/>
                  <a:gd name="T27" fmla="*/ 87 h 299"/>
                  <a:gd name="T28" fmla="*/ 302 w 304"/>
                  <a:gd name="T29" fmla="*/ 72 h 299"/>
                  <a:gd name="T30" fmla="*/ 304 w 304"/>
                  <a:gd name="T31" fmla="*/ 44 h 299"/>
                  <a:gd name="T32" fmla="*/ 283 w 304"/>
                  <a:gd name="T33" fmla="*/ 42 h 299"/>
                  <a:gd name="T34" fmla="*/ 281 w 304"/>
                  <a:gd name="T35" fmla="*/ 15 h 299"/>
                  <a:gd name="T36" fmla="*/ 260 w 304"/>
                  <a:gd name="T37" fmla="*/ 0 h 299"/>
                  <a:gd name="T38" fmla="*/ 230 w 304"/>
                  <a:gd name="T39" fmla="*/ 27 h 299"/>
                  <a:gd name="T40" fmla="*/ 207 w 304"/>
                  <a:gd name="T41" fmla="*/ 17 h 299"/>
                  <a:gd name="T42" fmla="*/ 158 w 304"/>
                  <a:gd name="T43" fmla="*/ 40 h 299"/>
                  <a:gd name="T44" fmla="*/ 153 w 304"/>
                  <a:gd name="T45" fmla="*/ 25 h 299"/>
                  <a:gd name="T46" fmla="*/ 132 w 304"/>
                  <a:gd name="T47" fmla="*/ 40 h 299"/>
                  <a:gd name="T48" fmla="*/ 109 w 304"/>
                  <a:gd name="T49" fmla="*/ 19 h 299"/>
                  <a:gd name="T50" fmla="*/ 56 w 304"/>
                  <a:gd name="T51" fmla="*/ 12 h 299"/>
                  <a:gd name="T52" fmla="*/ 58 w 304"/>
                  <a:gd name="T53" fmla="*/ 78 h 299"/>
                  <a:gd name="T54" fmla="*/ 45 w 304"/>
                  <a:gd name="T55" fmla="*/ 100 h 299"/>
                  <a:gd name="T56" fmla="*/ 60 w 304"/>
                  <a:gd name="T57" fmla="*/ 191 h 299"/>
                  <a:gd name="T58" fmla="*/ 26 w 304"/>
                  <a:gd name="T59" fmla="*/ 206 h 299"/>
                  <a:gd name="T60" fmla="*/ 0 w 304"/>
                  <a:gd name="T61" fmla="*/ 261 h 299"/>
                  <a:gd name="T62" fmla="*/ 0 w 304"/>
                  <a:gd name="T63" fmla="*/ 26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4" h="299">
                    <a:moveTo>
                      <a:pt x="0" y="263"/>
                    </a:moveTo>
                    <a:lnTo>
                      <a:pt x="143" y="299"/>
                    </a:lnTo>
                    <a:lnTo>
                      <a:pt x="181" y="282"/>
                    </a:lnTo>
                    <a:lnTo>
                      <a:pt x="209" y="291"/>
                    </a:lnTo>
                    <a:lnTo>
                      <a:pt x="198" y="270"/>
                    </a:lnTo>
                    <a:lnTo>
                      <a:pt x="196" y="265"/>
                    </a:lnTo>
                    <a:lnTo>
                      <a:pt x="215" y="251"/>
                    </a:lnTo>
                    <a:lnTo>
                      <a:pt x="207" y="236"/>
                    </a:lnTo>
                    <a:lnTo>
                      <a:pt x="236" y="223"/>
                    </a:lnTo>
                    <a:lnTo>
                      <a:pt x="226" y="189"/>
                    </a:lnTo>
                    <a:lnTo>
                      <a:pt x="251" y="185"/>
                    </a:lnTo>
                    <a:lnTo>
                      <a:pt x="249" y="148"/>
                    </a:lnTo>
                    <a:lnTo>
                      <a:pt x="275" y="134"/>
                    </a:lnTo>
                    <a:lnTo>
                      <a:pt x="275" y="87"/>
                    </a:lnTo>
                    <a:lnTo>
                      <a:pt x="302" y="72"/>
                    </a:lnTo>
                    <a:lnTo>
                      <a:pt x="304" y="44"/>
                    </a:lnTo>
                    <a:lnTo>
                      <a:pt x="283" y="42"/>
                    </a:lnTo>
                    <a:lnTo>
                      <a:pt x="281" y="15"/>
                    </a:lnTo>
                    <a:lnTo>
                      <a:pt x="260" y="0"/>
                    </a:lnTo>
                    <a:lnTo>
                      <a:pt x="230" y="27"/>
                    </a:lnTo>
                    <a:lnTo>
                      <a:pt x="207" y="17"/>
                    </a:lnTo>
                    <a:lnTo>
                      <a:pt x="158" y="40"/>
                    </a:lnTo>
                    <a:lnTo>
                      <a:pt x="153" y="25"/>
                    </a:lnTo>
                    <a:lnTo>
                      <a:pt x="132" y="40"/>
                    </a:lnTo>
                    <a:lnTo>
                      <a:pt x="109" y="19"/>
                    </a:lnTo>
                    <a:lnTo>
                      <a:pt x="56" y="12"/>
                    </a:lnTo>
                    <a:lnTo>
                      <a:pt x="58" y="78"/>
                    </a:lnTo>
                    <a:lnTo>
                      <a:pt x="45" y="100"/>
                    </a:lnTo>
                    <a:lnTo>
                      <a:pt x="60" y="191"/>
                    </a:lnTo>
                    <a:lnTo>
                      <a:pt x="26" y="206"/>
                    </a:lnTo>
                    <a:lnTo>
                      <a:pt x="0" y="261"/>
                    </a:lnTo>
                    <a:lnTo>
                      <a:pt x="0" y="263"/>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72" name="49">
                <a:extLst>
                  <a:ext uri="{FF2B5EF4-FFF2-40B4-BE49-F238E27FC236}">
                    <a16:creationId xmlns:a16="http://schemas.microsoft.com/office/drawing/2014/main" id="{A3BBCA34-60C8-48CB-B795-E0F395157106}"/>
                  </a:ext>
                </a:extLst>
              </p:cNvPr>
              <p:cNvSpPr>
                <a:spLocks/>
              </p:cNvSpPr>
              <p:nvPr/>
            </p:nvSpPr>
            <p:spPr bwMode="gray">
              <a:xfrm>
                <a:off x="5186456" y="3167367"/>
                <a:ext cx="564430" cy="442663"/>
              </a:xfrm>
              <a:custGeom>
                <a:avLst/>
                <a:gdLst>
                  <a:gd name="T0" fmla="*/ 0 w 394"/>
                  <a:gd name="T1" fmla="*/ 181 h 309"/>
                  <a:gd name="T2" fmla="*/ 107 w 394"/>
                  <a:gd name="T3" fmla="*/ 155 h 309"/>
                  <a:gd name="T4" fmla="*/ 94 w 394"/>
                  <a:gd name="T5" fmla="*/ 119 h 309"/>
                  <a:gd name="T6" fmla="*/ 49 w 394"/>
                  <a:gd name="T7" fmla="*/ 109 h 309"/>
                  <a:gd name="T8" fmla="*/ 49 w 394"/>
                  <a:gd name="T9" fmla="*/ 90 h 309"/>
                  <a:gd name="T10" fmla="*/ 90 w 394"/>
                  <a:gd name="T11" fmla="*/ 85 h 309"/>
                  <a:gd name="T12" fmla="*/ 58 w 394"/>
                  <a:gd name="T13" fmla="*/ 70 h 309"/>
                  <a:gd name="T14" fmla="*/ 32 w 394"/>
                  <a:gd name="T15" fmla="*/ 13 h 309"/>
                  <a:gd name="T16" fmla="*/ 36 w 394"/>
                  <a:gd name="T17" fmla="*/ 0 h 309"/>
                  <a:gd name="T18" fmla="*/ 179 w 394"/>
                  <a:gd name="T19" fmla="*/ 36 h 309"/>
                  <a:gd name="T20" fmla="*/ 217 w 394"/>
                  <a:gd name="T21" fmla="*/ 19 h 309"/>
                  <a:gd name="T22" fmla="*/ 245 w 394"/>
                  <a:gd name="T23" fmla="*/ 28 h 309"/>
                  <a:gd name="T24" fmla="*/ 249 w 394"/>
                  <a:gd name="T25" fmla="*/ 45 h 309"/>
                  <a:gd name="T26" fmla="*/ 296 w 394"/>
                  <a:gd name="T27" fmla="*/ 49 h 309"/>
                  <a:gd name="T28" fmla="*/ 292 w 394"/>
                  <a:gd name="T29" fmla="*/ 73 h 309"/>
                  <a:gd name="T30" fmla="*/ 315 w 394"/>
                  <a:gd name="T31" fmla="*/ 66 h 309"/>
                  <a:gd name="T32" fmla="*/ 374 w 394"/>
                  <a:gd name="T33" fmla="*/ 100 h 309"/>
                  <a:gd name="T34" fmla="*/ 394 w 394"/>
                  <a:gd name="T35" fmla="*/ 92 h 309"/>
                  <a:gd name="T36" fmla="*/ 345 w 394"/>
                  <a:gd name="T37" fmla="*/ 251 h 309"/>
                  <a:gd name="T38" fmla="*/ 304 w 394"/>
                  <a:gd name="T39" fmla="*/ 287 h 309"/>
                  <a:gd name="T40" fmla="*/ 285 w 394"/>
                  <a:gd name="T41" fmla="*/ 270 h 309"/>
                  <a:gd name="T42" fmla="*/ 211 w 394"/>
                  <a:gd name="T43" fmla="*/ 287 h 309"/>
                  <a:gd name="T44" fmla="*/ 204 w 394"/>
                  <a:gd name="T45" fmla="*/ 277 h 309"/>
                  <a:gd name="T46" fmla="*/ 175 w 394"/>
                  <a:gd name="T47" fmla="*/ 306 h 309"/>
                  <a:gd name="T48" fmla="*/ 107 w 394"/>
                  <a:gd name="T49" fmla="*/ 309 h 309"/>
                  <a:gd name="T50" fmla="*/ 43 w 394"/>
                  <a:gd name="T51" fmla="*/ 287 h 309"/>
                  <a:gd name="T52" fmla="*/ 51 w 394"/>
                  <a:gd name="T53" fmla="*/ 275 h 309"/>
                  <a:gd name="T54" fmla="*/ 17 w 394"/>
                  <a:gd name="T55" fmla="*/ 260 h 309"/>
                  <a:gd name="T56" fmla="*/ 43 w 394"/>
                  <a:gd name="T57" fmla="*/ 232 h 309"/>
                  <a:gd name="T58" fmla="*/ 39 w 394"/>
                  <a:gd name="T59" fmla="*/ 209 h 309"/>
                  <a:gd name="T60" fmla="*/ 0 w 394"/>
                  <a:gd name="T61" fmla="*/ 183 h 309"/>
                  <a:gd name="T62" fmla="*/ 0 w 394"/>
                  <a:gd name="T63" fmla="*/ 18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309">
                    <a:moveTo>
                      <a:pt x="0" y="181"/>
                    </a:moveTo>
                    <a:lnTo>
                      <a:pt x="107" y="155"/>
                    </a:lnTo>
                    <a:lnTo>
                      <a:pt x="94" y="119"/>
                    </a:lnTo>
                    <a:lnTo>
                      <a:pt x="49" y="109"/>
                    </a:lnTo>
                    <a:lnTo>
                      <a:pt x="49" y="90"/>
                    </a:lnTo>
                    <a:lnTo>
                      <a:pt x="90" y="85"/>
                    </a:lnTo>
                    <a:lnTo>
                      <a:pt x="58" y="70"/>
                    </a:lnTo>
                    <a:lnTo>
                      <a:pt x="32" y="13"/>
                    </a:lnTo>
                    <a:lnTo>
                      <a:pt x="36" y="0"/>
                    </a:lnTo>
                    <a:lnTo>
                      <a:pt x="179" y="36"/>
                    </a:lnTo>
                    <a:lnTo>
                      <a:pt x="217" y="19"/>
                    </a:lnTo>
                    <a:lnTo>
                      <a:pt x="245" y="28"/>
                    </a:lnTo>
                    <a:lnTo>
                      <a:pt x="249" y="45"/>
                    </a:lnTo>
                    <a:lnTo>
                      <a:pt x="296" y="49"/>
                    </a:lnTo>
                    <a:lnTo>
                      <a:pt x="292" y="73"/>
                    </a:lnTo>
                    <a:lnTo>
                      <a:pt x="315" y="66"/>
                    </a:lnTo>
                    <a:lnTo>
                      <a:pt x="374" y="100"/>
                    </a:lnTo>
                    <a:lnTo>
                      <a:pt x="394" y="92"/>
                    </a:lnTo>
                    <a:lnTo>
                      <a:pt x="345" y="251"/>
                    </a:lnTo>
                    <a:lnTo>
                      <a:pt x="304" y="287"/>
                    </a:lnTo>
                    <a:lnTo>
                      <a:pt x="285" y="270"/>
                    </a:lnTo>
                    <a:lnTo>
                      <a:pt x="211" y="287"/>
                    </a:lnTo>
                    <a:lnTo>
                      <a:pt x="204" y="277"/>
                    </a:lnTo>
                    <a:lnTo>
                      <a:pt x="175" y="306"/>
                    </a:lnTo>
                    <a:lnTo>
                      <a:pt x="107" y="309"/>
                    </a:lnTo>
                    <a:lnTo>
                      <a:pt x="43" y="287"/>
                    </a:lnTo>
                    <a:lnTo>
                      <a:pt x="51" y="275"/>
                    </a:lnTo>
                    <a:lnTo>
                      <a:pt x="17" y="260"/>
                    </a:lnTo>
                    <a:lnTo>
                      <a:pt x="43" y="232"/>
                    </a:lnTo>
                    <a:lnTo>
                      <a:pt x="39" y="209"/>
                    </a:lnTo>
                    <a:lnTo>
                      <a:pt x="0" y="183"/>
                    </a:lnTo>
                    <a:lnTo>
                      <a:pt x="0" y="181"/>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73" name="85">
                <a:extLst>
                  <a:ext uri="{FF2B5EF4-FFF2-40B4-BE49-F238E27FC236}">
                    <a16:creationId xmlns:a16="http://schemas.microsoft.com/office/drawing/2014/main" id="{F06DAD6F-9DA6-41B6-8400-7C0B3FCFDB6D}"/>
                  </a:ext>
                </a:extLst>
              </p:cNvPr>
              <p:cNvSpPr>
                <a:spLocks/>
              </p:cNvSpPr>
              <p:nvPr/>
            </p:nvSpPr>
            <p:spPr bwMode="gray">
              <a:xfrm>
                <a:off x="4882752" y="3548429"/>
                <a:ext cx="565863" cy="429769"/>
              </a:xfrm>
              <a:custGeom>
                <a:avLst/>
                <a:gdLst>
                  <a:gd name="T0" fmla="*/ 49 w 395"/>
                  <a:gd name="T1" fmla="*/ 6 h 300"/>
                  <a:gd name="T2" fmla="*/ 106 w 395"/>
                  <a:gd name="T3" fmla="*/ 62 h 300"/>
                  <a:gd name="T4" fmla="*/ 151 w 395"/>
                  <a:gd name="T5" fmla="*/ 74 h 300"/>
                  <a:gd name="T6" fmla="*/ 163 w 395"/>
                  <a:gd name="T7" fmla="*/ 68 h 300"/>
                  <a:gd name="T8" fmla="*/ 153 w 395"/>
                  <a:gd name="T9" fmla="*/ 17 h 300"/>
                  <a:gd name="T10" fmla="*/ 168 w 395"/>
                  <a:gd name="T11" fmla="*/ 11 h 300"/>
                  <a:gd name="T12" fmla="*/ 174 w 395"/>
                  <a:gd name="T13" fmla="*/ 53 h 300"/>
                  <a:gd name="T14" fmla="*/ 225 w 395"/>
                  <a:gd name="T15" fmla="*/ 0 h 300"/>
                  <a:gd name="T16" fmla="*/ 255 w 395"/>
                  <a:gd name="T17" fmla="*/ 21 h 300"/>
                  <a:gd name="T18" fmla="*/ 319 w 395"/>
                  <a:gd name="T19" fmla="*/ 43 h 300"/>
                  <a:gd name="T20" fmla="*/ 316 w 395"/>
                  <a:gd name="T21" fmla="*/ 45 h 300"/>
                  <a:gd name="T22" fmla="*/ 363 w 395"/>
                  <a:gd name="T23" fmla="*/ 106 h 300"/>
                  <a:gd name="T24" fmla="*/ 382 w 395"/>
                  <a:gd name="T25" fmla="*/ 206 h 300"/>
                  <a:gd name="T26" fmla="*/ 372 w 395"/>
                  <a:gd name="T27" fmla="*/ 257 h 300"/>
                  <a:gd name="T28" fmla="*/ 395 w 395"/>
                  <a:gd name="T29" fmla="*/ 264 h 300"/>
                  <a:gd name="T30" fmla="*/ 340 w 395"/>
                  <a:gd name="T31" fmla="*/ 291 h 300"/>
                  <a:gd name="T32" fmla="*/ 319 w 395"/>
                  <a:gd name="T33" fmla="*/ 276 h 300"/>
                  <a:gd name="T34" fmla="*/ 293 w 395"/>
                  <a:gd name="T35" fmla="*/ 285 h 300"/>
                  <a:gd name="T36" fmla="*/ 295 w 395"/>
                  <a:gd name="T37" fmla="*/ 266 h 300"/>
                  <a:gd name="T38" fmla="*/ 244 w 395"/>
                  <a:gd name="T39" fmla="*/ 283 h 300"/>
                  <a:gd name="T40" fmla="*/ 221 w 395"/>
                  <a:gd name="T41" fmla="*/ 300 h 300"/>
                  <a:gd name="T42" fmla="*/ 204 w 395"/>
                  <a:gd name="T43" fmla="*/ 291 h 300"/>
                  <a:gd name="T44" fmla="*/ 74 w 395"/>
                  <a:gd name="T45" fmla="*/ 204 h 300"/>
                  <a:gd name="T46" fmla="*/ 64 w 395"/>
                  <a:gd name="T47" fmla="*/ 155 h 300"/>
                  <a:gd name="T48" fmla="*/ 0 w 395"/>
                  <a:gd name="T49" fmla="*/ 77 h 300"/>
                  <a:gd name="T50" fmla="*/ 49 w 395"/>
                  <a:gd name="T51" fmla="*/ 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5" h="300">
                    <a:moveTo>
                      <a:pt x="49" y="6"/>
                    </a:moveTo>
                    <a:lnTo>
                      <a:pt x="106" y="62"/>
                    </a:lnTo>
                    <a:lnTo>
                      <a:pt x="151" y="74"/>
                    </a:lnTo>
                    <a:lnTo>
                      <a:pt x="163" y="68"/>
                    </a:lnTo>
                    <a:lnTo>
                      <a:pt x="153" y="17"/>
                    </a:lnTo>
                    <a:lnTo>
                      <a:pt x="168" y="11"/>
                    </a:lnTo>
                    <a:lnTo>
                      <a:pt x="174" y="53"/>
                    </a:lnTo>
                    <a:lnTo>
                      <a:pt x="225" y="0"/>
                    </a:lnTo>
                    <a:lnTo>
                      <a:pt x="255" y="21"/>
                    </a:lnTo>
                    <a:lnTo>
                      <a:pt x="319" y="43"/>
                    </a:lnTo>
                    <a:lnTo>
                      <a:pt x="316" y="45"/>
                    </a:lnTo>
                    <a:lnTo>
                      <a:pt x="363" y="106"/>
                    </a:lnTo>
                    <a:lnTo>
                      <a:pt x="382" y="206"/>
                    </a:lnTo>
                    <a:lnTo>
                      <a:pt x="372" y="257"/>
                    </a:lnTo>
                    <a:lnTo>
                      <a:pt x="395" y="264"/>
                    </a:lnTo>
                    <a:lnTo>
                      <a:pt x="340" y="291"/>
                    </a:lnTo>
                    <a:lnTo>
                      <a:pt x="319" y="276"/>
                    </a:lnTo>
                    <a:lnTo>
                      <a:pt x="293" y="285"/>
                    </a:lnTo>
                    <a:lnTo>
                      <a:pt x="295" y="266"/>
                    </a:lnTo>
                    <a:lnTo>
                      <a:pt x="244" y="283"/>
                    </a:lnTo>
                    <a:lnTo>
                      <a:pt x="221" y="300"/>
                    </a:lnTo>
                    <a:lnTo>
                      <a:pt x="204" y="291"/>
                    </a:lnTo>
                    <a:lnTo>
                      <a:pt x="74" y="204"/>
                    </a:lnTo>
                    <a:lnTo>
                      <a:pt x="64" y="155"/>
                    </a:lnTo>
                    <a:lnTo>
                      <a:pt x="0" y="77"/>
                    </a:lnTo>
                    <a:lnTo>
                      <a:pt x="49" y="6"/>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grpSp>
        <p:grpSp>
          <p:nvGrpSpPr>
            <p:cNvPr id="149" name="Pays de la Loire (N° Départments)">
              <a:extLst>
                <a:ext uri="{FF2B5EF4-FFF2-40B4-BE49-F238E27FC236}">
                  <a16:creationId xmlns:a16="http://schemas.microsoft.com/office/drawing/2014/main" id="{4828CAB9-3AB9-47A8-9117-B4CE379EAE18}"/>
                </a:ext>
              </a:extLst>
            </p:cNvPr>
            <p:cNvGrpSpPr/>
            <p:nvPr/>
          </p:nvGrpSpPr>
          <p:grpSpPr>
            <a:xfrm>
              <a:off x="5755112" y="2752634"/>
              <a:ext cx="825888" cy="937278"/>
              <a:chOff x="5001656" y="2922019"/>
              <a:chExt cx="825888" cy="937278"/>
            </a:xfrm>
          </p:grpSpPr>
          <p:sp>
            <p:nvSpPr>
              <p:cNvPr id="364" name="49">
                <a:extLst>
                  <a:ext uri="{FF2B5EF4-FFF2-40B4-BE49-F238E27FC236}">
                    <a16:creationId xmlns:a16="http://schemas.microsoft.com/office/drawing/2014/main" id="{06859BA9-64CC-49CB-8C53-D3639AFFFAAD}"/>
                  </a:ext>
                </a:extLst>
              </p:cNvPr>
              <p:cNvSpPr txBox="1"/>
              <p:nvPr/>
            </p:nvSpPr>
            <p:spPr>
              <a:xfrm>
                <a:off x="5415456" y="3320651"/>
                <a:ext cx="184830" cy="166169"/>
              </a:xfrm>
              <a:prstGeom prst="rect">
                <a:avLst/>
              </a:prstGeom>
              <a:noFill/>
            </p:spPr>
            <p:txBody>
              <a:bodyPr wrap="none" lIns="0" tIns="0" rIns="0" bIns="0" rtlCol="0">
                <a:noAutofit/>
              </a:bodyPr>
              <a:lstStyle/>
              <a:p>
                <a:r>
                  <a:rPr lang="fr-FR" sz="800">
                    <a:solidFill>
                      <a:srgbClr val="503078"/>
                    </a:solidFill>
                    <a:latin typeface="Tahoma"/>
                  </a:rPr>
                  <a:t>49</a:t>
                </a:r>
              </a:p>
            </p:txBody>
          </p:sp>
          <p:sp>
            <p:nvSpPr>
              <p:cNvPr id="365" name="72">
                <a:extLst>
                  <a:ext uri="{FF2B5EF4-FFF2-40B4-BE49-F238E27FC236}">
                    <a16:creationId xmlns:a16="http://schemas.microsoft.com/office/drawing/2014/main" id="{4263A76F-31A3-4C57-A148-59207E88E4E8}"/>
                  </a:ext>
                </a:extLst>
              </p:cNvPr>
              <p:cNvSpPr txBox="1"/>
              <p:nvPr/>
            </p:nvSpPr>
            <p:spPr>
              <a:xfrm>
                <a:off x="5642714" y="3005490"/>
                <a:ext cx="184830" cy="166169"/>
              </a:xfrm>
              <a:prstGeom prst="rect">
                <a:avLst/>
              </a:prstGeom>
              <a:noFill/>
            </p:spPr>
            <p:txBody>
              <a:bodyPr wrap="none" lIns="0" tIns="0" rIns="0" bIns="0" rtlCol="0">
                <a:noAutofit/>
              </a:bodyPr>
              <a:lstStyle/>
              <a:p>
                <a:r>
                  <a:rPr lang="fr-FR" sz="800">
                    <a:solidFill>
                      <a:srgbClr val="503078"/>
                    </a:solidFill>
                    <a:latin typeface="Tahoma"/>
                  </a:rPr>
                  <a:t>72</a:t>
                </a:r>
              </a:p>
            </p:txBody>
          </p:sp>
          <p:sp>
            <p:nvSpPr>
              <p:cNvPr id="366" name="53">
                <a:extLst>
                  <a:ext uri="{FF2B5EF4-FFF2-40B4-BE49-F238E27FC236}">
                    <a16:creationId xmlns:a16="http://schemas.microsoft.com/office/drawing/2014/main" id="{C5F5C1FD-41AF-4523-8C8E-FAB1412F29F5}"/>
                  </a:ext>
                </a:extLst>
              </p:cNvPr>
              <p:cNvSpPr txBox="1"/>
              <p:nvPr/>
            </p:nvSpPr>
            <p:spPr>
              <a:xfrm>
                <a:off x="5364737" y="2922019"/>
                <a:ext cx="184830" cy="166169"/>
              </a:xfrm>
              <a:prstGeom prst="rect">
                <a:avLst/>
              </a:prstGeom>
              <a:noFill/>
            </p:spPr>
            <p:txBody>
              <a:bodyPr wrap="none" lIns="0" tIns="0" rIns="0" bIns="0" rtlCol="0">
                <a:noAutofit/>
              </a:bodyPr>
              <a:lstStyle/>
              <a:p>
                <a:r>
                  <a:rPr lang="fr-FR" sz="800">
                    <a:solidFill>
                      <a:srgbClr val="503078"/>
                    </a:solidFill>
                    <a:latin typeface="Tahoma"/>
                  </a:rPr>
                  <a:t>53</a:t>
                </a:r>
              </a:p>
            </p:txBody>
          </p:sp>
          <p:sp>
            <p:nvSpPr>
              <p:cNvPr id="367" name="85">
                <a:extLst>
                  <a:ext uri="{FF2B5EF4-FFF2-40B4-BE49-F238E27FC236}">
                    <a16:creationId xmlns:a16="http://schemas.microsoft.com/office/drawing/2014/main" id="{436439BD-D63F-4080-9E74-B969D26C5ED5}"/>
                  </a:ext>
                </a:extLst>
              </p:cNvPr>
              <p:cNvSpPr txBox="1"/>
              <p:nvPr/>
            </p:nvSpPr>
            <p:spPr>
              <a:xfrm>
                <a:off x="5128914" y="3693128"/>
                <a:ext cx="184830" cy="166169"/>
              </a:xfrm>
              <a:prstGeom prst="rect">
                <a:avLst/>
              </a:prstGeom>
              <a:noFill/>
            </p:spPr>
            <p:txBody>
              <a:bodyPr wrap="none" lIns="0" tIns="0" rIns="0" bIns="0" rtlCol="0">
                <a:noAutofit/>
              </a:bodyPr>
              <a:lstStyle/>
              <a:p>
                <a:r>
                  <a:rPr lang="fr-FR" sz="800">
                    <a:solidFill>
                      <a:srgbClr val="503078"/>
                    </a:solidFill>
                    <a:latin typeface="Tahoma"/>
                  </a:rPr>
                  <a:t>85</a:t>
                </a:r>
              </a:p>
            </p:txBody>
          </p:sp>
          <p:sp>
            <p:nvSpPr>
              <p:cNvPr id="368" name="44">
                <a:extLst>
                  <a:ext uri="{FF2B5EF4-FFF2-40B4-BE49-F238E27FC236}">
                    <a16:creationId xmlns:a16="http://schemas.microsoft.com/office/drawing/2014/main" id="{A2409B43-ECC3-4EC7-92B1-884E4A46762E}"/>
                  </a:ext>
                </a:extLst>
              </p:cNvPr>
              <p:cNvSpPr txBox="1"/>
              <p:nvPr/>
            </p:nvSpPr>
            <p:spPr>
              <a:xfrm>
                <a:off x="5001656" y="3283403"/>
                <a:ext cx="184830" cy="166169"/>
              </a:xfrm>
              <a:prstGeom prst="rect">
                <a:avLst/>
              </a:prstGeom>
              <a:noFill/>
            </p:spPr>
            <p:txBody>
              <a:bodyPr wrap="none" lIns="0" tIns="0" rIns="0" bIns="0" rtlCol="0">
                <a:noAutofit/>
              </a:bodyPr>
              <a:lstStyle/>
              <a:p>
                <a:r>
                  <a:rPr lang="fr-FR" sz="800">
                    <a:solidFill>
                      <a:srgbClr val="503078"/>
                    </a:solidFill>
                    <a:latin typeface="Tahoma"/>
                  </a:rPr>
                  <a:t>44</a:t>
                </a:r>
              </a:p>
            </p:txBody>
          </p:sp>
        </p:grpSp>
        <p:grpSp>
          <p:nvGrpSpPr>
            <p:cNvPr id="150" name="Normandie (Formes)">
              <a:extLst>
                <a:ext uri="{FF2B5EF4-FFF2-40B4-BE49-F238E27FC236}">
                  <a16:creationId xmlns:a16="http://schemas.microsoft.com/office/drawing/2014/main" id="{25F7AE17-58D6-4813-A6B7-062E31A53F38}"/>
                </a:ext>
              </a:extLst>
            </p:cNvPr>
            <p:cNvGrpSpPr/>
            <p:nvPr/>
          </p:nvGrpSpPr>
          <p:grpSpPr>
            <a:xfrm>
              <a:off x="5809549" y="1856227"/>
              <a:ext cx="1269253" cy="974144"/>
              <a:chOff x="5056093" y="2025612"/>
              <a:chExt cx="1269253" cy="974144"/>
            </a:xfrm>
            <a:solidFill>
              <a:srgbClr val="CAC5B8"/>
            </a:solidFill>
          </p:grpSpPr>
          <p:sp>
            <p:nvSpPr>
              <p:cNvPr id="359" name="14">
                <a:extLst>
                  <a:ext uri="{FF2B5EF4-FFF2-40B4-BE49-F238E27FC236}">
                    <a16:creationId xmlns:a16="http://schemas.microsoft.com/office/drawing/2014/main" id="{3E680B07-471A-48D5-B75E-F594B82D11ED}"/>
                  </a:ext>
                </a:extLst>
              </p:cNvPr>
              <p:cNvSpPr>
                <a:spLocks/>
              </p:cNvSpPr>
              <p:nvPr/>
            </p:nvSpPr>
            <p:spPr bwMode="gray">
              <a:xfrm>
                <a:off x="5299630" y="2342209"/>
                <a:ext cx="557269" cy="340951"/>
              </a:xfrm>
              <a:custGeom>
                <a:avLst/>
                <a:gdLst>
                  <a:gd name="T0" fmla="*/ 0 w 389"/>
                  <a:gd name="T1" fmla="*/ 204 h 238"/>
                  <a:gd name="T2" fmla="*/ 34 w 389"/>
                  <a:gd name="T3" fmla="*/ 181 h 238"/>
                  <a:gd name="T4" fmla="*/ 28 w 389"/>
                  <a:gd name="T5" fmla="*/ 160 h 238"/>
                  <a:gd name="T6" fmla="*/ 53 w 389"/>
                  <a:gd name="T7" fmla="*/ 160 h 238"/>
                  <a:gd name="T8" fmla="*/ 72 w 389"/>
                  <a:gd name="T9" fmla="*/ 136 h 238"/>
                  <a:gd name="T10" fmla="*/ 70 w 389"/>
                  <a:gd name="T11" fmla="*/ 98 h 238"/>
                  <a:gd name="T12" fmla="*/ 55 w 389"/>
                  <a:gd name="T13" fmla="*/ 87 h 238"/>
                  <a:gd name="T14" fmla="*/ 70 w 389"/>
                  <a:gd name="T15" fmla="*/ 72 h 238"/>
                  <a:gd name="T16" fmla="*/ 40 w 389"/>
                  <a:gd name="T17" fmla="*/ 70 h 238"/>
                  <a:gd name="T18" fmla="*/ 15 w 389"/>
                  <a:gd name="T19" fmla="*/ 43 h 238"/>
                  <a:gd name="T20" fmla="*/ 19 w 389"/>
                  <a:gd name="T21" fmla="*/ 21 h 238"/>
                  <a:gd name="T22" fmla="*/ 30 w 389"/>
                  <a:gd name="T23" fmla="*/ 2 h 238"/>
                  <a:gd name="T24" fmla="*/ 53 w 389"/>
                  <a:gd name="T25" fmla="*/ 0 h 238"/>
                  <a:gd name="T26" fmla="*/ 234 w 389"/>
                  <a:gd name="T27" fmla="*/ 51 h 238"/>
                  <a:gd name="T28" fmla="*/ 359 w 389"/>
                  <a:gd name="T29" fmla="*/ 0 h 238"/>
                  <a:gd name="T30" fmla="*/ 359 w 389"/>
                  <a:gd name="T31" fmla="*/ 43 h 238"/>
                  <a:gd name="T32" fmla="*/ 359 w 389"/>
                  <a:gd name="T33" fmla="*/ 45 h 238"/>
                  <a:gd name="T34" fmla="*/ 376 w 389"/>
                  <a:gd name="T35" fmla="*/ 58 h 238"/>
                  <a:gd name="T36" fmla="*/ 363 w 389"/>
                  <a:gd name="T37" fmla="*/ 68 h 238"/>
                  <a:gd name="T38" fmla="*/ 387 w 389"/>
                  <a:gd name="T39" fmla="*/ 111 h 238"/>
                  <a:gd name="T40" fmla="*/ 372 w 389"/>
                  <a:gd name="T41" fmla="*/ 140 h 238"/>
                  <a:gd name="T42" fmla="*/ 389 w 389"/>
                  <a:gd name="T43" fmla="*/ 155 h 238"/>
                  <a:gd name="T44" fmla="*/ 378 w 389"/>
                  <a:gd name="T45" fmla="*/ 181 h 238"/>
                  <a:gd name="T46" fmla="*/ 310 w 389"/>
                  <a:gd name="T47" fmla="*/ 177 h 238"/>
                  <a:gd name="T48" fmla="*/ 249 w 389"/>
                  <a:gd name="T49" fmla="*/ 223 h 238"/>
                  <a:gd name="T50" fmla="*/ 200 w 389"/>
                  <a:gd name="T51" fmla="*/ 204 h 238"/>
                  <a:gd name="T52" fmla="*/ 196 w 389"/>
                  <a:gd name="T53" fmla="*/ 217 h 238"/>
                  <a:gd name="T54" fmla="*/ 176 w 389"/>
                  <a:gd name="T55" fmla="*/ 198 h 238"/>
                  <a:gd name="T56" fmla="*/ 142 w 389"/>
                  <a:gd name="T57" fmla="*/ 213 h 238"/>
                  <a:gd name="T58" fmla="*/ 113 w 389"/>
                  <a:gd name="T59" fmla="*/ 204 h 238"/>
                  <a:gd name="T60" fmla="*/ 76 w 389"/>
                  <a:gd name="T61" fmla="*/ 238 h 238"/>
                  <a:gd name="T62" fmla="*/ 23 w 389"/>
                  <a:gd name="T63" fmla="*/ 228 h 238"/>
                  <a:gd name="T64" fmla="*/ 0 w 389"/>
                  <a:gd name="T65" fmla="*/ 204 h 238"/>
                  <a:gd name="T66" fmla="*/ 0 w 389"/>
                  <a:gd name="T67" fmla="*/ 20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 h="238">
                    <a:moveTo>
                      <a:pt x="0" y="204"/>
                    </a:moveTo>
                    <a:lnTo>
                      <a:pt x="34" y="181"/>
                    </a:lnTo>
                    <a:lnTo>
                      <a:pt x="28" y="160"/>
                    </a:lnTo>
                    <a:lnTo>
                      <a:pt x="53" y="160"/>
                    </a:lnTo>
                    <a:lnTo>
                      <a:pt x="72" y="136"/>
                    </a:lnTo>
                    <a:lnTo>
                      <a:pt x="70" y="98"/>
                    </a:lnTo>
                    <a:lnTo>
                      <a:pt x="55" y="87"/>
                    </a:lnTo>
                    <a:lnTo>
                      <a:pt x="70" y="72"/>
                    </a:lnTo>
                    <a:lnTo>
                      <a:pt x="40" y="70"/>
                    </a:lnTo>
                    <a:lnTo>
                      <a:pt x="15" y="43"/>
                    </a:lnTo>
                    <a:lnTo>
                      <a:pt x="19" y="21"/>
                    </a:lnTo>
                    <a:lnTo>
                      <a:pt x="30" y="2"/>
                    </a:lnTo>
                    <a:lnTo>
                      <a:pt x="53" y="0"/>
                    </a:lnTo>
                    <a:lnTo>
                      <a:pt x="234" y="51"/>
                    </a:lnTo>
                    <a:lnTo>
                      <a:pt x="359" y="0"/>
                    </a:lnTo>
                    <a:lnTo>
                      <a:pt x="359" y="43"/>
                    </a:lnTo>
                    <a:lnTo>
                      <a:pt x="359" y="45"/>
                    </a:lnTo>
                    <a:lnTo>
                      <a:pt x="376" y="58"/>
                    </a:lnTo>
                    <a:lnTo>
                      <a:pt x="363" y="68"/>
                    </a:lnTo>
                    <a:lnTo>
                      <a:pt x="387" y="111"/>
                    </a:lnTo>
                    <a:lnTo>
                      <a:pt x="372" y="140"/>
                    </a:lnTo>
                    <a:lnTo>
                      <a:pt x="389" y="155"/>
                    </a:lnTo>
                    <a:lnTo>
                      <a:pt x="378" y="181"/>
                    </a:lnTo>
                    <a:lnTo>
                      <a:pt x="310" y="177"/>
                    </a:lnTo>
                    <a:lnTo>
                      <a:pt x="249" y="223"/>
                    </a:lnTo>
                    <a:lnTo>
                      <a:pt x="200" y="204"/>
                    </a:lnTo>
                    <a:lnTo>
                      <a:pt x="196" y="217"/>
                    </a:lnTo>
                    <a:lnTo>
                      <a:pt x="176" y="198"/>
                    </a:lnTo>
                    <a:lnTo>
                      <a:pt x="142" y="213"/>
                    </a:lnTo>
                    <a:lnTo>
                      <a:pt x="113" y="204"/>
                    </a:lnTo>
                    <a:lnTo>
                      <a:pt x="76" y="238"/>
                    </a:lnTo>
                    <a:lnTo>
                      <a:pt x="23" y="228"/>
                    </a:lnTo>
                    <a:lnTo>
                      <a:pt x="0" y="204"/>
                    </a:lnTo>
                    <a:lnTo>
                      <a:pt x="0" y="204"/>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60" name="50">
                <a:extLst>
                  <a:ext uri="{FF2B5EF4-FFF2-40B4-BE49-F238E27FC236}">
                    <a16:creationId xmlns:a16="http://schemas.microsoft.com/office/drawing/2014/main" id="{BB17023F-C1AF-49B6-BAA8-F1DCEE9F2633}"/>
                  </a:ext>
                </a:extLst>
              </p:cNvPr>
              <p:cNvSpPr>
                <a:spLocks/>
              </p:cNvSpPr>
              <p:nvPr/>
            </p:nvSpPr>
            <p:spPr bwMode="gray">
              <a:xfrm>
                <a:off x="5056093" y="2150246"/>
                <a:ext cx="381062" cy="673305"/>
              </a:xfrm>
              <a:custGeom>
                <a:avLst/>
                <a:gdLst>
                  <a:gd name="T0" fmla="*/ 2 w 266"/>
                  <a:gd name="T1" fmla="*/ 0 h 470"/>
                  <a:gd name="T2" fmla="*/ 76 w 266"/>
                  <a:gd name="T3" fmla="*/ 34 h 470"/>
                  <a:gd name="T4" fmla="*/ 161 w 266"/>
                  <a:gd name="T5" fmla="*/ 21 h 470"/>
                  <a:gd name="T6" fmla="*/ 168 w 266"/>
                  <a:gd name="T7" fmla="*/ 53 h 470"/>
                  <a:gd name="T8" fmla="*/ 149 w 266"/>
                  <a:gd name="T9" fmla="*/ 75 h 470"/>
                  <a:gd name="T10" fmla="*/ 189 w 266"/>
                  <a:gd name="T11" fmla="*/ 155 h 470"/>
                  <a:gd name="T12" fmla="*/ 185 w 266"/>
                  <a:gd name="T13" fmla="*/ 177 h 470"/>
                  <a:gd name="T14" fmla="*/ 210 w 266"/>
                  <a:gd name="T15" fmla="*/ 204 h 470"/>
                  <a:gd name="T16" fmla="*/ 240 w 266"/>
                  <a:gd name="T17" fmla="*/ 206 h 470"/>
                  <a:gd name="T18" fmla="*/ 225 w 266"/>
                  <a:gd name="T19" fmla="*/ 221 h 470"/>
                  <a:gd name="T20" fmla="*/ 240 w 266"/>
                  <a:gd name="T21" fmla="*/ 232 h 470"/>
                  <a:gd name="T22" fmla="*/ 242 w 266"/>
                  <a:gd name="T23" fmla="*/ 270 h 470"/>
                  <a:gd name="T24" fmla="*/ 223 w 266"/>
                  <a:gd name="T25" fmla="*/ 294 h 470"/>
                  <a:gd name="T26" fmla="*/ 198 w 266"/>
                  <a:gd name="T27" fmla="*/ 294 h 470"/>
                  <a:gd name="T28" fmla="*/ 204 w 266"/>
                  <a:gd name="T29" fmla="*/ 315 h 470"/>
                  <a:gd name="T30" fmla="*/ 170 w 266"/>
                  <a:gd name="T31" fmla="*/ 338 h 470"/>
                  <a:gd name="T32" fmla="*/ 170 w 266"/>
                  <a:gd name="T33" fmla="*/ 338 h 470"/>
                  <a:gd name="T34" fmla="*/ 193 w 266"/>
                  <a:gd name="T35" fmla="*/ 362 h 470"/>
                  <a:gd name="T36" fmla="*/ 246 w 266"/>
                  <a:gd name="T37" fmla="*/ 372 h 470"/>
                  <a:gd name="T38" fmla="*/ 266 w 266"/>
                  <a:gd name="T39" fmla="*/ 421 h 470"/>
                  <a:gd name="T40" fmla="*/ 236 w 266"/>
                  <a:gd name="T41" fmla="*/ 462 h 470"/>
                  <a:gd name="T42" fmla="*/ 236 w 266"/>
                  <a:gd name="T43" fmla="*/ 466 h 470"/>
                  <a:gd name="T44" fmla="*/ 183 w 266"/>
                  <a:gd name="T45" fmla="*/ 459 h 470"/>
                  <a:gd name="T46" fmla="*/ 142 w 266"/>
                  <a:gd name="T47" fmla="*/ 442 h 470"/>
                  <a:gd name="T48" fmla="*/ 96 w 266"/>
                  <a:gd name="T49" fmla="*/ 470 h 470"/>
                  <a:gd name="T50" fmla="*/ 66 w 266"/>
                  <a:gd name="T51" fmla="*/ 406 h 470"/>
                  <a:gd name="T52" fmla="*/ 117 w 266"/>
                  <a:gd name="T53" fmla="*/ 406 h 470"/>
                  <a:gd name="T54" fmla="*/ 68 w 266"/>
                  <a:gd name="T55" fmla="*/ 362 h 470"/>
                  <a:gd name="T56" fmla="*/ 72 w 266"/>
                  <a:gd name="T57" fmla="*/ 202 h 470"/>
                  <a:gd name="T58" fmla="*/ 25 w 266"/>
                  <a:gd name="T59" fmla="*/ 130 h 470"/>
                  <a:gd name="T60" fmla="*/ 11 w 266"/>
                  <a:gd name="T61" fmla="*/ 75 h 470"/>
                  <a:gd name="T62" fmla="*/ 23 w 266"/>
                  <a:gd name="T63" fmla="*/ 36 h 470"/>
                  <a:gd name="T64" fmla="*/ 0 w 266"/>
                  <a:gd name="T65" fmla="*/ 17 h 470"/>
                  <a:gd name="T66" fmla="*/ 2 w 266"/>
                  <a:gd name="T67"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470">
                    <a:moveTo>
                      <a:pt x="2" y="0"/>
                    </a:moveTo>
                    <a:lnTo>
                      <a:pt x="76" y="34"/>
                    </a:lnTo>
                    <a:lnTo>
                      <a:pt x="161" y="21"/>
                    </a:lnTo>
                    <a:lnTo>
                      <a:pt x="168" y="53"/>
                    </a:lnTo>
                    <a:lnTo>
                      <a:pt x="149" y="75"/>
                    </a:lnTo>
                    <a:lnTo>
                      <a:pt x="189" y="155"/>
                    </a:lnTo>
                    <a:lnTo>
                      <a:pt x="185" y="177"/>
                    </a:lnTo>
                    <a:lnTo>
                      <a:pt x="210" y="204"/>
                    </a:lnTo>
                    <a:lnTo>
                      <a:pt x="240" y="206"/>
                    </a:lnTo>
                    <a:lnTo>
                      <a:pt x="225" y="221"/>
                    </a:lnTo>
                    <a:lnTo>
                      <a:pt x="240" y="232"/>
                    </a:lnTo>
                    <a:lnTo>
                      <a:pt x="242" y="270"/>
                    </a:lnTo>
                    <a:lnTo>
                      <a:pt x="223" y="294"/>
                    </a:lnTo>
                    <a:lnTo>
                      <a:pt x="198" y="294"/>
                    </a:lnTo>
                    <a:lnTo>
                      <a:pt x="204" y="315"/>
                    </a:lnTo>
                    <a:lnTo>
                      <a:pt x="170" y="338"/>
                    </a:lnTo>
                    <a:lnTo>
                      <a:pt x="170" y="338"/>
                    </a:lnTo>
                    <a:lnTo>
                      <a:pt x="193" y="362"/>
                    </a:lnTo>
                    <a:lnTo>
                      <a:pt x="246" y="372"/>
                    </a:lnTo>
                    <a:lnTo>
                      <a:pt x="266" y="421"/>
                    </a:lnTo>
                    <a:lnTo>
                      <a:pt x="236" y="462"/>
                    </a:lnTo>
                    <a:lnTo>
                      <a:pt x="236" y="466"/>
                    </a:lnTo>
                    <a:lnTo>
                      <a:pt x="183" y="459"/>
                    </a:lnTo>
                    <a:lnTo>
                      <a:pt x="142" y="442"/>
                    </a:lnTo>
                    <a:lnTo>
                      <a:pt x="96" y="470"/>
                    </a:lnTo>
                    <a:lnTo>
                      <a:pt x="66" y="406"/>
                    </a:lnTo>
                    <a:lnTo>
                      <a:pt x="117" y="406"/>
                    </a:lnTo>
                    <a:lnTo>
                      <a:pt x="68" y="362"/>
                    </a:lnTo>
                    <a:lnTo>
                      <a:pt x="72" y="202"/>
                    </a:lnTo>
                    <a:lnTo>
                      <a:pt x="25" y="130"/>
                    </a:lnTo>
                    <a:lnTo>
                      <a:pt x="11" y="75"/>
                    </a:lnTo>
                    <a:lnTo>
                      <a:pt x="23" y="36"/>
                    </a:lnTo>
                    <a:lnTo>
                      <a:pt x="0" y="17"/>
                    </a:lnTo>
                    <a:lnTo>
                      <a:pt x="2" y="0"/>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61" name="61">
                <a:extLst>
                  <a:ext uri="{FF2B5EF4-FFF2-40B4-BE49-F238E27FC236}">
                    <a16:creationId xmlns:a16="http://schemas.microsoft.com/office/drawing/2014/main" id="{122DCEF3-9C6D-4AB0-A933-38CB4FE38E5E}"/>
                  </a:ext>
                </a:extLst>
              </p:cNvPr>
              <p:cNvSpPr>
                <a:spLocks/>
              </p:cNvSpPr>
              <p:nvPr/>
            </p:nvSpPr>
            <p:spPr bwMode="gray">
              <a:xfrm>
                <a:off x="5394179" y="2595773"/>
                <a:ext cx="633194" cy="403983"/>
              </a:xfrm>
              <a:custGeom>
                <a:avLst/>
                <a:gdLst>
                  <a:gd name="T0" fmla="*/ 0 w 442"/>
                  <a:gd name="T1" fmla="*/ 155 h 282"/>
                  <a:gd name="T2" fmla="*/ 23 w 442"/>
                  <a:gd name="T3" fmla="*/ 176 h 282"/>
                  <a:gd name="T4" fmla="*/ 44 w 442"/>
                  <a:gd name="T5" fmla="*/ 161 h 282"/>
                  <a:gd name="T6" fmla="*/ 49 w 442"/>
                  <a:gd name="T7" fmla="*/ 176 h 282"/>
                  <a:gd name="T8" fmla="*/ 98 w 442"/>
                  <a:gd name="T9" fmla="*/ 153 h 282"/>
                  <a:gd name="T10" fmla="*/ 121 w 442"/>
                  <a:gd name="T11" fmla="*/ 163 h 282"/>
                  <a:gd name="T12" fmla="*/ 151 w 442"/>
                  <a:gd name="T13" fmla="*/ 136 h 282"/>
                  <a:gd name="T14" fmla="*/ 172 w 442"/>
                  <a:gd name="T15" fmla="*/ 151 h 282"/>
                  <a:gd name="T16" fmla="*/ 174 w 442"/>
                  <a:gd name="T17" fmla="*/ 178 h 282"/>
                  <a:gd name="T18" fmla="*/ 195 w 442"/>
                  <a:gd name="T19" fmla="*/ 180 h 282"/>
                  <a:gd name="T20" fmla="*/ 193 w 442"/>
                  <a:gd name="T21" fmla="*/ 208 h 282"/>
                  <a:gd name="T22" fmla="*/ 276 w 442"/>
                  <a:gd name="T23" fmla="*/ 172 h 282"/>
                  <a:gd name="T24" fmla="*/ 300 w 442"/>
                  <a:gd name="T25" fmla="*/ 193 h 282"/>
                  <a:gd name="T26" fmla="*/ 302 w 442"/>
                  <a:gd name="T27" fmla="*/ 233 h 282"/>
                  <a:gd name="T28" fmla="*/ 395 w 442"/>
                  <a:gd name="T29" fmla="*/ 282 h 282"/>
                  <a:gd name="T30" fmla="*/ 391 w 442"/>
                  <a:gd name="T31" fmla="*/ 244 h 282"/>
                  <a:gd name="T32" fmla="*/ 389 w 442"/>
                  <a:gd name="T33" fmla="*/ 244 h 282"/>
                  <a:gd name="T34" fmla="*/ 442 w 442"/>
                  <a:gd name="T35" fmla="*/ 193 h 282"/>
                  <a:gd name="T36" fmla="*/ 406 w 442"/>
                  <a:gd name="T37" fmla="*/ 108 h 282"/>
                  <a:gd name="T38" fmla="*/ 357 w 442"/>
                  <a:gd name="T39" fmla="*/ 25 h 282"/>
                  <a:gd name="T40" fmla="*/ 317 w 442"/>
                  <a:gd name="T41" fmla="*/ 25 h 282"/>
                  <a:gd name="T42" fmla="*/ 312 w 442"/>
                  <a:gd name="T43" fmla="*/ 4 h 282"/>
                  <a:gd name="T44" fmla="*/ 244 w 442"/>
                  <a:gd name="T45" fmla="*/ 0 h 282"/>
                  <a:gd name="T46" fmla="*/ 183 w 442"/>
                  <a:gd name="T47" fmla="*/ 46 h 282"/>
                  <a:gd name="T48" fmla="*/ 134 w 442"/>
                  <a:gd name="T49" fmla="*/ 27 h 282"/>
                  <a:gd name="T50" fmla="*/ 130 w 442"/>
                  <a:gd name="T51" fmla="*/ 40 h 282"/>
                  <a:gd name="T52" fmla="*/ 110 w 442"/>
                  <a:gd name="T53" fmla="*/ 21 h 282"/>
                  <a:gd name="T54" fmla="*/ 76 w 442"/>
                  <a:gd name="T55" fmla="*/ 36 h 282"/>
                  <a:gd name="T56" fmla="*/ 47 w 442"/>
                  <a:gd name="T57" fmla="*/ 27 h 282"/>
                  <a:gd name="T58" fmla="*/ 10 w 442"/>
                  <a:gd name="T59" fmla="*/ 61 h 282"/>
                  <a:gd name="T60" fmla="*/ 30 w 442"/>
                  <a:gd name="T61" fmla="*/ 110 h 282"/>
                  <a:gd name="T62" fmla="*/ 0 w 442"/>
                  <a:gd name="T63" fmla="*/ 151 h 282"/>
                  <a:gd name="T64" fmla="*/ 0 w 442"/>
                  <a:gd name="T65" fmla="*/ 155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2" h="282">
                    <a:moveTo>
                      <a:pt x="0" y="155"/>
                    </a:moveTo>
                    <a:lnTo>
                      <a:pt x="23" y="176"/>
                    </a:lnTo>
                    <a:lnTo>
                      <a:pt x="44" y="161"/>
                    </a:lnTo>
                    <a:lnTo>
                      <a:pt x="49" y="176"/>
                    </a:lnTo>
                    <a:lnTo>
                      <a:pt x="98" y="153"/>
                    </a:lnTo>
                    <a:lnTo>
                      <a:pt x="121" y="163"/>
                    </a:lnTo>
                    <a:lnTo>
                      <a:pt x="151" y="136"/>
                    </a:lnTo>
                    <a:lnTo>
                      <a:pt x="172" y="151"/>
                    </a:lnTo>
                    <a:lnTo>
                      <a:pt x="174" y="178"/>
                    </a:lnTo>
                    <a:lnTo>
                      <a:pt x="195" y="180"/>
                    </a:lnTo>
                    <a:lnTo>
                      <a:pt x="193" y="208"/>
                    </a:lnTo>
                    <a:lnTo>
                      <a:pt x="276" y="172"/>
                    </a:lnTo>
                    <a:lnTo>
                      <a:pt x="300" y="193"/>
                    </a:lnTo>
                    <a:lnTo>
                      <a:pt x="302" y="233"/>
                    </a:lnTo>
                    <a:lnTo>
                      <a:pt x="395" y="282"/>
                    </a:lnTo>
                    <a:lnTo>
                      <a:pt x="391" y="244"/>
                    </a:lnTo>
                    <a:lnTo>
                      <a:pt x="389" y="244"/>
                    </a:lnTo>
                    <a:lnTo>
                      <a:pt x="442" y="193"/>
                    </a:lnTo>
                    <a:lnTo>
                      <a:pt x="406" y="108"/>
                    </a:lnTo>
                    <a:lnTo>
                      <a:pt x="357" y="25"/>
                    </a:lnTo>
                    <a:lnTo>
                      <a:pt x="317" y="25"/>
                    </a:lnTo>
                    <a:lnTo>
                      <a:pt x="312" y="4"/>
                    </a:lnTo>
                    <a:lnTo>
                      <a:pt x="244" y="0"/>
                    </a:lnTo>
                    <a:lnTo>
                      <a:pt x="183" y="46"/>
                    </a:lnTo>
                    <a:lnTo>
                      <a:pt x="134" y="27"/>
                    </a:lnTo>
                    <a:lnTo>
                      <a:pt x="130" y="40"/>
                    </a:lnTo>
                    <a:lnTo>
                      <a:pt x="110" y="21"/>
                    </a:lnTo>
                    <a:lnTo>
                      <a:pt x="76" y="36"/>
                    </a:lnTo>
                    <a:lnTo>
                      <a:pt x="47" y="27"/>
                    </a:lnTo>
                    <a:lnTo>
                      <a:pt x="10" y="61"/>
                    </a:lnTo>
                    <a:lnTo>
                      <a:pt x="30" y="110"/>
                    </a:lnTo>
                    <a:lnTo>
                      <a:pt x="0" y="151"/>
                    </a:lnTo>
                    <a:lnTo>
                      <a:pt x="0" y="155"/>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62" name="76">
                <a:extLst>
                  <a:ext uri="{FF2B5EF4-FFF2-40B4-BE49-F238E27FC236}">
                    <a16:creationId xmlns:a16="http://schemas.microsoft.com/office/drawing/2014/main" id="{97FFC334-3956-44DA-8B8A-3E1F8BCB0D7D}"/>
                  </a:ext>
                </a:extLst>
              </p:cNvPr>
              <p:cNvSpPr>
                <a:spLocks/>
              </p:cNvSpPr>
              <p:nvPr/>
            </p:nvSpPr>
            <p:spPr bwMode="gray">
              <a:xfrm>
                <a:off x="5743724" y="2025612"/>
                <a:ext cx="581622" cy="424039"/>
              </a:xfrm>
              <a:custGeom>
                <a:avLst/>
                <a:gdLst>
                  <a:gd name="T0" fmla="*/ 22 w 406"/>
                  <a:gd name="T1" fmla="*/ 130 h 296"/>
                  <a:gd name="T2" fmla="*/ 124 w 406"/>
                  <a:gd name="T3" fmla="*/ 72 h 296"/>
                  <a:gd name="T4" fmla="*/ 249 w 406"/>
                  <a:gd name="T5" fmla="*/ 45 h 296"/>
                  <a:gd name="T6" fmla="*/ 313 w 406"/>
                  <a:gd name="T7" fmla="*/ 0 h 296"/>
                  <a:gd name="T8" fmla="*/ 319 w 406"/>
                  <a:gd name="T9" fmla="*/ 4 h 296"/>
                  <a:gd name="T10" fmla="*/ 385 w 406"/>
                  <a:gd name="T11" fmla="*/ 60 h 296"/>
                  <a:gd name="T12" fmla="*/ 406 w 406"/>
                  <a:gd name="T13" fmla="*/ 115 h 296"/>
                  <a:gd name="T14" fmla="*/ 383 w 406"/>
                  <a:gd name="T15" fmla="*/ 136 h 296"/>
                  <a:gd name="T16" fmla="*/ 398 w 406"/>
                  <a:gd name="T17" fmla="*/ 142 h 296"/>
                  <a:gd name="T18" fmla="*/ 385 w 406"/>
                  <a:gd name="T19" fmla="*/ 155 h 296"/>
                  <a:gd name="T20" fmla="*/ 389 w 406"/>
                  <a:gd name="T21" fmla="*/ 208 h 296"/>
                  <a:gd name="T22" fmla="*/ 404 w 406"/>
                  <a:gd name="T23" fmla="*/ 213 h 296"/>
                  <a:gd name="T24" fmla="*/ 385 w 406"/>
                  <a:gd name="T25" fmla="*/ 242 h 296"/>
                  <a:gd name="T26" fmla="*/ 309 w 406"/>
                  <a:gd name="T27" fmla="*/ 221 h 296"/>
                  <a:gd name="T28" fmla="*/ 281 w 406"/>
                  <a:gd name="T29" fmla="*/ 259 h 296"/>
                  <a:gd name="T30" fmla="*/ 215 w 406"/>
                  <a:gd name="T31" fmla="*/ 296 h 296"/>
                  <a:gd name="T32" fmla="*/ 177 w 406"/>
                  <a:gd name="T33" fmla="*/ 266 h 296"/>
                  <a:gd name="T34" fmla="*/ 198 w 406"/>
                  <a:gd name="T35" fmla="*/ 262 h 296"/>
                  <a:gd name="T36" fmla="*/ 196 w 406"/>
                  <a:gd name="T37" fmla="*/ 249 h 296"/>
                  <a:gd name="T38" fmla="*/ 168 w 406"/>
                  <a:gd name="T39" fmla="*/ 230 h 296"/>
                  <a:gd name="T40" fmla="*/ 134 w 406"/>
                  <a:gd name="T41" fmla="*/ 236 h 296"/>
                  <a:gd name="T42" fmla="*/ 98 w 406"/>
                  <a:gd name="T43" fmla="*/ 206 h 296"/>
                  <a:gd name="T44" fmla="*/ 70 w 406"/>
                  <a:gd name="T45" fmla="*/ 219 h 296"/>
                  <a:gd name="T46" fmla="*/ 0 w 406"/>
                  <a:gd name="T47" fmla="*/ 202 h 296"/>
                  <a:gd name="T48" fmla="*/ 22 w 406"/>
                  <a:gd name="T49"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6" h="296">
                    <a:moveTo>
                      <a:pt x="22" y="130"/>
                    </a:moveTo>
                    <a:lnTo>
                      <a:pt x="124" y="72"/>
                    </a:lnTo>
                    <a:lnTo>
                      <a:pt x="249" y="45"/>
                    </a:lnTo>
                    <a:lnTo>
                      <a:pt x="313" y="0"/>
                    </a:lnTo>
                    <a:lnTo>
                      <a:pt x="319" y="4"/>
                    </a:lnTo>
                    <a:lnTo>
                      <a:pt x="385" y="60"/>
                    </a:lnTo>
                    <a:lnTo>
                      <a:pt x="406" y="115"/>
                    </a:lnTo>
                    <a:lnTo>
                      <a:pt x="383" y="136"/>
                    </a:lnTo>
                    <a:lnTo>
                      <a:pt x="398" y="142"/>
                    </a:lnTo>
                    <a:lnTo>
                      <a:pt x="385" y="155"/>
                    </a:lnTo>
                    <a:lnTo>
                      <a:pt x="389" y="208"/>
                    </a:lnTo>
                    <a:lnTo>
                      <a:pt x="404" y="213"/>
                    </a:lnTo>
                    <a:lnTo>
                      <a:pt x="385" y="242"/>
                    </a:lnTo>
                    <a:lnTo>
                      <a:pt x="309" y="221"/>
                    </a:lnTo>
                    <a:lnTo>
                      <a:pt x="281" y="259"/>
                    </a:lnTo>
                    <a:lnTo>
                      <a:pt x="215" y="296"/>
                    </a:lnTo>
                    <a:lnTo>
                      <a:pt x="177" y="266"/>
                    </a:lnTo>
                    <a:lnTo>
                      <a:pt x="198" y="262"/>
                    </a:lnTo>
                    <a:lnTo>
                      <a:pt x="196" y="249"/>
                    </a:lnTo>
                    <a:lnTo>
                      <a:pt x="168" y="230"/>
                    </a:lnTo>
                    <a:lnTo>
                      <a:pt x="134" y="236"/>
                    </a:lnTo>
                    <a:lnTo>
                      <a:pt x="98" y="206"/>
                    </a:lnTo>
                    <a:lnTo>
                      <a:pt x="70" y="219"/>
                    </a:lnTo>
                    <a:lnTo>
                      <a:pt x="0" y="202"/>
                    </a:lnTo>
                    <a:lnTo>
                      <a:pt x="22" y="130"/>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63" name="27">
                <a:extLst>
                  <a:ext uri="{FF2B5EF4-FFF2-40B4-BE49-F238E27FC236}">
                    <a16:creationId xmlns:a16="http://schemas.microsoft.com/office/drawing/2014/main" id="{AC8CA573-8AE7-4BEA-91D1-945A35F40F82}"/>
                  </a:ext>
                </a:extLst>
              </p:cNvPr>
              <p:cNvSpPr>
                <a:spLocks/>
              </p:cNvSpPr>
              <p:nvPr/>
            </p:nvSpPr>
            <p:spPr bwMode="gray">
              <a:xfrm>
                <a:off x="5813919" y="2320720"/>
                <a:ext cx="511427" cy="429769"/>
              </a:xfrm>
              <a:custGeom>
                <a:avLst/>
                <a:gdLst>
                  <a:gd name="T0" fmla="*/ 0 w 357"/>
                  <a:gd name="T1" fmla="*/ 58 h 300"/>
                  <a:gd name="T2" fmla="*/ 0 w 357"/>
                  <a:gd name="T3" fmla="*/ 15 h 300"/>
                  <a:gd name="T4" fmla="*/ 21 w 357"/>
                  <a:gd name="T5" fmla="*/ 13 h 300"/>
                  <a:gd name="T6" fmla="*/ 49 w 357"/>
                  <a:gd name="T7" fmla="*/ 0 h 300"/>
                  <a:gd name="T8" fmla="*/ 85 w 357"/>
                  <a:gd name="T9" fmla="*/ 30 h 300"/>
                  <a:gd name="T10" fmla="*/ 119 w 357"/>
                  <a:gd name="T11" fmla="*/ 24 h 300"/>
                  <a:gd name="T12" fmla="*/ 147 w 357"/>
                  <a:gd name="T13" fmla="*/ 43 h 300"/>
                  <a:gd name="T14" fmla="*/ 149 w 357"/>
                  <a:gd name="T15" fmla="*/ 56 h 300"/>
                  <a:gd name="T16" fmla="*/ 128 w 357"/>
                  <a:gd name="T17" fmla="*/ 60 h 300"/>
                  <a:gd name="T18" fmla="*/ 166 w 357"/>
                  <a:gd name="T19" fmla="*/ 90 h 300"/>
                  <a:gd name="T20" fmla="*/ 232 w 357"/>
                  <a:gd name="T21" fmla="*/ 53 h 300"/>
                  <a:gd name="T22" fmla="*/ 260 w 357"/>
                  <a:gd name="T23" fmla="*/ 15 h 300"/>
                  <a:gd name="T24" fmla="*/ 336 w 357"/>
                  <a:gd name="T25" fmla="*/ 36 h 300"/>
                  <a:gd name="T26" fmla="*/ 357 w 357"/>
                  <a:gd name="T27" fmla="*/ 87 h 300"/>
                  <a:gd name="T28" fmla="*/ 334 w 357"/>
                  <a:gd name="T29" fmla="*/ 96 h 300"/>
                  <a:gd name="T30" fmla="*/ 334 w 357"/>
                  <a:gd name="T31" fmla="*/ 98 h 300"/>
                  <a:gd name="T32" fmla="*/ 334 w 357"/>
                  <a:gd name="T33" fmla="*/ 100 h 300"/>
                  <a:gd name="T34" fmla="*/ 311 w 357"/>
                  <a:gd name="T35" fmla="*/ 155 h 300"/>
                  <a:gd name="T36" fmla="*/ 270 w 357"/>
                  <a:gd name="T37" fmla="*/ 164 h 300"/>
                  <a:gd name="T38" fmla="*/ 270 w 357"/>
                  <a:gd name="T39" fmla="*/ 166 h 300"/>
                  <a:gd name="T40" fmla="*/ 283 w 357"/>
                  <a:gd name="T41" fmla="*/ 206 h 300"/>
                  <a:gd name="T42" fmla="*/ 240 w 357"/>
                  <a:gd name="T43" fmla="*/ 270 h 300"/>
                  <a:gd name="T44" fmla="*/ 189 w 357"/>
                  <a:gd name="T45" fmla="*/ 260 h 300"/>
                  <a:gd name="T46" fmla="*/ 113 w 357"/>
                  <a:gd name="T47" fmla="*/ 300 h 300"/>
                  <a:gd name="T48" fmla="*/ 64 w 357"/>
                  <a:gd name="T49" fmla="*/ 217 h 300"/>
                  <a:gd name="T50" fmla="*/ 24 w 357"/>
                  <a:gd name="T51" fmla="*/ 217 h 300"/>
                  <a:gd name="T52" fmla="*/ 19 w 357"/>
                  <a:gd name="T53" fmla="*/ 196 h 300"/>
                  <a:gd name="T54" fmla="*/ 30 w 357"/>
                  <a:gd name="T55" fmla="*/ 170 h 300"/>
                  <a:gd name="T56" fmla="*/ 13 w 357"/>
                  <a:gd name="T57" fmla="*/ 155 h 300"/>
                  <a:gd name="T58" fmla="*/ 28 w 357"/>
                  <a:gd name="T59" fmla="*/ 126 h 300"/>
                  <a:gd name="T60" fmla="*/ 4 w 357"/>
                  <a:gd name="T61" fmla="*/ 83 h 300"/>
                  <a:gd name="T62" fmla="*/ 17 w 357"/>
                  <a:gd name="T63" fmla="*/ 73 h 300"/>
                  <a:gd name="T64" fmla="*/ 0 w 357"/>
                  <a:gd name="T65" fmla="*/ 60 h 300"/>
                  <a:gd name="T66" fmla="*/ 0 w 357"/>
                  <a:gd name="T67" fmla="*/ 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7" h="300">
                    <a:moveTo>
                      <a:pt x="0" y="58"/>
                    </a:moveTo>
                    <a:lnTo>
                      <a:pt x="0" y="15"/>
                    </a:lnTo>
                    <a:lnTo>
                      <a:pt x="21" y="13"/>
                    </a:lnTo>
                    <a:lnTo>
                      <a:pt x="49" y="0"/>
                    </a:lnTo>
                    <a:lnTo>
                      <a:pt x="85" y="30"/>
                    </a:lnTo>
                    <a:lnTo>
                      <a:pt x="119" y="24"/>
                    </a:lnTo>
                    <a:lnTo>
                      <a:pt x="147" y="43"/>
                    </a:lnTo>
                    <a:lnTo>
                      <a:pt x="149" y="56"/>
                    </a:lnTo>
                    <a:lnTo>
                      <a:pt x="128" y="60"/>
                    </a:lnTo>
                    <a:lnTo>
                      <a:pt x="166" y="90"/>
                    </a:lnTo>
                    <a:lnTo>
                      <a:pt x="232" y="53"/>
                    </a:lnTo>
                    <a:lnTo>
                      <a:pt x="260" y="15"/>
                    </a:lnTo>
                    <a:lnTo>
                      <a:pt x="336" y="36"/>
                    </a:lnTo>
                    <a:lnTo>
                      <a:pt x="357" y="87"/>
                    </a:lnTo>
                    <a:lnTo>
                      <a:pt x="334" y="96"/>
                    </a:lnTo>
                    <a:lnTo>
                      <a:pt x="334" y="98"/>
                    </a:lnTo>
                    <a:lnTo>
                      <a:pt x="334" y="100"/>
                    </a:lnTo>
                    <a:lnTo>
                      <a:pt x="311" y="155"/>
                    </a:lnTo>
                    <a:lnTo>
                      <a:pt x="270" y="164"/>
                    </a:lnTo>
                    <a:lnTo>
                      <a:pt x="270" y="166"/>
                    </a:lnTo>
                    <a:lnTo>
                      <a:pt x="283" y="206"/>
                    </a:lnTo>
                    <a:lnTo>
                      <a:pt x="240" y="270"/>
                    </a:lnTo>
                    <a:lnTo>
                      <a:pt x="189" y="260"/>
                    </a:lnTo>
                    <a:lnTo>
                      <a:pt x="113" y="300"/>
                    </a:lnTo>
                    <a:lnTo>
                      <a:pt x="64" y="217"/>
                    </a:lnTo>
                    <a:lnTo>
                      <a:pt x="24" y="217"/>
                    </a:lnTo>
                    <a:lnTo>
                      <a:pt x="19" y="196"/>
                    </a:lnTo>
                    <a:lnTo>
                      <a:pt x="30" y="170"/>
                    </a:lnTo>
                    <a:lnTo>
                      <a:pt x="13" y="155"/>
                    </a:lnTo>
                    <a:lnTo>
                      <a:pt x="28" y="126"/>
                    </a:lnTo>
                    <a:lnTo>
                      <a:pt x="4" y="83"/>
                    </a:lnTo>
                    <a:lnTo>
                      <a:pt x="17" y="73"/>
                    </a:lnTo>
                    <a:lnTo>
                      <a:pt x="0" y="60"/>
                    </a:lnTo>
                    <a:lnTo>
                      <a:pt x="0" y="58"/>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grpSp>
        <p:grpSp>
          <p:nvGrpSpPr>
            <p:cNvPr id="151" name="Normandie (N° Départements)">
              <a:extLst>
                <a:ext uri="{FF2B5EF4-FFF2-40B4-BE49-F238E27FC236}">
                  <a16:creationId xmlns:a16="http://schemas.microsoft.com/office/drawing/2014/main" id="{A9E4A6C5-08FB-426A-856E-482C1D6FD1E9}"/>
                </a:ext>
              </a:extLst>
            </p:cNvPr>
            <p:cNvGrpSpPr/>
            <p:nvPr/>
          </p:nvGrpSpPr>
          <p:grpSpPr>
            <a:xfrm>
              <a:off x="5904069" y="1952217"/>
              <a:ext cx="1015609" cy="684033"/>
              <a:chOff x="5150613" y="2121602"/>
              <a:chExt cx="1015609" cy="684033"/>
            </a:xfrm>
          </p:grpSpPr>
          <p:sp>
            <p:nvSpPr>
              <p:cNvPr id="354" name="50">
                <a:extLst>
                  <a:ext uri="{FF2B5EF4-FFF2-40B4-BE49-F238E27FC236}">
                    <a16:creationId xmlns:a16="http://schemas.microsoft.com/office/drawing/2014/main" id="{1C8CAA22-19F0-4E95-91A4-0CFBE581F3F3}"/>
                  </a:ext>
                </a:extLst>
              </p:cNvPr>
              <p:cNvSpPr txBox="1"/>
              <p:nvPr/>
            </p:nvSpPr>
            <p:spPr>
              <a:xfrm>
                <a:off x="5150613" y="2409547"/>
                <a:ext cx="184830" cy="166169"/>
              </a:xfrm>
              <a:prstGeom prst="rect">
                <a:avLst/>
              </a:prstGeom>
              <a:noFill/>
            </p:spPr>
            <p:txBody>
              <a:bodyPr wrap="none" lIns="0" tIns="0" rIns="0" bIns="0" rtlCol="0">
                <a:noAutofit/>
              </a:bodyPr>
              <a:lstStyle/>
              <a:p>
                <a:r>
                  <a:rPr lang="fr-FR" sz="800">
                    <a:solidFill>
                      <a:srgbClr val="FFFFFF"/>
                    </a:solidFill>
                    <a:latin typeface="Tahoma"/>
                  </a:rPr>
                  <a:t>50</a:t>
                </a:r>
              </a:p>
            </p:txBody>
          </p:sp>
          <p:sp>
            <p:nvSpPr>
              <p:cNvPr id="355" name="14">
                <a:extLst>
                  <a:ext uri="{FF2B5EF4-FFF2-40B4-BE49-F238E27FC236}">
                    <a16:creationId xmlns:a16="http://schemas.microsoft.com/office/drawing/2014/main" id="{D08FF360-0CA4-4840-B0A9-DF136DAC94BA}"/>
                  </a:ext>
                </a:extLst>
              </p:cNvPr>
              <p:cNvSpPr txBox="1"/>
              <p:nvPr/>
            </p:nvSpPr>
            <p:spPr>
              <a:xfrm>
                <a:off x="5502322" y="2429604"/>
                <a:ext cx="184830" cy="166169"/>
              </a:xfrm>
              <a:prstGeom prst="rect">
                <a:avLst/>
              </a:prstGeom>
              <a:noFill/>
            </p:spPr>
            <p:txBody>
              <a:bodyPr wrap="none" lIns="0" tIns="0" rIns="0" bIns="0" rtlCol="0">
                <a:noAutofit/>
              </a:bodyPr>
              <a:lstStyle/>
              <a:p>
                <a:r>
                  <a:rPr lang="fr-FR" sz="800">
                    <a:solidFill>
                      <a:srgbClr val="503078"/>
                    </a:solidFill>
                    <a:latin typeface="Tahoma"/>
                  </a:rPr>
                  <a:t>14</a:t>
                </a:r>
              </a:p>
            </p:txBody>
          </p:sp>
          <p:sp>
            <p:nvSpPr>
              <p:cNvPr id="356" name="61">
                <a:extLst>
                  <a:ext uri="{FF2B5EF4-FFF2-40B4-BE49-F238E27FC236}">
                    <a16:creationId xmlns:a16="http://schemas.microsoft.com/office/drawing/2014/main" id="{1515E095-F54C-4E54-A42F-39F48DA7DF91}"/>
                  </a:ext>
                </a:extLst>
              </p:cNvPr>
              <p:cNvSpPr txBox="1"/>
              <p:nvPr/>
            </p:nvSpPr>
            <p:spPr>
              <a:xfrm>
                <a:off x="5648884" y="2639466"/>
                <a:ext cx="184830" cy="166169"/>
              </a:xfrm>
              <a:prstGeom prst="rect">
                <a:avLst/>
              </a:prstGeom>
              <a:noFill/>
            </p:spPr>
            <p:txBody>
              <a:bodyPr wrap="none" lIns="0" tIns="0" rIns="0" bIns="0" rtlCol="0">
                <a:noAutofit/>
              </a:bodyPr>
              <a:lstStyle/>
              <a:p>
                <a:r>
                  <a:rPr lang="fr-FR" sz="800">
                    <a:solidFill>
                      <a:srgbClr val="FFFFFF"/>
                    </a:solidFill>
                    <a:latin typeface="Tahoma"/>
                  </a:rPr>
                  <a:t>61</a:t>
                </a:r>
              </a:p>
            </p:txBody>
          </p:sp>
          <p:sp>
            <p:nvSpPr>
              <p:cNvPr id="357" name="27">
                <a:extLst>
                  <a:ext uri="{FF2B5EF4-FFF2-40B4-BE49-F238E27FC236}">
                    <a16:creationId xmlns:a16="http://schemas.microsoft.com/office/drawing/2014/main" id="{FCD6B31E-2B8A-4237-9D97-AFAF702C8992}"/>
                  </a:ext>
                </a:extLst>
              </p:cNvPr>
              <p:cNvSpPr txBox="1"/>
              <p:nvPr/>
            </p:nvSpPr>
            <p:spPr>
              <a:xfrm>
                <a:off x="5951445" y="2458802"/>
                <a:ext cx="184830" cy="166169"/>
              </a:xfrm>
              <a:prstGeom prst="rect">
                <a:avLst/>
              </a:prstGeom>
              <a:noFill/>
            </p:spPr>
            <p:txBody>
              <a:bodyPr wrap="none" lIns="0" tIns="0" rIns="0" bIns="0" rtlCol="0">
                <a:noAutofit/>
              </a:bodyPr>
              <a:lstStyle/>
              <a:p>
                <a:r>
                  <a:rPr lang="fr-FR" sz="800">
                    <a:solidFill>
                      <a:srgbClr val="FFFFFF"/>
                    </a:solidFill>
                    <a:latin typeface="Tahoma"/>
                  </a:rPr>
                  <a:t>27</a:t>
                </a:r>
              </a:p>
            </p:txBody>
          </p:sp>
          <p:sp>
            <p:nvSpPr>
              <p:cNvPr id="358" name="76">
                <a:extLst>
                  <a:ext uri="{FF2B5EF4-FFF2-40B4-BE49-F238E27FC236}">
                    <a16:creationId xmlns:a16="http://schemas.microsoft.com/office/drawing/2014/main" id="{FC48A194-D8A7-400B-9A13-64A7DFAAEA38}"/>
                  </a:ext>
                </a:extLst>
              </p:cNvPr>
              <p:cNvSpPr txBox="1"/>
              <p:nvPr/>
            </p:nvSpPr>
            <p:spPr>
              <a:xfrm>
                <a:off x="5981392" y="2121602"/>
                <a:ext cx="184830" cy="166169"/>
              </a:xfrm>
              <a:prstGeom prst="rect">
                <a:avLst/>
              </a:prstGeom>
              <a:noFill/>
            </p:spPr>
            <p:txBody>
              <a:bodyPr wrap="none" lIns="0" tIns="0" rIns="0" bIns="0" rtlCol="0">
                <a:noAutofit/>
              </a:bodyPr>
              <a:lstStyle/>
              <a:p>
                <a:r>
                  <a:rPr lang="fr-FR" sz="800">
                    <a:solidFill>
                      <a:srgbClr val="FFFFFF"/>
                    </a:solidFill>
                    <a:latin typeface="Tahoma"/>
                  </a:rPr>
                  <a:t>76</a:t>
                </a:r>
              </a:p>
            </p:txBody>
          </p:sp>
        </p:grpSp>
        <p:grpSp>
          <p:nvGrpSpPr>
            <p:cNvPr id="152" name="Nord Pas de Calais Picardie (Formes)">
              <a:extLst>
                <a:ext uri="{FF2B5EF4-FFF2-40B4-BE49-F238E27FC236}">
                  <a16:creationId xmlns:a16="http://schemas.microsoft.com/office/drawing/2014/main" id="{6126BAAE-4FFF-4573-83CE-5783433A33E6}"/>
                </a:ext>
              </a:extLst>
            </p:cNvPr>
            <p:cNvGrpSpPr/>
            <p:nvPr/>
          </p:nvGrpSpPr>
          <p:grpSpPr>
            <a:xfrm>
              <a:off x="6945572" y="1329043"/>
              <a:ext cx="961253" cy="1173271"/>
              <a:chOff x="6192116" y="1498428"/>
              <a:chExt cx="961253" cy="1173271"/>
            </a:xfrm>
            <a:solidFill>
              <a:srgbClr val="667E76"/>
            </a:solidFill>
          </p:grpSpPr>
          <p:grpSp>
            <p:nvGrpSpPr>
              <p:cNvPr id="347" name="Picardie (Formes)">
                <a:extLst>
                  <a:ext uri="{FF2B5EF4-FFF2-40B4-BE49-F238E27FC236}">
                    <a16:creationId xmlns:a16="http://schemas.microsoft.com/office/drawing/2014/main" id="{99653605-5EF9-409D-8A19-3B07DADEB47B}"/>
                  </a:ext>
                </a:extLst>
              </p:cNvPr>
              <p:cNvGrpSpPr/>
              <p:nvPr/>
            </p:nvGrpSpPr>
            <p:grpSpPr>
              <a:xfrm>
                <a:off x="6192116" y="1866598"/>
                <a:ext cx="961253" cy="805101"/>
                <a:chOff x="6192116" y="1866598"/>
                <a:chExt cx="961253" cy="805101"/>
              </a:xfrm>
              <a:grpFill/>
            </p:grpSpPr>
            <p:sp>
              <p:nvSpPr>
                <p:cNvPr id="351" name="02">
                  <a:extLst>
                    <a:ext uri="{FF2B5EF4-FFF2-40B4-BE49-F238E27FC236}">
                      <a16:creationId xmlns:a16="http://schemas.microsoft.com/office/drawing/2014/main" id="{CB96CF2D-B898-4A6B-A0CA-245A915E8FB9}"/>
                    </a:ext>
                  </a:extLst>
                </p:cNvPr>
                <p:cNvSpPr>
                  <a:spLocks/>
                </p:cNvSpPr>
                <p:nvPr/>
              </p:nvSpPr>
              <p:spPr bwMode="gray">
                <a:xfrm>
                  <a:off x="6722166" y="2034207"/>
                  <a:ext cx="431203" cy="637492"/>
                </a:xfrm>
                <a:custGeom>
                  <a:avLst/>
                  <a:gdLst>
                    <a:gd name="T0" fmla="*/ 32 w 301"/>
                    <a:gd name="T1" fmla="*/ 334 h 445"/>
                    <a:gd name="T2" fmla="*/ 27 w 301"/>
                    <a:gd name="T3" fmla="*/ 349 h 445"/>
                    <a:gd name="T4" fmla="*/ 49 w 301"/>
                    <a:gd name="T5" fmla="*/ 355 h 445"/>
                    <a:gd name="T6" fmla="*/ 49 w 301"/>
                    <a:gd name="T7" fmla="*/ 383 h 445"/>
                    <a:gd name="T8" fmla="*/ 72 w 301"/>
                    <a:gd name="T9" fmla="*/ 413 h 445"/>
                    <a:gd name="T10" fmla="*/ 125 w 301"/>
                    <a:gd name="T11" fmla="*/ 445 h 445"/>
                    <a:gd name="T12" fmla="*/ 172 w 301"/>
                    <a:gd name="T13" fmla="*/ 385 h 445"/>
                    <a:gd name="T14" fmla="*/ 148 w 301"/>
                    <a:gd name="T15" fmla="*/ 375 h 445"/>
                    <a:gd name="T16" fmla="*/ 159 w 301"/>
                    <a:gd name="T17" fmla="*/ 336 h 445"/>
                    <a:gd name="T18" fmla="*/ 189 w 301"/>
                    <a:gd name="T19" fmla="*/ 332 h 445"/>
                    <a:gd name="T20" fmla="*/ 165 w 301"/>
                    <a:gd name="T21" fmla="*/ 311 h 445"/>
                    <a:gd name="T22" fmla="*/ 163 w 301"/>
                    <a:gd name="T23" fmla="*/ 275 h 445"/>
                    <a:gd name="T24" fmla="*/ 212 w 301"/>
                    <a:gd name="T25" fmla="*/ 264 h 445"/>
                    <a:gd name="T26" fmla="*/ 229 w 301"/>
                    <a:gd name="T27" fmla="*/ 243 h 445"/>
                    <a:gd name="T28" fmla="*/ 257 w 301"/>
                    <a:gd name="T29" fmla="*/ 260 h 445"/>
                    <a:gd name="T30" fmla="*/ 261 w 301"/>
                    <a:gd name="T31" fmla="*/ 241 h 445"/>
                    <a:gd name="T32" fmla="*/ 255 w 301"/>
                    <a:gd name="T33" fmla="*/ 166 h 445"/>
                    <a:gd name="T34" fmla="*/ 255 w 301"/>
                    <a:gd name="T35" fmla="*/ 162 h 445"/>
                    <a:gd name="T36" fmla="*/ 301 w 301"/>
                    <a:gd name="T37" fmla="*/ 124 h 445"/>
                    <a:gd name="T38" fmla="*/ 301 w 301"/>
                    <a:gd name="T39" fmla="*/ 41 h 445"/>
                    <a:gd name="T40" fmla="*/ 280 w 301"/>
                    <a:gd name="T41" fmla="*/ 32 h 445"/>
                    <a:gd name="T42" fmla="*/ 178 w 301"/>
                    <a:gd name="T43" fmla="*/ 0 h 445"/>
                    <a:gd name="T44" fmla="*/ 155 w 301"/>
                    <a:gd name="T45" fmla="*/ 15 h 445"/>
                    <a:gd name="T46" fmla="*/ 142 w 301"/>
                    <a:gd name="T47" fmla="*/ 5 h 445"/>
                    <a:gd name="T48" fmla="*/ 125 w 301"/>
                    <a:gd name="T49" fmla="*/ 20 h 445"/>
                    <a:gd name="T50" fmla="*/ 51 w 301"/>
                    <a:gd name="T51" fmla="*/ 20 h 445"/>
                    <a:gd name="T52" fmla="*/ 59 w 301"/>
                    <a:gd name="T53" fmla="*/ 30 h 445"/>
                    <a:gd name="T54" fmla="*/ 23 w 301"/>
                    <a:gd name="T55" fmla="*/ 88 h 445"/>
                    <a:gd name="T56" fmla="*/ 38 w 301"/>
                    <a:gd name="T57" fmla="*/ 132 h 445"/>
                    <a:gd name="T58" fmla="*/ 34 w 301"/>
                    <a:gd name="T59" fmla="*/ 200 h 445"/>
                    <a:gd name="T60" fmla="*/ 49 w 301"/>
                    <a:gd name="T61" fmla="*/ 228 h 445"/>
                    <a:gd name="T62" fmla="*/ 0 w 301"/>
                    <a:gd name="T63" fmla="*/ 273 h 445"/>
                    <a:gd name="T64" fmla="*/ 19 w 301"/>
                    <a:gd name="T65" fmla="*/ 307 h 445"/>
                    <a:gd name="T66" fmla="*/ 32 w 301"/>
                    <a:gd name="T67" fmla="*/ 33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1" h="445">
                      <a:moveTo>
                        <a:pt x="32" y="334"/>
                      </a:moveTo>
                      <a:lnTo>
                        <a:pt x="27" y="349"/>
                      </a:lnTo>
                      <a:lnTo>
                        <a:pt x="49" y="355"/>
                      </a:lnTo>
                      <a:lnTo>
                        <a:pt x="49" y="383"/>
                      </a:lnTo>
                      <a:lnTo>
                        <a:pt x="72" y="413"/>
                      </a:lnTo>
                      <a:lnTo>
                        <a:pt x="125" y="445"/>
                      </a:lnTo>
                      <a:lnTo>
                        <a:pt x="172" y="385"/>
                      </a:lnTo>
                      <a:lnTo>
                        <a:pt x="148" y="375"/>
                      </a:lnTo>
                      <a:lnTo>
                        <a:pt x="159" y="336"/>
                      </a:lnTo>
                      <a:lnTo>
                        <a:pt x="189" y="332"/>
                      </a:lnTo>
                      <a:lnTo>
                        <a:pt x="165" y="311"/>
                      </a:lnTo>
                      <a:lnTo>
                        <a:pt x="163" y="275"/>
                      </a:lnTo>
                      <a:lnTo>
                        <a:pt x="212" y="264"/>
                      </a:lnTo>
                      <a:lnTo>
                        <a:pt x="229" y="243"/>
                      </a:lnTo>
                      <a:lnTo>
                        <a:pt x="257" y="260"/>
                      </a:lnTo>
                      <a:lnTo>
                        <a:pt x="261" y="241"/>
                      </a:lnTo>
                      <a:lnTo>
                        <a:pt x="255" y="166"/>
                      </a:lnTo>
                      <a:lnTo>
                        <a:pt x="255" y="162"/>
                      </a:lnTo>
                      <a:lnTo>
                        <a:pt x="301" y="124"/>
                      </a:lnTo>
                      <a:lnTo>
                        <a:pt x="301" y="41"/>
                      </a:lnTo>
                      <a:lnTo>
                        <a:pt x="280" y="32"/>
                      </a:lnTo>
                      <a:lnTo>
                        <a:pt x="178" y="0"/>
                      </a:lnTo>
                      <a:lnTo>
                        <a:pt x="155" y="15"/>
                      </a:lnTo>
                      <a:lnTo>
                        <a:pt x="142" y="5"/>
                      </a:lnTo>
                      <a:lnTo>
                        <a:pt x="125" y="20"/>
                      </a:lnTo>
                      <a:lnTo>
                        <a:pt x="51" y="20"/>
                      </a:lnTo>
                      <a:lnTo>
                        <a:pt x="59" y="30"/>
                      </a:lnTo>
                      <a:lnTo>
                        <a:pt x="23" y="88"/>
                      </a:lnTo>
                      <a:lnTo>
                        <a:pt x="38" y="132"/>
                      </a:lnTo>
                      <a:lnTo>
                        <a:pt x="34" y="200"/>
                      </a:lnTo>
                      <a:lnTo>
                        <a:pt x="49" y="228"/>
                      </a:lnTo>
                      <a:lnTo>
                        <a:pt x="0" y="273"/>
                      </a:lnTo>
                      <a:lnTo>
                        <a:pt x="19" y="307"/>
                      </a:lnTo>
                      <a:lnTo>
                        <a:pt x="32" y="334"/>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52" name="80">
                  <a:extLst>
                    <a:ext uri="{FF2B5EF4-FFF2-40B4-BE49-F238E27FC236}">
                      <a16:creationId xmlns:a16="http://schemas.microsoft.com/office/drawing/2014/main" id="{B04E1A8D-8643-477D-A0DE-528B4D43C49B}"/>
                    </a:ext>
                  </a:extLst>
                </p:cNvPr>
                <p:cNvSpPr>
                  <a:spLocks/>
                </p:cNvSpPr>
                <p:nvPr/>
              </p:nvSpPr>
              <p:spPr bwMode="gray">
                <a:xfrm>
                  <a:off x="6192116" y="1866598"/>
                  <a:ext cx="614571" cy="426904"/>
                </a:xfrm>
                <a:custGeom>
                  <a:avLst/>
                  <a:gdLst>
                    <a:gd name="T0" fmla="*/ 6 w 429"/>
                    <a:gd name="T1" fmla="*/ 115 h 298"/>
                    <a:gd name="T2" fmla="*/ 72 w 429"/>
                    <a:gd name="T3" fmla="*/ 171 h 298"/>
                    <a:gd name="T4" fmla="*/ 93 w 429"/>
                    <a:gd name="T5" fmla="*/ 226 h 298"/>
                    <a:gd name="T6" fmla="*/ 108 w 429"/>
                    <a:gd name="T7" fmla="*/ 247 h 298"/>
                    <a:gd name="T8" fmla="*/ 202 w 429"/>
                    <a:gd name="T9" fmla="*/ 249 h 298"/>
                    <a:gd name="T10" fmla="*/ 295 w 429"/>
                    <a:gd name="T11" fmla="*/ 298 h 298"/>
                    <a:gd name="T12" fmla="*/ 306 w 429"/>
                    <a:gd name="T13" fmla="*/ 279 h 298"/>
                    <a:gd name="T14" fmla="*/ 331 w 429"/>
                    <a:gd name="T15" fmla="*/ 281 h 298"/>
                    <a:gd name="T16" fmla="*/ 348 w 429"/>
                    <a:gd name="T17" fmla="*/ 251 h 298"/>
                    <a:gd name="T18" fmla="*/ 370 w 429"/>
                    <a:gd name="T19" fmla="*/ 262 h 298"/>
                    <a:gd name="T20" fmla="*/ 408 w 429"/>
                    <a:gd name="T21" fmla="*/ 249 h 298"/>
                    <a:gd name="T22" fmla="*/ 393 w 429"/>
                    <a:gd name="T23" fmla="*/ 205 h 298"/>
                    <a:gd name="T24" fmla="*/ 429 w 429"/>
                    <a:gd name="T25" fmla="*/ 147 h 298"/>
                    <a:gd name="T26" fmla="*/ 421 w 429"/>
                    <a:gd name="T27" fmla="*/ 137 h 298"/>
                    <a:gd name="T28" fmla="*/ 402 w 429"/>
                    <a:gd name="T29" fmla="*/ 124 h 298"/>
                    <a:gd name="T30" fmla="*/ 346 w 429"/>
                    <a:gd name="T31" fmla="*/ 134 h 298"/>
                    <a:gd name="T32" fmla="*/ 344 w 429"/>
                    <a:gd name="T33" fmla="*/ 113 h 298"/>
                    <a:gd name="T34" fmla="*/ 323 w 429"/>
                    <a:gd name="T35" fmla="*/ 128 h 298"/>
                    <a:gd name="T36" fmla="*/ 329 w 429"/>
                    <a:gd name="T37" fmla="*/ 100 h 298"/>
                    <a:gd name="T38" fmla="*/ 312 w 429"/>
                    <a:gd name="T39" fmla="*/ 96 h 298"/>
                    <a:gd name="T40" fmla="*/ 310 w 429"/>
                    <a:gd name="T41" fmla="*/ 111 h 298"/>
                    <a:gd name="T42" fmla="*/ 282 w 429"/>
                    <a:gd name="T43" fmla="*/ 90 h 298"/>
                    <a:gd name="T44" fmla="*/ 259 w 429"/>
                    <a:gd name="T45" fmla="*/ 90 h 298"/>
                    <a:gd name="T46" fmla="*/ 246 w 429"/>
                    <a:gd name="T47" fmla="*/ 109 h 298"/>
                    <a:gd name="T48" fmla="*/ 238 w 429"/>
                    <a:gd name="T49" fmla="*/ 86 h 298"/>
                    <a:gd name="T50" fmla="*/ 263 w 429"/>
                    <a:gd name="T51" fmla="*/ 69 h 298"/>
                    <a:gd name="T52" fmla="*/ 253 w 429"/>
                    <a:gd name="T53" fmla="*/ 56 h 298"/>
                    <a:gd name="T54" fmla="*/ 183 w 429"/>
                    <a:gd name="T55" fmla="*/ 71 h 298"/>
                    <a:gd name="T56" fmla="*/ 134 w 429"/>
                    <a:gd name="T57" fmla="*/ 17 h 298"/>
                    <a:gd name="T58" fmla="*/ 93 w 429"/>
                    <a:gd name="T59" fmla="*/ 5 h 298"/>
                    <a:gd name="T60" fmla="*/ 70 w 429"/>
                    <a:gd name="T61" fmla="*/ 15 h 298"/>
                    <a:gd name="T62" fmla="*/ 55 w 429"/>
                    <a:gd name="T63" fmla="*/ 0 h 298"/>
                    <a:gd name="T64" fmla="*/ 40 w 429"/>
                    <a:gd name="T65" fmla="*/ 37 h 298"/>
                    <a:gd name="T66" fmla="*/ 72 w 429"/>
                    <a:gd name="T67" fmla="*/ 71 h 298"/>
                    <a:gd name="T68" fmla="*/ 40 w 429"/>
                    <a:gd name="T69" fmla="*/ 58 h 298"/>
                    <a:gd name="T70" fmla="*/ 0 w 429"/>
                    <a:gd name="T71" fmla="*/ 111 h 298"/>
                    <a:gd name="T72" fmla="*/ 6 w 429"/>
                    <a:gd name="T73" fmla="*/ 11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9" h="298">
                      <a:moveTo>
                        <a:pt x="6" y="115"/>
                      </a:moveTo>
                      <a:lnTo>
                        <a:pt x="72" y="171"/>
                      </a:lnTo>
                      <a:lnTo>
                        <a:pt x="93" y="226"/>
                      </a:lnTo>
                      <a:lnTo>
                        <a:pt x="108" y="247"/>
                      </a:lnTo>
                      <a:lnTo>
                        <a:pt x="202" y="249"/>
                      </a:lnTo>
                      <a:lnTo>
                        <a:pt x="295" y="298"/>
                      </a:lnTo>
                      <a:lnTo>
                        <a:pt x="306" y="279"/>
                      </a:lnTo>
                      <a:lnTo>
                        <a:pt x="331" y="281"/>
                      </a:lnTo>
                      <a:lnTo>
                        <a:pt x="348" y="251"/>
                      </a:lnTo>
                      <a:lnTo>
                        <a:pt x="370" y="262"/>
                      </a:lnTo>
                      <a:lnTo>
                        <a:pt x="408" y="249"/>
                      </a:lnTo>
                      <a:lnTo>
                        <a:pt x="393" y="205"/>
                      </a:lnTo>
                      <a:lnTo>
                        <a:pt x="429" y="147"/>
                      </a:lnTo>
                      <a:lnTo>
                        <a:pt x="421" y="137"/>
                      </a:lnTo>
                      <a:lnTo>
                        <a:pt x="402" y="124"/>
                      </a:lnTo>
                      <a:lnTo>
                        <a:pt x="346" y="134"/>
                      </a:lnTo>
                      <a:lnTo>
                        <a:pt x="344" y="113"/>
                      </a:lnTo>
                      <a:lnTo>
                        <a:pt x="323" y="128"/>
                      </a:lnTo>
                      <a:lnTo>
                        <a:pt x="329" y="100"/>
                      </a:lnTo>
                      <a:lnTo>
                        <a:pt x="312" y="96"/>
                      </a:lnTo>
                      <a:lnTo>
                        <a:pt x="310" y="111"/>
                      </a:lnTo>
                      <a:lnTo>
                        <a:pt x="282" y="90"/>
                      </a:lnTo>
                      <a:lnTo>
                        <a:pt x="259" y="90"/>
                      </a:lnTo>
                      <a:lnTo>
                        <a:pt x="246" y="109"/>
                      </a:lnTo>
                      <a:lnTo>
                        <a:pt x="238" y="86"/>
                      </a:lnTo>
                      <a:lnTo>
                        <a:pt x="263" y="69"/>
                      </a:lnTo>
                      <a:lnTo>
                        <a:pt x="253" y="56"/>
                      </a:lnTo>
                      <a:lnTo>
                        <a:pt x="183" y="71"/>
                      </a:lnTo>
                      <a:lnTo>
                        <a:pt x="134" y="17"/>
                      </a:lnTo>
                      <a:lnTo>
                        <a:pt x="93" y="5"/>
                      </a:lnTo>
                      <a:lnTo>
                        <a:pt x="70" y="15"/>
                      </a:lnTo>
                      <a:lnTo>
                        <a:pt x="55" y="0"/>
                      </a:lnTo>
                      <a:lnTo>
                        <a:pt x="40" y="37"/>
                      </a:lnTo>
                      <a:lnTo>
                        <a:pt x="72" y="71"/>
                      </a:lnTo>
                      <a:lnTo>
                        <a:pt x="40" y="58"/>
                      </a:lnTo>
                      <a:lnTo>
                        <a:pt x="0" y="111"/>
                      </a:lnTo>
                      <a:lnTo>
                        <a:pt x="6" y="115"/>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53" name="60">
                  <a:extLst>
                    <a:ext uri="{FF2B5EF4-FFF2-40B4-BE49-F238E27FC236}">
                      <a16:creationId xmlns:a16="http://schemas.microsoft.com/office/drawing/2014/main" id="{715B725C-319F-4FB3-8958-01CF99EEEAEA}"/>
                    </a:ext>
                  </a:extLst>
                </p:cNvPr>
                <p:cNvSpPr>
                  <a:spLocks/>
                </p:cNvSpPr>
                <p:nvPr/>
              </p:nvSpPr>
              <p:spPr bwMode="gray">
                <a:xfrm>
                  <a:off x="6292396" y="2190357"/>
                  <a:ext cx="499966" cy="365305"/>
                </a:xfrm>
                <a:custGeom>
                  <a:avLst/>
                  <a:gdLst>
                    <a:gd name="T0" fmla="*/ 0 w 349"/>
                    <a:gd name="T1" fmla="*/ 187 h 255"/>
                    <a:gd name="T2" fmla="*/ 23 w 349"/>
                    <a:gd name="T3" fmla="*/ 178 h 255"/>
                    <a:gd name="T4" fmla="*/ 2 w 349"/>
                    <a:gd name="T5" fmla="*/ 127 h 255"/>
                    <a:gd name="T6" fmla="*/ 21 w 349"/>
                    <a:gd name="T7" fmla="*/ 98 h 255"/>
                    <a:gd name="T8" fmla="*/ 6 w 349"/>
                    <a:gd name="T9" fmla="*/ 93 h 255"/>
                    <a:gd name="T10" fmla="*/ 2 w 349"/>
                    <a:gd name="T11" fmla="*/ 40 h 255"/>
                    <a:gd name="T12" fmla="*/ 15 w 349"/>
                    <a:gd name="T13" fmla="*/ 27 h 255"/>
                    <a:gd name="T14" fmla="*/ 0 w 349"/>
                    <a:gd name="T15" fmla="*/ 21 h 255"/>
                    <a:gd name="T16" fmla="*/ 23 w 349"/>
                    <a:gd name="T17" fmla="*/ 0 h 255"/>
                    <a:gd name="T18" fmla="*/ 38 w 349"/>
                    <a:gd name="T19" fmla="*/ 21 h 255"/>
                    <a:gd name="T20" fmla="*/ 132 w 349"/>
                    <a:gd name="T21" fmla="*/ 23 h 255"/>
                    <a:gd name="T22" fmla="*/ 225 w 349"/>
                    <a:gd name="T23" fmla="*/ 72 h 255"/>
                    <a:gd name="T24" fmla="*/ 236 w 349"/>
                    <a:gd name="T25" fmla="*/ 53 h 255"/>
                    <a:gd name="T26" fmla="*/ 261 w 349"/>
                    <a:gd name="T27" fmla="*/ 55 h 255"/>
                    <a:gd name="T28" fmla="*/ 278 w 349"/>
                    <a:gd name="T29" fmla="*/ 25 h 255"/>
                    <a:gd name="T30" fmla="*/ 300 w 349"/>
                    <a:gd name="T31" fmla="*/ 36 h 255"/>
                    <a:gd name="T32" fmla="*/ 338 w 349"/>
                    <a:gd name="T33" fmla="*/ 23 h 255"/>
                    <a:gd name="T34" fmla="*/ 334 w 349"/>
                    <a:gd name="T35" fmla="*/ 91 h 255"/>
                    <a:gd name="T36" fmla="*/ 349 w 349"/>
                    <a:gd name="T37" fmla="*/ 119 h 255"/>
                    <a:gd name="T38" fmla="*/ 300 w 349"/>
                    <a:gd name="T39" fmla="*/ 164 h 255"/>
                    <a:gd name="T40" fmla="*/ 319 w 349"/>
                    <a:gd name="T41" fmla="*/ 198 h 255"/>
                    <a:gd name="T42" fmla="*/ 332 w 349"/>
                    <a:gd name="T43" fmla="*/ 225 h 255"/>
                    <a:gd name="T44" fmla="*/ 327 w 349"/>
                    <a:gd name="T45" fmla="*/ 240 h 255"/>
                    <a:gd name="T46" fmla="*/ 306 w 349"/>
                    <a:gd name="T47" fmla="*/ 255 h 255"/>
                    <a:gd name="T48" fmla="*/ 210 w 349"/>
                    <a:gd name="T49" fmla="*/ 253 h 255"/>
                    <a:gd name="T50" fmla="*/ 147 w 349"/>
                    <a:gd name="T51" fmla="*/ 212 h 255"/>
                    <a:gd name="T52" fmla="*/ 121 w 349"/>
                    <a:gd name="T53" fmla="*/ 223 h 255"/>
                    <a:gd name="T54" fmla="*/ 89 w 349"/>
                    <a:gd name="T55" fmla="*/ 204 h 255"/>
                    <a:gd name="T56" fmla="*/ 42 w 349"/>
                    <a:gd name="T57" fmla="*/ 219 h 255"/>
                    <a:gd name="T58" fmla="*/ 8 w 349"/>
                    <a:gd name="T59" fmla="*/ 212 h 255"/>
                    <a:gd name="T60" fmla="*/ 0 w 349"/>
                    <a:gd name="T61" fmla="*/ 191 h 255"/>
                    <a:gd name="T62" fmla="*/ 0 w 349"/>
                    <a:gd name="T63" fmla="*/ 189 h 255"/>
                    <a:gd name="T64" fmla="*/ 0 w 349"/>
                    <a:gd name="T65" fmla="*/ 18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9" h="255">
                      <a:moveTo>
                        <a:pt x="0" y="187"/>
                      </a:moveTo>
                      <a:lnTo>
                        <a:pt x="23" y="178"/>
                      </a:lnTo>
                      <a:lnTo>
                        <a:pt x="2" y="127"/>
                      </a:lnTo>
                      <a:lnTo>
                        <a:pt x="21" y="98"/>
                      </a:lnTo>
                      <a:lnTo>
                        <a:pt x="6" y="93"/>
                      </a:lnTo>
                      <a:lnTo>
                        <a:pt x="2" y="40"/>
                      </a:lnTo>
                      <a:lnTo>
                        <a:pt x="15" y="27"/>
                      </a:lnTo>
                      <a:lnTo>
                        <a:pt x="0" y="21"/>
                      </a:lnTo>
                      <a:lnTo>
                        <a:pt x="23" y="0"/>
                      </a:lnTo>
                      <a:lnTo>
                        <a:pt x="38" y="21"/>
                      </a:lnTo>
                      <a:lnTo>
                        <a:pt x="132" y="23"/>
                      </a:lnTo>
                      <a:lnTo>
                        <a:pt x="225" y="72"/>
                      </a:lnTo>
                      <a:lnTo>
                        <a:pt x="236" y="53"/>
                      </a:lnTo>
                      <a:lnTo>
                        <a:pt x="261" y="55"/>
                      </a:lnTo>
                      <a:lnTo>
                        <a:pt x="278" y="25"/>
                      </a:lnTo>
                      <a:lnTo>
                        <a:pt x="300" y="36"/>
                      </a:lnTo>
                      <a:lnTo>
                        <a:pt x="338" y="23"/>
                      </a:lnTo>
                      <a:lnTo>
                        <a:pt x="334" y="91"/>
                      </a:lnTo>
                      <a:lnTo>
                        <a:pt x="349" y="119"/>
                      </a:lnTo>
                      <a:lnTo>
                        <a:pt x="300" y="164"/>
                      </a:lnTo>
                      <a:lnTo>
                        <a:pt x="319" y="198"/>
                      </a:lnTo>
                      <a:lnTo>
                        <a:pt x="332" y="225"/>
                      </a:lnTo>
                      <a:lnTo>
                        <a:pt x="327" y="240"/>
                      </a:lnTo>
                      <a:lnTo>
                        <a:pt x="306" y="255"/>
                      </a:lnTo>
                      <a:lnTo>
                        <a:pt x="210" y="253"/>
                      </a:lnTo>
                      <a:lnTo>
                        <a:pt x="147" y="212"/>
                      </a:lnTo>
                      <a:lnTo>
                        <a:pt x="121" y="223"/>
                      </a:lnTo>
                      <a:lnTo>
                        <a:pt x="89" y="204"/>
                      </a:lnTo>
                      <a:lnTo>
                        <a:pt x="42" y="219"/>
                      </a:lnTo>
                      <a:lnTo>
                        <a:pt x="8" y="212"/>
                      </a:lnTo>
                      <a:lnTo>
                        <a:pt x="0" y="191"/>
                      </a:lnTo>
                      <a:lnTo>
                        <a:pt x="0" y="189"/>
                      </a:lnTo>
                      <a:lnTo>
                        <a:pt x="0" y="187"/>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grpSp>
          <p:grpSp>
            <p:nvGrpSpPr>
              <p:cNvPr id="348" name="Nord Pas de Calais (Formes)">
                <a:extLst>
                  <a:ext uri="{FF2B5EF4-FFF2-40B4-BE49-F238E27FC236}">
                    <a16:creationId xmlns:a16="http://schemas.microsoft.com/office/drawing/2014/main" id="{0ABE8715-B8C9-439F-8F20-EA739C753CC7}"/>
                  </a:ext>
                </a:extLst>
              </p:cNvPr>
              <p:cNvGrpSpPr/>
              <p:nvPr/>
            </p:nvGrpSpPr>
            <p:grpSpPr>
              <a:xfrm>
                <a:off x="6270908" y="1498428"/>
                <a:ext cx="879595" cy="581621"/>
                <a:chOff x="6270908" y="1498428"/>
                <a:chExt cx="879595" cy="581621"/>
              </a:xfrm>
              <a:grpFill/>
            </p:grpSpPr>
            <p:sp>
              <p:nvSpPr>
                <p:cNvPr id="349" name="59">
                  <a:extLst>
                    <a:ext uri="{FF2B5EF4-FFF2-40B4-BE49-F238E27FC236}">
                      <a16:creationId xmlns:a16="http://schemas.microsoft.com/office/drawing/2014/main" id="{D5F18F77-C882-4E0F-94B0-17715D26B932}"/>
                    </a:ext>
                  </a:extLst>
                </p:cNvPr>
                <p:cNvSpPr>
                  <a:spLocks/>
                </p:cNvSpPr>
                <p:nvPr/>
              </p:nvSpPr>
              <p:spPr bwMode="gray">
                <a:xfrm>
                  <a:off x="6441383" y="1498428"/>
                  <a:ext cx="709120" cy="581621"/>
                </a:xfrm>
                <a:custGeom>
                  <a:avLst/>
                  <a:gdLst>
                    <a:gd name="T0" fmla="*/ 104 w 495"/>
                    <a:gd name="T1" fmla="*/ 0 h 406"/>
                    <a:gd name="T2" fmla="*/ 123 w 495"/>
                    <a:gd name="T3" fmla="*/ 51 h 406"/>
                    <a:gd name="T4" fmla="*/ 117 w 495"/>
                    <a:gd name="T5" fmla="*/ 85 h 406"/>
                    <a:gd name="T6" fmla="*/ 166 w 495"/>
                    <a:gd name="T7" fmla="*/ 136 h 406"/>
                    <a:gd name="T8" fmla="*/ 185 w 495"/>
                    <a:gd name="T9" fmla="*/ 143 h 406"/>
                    <a:gd name="T10" fmla="*/ 213 w 495"/>
                    <a:gd name="T11" fmla="*/ 115 h 406"/>
                    <a:gd name="T12" fmla="*/ 240 w 495"/>
                    <a:gd name="T13" fmla="*/ 111 h 406"/>
                    <a:gd name="T14" fmla="*/ 268 w 495"/>
                    <a:gd name="T15" fmla="*/ 145 h 406"/>
                    <a:gd name="T16" fmla="*/ 274 w 495"/>
                    <a:gd name="T17" fmla="*/ 206 h 406"/>
                    <a:gd name="T18" fmla="*/ 351 w 495"/>
                    <a:gd name="T19" fmla="*/ 217 h 406"/>
                    <a:gd name="T20" fmla="*/ 374 w 495"/>
                    <a:gd name="T21" fmla="*/ 289 h 406"/>
                    <a:gd name="T22" fmla="*/ 381 w 495"/>
                    <a:gd name="T23" fmla="*/ 270 h 406"/>
                    <a:gd name="T24" fmla="*/ 449 w 495"/>
                    <a:gd name="T25" fmla="*/ 268 h 406"/>
                    <a:gd name="T26" fmla="*/ 474 w 495"/>
                    <a:gd name="T27" fmla="*/ 304 h 406"/>
                    <a:gd name="T28" fmla="*/ 491 w 495"/>
                    <a:gd name="T29" fmla="*/ 298 h 406"/>
                    <a:gd name="T30" fmla="*/ 472 w 495"/>
                    <a:gd name="T31" fmla="*/ 349 h 406"/>
                    <a:gd name="T32" fmla="*/ 489 w 495"/>
                    <a:gd name="T33" fmla="*/ 351 h 406"/>
                    <a:gd name="T34" fmla="*/ 495 w 495"/>
                    <a:gd name="T35" fmla="*/ 374 h 406"/>
                    <a:gd name="T36" fmla="*/ 476 w 495"/>
                    <a:gd name="T37" fmla="*/ 406 h 406"/>
                    <a:gd name="T38" fmla="*/ 374 w 495"/>
                    <a:gd name="T39" fmla="*/ 374 h 406"/>
                    <a:gd name="T40" fmla="*/ 351 w 495"/>
                    <a:gd name="T41" fmla="*/ 389 h 406"/>
                    <a:gd name="T42" fmla="*/ 338 w 495"/>
                    <a:gd name="T43" fmla="*/ 379 h 406"/>
                    <a:gd name="T44" fmla="*/ 321 w 495"/>
                    <a:gd name="T45" fmla="*/ 394 h 406"/>
                    <a:gd name="T46" fmla="*/ 247 w 495"/>
                    <a:gd name="T47" fmla="*/ 394 h 406"/>
                    <a:gd name="T48" fmla="*/ 228 w 495"/>
                    <a:gd name="T49" fmla="*/ 381 h 406"/>
                    <a:gd name="T50" fmla="*/ 251 w 495"/>
                    <a:gd name="T51" fmla="*/ 315 h 406"/>
                    <a:gd name="T52" fmla="*/ 211 w 495"/>
                    <a:gd name="T53" fmla="*/ 302 h 406"/>
                    <a:gd name="T54" fmla="*/ 228 w 495"/>
                    <a:gd name="T55" fmla="*/ 285 h 406"/>
                    <a:gd name="T56" fmla="*/ 204 w 495"/>
                    <a:gd name="T57" fmla="*/ 251 h 406"/>
                    <a:gd name="T58" fmla="*/ 225 w 495"/>
                    <a:gd name="T59" fmla="*/ 236 h 406"/>
                    <a:gd name="T60" fmla="*/ 200 w 495"/>
                    <a:gd name="T61" fmla="*/ 211 h 406"/>
                    <a:gd name="T62" fmla="*/ 162 w 495"/>
                    <a:gd name="T63" fmla="*/ 204 h 406"/>
                    <a:gd name="T64" fmla="*/ 177 w 495"/>
                    <a:gd name="T65" fmla="*/ 166 h 406"/>
                    <a:gd name="T66" fmla="*/ 164 w 495"/>
                    <a:gd name="T67" fmla="*/ 153 h 406"/>
                    <a:gd name="T68" fmla="*/ 149 w 495"/>
                    <a:gd name="T69" fmla="*/ 177 h 406"/>
                    <a:gd name="T70" fmla="*/ 62 w 495"/>
                    <a:gd name="T71" fmla="*/ 149 h 406"/>
                    <a:gd name="T72" fmla="*/ 55 w 495"/>
                    <a:gd name="T73" fmla="*/ 126 h 406"/>
                    <a:gd name="T74" fmla="*/ 70 w 495"/>
                    <a:gd name="T75" fmla="*/ 115 h 406"/>
                    <a:gd name="T76" fmla="*/ 26 w 495"/>
                    <a:gd name="T77" fmla="*/ 100 h 406"/>
                    <a:gd name="T78" fmla="*/ 0 w 495"/>
                    <a:gd name="T79" fmla="*/ 30 h 406"/>
                    <a:gd name="T80" fmla="*/ 104 w 495"/>
                    <a:gd name="T81" fmla="*/ 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5" h="406">
                      <a:moveTo>
                        <a:pt x="104" y="0"/>
                      </a:moveTo>
                      <a:lnTo>
                        <a:pt x="123" y="51"/>
                      </a:lnTo>
                      <a:lnTo>
                        <a:pt x="117" y="85"/>
                      </a:lnTo>
                      <a:lnTo>
                        <a:pt x="166" y="136"/>
                      </a:lnTo>
                      <a:lnTo>
                        <a:pt x="185" y="143"/>
                      </a:lnTo>
                      <a:lnTo>
                        <a:pt x="213" y="115"/>
                      </a:lnTo>
                      <a:lnTo>
                        <a:pt x="240" y="111"/>
                      </a:lnTo>
                      <a:lnTo>
                        <a:pt x="268" y="145"/>
                      </a:lnTo>
                      <a:lnTo>
                        <a:pt x="274" y="206"/>
                      </a:lnTo>
                      <a:lnTo>
                        <a:pt x="351" y="217"/>
                      </a:lnTo>
                      <a:lnTo>
                        <a:pt x="374" y="289"/>
                      </a:lnTo>
                      <a:lnTo>
                        <a:pt x="381" y="270"/>
                      </a:lnTo>
                      <a:lnTo>
                        <a:pt x="449" y="268"/>
                      </a:lnTo>
                      <a:lnTo>
                        <a:pt x="474" y="304"/>
                      </a:lnTo>
                      <a:lnTo>
                        <a:pt x="491" y="298"/>
                      </a:lnTo>
                      <a:lnTo>
                        <a:pt x="472" y="349"/>
                      </a:lnTo>
                      <a:lnTo>
                        <a:pt x="489" y="351"/>
                      </a:lnTo>
                      <a:lnTo>
                        <a:pt x="495" y="374"/>
                      </a:lnTo>
                      <a:lnTo>
                        <a:pt x="476" y="406"/>
                      </a:lnTo>
                      <a:lnTo>
                        <a:pt x="374" y="374"/>
                      </a:lnTo>
                      <a:lnTo>
                        <a:pt x="351" y="389"/>
                      </a:lnTo>
                      <a:lnTo>
                        <a:pt x="338" y="379"/>
                      </a:lnTo>
                      <a:lnTo>
                        <a:pt x="321" y="394"/>
                      </a:lnTo>
                      <a:lnTo>
                        <a:pt x="247" y="394"/>
                      </a:lnTo>
                      <a:lnTo>
                        <a:pt x="228" y="381"/>
                      </a:lnTo>
                      <a:lnTo>
                        <a:pt x="251" y="315"/>
                      </a:lnTo>
                      <a:lnTo>
                        <a:pt x="211" y="302"/>
                      </a:lnTo>
                      <a:lnTo>
                        <a:pt x="228" y="285"/>
                      </a:lnTo>
                      <a:lnTo>
                        <a:pt x="204" y="251"/>
                      </a:lnTo>
                      <a:lnTo>
                        <a:pt x="225" y="236"/>
                      </a:lnTo>
                      <a:lnTo>
                        <a:pt x="200" y="211"/>
                      </a:lnTo>
                      <a:lnTo>
                        <a:pt x="162" y="204"/>
                      </a:lnTo>
                      <a:lnTo>
                        <a:pt x="177" y="166"/>
                      </a:lnTo>
                      <a:lnTo>
                        <a:pt x="164" y="153"/>
                      </a:lnTo>
                      <a:lnTo>
                        <a:pt x="149" y="177"/>
                      </a:lnTo>
                      <a:lnTo>
                        <a:pt x="62" y="149"/>
                      </a:lnTo>
                      <a:lnTo>
                        <a:pt x="55" y="126"/>
                      </a:lnTo>
                      <a:lnTo>
                        <a:pt x="70" y="115"/>
                      </a:lnTo>
                      <a:lnTo>
                        <a:pt x="26" y="100"/>
                      </a:lnTo>
                      <a:lnTo>
                        <a:pt x="0" y="30"/>
                      </a:lnTo>
                      <a:lnTo>
                        <a:pt x="104" y="0"/>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50" name="62">
                  <a:extLst>
                    <a:ext uri="{FF2B5EF4-FFF2-40B4-BE49-F238E27FC236}">
                      <a16:creationId xmlns:a16="http://schemas.microsoft.com/office/drawing/2014/main" id="{C6232424-75CC-4774-AA5F-58E6C280420B}"/>
                    </a:ext>
                  </a:extLst>
                </p:cNvPr>
                <p:cNvSpPr>
                  <a:spLocks/>
                </p:cNvSpPr>
                <p:nvPr/>
              </p:nvSpPr>
              <p:spPr bwMode="gray">
                <a:xfrm>
                  <a:off x="6270908" y="1541405"/>
                  <a:ext cx="530049" cy="517157"/>
                </a:xfrm>
                <a:custGeom>
                  <a:avLst/>
                  <a:gdLst>
                    <a:gd name="T0" fmla="*/ 0 w 370"/>
                    <a:gd name="T1" fmla="*/ 227 h 361"/>
                    <a:gd name="T2" fmla="*/ 15 w 370"/>
                    <a:gd name="T3" fmla="*/ 242 h 361"/>
                    <a:gd name="T4" fmla="*/ 38 w 370"/>
                    <a:gd name="T5" fmla="*/ 232 h 361"/>
                    <a:gd name="T6" fmla="*/ 79 w 370"/>
                    <a:gd name="T7" fmla="*/ 244 h 361"/>
                    <a:gd name="T8" fmla="*/ 128 w 370"/>
                    <a:gd name="T9" fmla="*/ 298 h 361"/>
                    <a:gd name="T10" fmla="*/ 198 w 370"/>
                    <a:gd name="T11" fmla="*/ 283 h 361"/>
                    <a:gd name="T12" fmla="*/ 208 w 370"/>
                    <a:gd name="T13" fmla="*/ 296 h 361"/>
                    <a:gd name="T14" fmla="*/ 183 w 370"/>
                    <a:gd name="T15" fmla="*/ 313 h 361"/>
                    <a:gd name="T16" fmla="*/ 191 w 370"/>
                    <a:gd name="T17" fmla="*/ 336 h 361"/>
                    <a:gd name="T18" fmla="*/ 204 w 370"/>
                    <a:gd name="T19" fmla="*/ 317 h 361"/>
                    <a:gd name="T20" fmla="*/ 227 w 370"/>
                    <a:gd name="T21" fmla="*/ 317 h 361"/>
                    <a:gd name="T22" fmla="*/ 255 w 370"/>
                    <a:gd name="T23" fmla="*/ 338 h 361"/>
                    <a:gd name="T24" fmla="*/ 257 w 370"/>
                    <a:gd name="T25" fmla="*/ 323 h 361"/>
                    <a:gd name="T26" fmla="*/ 274 w 370"/>
                    <a:gd name="T27" fmla="*/ 327 h 361"/>
                    <a:gd name="T28" fmla="*/ 268 w 370"/>
                    <a:gd name="T29" fmla="*/ 355 h 361"/>
                    <a:gd name="T30" fmla="*/ 289 w 370"/>
                    <a:gd name="T31" fmla="*/ 340 h 361"/>
                    <a:gd name="T32" fmla="*/ 291 w 370"/>
                    <a:gd name="T33" fmla="*/ 361 h 361"/>
                    <a:gd name="T34" fmla="*/ 347 w 370"/>
                    <a:gd name="T35" fmla="*/ 351 h 361"/>
                    <a:gd name="T36" fmla="*/ 370 w 370"/>
                    <a:gd name="T37" fmla="*/ 285 h 361"/>
                    <a:gd name="T38" fmla="*/ 330 w 370"/>
                    <a:gd name="T39" fmla="*/ 272 h 361"/>
                    <a:gd name="T40" fmla="*/ 347 w 370"/>
                    <a:gd name="T41" fmla="*/ 255 h 361"/>
                    <a:gd name="T42" fmla="*/ 323 w 370"/>
                    <a:gd name="T43" fmla="*/ 221 h 361"/>
                    <a:gd name="T44" fmla="*/ 344 w 370"/>
                    <a:gd name="T45" fmla="*/ 206 h 361"/>
                    <a:gd name="T46" fmla="*/ 319 w 370"/>
                    <a:gd name="T47" fmla="*/ 181 h 361"/>
                    <a:gd name="T48" fmla="*/ 281 w 370"/>
                    <a:gd name="T49" fmla="*/ 174 h 361"/>
                    <a:gd name="T50" fmla="*/ 296 w 370"/>
                    <a:gd name="T51" fmla="*/ 136 h 361"/>
                    <a:gd name="T52" fmla="*/ 283 w 370"/>
                    <a:gd name="T53" fmla="*/ 123 h 361"/>
                    <a:gd name="T54" fmla="*/ 268 w 370"/>
                    <a:gd name="T55" fmla="*/ 147 h 361"/>
                    <a:gd name="T56" fmla="*/ 181 w 370"/>
                    <a:gd name="T57" fmla="*/ 119 h 361"/>
                    <a:gd name="T58" fmla="*/ 174 w 370"/>
                    <a:gd name="T59" fmla="*/ 96 h 361"/>
                    <a:gd name="T60" fmla="*/ 189 w 370"/>
                    <a:gd name="T61" fmla="*/ 85 h 361"/>
                    <a:gd name="T62" fmla="*/ 145 w 370"/>
                    <a:gd name="T63" fmla="*/ 70 h 361"/>
                    <a:gd name="T64" fmla="*/ 119 w 370"/>
                    <a:gd name="T65" fmla="*/ 0 h 361"/>
                    <a:gd name="T66" fmla="*/ 83 w 370"/>
                    <a:gd name="T67" fmla="*/ 2 h 361"/>
                    <a:gd name="T68" fmla="*/ 0 w 370"/>
                    <a:gd name="T69" fmla="*/ 45 h 361"/>
                    <a:gd name="T70" fmla="*/ 0 w 370"/>
                    <a:gd name="T71" fmla="*/ 227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0" h="361">
                      <a:moveTo>
                        <a:pt x="0" y="227"/>
                      </a:moveTo>
                      <a:lnTo>
                        <a:pt x="15" y="242"/>
                      </a:lnTo>
                      <a:lnTo>
                        <a:pt x="38" y="232"/>
                      </a:lnTo>
                      <a:lnTo>
                        <a:pt x="79" y="244"/>
                      </a:lnTo>
                      <a:lnTo>
                        <a:pt x="128" y="298"/>
                      </a:lnTo>
                      <a:lnTo>
                        <a:pt x="198" y="283"/>
                      </a:lnTo>
                      <a:lnTo>
                        <a:pt x="208" y="296"/>
                      </a:lnTo>
                      <a:lnTo>
                        <a:pt x="183" y="313"/>
                      </a:lnTo>
                      <a:lnTo>
                        <a:pt x="191" y="336"/>
                      </a:lnTo>
                      <a:lnTo>
                        <a:pt x="204" y="317"/>
                      </a:lnTo>
                      <a:lnTo>
                        <a:pt x="227" y="317"/>
                      </a:lnTo>
                      <a:lnTo>
                        <a:pt x="255" y="338"/>
                      </a:lnTo>
                      <a:lnTo>
                        <a:pt x="257" y="323"/>
                      </a:lnTo>
                      <a:lnTo>
                        <a:pt x="274" y="327"/>
                      </a:lnTo>
                      <a:lnTo>
                        <a:pt x="268" y="355"/>
                      </a:lnTo>
                      <a:lnTo>
                        <a:pt x="289" y="340"/>
                      </a:lnTo>
                      <a:lnTo>
                        <a:pt x="291" y="361"/>
                      </a:lnTo>
                      <a:lnTo>
                        <a:pt x="347" y="351"/>
                      </a:lnTo>
                      <a:lnTo>
                        <a:pt x="370" y="285"/>
                      </a:lnTo>
                      <a:lnTo>
                        <a:pt x="330" y="272"/>
                      </a:lnTo>
                      <a:lnTo>
                        <a:pt x="347" y="255"/>
                      </a:lnTo>
                      <a:lnTo>
                        <a:pt x="323" y="221"/>
                      </a:lnTo>
                      <a:lnTo>
                        <a:pt x="344" y="206"/>
                      </a:lnTo>
                      <a:lnTo>
                        <a:pt x="319" y="181"/>
                      </a:lnTo>
                      <a:lnTo>
                        <a:pt x="281" y="174"/>
                      </a:lnTo>
                      <a:lnTo>
                        <a:pt x="296" y="136"/>
                      </a:lnTo>
                      <a:lnTo>
                        <a:pt x="283" y="123"/>
                      </a:lnTo>
                      <a:lnTo>
                        <a:pt x="268" y="147"/>
                      </a:lnTo>
                      <a:lnTo>
                        <a:pt x="181" y="119"/>
                      </a:lnTo>
                      <a:lnTo>
                        <a:pt x="174" y="96"/>
                      </a:lnTo>
                      <a:lnTo>
                        <a:pt x="189" y="85"/>
                      </a:lnTo>
                      <a:lnTo>
                        <a:pt x="145" y="70"/>
                      </a:lnTo>
                      <a:lnTo>
                        <a:pt x="119" y="0"/>
                      </a:lnTo>
                      <a:lnTo>
                        <a:pt x="83" y="2"/>
                      </a:lnTo>
                      <a:lnTo>
                        <a:pt x="0" y="45"/>
                      </a:lnTo>
                      <a:lnTo>
                        <a:pt x="0" y="227"/>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sz="800">
                    <a:solidFill>
                      <a:srgbClr val="503078"/>
                    </a:solidFill>
                    <a:latin typeface="Tahoma"/>
                  </a:endParaRPr>
                </a:p>
              </p:txBody>
            </p:sp>
          </p:grpSp>
        </p:grpSp>
        <p:grpSp>
          <p:nvGrpSpPr>
            <p:cNvPr id="153" name="Nord Pas de Calais Picardie (N° Départements)">
              <a:extLst>
                <a:ext uri="{FF2B5EF4-FFF2-40B4-BE49-F238E27FC236}">
                  <a16:creationId xmlns:a16="http://schemas.microsoft.com/office/drawing/2014/main" id="{E7251BE5-32FE-49E0-842F-B1BB7618EBF8}"/>
                </a:ext>
              </a:extLst>
            </p:cNvPr>
            <p:cNvGrpSpPr/>
            <p:nvPr/>
          </p:nvGrpSpPr>
          <p:grpSpPr>
            <a:xfrm>
              <a:off x="7139279" y="1478897"/>
              <a:ext cx="613012" cy="731174"/>
              <a:chOff x="6408405" y="1716898"/>
              <a:chExt cx="613012" cy="731174"/>
            </a:xfrm>
          </p:grpSpPr>
          <p:grpSp>
            <p:nvGrpSpPr>
              <p:cNvPr id="340" name="Picardie (N° Départements)">
                <a:extLst>
                  <a:ext uri="{FF2B5EF4-FFF2-40B4-BE49-F238E27FC236}">
                    <a16:creationId xmlns:a16="http://schemas.microsoft.com/office/drawing/2014/main" id="{38F42574-379B-44D1-9BC2-A2D87359149B}"/>
                  </a:ext>
                </a:extLst>
              </p:cNvPr>
              <p:cNvGrpSpPr/>
              <p:nvPr/>
            </p:nvGrpSpPr>
            <p:grpSpPr>
              <a:xfrm>
                <a:off x="6408405" y="1996965"/>
                <a:ext cx="613012" cy="451107"/>
                <a:chOff x="6408405" y="1996965"/>
                <a:chExt cx="613012" cy="451107"/>
              </a:xfrm>
            </p:grpSpPr>
            <p:sp>
              <p:nvSpPr>
                <p:cNvPr id="344" name="02">
                  <a:extLst>
                    <a:ext uri="{FF2B5EF4-FFF2-40B4-BE49-F238E27FC236}">
                      <a16:creationId xmlns:a16="http://schemas.microsoft.com/office/drawing/2014/main" id="{7698AF3A-85F7-4704-88D4-0B1B3CC3441A}"/>
                    </a:ext>
                  </a:extLst>
                </p:cNvPr>
                <p:cNvSpPr txBox="1"/>
                <p:nvPr/>
              </p:nvSpPr>
              <p:spPr>
                <a:xfrm>
                  <a:off x="6836587" y="2186784"/>
                  <a:ext cx="184830" cy="166169"/>
                </a:xfrm>
                <a:prstGeom prst="rect">
                  <a:avLst/>
                </a:prstGeom>
                <a:noFill/>
              </p:spPr>
              <p:txBody>
                <a:bodyPr wrap="none" lIns="0" tIns="0" rIns="0" bIns="0" rtlCol="0">
                  <a:noAutofit/>
                </a:bodyPr>
                <a:lstStyle/>
                <a:p>
                  <a:r>
                    <a:rPr lang="fr-FR" sz="800">
                      <a:solidFill>
                        <a:srgbClr val="FFFFFF"/>
                      </a:solidFill>
                      <a:latin typeface="Tahoma"/>
                    </a:rPr>
                    <a:t>02</a:t>
                  </a:r>
                </a:p>
              </p:txBody>
            </p:sp>
            <p:sp>
              <p:nvSpPr>
                <p:cNvPr id="345" name="60">
                  <a:extLst>
                    <a:ext uri="{FF2B5EF4-FFF2-40B4-BE49-F238E27FC236}">
                      <a16:creationId xmlns:a16="http://schemas.microsoft.com/office/drawing/2014/main" id="{0F013A1A-0AA2-4501-996E-53C6C5542B86}"/>
                    </a:ext>
                  </a:extLst>
                </p:cNvPr>
                <p:cNvSpPr txBox="1"/>
                <p:nvPr/>
              </p:nvSpPr>
              <p:spPr>
                <a:xfrm>
                  <a:off x="6465737" y="2281903"/>
                  <a:ext cx="184830" cy="166169"/>
                </a:xfrm>
                <a:prstGeom prst="rect">
                  <a:avLst/>
                </a:prstGeom>
                <a:noFill/>
              </p:spPr>
              <p:txBody>
                <a:bodyPr wrap="none" lIns="0" tIns="0" rIns="0" bIns="0" rtlCol="0">
                  <a:noAutofit/>
                </a:bodyPr>
                <a:lstStyle/>
                <a:p>
                  <a:r>
                    <a:rPr lang="fr-FR" sz="800">
                      <a:solidFill>
                        <a:srgbClr val="503078"/>
                      </a:solidFill>
                      <a:latin typeface="Tahoma"/>
                    </a:rPr>
                    <a:t>60</a:t>
                  </a:r>
                </a:p>
              </p:txBody>
            </p:sp>
            <p:sp>
              <p:nvSpPr>
                <p:cNvPr id="346" name="80">
                  <a:extLst>
                    <a:ext uri="{FF2B5EF4-FFF2-40B4-BE49-F238E27FC236}">
                      <a16:creationId xmlns:a16="http://schemas.microsoft.com/office/drawing/2014/main" id="{4F785857-61A9-4C13-93D7-F05D83647164}"/>
                    </a:ext>
                  </a:extLst>
                </p:cNvPr>
                <p:cNvSpPr txBox="1"/>
                <p:nvPr/>
              </p:nvSpPr>
              <p:spPr>
                <a:xfrm>
                  <a:off x="6408405" y="1996965"/>
                  <a:ext cx="184830" cy="166169"/>
                </a:xfrm>
                <a:prstGeom prst="rect">
                  <a:avLst/>
                </a:prstGeom>
                <a:noFill/>
              </p:spPr>
              <p:txBody>
                <a:bodyPr wrap="none" lIns="0" tIns="0" rIns="0" bIns="0" rtlCol="0">
                  <a:noAutofit/>
                </a:bodyPr>
                <a:lstStyle/>
                <a:p>
                  <a:r>
                    <a:rPr lang="fr-FR" sz="800">
                      <a:solidFill>
                        <a:srgbClr val="FFFFFF"/>
                      </a:solidFill>
                      <a:latin typeface="Tahoma"/>
                    </a:rPr>
                    <a:t>80</a:t>
                  </a:r>
                </a:p>
              </p:txBody>
            </p:sp>
          </p:grpSp>
          <p:grpSp>
            <p:nvGrpSpPr>
              <p:cNvPr id="341" name="Nord Pas de Calais (N° Départements)">
                <a:extLst>
                  <a:ext uri="{FF2B5EF4-FFF2-40B4-BE49-F238E27FC236}">
                    <a16:creationId xmlns:a16="http://schemas.microsoft.com/office/drawing/2014/main" id="{78AC6888-E19F-446F-A27E-1B6D5AB184A0}"/>
                  </a:ext>
                </a:extLst>
              </p:cNvPr>
              <p:cNvGrpSpPr/>
              <p:nvPr/>
            </p:nvGrpSpPr>
            <p:grpSpPr>
              <a:xfrm>
                <a:off x="6408405" y="1716898"/>
                <a:ext cx="576651" cy="267397"/>
                <a:chOff x="6408405" y="1716898"/>
                <a:chExt cx="576651" cy="267397"/>
              </a:xfrm>
            </p:grpSpPr>
            <p:sp>
              <p:nvSpPr>
                <p:cNvPr id="342" name="59">
                  <a:extLst>
                    <a:ext uri="{FF2B5EF4-FFF2-40B4-BE49-F238E27FC236}">
                      <a16:creationId xmlns:a16="http://schemas.microsoft.com/office/drawing/2014/main" id="{C4D07A8C-28DA-4167-8A11-DFC2FEC8E082}"/>
                    </a:ext>
                  </a:extLst>
                </p:cNvPr>
                <p:cNvSpPr txBox="1"/>
                <p:nvPr/>
              </p:nvSpPr>
              <p:spPr>
                <a:xfrm>
                  <a:off x="6800226" y="1818126"/>
                  <a:ext cx="184830" cy="166169"/>
                </a:xfrm>
                <a:prstGeom prst="rect">
                  <a:avLst/>
                </a:prstGeom>
                <a:noFill/>
              </p:spPr>
              <p:txBody>
                <a:bodyPr wrap="none" lIns="0" tIns="0" rIns="0" bIns="0" rtlCol="0">
                  <a:noAutofit/>
                </a:bodyPr>
                <a:lstStyle/>
                <a:p>
                  <a:r>
                    <a:rPr lang="fr-FR" sz="800">
                      <a:solidFill>
                        <a:srgbClr val="FFFFFF"/>
                      </a:solidFill>
                      <a:latin typeface="Tahoma"/>
                    </a:rPr>
                    <a:t>59</a:t>
                  </a:r>
                </a:p>
              </p:txBody>
            </p:sp>
            <p:sp>
              <p:nvSpPr>
                <p:cNvPr id="343" name="62">
                  <a:extLst>
                    <a:ext uri="{FF2B5EF4-FFF2-40B4-BE49-F238E27FC236}">
                      <a16:creationId xmlns:a16="http://schemas.microsoft.com/office/drawing/2014/main" id="{5CAC8357-BBE3-46B3-B372-A04F3B07C39C}"/>
                    </a:ext>
                  </a:extLst>
                </p:cNvPr>
                <p:cNvSpPr txBox="1"/>
                <p:nvPr/>
              </p:nvSpPr>
              <p:spPr>
                <a:xfrm>
                  <a:off x="6408405" y="1716898"/>
                  <a:ext cx="184830" cy="166169"/>
                </a:xfrm>
                <a:prstGeom prst="rect">
                  <a:avLst/>
                </a:prstGeom>
                <a:noFill/>
              </p:spPr>
              <p:txBody>
                <a:bodyPr wrap="none" lIns="0" tIns="0" rIns="0" bIns="0" rtlCol="0">
                  <a:noAutofit/>
                </a:bodyPr>
                <a:lstStyle/>
                <a:p>
                  <a:r>
                    <a:rPr lang="fr-FR" sz="800">
                      <a:solidFill>
                        <a:srgbClr val="FFFFFF"/>
                      </a:solidFill>
                      <a:latin typeface="Tahoma"/>
                    </a:rPr>
                    <a:t>62</a:t>
                  </a:r>
                </a:p>
              </p:txBody>
            </p:sp>
          </p:grpSp>
        </p:grpSp>
        <p:grpSp>
          <p:nvGrpSpPr>
            <p:cNvPr id="154" name="Midi Pyrénées Languedoc Roussillon (Formes)">
              <a:extLst>
                <a:ext uri="{FF2B5EF4-FFF2-40B4-BE49-F238E27FC236}">
                  <a16:creationId xmlns:a16="http://schemas.microsoft.com/office/drawing/2014/main" id="{41D311A3-6AF3-4495-9037-10FAA0C1B4F8}"/>
                </a:ext>
              </a:extLst>
            </p:cNvPr>
            <p:cNvGrpSpPr/>
            <p:nvPr/>
          </p:nvGrpSpPr>
          <p:grpSpPr>
            <a:xfrm>
              <a:off x="6193477" y="4493580"/>
              <a:ext cx="1978371" cy="1422537"/>
              <a:chOff x="5440021" y="4662965"/>
              <a:chExt cx="1978371" cy="1422537"/>
            </a:xfrm>
            <a:solidFill>
              <a:srgbClr val="667E76"/>
            </a:solidFill>
          </p:grpSpPr>
          <p:grpSp>
            <p:nvGrpSpPr>
              <p:cNvPr id="325" name="Midi Pyrénées (Formes)">
                <a:extLst>
                  <a:ext uri="{FF2B5EF4-FFF2-40B4-BE49-F238E27FC236}">
                    <a16:creationId xmlns:a16="http://schemas.microsoft.com/office/drawing/2014/main" id="{E4E19898-4F9A-4AF2-9794-16EB514496D9}"/>
                  </a:ext>
                </a:extLst>
              </p:cNvPr>
              <p:cNvGrpSpPr/>
              <p:nvPr/>
            </p:nvGrpSpPr>
            <p:grpSpPr>
              <a:xfrm>
                <a:off x="5440021" y="4662965"/>
                <a:ext cx="1452620" cy="1295039"/>
                <a:chOff x="5440021" y="4662965"/>
                <a:chExt cx="1452620" cy="1295039"/>
              </a:xfrm>
              <a:grpFill/>
            </p:grpSpPr>
            <p:sp>
              <p:nvSpPr>
                <p:cNvPr id="332" name="09">
                  <a:extLst>
                    <a:ext uri="{FF2B5EF4-FFF2-40B4-BE49-F238E27FC236}">
                      <a16:creationId xmlns:a16="http://schemas.microsoft.com/office/drawing/2014/main" id="{A579B7CC-10FF-421D-9D2A-D3BA59EB04D2}"/>
                    </a:ext>
                  </a:extLst>
                </p:cNvPr>
                <p:cNvSpPr>
                  <a:spLocks/>
                </p:cNvSpPr>
                <p:nvPr/>
              </p:nvSpPr>
              <p:spPr bwMode="gray">
                <a:xfrm>
                  <a:off x="5884116" y="5568346"/>
                  <a:ext cx="514292" cy="389658"/>
                </a:xfrm>
                <a:custGeom>
                  <a:avLst/>
                  <a:gdLst>
                    <a:gd name="T0" fmla="*/ 0 w 359"/>
                    <a:gd name="T1" fmla="*/ 140 h 272"/>
                    <a:gd name="T2" fmla="*/ 40 w 359"/>
                    <a:gd name="T3" fmla="*/ 119 h 272"/>
                    <a:gd name="T4" fmla="*/ 45 w 359"/>
                    <a:gd name="T5" fmla="*/ 72 h 272"/>
                    <a:gd name="T6" fmla="*/ 64 w 359"/>
                    <a:gd name="T7" fmla="*/ 57 h 272"/>
                    <a:gd name="T8" fmla="*/ 119 w 359"/>
                    <a:gd name="T9" fmla="*/ 76 h 272"/>
                    <a:gd name="T10" fmla="*/ 130 w 359"/>
                    <a:gd name="T11" fmla="*/ 65 h 272"/>
                    <a:gd name="T12" fmla="*/ 111 w 359"/>
                    <a:gd name="T13" fmla="*/ 42 h 272"/>
                    <a:gd name="T14" fmla="*/ 151 w 359"/>
                    <a:gd name="T15" fmla="*/ 29 h 272"/>
                    <a:gd name="T16" fmla="*/ 128 w 359"/>
                    <a:gd name="T17" fmla="*/ 12 h 272"/>
                    <a:gd name="T18" fmla="*/ 136 w 359"/>
                    <a:gd name="T19" fmla="*/ 0 h 272"/>
                    <a:gd name="T20" fmla="*/ 174 w 359"/>
                    <a:gd name="T21" fmla="*/ 36 h 272"/>
                    <a:gd name="T22" fmla="*/ 183 w 359"/>
                    <a:gd name="T23" fmla="*/ 6 h 272"/>
                    <a:gd name="T24" fmla="*/ 221 w 359"/>
                    <a:gd name="T25" fmla="*/ 27 h 272"/>
                    <a:gd name="T26" fmla="*/ 234 w 359"/>
                    <a:gd name="T27" fmla="*/ 14 h 272"/>
                    <a:gd name="T28" fmla="*/ 240 w 359"/>
                    <a:gd name="T29" fmla="*/ 44 h 272"/>
                    <a:gd name="T30" fmla="*/ 302 w 359"/>
                    <a:gd name="T31" fmla="*/ 70 h 272"/>
                    <a:gd name="T32" fmla="*/ 313 w 359"/>
                    <a:gd name="T33" fmla="*/ 104 h 272"/>
                    <a:gd name="T34" fmla="*/ 317 w 359"/>
                    <a:gd name="T35" fmla="*/ 131 h 272"/>
                    <a:gd name="T36" fmla="*/ 298 w 359"/>
                    <a:gd name="T37" fmla="*/ 138 h 272"/>
                    <a:gd name="T38" fmla="*/ 313 w 359"/>
                    <a:gd name="T39" fmla="*/ 161 h 272"/>
                    <a:gd name="T40" fmla="*/ 276 w 359"/>
                    <a:gd name="T41" fmla="*/ 180 h 272"/>
                    <a:gd name="T42" fmla="*/ 302 w 359"/>
                    <a:gd name="T43" fmla="*/ 212 h 272"/>
                    <a:gd name="T44" fmla="*/ 336 w 359"/>
                    <a:gd name="T45" fmla="*/ 206 h 272"/>
                    <a:gd name="T46" fmla="*/ 359 w 359"/>
                    <a:gd name="T47" fmla="*/ 240 h 272"/>
                    <a:gd name="T48" fmla="*/ 315 w 359"/>
                    <a:gd name="T49" fmla="*/ 240 h 272"/>
                    <a:gd name="T50" fmla="*/ 255 w 359"/>
                    <a:gd name="T51" fmla="*/ 272 h 272"/>
                    <a:gd name="T52" fmla="*/ 196 w 359"/>
                    <a:gd name="T53" fmla="*/ 240 h 272"/>
                    <a:gd name="T54" fmla="*/ 162 w 359"/>
                    <a:gd name="T55" fmla="*/ 257 h 272"/>
                    <a:gd name="T56" fmla="*/ 140 w 359"/>
                    <a:gd name="T57" fmla="*/ 214 h 272"/>
                    <a:gd name="T58" fmla="*/ 91 w 359"/>
                    <a:gd name="T59" fmla="*/ 216 h 272"/>
                    <a:gd name="T60" fmla="*/ 66 w 359"/>
                    <a:gd name="T61" fmla="*/ 187 h 272"/>
                    <a:gd name="T62" fmla="*/ 6 w 359"/>
                    <a:gd name="T63" fmla="*/ 170 h 272"/>
                    <a:gd name="T64" fmla="*/ 0 w 359"/>
                    <a:gd name="T65" fmla="*/ 142 h 272"/>
                    <a:gd name="T66" fmla="*/ 0 w 359"/>
                    <a:gd name="T67" fmla="*/ 14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9" h="272">
                      <a:moveTo>
                        <a:pt x="0" y="140"/>
                      </a:moveTo>
                      <a:lnTo>
                        <a:pt x="40" y="119"/>
                      </a:lnTo>
                      <a:lnTo>
                        <a:pt x="45" y="72"/>
                      </a:lnTo>
                      <a:lnTo>
                        <a:pt x="64" y="57"/>
                      </a:lnTo>
                      <a:lnTo>
                        <a:pt x="119" y="76"/>
                      </a:lnTo>
                      <a:lnTo>
                        <a:pt x="130" y="65"/>
                      </a:lnTo>
                      <a:lnTo>
                        <a:pt x="111" y="42"/>
                      </a:lnTo>
                      <a:lnTo>
                        <a:pt x="151" y="29"/>
                      </a:lnTo>
                      <a:lnTo>
                        <a:pt x="128" y="12"/>
                      </a:lnTo>
                      <a:lnTo>
                        <a:pt x="136" y="0"/>
                      </a:lnTo>
                      <a:lnTo>
                        <a:pt x="174" y="36"/>
                      </a:lnTo>
                      <a:lnTo>
                        <a:pt x="183" y="6"/>
                      </a:lnTo>
                      <a:lnTo>
                        <a:pt x="221" y="27"/>
                      </a:lnTo>
                      <a:lnTo>
                        <a:pt x="234" y="14"/>
                      </a:lnTo>
                      <a:lnTo>
                        <a:pt x="240" y="44"/>
                      </a:lnTo>
                      <a:lnTo>
                        <a:pt x="302" y="70"/>
                      </a:lnTo>
                      <a:lnTo>
                        <a:pt x="313" y="104"/>
                      </a:lnTo>
                      <a:lnTo>
                        <a:pt x="317" y="131"/>
                      </a:lnTo>
                      <a:lnTo>
                        <a:pt x="298" y="138"/>
                      </a:lnTo>
                      <a:lnTo>
                        <a:pt x="313" y="161"/>
                      </a:lnTo>
                      <a:lnTo>
                        <a:pt x="276" y="180"/>
                      </a:lnTo>
                      <a:lnTo>
                        <a:pt x="302" y="212"/>
                      </a:lnTo>
                      <a:lnTo>
                        <a:pt x="336" y="206"/>
                      </a:lnTo>
                      <a:lnTo>
                        <a:pt x="359" y="240"/>
                      </a:lnTo>
                      <a:lnTo>
                        <a:pt x="315" y="240"/>
                      </a:lnTo>
                      <a:lnTo>
                        <a:pt x="255" y="272"/>
                      </a:lnTo>
                      <a:lnTo>
                        <a:pt x="196" y="240"/>
                      </a:lnTo>
                      <a:lnTo>
                        <a:pt x="162" y="257"/>
                      </a:lnTo>
                      <a:lnTo>
                        <a:pt x="140" y="214"/>
                      </a:lnTo>
                      <a:lnTo>
                        <a:pt x="91" y="216"/>
                      </a:lnTo>
                      <a:lnTo>
                        <a:pt x="66" y="187"/>
                      </a:lnTo>
                      <a:lnTo>
                        <a:pt x="6" y="170"/>
                      </a:lnTo>
                      <a:lnTo>
                        <a:pt x="0" y="142"/>
                      </a:lnTo>
                      <a:lnTo>
                        <a:pt x="0" y="140"/>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33" name="12">
                  <a:extLst>
                    <a:ext uri="{FF2B5EF4-FFF2-40B4-BE49-F238E27FC236}">
                      <a16:creationId xmlns:a16="http://schemas.microsoft.com/office/drawing/2014/main" id="{2E6F608F-2CE5-4924-BFC3-C81E6427C300}"/>
                    </a:ext>
                  </a:extLst>
                </p:cNvPr>
                <p:cNvSpPr>
                  <a:spLocks/>
                </p:cNvSpPr>
                <p:nvPr/>
              </p:nvSpPr>
              <p:spPr bwMode="gray">
                <a:xfrm>
                  <a:off x="6292396" y="4721700"/>
                  <a:ext cx="600245" cy="650384"/>
                </a:xfrm>
                <a:custGeom>
                  <a:avLst/>
                  <a:gdLst>
                    <a:gd name="T0" fmla="*/ 0 w 419"/>
                    <a:gd name="T1" fmla="*/ 170 h 454"/>
                    <a:gd name="T2" fmla="*/ 6 w 419"/>
                    <a:gd name="T3" fmla="*/ 216 h 454"/>
                    <a:gd name="T4" fmla="*/ 4 w 419"/>
                    <a:gd name="T5" fmla="*/ 233 h 454"/>
                    <a:gd name="T6" fmla="*/ 30 w 419"/>
                    <a:gd name="T7" fmla="*/ 238 h 454"/>
                    <a:gd name="T8" fmla="*/ 8 w 419"/>
                    <a:gd name="T9" fmla="*/ 263 h 454"/>
                    <a:gd name="T10" fmla="*/ 36 w 419"/>
                    <a:gd name="T11" fmla="*/ 284 h 454"/>
                    <a:gd name="T12" fmla="*/ 76 w 419"/>
                    <a:gd name="T13" fmla="*/ 267 h 454"/>
                    <a:gd name="T14" fmla="*/ 98 w 419"/>
                    <a:gd name="T15" fmla="*/ 282 h 454"/>
                    <a:gd name="T16" fmla="*/ 87 w 419"/>
                    <a:gd name="T17" fmla="*/ 291 h 454"/>
                    <a:gd name="T18" fmla="*/ 125 w 419"/>
                    <a:gd name="T19" fmla="*/ 295 h 454"/>
                    <a:gd name="T20" fmla="*/ 168 w 419"/>
                    <a:gd name="T21" fmla="*/ 338 h 454"/>
                    <a:gd name="T22" fmla="*/ 202 w 419"/>
                    <a:gd name="T23" fmla="*/ 423 h 454"/>
                    <a:gd name="T24" fmla="*/ 232 w 419"/>
                    <a:gd name="T25" fmla="*/ 442 h 454"/>
                    <a:gd name="T26" fmla="*/ 274 w 419"/>
                    <a:gd name="T27" fmla="*/ 437 h 454"/>
                    <a:gd name="T28" fmla="*/ 283 w 419"/>
                    <a:gd name="T29" fmla="*/ 454 h 454"/>
                    <a:gd name="T30" fmla="*/ 315 w 419"/>
                    <a:gd name="T31" fmla="*/ 454 h 454"/>
                    <a:gd name="T32" fmla="*/ 317 w 419"/>
                    <a:gd name="T33" fmla="*/ 403 h 454"/>
                    <a:gd name="T34" fmla="*/ 359 w 419"/>
                    <a:gd name="T35" fmla="*/ 410 h 454"/>
                    <a:gd name="T36" fmla="*/ 370 w 419"/>
                    <a:gd name="T37" fmla="*/ 382 h 454"/>
                    <a:gd name="T38" fmla="*/ 395 w 419"/>
                    <a:gd name="T39" fmla="*/ 376 h 454"/>
                    <a:gd name="T40" fmla="*/ 419 w 419"/>
                    <a:gd name="T41" fmla="*/ 338 h 454"/>
                    <a:gd name="T42" fmla="*/ 370 w 419"/>
                    <a:gd name="T43" fmla="*/ 310 h 454"/>
                    <a:gd name="T44" fmla="*/ 372 w 419"/>
                    <a:gd name="T45" fmla="*/ 308 h 454"/>
                    <a:gd name="T46" fmla="*/ 397 w 419"/>
                    <a:gd name="T47" fmla="*/ 282 h 454"/>
                    <a:gd name="T48" fmla="*/ 353 w 419"/>
                    <a:gd name="T49" fmla="*/ 274 h 454"/>
                    <a:gd name="T50" fmla="*/ 359 w 419"/>
                    <a:gd name="T51" fmla="*/ 259 h 454"/>
                    <a:gd name="T52" fmla="*/ 332 w 419"/>
                    <a:gd name="T53" fmla="*/ 248 h 454"/>
                    <a:gd name="T54" fmla="*/ 338 w 419"/>
                    <a:gd name="T55" fmla="*/ 182 h 454"/>
                    <a:gd name="T56" fmla="*/ 295 w 419"/>
                    <a:gd name="T57" fmla="*/ 108 h 454"/>
                    <a:gd name="T58" fmla="*/ 285 w 419"/>
                    <a:gd name="T59" fmla="*/ 57 h 454"/>
                    <a:gd name="T60" fmla="*/ 266 w 419"/>
                    <a:gd name="T61" fmla="*/ 23 h 454"/>
                    <a:gd name="T62" fmla="*/ 242 w 419"/>
                    <a:gd name="T63" fmla="*/ 27 h 454"/>
                    <a:gd name="T64" fmla="*/ 234 w 419"/>
                    <a:gd name="T65" fmla="*/ 0 h 454"/>
                    <a:gd name="T66" fmla="*/ 200 w 419"/>
                    <a:gd name="T67" fmla="*/ 31 h 454"/>
                    <a:gd name="T68" fmla="*/ 166 w 419"/>
                    <a:gd name="T69" fmla="*/ 104 h 454"/>
                    <a:gd name="T70" fmla="*/ 125 w 419"/>
                    <a:gd name="T71" fmla="*/ 97 h 454"/>
                    <a:gd name="T72" fmla="*/ 96 w 419"/>
                    <a:gd name="T73" fmla="*/ 114 h 454"/>
                    <a:gd name="T74" fmla="*/ 0 w 419"/>
                    <a:gd name="T75" fmla="*/ 163 h 454"/>
                    <a:gd name="T76" fmla="*/ 0 w 419"/>
                    <a:gd name="T77" fmla="*/ 1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 h="454">
                      <a:moveTo>
                        <a:pt x="0" y="170"/>
                      </a:moveTo>
                      <a:lnTo>
                        <a:pt x="6" y="216"/>
                      </a:lnTo>
                      <a:lnTo>
                        <a:pt x="4" y="233"/>
                      </a:lnTo>
                      <a:lnTo>
                        <a:pt x="30" y="238"/>
                      </a:lnTo>
                      <a:lnTo>
                        <a:pt x="8" y="263"/>
                      </a:lnTo>
                      <a:lnTo>
                        <a:pt x="36" y="284"/>
                      </a:lnTo>
                      <a:lnTo>
                        <a:pt x="76" y="267"/>
                      </a:lnTo>
                      <a:lnTo>
                        <a:pt x="98" y="282"/>
                      </a:lnTo>
                      <a:lnTo>
                        <a:pt x="87" y="291"/>
                      </a:lnTo>
                      <a:lnTo>
                        <a:pt x="125" y="295"/>
                      </a:lnTo>
                      <a:lnTo>
                        <a:pt x="168" y="338"/>
                      </a:lnTo>
                      <a:lnTo>
                        <a:pt x="202" y="423"/>
                      </a:lnTo>
                      <a:lnTo>
                        <a:pt x="232" y="442"/>
                      </a:lnTo>
                      <a:lnTo>
                        <a:pt x="274" y="437"/>
                      </a:lnTo>
                      <a:lnTo>
                        <a:pt x="283" y="454"/>
                      </a:lnTo>
                      <a:lnTo>
                        <a:pt x="315" y="454"/>
                      </a:lnTo>
                      <a:lnTo>
                        <a:pt x="317" y="403"/>
                      </a:lnTo>
                      <a:lnTo>
                        <a:pt x="359" y="410"/>
                      </a:lnTo>
                      <a:lnTo>
                        <a:pt x="370" y="382"/>
                      </a:lnTo>
                      <a:lnTo>
                        <a:pt x="395" y="376"/>
                      </a:lnTo>
                      <a:lnTo>
                        <a:pt x="419" y="338"/>
                      </a:lnTo>
                      <a:lnTo>
                        <a:pt x="370" y="310"/>
                      </a:lnTo>
                      <a:lnTo>
                        <a:pt x="372" y="308"/>
                      </a:lnTo>
                      <a:lnTo>
                        <a:pt x="397" y="282"/>
                      </a:lnTo>
                      <a:lnTo>
                        <a:pt x="353" y="274"/>
                      </a:lnTo>
                      <a:lnTo>
                        <a:pt x="359" y="259"/>
                      </a:lnTo>
                      <a:lnTo>
                        <a:pt x="332" y="248"/>
                      </a:lnTo>
                      <a:lnTo>
                        <a:pt x="338" y="182"/>
                      </a:lnTo>
                      <a:lnTo>
                        <a:pt x="295" y="108"/>
                      </a:lnTo>
                      <a:lnTo>
                        <a:pt x="285" y="57"/>
                      </a:lnTo>
                      <a:lnTo>
                        <a:pt x="266" y="23"/>
                      </a:lnTo>
                      <a:lnTo>
                        <a:pt x="242" y="27"/>
                      </a:lnTo>
                      <a:lnTo>
                        <a:pt x="234" y="0"/>
                      </a:lnTo>
                      <a:lnTo>
                        <a:pt x="200" y="31"/>
                      </a:lnTo>
                      <a:lnTo>
                        <a:pt x="166" y="104"/>
                      </a:lnTo>
                      <a:lnTo>
                        <a:pt x="125" y="97"/>
                      </a:lnTo>
                      <a:lnTo>
                        <a:pt x="96" y="114"/>
                      </a:lnTo>
                      <a:lnTo>
                        <a:pt x="0" y="163"/>
                      </a:lnTo>
                      <a:lnTo>
                        <a:pt x="0" y="170"/>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34" name="32">
                  <a:extLst>
                    <a:ext uri="{FF2B5EF4-FFF2-40B4-BE49-F238E27FC236}">
                      <a16:creationId xmlns:a16="http://schemas.microsoft.com/office/drawing/2014/main" id="{5C1B1074-78AB-4E67-841C-43328059F092}"/>
                    </a:ext>
                  </a:extLst>
                </p:cNvPr>
                <p:cNvSpPr>
                  <a:spLocks/>
                </p:cNvSpPr>
                <p:nvPr/>
              </p:nvSpPr>
              <p:spPr bwMode="gray">
                <a:xfrm>
                  <a:off x="5475834" y="5152902"/>
                  <a:ext cx="560134" cy="402551"/>
                </a:xfrm>
                <a:custGeom>
                  <a:avLst/>
                  <a:gdLst>
                    <a:gd name="T0" fmla="*/ 0 w 391"/>
                    <a:gd name="T1" fmla="*/ 151 h 281"/>
                    <a:gd name="T2" fmla="*/ 26 w 391"/>
                    <a:gd name="T3" fmla="*/ 115 h 281"/>
                    <a:gd name="T4" fmla="*/ 28 w 391"/>
                    <a:gd name="T5" fmla="*/ 62 h 281"/>
                    <a:gd name="T6" fmla="*/ 15 w 391"/>
                    <a:gd name="T7" fmla="*/ 56 h 281"/>
                    <a:gd name="T8" fmla="*/ 70 w 391"/>
                    <a:gd name="T9" fmla="*/ 30 h 281"/>
                    <a:gd name="T10" fmla="*/ 98 w 391"/>
                    <a:gd name="T11" fmla="*/ 58 h 281"/>
                    <a:gd name="T12" fmla="*/ 100 w 391"/>
                    <a:gd name="T13" fmla="*/ 28 h 281"/>
                    <a:gd name="T14" fmla="*/ 121 w 391"/>
                    <a:gd name="T15" fmla="*/ 34 h 281"/>
                    <a:gd name="T16" fmla="*/ 136 w 391"/>
                    <a:gd name="T17" fmla="*/ 17 h 281"/>
                    <a:gd name="T18" fmla="*/ 160 w 391"/>
                    <a:gd name="T19" fmla="*/ 28 h 281"/>
                    <a:gd name="T20" fmla="*/ 234 w 391"/>
                    <a:gd name="T21" fmla="*/ 0 h 281"/>
                    <a:gd name="T22" fmla="*/ 253 w 391"/>
                    <a:gd name="T23" fmla="*/ 20 h 281"/>
                    <a:gd name="T24" fmla="*/ 277 w 391"/>
                    <a:gd name="T25" fmla="*/ 7 h 281"/>
                    <a:gd name="T26" fmla="*/ 306 w 391"/>
                    <a:gd name="T27" fmla="*/ 15 h 281"/>
                    <a:gd name="T28" fmla="*/ 279 w 391"/>
                    <a:gd name="T29" fmla="*/ 51 h 281"/>
                    <a:gd name="T30" fmla="*/ 313 w 391"/>
                    <a:gd name="T31" fmla="*/ 64 h 281"/>
                    <a:gd name="T32" fmla="*/ 315 w 391"/>
                    <a:gd name="T33" fmla="*/ 109 h 281"/>
                    <a:gd name="T34" fmla="*/ 328 w 391"/>
                    <a:gd name="T35" fmla="*/ 109 h 281"/>
                    <a:gd name="T36" fmla="*/ 391 w 391"/>
                    <a:gd name="T37" fmla="*/ 192 h 281"/>
                    <a:gd name="T38" fmla="*/ 353 w 391"/>
                    <a:gd name="T39" fmla="*/ 200 h 281"/>
                    <a:gd name="T40" fmla="*/ 336 w 391"/>
                    <a:gd name="T41" fmla="*/ 264 h 281"/>
                    <a:gd name="T42" fmla="*/ 272 w 391"/>
                    <a:gd name="T43" fmla="*/ 245 h 281"/>
                    <a:gd name="T44" fmla="*/ 232 w 391"/>
                    <a:gd name="T45" fmla="*/ 281 h 281"/>
                    <a:gd name="T46" fmla="*/ 158 w 391"/>
                    <a:gd name="T47" fmla="*/ 266 h 281"/>
                    <a:gd name="T48" fmla="*/ 149 w 391"/>
                    <a:gd name="T49" fmla="*/ 249 h 281"/>
                    <a:gd name="T50" fmla="*/ 119 w 391"/>
                    <a:gd name="T51" fmla="*/ 256 h 281"/>
                    <a:gd name="T52" fmla="*/ 102 w 391"/>
                    <a:gd name="T53" fmla="*/ 200 h 281"/>
                    <a:gd name="T54" fmla="*/ 68 w 391"/>
                    <a:gd name="T55" fmla="*/ 166 h 281"/>
                    <a:gd name="T56" fmla="*/ 47 w 391"/>
                    <a:gd name="T57" fmla="*/ 175 h 281"/>
                    <a:gd name="T58" fmla="*/ 11 w 391"/>
                    <a:gd name="T59" fmla="*/ 170 h 281"/>
                    <a:gd name="T60" fmla="*/ 0 w 391"/>
                    <a:gd name="T61" fmla="*/ 158 h 281"/>
                    <a:gd name="T62" fmla="*/ 0 w 391"/>
                    <a:gd name="T63" fmla="*/ 15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1" h="281">
                      <a:moveTo>
                        <a:pt x="0" y="151"/>
                      </a:moveTo>
                      <a:lnTo>
                        <a:pt x="26" y="115"/>
                      </a:lnTo>
                      <a:lnTo>
                        <a:pt x="28" y="62"/>
                      </a:lnTo>
                      <a:lnTo>
                        <a:pt x="15" y="56"/>
                      </a:lnTo>
                      <a:lnTo>
                        <a:pt x="70" y="30"/>
                      </a:lnTo>
                      <a:lnTo>
                        <a:pt x="98" y="58"/>
                      </a:lnTo>
                      <a:lnTo>
                        <a:pt x="100" y="28"/>
                      </a:lnTo>
                      <a:lnTo>
                        <a:pt x="121" y="34"/>
                      </a:lnTo>
                      <a:lnTo>
                        <a:pt x="136" y="17"/>
                      </a:lnTo>
                      <a:lnTo>
                        <a:pt x="160" y="28"/>
                      </a:lnTo>
                      <a:lnTo>
                        <a:pt x="234" y="0"/>
                      </a:lnTo>
                      <a:lnTo>
                        <a:pt x="253" y="20"/>
                      </a:lnTo>
                      <a:lnTo>
                        <a:pt x="277" y="7"/>
                      </a:lnTo>
                      <a:lnTo>
                        <a:pt x="306" y="15"/>
                      </a:lnTo>
                      <a:lnTo>
                        <a:pt x="279" y="51"/>
                      </a:lnTo>
                      <a:lnTo>
                        <a:pt x="313" y="64"/>
                      </a:lnTo>
                      <a:lnTo>
                        <a:pt x="315" y="109"/>
                      </a:lnTo>
                      <a:lnTo>
                        <a:pt x="328" y="109"/>
                      </a:lnTo>
                      <a:lnTo>
                        <a:pt x="391" y="192"/>
                      </a:lnTo>
                      <a:lnTo>
                        <a:pt x="353" y="200"/>
                      </a:lnTo>
                      <a:lnTo>
                        <a:pt x="336" y="264"/>
                      </a:lnTo>
                      <a:lnTo>
                        <a:pt x="272" y="245"/>
                      </a:lnTo>
                      <a:lnTo>
                        <a:pt x="232" y="281"/>
                      </a:lnTo>
                      <a:lnTo>
                        <a:pt x="158" y="266"/>
                      </a:lnTo>
                      <a:lnTo>
                        <a:pt x="149" y="249"/>
                      </a:lnTo>
                      <a:lnTo>
                        <a:pt x="119" y="256"/>
                      </a:lnTo>
                      <a:lnTo>
                        <a:pt x="102" y="200"/>
                      </a:lnTo>
                      <a:lnTo>
                        <a:pt x="68" y="166"/>
                      </a:lnTo>
                      <a:lnTo>
                        <a:pt x="47" y="175"/>
                      </a:lnTo>
                      <a:lnTo>
                        <a:pt x="11" y="170"/>
                      </a:lnTo>
                      <a:lnTo>
                        <a:pt x="0" y="158"/>
                      </a:lnTo>
                      <a:lnTo>
                        <a:pt x="0" y="151"/>
                      </a:lnTo>
                    </a:path>
                  </a:pathLst>
                </a:custGeom>
                <a:solidFill>
                  <a:schemeClr val="bg2">
                    <a:lumMod val="75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35" name="65">
                  <a:extLst>
                    <a:ext uri="{FF2B5EF4-FFF2-40B4-BE49-F238E27FC236}">
                      <a16:creationId xmlns:a16="http://schemas.microsoft.com/office/drawing/2014/main" id="{9CE4959A-C134-4BB7-8C54-7083E8743663}"/>
                    </a:ext>
                  </a:extLst>
                </p:cNvPr>
                <p:cNvSpPr>
                  <a:spLocks/>
                </p:cNvSpPr>
                <p:nvPr/>
              </p:nvSpPr>
              <p:spPr bwMode="gray">
                <a:xfrm>
                  <a:off x="5440021" y="5390708"/>
                  <a:ext cx="376765" cy="494236"/>
                </a:xfrm>
                <a:custGeom>
                  <a:avLst/>
                  <a:gdLst>
                    <a:gd name="T0" fmla="*/ 2 w 263"/>
                    <a:gd name="T1" fmla="*/ 274 h 345"/>
                    <a:gd name="T2" fmla="*/ 42 w 263"/>
                    <a:gd name="T3" fmla="*/ 296 h 345"/>
                    <a:gd name="T4" fmla="*/ 68 w 263"/>
                    <a:gd name="T5" fmla="*/ 334 h 345"/>
                    <a:gd name="T6" fmla="*/ 134 w 263"/>
                    <a:gd name="T7" fmla="*/ 321 h 345"/>
                    <a:gd name="T8" fmla="*/ 163 w 263"/>
                    <a:gd name="T9" fmla="*/ 345 h 345"/>
                    <a:gd name="T10" fmla="*/ 183 w 263"/>
                    <a:gd name="T11" fmla="*/ 328 h 345"/>
                    <a:gd name="T12" fmla="*/ 214 w 263"/>
                    <a:gd name="T13" fmla="*/ 338 h 345"/>
                    <a:gd name="T14" fmla="*/ 206 w 263"/>
                    <a:gd name="T15" fmla="*/ 326 h 345"/>
                    <a:gd name="T16" fmla="*/ 208 w 263"/>
                    <a:gd name="T17" fmla="*/ 319 h 345"/>
                    <a:gd name="T18" fmla="*/ 217 w 263"/>
                    <a:gd name="T19" fmla="*/ 272 h 345"/>
                    <a:gd name="T20" fmla="*/ 238 w 263"/>
                    <a:gd name="T21" fmla="*/ 279 h 345"/>
                    <a:gd name="T22" fmla="*/ 263 w 263"/>
                    <a:gd name="T23" fmla="*/ 243 h 345"/>
                    <a:gd name="T24" fmla="*/ 253 w 263"/>
                    <a:gd name="T25" fmla="*/ 217 h 345"/>
                    <a:gd name="T26" fmla="*/ 229 w 263"/>
                    <a:gd name="T27" fmla="*/ 226 h 345"/>
                    <a:gd name="T28" fmla="*/ 240 w 263"/>
                    <a:gd name="T29" fmla="*/ 200 h 345"/>
                    <a:gd name="T30" fmla="*/ 210 w 263"/>
                    <a:gd name="T31" fmla="*/ 179 h 345"/>
                    <a:gd name="T32" fmla="*/ 257 w 263"/>
                    <a:gd name="T33" fmla="*/ 115 h 345"/>
                    <a:gd name="T34" fmla="*/ 183 w 263"/>
                    <a:gd name="T35" fmla="*/ 100 h 345"/>
                    <a:gd name="T36" fmla="*/ 174 w 263"/>
                    <a:gd name="T37" fmla="*/ 83 h 345"/>
                    <a:gd name="T38" fmla="*/ 144 w 263"/>
                    <a:gd name="T39" fmla="*/ 90 h 345"/>
                    <a:gd name="T40" fmla="*/ 127 w 263"/>
                    <a:gd name="T41" fmla="*/ 34 h 345"/>
                    <a:gd name="T42" fmla="*/ 93 w 263"/>
                    <a:gd name="T43" fmla="*/ 0 h 345"/>
                    <a:gd name="T44" fmla="*/ 72 w 263"/>
                    <a:gd name="T45" fmla="*/ 9 h 345"/>
                    <a:gd name="T46" fmla="*/ 91 w 263"/>
                    <a:gd name="T47" fmla="*/ 49 h 345"/>
                    <a:gd name="T48" fmla="*/ 78 w 263"/>
                    <a:gd name="T49" fmla="*/ 70 h 345"/>
                    <a:gd name="T50" fmla="*/ 95 w 263"/>
                    <a:gd name="T51" fmla="*/ 60 h 345"/>
                    <a:gd name="T52" fmla="*/ 102 w 263"/>
                    <a:gd name="T53" fmla="*/ 98 h 345"/>
                    <a:gd name="T54" fmla="*/ 0 w 263"/>
                    <a:gd name="T55" fmla="*/ 249 h 345"/>
                    <a:gd name="T56" fmla="*/ 2 w 263"/>
                    <a:gd name="T57" fmla="*/ 274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3" h="345">
                      <a:moveTo>
                        <a:pt x="2" y="274"/>
                      </a:moveTo>
                      <a:lnTo>
                        <a:pt x="42" y="296"/>
                      </a:lnTo>
                      <a:lnTo>
                        <a:pt x="68" y="334"/>
                      </a:lnTo>
                      <a:lnTo>
                        <a:pt x="134" y="321"/>
                      </a:lnTo>
                      <a:lnTo>
                        <a:pt x="163" y="345"/>
                      </a:lnTo>
                      <a:lnTo>
                        <a:pt x="183" y="328"/>
                      </a:lnTo>
                      <a:lnTo>
                        <a:pt x="214" y="338"/>
                      </a:lnTo>
                      <a:lnTo>
                        <a:pt x="206" y="326"/>
                      </a:lnTo>
                      <a:lnTo>
                        <a:pt x="208" y="319"/>
                      </a:lnTo>
                      <a:lnTo>
                        <a:pt x="217" y="272"/>
                      </a:lnTo>
                      <a:lnTo>
                        <a:pt x="238" y="279"/>
                      </a:lnTo>
                      <a:lnTo>
                        <a:pt x="263" y="243"/>
                      </a:lnTo>
                      <a:lnTo>
                        <a:pt x="253" y="217"/>
                      </a:lnTo>
                      <a:lnTo>
                        <a:pt x="229" y="226"/>
                      </a:lnTo>
                      <a:lnTo>
                        <a:pt x="240" y="200"/>
                      </a:lnTo>
                      <a:lnTo>
                        <a:pt x="210" y="179"/>
                      </a:lnTo>
                      <a:lnTo>
                        <a:pt x="257" y="115"/>
                      </a:lnTo>
                      <a:lnTo>
                        <a:pt x="183" y="100"/>
                      </a:lnTo>
                      <a:lnTo>
                        <a:pt x="174" y="83"/>
                      </a:lnTo>
                      <a:lnTo>
                        <a:pt x="144" y="90"/>
                      </a:lnTo>
                      <a:lnTo>
                        <a:pt x="127" y="34"/>
                      </a:lnTo>
                      <a:lnTo>
                        <a:pt x="93" y="0"/>
                      </a:lnTo>
                      <a:lnTo>
                        <a:pt x="72" y="9"/>
                      </a:lnTo>
                      <a:lnTo>
                        <a:pt x="91" y="49"/>
                      </a:lnTo>
                      <a:lnTo>
                        <a:pt x="78" y="70"/>
                      </a:lnTo>
                      <a:lnTo>
                        <a:pt x="95" y="60"/>
                      </a:lnTo>
                      <a:lnTo>
                        <a:pt x="102" y="98"/>
                      </a:lnTo>
                      <a:lnTo>
                        <a:pt x="0" y="249"/>
                      </a:lnTo>
                      <a:lnTo>
                        <a:pt x="2" y="274"/>
                      </a:lnTo>
                    </a:path>
                  </a:pathLst>
                </a:custGeom>
                <a:solidFill>
                  <a:schemeClr val="bg2">
                    <a:lumMod val="75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36" name="81">
                  <a:extLst>
                    <a:ext uri="{FF2B5EF4-FFF2-40B4-BE49-F238E27FC236}">
                      <a16:creationId xmlns:a16="http://schemas.microsoft.com/office/drawing/2014/main" id="{7CCCE447-28CA-4131-A179-0D4EBCCF227C}"/>
                    </a:ext>
                  </a:extLst>
                </p:cNvPr>
                <p:cNvSpPr>
                  <a:spLocks/>
                </p:cNvSpPr>
                <p:nvPr/>
              </p:nvSpPr>
              <p:spPr bwMode="gray">
                <a:xfrm>
                  <a:off x="6170629" y="5104195"/>
                  <a:ext cx="527184" cy="429769"/>
                </a:xfrm>
                <a:custGeom>
                  <a:avLst/>
                  <a:gdLst>
                    <a:gd name="T0" fmla="*/ 0 w 368"/>
                    <a:gd name="T1" fmla="*/ 90 h 300"/>
                    <a:gd name="T2" fmla="*/ 4 w 368"/>
                    <a:gd name="T3" fmla="*/ 102 h 300"/>
                    <a:gd name="T4" fmla="*/ 13 w 368"/>
                    <a:gd name="T5" fmla="*/ 139 h 300"/>
                    <a:gd name="T6" fmla="*/ 42 w 368"/>
                    <a:gd name="T7" fmla="*/ 175 h 300"/>
                    <a:gd name="T8" fmla="*/ 32 w 368"/>
                    <a:gd name="T9" fmla="*/ 183 h 300"/>
                    <a:gd name="T10" fmla="*/ 49 w 368"/>
                    <a:gd name="T11" fmla="*/ 194 h 300"/>
                    <a:gd name="T12" fmla="*/ 38 w 368"/>
                    <a:gd name="T13" fmla="*/ 209 h 300"/>
                    <a:gd name="T14" fmla="*/ 96 w 368"/>
                    <a:gd name="T15" fmla="*/ 256 h 300"/>
                    <a:gd name="T16" fmla="*/ 132 w 368"/>
                    <a:gd name="T17" fmla="*/ 256 h 300"/>
                    <a:gd name="T18" fmla="*/ 127 w 368"/>
                    <a:gd name="T19" fmla="*/ 281 h 300"/>
                    <a:gd name="T20" fmla="*/ 174 w 368"/>
                    <a:gd name="T21" fmla="*/ 300 h 300"/>
                    <a:gd name="T22" fmla="*/ 187 w 368"/>
                    <a:gd name="T23" fmla="*/ 273 h 300"/>
                    <a:gd name="T24" fmla="*/ 270 w 368"/>
                    <a:gd name="T25" fmla="*/ 287 h 300"/>
                    <a:gd name="T26" fmla="*/ 297 w 368"/>
                    <a:gd name="T27" fmla="*/ 270 h 300"/>
                    <a:gd name="T28" fmla="*/ 283 w 368"/>
                    <a:gd name="T29" fmla="*/ 234 h 300"/>
                    <a:gd name="T30" fmla="*/ 291 w 368"/>
                    <a:gd name="T31" fmla="*/ 202 h 300"/>
                    <a:gd name="T32" fmla="*/ 319 w 368"/>
                    <a:gd name="T33" fmla="*/ 217 h 300"/>
                    <a:gd name="T34" fmla="*/ 368 w 368"/>
                    <a:gd name="T35" fmla="*/ 187 h 300"/>
                    <a:gd name="T36" fmla="*/ 359 w 368"/>
                    <a:gd name="T37" fmla="*/ 170 h 300"/>
                    <a:gd name="T38" fmla="*/ 317 w 368"/>
                    <a:gd name="T39" fmla="*/ 175 h 300"/>
                    <a:gd name="T40" fmla="*/ 287 w 368"/>
                    <a:gd name="T41" fmla="*/ 156 h 300"/>
                    <a:gd name="T42" fmla="*/ 253 w 368"/>
                    <a:gd name="T43" fmla="*/ 71 h 300"/>
                    <a:gd name="T44" fmla="*/ 210 w 368"/>
                    <a:gd name="T45" fmla="*/ 28 h 300"/>
                    <a:gd name="T46" fmla="*/ 172 w 368"/>
                    <a:gd name="T47" fmla="*/ 24 h 300"/>
                    <a:gd name="T48" fmla="*/ 183 w 368"/>
                    <a:gd name="T49" fmla="*/ 15 h 300"/>
                    <a:gd name="T50" fmla="*/ 161 w 368"/>
                    <a:gd name="T51" fmla="*/ 0 h 300"/>
                    <a:gd name="T52" fmla="*/ 121 w 368"/>
                    <a:gd name="T53" fmla="*/ 17 h 300"/>
                    <a:gd name="T54" fmla="*/ 102 w 368"/>
                    <a:gd name="T55" fmla="*/ 13 h 300"/>
                    <a:gd name="T56" fmla="*/ 64 w 368"/>
                    <a:gd name="T57" fmla="*/ 37 h 300"/>
                    <a:gd name="T58" fmla="*/ 32 w 368"/>
                    <a:gd name="T59" fmla="*/ 30 h 300"/>
                    <a:gd name="T60" fmla="*/ 45 w 368"/>
                    <a:gd name="T61" fmla="*/ 56 h 300"/>
                    <a:gd name="T62" fmla="*/ 21 w 368"/>
                    <a:gd name="T63" fmla="*/ 85 h 300"/>
                    <a:gd name="T64" fmla="*/ 0 w 368"/>
                    <a:gd name="T65" fmla="*/ 88 h 300"/>
                    <a:gd name="T66" fmla="*/ 0 w 368"/>
                    <a:gd name="T67" fmla="*/ 9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8" h="300">
                      <a:moveTo>
                        <a:pt x="0" y="90"/>
                      </a:moveTo>
                      <a:lnTo>
                        <a:pt x="4" y="102"/>
                      </a:lnTo>
                      <a:lnTo>
                        <a:pt x="13" y="139"/>
                      </a:lnTo>
                      <a:lnTo>
                        <a:pt x="42" y="175"/>
                      </a:lnTo>
                      <a:lnTo>
                        <a:pt x="32" y="183"/>
                      </a:lnTo>
                      <a:lnTo>
                        <a:pt x="49" y="194"/>
                      </a:lnTo>
                      <a:lnTo>
                        <a:pt x="38" y="209"/>
                      </a:lnTo>
                      <a:lnTo>
                        <a:pt x="96" y="256"/>
                      </a:lnTo>
                      <a:lnTo>
                        <a:pt x="132" y="256"/>
                      </a:lnTo>
                      <a:lnTo>
                        <a:pt x="127" y="281"/>
                      </a:lnTo>
                      <a:lnTo>
                        <a:pt x="174" y="300"/>
                      </a:lnTo>
                      <a:lnTo>
                        <a:pt x="187" y="273"/>
                      </a:lnTo>
                      <a:lnTo>
                        <a:pt x="270" y="287"/>
                      </a:lnTo>
                      <a:lnTo>
                        <a:pt x="297" y="270"/>
                      </a:lnTo>
                      <a:lnTo>
                        <a:pt x="283" y="234"/>
                      </a:lnTo>
                      <a:lnTo>
                        <a:pt x="291" y="202"/>
                      </a:lnTo>
                      <a:lnTo>
                        <a:pt x="319" y="217"/>
                      </a:lnTo>
                      <a:lnTo>
                        <a:pt x="368" y="187"/>
                      </a:lnTo>
                      <a:lnTo>
                        <a:pt x="359" y="170"/>
                      </a:lnTo>
                      <a:lnTo>
                        <a:pt x="317" y="175"/>
                      </a:lnTo>
                      <a:lnTo>
                        <a:pt x="287" y="156"/>
                      </a:lnTo>
                      <a:lnTo>
                        <a:pt x="253" y="71"/>
                      </a:lnTo>
                      <a:lnTo>
                        <a:pt x="210" y="28"/>
                      </a:lnTo>
                      <a:lnTo>
                        <a:pt x="172" y="24"/>
                      </a:lnTo>
                      <a:lnTo>
                        <a:pt x="183" y="15"/>
                      </a:lnTo>
                      <a:lnTo>
                        <a:pt x="161" y="0"/>
                      </a:lnTo>
                      <a:lnTo>
                        <a:pt x="121" y="17"/>
                      </a:lnTo>
                      <a:lnTo>
                        <a:pt x="102" y="13"/>
                      </a:lnTo>
                      <a:lnTo>
                        <a:pt x="64" y="37"/>
                      </a:lnTo>
                      <a:lnTo>
                        <a:pt x="32" y="30"/>
                      </a:lnTo>
                      <a:lnTo>
                        <a:pt x="45" y="56"/>
                      </a:lnTo>
                      <a:lnTo>
                        <a:pt x="21" y="85"/>
                      </a:lnTo>
                      <a:lnTo>
                        <a:pt x="0" y="88"/>
                      </a:lnTo>
                      <a:lnTo>
                        <a:pt x="0" y="90"/>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37" name="82">
                  <a:extLst>
                    <a:ext uri="{FF2B5EF4-FFF2-40B4-BE49-F238E27FC236}">
                      <a16:creationId xmlns:a16="http://schemas.microsoft.com/office/drawing/2014/main" id="{7191B44B-EC74-4F23-A68A-76D6AC1838C2}"/>
                    </a:ext>
                  </a:extLst>
                </p:cNvPr>
                <p:cNvSpPr>
                  <a:spLocks/>
                </p:cNvSpPr>
                <p:nvPr/>
              </p:nvSpPr>
              <p:spPr bwMode="gray">
                <a:xfrm>
                  <a:off x="5872656" y="4998185"/>
                  <a:ext cx="471314" cy="322328"/>
                </a:xfrm>
                <a:custGeom>
                  <a:avLst/>
                  <a:gdLst>
                    <a:gd name="T0" fmla="*/ 0 w 329"/>
                    <a:gd name="T1" fmla="*/ 106 h 225"/>
                    <a:gd name="T2" fmla="*/ 12 w 329"/>
                    <a:gd name="T3" fmla="*/ 87 h 225"/>
                    <a:gd name="T4" fmla="*/ 36 w 329"/>
                    <a:gd name="T5" fmla="*/ 91 h 225"/>
                    <a:gd name="T6" fmla="*/ 29 w 329"/>
                    <a:gd name="T7" fmla="*/ 74 h 225"/>
                    <a:gd name="T8" fmla="*/ 55 w 329"/>
                    <a:gd name="T9" fmla="*/ 40 h 225"/>
                    <a:gd name="T10" fmla="*/ 36 w 329"/>
                    <a:gd name="T11" fmla="*/ 26 h 225"/>
                    <a:gd name="T12" fmla="*/ 42 w 329"/>
                    <a:gd name="T13" fmla="*/ 4 h 225"/>
                    <a:gd name="T14" fmla="*/ 87 w 329"/>
                    <a:gd name="T15" fmla="*/ 2 h 225"/>
                    <a:gd name="T16" fmla="*/ 104 w 329"/>
                    <a:gd name="T17" fmla="*/ 0 h 225"/>
                    <a:gd name="T18" fmla="*/ 91 w 329"/>
                    <a:gd name="T19" fmla="*/ 13 h 225"/>
                    <a:gd name="T20" fmla="*/ 125 w 329"/>
                    <a:gd name="T21" fmla="*/ 43 h 225"/>
                    <a:gd name="T22" fmla="*/ 146 w 329"/>
                    <a:gd name="T23" fmla="*/ 36 h 225"/>
                    <a:gd name="T24" fmla="*/ 144 w 329"/>
                    <a:gd name="T25" fmla="*/ 55 h 225"/>
                    <a:gd name="T26" fmla="*/ 161 w 329"/>
                    <a:gd name="T27" fmla="*/ 68 h 225"/>
                    <a:gd name="T28" fmla="*/ 193 w 329"/>
                    <a:gd name="T29" fmla="*/ 40 h 225"/>
                    <a:gd name="T30" fmla="*/ 212 w 329"/>
                    <a:gd name="T31" fmla="*/ 60 h 225"/>
                    <a:gd name="T32" fmla="*/ 221 w 329"/>
                    <a:gd name="T33" fmla="*/ 34 h 225"/>
                    <a:gd name="T34" fmla="*/ 236 w 329"/>
                    <a:gd name="T35" fmla="*/ 47 h 225"/>
                    <a:gd name="T36" fmla="*/ 299 w 329"/>
                    <a:gd name="T37" fmla="*/ 23 h 225"/>
                    <a:gd name="T38" fmla="*/ 297 w 329"/>
                    <a:gd name="T39" fmla="*/ 40 h 225"/>
                    <a:gd name="T40" fmla="*/ 323 w 329"/>
                    <a:gd name="T41" fmla="*/ 45 h 225"/>
                    <a:gd name="T42" fmla="*/ 301 w 329"/>
                    <a:gd name="T43" fmla="*/ 70 h 225"/>
                    <a:gd name="T44" fmla="*/ 329 w 329"/>
                    <a:gd name="T45" fmla="*/ 91 h 225"/>
                    <a:gd name="T46" fmla="*/ 310 w 329"/>
                    <a:gd name="T47" fmla="*/ 87 h 225"/>
                    <a:gd name="T48" fmla="*/ 272 w 329"/>
                    <a:gd name="T49" fmla="*/ 111 h 225"/>
                    <a:gd name="T50" fmla="*/ 240 w 329"/>
                    <a:gd name="T51" fmla="*/ 104 h 225"/>
                    <a:gd name="T52" fmla="*/ 253 w 329"/>
                    <a:gd name="T53" fmla="*/ 130 h 225"/>
                    <a:gd name="T54" fmla="*/ 229 w 329"/>
                    <a:gd name="T55" fmla="*/ 159 h 225"/>
                    <a:gd name="T56" fmla="*/ 208 w 329"/>
                    <a:gd name="T57" fmla="*/ 162 h 225"/>
                    <a:gd name="T58" fmla="*/ 208 w 329"/>
                    <a:gd name="T59" fmla="*/ 164 h 225"/>
                    <a:gd name="T60" fmla="*/ 212 w 329"/>
                    <a:gd name="T61" fmla="*/ 176 h 225"/>
                    <a:gd name="T62" fmla="*/ 161 w 329"/>
                    <a:gd name="T63" fmla="*/ 183 h 225"/>
                    <a:gd name="T64" fmla="*/ 144 w 329"/>
                    <a:gd name="T65" fmla="*/ 198 h 225"/>
                    <a:gd name="T66" fmla="*/ 159 w 329"/>
                    <a:gd name="T67" fmla="*/ 208 h 225"/>
                    <a:gd name="T68" fmla="*/ 121 w 329"/>
                    <a:gd name="T69" fmla="*/ 225 h 225"/>
                    <a:gd name="T70" fmla="*/ 104 w 329"/>
                    <a:gd name="T71" fmla="*/ 206 h 225"/>
                    <a:gd name="T72" fmla="*/ 51 w 329"/>
                    <a:gd name="T73" fmla="*/ 217 h 225"/>
                    <a:gd name="T74" fmla="*/ 38 w 329"/>
                    <a:gd name="T75" fmla="*/ 217 h 225"/>
                    <a:gd name="T76" fmla="*/ 36 w 329"/>
                    <a:gd name="T77" fmla="*/ 172 h 225"/>
                    <a:gd name="T78" fmla="*/ 2 w 329"/>
                    <a:gd name="T79" fmla="*/ 159 h 225"/>
                    <a:gd name="T80" fmla="*/ 29 w 329"/>
                    <a:gd name="T81" fmla="*/ 123 h 225"/>
                    <a:gd name="T82" fmla="*/ 0 w 329"/>
                    <a:gd name="T83" fmla="*/ 115 h 225"/>
                    <a:gd name="T84" fmla="*/ 0 w 329"/>
                    <a:gd name="T85" fmla="*/ 10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9" h="225">
                      <a:moveTo>
                        <a:pt x="0" y="106"/>
                      </a:moveTo>
                      <a:lnTo>
                        <a:pt x="12" y="87"/>
                      </a:lnTo>
                      <a:lnTo>
                        <a:pt x="36" y="91"/>
                      </a:lnTo>
                      <a:lnTo>
                        <a:pt x="29" y="74"/>
                      </a:lnTo>
                      <a:lnTo>
                        <a:pt x="55" y="40"/>
                      </a:lnTo>
                      <a:lnTo>
                        <a:pt x="36" y="26"/>
                      </a:lnTo>
                      <a:lnTo>
                        <a:pt x="42" y="4"/>
                      </a:lnTo>
                      <a:lnTo>
                        <a:pt x="87" y="2"/>
                      </a:lnTo>
                      <a:lnTo>
                        <a:pt x="104" y="0"/>
                      </a:lnTo>
                      <a:lnTo>
                        <a:pt x="91" y="13"/>
                      </a:lnTo>
                      <a:lnTo>
                        <a:pt x="125" y="43"/>
                      </a:lnTo>
                      <a:lnTo>
                        <a:pt x="146" y="36"/>
                      </a:lnTo>
                      <a:lnTo>
                        <a:pt x="144" y="55"/>
                      </a:lnTo>
                      <a:lnTo>
                        <a:pt x="161" y="68"/>
                      </a:lnTo>
                      <a:lnTo>
                        <a:pt x="193" y="40"/>
                      </a:lnTo>
                      <a:lnTo>
                        <a:pt x="212" y="60"/>
                      </a:lnTo>
                      <a:lnTo>
                        <a:pt x="221" y="34"/>
                      </a:lnTo>
                      <a:lnTo>
                        <a:pt x="236" y="47"/>
                      </a:lnTo>
                      <a:lnTo>
                        <a:pt x="299" y="23"/>
                      </a:lnTo>
                      <a:lnTo>
                        <a:pt x="297" y="40"/>
                      </a:lnTo>
                      <a:lnTo>
                        <a:pt x="323" y="45"/>
                      </a:lnTo>
                      <a:lnTo>
                        <a:pt x="301" y="70"/>
                      </a:lnTo>
                      <a:lnTo>
                        <a:pt x="329" y="91"/>
                      </a:lnTo>
                      <a:lnTo>
                        <a:pt x="310" y="87"/>
                      </a:lnTo>
                      <a:lnTo>
                        <a:pt x="272" y="111"/>
                      </a:lnTo>
                      <a:lnTo>
                        <a:pt x="240" y="104"/>
                      </a:lnTo>
                      <a:lnTo>
                        <a:pt x="253" y="130"/>
                      </a:lnTo>
                      <a:lnTo>
                        <a:pt x="229" y="159"/>
                      </a:lnTo>
                      <a:lnTo>
                        <a:pt x="208" y="162"/>
                      </a:lnTo>
                      <a:lnTo>
                        <a:pt x="208" y="164"/>
                      </a:lnTo>
                      <a:lnTo>
                        <a:pt x="212" y="176"/>
                      </a:lnTo>
                      <a:lnTo>
                        <a:pt x="161" y="183"/>
                      </a:lnTo>
                      <a:lnTo>
                        <a:pt x="144" y="198"/>
                      </a:lnTo>
                      <a:lnTo>
                        <a:pt x="159" y="208"/>
                      </a:lnTo>
                      <a:lnTo>
                        <a:pt x="121" y="225"/>
                      </a:lnTo>
                      <a:lnTo>
                        <a:pt x="104" y="206"/>
                      </a:lnTo>
                      <a:lnTo>
                        <a:pt x="51" y="217"/>
                      </a:lnTo>
                      <a:lnTo>
                        <a:pt x="38" y="217"/>
                      </a:lnTo>
                      <a:lnTo>
                        <a:pt x="36" y="172"/>
                      </a:lnTo>
                      <a:lnTo>
                        <a:pt x="2" y="159"/>
                      </a:lnTo>
                      <a:lnTo>
                        <a:pt x="29" y="123"/>
                      </a:lnTo>
                      <a:lnTo>
                        <a:pt x="0" y="115"/>
                      </a:lnTo>
                      <a:lnTo>
                        <a:pt x="0" y="106"/>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38" name="31">
                  <a:extLst>
                    <a:ext uri="{FF2B5EF4-FFF2-40B4-BE49-F238E27FC236}">
                      <a16:creationId xmlns:a16="http://schemas.microsoft.com/office/drawing/2014/main" id="{B3F8DCBD-EFD9-446D-A3F7-4801BB5D4DB7}"/>
                    </a:ext>
                  </a:extLst>
                </p:cNvPr>
                <p:cNvSpPr>
                  <a:spLocks/>
                </p:cNvSpPr>
                <p:nvPr/>
              </p:nvSpPr>
              <p:spPr bwMode="gray">
                <a:xfrm>
                  <a:off x="5735129" y="5250317"/>
                  <a:ext cx="624598" cy="631762"/>
                </a:xfrm>
                <a:custGeom>
                  <a:avLst/>
                  <a:gdLst>
                    <a:gd name="T0" fmla="*/ 2 w 436"/>
                    <a:gd name="T1" fmla="*/ 417 h 441"/>
                    <a:gd name="T2" fmla="*/ 11 w 436"/>
                    <a:gd name="T3" fmla="*/ 370 h 441"/>
                    <a:gd name="T4" fmla="*/ 32 w 436"/>
                    <a:gd name="T5" fmla="*/ 377 h 441"/>
                    <a:gd name="T6" fmla="*/ 57 w 436"/>
                    <a:gd name="T7" fmla="*/ 341 h 441"/>
                    <a:gd name="T8" fmla="*/ 47 w 436"/>
                    <a:gd name="T9" fmla="*/ 315 h 441"/>
                    <a:gd name="T10" fmla="*/ 23 w 436"/>
                    <a:gd name="T11" fmla="*/ 324 h 441"/>
                    <a:gd name="T12" fmla="*/ 34 w 436"/>
                    <a:gd name="T13" fmla="*/ 298 h 441"/>
                    <a:gd name="T14" fmla="*/ 4 w 436"/>
                    <a:gd name="T15" fmla="*/ 277 h 441"/>
                    <a:gd name="T16" fmla="*/ 51 w 436"/>
                    <a:gd name="T17" fmla="*/ 213 h 441"/>
                    <a:gd name="T18" fmla="*/ 91 w 436"/>
                    <a:gd name="T19" fmla="*/ 177 h 441"/>
                    <a:gd name="T20" fmla="*/ 155 w 436"/>
                    <a:gd name="T21" fmla="*/ 196 h 441"/>
                    <a:gd name="T22" fmla="*/ 172 w 436"/>
                    <a:gd name="T23" fmla="*/ 132 h 441"/>
                    <a:gd name="T24" fmla="*/ 210 w 436"/>
                    <a:gd name="T25" fmla="*/ 124 h 441"/>
                    <a:gd name="T26" fmla="*/ 147 w 436"/>
                    <a:gd name="T27" fmla="*/ 41 h 441"/>
                    <a:gd name="T28" fmla="*/ 200 w 436"/>
                    <a:gd name="T29" fmla="*/ 30 h 441"/>
                    <a:gd name="T30" fmla="*/ 217 w 436"/>
                    <a:gd name="T31" fmla="*/ 49 h 441"/>
                    <a:gd name="T32" fmla="*/ 255 w 436"/>
                    <a:gd name="T33" fmla="*/ 32 h 441"/>
                    <a:gd name="T34" fmla="*/ 240 w 436"/>
                    <a:gd name="T35" fmla="*/ 22 h 441"/>
                    <a:gd name="T36" fmla="*/ 257 w 436"/>
                    <a:gd name="T37" fmla="*/ 7 h 441"/>
                    <a:gd name="T38" fmla="*/ 308 w 436"/>
                    <a:gd name="T39" fmla="*/ 0 h 441"/>
                    <a:gd name="T40" fmla="*/ 317 w 436"/>
                    <a:gd name="T41" fmla="*/ 37 h 441"/>
                    <a:gd name="T42" fmla="*/ 346 w 436"/>
                    <a:gd name="T43" fmla="*/ 73 h 441"/>
                    <a:gd name="T44" fmla="*/ 336 w 436"/>
                    <a:gd name="T45" fmla="*/ 81 h 441"/>
                    <a:gd name="T46" fmla="*/ 353 w 436"/>
                    <a:gd name="T47" fmla="*/ 92 h 441"/>
                    <a:gd name="T48" fmla="*/ 342 w 436"/>
                    <a:gd name="T49" fmla="*/ 107 h 441"/>
                    <a:gd name="T50" fmla="*/ 400 w 436"/>
                    <a:gd name="T51" fmla="*/ 154 h 441"/>
                    <a:gd name="T52" fmla="*/ 436 w 436"/>
                    <a:gd name="T53" fmla="*/ 154 h 441"/>
                    <a:gd name="T54" fmla="*/ 431 w 436"/>
                    <a:gd name="T55" fmla="*/ 179 h 441"/>
                    <a:gd name="T56" fmla="*/ 397 w 436"/>
                    <a:gd name="T57" fmla="*/ 192 h 441"/>
                    <a:gd name="T58" fmla="*/ 383 w 436"/>
                    <a:gd name="T59" fmla="*/ 175 h 441"/>
                    <a:gd name="T60" fmla="*/ 372 w 436"/>
                    <a:gd name="T61" fmla="*/ 211 h 441"/>
                    <a:gd name="T62" fmla="*/ 351 w 436"/>
                    <a:gd name="T63" fmla="*/ 213 h 441"/>
                    <a:gd name="T64" fmla="*/ 342 w 436"/>
                    <a:gd name="T65" fmla="*/ 232 h 441"/>
                    <a:gd name="T66" fmla="*/ 338 w 436"/>
                    <a:gd name="T67" fmla="*/ 236 h 441"/>
                    <a:gd name="T68" fmla="*/ 325 w 436"/>
                    <a:gd name="T69" fmla="*/ 249 h 441"/>
                    <a:gd name="T70" fmla="*/ 287 w 436"/>
                    <a:gd name="T71" fmla="*/ 228 h 441"/>
                    <a:gd name="T72" fmla="*/ 278 w 436"/>
                    <a:gd name="T73" fmla="*/ 258 h 441"/>
                    <a:gd name="T74" fmla="*/ 240 w 436"/>
                    <a:gd name="T75" fmla="*/ 222 h 441"/>
                    <a:gd name="T76" fmla="*/ 232 w 436"/>
                    <a:gd name="T77" fmla="*/ 234 h 441"/>
                    <a:gd name="T78" fmla="*/ 255 w 436"/>
                    <a:gd name="T79" fmla="*/ 251 h 441"/>
                    <a:gd name="T80" fmla="*/ 215 w 436"/>
                    <a:gd name="T81" fmla="*/ 264 h 441"/>
                    <a:gd name="T82" fmla="*/ 234 w 436"/>
                    <a:gd name="T83" fmla="*/ 287 h 441"/>
                    <a:gd name="T84" fmla="*/ 223 w 436"/>
                    <a:gd name="T85" fmla="*/ 298 h 441"/>
                    <a:gd name="T86" fmla="*/ 168 w 436"/>
                    <a:gd name="T87" fmla="*/ 279 h 441"/>
                    <a:gd name="T88" fmla="*/ 149 w 436"/>
                    <a:gd name="T89" fmla="*/ 294 h 441"/>
                    <a:gd name="T90" fmla="*/ 144 w 436"/>
                    <a:gd name="T91" fmla="*/ 341 h 441"/>
                    <a:gd name="T92" fmla="*/ 104 w 436"/>
                    <a:gd name="T93" fmla="*/ 362 h 441"/>
                    <a:gd name="T94" fmla="*/ 104 w 436"/>
                    <a:gd name="T95" fmla="*/ 364 h 441"/>
                    <a:gd name="T96" fmla="*/ 110 w 436"/>
                    <a:gd name="T97" fmla="*/ 392 h 441"/>
                    <a:gd name="T98" fmla="*/ 64 w 436"/>
                    <a:gd name="T99" fmla="*/ 379 h 441"/>
                    <a:gd name="T100" fmla="*/ 59 w 436"/>
                    <a:gd name="T101" fmla="*/ 441 h 441"/>
                    <a:gd name="T102" fmla="*/ 8 w 436"/>
                    <a:gd name="T103" fmla="*/ 436 h 441"/>
                    <a:gd name="T104" fmla="*/ 0 w 436"/>
                    <a:gd name="T105" fmla="*/ 424 h 441"/>
                    <a:gd name="T106" fmla="*/ 2 w 436"/>
                    <a:gd name="T107" fmla="*/ 417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441">
                      <a:moveTo>
                        <a:pt x="2" y="417"/>
                      </a:moveTo>
                      <a:lnTo>
                        <a:pt x="11" y="370"/>
                      </a:lnTo>
                      <a:lnTo>
                        <a:pt x="32" y="377"/>
                      </a:lnTo>
                      <a:lnTo>
                        <a:pt x="57" y="341"/>
                      </a:lnTo>
                      <a:lnTo>
                        <a:pt x="47" y="315"/>
                      </a:lnTo>
                      <a:lnTo>
                        <a:pt x="23" y="324"/>
                      </a:lnTo>
                      <a:lnTo>
                        <a:pt x="34" y="298"/>
                      </a:lnTo>
                      <a:lnTo>
                        <a:pt x="4" y="277"/>
                      </a:lnTo>
                      <a:lnTo>
                        <a:pt x="51" y="213"/>
                      </a:lnTo>
                      <a:lnTo>
                        <a:pt x="91" y="177"/>
                      </a:lnTo>
                      <a:lnTo>
                        <a:pt x="155" y="196"/>
                      </a:lnTo>
                      <a:lnTo>
                        <a:pt x="172" y="132"/>
                      </a:lnTo>
                      <a:lnTo>
                        <a:pt x="210" y="124"/>
                      </a:lnTo>
                      <a:lnTo>
                        <a:pt x="147" y="41"/>
                      </a:lnTo>
                      <a:lnTo>
                        <a:pt x="200" y="30"/>
                      </a:lnTo>
                      <a:lnTo>
                        <a:pt x="217" y="49"/>
                      </a:lnTo>
                      <a:lnTo>
                        <a:pt x="255" y="32"/>
                      </a:lnTo>
                      <a:lnTo>
                        <a:pt x="240" y="22"/>
                      </a:lnTo>
                      <a:lnTo>
                        <a:pt x="257" y="7"/>
                      </a:lnTo>
                      <a:lnTo>
                        <a:pt x="308" y="0"/>
                      </a:lnTo>
                      <a:lnTo>
                        <a:pt x="317" y="37"/>
                      </a:lnTo>
                      <a:lnTo>
                        <a:pt x="346" y="73"/>
                      </a:lnTo>
                      <a:lnTo>
                        <a:pt x="336" y="81"/>
                      </a:lnTo>
                      <a:lnTo>
                        <a:pt x="353" y="92"/>
                      </a:lnTo>
                      <a:lnTo>
                        <a:pt x="342" y="107"/>
                      </a:lnTo>
                      <a:lnTo>
                        <a:pt x="400" y="154"/>
                      </a:lnTo>
                      <a:lnTo>
                        <a:pt x="436" y="154"/>
                      </a:lnTo>
                      <a:lnTo>
                        <a:pt x="431" y="179"/>
                      </a:lnTo>
                      <a:lnTo>
                        <a:pt x="397" y="192"/>
                      </a:lnTo>
                      <a:lnTo>
                        <a:pt x="383" y="175"/>
                      </a:lnTo>
                      <a:lnTo>
                        <a:pt x="372" y="211"/>
                      </a:lnTo>
                      <a:lnTo>
                        <a:pt x="351" y="213"/>
                      </a:lnTo>
                      <a:lnTo>
                        <a:pt x="342" y="232"/>
                      </a:lnTo>
                      <a:lnTo>
                        <a:pt x="338" y="236"/>
                      </a:lnTo>
                      <a:lnTo>
                        <a:pt x="325" y="249"/>
                      </a:lnTo>
                      <a:lnTo>
                        <a:pt x="287" y="228"/>
                      </a:lnTo>
                      <a:lnTo>
                        <a:pt x="278" y="258"/>
                      </a:lnTo>
                      <a:lnTo>
                        <a:pt x="240" y="222"/>
                      </a:lnTo>
                      <a:lnTo>
                        <a:pt x="232" y="234"/>
                      </a:lnTo>
                      <a:lnTo>
                        <a:pt x="255" y="251"/>
                      </a:lnTo>
                      <a:lnTo>
                        <a:pt x="215" y="264"/>
                      </a:lnTo>
                      <a:lnTo>
                        <a:pt x="234" y="287"/>
                      </a:lnTo>
                      <a:lnTo>
                        <a:pt x="223" y="298"/>
                      </a:lnTo>
                      <a:lnTo>
                        <a:pt x="168" y="279"/>
                      </a:lnTo>
                      <a:lnTo>
                        <a:pt x="149" y="294"/>
                      </a:lnTo>
                      <a:lnTo>
                        <a:pt x="144" y="341"/>
                      </a:lnTo>
                      <a:lnTo>
                        <a:pt x="104" y="362"/>
                      </a:lnTo>
                      <a:lnTo>
                        <a:pt x="104" y="364"/>
                      </a:lnTo>
                      <a:lnTo>
                        <a:pt x="110" y="392"/>
                      </a:lnTo>
                      <a:lnTo>
                        <a:pt x="64" y="379"/>
                      </a:lnTo>
                      <a:lnTo>
                        <a:pt x="59" y="441"/>
                      </a:lnTo>
                      <a:lnTo>
                        <a:pt x="8" y="436"/>
                      </a:lnTo>
                      <a:lnTo>
                        <a:pt x="0" y="424"/>
                      </a:lnTo>
                      <a:lnTo>
                        <a:pt x="2" y="417"/>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39" name="46">
                  <a:extLst>
                    <a:ext uri="{FF2B5EF4-FFF2-40B4-BE49-F238E27FC236}">
                      <a16:creationId xmlns:a16="http://schemas.microsoft.com/office/drawing/2014/main" id="{A3666C50-148A-4DEE-B8DD-C84620172855}"/>
                    </a:ext>
                  </a:extLst>
                </p:cNvPr>
                <p:cNvSpPr>
                  <a:spLocks/>
                </p:cNvSpPr>
                <p:nvPr/>
              </p:nvSpPr>
              <p:spPr bwMode="gray">
                <a:xfrm>
                  <a:off x="5970070" y="4662965"/>
                  <a:ext cx="459854" cy="432635"/>
                </a:xfrm>
                <a:custGeom>
                  <a:avLst/>
                  <a:gdLst>
                    <a:gd name="T0" fmla="*/ 2 w 321"/>
                    <a:gd name="T1" fmla="*/ 174 h 302"/>
                    <a:gd name="T2" fmla="*/ 23 w 321"/>
                    <a:gd name="T3" fmla="*/ 166 h 302"/>
                    <a:gd name="T4" fmla="*/ 123 w 321"/>
                    <a:gd name="T5" fmla="*/ 58 h 302"/>
                    <a:gd name="T6" fmla="*/ 125 w 321"/>
                    <a:gd name="T7" fmla="*/ 4 h 302"/>
                    <a:gd name="T8" fmla="*/ 172 w 321"/>
                    <a:gd name="T9" fmla="*/ 0 h 302"/>
                    <a:gd name="T10" fmla="*/ 208 w 321"/>
                    <a:gd name="T11" fmla="*/ 41 h 302"/>
                    <a:gd name="T12" fmla="*/ 284 w 321"/>
                    <a:gd name="T13" fmla="*/ 24 h 302"/>
                    <a:gd name="T14" fmla="*/ 287 w 321"/>
                    <a:gd name="T15" fmla="*/ 32 h 302"/>
                    <a:gd name="T16" fmla="*/ 312 w 321"/>
                    <a:gd name="T17" fmla="*/ 92 h 302"/>
                    <a:gd name="T18" fmla="*/ 299 w 321"/>
                    <a:gd name="T19" fmla="*/ 126 h 302"/>
                    <a:gd name="T20" fmla="*/ 321 w 321"/>
                    <a:gd name="T21" fmla="*/ 155 h 302"/>
                    <a:gd name="T22" fmla="*/ 225 w 321"/>
                    <a:gd name="T23" fmla="*/ 204 h 302"/>
                    <a:gd name="T24" fmla="*/ 225 w 321"/>
                    <a:gd name="T25" fmla="*/ 211 h 302"/>
                    <a:gd name="T26" fmla="*/ 231 w 321"/>
                    <a:gd name="T27" fmla="*/ 257 h 302"/>
                    <a:gd name="T28" fmla="*/ 168 w 321"/>
                    <a:gd name="T29" fmla="*/ 281 h 302"/>
                    <a:gd name="T30" fmla="*/ 153 w 321"/>
                    <a:gd name="T31" fmla="*/ 268 h 302"/>
                    <a:gd name="T32" fmla="*/ 144 w 321"/>
                    <a:gd name="T33" fmla="*/ 294 h 302"/>
                    <a:gd name="T34" fmla="*/ 125 w 321"/>
                    <a:gd name="T35" fmla="*/ 274 h 302"/>
                    <a:gd name="T36" fmla="*/ 93 w 321"/>
                    <a:gd name="T37" fmla="*/ 302 h 302"/>
                    <a:gd name="T38" fmla="*/ 76 w 321"/>
                    <a:gd name="T39" fmla="*/ 289 h 302"/>
                    <a:gd name="T40" fmla="*/ 78 w 321"/>
                    <a:gd name="T41" fmla="*/ 270 h 302"/>
                    <a:gd name="T42" fmla="*/ 57 w 321"/>
                    <a:gd name="T43" fmla="*/ 277 h 302"/>
                    <a:gd name="T44" fmla="*/ 23 w 321"/>
                    <a:gd name="T45" fmla="*/ 247 h 302"/>
                    <a:gd name="T46" fmla="*/ 36 w 321"/>
                    <a:gd name="T47" fmla="*/ 234 h 302"/>
                    <a:gd name="T48" fmla="*/ 19 w 321"/>
                    <a:gd name="T49" fmla="*/ 236 h 302"/>
                    <a:gd name="T50" fmla="*/ 0 w 321"/>
                    <a:gd name="T51" fmla="*/ 177 h 302"/>
                    <a:gd name="T52" fmla="*/ 2 w 321"/>
                    <a:gd name="T53" fmla="*/ 17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1" h="302">
                      <a:moveTo>
                        <a:pt x="2" y="174"/>
                      </a:moveTo>
                      <a:lnTo>
                        <a:pt x="23" y="166"/>
                      </a:lnTo>
                      <a:lnTo>
                        <a:pt x="123" y="58"/>
                      </a:lnTo>
                      <a:lnTo>
                        <a:pt x="125" y="4"/>
                      </a:lnTo>
                      <a:lnTo>
                        <a:pt x="172" y="0"/>
                      </a:lnTo>
                      <a:lnTo>
                        <a:pt x="208" y="41"/>
                      </a:lnTo>
                      <a:lnTo>
                        <a:pt x="284" y="24"/>
                      </a:lnTo>
                      <a:lnTo>
                        <a:pt x="287" y="32"/>
                      </a:lnTo>
                      <a:lnTo>
                        <a:pt x="312" y="92"/>
                      </a:lnTo>
                      <a:lnTo>
                        <a:pt x="299" y="126"/>
                      </a:lnTo>
                      <a:lnTo>
                        <a:pt x="321" y="155"/>
                      </a:lnTo>
                      <a:lnTo>
                        <a:pt x="225" y="204"/>
                      </a:lnTo>
                      <a:lnTo>
                        <a:pt x="225" y="211"/>
                      </a:lnTo>
                      <a:lnTo>
                        <a:pt x="231" y="257"/>
                      </a:lnTo>
                      <a:lnTo>
                        <a:pt x="168" y="281"/>
                      </a:lnTo>
                      <a:lnTo>
                        <a:pt x="153" y="268"/>
                      </a:lnTo>
                      <a:lnTo>
                        <a:pt x="144" y="294"/>
                      </a:lnTo>
                      <a:lnTo>
                        <a:pt x="125" y="274"/>
                      </a:lnTo>
                      <a:lnTo>
                        <a:pt x="93" y="302"/>
                      </a:lnTo>
                      <a:lnTo>
                        <a:pt x="76" y="289"/>
                      </a:lnTo>
                      <a:lnTo>
                        <a:pt x="78" y="270"/>
                      </a:lnTo>
                      <a:lnTo>
                        <a:pt x="57" y="277"/>
                      </a:lnTo>
                      <a:lnTo>
                        <a:pt x="23" y="247"/>
                      </a:lnTo>
                      <a:lnTo>
                        <a:pt x="36" y="234"/>
                      </a:lnTo>
                      <a:lnTo>
                        <a:pt x="19" y="236"/>
                      </a:lnTo>
                      <a:lnTo>
                        <a:pt x="0" y="177"/>
                      </a:lnTo>
                      <a:lnTo>
                        <a:pt x="2" y="174"/>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grpSp>
          <p:grpSp>
            <p:nvGrpSpPr>
              <p:cNvPr id="326" name="Languedoc Roussillon (Formes)">
                <a:extLst>
                  <a:ext uri="{FF2B5EF4-FFF2-40B4-BE49-F238E27FC236}">
                    <a16:creationId xmlns:a16="http://schemas.microsoft.com/office/drawing/2014/main" id="{846925A6-CDD5-4BE5-95FF-EB8136211891}"/>
                  </a:ext>
                </a:extLst>
              </p:cNvPr>
              <p:cNvGrpSpPr/>
              <p:nvPr/>
            </p:nvGrpSpPr>
            <p:grpSpPr>
              <a:xfrm>
                <a:off x="6219336" y="4705941"/>
                <a:ext cx="1199056" cy="1379561"/>
                <a:chOff x="6219336" y="4705941"/>
                <a:chExt cx="1199056" cy="1379561"/>
              </a:xfrm>
              <a:grpFill/>
            </p:grpSpPr>
            <p:sp>
              <p:nvSpPr>
                <p:cNvPr id="327" name="11">
                  <a:extLst>
                    <a:ext uri="{FF2B5EF4-FFF2-40B4-BE49-F238E27FC236}">
                      <a16:creationId xmlns:a16="http://schemas.microsoft.com/office/drawing/2014/main" id="{4E8CD3E7-8564-4162-8348-0D5DD076E26C}"/>
                    </a:ext>
                  </a:extLst>
                </p:cNvPr>
                <p:cNvSpPr>
                  <a:spLocks/>
                </p:cNvSpPr>
                <p:nvPr/>
              </p:nvSpPr>
              <p:spPr bwMode="gray">
                <a:xfrm>
                  <a:off x="6219336" y="5495285"/>
                  <a:ext cx="593082" cy="416877"/>
                </a:xfrm>
                <a:custGeom>
                  <a:avLst/>
                  <a:gdLst>
                    <a:gd name="T0" fmla="*/ 4 w 414"/>
                    <a:gd name="T1" fmla="*/ 61 h 291"/>
                    <a:gd name="T2" fmla="*/ 13 w 414"/>
                    <a:gd name="T3" fmla="*/ 42 h 291"/>
                    <a:gd name="T4" fmla="*/ 34 w 414"/>
                    <a:gd name="T5" fmla="*/ 40 h 291"/>
                    <a:gd name="T6" fmla="*/ 45 w 414"/>
                    <a:gd name="T7" fmla="*/ 4 h 291"/>
                    <a:gd name="T8" fmla="*/ 59 w 414"/>
                    <a:gd name="T9" fmla="*/ 21 h 291"/>
                    <a:gd name="T10" fmla="*/ 93 w 414"/>
                    <a:gd name="T11" fmla="*/ 8 h 291"/>
                    <a:gd name="T12" fmla="*/ 140 w 414"/>
                    <a:gd name="T13" fmla="*/ 27 h 291"/>
                    <a:gd name="T14" fmla="*/ 153 w 414"/>
                    <a:gd name="T15" fmla="*/ 0 h 291"/>
                    <a:gd name="T16" fmla="*/ 236 w 414"/>
                    <a:gd name="T17" fmla="*/ 14 h 291"/>
                    <a:gd name="T18" fmla="*/ 229 w 414"/>
                    <a:gd name="T19" fmla="*/ 40 h 291"/>
                    <a:gd name="T20" fmla="*/ 227 w 414"/>
                    <a:gd name="T21" fmla="*/ 42 h 291"/>
                    <a:gd name="T22" fmla="*/ 249 w 414"/>
                    <a:gd name="T23" fmla="*/ 63 h 291"/>
                    <a:gd name="T24" fmla="*/ 268 w 414"/>
                    <a:gd name="T25" fmla="*/ 53 h 291"/>
                    <a:gd name="T26" fmla="*/ 285 w 414"/>
                    <a:gd name="T27" fmla="*/ 76 h 291"/>
                    <a:gd name="T28" fmla="*/ 317 w 414"/>
                    <a:gd name="T29" fmla="*/ 31 h 291"/>
                    <a:gd name="T30" fmla="*/ 323 w 414"/>
                    <a:gd name="T31" fmla="*/ 51 h 291"/>
                    <a:gd name="T32" fmla="*/ 414 w 414"/>
                    <a:gd name="T33" fmla="*/ 91 h 291"/>
                    <a:gd name="T34" fmla="*/ 374 w 414"/>
                    <a:gd name="T35" fmla="*/ 146 h 291"/>
                    <a:gd name="T36" fmla="*/ 372 w 414"/>
                    <a:gd name="T37" fmla="*/ 148 h 291"/>
                    <a:gd name="T38" fmla="*/ 359 w 414"/>
                    <a:gd name="T39" fmla="*/ 191 h 291"/>
                    <a:gd name="T40" fmla="*/ 361 w 414"/>
                    <a:gd name="T41" fmla="*/ 229 h 291"/>
                    <a:gd name="T42" fmla="*/ 357 w 414"/>
                    <a:gd name="T43" fmla="*/ 227 h 291"/>
                    <a:gd name="T44" fmla="*/ 342 w 414"/>
                    <a:gd name="T45" fmla="*/ 219 h 291"/>
                    <a:gd name="T46" fmla="*/ 314 w 414"/>
                    <a:gd name="T47" fmla="*/ 199 h 291"/>
                    <a:gd name="T48" fmla="*/ 278 w 414"/>
                    <a:gd name="T49" fmla="*/ 231 h 291"/>
                    <a:gd name="T50" fmla="*/ 181 w 414"/>
                    <a:gd name="T51" fmla="*/ 225 h 291"/>
                    <a:gd name="T52" fmla="*/ 170 w 414"/>
                    <a:gd name="T53" fmla="*/ 229 h 291"/>
                    <a:gd name="T54" fmla="*/ 178 w 414"/>
                    <a:gd name="T55" fmla="*/ 265 h 291"/>
                    <a:gd name="T56" fmla="*/ 125 w 414"/>
                    <a:gd name="T57" fmla="*/ 291 h 291"/>
                    <a:gd name="T58" fmla="*/ 102 w 414"/>
                    <a:gd name="T59" fmla="*/ 257 h 291"/>
                    <a:gd name="T60" fmla="*/ 68 w 414"/>
                    <a:gd name="T61" fmla="*/ 263 h 291"/>
                    <a:gd name="T62" fmla="*/ 42 w 414"/>
                    <a:gd name="T63" fmla="*/ 231 h 291"/>
                    <a:gd name="T64" fmla="*/ 79 w 414"/>
                    <a:gd name="T65" fmla="*/ 212 h 291"/>
                    <a:gd name="T66" fmla="*/ 64 w 414"/>
                    <a:gd name="T67" fmla="*/ 189 h 291"/>
                    <a:gd name="T68" fmla="*/ 83 w 414"/>
                    <a:gd name="T69" fmla="*/ 182 h 291"/>
                    <a:gd name="T70" fmla="*/ 79 w 414"/>
                    <a:gd name="T71" fmla="*/ 155 h 291"/>
                    <a:gd name="T72" fmla="*/ 68 w 414"/>
                    <a:gd name="T73" fmla="*/ 121 h 291"/>
                    <a:gd name="T74" fmla="*/ 6 w 414"/>
                    <a:gd name="T75" fmla="*/ 95 h 291"/>
                    <a:gd name="T76" fmla="*/ 0 w 414"/>
                    <a:gd name="T77" fmla="*/ 65 h 291"/>
                    <a:gd name="T78" fmla="*/ 4 w 414"/>
                    <a:gd name="T79" fmla="*/ 6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4" h="291">
                      <a:moveTo>
                        <a:pt x="4" y="61"/>
                      </a:moveTo>
                      <a:lnTo>
                        <a:pt x="13" y="42"/>
                      </a:lnTo>
                      <a:lnTo>
                        <a:pt x="34" y="40"/>
                      </a:lnTo>
                      <a:lnTo>
                        <a:pt x="45" y="4"/>
                      </a:lnTo>
                      <a:lnTo>
                        <a:pt x="59" y="21"/>
                      </a:lnTo>
                      <a:lnTo>
                        <a:pt x="93" y="8"/>
                      </a:lnTo>
                      <a:lnTo>
                        <a:pt x="140" y="27"/>
                      </a:lnTo>
                      <a:lnTo>
                        <a:pt x="153" y="0"/>
                      </a:lnTo>
                      <a:lnTo>
                        <a:pt x="236" y="14"/>
                      </a:lnTo>
                      <a:lnTo>
                        <a:pt x="229" y="40"/>
                      </a:lnTo>
                      <a:lnTo>
                        <a:pt x="227" y="42"/>
                      </a:lnTo>
                      <a:lnTo>
                        <a:pt x="249" y="63"/>
                      </a:lnTo>
                      <a:lnTo>
                        <a:pt x="268" y="53"/>
                      </a:lnTo>
                      <a:lnTo>
                        <a:pt x="285" y="76"/>
                      </a:lnTo>
                      <a:lnTo>
                        <a:pt x="317" y="31"/>
                      </a:lnTo>
                      <a:lnTo>
                        <a:pt x="323" y="51"/>
                      </a:lnTo>
                      <a:lnTo>
                        <a:pt x="414" y="91"/>
                      </a:lnTo>
                      <a:lnTo>
                        <a:pt x="374" y="146"/>
                      </a:lnTo>
                      <a:lnTo>
                        <a:pt x="372" y="148"/>
                      </a:lnTo>
                      <a:lnTo>
                        <a:pt x="359" y="191"/>
                      </a:lnTo>
                      <a:lnTo>
                        <a:pt x="361" y="229"/>
                      </a:lnTo>
                      <a:lnTo>
                        <a:pt x="357" y="227"/>
                      </a:lnTo>
                      <a:lnTo>
                        <a:pt x="342" y="219"/>
                      </a:lnTo>
                      <a:lnTo>
                        <a:pt x="314" y="199"/>
                      </a:lnTo>
                      <a:lnTo>
                        <a:pt x="278" y="231"/>
                      </a:lnTo>
                      <a:lnTo>
                        <a:pt x="181" y="225"/>
                      </a:lnTo>
                      <a:lnTo>
                        <a:pt x="170" y="229"/>
                      </a:lnTo>
                      <a:lnTo>
                        <a:pt x="178" y="265"/>
                      </a:lnTo>
                      <a:lnTo>
                        <a:pt x="125" y="291"/>
                      </a:lnTo>
                      <a:lnTo>
                        <a:pt x="102" y="257"/>
                      </a:lnTo>
                      <a:lnTo>
                        <a:pt x="68" y="263"/>
                      </a:lnTo>
                      <a:lnTo>
                        <a:pt x="42" y="231"/>
                      </a:lnTo>
                      <a:lnTo>
                        <a:pt x="79" y="212"/>
                      </a:lnTo>
                      <a:lnTo>
                        <a:pt x="64" y="189"/>
                      </a:lnTo>
                      <a:lnTo>
                        <a:pt x="83" y="182"/>
                      </a:lnTo>
                      <a:lnTo>
                        <a:pt x="79" y="155"/>
                      </a:lnTo>
                      <a:lnTo>
                        <a:pt x="68" y="121"/>
                      </a:lnTo>
                      <a:lnTo>
                        <a:pt x="6" y="95"/>
                      </a:lnTo>
                      <a:lnTo>
                        <a:pt x="0" y="65"/>
                      </a:lnTo>
                      <a:lnTo>
                        <a:pt x="4" y="61"/>
                      </a:lnTo>
                    </a:path>
                  </a:pathLst>
                </a:custGeom>
                <a:solidFill>
                  <a:schemeClr val="bg2">
                    <a:lumMod val="75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28" name="48">
                  <a:extLst>
                    <a:ext uri="{FF2B5EF4-FFF2-40B4-BE49-F238E27FC236}">
                      <a16:creationId xmlns:a16="http://schemas.microsoft.com/office/drawing/2014/main" id="{1CD54537-FBBC-4811-9CA4-E8A83C11266D}"/>
                    </a:ext>
                  </a:extLst>
                </p:cNvPr>
                <p:cNvSpPr>
                  <a:spLocks/>
                </p:cNvSpPr>
                <p:nvPr/>
              </p:nvSpPr>
              <p:spPr bwMode="gray">
                <a:xfrm>
                  <a:off x="6715003" y="4705941"/>
                  <a:ext cx="383927" cy="446960"/>
                </a:xfrm>
                <a:custGeom>
                  <a:avLst/>
                  <a:gdLst>
                    <a:gd name="T0" fmla="*/ 5 w 268"/>
                    <a:gd name="T1" fmla="*/ 113 h 312"/>
                    <a:gd name="T2" fmla="*/ 32 w 268"/>
                    <a:gd name="T3" fmla="*/ 32 h 312"/>
                    <a:gd name="T4" fmla="*/ 54 w 268"/>
                    <a:gd name="T5" fmla="*/ 38 h 312"/>
                    <a:gd name="T6" fmla="*/ 68 w 268"/>
                    <a:gd name="T7" fmla="*/ 11 h 312"/>
                    <a:gd name="T8" fmla="*/ 100 w 268"/>
                    <a:gd name="T9" fmla="*/ 0 h 312"/>
                    <a:gd name="T10" fmla="*/ 130 w 268"/>
                    <a:gd name="T11" fmla="*/ 59 h 312"/>
                    <a:gd name="T12" fmla="*/ 175 w 268"/>
                    <a:gd name="T13" fmla="*/ 34 h 312"/>
                    <a:gd name="T14" fmla="*/ 230 w 268"/>
                    <a:gd name="T15" fmla="*/ 83 h 312"/>
                    <a:gd name="T16" fmla="*/ 230 w 268"/>
                    <a:gd name="T17" fmla="*/ 93 h 312"/>
                    <a:gd name="T18" fmla="*/ 232 w 268"/>
                    <a:gd name="T19" fmla="*/ 100 h 312"/>
                    <a:gd name="T20" fmla="*/ 268 w 268"/>
                    <a:gd name="T21" fmla="*/ 185 h 312"/>
                    <a:gd name="T22" fmla="*/ 238 w 268"/>
                    <a:gd name="T23" fmla="*/ 212 h 312"/>
                    <a:gd name="T24" fmla="*/ 255 w 268"/>
                    <a:gd name="T25" fmla="*/ 232 h 312"/>
                    <a:gd name="T26" fmla="*/ 260 w 268"/>
                    <a:gd name="T27" fmla="*/ 293 h 312"/>
                    <a:gd name="T28" fmla="*/ 215 w 268"/>
                    <a:gd name="T29" fmla="*/ 308 h 312"/>
                    <a:gd name="T30" fmla="*/ 183 w 268"/>
                    <a:gd name="T31" fmla="*/ 287 h 312"/>
                    <a:gd name="T32" fmla="*/ 170 w 268"/>
                    <a:gd name="T33" fmla="*/ 310 h 312"/>
                    <a:gd name="T34" fmla="*/ 149 w 268"/>
                    <a:gd name="T35" fmla="*/ 312 h 312"/>
                    <a:gd name="T36" fmla="*/ 102 w 268"/>
                    <a:gd name="T37" fmla="*/ 293 h 312"/>
                    <a:gd name="T38" fmla="*/ 58 w 268"/>
                    <a:gd name="T39" fmla="*/ 285 h 312"/>
                    <a:gd name="T40" fmla="*/ 64 w 268"/>
                    <a:gd name="T41" fmla="*/ 270 h 312"/>
                    <a:gd name="T42" fmla="*/ 37 w 268"/>
                    <a:gd name="T43" fmla="*/ 259 h 312"/>
                    <a:gd name="T44" fmla="*/ 43 w 268"/>
                    <a:gd name="T45" fmla="*/ 193 h 312"/>
                    <a:gd name="T46" fmla="*/ 0 w 268"/>
                    <a:gd name="T47" fmla="*/ 119 h 312"/>
                    <a:gd name="T48" fmla="*/ 5 w 268"/>
                    <a:gd name="T49" fmla="*/ 11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8" h="312">
                      <a:moveTo>
                        <a:pt x="5" y="113"/>
                      </a:moveTo>
                      <a:lnTo>
                        <a:pt x="32" y="32"/>
                      </a:lnTo>
                      <a:lnTo>
                        <a:pt x="54" y="38"/>
                      </a:lnTo>
                      <a:lnTo>
                        <a:pt x="68" y="11"/>
                      </a:lnTo>
                      <a:lnTo>
                        <a:pt x="100" y="0"/>
                      </a:lnTo>
                      <a:lnTo>
                        <a:pt x="130" y="59"/>
                      </a:lnTo>
                      <a:lnTo>
                        <a:pt x="175" y="34"/>
                      </a:lnTo>
                      <a:lnTo>
                        <a:pt x="230" y="83"/>
                      </a:lnTo>
                      <a:lnTo>
                        <a:pt x="230" y="93"/>
                      </a:lnTo>
                      <a:lnTo>
                        <a:pt x="232" y="100"/>
                      </a:lnTo>
                      <a:lnTo>
                        <a:pt x="268" y="185"/>
                      </a:lnTo>
                      <a:lnTo>
                        <a:pt x="238" y="212"/>
                      </a:lnTo>
                      <a:lnTo>
                        <a:pt x="255" y="232"/>
                      </a:lnTo>
                      <a:lnTo>
                        <a:pt x="260" y="293"/>
                      </a:lnTo>
                      <a:lnTo>
                        <a:pt x="215" y="308"/>
                      </a:lnTo>
                      <a:lnTo>
                        <a:pt x="183" y="287"/>
                      </a:lnTo>
                      <a:lnTo>
                        <a:pt x="170" y="310"/>
                      </a:lnTo>
                      <a:lnTo>
                        <a:pt x="149" y="312"/>
                      </a:lnTo>
                      <a:lnTo>
                        <a:pt x="102" y="293"/>
                      </a:lnTo>
                      <a:lnTo>
                        <a:pt x="58" y="285"/>
                      </a:lnTo>
                      <a:lnTo>
                        <a:pt x="64" y="270"/>
                      </a:lnTo>
                      <a:lnTo>
                        <a:pt x="37" y="259"/>
                      </a:lnTo>
                      <a:lnTo>
                        <a:pt x="43" y="193"/>
                      </a:lnTo>
                      <a:lnTo>
                        <a:pt x="0" y="119"/>
                      </a:lnTo>
                      <a:lnTo>
                        <a:pt x="5" y="113"/>
                      </a:lnTo>
                    </a:path>
                  </a:pathLst>
                </a:custGeom>
                <a:solidFill>
                  <a:schemeClr val="bg2">
                    <a:lumMod val="75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29" name="30">
                  <a:extLst>
                    <a:ext uri="{FF2B5EF4-FFF2-40B4-BE49-F238E27FC236}">
                      <a16:creationId xmlns:a16="http://schemas.microsoft.com/office/drawing/2014/main" id="{396114FA-DE39-428E-A46B-068D8505C4CB}"/>
                    </a:ext>
                  </a:extLst>
                </p:cNvPr>
                <p:cNvSpPr>
                  <a:spLocks/>
                </p:cNvSpPr>
                <p:nvPr/>
              </p:nvSpPr>
              <p:spPr bwMode="gray">
                <a:xfrm>
                  <a:off x="6822445" y="4970965"/>
                  <a:ext cx="595947" cy="527184"/>
                </a:xfrm>
                <a:custGeom>
                  <a:avLst/>
                  <a:gdLst>
                    <a:gd name="T0" fmla="*/ 2 w 416"/>
                    <a:gd name="T1" fmla="*/ 134 h 368"/>
                    <a:gd name="T2" fmla="*/ 27 w 416"/>
                    <a:gd name="T3" fmla="*/ 108 h 368"/>
                    <a:gd name="T4" fmla="*/ 74 w 416"/>
                    <a:gd name="T5" fmla="*/ 127 h 368"/>
                    <a:gd name="T6" fmla="*/ 95 w 416"/>
                    <a:gd name="T7" fmla="*/ 125 h 368"/>
                    <a:gd name="T8" fmla="*/ 108 w 416"/>
                    <a:gd name="T9" fmla="*/ 102 h 368"/>
                    <a:gd name="T10" fmla="*/ 140 w 416"/>
                    <a:gd name="T11" fmla="*/ 123 h 368"/>
                    <a:gd name="T12" fmla="*/ 185 w 416"/>
                    <a:gd name="T13" fmla="*/ 108 h 368"/>
                    <a:gd name="T14" fmla="*/ 180 w 416"/>
                    <a:gd name="T15" fmla="*/ 47 h 368"/>
                    <a:gd name="T16" fmla="*/ 163 w 416"/>
                    <a:gd name="T17" fmla="*/ 27 h 368"/>
                    <a:gd name="T18" fmla="*/ 193 w 416"/>
                    <a:gd name="T19" fmla="*/ 0 h 368"/>
                    <a:gd name="T20" fmla="*/ 212 w 416"/>
                    <a:gd name="T21" fmla="*/ 21 h 368"/>
                    <a:gd name="T22" fmla="*/ 208 w 416"/>
                    <a:gd name="T23" fmla="*/ 53 h 368"/>
                    <a:gd name="T24" fmla="*/ 227 w 416"/>
                    <a:gd name="T25" fmla="*/ 47 h 368"/>
                    <a:gd name="T26" fmla="*/ 263 w 416"/>
                    <a:gd name="T27" fmla="*/ 72 h 368"/>
                    <a:gd name="T28" fmla="*/ 280 w 416"/>
                    <a:gd name="T29" fmla="*/ 45 h 368"/>
                    <a:gd name="T30" fmla="*/ 295 w 416"/>
                    <a:gd name="T31" fmla="*/ 40 h 368"/>
                    <a:gd name="T32" fmla="*/ 310 w 416"/>
                    <a:gd name="T33" fmla="*/ 64 h 368"/>
                    <a:gd name="T34" fmla="*/ 325 w 416"/>
                    <a:gd name="T35" fmla="*/ 42 h 368"/>
                    <a:gd name="T36" fmla="*/ 363 w 416"/>
                    <a:gd name="T37" fmla="*/ 66 h 368"/>
                    <a:gd name="T38" fmla="*/ 385 w 416"/>
                    <a:gd name="T39" fmla="*/ 98 h 368"/>
                    <a:gd name="T40" fmla="*/ 380 w 416"/>
                    <a:gd name="T41" fmla="*/ 127 h 368"/>
                    <a:gd name="T42" fmla="*/ 416 w 416"/>
                    <a:gd name="T43" fmla="*/ 161 h 368"/>
                    <a:gd name="T44" fmla="*/ 391 w 416"/>
                    <a:gd name="T45" fmla="*/ 195 h 368"/>
                    <a:gd name="T46" fmla="*/ 365 w 416"/>
                    <a:gd name="T47" fmla="*/ 215 h 368"/>
                    <a:gd name="T48" fmla="*/ 361 w 416"/>
                    <a:gd name="T49" fmla="*/ 280 h 368"/>
                    <a:gd name="T50" fmla="*/ 325 w 416"/>
                    <a:gd name="T51" fmla="*/ 278 h 368"/>
                    <a:gd name="T52" fmla="*/ 310 w 416"/>
                    <a:gd name="T53" fmla="*/ 306 h 368"/>
                    <a:gd name="T54" fmla="*/ 321 w 416"/>
                    <a:gd name="T55" fmla="*/ 317 h 368"/>
                    <a:gd name="T56" fmla="*/ 259 w 416"/>
                    <a:gd name="T57" fmla="*/ 355 h 368"/>
                    <a:gd name="T58" fmla="*/ 257 w 416"/>
                    <a:gd name="T59" fmla="*/ 368 h 368"/>
                    <a:gd name="T60" fmla="*/ 231 w 416"/>
                    <a:gd name="T61" fmla="*/ 357 h 368"/>
                    <a:gd name="T62" fmla="*/ 223 w 416"/>
                    <a:gd name="T63" fmla="*/ 332 h 368"/>
                    <a:gd name="T64" fmla="*/ 221 w 416"/>
                    <a:gd name="T65" fmla="*/ 323 h 368"/>
                    <a:gd name="T66" fmla="*/ 221 w 416"/>
                    <a:gd name="T67" fmla="*/ 319 h 368"/>
                    <a:gd name="T68" fmla="*/ 248 w 416"/>
                    <a:gd name="T69" fmla="*/ 300 h 368"/>
                    <a:gd name="T70" fmla="*/ 234 w 416"/>
                    <a:gd name="T71" fmla="*/ 268 h 368"/>
                    <a:gd name="T72" fmla="*/ 183 w 416"/>
                    <a:gd name="T73" fmla="*/ 240 h 368"/>
                    <a:gd name="T74" fmla="*/ 172 w 416"/>
                    <a:gd name="T75" fmla="*/ 212 h 368"/>
                    <a:gd name="T76" fmla="*/ 140 w 416"/>
                    <a:gd name="T77" fmla="*/ 210 h 368"/>
                    <a:gd name="T78" fmla="*/ 138 w 416"/>
                    <a:gd name="T79" fmla="*/ 183 h 368"/>
                    <a:gd name="T80" fmla="*/ 110 w 416"/>
                    <a:gd name="T81" fmla="*/ 187 h 368"/>
                    <a:gd name="T82" fmla="*/ 83 w 416"/>
                    <a:gd name="T83" fmla="*/ 225 h 368"/>
                    <a:gd name="T84" fmla="*/ 25 w 416"/>
                    <a:gd name="T85" fmla="*/ 202 h 368"/>
                    <a:gd name="T86" fmla="*/ 49 w 416"/>
                    <a:gd name="T87" fmla="*/ 164 h 368"/>
                    <a:gd name="T88" fmla="*/ 0 w 416"/>
                    <a:gd name="T89" fmla="*/ 136 h 368"/>
                    <a:gd name="T90" fmla="*/ 2 w 416"/>
                    <a:gd name="T91" fmla="*/ 13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6" h="368">
                      <a:moveTo>
                        <a:pt x="2" y="134"/>
                      </a:moveTo>
                      <a:lnTo>
                        <a:pt x="27" y="108"/>
                      </a:lnTo>
                      <a:lnTo>
                        <a:pt x="74" y="127"/>
                      </a:lnTo>
                      <a:lnTo>
                        <a:pt x="95" y="125"/>
                      </a:lnTo>
                      <a:lnTo>
                        <a:pt x="108" y="102"/>
                      </a:lnTo>
                      <a:lnTo>
                        <a:pt x="140" y="123"/>
                      </a:lnTo>
                      <a:lnTo>
                        <a:pt x="185" y="108"/>
                      </a:lnTo>
                      <a:lnTo>
                        <a:pt x="180" y="47"/>
                      </a:lnTo>
                      <a:lnTo>
                        <a:pt x="163" y="27"/>
                      </a:lnTo>
                      <a:lnTo>
                        <a:pt x="193" y="0"/>
                      </a:lnTo>
                      <a:lnTo>
                        <a:pt x="212" y="21"/>
                      </a:lnTo>
                      <a:lnTo>
                        <a:pt x="208" y="53"/>
                      </a:lnTo>
                      <a:lnTo>
                        <a:pt x="227" y="47"/>
                      </a:lnTo>
                      <a:lnTo>
                        <a:pt x="263" y="72"/>
                      </a:lnTo>
                      <a:lnTo>
                        <a:pt x="280" y="45"/>
                      </a:lnTo>
                      <a:lnTo>
                        <a:pt x="295" y="40"/>
                      </a:lnTo>
                      <a:lnTo>
                        <a:pt x="310" y="64"/>
                      </a:lnTo>
                      <a:lnTo>
                        <a:pt x="325" y="42"/>
                      </a:lnTo>
                      <a:lnTo>
                        <a:pt x="363" y="66"/>
                      </a:lnTo>
                      <a:lnTo>
                        <a:pt x="385" y="98"/>
                      </a:lnTo>
                      <a:lnTo>
                        <a:pt x="380" y="127"/>
                      </a:lnTo>
                      <a:lnTo>
                        <a:pt x="416" y="161"/>
                      </a:lnTo>
                      <a:lnTo>
                        <a:pt x="391" y="195"/>
                      </a:lnTo>
                      <a:lnTo>
                        <a:pt x="365" y="215"/>
                      </a:lnTo>
                      <a:lnTo>
                        <a:pt x="361" y="280"/>
                      </a:lnTo>
                      <a:lnTo>
                        <a:pt x="325" y="278"/>
                      </a:lnTo>
                      <a:lnTo>
                        <a:pt x="310" y="306"/>
                      </a:lnTo>
                      <a:lnTo>
                        <a:pt x="321" y="317"/>
                      </a:lnTo>
                      <a:lnTo>
                        <a:pt x="259" y="355"/>
                      </a:lnTo>
                      <a:lnTo>
                        <a:pt x="257" y="368"/>
                      </a:lnTo>
                      <a:lnTo>
                        <a:pt x="231" y="357"/>
                      </a:lnTo>
                      <a:lnTo>
                        <a:pt x="223" y="332"/>
                      </a:lnTo>
                      <a:lnTo>
                        <a:pt x="221" y="323"/>
                      </a:lnTo>
                      <a:lnTo>
                        <a:pt x="221" y="319"/>
                      </a:lnTo>
                      <a:lnTo>
                        <a:pt x="248" y="300"/>
                      </a:lnTo>
                      <a:lnTo>
                        <a:pt x="234" y="268"/>
                      </a:lnTo>
                      <a:lnTo>
                        <a:pt x="183" y="240"/>
                      </a:lnTo>
                      <a:lnTo>
                        <a:pt x="172" y="212"/>
                      </a:lnTo>
                      <a:lnTo>
                        <a:pt x="140" y="210"/>
                      </a:lnTo>
                      <a:lnTo>
                        <a:pt x="138" y="183"/>
                      </a:lnTo>
                      <a:lnTo>
                        <a:pt x="110" y="187"/>
                      </a:lnTo>
                      <a:lnTo>
                        <a:pt x="83" y="225"/>
                      </a:lnTo>
                      <a:lnTo>
                        <a:pt x="25" y="202"/>
                      </a:lnTo>
                      <a:lnTo>
                        <a:pt x="49" y="164"/>
                      </a:lnTo>
                      <a:lnTo>
                        <a:pt x="0" y="136"/>
                      </a:lnTo>
                      <a:lnTo>
                        <a:pt x="2" y="134"/>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30" name="34">
                  <a:extLst>
                    <a:ext uri="{FF2B5EF4-FFF2-40B4-BE49-F238E27FC236}">
                      <a16:creationId xmlns:a16="http://schemas.microsoft.com/office/drawing/2014/main" id="{0E6C5A51-C5BE-48C0-B106-841354ECB9FB}"/>
                    </a:ext>
                  </a:extLst>
                </p:cNvPr>
                <p:cNvSpPr>
                  <a:spLocks/>
                </p:cNvSpPr>
                <p:nvPr/>
              </p:nvSpPr>
              <p:spPr bwMode="gray">
                <a:xfrm>
                  <a:off x="6544528" y="5233125"/>
                  <a:ext cx="633194" cy="392523"/>
                </a:xfrm>
                <a:custGeom>
                  <a:avLst/>
                  <a:gdLst>
                    <a:gd name="T0" fmla="*/ 2 w 442"/>
                    <a:gd name="T1" fmla="*/ 223 h 274"/>
                    <a:gd name="T2" fmla="*/ 9 w 442"/>
                    <a:gd name="T3" fmla="*/ 197 h 274"/>
                    <a:gd name="T4" fmla="*/ 36 w 442"/>
                    <a:gd name="T5" fmla="*/ 180 h 274"/>
                    <a:gd name="T6" fmla="*/ 22 w 442"/>
                    <a:gd name="T7" fmla="*/ 144 h 274"/>
                    <a:gd name="T8" fmla="*/ 30 w 442"/>
                    <a:gd name="T9" fmla="*/ 112 h 274"/>
                    <a:gd name="T10" fmla="*/ 58 w 442"/>
                    <a:gd name="T11" fmla="*/ 127 h 274"/>
                    <a:gd name="T12" fmla="*/ 107 w 442"/>
                    <a:gd name="T13" fmla="*/ 97 h 274"/>
                    <a:gd name="T14" fmla="*/ 139 w 442"/>
                    <a:gd name="T15" fmla="*/ 97 h 274"/>
                    <a:gd name="T16" fmla="*/ 141 w 442"/>
                    <a:gd name="T17" fmla="*/ 46 h 274"/>
                    <a:gd name="T18" fmla="*/ 183 w 442"/>
                    <a:gd name="T19" fmla="*/ 53 h 274"/>
                    <a:gd name="T20" fmla="*/ 194 w 442"/>
                    <a:gd name="T21" fmla="*/ 25 h 274"/>
                    <a:gd name="T22" fmla="*/ 219 w 442"/>
                    <a:gd name="T23" fmla="*/ 19 h 274"/>
                    <a:gd name="T24" fmla="*/ 277 w 442"/>
                    <a:gd name="T25" fmla="*/ 42 h 274"/>
                    <a:gd name="T26" fmla="*/ 304 w 442"/>
                    <a:gd name="T27" fmla="*/ 4 h 274"/>
                    <a:gd name="T28" fmla="*/ 332 w 442"/>
                    <a:gd name="T29" fmla="*/ 0 h 274"/>
                    <a:gd name="T30" fmla="*/ 334 w 442"/>
                    <a:gd name="T31" fmla="*/ 27 h 274"/>
                    <a:gd name="T32" fmla="*/ 366 w 442"/>
                    <a:gd name="T33" fmla="*/ 29 h 274"/>
                    <a:gd name="T34" fmla="*/ 377 w 442"/>
                    <a:gd name="T35" fmla="*/ 57 h 274"/>
                    <a:gd name="T36" fmla="*/ 428 w 442"/>
                    <a:gd name="T37" fmla="*/ 85 h 274"/>
                    <a:gd name="T38" fmla="*/ 442 w 442"/>
                    <a:gd name="T39" fmla="*/ 117 h 274"/>
                    <a:gd name="T40" fmla="*/ 415 w 442"/>
                    <a:gd name="T41" fmla="*/ 136 h 274"/>
                    <a:gd name="T42" fmla="*/ 415 w 442"/>
                    <a:gd name="T43" fmla="*/ 140 h 274"/>
                    <a:gd name="T44" fmla="*/ 417 w 442"/>
                    <a:gd name="T45" fmla="*/ 149 h 274"/>
                    <a:gd name="T46" fmla="*/ 366 w 442"/>
                    <a:gd name="T47" fmla="*/ 163 h 274"/>
                    <a:gd name="T48" fmla="*/ 260 w 442"/>
                    <a:gd name="T49" fmla="*/ 255 h 274"/>
                    <a:gd name="T50" fmla="*/ 238 w 442"/>
                    <a:gd name="T51" fmla="*/ 248 h 274"/>
                    <a:gd name="T52" fmla="*/ 187 w 442"/>
                    <a:gd name="T53" fmla="*/ 274 h 274"/>
                    <a:gd name="T54" fmla="*/ 96 w 442"/>
                    <a:gd name="T55" fmla="*/ 234 h 274"/>
                    <a:gd name="T56" fmla="*/ 90 w 442"/>
                    <a:gd name="T57" fmla="*/ 214 h 274"/>
                    <a:gd name="T58" fmla="*/ 58 w 442"/>
                    <a:gd name="T59" fmla="*/ 259 h 274"/>
                    <a:gd name="T60" fmla="*/ 41 w 442"/>
                    <a:gd name="T61" fmla="*/ 236 h 274"/>
                    <a:gd name="T62" fmla="*/ 22 w 442"/>
                    <a:gd name="T63" fmla="*/ 246 h 274"/>
                    <a:gd name="T64" fmla="*/ 0 w 442"/>
                    <a:gd name="T65" fmla="*/ 225 h 274"/>
                    <a:gd name="T66" fmla="*/ 2 w 442"/>
                    <a:gd name="T67" fmla="*/ 2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2" h="274">
                      <a:moveTo>
                        <a:pt x="2" y="223"/>
                      </a:moveTo>
                      <a:lnTo>
                        <a:pt x="9" y="197"/>
                      </a:lnTo>
                      <a:lnTo>
                        <a:pt x="36" y="180"/>
                      </a:lnTo>
                      <a:lnTo>
                        <a:pt x="22" y="144"/>
                      </a:lnTo>
                      <a:lnTo>
                        <a:pt x="30" y="112"/>
                      </a:lnTo>
                      <a:lnTo>
                        <a:pt x="58" y="127"/>
                      </a:lnTo>
                      <a:lnTo>
                        <a:pt x="107" y="97"/>
                      </a:lnTo>
                      <a:lnTo>
                        <a:pt x="139" y="97"/>
                      </a:lnTo>
                      <a:lnTo>
                        <a:pt x="141" y="46"/>
                      </a:lnTo>
                      <a:lnTo>
                        <a:pt x="183" y="53"/>
                      </a:lnTo>
                      <a:lnTo>
                        <a:pt x="194" y="25"/>
                      </a:lnTo>
                      <a:lnTo>
                        <a:pt x="219" y="19"/>
                      </a:lnTo>
                      <a:lnTo>
                        <a:pt x="277" y="42"/>
                      </a:lnTo>
                      <a:lnTo>
                        <a:pt x="304" y="4"/>
                      </a:lnTo>
                      <a:lnTo>
                        <a:pt x="332" y="0"/>
                      </a:lnTo>
                      <a:lnTo>
                        <a:pt x="334" y="27"/>
                      </a:lnTo>
                      <a:lnTo>
                        <a:pt x="366" y="29"/>
                      </a:lnTo>
                      <a:lnTo>
                        <a:pt x="377" y="57"/>
                      </a:lnTo>
                      <a:lnTo>
                        <a:pt x="428" y="85"/>
                      </a:lnTo>
                      <a:lnTo>
                        <a:pt x="442" y="117"/>
                      </a:lnTo>
                      <a:lnTo>
                        <a:pt x="415" y="136"/>
                      </a:lnTo>
                      <a:lnTo>
                        <a:pt x="415" y="140"/>
                      </a:lnTo>
                      <a:lnTo>
                        <a:pt x="417" y="149"/>
                      </a:lnTo>
                      <a:lnTo>
                        <a:pt x="366" y="163"/>
                      </a:lnTo>
                      <a:lnTo>
                        <a:pt x="260" y="255"/>
                      </a:lnTo>
                      <a:lnTo>
                        <a:pt x="238" y="248"/>
                      </a:lnTo>
                      <a:lnTo>
                        <a:pt x="187" y="274"/>
                      </a:lnTo>
                      <a:lnTo>
                        <a:pt x="96" y="234"/>
                      </a:lnTo>
                      <a:lnTo>
                        <a:pt x="90" y="214"/>
                      </a:lnTo>
                      <a:lnTo>
                        <a:pt x="58" y="259"/>
                      </a:lnTo>
                      <a:lnTo>
                        <a:pt x="41" y="236"/>
                      </a:lnTo>
                      <a:lnTo>
                        <a:pt x="22" y="246"/>
                      </a:lnTo>
                      <a:lnTo>
                        <a:pt x="0" y="225"/>
                      </a:lnTo>
                      <a:lnTo>
                        <a:pt x="2" y="223"/>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31" name="66">
                  <a:extLst>
                    <a:ext uri="{FF2B5EF4-FFF2-40B4-BE49-F238E27FC236}">
                      <a16:creationId xmlns:a16="http://schemas.microsoft.com/office/drawing/2014/main" id="{3853872E-5FA2-4325-B770-8B44DBAB99CD}"/>
                    </a:ext>
                  </a:extLst>
                </p:cNvPr>
                <p:cNvSpPr>
                  <a:spLocks/>
                </p:cNvSpPr>
                <p:nvPr/>
              </p:nvSpPr>
              <p:spPr bwMode="gray">
                <a:xfrm>
                  <a:off x="6227932" y="5780366"/>
                  <a:ext cx="560134" cy="305136"/>
                </a:xfrm>
                <a:custGeom>
                  <a:avLst/>
                  <a:gdLst>
                    <a:gd name="T0" fmla="*/ 0 w 391"/>
                    <a:gd name="T1" fmla="*/ 151 h 213"/>
                    <a:gd name="T2" fmla="*/ 53 w 391"/>
                    <a:gd name="T3" fmla="*/ 168 h 213"/>
                    <a:gd name="T4" fmla="*/ 77 w 391"/>
                    <a:gd name="T5" fmla="*/ 207 h 213"/>
                    <a:gd name="T6" fmla="*/ 143 w 391"/>
                    <a:gd name="T7" fmla="*/ 175 h 213"/>
                    <a:gd name="T8" fmla="*/ 219 w 391"/>
                    <a:gd name="T9" fmla="*/ 213 h 213"/>
                    <a:gd name="T10" fmla="*/ 255 w 391"/>
                    <a:gd name="T11" fmla="*/ 211 h 213"/>
                    <a:gd name="T12" fmla="*/ 257 w 391"/>
                    <a:gd name="T13" fmla="*/ 187 h 213"/>
                    <a:gd name="T14" fmla="*/ 330 w 391"/>
                    <a:gd name="T15" fmla="*/ 162 h 213"/>
                    <a:gd name="T16" fmla="*/ 391 w 391"/>
                    <a:gd name="T17" fmla="*/ 177 h 213"/>
                    <a:gd name="T18" fmla="*/ 381 w 391"/>
                    <a:gd name="T19" fmla="*/ 149 h 213"/>
                    <a:gd name="T20" fmla="*/ 360 w 391"/>
                    <a:gd name="T21" fmla="*/ 139 h 213"/>
                    <a:gd name="T22" fmla="*/ 355 w 391"/>
                    <a:gd name="T23" fmla="*/ 30 h 213"/>
                    <a:gd name="T24" fmla="*/ 351 w 391"/>
                    <a:gd name="T25" fmla="*/ 28 h 213"/>
                    <a:gd name="T26" fmla="*/ 336 w 391"/>
                    <a:gd name="T27" fmla="*/ 20 h 213"/>
                    <a:gd name="T28" fmla="*/ 308 w 391"/>
                    <a:gd name="T29" fmla="*/ 0 h 213"/>
                    <a:gd name="T30" fmla="*/ 272 w 391"/>
                    <a:gd name="T31" fmla="*/ 32 h 213"/>
                    <a:gd name="T32" fmla="*/ 175 w 391"/>
                    <a:gd name="T33" fmla="*/ 26 h 213"/>
                    <a:gd name="T34" fmla="*/ 164 w 391"/>
                    <a:gd name="T35" fmla="*/ 30 h 213"/>
                    <a:gd name="T36" fmla="*/ 172 w 391"/>
                    <a:gd name="T37" fmla="*/ 66 h 213"/>
                    <a:gd name="T38" fmla="*/ 119 w 391"/>
                    <a:gd name="T39" fmla="*/ 92 h 213"/>
                    <a:gd name="T40" fmla="*/ 75 w 391"/>
                    <a:gd name="T41" fmla="*/ 92 h 213"/>
                    <a:gd name="T42" fmla="*/ 15 w 391"/>
                    <a:gd name="T43" fmla="*/ 124 h 213"/>
                    <a:gd name="T44" fmla="*/ 0 w 391"/>
                    <a:gd name="T45" fmla="*/ 15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1" h="213">
                      <a:moveTo>
                        <a:pt x="0" y="151"/>
                      </a:moveTo>
                      <a:lnTo>
                        <a:pt x="53" y="168"/>
                      </a:lnTo>
                      <a:lnTo>
                        <a:pt x="77" y="207"/>
                      </a:lnTo>
                      <a:lnTo>
                        <a:pt x="143" y="175"/>
                      </a:lnTo>
                      <a:lnTo>
                        <a:pt x="219" y="213"/>
                      </a:lnTo>
                      <a:lnTo>
                        <a:pt x="255" y="211"/>
                      </a:lnTo>
                      <a:lnTo>
                        <a:pt x="257" y="187"/>
                      </a:lnTo>
                      <a:lnTo>
                        <a:pt x="330" y="162"/>
                      </a:lnTo>
                      <a:lnTo>
                        <a:pt x="391" y="177"/>
                      </a:lnTo>
                      <a:lnTo>
                        <a:pt x="381" y="149"/>
                      </a:lnTo>
                      <a:lnTo>
                        <a:pt x="360" y="139"/>
                      </a:lnTo>
                      <a:lnTo>
                        <a:pt x="355" y="30"/>
                      </a:lnTo>
                      <a:lnTo>
                        <a:pt x="351" y="28"/>
                      </a:lnTo>
                      <a:lnTo>
                        <a:pt x="336" y="20"/>
                      </a:lnTo>
                      <a:lnTo>
                        <a:pt x="308" y="0"/>
                      </a:lnTo>
                      <a:lnTo>
                        <a:pt x="272" y="32"/>
                      </a:lnTo>
                      <a:lnTo>
                        <a:pt x="175" y="26"/>
                      </a:lnTo>
                      <a:lnTo>
                        <a:pt x="164" y="30"/>
                      </a:lnTo>
                      <a:lnTo>
                        <a:pt x="172" y="66"/>
                      </a:lnTo>
                      <a:lnTo>
                        <a:pt x="119" y="92"/>
                      </a:lnTo>
                      <a:lnTo>
                        <a:pt x="75" y="92"/>
                      </a:lnTo>
                      <a:lnTo>
                        <a:pt x="15" y="124"/>
                      </a:lnTo>
                      <a:lnTo>
                        <a:pt x="0" y="151"/>
                      </a:lnTo>
                    </a:path>
                  </a:pathLst>
                </a:custGeom>
                <a:solidFill>
                  <a:schemeClr val="bg2">
                    <a:lumMod val="75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grpSp>
        </p:grpSp>
        <p:grpSp>
          <p:nvGrpSpPr>
            <p:cNvPr id="155" name="Midi Pyrénées Languedoc Roussillon (N° Départements)">
              <a:extLst>
                <a:ext uri="{FF2B5EF4-FFF2-40B4-BE49-F238E27FC236}">
                  <a16:creationId xmlns:a16="http://schemas.microsoft.com/office/drawing/2014/main" id="{D5EB46F2-4BA3-4B9A-B11F-38C5001363D5}"/>
                </a:ext>
              </a:extLst>
            </p:cNvPr>
            <p:cNvGrpSpPr/>
            <p:nvPr/>
          </p:nvGrpSpPr>
          <p:grpSpPr>
            <a:xfrm>
              <a:off x="6289768" y="4655460"/>
              <a:ext cx="1758179" cy="1191173"/>
              <a:chOff x="5536312" y="4824845"/>
              <a:chExt cx="1758179" cy="1191173"/>
            </a:xfrm>
          </p:grpSpPr>
          <p:grpSp>
            <p:nvGrpSpPr>
              <p:cNvPr id="310" name="Midi Pyrénées (N° Départements)">
                <a:extLst>
                  <a:ext uri="{FF2B5EF4-FFF2-40B4-BE49-F238E27FC236}">
                    <a16:creationId xmlns:a16="http://schemas.microsoft.com/office/drawing/2014/main" id="{1849AE38-FB8E-4B4E-944E-0DD1F0F8CDAE}"/>
                  </a:ext>
                </a:extLst>
              </p:cNvPr>
              <p:cNvGrpSpPr/>
              <p:nvPr/>
            </p:nvGrpSpPr>
            <p:grpSpPr>
              <a:xfrm>
                <a:off x="5536312" y="4824845"/>
                <a:ext cx="1178691" cy="1021414"/>
                <a:chOff x="5536312" y="4824845"/>
                <a:chExt cx="1178691" cy="1021414"/>
              </a:xfrm>
            </p:grpSpPr>
            <p:sp>
              <p:nvSpPr>
                <p:cNvPr id="317" name="31">
                  <a:extLst>
                    <a:ext uri="{FF2B5EF4-FFF2-40B4-BE49-F238E27FC236}">
                      <a16:creationId xmlns:a16="http://schemas.microsoft.com/office/drawing/2014/main" id="{46113267-7A11-4704-AF63-97766A9F4980}"/>
                    </a:ext>
                  </a:extLst>
                </p:cNvPr>
                <p:cNvSpPr txBox="1"/>
                <p:nvPr/>
              </p:nvSpPr>
              <p:spPr>
                <a:xfrm>
                  <a:off x="6022788" y="5369203"/>
                  <a:ext cx="184830" cy="166169"/>
                </a:xfrm>
                <a:prstGeom prst="rect">
                  <a:avLst/>
                </a:prstGeom>
                <a:noFill/>
              </p:spPr>
              <p:txBody>
                <a:bodyPr wrap="none" lIns="0" tIns="0" rIns="0" bIns="0" rtlCol="0">
                  <a:noAutofit/>
                </a:bodyPr>
                <a:lstStyle/>
                <a:p>
                  <a:r>
                    <a:rPr lang="fr-FR" sz="800">
                      <a:solidFill>
                        <a:srgbClr val="503078"/>
                      </a:solidFill>
                      <a:latin typeface="Tahoma"/>
                    </a:rPr>
                    <a:t>31</a:t>
                  </a:r>
                </a:p>
              </p:txBody>
            </p:sp>
            <p:sp>
              <p:nvSpPr>
                <p:cNvPr id="318" name="09">
                  <a:extLst>
                    <a:ext uri="{FF2B5EF4-FFF2-40B4-BE49-F238E27FC236}">
                      <a16:creationId xmlns:a16="http://schemas.microsoft.com/office/drawing/2014/main" id="{CC83EE42-4C78-4020-A513-12649C721424}"/>
                    </a:ext>
                  </a:extLst>
                </p:cNvPr>
                <p:cNvSpPr txBox="1"/>
                <p:nvPr/>
              </p:nvSpPr>
              <p:spPr>
                <a:xfrm>
                  <a:off x="6060264" y="5680090"/>
                  <a:ext cx="184830" cy="166169"/>
                </a:xfrm>
                <a:prstGeom prst="rect">
                  <a:avLst/>
                </a:prstGeom>
                <a:noFill/>
              </p:spPr>
              <p:txBody>
                <a:bodyPr wrap="none" lIns="0" tIns="0" rIns="0" bIns="0" rtlCol="0">
                  <a:noAutofit/>
                </a:bodyPr>
                <a:lstStyle/>
                <a:p>
                  <a:r>
                    <a:rPr lang="fr-FR" sz="800">
                      <a:solidFill>
                        <a:srgbClr val="FFFFFF"/>
                      </a:solidFill>
                      <a:latin typeface="Tahoma"/>
                    </a:rPr>
                    <a:t>09</a:t>
                  </a:r>
                </a:p>
              </p:txBody>
            </p:sp>
            <p:sp>
              <p:nvSpPr>
                <p:cNvPr id="319" name="12">
                  <a:extLst>
                    <a:ext uri="{FF2B5EF4-FFF2-40B4-BE49-F238E27FC236}">
                      <a16:creationId xmlns:a16="http://schemas.microsoft.com/office/drawing/2014/main" id="{37305A5C-6B13-4592-AC2F-18AE5E799A14}"/>
                    </a:ext>
                  </a:extLst>
                </p:cNvPr>
                <p:cNvSpPr txBox="1"/>
                <p:nvPr/>
              </p:nvSpPr>
              <p:spPr>
                <a:xfrm>
                  <a:off x="6530173" y="4955211"/>
                  <a:ext cx="184830" cy="166169"/>
                </a:xfrm>
                <a:prstGeom prst="rect">
                  <a:avLst/>
                </a:prstGeom>
                <a:noFill/>
              </p:spPr>
              <p:txBody>
                <a:bodyPr wrap="none" lIns="0" tIns="0" rIns="0" bIns="0" rtlCol="0">
                  <a:noAutofit/>
                </a:bodyPr>
                <a:lstStyle/>
                <a:p>
                  <a:r>
                    <a:rPr lang="fr-FR" sz="800">
                      <a:solidFill>
                        <a:srgbClr val="FFFFFF"/>
                      </a:solidFill>
                      <a:latin typeface="Tahoma"/>
                    </a:rPr>
                    <a:t>12</a:t>
                  </a:r>
                </a:p>
              </p:txBody>
            </p:sp>
            <p:sp>
              <p:nvSpPr>
                <p:cNvPr id="320" name="46">
                  <a:extLst>
                    <a:ext uri="{FF2B5EF4-FFF2-40B4-BE49-F238E27FC236}">
                      <a16:creationId xmlns:a16="http://schemas.microsoft.com/office/drawing/2014/main" id="{24F6715F-4575-446B-A8A6-BA92383930E8}"/>
                    </a:ext>
                  </a:extLst>
                </p:cNvPr>
                <p:cNvSpPr txBox="1"/>
                <p:nvPr/>
              </p:nvSpPr>
              <p:spPr>
                <a:xfrm>
                  <a:off x="6108313" y="4824845"/>
                  <a:ext cx="184830" cy="166169"/>
                </a:xfrm>
                <a:prstGeom prst="rect">
                  <a:avLst/>
                </a:prstGeom>
                <a:noFill/>
              </p:spPr>
              <p:txBody>
                <a:bodyPr wrap="none" lIns="0" tIns="0" rIns="0" bIns="0" rtlCol="0">
                  <a:noAutofit/>
                </a:bodyPr>
                <a:lstStyle/>
                <a:p>
                  <a:r>
                    <a:rPr lang="fr-FR" sz="800">
                      <a:solidFill>
                        <a:srgbClr val="FFFFFF"/>
                      </a:solidFill>
                      <a:latin typeface="Tahoma"/>
                    </a:rPr>
                    <a:t>46</a:t>
                  </a:r>
                </a:p>
              </p:txBody>
            </p:sp>
            <p:sp>
              <p:nvSpPr>
                <p:cNvPr id="321" name="81">
                  <a:extLst>
                    <a:ext uri="{FF2B5EF4-FFF2-40B4-BE49-F238E27FC236}">
                      <a16:creationId xmlns:a16="http://schemas.microsoft.com/office/drawing/2014/main" id="{E6E552B3-D34B-429C-861E-987C347850D7}"/>
                    </a:ext>
                  </a:extLst>
                </p:cNvPr>
                <p:cNvSpPr txBox="1"/>
                <p:nvPr/>
              </p:nvSpPr>
              <p:spPr>
                <a:xfrm>
                  <a:off x="6318154" y="5215941"/>
                  <a:ext cx="184830" cy="166169"/>
                </a:xfrm>
                <a:prstGeom prst="rect">
                  <a:avLst/>
                </a:prstGeom>
                <a:noFill/>
              </p:spPr>
              <p:txBody>
                <a:bodyPr wrap="none" lIns="0" tIns="0" rIns="0" bIns="0" rtlCol="0">
                  <a:noAutofit/>
                </a:bodyPr>
                <a:lstStyle/>
                <a:p>
                  <a:r>
                    <a:rPr lang="fr-FR" sz="800">
                      <a:solidFill>
                        <a:srgbClr val="FFFFFF"/>
                      </a:solidFill>
                      <a:latin typeface="Tahoma"/>
                    </a:rPr>
                    <a:t>81</a:t>
                  </a:r>
                </a:p>
              </p:txBody>
            </p:sp>
            <p:sp>
              <p:nvSpPr>
                <p:cNvPr id="322" name="65">
                  <a:extLst>
                    <a:ext uri="{FF2B5EF4-FFF2-40B4-BE49-F238E27FC236}">
                      <a16:creationId xmlns:a16="http://schemas.microsoft.com/office/drawing/2014/main" id="{1C58FB82-896E-440E-ADBC-3C9FF282EC1C}"/>
                    </a:ext>
                  </a:extLst>
                </p:cNvPr>
                <p:cNvSpPr txBox="1"/>
                <p:nvPr/>
              </p:nvSpPr>
              <p:spPr>
                <a:xfrm>
                  <a:off x="5536312" y="5608948"/>
                  <a:ext cx="184830" cy="166169"/>
                </a:xfrm>
                <a:prstGeom prst="rect">
                  <a:avLst/>
                </a:prstGeom>
                <a:noFill/>
              </p:spPr>
              <p:txBody>
                <a:bodyPr wrap="none" lIns="0" tIns="0" rIns="0" bIns="0" rtlCol="0">
                  <a:noAutofit/>
                </a:bodyPr>
                <a:lstStyle/>
                <a:p>
                  <a:r>
                    <a:rPr lang="fr-FR" sz="800">
                      <a:solidFill>
                        <a:srgbClr val="FFFFFF"/>
                      </a:solidFill>
                      <a:latin typeface="Tahoma"/>
                    </a:rPr>
                    <a:t>65</a:t>
                  </a:r>
                </a:p>
              </p:txBody>
            </p:sp>
            <p:sp>
              <p:nvSpPr>
                <p:cNvPr id="323" name="32">
                  <a:extLst>
                    <a:ext uri="{FF2B5EF4-FFF2-40B4-BE49-F238E27FC236}">
                      <a16:creationId xmlns:a16="http://schemas.microsoft.com/office/drawing/2014/main" id="{330FED47-22AE-46E3-B7C8-276EEFE12105}"/>
                    </a:ext>
                  </a:extLst>
                </p:cNvPr>
                <p:cNvSpPr txBox="1"/>
                <p:nvPr/>
              </p:nvSpPr>
              <p:spPr>
                <a:xfrm>
                  <a:off x="5680677" y="5274679"/>
                  <a:ext cx="184830" cy="166169"/>
                </a:xfrm>
                <a:prstGeom prst="rect">
                  <a:avLst/>
                </a:prstGeom>
                <a:noFill/>
              </p:spPr>
              <p:txBody>
                <a:bodyPr wrap="none" lIns="0" tIns="0" rIns="0" bIns="0" rtlCol="0">
                  <a:noAutofit/>
                </a:bodyPr>
                <a:lstStyle/>
                <a:p>
                  <a:r>
                    <a:rPr lang="fr-FR" sz="800">
                      <a:solidFill>
                        <a:srgbClr val="FFFFFF"/>
                      </a:solidFill>
                      <a:latin typeface="Tahoma"/>
                    </a:rPr>
                    <a:t>32</a:t>
                  </a:r>
                </a:p>
              </p:txBody>
            </p:sp>
            <p:sp>
              <p:nvSpPr>
                <p:cNvPr id="324" name="82">
                  <a:extLst>
                    <a:ext uri="{FF2B5EF4-FFF2-40B4-BE49-F238E27FC236}">
                      <a16:creationId xmlns:a16="http://schemas.microsoft.com/office/drawing/2014/main" id="{C71177E3-96F2-4087-B5C1-6ECD47390B2C}"/>
                    </a:ext>
                  </a:extLst>
                </p:cNvPr>
                <p:cNvSpPr txBox="1"/>
                <p:nvPr/>
              </p:nvSpPr>
              <p:spPr>
                <a:xfrm>
                  <a:off x="5985798" y="5082709"/>
                  <a:ext cx="184830" cy="166169"/>
                </a:xfrm>
                <a:prstGeom prst="rect">
                  <a:avLst/>
                </a:prstGeom>
                <a:noFill/>
              </p:spPr>
              <p:txBody>
                <a:bodyPr wrap="none" lIns="0" tIns="0" rIns="0" bIns="0" rtlCol="0">
                  <a:noAutofit/>
                </a:bodyPr>
                <a:lstStyle/>
                <a:p>
                  <a:r>
                    <a:rPr lang="fr-FR" sz="800">
                      <a:solidFill>
                        <a:srgbClr val="FFFFFF"/>
                      </a:solidFill>
                      <a:latin typeface="Tahoma"/>
                    </a:rPr>
                    <a:t>82</a:t>
                  </a:r>
                </a:p>
              </p:txBody>
            </p:sp>
          </p:grpSp>
          <p:grpSp>
            <p:nvGrpSpPr>
              <p:cNvPr id="311" name="Languedoc Roussillon (N° Départements)">
                <a:extLst>
                  <a:ext uri="{FF2B5EF4-FFF2-40B4-BE49-F238E27FC236}">
                    <a16:creationId xmlns:a16="http://schemas.microsoft.com/office/drawing/2014/main" id="{81BE417A-1C22-4CE8-8456-D1F0A6F44B47}"/>
                  </a:ext>
                </a:extLst>
              </p:cNvPr>
              <p:cNvGrpSpPr/>
              <p:nvPr/>
            </p:nvGrpSpPr>
            <p:grpSpPr>
              <a:xfrm>
                <a:off x="6423462" y="4881850"/>
                <a:ext cx="871029" cy="1134168"/>
                <a:chOff x="6423462" y="4881850"/>
                <a:chExt cx="871029" cy="1134168"/>
              </a:xfrm>
            </p:grpSpPr>
            <p:sp>
              <p:nvSpPr>
                <p:cNvPr id="312" name="48">
                  <a:extLst>
                    <a:ext uri="{FF2B5EF4-FFF2-40B4-BE49-F238E27FC236}">
                      <a16:creationId xmlns:a16="http://schemas.microsoft.com/office/drawing/2014/main" id="{4B5025B8-F35F-4006-9BB6-ED18E032B3D0}"/>
                    </a:ext>
                  </a:extLst>
                </p:cNvPr>
                <p:cNvSpPr txBox="1"/>
                <p:nvPr/>
              </p:nvSpPr>
              <p:spPr>
                <a:xfrm>
                  <a:off x="6833175" y="4881850"/>
                  <a:ext cx="184830" cy="166169"/>
                </a:xfrm>
                <a:prstGeom prst="rect">
                  <a:avLst/>
                </a:prstGeom>
                <a:noFill/>
              </p:spPr>
              <p:txBody>
                <a:bodyPr wrap="none" lIns="0" tIns="0" rIns="0" bIns="0" rtlCol="0">
                  <a:noAutofit/>
                </a:bodyPr>
                <a:lstStyle/>
                <a:p>
                  <a:r>
                    <a:rPr lang="fr-FR" sz="800">
                      <a:solidFill>
                        <a:srgbClr val="FFFFFF"/>
                      </a:solidFill>
                      <a:latin typeface="Tahoma"/>
                    </a:rPr>
                    <a:t>48</a:t>
                  </a:r>
                </a:p>
              </p:txBody>
            </p:sp>
            <p:sp>
              <p:nvSpPr>
                <p:cNvPr id="313" name="34">
                  <a:extLst>
                    <a:ext uri="{FF2B5EF4-FFF2-40B4-BE49-F238E27FC236}">
                      <a16:creationId xmlns:a16="http://schemas.microsoft.com/office/drawing/2014/main" id="{5B4212C8-9CB7-4019-8565-F46977DADBD3}"/>
                    </a:ext>
                  </a:extLst>
                </p:cNvPr>
                <p:cNvSpPr txBox="1"/>
                <p:nvPr/>
              </p:nvSpPr>
              <p:spPr>
                <a:xfrm>
                  <a:off x="6765846" y="5367520"/>
                  <a:ext cx="184830" cy="166169"/>
                </a:xfrm>
                <a:prstGeom prst="rect">
                  <a:avLst/>
                </a:prstGeom>
                <a:noFill/>
              </p:spPr>
              <p:txBody>
                <a:bodyPr wrap="none" lIns="0" tIns="0" rIns="0" bIns="0" rtlCol="0">
                  <a:noAutofit/>
                </a:bodyPr>
                <a:lstStyle/>
                <a:p>
                  <a:r>
                    <a:rPr lang="fr-FR" sz="800">
                      <a:solidFill>
                        <a:srgbClr val="FFFFFF"/>
                      </a:solidFill>
                      <a:latin typeface="Tahoma"/>
                    </a:rPr>
                    <a:t>34</a:t>
                  </a:r>
                </a:p>
              </p:txBody>
            </p:sp>
            <p:sp>
              <p:nvSpPr>
                <p:cNvPr id="314" name="30">
                  <a:extLst>
                    <a:ext uri="{FF2B5EF4-FFF2-40B4-BE49-F238E27FC236}">
                      <a16:creationId xmlns:a16="http://schemas.microsoft.com/office/drawing/2014/main" id="{156A9F0F-1EBE-4612-9469-DFD5EBC7BBC3}"/>
                    </a:ext>
                  </a:extLst>
                </p:cNvPr>
                <p:cNvSpPr txBox="1"/>
                <p:nvPr/>
              </p:nvSpPr>
              <p:spPr>
                <a:xfrm>
                  <a:off x="7109661" y="5108730"/>
                  <a:ext cx="184830" cy="166169"/>
                </a:xfrm>
                <a:prstGeom prst="rect">
                  <a:avLst/>
                </a:prstGeom>
                <a:noFill/>
              </p:spPr>
              <p:txBody>
                <a:bodyPr wrap="none" lIns="0" tIns="0" rIns="0" bIns="0" rtlCol="0">
                  <a:noAutofit/>
                </a:bodyPr>
                <a:lstStyle/>
                <a:p>
                  <a:r>
                    <a:rPr lang="fr-FR" sz="800">
                      <a:solidFill>
                        <a:srgbClr val="FFFFFF"/>
                      </a:solidFill>
                      <a:latin typeface="Tahoma"/>
                    </a:rPr>
                    <a:t>30</a:t>
                  </a:r>
                </a:p>
              </p:txBody>
            </p:sp>
            <p:sp>
              <p:nvSpPr>
                <p:cNvPr id="315" name="11">
                  <a:extLst>
                    <a:ext uri="{FF2B5EF4-FFF2-40B4-BE49-F238E27FC236}">
                      <a16:creationId xmlns:a16="http://schemas.microsoft.com/office/drawing/2014/main" id="{126653B0-CA35-418D-A8A0-14F4AD8AA6F8}"/>
                    </a:ext>
                  </a:extLst>
                </p:cNvPr>
                <p:cNvSpPr txBox="1"/>
                <p:nvPr/>
              </p:nvSpPr>
              <p:spPr>
                <a:xfrm>
                  <a:off x="6423462" y="5614197"/>
                  <a:ext cx="184830" cy="166169"/>
                </a:xfrm>
                <a:prstGeom prst="rect">
                  <a:avLst/>
                </a:prstGeom>
                <a:noFill/>
              </p:spPr>
              <p:txBody>
                <a:bodyPr wrap="none" lIns="0" tIns="0" rIns="0" bIns="0" rtlCol="0">
                  <a:noAutofit/>
                </a:bodyPr>
                <a:lstStyle/>
                <a:p>
                  <a:r>
                    <a:rPr lang="fr-FR" sz="800">
                      <a:solidFill>
                        <a:srgbClr val="FFFFFF"/>
                      </a:solidFill>
                      <a:latin typeface="Tahoma"/>
                    </a:rPr>
                    <a:t>11</a:t>
                  </a:r>
                </a:p>
              </p:txBody>
            </p:sp>
            <p:sp>
              <p:nvSpPr>
                <p:cNvPr id="316" name="66">
                  <a:extLst>
                    <a:ext uri="{FF2B5EF4-FFF2-40B4-BE49-F238E27FC236}">
                      <a16:creationId xmlns:a16="http://schemas.microsoft.com/office/drawing/2014/main" id="{5613210A-4C68-49F0-9D24-51F12FD84F1F}"/>
                    </a:ext>
                  </a:extLst>
                </p:cNvPr>
                <p:cNvSpPr txBox="1"/>
                <p:nvPr/>
              </p:nvSpPr>
              <p:spPr>
                <a:xfrm>
                  <a:off x="6481284" y="5849849"/>
                  <a:ext cx="184830" cy="166169"/>
                </a:xfrm>
                <a:prstGeom prst="rect">
                  <a:avLst/>
                </a:prstGeom>
                <a:noFill/>
              </p:spPr>
              <p:txBody>
                <a:bodyPr wrap="none" lIns="0" tIns="0" rIns="0" bIns="0" rtlCol="0">
                  <a:noAutofit/>
                </a:bodyPr>
                <a:lstStyle/>
                <a:p>
                  <a:r>
                    <a:rPr lang="fr-FR" sz="800">
                      <a:solidFill>
                        <a:srgbClr val="FFFFFF"/>
                      </a:solidFill>
                      <a:latin typeface="Tahoma"/>
                    </a:rPr>
                    <a:t>66</a:t>
                  </a:r>
                </a:p>
              </p:txBody>
            </p:sp>
          </p:grpSp>
        </p:grpSp>
        <p:grpSp>
          <p:nvGrpSpPr>
            <p:cNvPr id="156" name="Ile de France (Formes)">
              <a:extLst>
                <a:ext uri="{FF2B5EF4-FFF2-40B4-BE49-F238E27FC236}">
                  <a16:creationId xmlns:a16="http://schemas.microsoft.com/office/drawing/2014/main" id="{5A22F3D0-41E6-4074-81A5-D122E51E28FF}"/>
                </a:ext>
              </a:extLst>
            </p:cNvPr>
            <p:cNvGrpSpPr/>
            <p:nvPr/>
          </p:nvGrpSpPr>
          <p:grpSpPr>
            <a:xfrm>
              <a:off x="6954168" y="2293876"/>
              <a:ext cx="724878" cy="585204"/>
              <a:chOff x="6200712" y="2463261"/>
              <a:chExt cx="724878" cy="585204"/>
            </a:xfrm>
            <a:solidFill>
              <a:schemeClr val="tx2">
                <a:lumMod val="60000"/>
                <a:lumOff val="40000"/>
              </a:schemeClr>
            </a:solidFill>
          </p:grpSpPr>
          <p:sp>
            <p:nvSpPr>
              <p:cNvPr id="302" name="93">
                <a:extLst>
                  <a:ext uri="{FF2B5EF4-FFF2-40B4-BE49-F238E27FC236}">
                    <a16:creationId xmlns:a16="http://schemas.microsoft.com/office/drawing/2014/main" id="{E838C189-92FF-4799-A374-D4A47128A558}"/>
                  </a:ext>
                </a:extLst>
              </p:cNvPr>
              <p:cNvSpPr>
                <a:spLocks/>
              </p:cNvSpPr>
              <p:nvPr/>
            </p:nvSpPr>
            <p:spPr bwMode="gray">
              <a:xfrm>
                <a:off x="6441383" y="2615829"/>
                <a:ext cx="61600" cy="107443"/>
              </a:xfrm>
              <a:custGeom>
                <a:avLst/>
                <a:gdLst>
                  <a:gd name="T0" fmla="*/ 0 w 43"/>
                  <a:gd name="T1" fmla="*/ 43 h 75"/>
                  <a:gd name="T2" fmla="*/ 17 w 43"/>
                  <a:gd name="T3" fmla="*/ 64 h 75"/>
                  <a:gd name="T4" fmla="*/ 40 w 43"/>
                  <a:gd name="T5" fmla="*/ 75 h 75"/>
                  <a:gd name="T6" fmla="*/ 38 w 43"/>
                  <a:gd name="T7" fmla="*/ 73 h 75"/>
                  <a:gd name="T8" fmla="*/ 40 w 43"/>
                  <a:gd name="T9" fmla="*/ 69 h 75"/>
                  <a:gd name="T10" fmla="*/ 43 w 43"/>
                  <a:gd name="T11" fmla="*/ 49 h 75"/>
                  <a:gd name="T12" fmla="*/ 19 w 43"/>
                  <a:gd name="T13" fmla="*/ 37 h 75"/>
                  <a:gd name="T14" fmla="*/ 17 w 43"/>
                  <a:gd name="T15" fmla="*/ 34 h 75"/>
                  <a:gd name="T16" fmla="*/ 40 w 43"/>
                  <a:gd name="T17" fmla="*/ 20 h 75"/>
                  <a:gd name="T18" fmla="*/ 34 w 43"/>
                  <a:gd name="T19" fmla="*/ 0 h 75"/>
                  <a:gd name="T20" fmla="*/ 13 w 43"/>
                  <a:gd name="T21" fmla="*/ 15 h 75"/>
                  <a:gd name="T22" fmla="*/ 0 w 43"/>
                  <a:gd name="T23" fmla="*/ 41 h 75"/>
                  <a:gd name="T24" fmla="*/ 0 w 43"/>
                  <a:gd name="T25" fmla="*/ 4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5">
                    <a:moveTo>
                      <a:pt x="0" y="43"/>
                    </a:moveTo>
                    <a:lnTo>
                      <a:pt x="17" y="64"/>
                    </a:lnTo>
                    <a:lnTo>
                      <a:pt x="40" y="75"/>
                    </a:lnTo>
                    <a:lnTo>
                      <a:pt x="38" y="73"/>
                    </a:lnTo>
                    <a:lnTo>
                      <a:pt x="40" y="69"/>
                    </a:lnTo>
                    <a:lnTo>
                      <a:pt x="43" y="49"/>
                    </a:lnTo>
                    <a:lnTo>
                      <a:pt x="19" y="37"/>
                    </a:lnTo>
                    <a:lnTo>
                      <a:pt x="17" y="34"/>
                    </a:lnTo>
                    <a:lnTo>
                      <a:pt x="40" y="20"/>
                    </a:lnTo>
                    <a:lnTo>
                      <a:pt x="34" y="0"/>
                    </a:lnTo>
                    <a:lnTo>
                      <a:pt x="13" y="15"/>
                    </a:lnTo>
                    <a:lnTo>
                      <a:pt x="0" y="41"/>
                    </a:lnTo>
                    <a:lnTo>
                      <a:pt x="0" y="43"/>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03" name="78">
                <a:extLst>
                  <a:ext uri="{FF2B5EF4-FFF2-40B4-BE49-F238E27FC236}">
                    <a16:creationId xmlns:a16="http://schemas.microsoft.com/office/drawing/2014/main" id="{65154DBC-94CD-4D73-9824-33A6021A8A8A}"/>
                  </a:ext>
                </a:extLst>
              </p:cNvPr>
              <p:cNvSpPr>
                <a:spLocks/>
              </p:cNvSpPr>
              <p:nvPr/>
            </p:nvSpPr>
            <p:spPr bwMode="gray">
              <a:xfrm>
                <a:off x="6200712" y="2542769"/>
                <a:ext cx="265025" cy="329490"/>
              </a:xfrm>
              <a:custGeom>
                <a:avLst/>
                <a:gdLst>
                  <a:gd name="T0" fmla="*/ 0 w 185"/>
                  <a:gd name="T1" fmla="*/ 9 h 230"/>
                  <a:gd name="T2" fmla="*/ 41 w 185"/>
                  <a:gd name="T3" fmla="*/ 0 h 230"/>
                  <a:gd name="T4" fmla="*/ 41 w 185"/>
                  <a:gd name="T5" fmla="*/ 5 h 230"/>
                  <a:gd name="T6" fmla="*/ 75 w 185"/>
                  <a:gd name="T7" fmla="*/ 9 h 230"/>
                  <a:gd name="T8" fmla="*/ 77 w 185"/>
                  <a:gd name="T9" fmla="*/ 9 h 230"/>
                  <a:gd name="T10" fmla="*/ 81 w 185"/>
                  <a:gd name="T11" fmla="*/ 11 h 230"/>
                  <a:gd name="T12" fmla="*/ 83 w 185"/>
                  <a:gd name="T13" fmla="*/ 11 h 230"/>
                  <a:gd name="T14" fmla="*/ 140 w 185"/>
                  <a:gd name="T15" fmla="*/ 34 h 230"/>
                  <a:gd name="T16" fmla="*/ 162 w 185"/>
                  <a:gd name="T17" fmla="*/ 28 h 230"/>
                  <a:gd name="T18" fmla="*/ 181 w 185"/>
                  <a:gd name="T19" fmla="*/ 66 h 230"/>
                  <a:gd name="T20" fmla="*/ 168 w 185"/>
                  <a:gd name="T21" fmla="*/ 92 h 230"/>
                  <a:gd name="T22" fmla="*/ 168 w 185"/>
                  <a:gd name="T23" fmla="*/ 94 h 230"/>
                  <a:gd name="T24" fmla="*/ 185 w 185"/>
                  <a:gd name="T25" fmla="*/ 115 h 230"/>
                  <a:gd name="T26" fmla="*/ 132 w 185"/>
                  <a:gd name="T27" fmla="*/ 158 h 230"/>
                  <a:gd name="T28" fmla="*/ 145 w 185"/>
                  <a:gd name="T29" fmla="*/ 173 h 230"/>
                  <a:gd name="T30" fmla="*/ 134 w 185"/>
                  <a:gd name="T31" fmla="*/ 194 h 230"/>
                  <a:gd name="T32" fmla="*/ 115 w 185"/>
                  <a:gd name="T33" fmla="*/ 192 h 230"/>
                  <a:gd name="T34" fmla="*/ 126 w 185"/>
                  <a:gd name="T35" fmla="*/ 202 h 230"/>
                  <a:gd name="T36" fmla="*/ 109 w 185"/>
                  <a:gd name="T37" fmla="*/ 226 h 230"/>
                  <a:gd name="T38" fmla="*/ 111 w 185"/>
                  <a:gd name="T39" fmla="*/ 230 h 230"/>
                  <a:gd name="T40" fmla="*/ 83 w 185"/>
                  <a:gd name="T41" fmla="*/ 226 h 230"/>
                  <a:gd name="T42" fmla="*/ 77 w 185"/>
                  <a:gd name="T43" fmla="*/ 194 h 230"/>
                  <a:gd name="T44" fmla="*/ 34 w 185"/>
                  <a:gd name="T45" fmla="*/ 154 h 230"/>
                  <a:gd name="T46" fmla="*/ 34 w 185"/>
                  <a:gd name="T47" fmla="*/ 90 h 230"/>
                  <a:gd name="T48" fmla="*/ 13 w 185"/>
                  <a:gd name="T49" fmla="*/ 51 h 230"/>
                  <a:gd name="T50" fmla="*/ 0 w 185"/>
                  <a:gd name="T51" fmla="*/ 11 h 230"/>
                  <a:gd name="T52" fmla="*/ 0 w 185"/>
                  <a:gd name="T53" fmla="*/ 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5" h="230">
                    <a:moveTo>
                      <a:pt x="0" y="9"/>
                    </a:moveTo>
                    <a:lnTo>
                      <a:pt x="41" y="0"/>
                    </a:lnTo>
                    <a:lnTo>
                      <a:pt x="41" y="5"/>
                    </a:lnTo>
                    <a:lnTo>
                      <a:pt x="75" y="9"/>
                    </a:lnTo>
                    <a:lnTo>
                      <a:pt x="77" y="9"/>
                    </a:lnTo>
                    <a:lnTo>
                      <a:pt x="81" y="11"/>
                    </a:lnTo>
                    <a:lnTo>
                      <a:pt x="83" y="11"/>
                    </a:lnTo>
                    <a:lnTo>
                      <a:pt x="140" y="34"/>
                    </a:lnTo>
                    <a:lnTo>
                      <a:pt x="162" y="28"/>
                    </a:lnTo>
                    <a:lnTo>
                      <a:pt x="181" y="66"/>
                    </a:lnTo>
                    <a:lnTo>
                      <a:pt x="168" y="92"/>
                    </a:lnTo>
                    <a:lnTo>
                      <a:pt x="168" y="94"/>
                    </a:lnTo>
                    <a:lnTo>
                      <a:pt x="185" y="115"/>
                    </a:lnTo>
                    <a:lnTo>
                      <a:pt x="132" y="158"/>
                    </a:lnTo>
                    <a:lnTo>
                      <a:pt x="145" y="173"/>
                    </a:lnTo>
                    <a:lnTo>
                      <a:pt x="134" y="194"/>
                    </a:lnTo>
                    <a:lnTo>
                      <a:pt x="115" y="192"/>
                    </a:lnTo>
                    <a:lnTo>
                      <a:pt x="126" y="202"/>
                    </a:lnTo>
                    <a:lnTo>
                      <a:pt x="109" y="226"/>
                    </a:lnTo>
                    <a:lnTo>
                      <a:pt x="111" y="230"/>
                    </a:lnTo>
                    <a:lnTo>
                      <a:pt x="83" y="226"/>
                    </a:lnTo>
                    <a:lnTo>
                      <a:pt x="77" y="194"/>
                    </a:lnTo>
                    <a:lnTo>
                      <a:pt x="34" y="154"/>
                    </a:lnTo>
                    <a:lnTo>
                      <a:pt x="34" y="90"/>
                    </a:lnTo>
                    <a:lnTo>
                      <a:pt x="13" y="51"/>
                    </a:lnTo>
                    <a:lnTo>
                      <a:pt x="0" y="11"/>
                    </a:lnTo>
                    <a:lnTo>
                      <a:pt x="0" y="9"/>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04" name="91">
                <a:extLst>
                  <a:ext uri="{FF2B5EF4-FFF2-40B4-BE49-F238E27FC236}">
                    <a16:creationId xmlns:a16="http://schemas.microsoft.com/office/drawing/2014/main" id="{958DEB40-EF6A-4A40-A691-DACD53390371}"/>
                  </a:ext>
                </a:extLst>
              </p:cNvPr>
              <p:cNvSpPr>
                <a:spLocks/>
              </p:cNvSpPr>
              <p:nvPr/>
            </p:nvSpPr>
            <p:spPr bwMode="gray">
              <a:xfrm>
                <a:off x="6356862" y="2707513"/>
                <a:ext cx="230643" cy="256429"/>
              </a:xfrm>
              <a:custGeom>
                <a:avLst/>
                <a:gdLst>
                  <a:gd name="T0" fmla="*/ 2 w 161"/>
                  <a:gd name="T1" fmla="*/ 115 h 179"/>
                  <a:gd name="T2" fmla="*/ 17 w 161"/>
                  <a:gd name="T3" fmla="*/ 179 h 179"/>
                  <a:gd name="T4" fmla="*/ 70 w 161"/>
                  <a:gd name="T5" fmla="*/ 160 h 179"/>
                  <a:gd name="T6" fmla="*/ 78 w 161"/>
                  <a:gd name="T7" fmla="*/ 175 h 179"/>
                  <a:gd name="T8" fmla="*/ 116 w 161"/>
                  <a:gd name="T9" fmla="*/ 168 h 179"/>
                  <a:gd name="T10" fmla="*/ 116 w 161"/>
                  <a:gd name="T11" fmla="*/ 162 h 179"/>
                  <a:gd name="T12" fmla="*/ 150 w 161"/>
                  <a:gd name="T13" fmla="*/ 136 h 179"/>
                  <a:gd name="T14" fmla="*/ 142 w 161"/>
                  <a:gd name="T15" fmla="*/ 96 h 179"/>
                  <a:gd name="T16" fmla="*/ 161 w 161"/>
                  <a:gd name="T17" fmla="*/ 32 h 179"/>
                  <a:gd name="T18" fmla="*/ 99 w 161"/>
                  <a:gd name="T19" fmla="*/ 11 h 179"/>
                  <a:gd name="T20" fmla="*/ 76 w 161"/>
                  <a:gd name="T21" fmla="*/ 0 h 179"/>
                  <a:gd name="T22" fmla="*/ 23 w 161"/>
                  <a:gd name="T23" fmla="*/ 43 h 179"/>
                  <a:gd name="T24" fmla="*/ 36 w 161"/>
                  <a:gd name="T25" fmla="*/ 58 h 179"/>
                  <a:gd name="T26" fmla="*/ 25 w 161"/>
                  <a:gd name="T27" fmla="*/ 79 h 179"/>
                  <a:gd name="T28" fmla="*/ 6 w 161"/>
                  <a:gd name="T29" fmla="*/ 77 h 179"/>
                  <a:gd name="T30" fmla="*/ 17 w 161"/>
                  <a:gd name="T31" fmla="*/ 87 h 179"/>
                  <a:gd name="T32" fmla="*/ 0 w 161"/>
                  <a:gd name="T33" fmla="*/ 111 h 179"/>
                  <a:gd name="T34" fmla="*/ 2 w 161"/>
                  <a:gd name="T35" fmla="*/ 11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1" h="179">
                    <a:moveTo>
                      <a:pt x="2" y="115"/>
                    </a:moveTo>
                    <a:lnTo>
                      <a:pt x="17" y="179"/>
                    </a:lnTo>
                    <a:lnTo>
                      <a:pt x="70" y="160"/>
                    </a:lnTo>
                    <a:lnTo>
                      <a:pt x="78" y="175"/>
                    </a:lnTo>
                    <a:lnTo>
                      <a:pt x="116" y="168"/>
                    </a:lnTo>
                    <a:lnTo>
                      <a:pt x="116" y="162"/>
                    </a:lnTo>
                    <a:lnTo>
                      <a:pt x="150" y="136"/>
                    </a:lnTo>
                    <a:lnTo>
                      <a:pt x="142" y="96"/>
                    </a:lnTo>
                    <a:lnTo>
                      <a:pt x="161" y="32"/>
                    </a:lnTo>
                    <a:lnTo>
                      <a:pt x="99" y="11"/>
                    </a:lnTo>
                    <a:lnTo>
                      <a:pt x="76" y="0"/>
                    </a:lnTo>
                    <a:lnTo>
                      <a:pt x="23" y="43"/>
                    </a:lnTo>
                    <a:lnTo>
                      <a:pt x="36" y="58"/>
                    </a:lnTo>
                    <a:lnTo>
                      <a:pt x="25" y="79"/>
                    </a:lnTo>
                    <a:lnTo>
                      <a:pt x="6" y="77"/>
                    </a:lnTo>
                    <a:lnTo>
                      <a:pt x="17" y="87"/>
                    </a:lnTo>
                    <a:lnTo>
                      <a:pt x="0" y="111"/>
                    </a:lnTo>
                    <a:lnTo>
                      <a:pt x="2" y="115"/>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05" name="92">
                <a:extLst>
                  <a:ext uri="{FF2B5EF4-FFF2-40B4-BE49-F238E27FC236}">
                    <a16:creationId xmlns:a16="http://schemas.microsoft.com/office/drawing/2014/main" id="{4A643BAD-D8F5-4F57-B2C3-65C4A24C7159}"/>
                  </a:ext>
                </a:extLst>
              </p:cNvPr>
              <p:cNvSpPr>
                <a:spLocks/>
              </p:cNvSpPr>
              <p:nvPr/>
            </p:nvSpPr>
            <p:spPr bwMode="gray">
              <a:xfrm>
                <a:off x="6492224" y="2585031"/>
                <a:ext cx="103145" cy="107443"/>
              </a:xfrm>
              <a:custGeom>
                <a:avLst/>
                <a:gdLst>
                  <a:gd name="T0" fmla="*/ 0 w 72"/>
                  <a:gd name="T1" fmla="*/ 21 h 75"/>
                  <a:gd name="T2" fmla="*/ 0 w 72"/>
                  <a:gd name="T3" fmla="*/ 21 h 75"/>
                  <a:gd name="T4" fmla="*/ 6 w 72"/>
                  <a:gd name="T5" fmla="*/ 41 h 75"/>
                  <a:gd name="T6" fmla="*/ 30 w 72"/>
                  <a:gd name="T7" fmla="*/ 60 h 75"/>
                  <a:gd name="T8" fmla="*/ 72 w 72"/>
                  <a:gd name="T9" fmla="*/ 75 h 75"/>
                  <a:gd name="T10" fmla="*/ 64 w 72"/>
                  <a:gd name="T11" fmla="*/ 0 h 75"/>
                  <a:gd name="T12" fmla="*/ 40 w 72"/>
                  <a:gd name="T13" fmla="*/ 19 h 75"/>
                  <a:gd name="T14" fmla="*/ 0 w 72"/>
                  <a:gd name="T15" fmla="*/ 19 h 75"/>
                  <a:gd name="T16" fmla="*/ 0 w 72"/>
                  <a:gd name="T17" fmla="*/ 2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5">
                    <a:moveTo>
                      <a:pt x="0" y="21"/>
                    </a:moveTo>
                    <a:lnTo>
                      <a:pt x="0" y="21"/>
                    </a:lnTo>
                    <a:lnTo>
                      <a:pt x="6" y="41"/>
                    </a:lnTo>
                    <a:lnTo>
                      <a:pt x="30" y="60"/>
                    </a:lnTo>
                    <a:lnTo>
                      <a:pt x="72" y="75"/>
                    </a:lnTo>
                    <a:lnTo>
                      <a:pt x="64" y="0"/>
                    </a:lnTo>
                    <a:lnTo>
                      <a:pt x="40" y="19"/>
                    </a:lnTo>
                    <a:lnTo>
                      <a:pt x="0" y="19"/>
                    </a:lnTo>
                    <a:lnTo>
                      <a:pt x="0" y="21"/>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06" name="94">
                <a:extLst>
                  <a:ext uri="{FF2B5EF4-FFF2-40B4-BE49-F238E27FC236}">
                    <a16:creationId xmlns:a16="http://schemas.microsoft.com/office/drawing/2014/main" id="{3940C17B-92B7-4C63-9FC4-040711027F46}"/>
                  </a:ext>
                </a:extLst>
              </p:cNvPr>
              <p:cNvSpPr>
                <a:spLocks/>
              </p:cNvSpPr>
              <p:nvPr/>
            </p:nvSpPr>
            <p:spPr bwMode="gray">
              <a:xfrm>
                <a:off x="6495821" y="2671699"/>
                <a:ext cx="97414" cy="81657"/>
              </a:xfrm>
              <a:custGeom>
                <a:avLst/>
                <a:gdLst>
                  <a:gd name="T0" fmla="*/ 2 w 68"/>
                  <a:gd name="T1" fmla="*/ 30 h 57"/>
                  <a:gd name="T2" fmla="*/ 5 w 68"/>
                  <a:gd name="T3" fmla="*/ 10 h 57"/>
                  <a:gd name="T4" fmla="*/ 36 w 68"/>
                  <a:gd name="T5" fmla="*/ 10 h 57"/>
                  <a:gd name="T6" fmla="*/ 26 w 68"/>
                  <a:gd name="T7" fmla="*/ 0 h 57"/>
                  <a:gd name="T8" fmla="*/ 68 w 68"/>
                  <a:gd name="T9" fmla="*/ 15 h 57"/>
                  <a:gd name="T10" fmla="*/ 64 w 68"/>
                  <a:gd name="T11" fmla="*/ 57 h 57"/>
                  <a:gd name="T12" fmla="*/ 2 w 68"/>
                  <a:gd name="T13" fmla="*/ 36 h 57"/>
                  <a:gd name="T14" fmla="*/ 0 w 68"/>
                  <a:gd name="T15" fmla="*/ 34 h 57"/>
                  <a:gd name="T16" fmla="*/ 2 w 68"/>
                  <a:gd name="T17" fmla="*/ 3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7">
                    <a:moveTo>
                      <a:pt x="2" y="30"/>
                    </a:moveTo>
                    <a:lnTo>
                      <a:pt x="5" y="10"/>
                    </a:lnTo>
                    <a:lnTo>
                      <a:pt x="36" y="10"/>
                    </a:lnTo>
                    <a:lnTo>
                      <a:pt x="26" y="0"/>
                    </a:lnTo>
                    <a:lnTo>
                      <a:pt x="68" y="15"/>
                    </a:lnTo>
                    <a:lnTo>
                      <a:pt x="64" y="57"/>
                    </a:lnTo>
                    <a:lnTo>
                      <a:pt x="2" y="36"/>
                    </a:lnTo>
                    <a:lnTo>
                      <a:pt x="0" y="34"/>
                    </a:lnTo>
                    <a:lnTo>
                      <a:pt x="2" y="30"/>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07" name="75">
                <a:extLst>
                  <a:ext uri="{FF2B5EF4-FFF2-40B4-BE49-F238E27FC236}">
                    <a16:creationId xmlns:a16="http://schemas.microsoft.com/office/drawing/2014/main" id="{BE279D5E-CE9D-4F4A-B074-765BF506D1D8}"/>
                  </a:ext>
                </a:extLst>
              </p:cNvPr>
              <p:cNvSpPr>
                <a:spLocks/>
              </p:cNvSpPr>
              <p:nvPr/>
            </p:nvSpPr>
            <p:spPr bwMode="gray">
              <a:xfrm>
                <a:off x="6465737" y="2644480"/>
                <a:ext cx="81657" cy="41545"/>
              </a:xfrm>
              <a:custGeom>
                <a:avLst/>
                <a:gdLst>
                  <a:gd name="T0" fmla="*/ 2 w 57"/>
                  <a:gd name="T1" fmla="*/ 17 h 29"/>
                  <a:gd name="T2" fmla="*/ 26 w 57"/>
                  <a:gd name="T3" fmla="*/ 29 h 29"/>
                  <a:gd name="T4" fmla="*/ 57 w 57"/>
                  <a:gd name="T5" fmla="*/ 29 h 29"/>
                  <a:gd name="T6" fmla="*/ 47 w 57"/>
                  <a:gd name="T7" fmla="*/ 19 h 29"/>
                  <a:gd name="T8" fmla="*/ 23 w 57"/>
                  <a:gd name="T9" fmla="*/ 0 h 29"/>
                  <a:gd name="T10" fmla="*/ 0 w 57"/>
                  <a:gd name="T11" fmla="*/ 14 h 29"/>
                  <a:gd name="T12" fmla="*/ 2 w 57"/>
                  <a:gd name="T13" fmla="*/ 17 h 29"/>
                </a:gdLst>
                <a:ahLst/>
                <a:cxnLst>
                  <a:cxn ang="0">
                    <a:pos x="T0" y="T1"/>
                  </a:cxn>
                  <a:cxn ang="0">
                    <a:pos x="T2" y="T3"/>
                  </a:cxn>
                  <a:cxn ang="0">
                    <a:pos x="T4" y="T5"/>
                  </a:cxn>
                  <a:cxn ang="0">
                    <a:pos x="T6" y="T7"/>
                  </a:cxn>
                  <a:cxn ang="0">
                    <a:pos x="T8" y="T9"/>
                  </a:cxn>
                  <a:cxn ang="0">
                    <a:pos x="T10" y="T11"/>
                  </a:cxn>
                  <a:cxn ang="0">
                    <a:pos x="T12" y="T13"/>
                  </a:cxn>
                </a:cxnLst>
                <a:rect l="0" t="0" r="r" b="b"/>
                <a:pathLst>
                  <a:path w="57" h="29">
                    <a:moveTo>
                      <a:pt x="2" y="17"/>
                    </a:moveTo>
                    <a:lnTo>
                      <a:pt x="26" y="29"/>
                    </a:lnTo>
                    <a:lnTo>
                      <a:pt x="57" y="29"/>
                    </a:lnTo>
                    <a:lnTo>
                      <a:pt x="47" y="19"/>
                    </a:lnTo>
                    <a:lnTo>
                      <a:pt x="23" y="0"/>
                    </a:lnTo>
                    <a:lnTo>
                      <a:pt x="0" y="14"/>
                    </a:lnTo>
                    <a:lnTo>
                      <a:pt x="2" y="17"/>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08" name="77">
                <a:extLst>
                  <a:ext uri="{FF2B5EF4-FFF2-40B4-BE49-F238E27FC236}">
                    <a16:creationId xmlns:a16="http://schemas.microsoft.com/office/drawing/2014/main" id="{FA552E27-9A3E-46C1-8CEE-F3A0F3573625}"/>
                  </a:ext>
                </a:extLst>
              </p:cNvPr>
              <p:cNvSpPr>
                <a:spLocks/>
              </p:cNvSpPr>
              <p:nvPr/>
            </p:nvSpPr>
            <p:spPr bwMode="gray">
              <a:xfrm>
                <a:off x="6523039" y="2534173"/>
                <a:ext cx="402551" cy="514292"/>
              </a:xfrm>
              <a:custGeom>
                <a:avLst/>
                <a:gdLst>
                  <a:gd name="T0" fmla="*/ 0 w 281"/>
                  <a:gd name="T1" fmla="*/ 289 h 359"/>
                  <a:gd name="T2" fmla="*/ 30 w 281"/>
                  <a:gd name="T3" fmla="*/ 334 h 359"/>
                  <a:gd name="T4" fmla="*/ 15 w 281"/>
                  <a:gd name="T5" fmla="*/ 359 h 359"/>
                  <a:gd name="T6" fmla="*/ 132 w 281"/>
                  <a:gd name="T7" fmla="*/ 347 h 359"/>
                  <a:gd name="T8" fmla="*/ 158 w 281"/>
                  <a:gd name="T9" fmla="*/ 315 h 359"/>
                  <a:gd name="T10" fmla="*/ 158 w 281"/>
                  <a:gd name="T11" fmla="*/ 276 h 359"/>
                  <a:gd name="T12" fmla="*/ 247 w 281"/>
                  <a:gd name="T13" fmla="*/ 264 h 359"/>
                  <a:gd name="T14" fmla="*/ 245 w 281"/>
                  <a:gd name="T15" fmla="*/ 242 h 359"/>
                  <a:gd name="T16" fmla="*/ 241 w 281"/>
                  <a:gd name="T17" fmla="*/ 232 h 359"/>
                  <a:gd name="T18" fmla="*/ 281 w 281"/>
                  <a:gd name="T19" fmla="*/ 183 h 359"/>
                  <a:gd name="T20" fmla="*/ 258 w 281"/>
                  <a:gd name="T21" fmla="*/ 174 h 359"/>
                  <a:gd name="T22" fmla="*/ 260 w 281"/>
                  <a:gd name="T23" fmla="*/ 138 h 359"/>
                  <a:gd name="T24" fmla="*/ 245 w 281"/>
                  <a:gd name="T25" fmla="*/ 132 h 359"/>
                  <a:gd name="T26" fmla="*/ 245 w 281"/>
                  <a:gd name="T27" fmla="*/ 128 h 359"/>
                  <a:gd name="T28" fmla="*/ 264 w 281"/>
                  <a:gd name="T29" fmla="*/ 96 h 359"/>
                  <a:gd name="T30" fmla="*/ 211 w 281"/>
                  <a:gd name="T31" fmla="*/ 64 h 359"/>
                  <a:gd name="T32" fmla="*/ 188 w 281"/>
                  <a:gd name="T33" fmla="*/ 34 h 359"/>
                  <a:gd name="T34" fmla="*/ 188 w 281"/>
                  <a:gd name="T35" fmla="*/ 6 h 359"/>
                  <a:gd name="T36" fmla="*/ 166 w 281"/>
                  <a:gd name="T37" fmla="*/ 0 h 359"/>
                  <a:gd name="T38" fmla="*/ 145 w 281"/>
                  <a:gd name="T39" fmla="*/ 15 h 359"/>
                  <a:gd name="T40" fmla="*/ 49 w 281"/>
                  <a:gd name="T41" fmla="*/ 13 h 359"/>
                  <a:gd name="T42" fmla="*/ 41 w 281"/>
                  <a:gd name="T43" fmla="*/ 36 h 359"/>
                  <a:gd name="T44" fmla="*/ 49 w 281"/>
                  <a:gd name="T45" fmla="*/ 111 h 359"/>
                  <a:gd name="T46" fmla="*/ 45 w 281"/>
                  <a:gd name="T47" fmla="*/ 153 h 359"/>
                  <a:gd name="T48" fmla="*/ 26 w 281"/>
                  <a:gd name="T49" fmla="*/ 217 h 359"/>
                  <a:gd name="T50" fmla="*/ 34 w 281"/>
                  <a:gd name="T51" fmla="*/ 257 h 359"/>
                  <a:gd name="T52" fmla="*/ 0 w 281"/>
                  <a:gd name="T53" fmla="*/ 283 h 359"/>
                  <a:gd name="T54" fmla="*/ 0 w 281"/>
                  <a:gd name="T55" fmla="*/ 28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1" h="359">
                    <a:moveTo>
                      <a:pt x="0" y="289"/>
                    </a:moveTo>
                    <a:lnTo>
                      <a:pt x="30" y="334"/>
                    </a:lnTo>
                    <a:lnTo>
                      <a:pt x="15" y="359"/>
                    </a:lnTo>
                    <a:lnTo>
                      <a:pt x="132" y="347"/>
                    </a:lnTo>
                    <a:lnTo>
                      <a:pt x="158" y="315"/>
                    </a:lnTo>
                    <a:lnTo>
                      <a:pt x="158" y="276"/>
                    </a:lnTo>
                    <a:lnTo>
                      <a:pt x="247" y="264"/>
                    </a:lnTo>
                    <a:lnTo>
                      <a:pt x="245" y="242"/>
                    </a:lnTo>
                    <a:lnTo>
                      <a:pt x="241" y="232"/>
                    </a:lnTo>
                    <a:lnTo>
                      <a:pt x="281" y="183"/>
                    </a:lnTo>
                    <a:lnTo>
                      <a:pt x="258" y="174"/>
                    </a:lnTo>
                    <a:lnTo>
                      <a:pt x="260" y="138"/>
                    </a:lnTo>
                    <a:lnTo>
                      <a:pt x="245" y="132"/>
                    </a:lnTo>
                    <a:lnTo>
                      <a:pt x="245" y="128"/>
                    </a:lnTo>
                    <a:lnTo>
                      <a:pt x="264" y="96"/>
                    </a:lnTo>
                    <a:lnTo>
                      <a:pt x="211" y="64"/>
                    </a:lnTo>
                    <a:lnTo>
                      <a:pt x="188" y="34"/>
                    </a:lnTo>
                    <a:lnTo>
                      <a:pt x="188" y="6"/>
                    </a:lnTo>
                    <a:lnTo>
                      <a:pt x="166" y="0"/>
                    </a:lnTo>
                    <a:lnTo>
                      <a:pt x="145" y="15"/>
                    </a:lnTo>
                    <a:lnTo>
                      <a:pt x="49" y="13"/>
                    </a:lnTo>
                    <a:lnTo>
                      <a:pt x="41" y="36"/>
                    </a:lnTo>
                    <a:lnTo>
                      <a:pt x="49" y="111"/>
                    </a:lnTo>
                    <a:lnTo>
                      <a:pt x="45" y="153"/>
                    </a:lnTo>
                    <a:lnTo>
                      <a:pt x="26" y="217"/>
                    </a:lnTo>
                    <a:lnTo>
                      <a:pt x="34" y="257"/>
                    </a:lnTo>
                    <a:lnTo>
                      <a:pt x="0" y="283"/>
                    </a:lnTo>
                    <a:lnTo>
                      <a:pt x="0" y="289"/>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309" name="95">
                <a:extLst>
                  <a:ext uri="{FF2B5EF4-FFF2-40B4-BE49-F238E27FC236}">
                    <a16:creationId xmlns:a16="http://schemas.microsoft.com/office/drawing/2014/main" id="{19FC8EB6-3443-44E2-9BE0-38101FD5B3D0}"/>
                  </a:ext>
                </a:extLst>
              </p:cNvPr>
              <p:cNvSpPr>
                <a:spLocks/>
              </p:cNvSpPr>
              <p:nvPr/>
            </p:nvSpPr>
            <p:spPr bwMode="gray">
              <a:xfrm>
                <a:off x="6260878" y="2463261"/>
                <a:ext cx="333788" cy="173341"/>
              </a:xfrm>
              <a:custGeom>
                <a:avLst/>
                <a:gdLst>
                  <a:gd name="T0" fmla="*/ 0 w 233"/>
                  <a:gd name="T1" fmla="*/ 60 h 121"/>
                  <a:gd name="T2" fmla="*/ 34 w 233"/>
                  <a:gd name="T3" fmla="*/ 64 h 121"/>
                  <a:gd name="T4" fmla="*/ 36 w 233"/>
                  <a:gd name="T5" fmla="*/ 64 h 121"/>
                  <a:gd name="T6" fmla="*/ 40 w 233"/>
                  <a:gd name="T7" fmla="*/ 66 h 121"/>
                  <a:gd name="T8" fmla="*/ 42 w 233"/>
                  <a:gd name="T9" fmla="*/ 66 h 121"/>
                  <a:gd name="T10" fmla="*/ 99 w 233"/>
                  <a:gd name="T11" fmla="*/ 89 h 121"/>
                  <a:gd name="T12" fmla="*/ 121 w 233"/>
                  <a:gd name="T13" fmla="*/ 83 h 121"/>
                  <a:gd name="T14" fmla="*/ 140 w 233"/>
                  <a:gd name="T15" fmla="*/ 121 h 121"/>
                  <a:gd name="T16" fmla="*/ 161 w 233"/>
                  <a:gd name="T17" fmla="*/ 106 h 121"/>
                  <a:gd name="T18" fmla="*/ 161 w 233"/>
                  <a:gd name="T19" fmla="*/ 106 h 121"/>
                  <a:gd name="T20" fmla="*/ 161 w 233"/>
                  <a:gd name="T21" fmla="*/ 104 h 121"/>
                  <a:gd name="T22" fmla="*/ 201 w 233"/>
                  <a:gd name="T23" fmla="*/ 104 h 121"/>
                  <a:gd name="T24" fmla="*/ 225 w 233"/>
                  <a:gd name="T25" fmla="*/ 85 h 121"/>
                  <a:gd name="T26" fmla="*/ 233 w 233"/>
                  <a:gd name="T27" fmla="*/ 62 h 121"/>
                  <a:gd name="T28" fmla="*/ 170 w 233"/>
                  <a:gd name="T29" fmla="*/ 21 h 121"/>
                  <a:gd name="T30" fmla="*/ 144 w 233"/>
                  <a:gd name="T31" fmla="*/ 32 h 121"/>
                  <a:gd name="T32" fmla="*/ 112 w 233"/>
                  <a:gd name="T33" fmla="*/ 13 h 121"/>
                  <a:gd name="T34" fmla="*/ 65 w 233"/>
                  <a:gd name="T35" fmla="*/ 28 h 121"/>
                  <a:gd name="T36" fmla="*/ 31 w 233"/>
                  <a:gd name="T37" fmla="*/ 21 h 121"/>
                  <a:gd name="T38" fmla="*/ 23 w 233"/>
                  <a:gd name="T39" fmla="*/ 0 h 121"/>
                  <a:gd name="T40" fmla="*/ 0 w 233"/>
                  <a:gd name="T41" fmla="*/ 55 h 121"/>
                  <a:gd name="T42" fmla="*/ 0 w 233"/>
                  <a:gd name="T43" fmla="*/ 6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3" h="121">
                    <a:moveTo>
                      <a:pt x="0" y="60"/>
                    </a:moveTo>
                    <a:lnTo>
                      <a:pt x="34" y="64"/>
                    </a:lnTo>
                    <a:lnTo>
                      <a:pt x="36" y="64"/>
                    </a:lnTo>
                    <a:lnTo>
                      <a:pt x="40" y="66"/>
                    </a:lnTo>
                    <a:lnTo>
                      <a:pt x="42" y="66"/>
                    </a:lnTo>
                    <a:lnTo>
                      <a:pt x="99" y="89"/>
                    </a:lnTo>
                    <a:lnTo>
                      <a:pt x="121" y="83"/>
                    </a:lnTo>
                    <a:lnTo>
                      <a:pt x="140" y="121"/>
                    </a:lnTo>
                    <a:lnTo>
                      <a:pt x="161" y="106"/>
                    </a:lnTo>
                    <a:lnTo>
                      <a:pt x="161" y="106"/>
                    </a:lnTo>
                    <a:lnTo>
                      <a:pt x="161" y="104"/>
                    </a:lnTo>
                    <a:lnTo>
                      <a:pt x="201" y="104"/>
                    </a:lnTo>
                    <a:lnTo>
                      <a:pt x="225" y="85"/>
                    </a:lnTo>
                    <a:lnTo>
                      <a:pt x="233" y="62"/>
                    </a:lnTo>
                    <a:lnTo>
                      <a:pt x="170" y="21"/>
                    </a:lnTo>
                    <a:lnTo>
                      <a:pt x="144" y="32"/>
                    </a:lnTo>
                    <a:lnTo>
                      <a:pt x="112" y="13"/>
                    </a:lnTo>
                    <a:lnTo>
                      <a:pt x="65" y="28"/>
                    </a:lnTo>
                    <a:lnTo>
                      <a:pt x="31" y="21"/>
                    </a:lnTo>
                    <a:lnTo>
                      <a:pt x="23" y="0"/>
                    </a:lnTo>
                    <a:lnTo>
                      <a:pt x="0" y="55"/>
                    </a:lnTo>
                    <a:lnTo>
                      <a:pt x="0" y="60"/>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grpSp>
        <p:grpSp>
          <p:nvGrpSpPr>
            <p:cNvPr id="157" name="Ile de France (N° Départements)">
              <a:extLst>
                <a:ext uri="{FF2B5EF4-FFF2-40B4-BE49-F238E27FC236}">
                  <a16:creationId xmlns:a16="http://schemas.microsoft.com/office/drawing/2014/main" id="{26E2CAED-7D93-4A12-8815-B4230E9BB276}"/>
                </a:ext>
              </a:extLst>
            </p:cNvPr>
            <p:cNvGrpSpPr/>
            <p:nvPr/>
          </p:nvGrpSpPr>
          <p:grpSpPr>
            <a:xfrm>
              <a:off x="6998550" y="2283134"/>
              <a:ext cx="578070" cy="472739"/>
              <a:chOff x="6245094" y="2452519"/>
              <a:chExt cx="578070" cy="472739"/>
            </a:xfrm>
          </p:grpSpPr>
          <p:sp>
            <p:nvSpPr>
              <p:cNvPr id="298" name="95">
                <a:extLst>
                  <a:ext uri="{FF2B5EF4-FFF2-40B4-BE49-F238E27FC236}">
                    <a16:creationId xmlns:a16="http://schemas.microsoft.com/office/drawing/2014/main" id="{278257DD-0E80-417F-BEB3-CFA0B8C38EFD}"/>
                  </a:ext>
                </a:extLst>
              </p:cNvPr>
              <p:cNvSpPr txBox="1"/>
              <p:nvPr/>
            </p:nvSpPr>
            <p:spPr>
              <a:xfrm>
                <a:off x="6370457" y="2452519"/>
                <a:ext cx="184830" cy="166169"/>
              </a:xfrm>
              <a:prstGeom prst="rect">
                <a:avLst/>
              </a:prstGeom>
              <a:noFill/>
            </p:spPr>
            <p:txBody>
              <a:bodyPr wrap="none" lIns="0" tIns="0" rIns="0" bIns="0" rtlCol="0">
                <a:noAutofit/>
              </a:bodyPr>
              <a:lstStyle/>
              <a:p>
                <a:r>
                  <a:rPr lang="fr-FR" sz="800">
                    <a:solidFill>
                      <a:srgbClr val="503078"/>
                    </a:solidFill>
                    <a:latin typeface="Tahoma"/>
                  </a:rPr>
                  <a:t>95</a:t>
                </a:r>
              </a:p>
            </p:txBody>
          </p:sp>
          <p:sp>
            <p:nvSpPr>
              <p:cNvPr id="299" name="91">
                <a:extLst>
                  <a:ext uri="{FF2B5EF4-FFF2-40B4-BE49-F238E27FC236}">
                    <a16:creationId xmlns:a16="http://schemas.microsoft.com/office/drawing/2014/main" id="{41821954-EF0C-4464-91B1-425BA4B951DF}"/>
                  </a:ext>
                </a:extLst>
              </p:cNvPr>
              <p:cNvSpPr txBox="1"/>
              <p:nvPr/>
            </p:nvSpPr>
            <p:spPr>
              <a:xfrm>
                <a:off x="6370457" y="2759089"/>
                <a:ext cx="184830" cy="166169"/>
              </a:xfrm>
              <a:prstGeom prst="rect">
                <a:avLst/>
              </a:prstGeom>
              <a:noFill/>
            </p:spPr>
            <p:txBody>
              <a:bodyPr wrap="none" lIns="0" tIns="0" rIns="0" bIns="0" rtlCol="0">
                <a:noAutofit/>
              </a:bodyPr>
              <a:lstStyle/>
              <a:p>
                <a:r>
                  <a:rPr lang="fr-FR" sz="800">
                    <a:solidFill>
                      <a:srgbClr val="503078"/>
                    </a:solidFill>
                    <a:latin typeface="Tahoma"/>
                  </a:rPr>
                  <a:t>91</a:t>
                </a:r>
              </a:p>
            </p:txBody>
          </p:sp>
          <p:sp>
            <p:nvSpPr>
              <p:cNvPr id="300" name="78">
                <a:extLst>
                  <a:ext uri="{FF2B5EF4-FFF2-40B4-BE49-F238E27FC236}">
                    <a16:creationId xmlns:a16="http://schemas.microsoft.com/office/drawing/2014/main" id="{A3C2B58F-9BEB-4859-9CF3-2B5647F51FC6}"/>
                  </a:ext>
                </a:extLst>
              </p:cNvPr>
              <p:cNvSpPr txBox="1"/>
              <p:nvPr/>
            </p:nvSpPr>
            <p:spPr>
              <a:xfrm>
                <a:off x="6245094" y="2600075"/>
                <a:ext cx="184830" cy="166169"/>
              </a:xfrm>
              <a:prstGeom prst="rect">
                <a:avLst/>
              </a:prstGeom>
              <a:noFill/>
            </p:spPr>
            <p:txBody>
              <a:bodyPr wrap="none" lIns="0" tIns="0" rIns="0" bIns="0" rtlCol="0">
                <a:noAutofit/>
              </a:bodyPr>
              <a:lstStyle/>
              <a:p>
                <a:r>
                  <a:rPr lang="fr-FR" sz="800">
                    <a:solidFill>
                      <a:srgbClr val="503078"/>
                    </a:solidFill>
                    <a:latin typeface="Tahoma"/>
                  </a:rPr>
                  <a:t>78</a:t>
                </a:r>
              </a:p>
            </p:txBody>
          </p:sp>
          <p:sp>
            <p:nvSpPr>
              <p:cNvPr id="301" name="77">
                <a:extLst>
                  <a:ext uri="{FF2B5EF4-FFF2-40B4-BE49-F238E27FC236}">
                    <a16:creationId xmlns:a16="http://schemas.microsoft.com/office/drawing/2014/main" id="{30DEAB1F-0315-47A5-ABBD-A8A4A7D0AD03}"/>
                  </a:ext>
                </a:extLst>
              </p:cNvPr>
              <p:cNvSpPr txBox="1"/>
              <p:nvPr/>
            </p:nvSpPr>
            <p:spPr>
              <a:xfrm>
                <a:off x="6638334" y="2674577"/>
                <a:ext cx="184830" cy="166169"/>
              </a:xfrm>
              <a:prstGeom prst="rect">
                <a:avLst/>
              </a:prstGeom>
              <a:noFill/>
            </p:spPr>
            <p:txBody>
              <a:bodyPr wrap="none" lIns="0" tIns="0" rIns="0" bIns="0" rtlCol="0">
                <a:noAutofit/>
              </a:bodyPr>
              <a:lstStyle/>
              <a:p>
                <a:r>
                  <a:rPr lang="fr-FR" sz="800">
                    <a:solidFill>
                      <a:srgbClr val="503078"/>
                    </a:solidFill>
                    <a:latin typeface="Tahoma"/>
                  </a:rPr>
                  <a:t>77</a:t>
                </a:r>
              </a:p>
            </p:txBody>
          </p:sp>
        </p:grpSp>
        <p:sp>
          <p:nvSpPr>
            <p:cNvPr id="158" name="Corse (Forme)">
              <a:extLst>
                <a:ext uri="{FF2B5EF4-FFF2-40B4-BE49-F238E27FC236}">
                  <a16:creationId xmlns:a16="http://schemas.microsoft.com/office/drawing/2014/main" id="{BE0778C5-9ED3-441E-8B22-B57F493245CA}"/>
                </a:ext>
              </a:extLst>
            </p:cNvPr>
            <p:cNvSpPr>
              <a:spLocks/>
            </p:cNvSpPr>
            <p:nvPr/>
          </p:nvSpPr>
          <p:spPr bwMode="gray">
            <a:xfrm>
              <a:off x="9439077" y="5132410"/>
              <a:ext cx="338459" cy="865112"/>
            </a:xfrm>
            <a:custGeom>
              <a:avLst/>
              <a:gdLst>
                <a:gd name="T0" fmla="*/ 94 w 98"/>
                <a:gd name="T1" fmla="*/ 81 h 251"/>
                <a:gd name="T2" fmla="*/ 85 w 98"/>
                <a:gd name="T3" fmla="*/ 45 h 251"/>
                <a:gd name="T4" fmla="*/ 84 w 98"/>
                <a:gd name="T5" fmla="*/ 4 h 251"/>
                <a:gd name="T6" fmla="*/ 72 w 98"/>
                <a:gd name="T7" fmla="*/ 5 h 251"/>
                <a:gd name="T8" fmla="*/ 71 w 98"/>
                <a:gd name="T9" fmla="*/ 20 h 251"/>
                <a:gd name="T10" fmla="*/ 70 w 98"/>
                <a:gd name="T11" fmla="*/ 48 h 251"/>
                <a:gd name="T12" fmla="*/ 51 w 98"/>
                <a:gd name="T13" fmla="*/ 42 h 251"/>
                <a:gd name="T14" fmla="*/ 40 w 98"/>
                <a:gd name="T15" fmla="*/ 55 h 251"/>
                <a:gd name="T16" fmla="*/ 29 w 98"/>
                <a:gd name="T17" fmla="*/ 60 h 251"/>
                <a:gd name="T18" fmla="*/ 21 w 98"/>
                <a:gd name="T19" fmla="*/ 68 h 251"/>
                <a:gd name="T20" fmla="*/ 14 w 98"/>
                <a:gd name="T21" fmla="*/ 70 h 251"/>
                <a:gd name="T22" fmla="*/ 11 w 98"/>
                <a:gd name="T23" fmla="*/ 80 h 251"/>
                <a:gd name="T24" fmla="*/ 10 w 98"/>
                <a:gd name="T25" fmla="*/ 88 h 251"/>
                <a:gd name="T26" fmla="*/ 0 w 98"/>
                <a:gd name="T27" fmla="*/ 93 h 251"/>
                <a:gd name="T28" fmla="*/ 5 w 98"/>
                <a:gd name="T29" fmla="*/ 99 h 251"/>
                <a:gd name="T30" fmla="*/ 14 w 98"/>
                <a:gd name="T31" fmla="*/ 110 h 251"/>
                <a:gd name="T32" fmla="*/ 3 w 98"/>
                <a:gd name="T33" fmla="*/ 129 h 251"/>
                <a:gd name="T34" fmla="*/ 10 w 98"/>
                <a:gd name="T35" fmla="*/ 134 h 251"/>
                <a:gd name="T36" fmla="*/ 16 w 98"/>
                <a:gd name="T37" fmla="*/ 136 h 251"/>
                <a:gd name="T38" fmla="*/ 17 w 98"/>
                <a:gd name="T39" fmla="*/ 147 h 251"/>
                <a:gd name="T40" fmla="*/ 8 w 98"/>
                <a:gd name="T41" fmla="*/ 157 h 251"/>
                <a:gd name="T42" fmla="*/ 19 w 98"/>
                <a:gd name="T43" fmla="*/ 165 h 251"/>
                <a:gd name="T44" fmla="*/ 29 w 98"/>
                <a:gd name="T45" fmla="*/ 167 h 251"/>
                <a:gd name="T46" fmla="*/ 24 w 98"/>
                <a:gd name="T47" fmla="*/ 175 h 251"/>
                <a:gd name="T48" fmla="*/ 20 w 98"/>
                <a:gd name="T49" fmla="*/ 183 h 251"/>
                <a:gd name="T50" fmla="*/ 14 w 98"/>
                <a:gd name="T51" fmla="*/ 189 h 251"/>
                <a:gd name="T52" fmla="*/ 25 w 98"/>
                <a:gd name="T53" fmla="*/ 191 h 251"/>
                <a:gd name="T54" fmla="*/ 37 w 98"/>
                <a:gd name="T55" fmla="*/ 202 h 251"/>
                <a:gd name="T56" fmla="*/ 29 w 98"/>
                <a:gd name="T57" fmla="*/ 220 h 251"/>
                <a:gd name="T58" fmla="*/ 39 w 98"/>
                <a:gd name="T59" fmla="*/ 231 h 251"/>
                <a:gd name="T60" fmla="*/ 52 w 98"/>
                <a:gd name="T61" fmla="*/ 236 h 251"/>
                <a:gd name="T62" fmla="*/ 56 w 98"/>
                <a:gd name="T63" fmla="*/ 237 h 251"/>
                <a:gd name="T64" fmla="*/ 57 w 98"/>
                <a:gd name="T65" fmla="*/ 243 h 251"/>
                <a:gd name="T66" fmla="*/ 70 w 98"/>
                <a:gd name="T67" fmla="*/ 251 h 251"/>
                <a:gd name="T68" fmla="*/ 72 w 98"/>
                <a:gd name="T69" fmla="*/ 239 h 251"/>
                <a:gd name="T70" fmla="*/ 76 w 98"/>
                <a:gd name="T71" fmla="*/ 224 h 251"/>
                <a:gd name="T72" fmla="*/ 83 w 98"/>
                <a:gd name="T73" fmla="*/ 213 h 251"/>
                <a:gd name="T74" fmla="*/ 78 w 98"/>
                <a:gd name="T75" fmla="*/ 210 h 251"/>
                <a:gd name="T76" fmla="*/ 88 w 98"/>
                <a:gd name="T77" fmla="*/ 195 h 251"/>
                <a:gd name="T78" fmla="*/ 98 w 98"/>
                <a:gd name="T79" fmla="*/ 134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8" h="251">
                  <a:moveTo>
                    <a:pt x="98" y="134"/>
                  </a:moveTo>
                  <a:cubicBezTo>
                    <a:pt x="98" y="134"/>
                    <a:pt x="92" y="82"/>
                    <a:pt x="94" y="81"/>
                  </a:cubicBezTo>
                  <a:cubicBezTo>
                    <a:pt x="95" y="79"/>
                    <a:pt x="94" y="72"/>
                    <a:pt x="94" y="69"/>
                  </a:cubicBezTo>
                  <a:cubicBezTo>
                    <a:pt x="84" y="61"/>
                    <a:pt x="87" y="46"/>
                    <a:pt x="85" y="45"/>
                  </a:cubicBezTo>
                  <a:cubicBezTo>
                    <a:pt x="88" y="40"/>
                    <a:pt x="87" y="17"/>
                    <a:pt x="84" y="12"/>
                  </a:cubicBezTo>
                  <a:cubicBezTo>
                    <a:pt x="82" y="7"/>
                    <a:pt x="84" y="4"/>
                    <a:pt x="84" y="4"/>
                  </a:cubicBezTo>
                  <a:cubicBezTo>
                    <a:pt x="79" y="0"/>
                    <a:pt x="79" y="0"/>
                    <a:pt x="79" y="0"/>
                  </a:cubicBezTo>
                  <a:cubicBezTo>
                    <a:pt x="79" y="0"/>
                    <a:pt x="74" y="2"/>
                    <a:pt x="72" y="5"/>
                  </a:cubicBezTo>
                  <a:cubicBezTo>
                    <a:pt x="70" y="8"/>
                    <a:pt x="71" y="8"/>
                    <a:pt x="73" y="11"/>
                  </a:cubicBezTo>
                  <a:cubicBezTo>
                    <a:pt x="75" y="15"/>
                    <a:pt x="70" y="16"/>
                    <a:pt x="71" y="20"/>
                  </a:cubicBezTo>
                  <a:cubicBezTo>
                    <a:pt x="71" y="23"/>
                    <a:pt x="71" y="28"/>
                    <a:pt x="71" y="28"/>
                  </a:cubicBezTo>
                  <a:cubicBezTo>
                    <a:pt x="75" y="34"/>
                    <a:pt x="70" y="48"/>
                    <a:pt x="70" y="48"/>
                  </a:cubicBezTo>
                  <a:cubicBezTo>
                    <a:pt x="62" y="43"/>
                    <a:pt x="62" y="43"/>
                    <a:pt x="62" y="43"/>
                  </a:cubicBezTo>
                  <a:cubicBezTo>
                    <a:pt x="51" y="42"/>
                    <a:pt x="51" y="42"/>
                    <a:pt x="51" y="42"/>
                  </a:cubicBezTo>
                  <a:cubicBezTo>
                    <a:pt x="46" y="51"/>
                    <a:pt x="46" y="51"/>
                    <a:pt x="46" y="51"/>
                  </a:cubicBezTo>
                  <a:cubicBezTo>
                    <a:pt x="40" y="55"/>
                    <a:pt x="40" y="55"/>
                    <a:pt x="40" y="55"/>
                  </a:cubicBezTo>
                  <a:cubicBezTo>
                    <a:pt x="33" y="55"/>
                    <a:pt x="33" y="55"/>
                    <a:pt x="33" y="55"/>
                  </a:cubicBezTo>
                  <a:cubicBezTo>
                    <a:pt x="29" y="60"/>
                    <a:pt x="29" y="60"/>
                    <a:pt x="29" y="60"/>
                  </a:cubicBezTo>
                  <a:cubicBezTo>
                    <a:pt x="23" y="60"/>
                    <a:pt x="23" y="60"/>
                    <a:pt x="23" y="60"/>
                  </a:cubicBezTo>
                  <a:cubicBezTo>
                    <a:pt x="21" y="68"/>
                    <a:pt x="21" y="68"/>
                    <a:pt x="21" y="68"/>
                  </a:cubicBezTo>
                  <a:cubicBezTo>
                    <a:pt x="15" y="64"/>
                    <a:pt x="15" y="64"/>
                    <a:pt x="15" y="64"/>
                  </a:cubicBezTo>
                  <a:cubicBezTo>
                    <a:pt x="14" y="70"/>
                    <a:pt x="14" y="70"/>
                    <a:pt x="14" y="70"/>
                  </a:cubicBezTo>
                  <a:cubicBezTo>
                    <a:pt x="8" y="79"/>
                    <a:pt x="8" y="79"/>
                    <a:pt x="8" y="79"/>
                  </a:cubicBezTo>
                  <a:cubicBezTo>
                    <a:pt x="8" y="79"/>
                    <a:pt x="9" y="78"/>
                    <a:pt x="11" y="80"/>
                  </a:cubicBezTo>
                  <a:cubicBezTo>
                    <a:pt x="14" y="82"/>
                    <a:pt x="10" y="83"/>
                    <a:pt x="10" y="83"/>
                  </a:cubicBezTo>
                  <a:cubicBezTo>
                    <a:pt x="10" y="88"/>
                    <a:pt x="10" y="88"/>
                    <a:pt x="10" y="88"/>
                  </a:cubicBezTo>
                  <a:cubicBezTo>
                    <a:pt x="5" y="89"/>
                    <a:pt x="5" y="89"/>
                    <a:pt x="5" y="89"/>
                  </a:cubicBezTo>
                  <a:cubicBezTo>
                    <a:pt x="5" y="92"/>
                    <a:pt x="0" y="93"/>
                    <a:pt x="0" y="93"/>
                  </a:cubicBezTo>
                  <a:cubicBezTo>
                    <a:pt x="0" y="100"/>
                    <a:pt x="0" y="100"/>
                    <a:pt x="0" y="100"/>
                  </a:cubicBezTo>
                  <a:cubicBezTo>
                    <a:pt x="0" y="100"/>
                    <a:pt x="3" y="99"/>
                    <a:pt x="5" y="99"/>
                  </a:cubicBezTo>
                  <a:cubicBezTo>
                    <a:pt x="8" y="99"/>
                    <a:pt x="6" y="104"/>
                    <a:pt x="7" y="104"/>
                  </a:cubicBezTo>
                  <a:cubicBezTo>
                    <a:pt x="8" y="104"/>
                    <a:pt x="14" y="110"/>
                    <a:pt x="14" y="110"/>
                  </a:cubicBezTo>
                  <a:cubicBezTo>
                    <a:pt x="6" y="111"/>
                    <a:pt x="3" y="116"/>
                    <a:pt x="3" y="116"/>
                  </a:cubicBezTo>
                  <a:cubicBezTo>
                    <a:pt x="3" y="129"/>
                    <a:pt x="3" y="129"/>
                    <a:pt x="3" y="129"/>
                  </a:cubicBezTo>
                  <a:cubicBezTo>
                    <a:pt x="5" y="132"/>
                    <a:pt x="5" y="132"/>
                    <a:pt x="5" y="132"/>
                  </a:cubicBezTo>
                  <a:cubicBezTo>
                    <a:pt x="10" y="134"/>
                    <a:pt x="10" y="134"/>
                    <a:pt x="10" y="134"/>
                  </a:cubicBezTo>
                  <a:cubicBezTo>
                    <a:pt x="10" y="134"/>
                    <a:pt x="11" y="135"/>
                    <a:pt x="13" y="137"/>
                  </a:cubicBezTo>
                  <a:cubicBezTo>
                    <a:pt x="14" y="134"/>
                    <a:pt x="15" y="137"/>
                    <a:pt x="16" y="136"/>
                  </a:cubicBezTo>
                  <a:cubicBezTo>
                    <a:pt x="16" y="141"/>
                    <a:pt x="21" y="143"/>
                    <a:pt x="21" y="143"/>
                  </a:cubicBezTo>
                  <a:cubicBezTo>
                    <a:pt x="17" y="147"/>
                    <a:pt x="17" y="147"/>
                    <a:pt x="17" y="147"/>
                  </a:cubicBezTo>
                  <a:cubicBezTo>
                    <a:pt x="12" y="148"/>
                    <a:pt x="13" y="156"/>
                    <a:pt x="13" y="156"/>
                  </a:cubicBezTo>
                  <a:cubicBezTo>
                    <a:pt x="8" y="157"/>
                    <a:pt x="8" y="157"/>
                    <a:pt x="8" y="157"/>
                  </a:cubicBezTo>
                  <a:cubicBezTo>
                    <a:pt x="9" y="166"/>
                    <a:pt x="9" y="166"/>
                    <a:pt x="9" y="166"/>
                  </a:cubicBezTo>
                  <a:cubicBezTo>
                    <a:pt x="19" y="165"/>
                    <a:pt x="19" y="165"/>
                    <a:pt x="19" y="165"/>
                  </a:cubicBezTo>
                  <a:cubicBezTo>
                    <a:pt x="23" y="163"/>
                    <a:pt x="23" y="163"/>
                    <a:pt x="23" y="163"/>
                  </a:cubicBezTo>
                  <a:cubicBezTo>
                    <a:pt x="29" y="167"/>
                    <a:pt x="29" y="167"/>
                    <a:pt x="29" y="167"/>
                  </a:cubicBezTo>
                  <a:cubicBezTo>
                    <a:pt x="27" y="169"/>
                    <a:pt x="27" y="169"/>
                    <a:pt x="27" y="169"/>
                  </a:cubicBezTo>
                  <a:cubicBezTo>
                    <a:pt x="24" y="175"/>
                    <a:pt x="24" y="175"/>
                    <a:pt x="24" y="175"/>
                  </a:cubicBezTo>
                  <a:cubicBezTo>
                    <a:pt x="24" y="179"/>
                    <a:pt x="24" y="179"/>
                    <a:pt x="24" y="179"/>
                  </a:cubicBezTo>
                  <a:cubicBezTo>
                    <a:pt x="20" y="183"/>
                    <a:pt x="20" y="183"/>
                    <a:pt x="20" y="183"/>
                  </a:cubicBezTo>
                  <a:cubicBezTo>
                    <a:pt x="21" y="186"/>
                    <a:pt x="21" y="186"/>
                    <a:pt x="21" y="186"/>
                  </a:cubicBezTo>
                  <a:cubicBezTo>
                    <a:pt x="14" y="189"/>
                    <a:pt x="14" y="189"/>
                    <a:pt x="14" y="189"/>
                  </a:cubicBezTo>
                  <a:cubicBezTo>
                    <a:pt x="20" y="194"/>
                    <a:pt x="20" y="194"/>
                    <a:pt x="20" y="194"/>
                  </a:cubicBezTo>
                  <a:cubicBezTo>
                    <a:pt x="25" y="191"/>
                    <a:pt x="25" y="191"/>
                    <a:pt x="25" y="191"/>
                  </a:cubicBezTo>
                  <a:cubicBezTo>
                    <a:pt x="27" y="196"/>
                    <a:pt x="27" y="196"/>
                    <a:pt x="27" y="196"/>
                  </a:cubicBezTo>
                  <a:cubicBezTo>
                    <a:pt x="27" y="196"/>
                    <a:pt x="37" y="199"/>
                    <a:pt x="37" y="202"/>
                  </a:cubicBezTo>
                  <a:cubicBezTo>
                    <a:pt x="37" y="204"/>
                    <a:pt x="29" y="208"/>
                    <a:pt x="29" y="208"/>
                  </a:cubicBezTo>
                  <a:cubicBezTo>
                    <a:pt x="29" y="208"/>
                    <a:pt x="29" y="218"/>
                    <a:pt x="29" y="220"/>
                  </a:cubicBezTo>
                  <a:cubicBezTo>
                    <a:pt x="29" y="221"/>
                    <a:pt x="33" y="227"/>
                    <a:pt x="35" y="226"/>
                  </a:cubicBezTo>
                  <a:cubicBezTo>
                    <a:pt x="37" y="223"/>
                    <a:pt x="39" y="231"/>
                    <a:pt x="39" y="231"/>
                  </a:cubicBezTo>
                  <a:cubicBezTo>
                    <a:pt x="47" y="231"/>
                    <a:pt x="47" y="231"/>
                    <a:pt x="47" y="231"/>
                  </a:cubicBezTo>
                  <a:cubicBezTo>
                    <a:pt x="52" y="236"/>
                    <a:pt x="52" y="236"/>
                    <a:pt x="52" y="236"/>
                  </a:cubicBezTo>
                  <a:cubicBezTo>
                    <a:pt x="56" y="232"/>
                    <a:pt x="56" y="232"/>
                    <a:pt x="56" y="232"/>
                  </a:cubicBezTo>
                  <a:cubicBezTo>
                    <a:pt x="56" y="237"/>
                    <a:pt x="56" y="237"/>
                    <a:pt x="56" y="237"/>
                  </a:cubicBezTo>
                  <a:cubicBezTo>
                    <a:pt x="61" y="238"/>
                    <a:pt x="61" y="238"/>
                    <a:pt x="61" y="238"/>
                  </a:cubicBezTo>
                  <a:cubicBezTo>
                    <a:pt x="57" y="243"/>
                    <a:pt x="57" y="243"/>
                    <a:pt x="57" y="243"/>
                  </a:cubicBezTo>
                  <a:cubicBezTo>
                    <a:pt x="57" y="243"/>
                    <a:pt x="60" y="249"/>
                    <a:pt x="60" y="246"/>
                  </a:cubicBezTo>
                  <a:cubicBezTo>
                    <a:pt x="60" y="243"/>
                    <a:pt x="70" y="251"/>
                    <a:pt x="70" y="251"/>
                  </a:cubicBezTo>
                  <a:cubicBezTo>
                    <a:pt x="74" y="242"/>
                    <a:pt x="74" y="242"/>
                    <a:pt x="74" y="242"/>
                  </a:cubicBezTo>
                  <a:cubicBezTo>
                    <a:pt x="74" y="242"/>
                    <a:pt x="71" y="239"/>
                    <a:pt x="72" y="239"/>
                  </a:cubicBezTo>
                  <a:cubicBezTo>
                    <a:pt x="74" y="239"/>
                    <a:pt x="77" y="232"/>
                    <a:pt x="77" y="232"/>
                  </a:cubicBezTo>
                  <a:cubicBezTo>
                    <a:pt x="76" y="224"/>
                    <a:pt x="76" y="224"/>
                    <a:pt x="76" y="224"/>
                  </a:cubicBezTo>
                  <a:cubicBezTo>
                    <a:pt x="76" y="224"/>
                    <a:pt x="78" y="223"/>
                    <a:pt x="82" y="221"/>
                  </a:cubicBezTo>
                  <a:cubicBezTo>
                    <a:pt x="86" y="219"/>
                    <a:pt x="84" y="215"/>
                    <a:pt x="83" y="213"/>
                  </a:cubicBezTo>
                  <a:cubicBezTo>
                    <a:pt x="81" y="212"/>
                    <a:pt x="77" y="216"/>
                    <a:pt x="76" y="217"/>
                  </a:cubicBezTo>
                  <a:cubicBezTo>
                    <a:pt x="75" y="217"/>
                    <a:pt x="78" y="210"/>
                    <a:pt x="78" y="210"/>
                  </a:cubicBezTo>
                  <a:cubicBezTo>
                    <a:pt x="78" y="210"/>
                    <a:pt x="85" y="210"/>
                    <a:pt x="85" y="206"/>
                  </a:cubicBezTo>
                  <a:cubicBezTo>
                    <a:pt x="85" y="203"/>
                    <a:pt x="88" y="195"/>
                    <a:pt x="88" y="195"/>
                  </a:cubicBezTo>
                  <a:cubicBezTo>
                    <a:pt x="88" y="195"/>
                    <a:pt x="87" y="161"/>
                    <a:pt x="86" y="160"/>
                  </a:cubicBezTo>
                  <a:cubicBezTo>
                    <a:pt x="92" y="155"/>
                    <a:pt x="98" y="134"/>
                    <a:pt x="98" y="134"/>
                  </a:cubicBezTo>
                  <a:close/>
                </a:path>
              </a:pathLst>
            </a:custGeom>
            <a:solidFill>
              <a:srgbClr val="7030A0"/>
            </a:solidFill>
            <a:ln w="3175" cap="flat" cmpd="sng">
              <a:solidFill>
                <a:schemeClr val="bg1"/>
              </a:solidFill>
              <a:prstDash val="solid"/>
              <a:round/>
              <a:headEnd type="none" w="med" len="med"/>
              <a:tailEnd type="none" w="med" len="med"/>
            </a:ln>
            <a:effectLst>
              <a:outerShdw blurRad="127000" dist="50800" dir="2700000" algn="tl" rotWithShape="0">
                <a:prstClr val="black">
                  <a:alpha val="40000"/>
                </a:prstClr>
              </a:outerShdw>
            </a:effectLst>
          </p:spPr>
          <p:txBody>
            <a:bodyPr/>
            <a:lstStyle/>
            <a:p>
              <a:endParaRPr lang="en-US" sz="800">
                <a:solidFill>
                  <a:srgbClr val="503078"/>
                </a:solidFill>
                <a:latin typeface="Tahoma"/>
              </a:endParaRPr>
            </a:p>
          </p:txBody>
        </p:sp>
        <p:grpSp>
          <p:nvGrpSpPr>
            <p:cNvPr id="159" name="Corse (N° Départements)">
              <a:extLst>
                <a:ext uri="{FF2B5EF4-FFF2-40B4-BE49-F238E27FC236}">
                  <a16:creationId xmlns:a16="http://schemas.microsoft.com/office/drawing/2014/main" id="{5E07D00C-D646-4562-B960-B38641C67A83}"/>
                </a:ext>
              </a:extLst>
            </p:cNvPr>
            <p:cNvGrpSpPr/>
            <p:nvPr/>
          </p:nvGrpSpPr>
          <p:grpSpPr>
            <a:xfrm>
              <a:off x="9515891" y="5344536"/>
              <a:ext cx="243314" cy="498506"/>
              <a:chOff x="8762435" y="5513921"/>
              <a:chExt cx="243314" cy="498506"/>
            </a:xfrm>
          </p:grpSpPr>
          <p:sp>
            <p:nvSpPr>
              <p:cNvPr id="296" name="TextBox 247">
                <a:extLst>
                  <a:ext uri="{FF2B5EF4-FFF2-40B4-BE49-F238E27FC236}">
                    <a16:creationId xmlns:a16="http://schemas.microsoft.com/office/drawing/2014/main" id="{52829557-460E-4657-944A-298D46A10D1E}"/>
                  </a:ext>
                </a:extLst>
              </p:cNvPr>
              <p:cNvSpPr txBox="1"/>
              <p:nvPr/>
            </p:nvSpPr>
            <p:spPr>
              <a:xfrm>
                <a:off x="8820919" y="5846258"/>
                <a:ext cx="184830" cy="166169"/>
              </a:xfrm>
              <a:prstGeom prst="rect">
                <a:avLst/>
              </a:prstGeom>
              <a:noFill/>
            </p:spPr>
            <p:txBody>
              <a:bodyPr wrap="none" lIns="0" tIns="0" rIns="0" bIns="0" rtlCol="0">
                <a:noAutofit/>
              </a:bodyPr>
              <a:lstStyle/>
              <a:p>
                <a:r>
                  <a:rPr lang="fr-FR" sz="800">
                    <a:solidFill>
                      <a:srgbClr val="FFFFFF"/>
                    </a:solidFill>
                    <a:latin typeface="Tahoma"/>
                  </a:rPr>
                  <a:t>2A</a:t>
                </a:r>
              </a:p>
            </p:txBody>
          </p:sp>
          <p:sp>
            <p:nvSpPr>
              <p:cNvPr id="297" name="TextBox 248">
                <a:extLst>
                  <a:ext uri="{FF2B5EF4-FFF2-40B4-BE49-F238E27FC236}">
                    <a16:creationId xmlns:a16="http://schemas.microsoft.com/office/drawing/2014/main" id="{C1ACAD65-5D86-4016-B6A8-B0DDA83275A7}"/>
                  </a:ext>
                </a:extLst>
              </p:cNvPr>
              <p:cNvSpPr txBox="1"/>
              <p:nvPr/>
            </p:nvSpPr>
            <p:spPr>
              <a:xfrm>
                <a:off x="8762435" y="5513921"/>
                <a:ext cx="184830" cy="166169"/>
              </a:xfrm>
              <a:prstGeom prst="rect">
                <a:avLst/>
              </a:prstGeom>
              <a:noFill/>
            </p:spPr>
            <p:txBody>
              <a:bodyPr wrap="none" lIns="0" tIns="0" rIns="0" bIns="0" rtlCol="0">
                <a:noAutofit/>
              </a:bodyPr>
              <a:lstStyle/>
              <a:p>
                <a:r>
                  <a:rPr lang="fr-FR" sz="800">
                    <a:solidFill>
                      <a:srgbClr val="FFFFFF"/>
                    </a:solidFill>
                    <a:latin typeface="Tahoma"/>
                  </a:rPr>
                  <a:t>2B</a:t>
                </a:r>
              </a:p>
            </p:txBody>
          </p:sp>
        </p:grpSp>
        <p:grpSp>
          <p:nvGrpSpPr>
            <p:cNvPr id="160" name="Centre (Formes)">
              <a:extLst>
                <a:ext uri="{FF2B5EF4-FFF2-40B4-BE49-F238E27FC236}">
                  <a16:creationId xmlns:a16="http://schemas.microsoft.com/office/drawing/2014/main" id="{36B035F1-7DB1-4EA1-9E34-753BF8091811}"/>
                </a:ext>
              </a:extLst>
            </p:cNvPr>
            <p:cNvGrpSpPr/>
            <p:nvPr/>
          </p:nvGrpSpPr>
          <p:grpSpPr>
            <a:xfrm>
              <a:off x="6434148" y="2446444"/>
              <a:ext cx="1095911" cy="1356640"/>
              <a:chOff x="5680692" y="2615829"/>
              <a:chExt cx="1095911" cy="1356640"/>
            </a:xfrm>
            <a:solidFill>
              <a:srgbClr val="048B9A"/>
            </a:solidFill>
          </p:grpSpPr>
          <p:sp>
            <p:nvSpPr>
              <p:cNvPr id="290" name="37">
                <a:extLst>
                  <a:ext uri="{FF2B5EF4-FFF2-40B4-BE49-F238E27FC236}">
                    <a16:creationId xmlns:a16="http://schemas.microsoft.com/office/drawing/2014/main" id="{5CB018F3-8F4D-4845-BDAC-551348DC2C55}"/>
                  </a:ext>
                </a:extLst>
              </p:cNvPr>
              <p:cNvSpPr>
                <a:spLocks/>
              </p:cNvSpPr>
              <p:nvPr/>
            </p:nvSpPr>
            <p:spPr bwMode="gray">
              <a:xfrm>
                <a:off x="5680692" y="3259051"/>
                <a:ext cx="462719" cy="497100"/>
              </a:xfrm>
              <a:custGeom>
                <a:avLst/>
                <a:gdLst>
                  <a:gd name="T0" fmla="*/ 0 w 323"/>
                  <a:gd name="T1" fmla="*/ 191 h 347"/>
                  <a:gd name="T2" fmla="*/ 32 w 323"/>
                  <a:gd name="T3" fmla="*/ 208 h 347"/>
                  <a:gd name="T4" fmla="*/ 27 w 323"/>
                  <a:gd name="T5" fmla="*/ 228 h 347"/>
                  <a:gd name="T6" fmla="*/ 59 w 323"/>
                  <a:gd name="T7" fmla="*/ 232 h 347"/>
                  <a:gd name="T8" fmla="*/ 63 w 323"/>
                  <a:gd name="T9" fmla="*/ 276 h 347"/>
                  <a:gd name="T10" fmla="*/ 131 w 323"/>
                  <a:gd name="T11" fmla="*/ 268 h 347"/>
                  <a:gd name="T12" fmla="*/ 125 w 323"/>
                  <a:gd name="T13" fmla="*/ 251 h 347"/>
                  <a:gd name="T14" fmla="*/ 155 w 323"/>
                  <a:gd name="T15" fmla="*/ 264 h 347"/>
                  <a:gd name="T16" fmla="*/ 197 w 323"/>
                  <a:gd name="T17" fmla="*/ 347 h 347"/>
                  <a:gd name="T18" fmla="*/ 231 w 323"/>
                  <a:gd name="T19" fmla="*/ 344 h 347"/>
                  <a:gd name="T20" fmla="*/ 246 w 323"/>
                  <a:gd name="T21" fmla="*/ 259 h 347"/>
                  <a:gd name="T22" fmla="*/ 272 w 323"/>
                  <a:gd name="T23" fmla="*/ 245 h 347"/>
                  <a:gd name="T24" fmla="*/ 297 w 323"/>
                  <a:gd name="T25" fmla="*/ 251 h 347"/>
                  <a:gd name="T26" fmla="*/ 323 w 323"/>
                  <a:gd name="T27" fmla="*/ 219 h 347"/>
                  <a:gd name="T28" fmla="*/ 319 w 323"/>
                  <a:gd name="T29" fmla="*/ 191 h 347"/>
                  <a:gd name="T30" fmla="*/ 297 w 323"/>
                  <a:gd name="T31" fmla="*/ 153 h 347"/>
                  <a:gd name="T32" fmla="*/ 263 w 323"/>
                  <a:gd name="T33" fmla="*/ 149 h 347"/>
                  <a:gd name="T34" fmla="*/ 272 w 323"/>
                  <a:gd name="T35" fmla="*/ 96 h 347"/>
                  <a:gd name="T36" fmla="*/ 248 w 323"/>
                  <a:gd name="T37" fmla="*/ 36 h 347"/>
                  <a:gd name="T38" fmla="*/ 221 w 323"/>
                  <a:gd name="T39" fmla="*/ 26 h 347"/>
                  <a:gd name="T40" fmla="*/ 206 w 323"/>
                  <a:gd name="T41" fmla="*/ 36 h 347"/>
                  <a:gd name="T42" fmla="*/ 206 w 323"/>
                  <a:gd name="T43" fmla="*/ 6 h 347"/>
                  <a:gd name="T44" fmla="*/ 146 w 323"/>
                  <a:gd name="T45" fmla="*/ 0 h 347"/>
                  <a:gd name="T46" fmla="*/ 104 w 323"/>
                  <a:gd name="T47" fmla="*/ 26 h 347"/>
                  <a:gd name="T48" fmla="*/ 89 w 323"/>
                  <a:gd name="T49" fmla="*/ 17 h 347"/>
                  <a:gd name="T50" fmla="*/ 85 w 323"/>
                  <a:gd name="T51" fmla="*/ 43 h 347"/>
                  <a:gd name="T52" fmla="*/ 49 w 323"/>
                  <a:gd name="T53" fmla="*/ 28 h 347"/>
                  <a:gd name="T54" fmla="*/ 0 w 323"/>
                  <a:gd name="T55" fmla="*/ 187 h 347"/>
                  <a:gd name="T56" fmla="*/ 0 w 323"/>
                  <a:gd name="T57" fmla="*/ 1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3" h="347">
                    <a:moveTo>
                      <a:pt x="0" y="191"/>
                    </a:moveTo>
                    <a:lnTo>
                      <a:pt x="32" y="208"/>
                    </a:lnTo>
                    <a:lnTo>
                      <a:pt x="27" y="228"/>
                    </a:lnTo>
                    <a:lnTo>
                      <a:pt x="59" y="232"/>
                    </a:lnTo>
                    <a:lnTo>
                      <a:pt x="63" y="276"/>
                    </a:lnTo>
                    <a:lnTo>
                      <a:pt x="131" y="268"/>
                    </a:lnTo>
                    <a:lnTo>
                      <a:pt x="125" y="251"/>
                    </a:lnTo>
                    <a:lnTo>
                      <a:pt x="155" y="264"/>
                    </a:lnTo>
                    <a:lnTo>
                      <a:pt x="197" y="347"/>
                    </a:lnTo>
                    <a:lnTo>
                      <a:pt x="231" y="344"/>
                    </a:lnTo>
                    <a:lnTo>
                      <a:pt x="246" y="259"/>
                    </a:lnTo>
                    <a:lnTo>
                      <a:pt x="272" y="245"/>
                    </a:lnTo>
                    <a:lnTo>
                      <a:pt x="297" y="251"/>
                    </a:lnTo>
                    <a:lnTo>
                      <a:pt x="323" y="219"/>
                    </a:lnTo>
                    <a:lnTo>
                      <a:pt x="319" y="191"/>
                    </a:lnTo>
                    <a:lnTo>
                      <a:pt x="297" y="153"/>
                    </a:lnTo>
                    <a:lnTo>
                      <a:pt x="263" y="149"/>
                    </a:lnTo>
                    <a:lnTo>
                      <a:pt x="272" y="96"/>
                    </a:lnTo>
                    <a:lnTo>
                      <a:pt x="248" y="36"/>
                    </a:lnTo>
                    <a:lnTo>
                      <a:pt x="221" y="26"/>
                    </a:lnTo>
                    <a:lnTo>
                      <a:pt x="206" y="36"/>
                    </a:lnTo>
                    <a:lnTo>
                      <a:pt x="206" y="6"/>
                    </a:lnTo>
                    <a:lnTo>
                      <a:pt x="146" y="0"/>
                    </a:lnTo>
                    <a:lnTo>
                      <a:pt x="104" y="26"/>
                    </a:lnTo>
                    <a:lnTo>
                      <a:pt x="89" y="17"/>
                    </a:lnTo>
                    <a:lnTo>
                      <a:pt x="85" y="43"/>
                    </a:lnTo>
                    <a:lnTo>
                      <a:pt x="49" y="28"/>
                    </a:lnTo>
                    <a:lnTo>
                      <a:pt x="0" y="187"/>
                    </a:lnTo>
                    <a:lnTo>
                      <a:pt x="0" y="191"/>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91" name="41">
                <a:extLst>
                  <a:ext uri="{FF2B5EF4-FFF2-40B4-BE49-F238E27FC236}">
                    <a16:creationId xmlns:a16="http://schemas.microsoft.com/office/drawing/2014/main" id="{0198AF4A-C8A4-4FE2-803D-B4CB9A304CDB}"/>
                  </a:ext>
                </a:extLst>
              </p:cNvPr>
              <p:cNvSpPr>
                <a:spLocks/>
              </p:cNvSpPr>
              <p:nvPr/>
            </p:nvSpPr>
            <p:spPr bwMode="gray">
              <a:xfrm>
                <a:off x="5878385" y="3034137"/>
                <a:ext cx="584487" cy="498532"/>
              </a:xfrm>
              <a:custGeom>
                <a:avLst/>
                <a:gdLst>
                  <a:gd name="T0" fmla="*/ 4 w 408"/>
                  <a:gd name="T1" fmla="*/ 159 h 348"/>
                  <a:gd name="T2" fmla="*/ 8 w 408"/>
                  <a:gd name="T3" fmla="*/ 157 h 348"/>
                  <a:gd name="T4" fmla="*/ 68 w 408"/>
                  <a:gd name="T5" fmla="*/ 163 h 348"/>
                  <a:gd name="T6" fmla="*/ 68 w 408"/>
                  <a:gd name="T7" fmla="*/ 193 h 348"/>
                  <a:gd name="T8" fmla="*/ 83 w 408"/>
                  <a:gd name="T9" fmla="*/ 183 h 348"/>
                  <a:gd name="T10" fmla="*/ 110 w 408"/>
                  <a:gd name="T11" fmla="*/ 193 h 348"/>
                  <a:gd name="T12" fmla="*/ 134 w 408"/>
                  <a:gd name="T13" fmla="*/ 253 h 348"/>
                  <a:gd name="T14" fmla="*/ 125 w 408"/>
                  <a:gd name="T15" fmla="*/ 306 h 348"/>
                  <a:gd name="T16" fmla="*/ 159 w 408"/>
                  <a:gd name="T17" fmla="*/ 310 h 348"/>
                  <a:gd name="T18" fmla="*/ 181 w 408"/>
                  <a:gd name="T19" fmla="*/ 348 h 348"/>
                  <a:gd name="T20" fmla="*/ 246 w 408"/>
                  <a:gd name="T21" fmla="*/ 317 h 348"/>
                  <a:gd name="T22" fmla="*/ 306 w 408"/>
                  <a:gd name="T23" fmla="*/ 340 h 348"/>
                  <a:gd name="T24" fmla="*/ 323 w 408"/>
                  <a:gd name="T25" fmla="*/ 338 h 348"/>
                  <a:gd name="T26" fmla="*/ 331 w 408"/>
                  <a:gd name="T27" fmla="*/ 314 h 348"/>
                  <a:gd name="T28" fmla="*/ 385 w 408"/>
                  <a:gd name="T29" fmla="*/ 312 h 348"/>
                  <a:gd name="T30" fmla="*/ 376 w 408"/>
                  <a:gd name="T31" fmla="*/ 268 h 348"/>
                  <a:gd name="T32" fmla="*/ 404 w 408"/>
                  <a:gd name="T33" fmla="*/ 274 h 348"/>
                  <a:gd name="T34" fmla="*/ 408 w 408"/>
                  <a:gd name="T35" fmla="*/ 242 h 348"/>
                  <a:gd name="T36" fmla="*/ 378 w 408"/>
                  <a:gd name="T37" fmla="*/ 208 h 348"/>
                  <a:gd name="T38" fmla="*/ 408 w 408"/>
                  <a:gd name="T39" fmla="*/ 193 h 348"/>
                  <a:gd name="T40" fmla="*/ 399 w 408"/>
                  <a:gd name="T41" fmla="*/ 174 h 348"/>
                  <a:gd name="T42" fmla="*/ 368 w 408"/>
                  <a:gd name="T43" fmla="*/ 172 h 348"/>
                  <a:gd name="T44" fmla="*/ 312 w 408"/>
                  <a:gd name="T45" fmla="*/ 168 h 348"/>
                  <a:gd name="T46" fmla="*/ 297 w 408"/>
                  <a:gd name="T47" fmla="*/ 187 h 348"/>
                  <a:gd name="T48" fmla="*/ 278 w 408"/>
                  <a:gd name="T49" fmla="*/ 151 h 348"/>
                  <a:gd name="T50" fmla="*/ 259 w 408"/>
                  <a:gd name="T51" fmla="*/ 140 h 348"/>
                  <a:gd name="T52" fmla="*/ 246 w 408"/>
                  <a:gd name="T53" fmla="*/ 153 h 348"/>
                  <a:gd name="T54" fmla="*/ 236 w 408"/>
                  <a:gd name="T55" fmla="*/ 115 h 348"/>
                  <a:gd name="T56" fmla="*/ 251 w 408"/>
                  <a:gd name="T57" fmla="*/ 95 h 348"/>
                  <a:gd name="T58" fmla="*/ 234 w 408"/>
                  <a:gd name="T59" fmla="*/ 57 h 348"/>
                  <a:gd name="T60" fmla="*/ 212 w 408"/>
                  <a:gd name="T61" fmla="*/ 49 h 348"/>
                  <a:gd name="T62" fmla="*/ 195 w 408"/>
                  <a:gd name="T63" fmla="*/ 68 h 348"/>
                  <a:gd name="T64" fmla="*/ 155 w 408"/>
                  <a:gd name="T65" fmla="*/ 61 h 348"/>
                  <a:gd name="T66" fmla="*/ 134 w 408"/>
                  <a:gd name="T67" fmla="*/ 21 h 348"/>
                  <a:gd name="T68" fmla="*/ 108 w 408"/>
                  <a:gd name="T69" fmla="*/ 17 h 348"/>
                  <a:gd name="T70" fmla="*/ 115 w 408"/>
                  <a:gd name="T71" fmla="*/ 0 h 348"/>
                  <a:gd name="T72" fmla="*/ 70 w 408"/>
                  <a:gd name="T73" fmla="*/ 8 h 348"/>
                  <a:gd name="T74" fmla="*/ 55 w 408"/>
                  <a:gd name="T75" fmla="*/ 23 h 348"/>
                  <a:gd name="T76" fmla="*/ 61 w 408"/>
                  <a:gd name="T77" fmla="*/ 85 h 348"/>
                  <a:gd name="T78" fmla="*/ 44 w 408"/>
                  <a:gd name="T79" fmla="*/ 85 h 348"/>
                  <a:gd name="T80" fmla="*/ 47 w 408"/>
                  <a:gd name="T81" fmla="*/ 108 h 348"/>
                  <a:gd name="T82" fmla="*/ 0 w 408"/>
                  <a:gd name="T83" fmla="*/ 151 h 348"/>
                  <a:gd name="T84" fmla="*/ 4 w 408"/>
                  <a:gd name="T85" fmla="*/ 15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8" h="348">
                    <a:moveTo>
                      <a:pt x="4" y="159"/>
                    </a:moveTo>
                    <a:lnTo>
                      <a:pt x="8" y="157"/>
                    </a:lnTo>
                    <a:lnTo>
                      <a:pt x="68" y="163"/>
                    </a:lnTo>
                    <a:lnTo>
                      <a:pt x="68" y="193"/>
                    </a:lnTo>
                    <a:lnTo>
                      <a:pt x="83" y="183"/>
                    </a:lnTo>
                    <a:lnTo>
                      <a:pt x="110" y="193"/>
                    </a:lnTo>
                    <a:lnTo>
                      <a:pt x="134" y="253"/>
                    </a:lnTo>
                    <a:lnTo>
                      <a:pt x="125" y="306"/>
                    </a:lnTo>
                    <a:lnTo>
                      <a:pt x="159" y="310"/>
                    </a:lnTo>
                    <a:lnTo>
                      <a:pt x="181" y="348"/>
                    </a:lnTo>
                    <a:lnTo>
                      <a:pt x="246" y="317"/>
                    </a:lnTo>
                    <a:lnTo>
                      <a:pt x="306" y="340"/>
                    </a:lnTo>
                    <a:lnTo>
                      <a:pt x="323" y="338"/>
                    </a:lnTo>
                    <a:lnTo>
                      <a:pt x="331" y="314"/>
                    </a:lnTo>
                    <a:lnTo>
                      <a:pt x="385" y="312"/>
                    </a:lnTo>
                    <a:lnTo>
                      <a:pt x="376" y="268"/>
                    </a:lnTo>
                    <a:lnTo>
                      <a:pt x="404" y="274"/>
                    </a:lnTo>
                    <a:lnTo>
                      <a:pt x="408" y="242"/>
                    </a:lnTo>
                    <a:lnTo>
                      <a:pt x="378" y="208"/>
                    </a:lnTo>
                    <a:lnTo>
                      <a:pt x="408" y="193"/>
                    </a:lnTo>
                    <a:lnTo>
                      <a:pt x="399" y="174"/>
                    </a:lnTo>
                    <a:lnTo>
                      <a:pt x="368" y="172"/>
                    </a:lnTo>
                    <a:lnTo>
                      <a:pt x="312" y="168"/>
                    </a:lnTo>
                    <a:lnTo>
                      <a:pt x="297" y="187"/>
                    </a:lnTo>
                    <a:lnTo>
                      <a:pt x="278" y="151"/>
                    </a:lnTo>
                    <a:lnTo>
                      <a:pt x="259" y="140"/>
                    </a:lnTo>
                    <a:lnTo>
                      <a:pt x="246" y="153"/>
                    </a:lnTo>
                    <a:lnTo>
                      <a:pt x="236" y="115"/>
                    </a:lnTo>
                    <a:lnTo>
                      <a:pt x="251" y="95"/>
                    </a:lnTo>
                    <a:lnTo>
                      <a:pt x="234" y="57"/>
                    </a:lnTo>
                    <a:lnTo>
                      <a:pt x="212" y="49"/>
                    </a:lnTo>
                    <a:lnTo>
                      <a:pt x="195" y="68"/>
                    </a:lnTo>
                    <a:lnTo>
                      <a:pt x="155" y="61"/>
                    </a:lnTo>
                    <a:lnTo>
                      <a:pt x="134" y="21"/>
                    </a:lnTo>
                    <a:lnTo>
                      <a:pt x="108" y="17"/>
                    </a:lnTo>
                    <a:lnTo>
                      <a:pt x="115" y="0"/>
                    </a:lnTo>
                    <a:lnTo>
                      <a:pt x="70" y="8"/>
                    </a:lnTo>
                    <a:lnTo>
                      <a:pt x="55" y="23"/>
                    </a:lnTo>
                    <a:lnTo>
                      <a:pt x="61" y="85"/>
                    </a:lnTo>
                    <a:lnTo>
                      <a:pt x="44" y="85"/>
                    </a:lnTo>
                    <a:lnTo>
                      <a:pt x="47" y="108"/>
                    </a:lnTo>
                    <a:lnTo>
                      <a:pt x="0" y="151"/>
                    </a:lnTo>
                    <a:lnTo>
                      <a:pt x="4" y="159"/>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92" name="28">
                <a:extLst>
                  <a:ext uri="{FF2B5EF4-FFF2-40B4-BE49-F238E27FC236}">
                    <a16:creationId xmlns:a16="http://schemas.microsoft.com/office/drawing/2014/main" id="{39363489-51D6-4765-893B-449FB179BFC5}"/>
                  </a:ext>
                </a:extLst>
              </p:cNvPr>
              <p:cNvSpPr>
                <a:spLocks/>
              </p:cNvSpPr>
              <p:nvPr/>
            </p:nvSpPr>
            <p:spPr bwMode="gray">
              <a:xfrm>
                <a:off x="5951445" y="2615829"/>
                <a:ext cx="429769" cy="515724"/>
              </a:xfrm>
              <a:custGeom>
                <a:avLst/>
                <a:gdLst>
                  <a:gd name="T0" fmla="*/ 2 w 300"/>
                  <a:gd name="T1" fmla="*/ 230 h 360"/>
                  <a:gd name="T2" fmla="*/ 6 w 300"/>
                  <a:gd name="T3" fmla="*/ 268 h 360"/>
                  <a:gd name="T4" fmla="*/ 36 w 300"/>
                  <a:gd name="T5" fmla="*/ 285 h 360"/>
                  <a:gd name="T6" fmla="*/ 19 w 300"/>
                  <a:gd name="T7" fmla="*/ 300 h 360"/>
                  <a:gd name="T8" fmla="*/ 64 w 300"/>
                  <a:gd name="T9" fmla="*/ 292 h 360"/>
                  <a:gd name="T10" fmla="*/ 57 w 300"/>
                  <a:gd name="T11" fmla="*/ 309 h 360"/>
                  <a:gd name="T12" fmla="*/ 83 w 300"/>
                  <a:gd name="T13" fmla="*/ 313 h 360"/>
                  <a:gd name="T14" fmla="*/ 104 w 300"/>
                  <a:gd name="T15" fmla="*/ 353 h 360"/>
                  <a:gd name="T16" fmla="*/ 144 w 300"/>
                  <a:gd name="T17" fmla="*/ 360 h 360"/>
                  <a:gd name="T18" fmla="*/ 161 w 300"/>
                  <a:gd name="T19" fmla="*/ 341 h 360"/>
                  <a:gd name="T20" fmla="*/ 183 w 300"/>
                  <a:gd name="T21" fmla="*/ 349 h 360"/>
                  <a:gd name="T22" fmla="*/ 185 w 300"/>
                  <a:gd name="T23" fmla="*/ 341 h 360"/>
                  <a:gd name="T24" fmla="*/ 215 w 300"/>
                  <a:gd name="T25" fmla="*/ 317 h 360"/>
                  <a:gd name="T26" fmla="*/ 268 w 300"/>
                  <a:gd name="T27" fmla="*/ 315 h 360"/>
                  <a:gd name="T28" fmla="*/ 293 w 300"/>
                  <a:gd name="T29" fmla="*/ 283 h 360"/>
                  <a:gd name="T30" fmla="*/ 300 w 300"/>
                  <a:gd name="T31" fmla="*/ 243 h 360"/>
                  <a:gd name="T32" fmla="*/ 285 w 300"/>
                  <a:gd name="T33" fmla="*/ 179 h 360"/>
                  <a:gd name="T34" fmla="*/ 257 w 300"/>
                  <a:gd name="T35" fmla="*/ 175 h 360"/>
                  <a:gd name="T36" fmla="*/ 251 w 300"/>
                  <a:gd name="T37" fmla="*/ 143 h 360"/>
                  <a:gd name="T38" fmla="*/ 208 w 300"/>
                  <a:gd name="T39" fmla="*/ 103 h 360"/>
                  <a:gd name="T40" fmla="*/ 208 w 300"/>
                  <a:gd name="T41" fmla="*/ 39 h 360"/>
                  <a:gd name="T42" fmla="*/ 187 w 300"/>
                  <a:gd name="T43" fmla="*/ 0 h 360"/>
                  <a:gd name="T44" fmla="*/ 144 w 300"/>
                  <a:gd name="T45" fmla="*/ 64 h 360"/>
                  <a:gd name="T46" fmla="*/ 93 w 300"/>
                  <a:gd name="T47" fmla="*/ 54 h 360"/>
                  <a:gd name="T48" fmla="*/ 17 w 300"/>
                  <a:gd name="T49" fmla="*/ 94 h 360"/>
                  <a:gd name="T50" fmla="*/ 53 w 300"/>
                  <a:gd name="T51" fmla="*/ 179 h 360"/>
                  <a:gd name="T52" fmla="*/ 0 w 300"/>
                  <a:gd name="T53" fmla="*/ 230 h 360"/>
                  <a:gd name="T54" fmla="*/ 2 w 300"/>
                  <a:gd name="T55" fmla="*/ 23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0" h="360">
                    <a:moveTo>
                      <a:pt x="2" y="230"/>
                    </a:moveTo>
                    <a:lnTo>
                      <a:pt x="6" y="268"/>
                    </a:lnTo>
                    <a:lnTo>
                      <a:pt x="36" y="285"/>
                    </a:lnTo>
                    <a:lnTo>
                      <a:pt x="19" y="300"/>
                    </a:lnTo>
                    <a:lnTo>
                      <a:pt x="64" y="292"/>
                    </a:lnTo>
                    <a:lnTo>
                      <a:pt x="57" y="309"/>
                    </a:lnTo>
                    <a:lnTo>
                      <a:pt x="83" y="313"/>
                    </a:lnTo>
                    <a:lnTo>
                      <a:pt x="104" y="353"/>
                    </a:lnTo>
                    <a:lnTo>
                      <a:pt x="144" y="360"/>
                    </a:lnTo>
                    <a:lnTo>
                      <a:pt x="161" y="341"/>
                    </a:lnTo>
                    <a:lnTo>
                      <a:pt x="183" y="349"/>
                    </a:lnTo>
                    <a:lnTo>
                      <a:pt x="185" y="341"/>
                    </a:lnTo>
                    <a:lnTo>
                      <a:pt x="215" y="317"/>
                    </a:lnTo>
                    <a:lnTo>
                      <a:pt x="268" y="315"/>
                    </a:lnTo>
                    <a:lnTo>
                      <a:pt x="293" y="283"/>
                    </a:lnTo>
                    <a:lnTo>
                      <a:pt x="300" y="243"/>
                    </a:lnTo>
                    <a:lnTo>
                      <a:pt x="285" y="179"/>
                    </a:lnTo>
                    <a:lnTo>
                      <a:pt x="257" y="175"/>
                    </a:lnTo>
                    <a:lnTo>
                      <a:pt x="251" y="143"/>
                    </a:lnTo>
                    <a:lnTo>
                      <a:pt x="208" y="103"/>
                    </a:lnTo>
                    <a:lnTo>
                      <a:pt x="208" y="39"/>
                    </a:lnTo>
                    <a:lnTo>
                      <a:pt x="187" y="0"/>
                    </a:lnTo>
                    <a:lnTo>
                      <a:pt x="144" y="64"/>
                    </a:lnTo>
                    <a:lnTo>
                      <a:pt x="93" y="54"/>
                    </a:lnTo>
                    <a:lnTo>
                      <a:pt x="17" y="94"/>
                    </a:lnTo>
                    <a:lnTo>
                      <a:pt x="53" y="179"/>
                    </a:lnTo>
                    <a:lnTo>
                      <a:pt x="0" y="230"/>
                    </a:lnTo>
                    <a:lnTo>
                      <a:pt x="2" y="230"/>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93" name="18">
                <a:extLst>
                  <a:ext uri="{FF2B5EF4-FFF2-40B4-BE49-F238E27FC236}">
                    <a16:creationId xmlns:a16="http://schemas.microsoft.com/office/drawing/2014/main" id="{478F81ED-28C5-40D6-8A27-0A0E672377B3}"/>
                  </a:ext>
                </a:extLst>
              </p:cNvPr>
              <p:cNvSpPr>
                <a:spLocks/>
              </p:cNvSpPr>
              <p:nvPr/>
            </p:nvSpPr>
            <p:spPr bwMode="gray">
              <a:xfrm>
                <a:off x="6292396" y="3310623"/>
                <a:ext cx="465585" cy="630329"/>
              </a:xfrm>
              <a:custGeom>
                <a:avLst/>
                <a:gdLst>
                  <a:gd name="T0" fmla="*/ 2 w 325"/>
                  <a:gd name="T1" fmla="*/ 177 h 440"/>
                  <a:gd name="T2" fmla="*/ 17 w 325"/>
                  <a:gd name="T3" fmla="*/ 147 h 440"/>
                  <a:gd name="T4" fmla="*/ 34 w 325"/>
                  <a:gd name="T5" fmla="*/ 145 h 440"/>
                  <a:gd name="T6" fmla="*/ 42 w 325"/>
                  <a:gd name="T7" fmla="*/ 121 h 440"/>
                  <a:gd name="T8" fmla="*/ 96 w 325"/>
                  <a:gd name="T9" fmla="*/ 119 h 440"/>
                  <a:gd name="T10" fmla="*/ 87 w 325"/>
                  <a:gd name="T11" fmla="*/ 75 h 440"/>
                  <a:gd name="T12" fmla="*/ 115 w 325"/>
                  <a:gd name="T13" fmla="*/ 81 h 440"/>
                  <a:gd name="T14" fmla="*/ 119 w 325"/>
                  <a:gd name="T15" fmla="*/ 49 h 440"/>
                  <a:gd name="T16" fmla="*/ 89 w 325"/>
                  <a:gd name="T17" fmla="*/ 15 h 440"/>
                  <a:gd name="T18" fmla="*/ 119 w 325"/>
                  <a:gd name="T19" fmla="*/ 0 h 440"/>
                  <a:gd name="T20" fmla="*/ 193 w 325"/>
                  <a:gd name="T21" fmla="*/ 19 h 440"/>
                  <a:gd name="T22" fmla="*/ 223 w 325"/>
                  <a:gd name="T23" fmla="*/ 53 h 440"/>
                  <a:gd name="T24" fmla="*/ 240 w 325"/>
                  <a:gd name="T25" fmla="*/ 34 h 440"/>
                  <a:gd name="T26" fmla="*/ 259 w 325"/>
                  <a:gd name="T27" fmla="*/ 49 h 440"/>
                  <a:gd name="T28" fmla="*/ 274 w 325"/>
                  <a:gd name="T29" fmla="*/ 41 h 440"/>
                  <a:gd name="T30" fmla="*/ 289 w 325"/>
                  <a:gd name="T31" fmla="*/ 72 h 440"/>
                  <a:gd name="T32" fmla="*/ 274 w 325"/>
                  <a:gd name="T33" fmla="*/ 109 h 440"/>
                  <a:gd name="T34" fmla="*/ 302 w 325"/>
                  <a:gd name="T35" fmla="*/ 136 h 440"/>
                  <a:gd name="T36" fmla="*/ 325 w 325"/>
                  <a:gd name="T37" fmla="*/ 219 h 440"/>
                  <a:gd name="T38" fmla="*/ 310 w 325"/>
                  <a:gd name="T39" fmla="*/ 304 h 440"/>
                  <a:gd name="T40" fmla="*/ 283 w 325"/>
                  <a:gd name="T41" fmla="*/ 306 h 440"/>
                  <a:gd name="T42" fmla="*/ 266 w 325"/>
                  <a:gd name="T43" fmla="*/ 330 h 440"/>
                  <a:gd name="T44" fmla="*/ 229 w 325"/>
                  <a:gd name="T45" fmla="*/ 325 h 440"/>
                  <a:gd name="T46" fmla="*/ 198 w 325"/>
                  <a:gd name="T47" fmla="*/ 353 h 440"/>
                  <a:gd name="T48" fmla="*/ 208 w 325"/>
                  <a:gd name="T49" fmla="*/ 394 h 440"/>
                  <a:gd name="T50" fmla="*/ 144 w 325"/>
                  <a:gd name="T51" fmla="*/ 406 h 440"/>
                  <a:gd name="T52" fmla="*/ 119 w 325"/>
                  <a:gd name="T53" fmla="*/ 440 h 440"/>
                  <a:gd name="T54" fmla="*/ 93 w 325"/>
                  <a:gd name="T55" fmla="*/ 438 h 440"/>
                  <a:gd name="T56" fmla="*/ 100 w 325"/>
                  <a:gd name="T57" fmla="*/ 357 h 440"/>
                  <a:gd name="T58" fmla="*/ 70 w 325"/>
                  <a:gd name="T59" fmla="*/ 323 h 440"/>
                  <a:gd name="T60" fmla="*/ 83 w 325"/>
                  <a:gd name="T61" fmla="*/ 311 h 440"/>
                  <a:gd name="T62" fmla="*/ 66 w 325"/>
                  <a:gd name="T63" fmla="*/ 289 h 440"/>
                  <a:gd name="T64" fmla="*/ 93 w 325"/>
                  <a:gd name="T65" fmla="*/ 262 h 440"/>
                  <a:gd name="T66" fmla="*/ 72 w 325"/>
                  <a:gd name="T67" fmla="*/ 251 h 440"/>
                  <a:gd name="T68" fmla="*/ 83 w 325"/>
                  <a:gd name="T69" fmla="*/ 228 h 440"/>
                  <a:gd name="T70" fmla="*/ 55 w 325"/>
                  <a:gd name="T71" fmla="*/ 181 h 440"/>
                  <a:gd name="T72" fmla="*/ 0 w 325"/>
                  <a:gd name="T73" fmla="*/ 179 h 440"/>
                  <a:gd name="T74" fmla="*/ 2 w 325"/>
                  <a:gd name="T75" fmla="*/ 177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5" h="440">
                    <a:moveTo>
                      <a:pt x="2" y="177"/>
                    </a:moveTo>
                    <a:lnTo>
                      <a:pt x="17" y="147"/>
                    </a:lnTo>
                    <a:lnTo>
                      <a:pt x="34" y="145"/>
                    </a:lnTo>
                    <a:lnTo>
                      <a:pt x="42" y="121"/>
                    </a:lnTo>
                    <a:lnTo>
                      <a:pt x="96" y="119"/>
                    </a:lnTo>
                    <a:lnTo>
                      <a:pt x="87" y="75"/>
                    </a:lnTo>
                    <a:lnTo>
                      <a:pt x="115" y="81"/>
                    </a:lnTo>
                    <a:lnTo>
                      <a:pt x="119" y="49"/>
                    </a:lnTo>
                    <a:lnTo>
                      <a:pt x="89" y="15"/>
                    </a:lnTo>
                    <a:lnTo>
                      <a:pt x="119" y="0"/>
                    </a:lnTo>
                    <a:lnTo>
                      <a:pt x="193" y="19"/>
                    </a:lnTo>
                    <a:lnTo>
                      <a:pt x="223" y="53"/>
                    </a:lnTo>
                    <a:lnTo>
                      <a:pt x="240" y="34"/>
                    </a:lnTo>
                    <a:lnTo>
                      <a:pt x="259" y="49"/>
                    </a:lnTo>
                    <a:lnTo>
                      <a:pt x="274" y="41"/>
                    </a:lnTo>
                    <a:lnTo>
                      <a:pt x="289" y="72"/>
                    </a:lnTo>
                    <a:lnTo>
                      <a:pt x="274" y="109"/>
                    </a:lnTo>
                    <a:lnTo>
                      <a:pt x="302" y="136"/>
                    </a:lnTo>
                    <a:lnTo>
                      <a:pt x="325" y="219"/>
                    </a:lnTo>
                    <a:lnTo>
                      <a:pt x="310" y="304"/>
                    </a:lnTo>
                    <a:lnTo>
                      <a:pt x="283" y="306"/>
                    </a:lnTo>
                    <a:lnTo>
                      <a:pt x="266" y="330"/>
                    </a:lnTo>
                    <a:lnTo>
                      <a:pt x="229" y="325"/>
                    </a:lnTo>
                    <a:lnTo>
                      <a:pt x="198" y="353"/>
                    </a:lnTo>
                    <a:lnTo>
                      <a:pt x="208" y="394"/>
                    </a:lnTo>
                    <a:lnTo>
                      <a:pt x="144" y="406"/>
                    </a:lnTo>
                    <a:lnTo>
                      <a:pt x="119" y="440"/>
                    </a:lnTo>
                    <a:lnTo>
                      <a:pt x="93" y="438"/>
                    </a:lnTo>
                    <a:lnTo>
                      <a:pt x="100" y="357"/>
                    </a:lnTo>
                    <a:lnTo>
                      <a:pt x="70" y="323"/>
                    </a:lnTo>
                    <a:lnTo>
                      <a:pt x="83" y="311"/>
                    </a:lnTo>
                    <a:lnTo>
                      <a:pt x="66" y="289"/>
                    </a:lnTo>
                    <a:lnTo>
                      <a:pt x="93" y="262"/>
                    </a:lnTo>
                    <a:lnTo>
                      <a:pt x="72" y="251"/>
                    </a:lnTo>
                    <a:lnTo>
                      <a:pt x="83" y="228"/>
                    </a:lnTo>
                    <a:lnTo>
                      <a:pt x="55" y="181"/>
                    </a:lnTo>
                    <a:lnTo>
                      <a:pt x="0" y="179"/>
                    </a:lnTo>
                    <a:lnTo>
                      <a:pt x="2" y="177"/>
                    </a:lnTo>
                  </a:path>
                </a:pathLst>
              </a:custGeom>
              <a:solidFill>
                <a:schemeClr val="bg2">
                  <a:lumMod val="75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94" name="36">
                <a:extLst>
                  <a:ext uri="{FF2B5EF4-FFF2-40B4-BE49-F238E27FC236}">
                    <a16:creationId xmlns:a16="http://schemas.microsoft.com/office/drawing/2014/main" id="{233AE613-173D-4312-A1FA-A8065CDF1646}"/>
                  </a:ext>
                </a:extLst>
              </p:cNvPr>
              <p:cNvSpPr>
                <a:spLocks/>
              </p:cNvSpPr>
              <p:nvPr/>
            </p:nvSpPr>
            <p:spPr bwMode="gray">
              <a:xfrm>
                <a:off x="5962906" y="3488262"/>
                <a:ext cx="472746" cy="484207"/>
              </a:xfrm>
              <a:custGeom>
                <a:avLst/>
                <a:gdLst>
                  <a:gd name="T0" fmla="*/ 2 w 330"/>
                  <a:gd name="T1" fmla="*/ 191 h 338"/>
                  <a:gd name="T2" fmla="*/ 9 w 330"/>
                  <a:gd name="T3" fmla="*/ 244 h 338"/>
                  <a:gd name="T4" fmla="*/ 68 w 330"/>
                  <a:gd name="T5" fmla="*/ 278 h 338"/>
                  <a:gd name="T6" fmla="*/ 68 w 330"/>
                  <a:gd name="T7" fmla="*/ 299 h 338"/>
                  <a:gd name="T8" fmla="*/ 83 w 330"/>
                  <a:gd name="T9" fmla="*/ 306 h 338"/>
                  <a:gd name="T10" fmla="*/ 75 w 330"/>
                  <a:gd name="T11" fmla="*/ 323 h 338"/>
                  <a:gd name="T12" fmla="*/ 119 w 330"/>
                  <a:gd name="T13" fmla="*/ 318 h 338"/>
                  <a:gd name="T14" fmla="*/ 136 w 330"/>
                  <a:gd name="T15" fmla="*/ 338 h 338"/>
                  <a:gd name="T16" fmla="*/ 162 w 330"/>
                  <a:gd name="T17" fmla="*/ 310 h 338"/>
                  <a:gd name="T18" fmla="*/ 211 w 330"/>
                  <a:gd name="T19" fmla="*/ 325 h 338"/>
                  <a:gd name="T20" fmla="*/ 230 w 330"/>
                  <a:gd name="T21" fmla="*/ 301 h 338"/>
                  <a:gd name="T22" fmla="*/ 323 w 330"/>
                  <a:gd name="T23" fmla="*/ 314 h 338"/>
                  <a:gd name="T24" fmla="*/ 330 w 330"/>
                  <a:gd name="T25" fmla="*/ 233 h 338"/>
                  <a:gd name="T26" fmla="*/ 300 w 330"/>
                  <a:gd name="T27" fmla="*/ 199 h 338"/>
                  <a:gd name="T28" fmla="*/ 313 w 330"/>
                  <a:gd name="T29" fmla="*/ 187 h 338"/>
                  <a:gd name="T30" fmla="*/ 296 w 330"/>
                  <a:gd name="T31" fmla="*/ 165 h 338"/>
                  <a:gd name="T32" fmla="*/ 323 w 330"/>
                  <a:gd name="T33" fmla="*/ 138 h 338"/>
                  <a:gd name="T34" fmla="*/ 302 w 330"/>
                  <a:gd name="T35" fmla="*/ 127 h 338"/>
                  <a:gd name="T36" fmla="*/ 313 w 330"/>
                  <a:gd name="T37" fmla="*/ 104 h 338"/>
                  <a:gd name="T38" fmla="*/ 285 w 330"/>
                  <a:gd name="T39" fmla="*/ 57 h 338"/>
                  <a:gd name="T40" fmla="*/ 230 w 330"/>
                  <a:gd name="T41" fmla="*/ 55 h 338"/>
                  <a:gd name="T42" fmla="*/ 232 w 330"/>
                  <a:gd name="T43" fmla="*/ 53 h 338"/>
                  <a:gd name="T44" fmla="*/ 247 w 330"/>
                  <a:gd name="T45" fmla="*/ 23 h 338"/>
                  <a:gd name="T46" fmla="*/ 187 w 330"/>
                  <a:gd name="T47" fmla="*/ 0 h 338"/>
                  <a:gd name="T48" fmla="*/ 122 w 330"/>
                  <a:gd name="T49" fmla="*/ 31 h 338"/>
                  <a:gd name="T50" fmla="*/ 126 w 330"/>
                  <a:gd name="T51" fmla="*/ 59 h 338"/>
                  <a:gd name="T52" fmla="*/ 100 w 330"/>
                  <a:gd name="T53" fmla="*/ 91 h 338"/>
                  <a:gd name="T54" fmla="*/ 75 w 330"/>
                  <a:gd name="T55" fmla="*/ 85 h 338"/>
                  <a:gd name="T56" fmla="*/ 49 w 330"/>
                  <a:gd name="T57" fmla="*/ 99 h 338"/>
                  <a:gd name="T58" fmla="*/ 34 w 330"/>
                  <a:gd name="T59" fmla="*/ 184 h 338"/>
                  <a:gd name="T60" fmla="*/ 0 w 330"/>
                  <a:gd name="T61" fmla="*/ 187 h 338"/>
                  <a:gd name="T62" fmla="*/ 2 w 330"/>
                  <a:gd name="T63" fmla="*/ 19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0" h="338">
                    <a:moveTo>
                      <a:pt x="2" y="191"/>
                    </a:moveTo>
                    <a:lnTo>
                      <a:pt x="9" y="244"/>
                    </a:lnTo>
                    <a:lnTo>
                      <a:pt x="68" y="278"/>
                    </a:lnTo>
                    <a:lnTo>
                      <a:pt x="68" y="299"/>
                    </a:lnTo>
                    <a:lnTo>
                      <a:pt x="83" y="306"/>
                    </a:lnTo>
                    <a:lnTo>
                      <a:pt x="75" y="323"/>
                    </a:lnTo>
                    <a:lnTo>
                      <a:pt x="119" y="318"/>
                    </a:lnTo>
                    <a:lnTo>
                      <a:pt x="136" y="338"/>
                    </a:lnTo>
                    <a:lnTo>
                      <a:pt x="162" y="310"/>
                    </a:lnTo>
                    <a:lnTo>
                      <a:pt x="211" y="325"/>
                    </a:lnTo>
                    <a:lnTo>
                      <a:pt x="230" y="301"/>
                    </a:lnTo>
                    <a:lnTo>
                      <a:pt x="323" y="314"/>
                    </a:lnTo>
                    <a:lnTo>
                      <a:pt x="330" y="233"/>
                    </a:lnTo>
                    <a:lnTo>
                      <a:pt x="300" y="199"/>
                    </a:lnTo>
                    <a:lnTo>
                      <a:pt x="313" y="187"/>
                    </a:lnTo>
                    <a:lnTo>
                      <a:pt x="296" y="165"/>
                    </a:lnTo>
                    <a:lnTo>
                      <a:pt x="323" y="138"/>
                    </a:lnTo>
                    <a:lnTo>
                      <a:pt x="302" y="127"/>
                    </a:lnTo>
                    <a:lnTo>
                      <a:pt x="313" y="104"/>
                    </a:lnTo>
                    <a:lnTo>
                      <a:pt x="285" y="57"/>
                    </a:lnTo>
                    <a:lnTo>
                      <a:pt x="230" y="55"/>
                    </a:lnTo>
                    <a:lnTo>
                      <a:pt x="232" y="53"/>
                    </a:lnTo>
                    <a:lnTo>
                      <a:pt x="247" y="23"/>
                    </a:lnTo>
                    <a:lnTo>
                      <a:pt x="187" y="0"/>
                    </a:lnTo>
                    <a:lnTo>
                      <a:pt x="122" y="31"/>
                    </a:lnTo>
                    <a:lnTo>
                      <a:pt x="126" y="59"/>
                    </a:lnTo>
                    <a:lnTo>
                      <a:pt x="100" y="91"/>
                    </a:lnTo>
                    <a:lnTo>
                      <a:pt x="75" y="85"/>
                    </a:lnTo>
                    <a:lnTo>
                      <a:pt x="49" y="99"/>
                    </a:lnTo>
                    <a:lnTo>
                      <a:pt x="34" y="184"/>
                    </a:lnTo>
                    <a:lnTo>
                      <a:pt x="0" y="187"/>
                    </a:lnTo>
                    <a:lnTo>
                      <a:pt x="2" y="191"/>
                    </a:lnTo>
                  </a:path>
                </a:pathLst>
              </a:custGeom>
              <a:solidFill>
                <a:schemeClr val="bg2">
                  <a:lumMod val="75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95" name="45">
                <a:extLst>
                  <a:ext uri="{FF2B5EF4-FFF2-40B4-BE49-F238E27FC236}">
                    <a16:creationId xmlns:a16="http://schemas.microsoft.com/office/drawing/2014/main" id="{B0BB53B2-A58D-4F60-982C-88B82DD59241}"/>
                  </a:ext>
                </a:extLst>
              </p:cNvPr>
              <p:cNvSpPr>
                <a:spLocks/>
              </p:cNvSpPr>
              <p:nvPr/>
            </p:nvSpPr>
            <p:spPr bwMode="gray">
              <a:xfrm>
                <a:off x="6213605" y="2936723"/>
                <a:ext cx="562998" cy="449825"/>
              </a:xfrm>
              <a:custGeom>
                <a:avLst/>
                <a:gdLst>
                  <a:gd name="T0" fmla="*/ 2 w 393"/>
                  <a:gd name="T1" fmla="*/ 117 h 314"/>
                  <a:gd name="T2" fmla="*/ 32 w 393"/>
                  <a:gd name="T3" fmla="*/ 93 h 314"/>
                  <a:gd name="T4" fmla="*/ 85 w 393"/>
                  <a:gd name="T5" fmla="*/ 91 h 314"/>
                  <a:gd name="T6" fmla="*/ 110 w 393"/>
                  <a:gd name="T7" fmla="*/ 59 h 314"/>
                  <a:gd name="T8" fmla="*/ 117 w 393"/>
                  <a:gd name="T9" fmla="*/ 19 h 314"/>
                  <a:gd name="T10" fmla="*/ 170 w 393"/>
                  <a:gd name="T11" fmla="*/ 0 h 314"/>
                  <a:gd name="T12" fmla="*/ 178 w 393"/>
                  <a:gd name="T13" fmla="*/ 15 h 314"/>
                  <a:gd name="T14" fmla="*/ 216 w 393"/>
                  <a:gd name="T15" fmla="*/ 8 h 314"/>
                  <a:gd name="T16" fmla="*/ 246 w 393"/>
                  <a:gd name="T17" fmla="*/ 53 h 314"/>
                  <a:gd name="T18" fmla="*/ 231 w 393"/>
                  <a:gd name="T19" fmla="*/ 78 h 314"/>
                  <a:gd name="T20" fmla="*/ 348 w 393"/>
                  <a:gd name="T21" fmla="*/ 66 h 314"/>
                  <a:gd name="T22" fmla="*/ 370 w 393"/>
                  <a:gd name="T23" fmla="*/ 76 h 314"/>
                  <a:gd name="T24" fmla="*/ 393 w 393"/>
                  <a:gd name="T25" fmla="*/ 138 h 314"/>
                  <a:gd name="T26" fmla="*/ 363 w 393"/>
                  <a:gd name="T27" fmla="*/ 166 h 314"/>
                  <a:gd name="T28" fmla="*/ 367 w 393"/>
                  <a:gd name="T29" fmla="*/ 204 h 314"/>
                  <a:gd name="T30" fmla="*/ 325 w 393"/>
                  <a:gd name="T31" fmla="*/ 225 h 314"/>
                  <a:gd name="T32" fmla="*/ 325 w 393"/>
                  <a:gd name="T33" fmla="*/ 229 h 314"/>
                  <a:gd name="T34" fmla="*/ 355 w 393"/>
                  <a:gd name="T35" fmla="*/ 282 h 314"/>
                  <a:gd name="T36" fmla="*/ 327 w 393"/>
                  <a:gd name="T37" fmla="*/ 291 h 314"/>
                  <a:gd name="T38" fmla="*/ 323 w 393"/>
                  <a:gd name="T39" fmla="*/ 291 h 314"/>
                  <a:gd name="T40" fmla="*/ 329 w 393"/>
                  <a:gd name="T41" fmla="*/ 302 h 314"/>
                  <a:gd name="T42" fmla="*/ 314 w 393"/>
                  <a:gd name="T43" fmla="*/ 310 h 314"/>
                  <a:gd name="T44" fmla="*/ 295 w 393"/>
                  <a:gd name="T45" fmla="*/ 295 h 314"/>
                  <a:gd name="T46" fmla="*/ 278 w 393"/>
                  <a:gd name="T47" fmla="*/ 314 h 314"/>
                  <a:gd name="T48" fmla="*/ 248 w 393"/>
                  <a:gd name="T49" fmla="*/ 280 h 314"/>
                  <a:gd name="T50" fmla="*/ 174 w 393"/>
                  <a:gd name="T51" fmla="*/ 261 h 314"/>
                  <a:gd name="T52" fmla="*/ 165 w 393"/>
                  <a:gd name="T53" fmla="*/ 242 h 314"/>
                  <a:gd name="T54" fmla="*/ 134 w 393"/>
                  <a:gd name="T55" fmla="*/ 240 h 314"/>
                  <a:gd name="T56" fmla="*/ 78 w 393"/>
                  <a:gd name="T57" fmla="*/ 236 h 314"/>
                  <a:gd name="T58" fmla="*/ 63 w 393"/>
                  <a:gd name="T59" fmla="*/ 255 h 314"/>
                  <a:gd name="T60" fmla="*/ 44 w 393"/>
                  <a:gd name="T61" fmla="*/ 219 h 314"/>
                  <a:gd name="T62" fmla="*/ 25 w 393"/>
                  <a:gd name="T63" fmla="*/ 208 h 314"/>
                  <a:gd name="T64" fmla="*/ 12 w 393"/>
                  <a:gd name="T65" fmla="*/ 221 h 314"/>
                  <a:gd name="T66" fmla="*/ 2 w 393"/>
                  <a:gd name="T67" fmla="*/ 183 h 314"/>
                  <a:gd name="T68" fmla="*/ 17 w 393"/>
                  <a:gd name="T69" fmla="*/ 163 h 314"/>
                  <a:gd name="T70" fmla="*/ 0 w 393"/>
                  <a:gd name="T71" fmla="*/ 125 h 314"/>
                  <a:gd name="T72" fmla="*/ 2 w 393"/>
                  <a:gd name="T73" fmla="*/ 11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3" h="314">
                    <a:moveTo>
                      <a:pt x="2" y="117"/>
                    </a:moveTo>
                    <a:lnTo>
                      <a:pt x="32" y="93"/>
                    </a:lnTo>
                    <a:lnTo>
                      <a:pt x="85" y="91"/>
                    </a:lnTo>
                    <a:lnTo>
                      <a:pt x="110" y="59"/>
                    </a:lnTo>
                    <a:lnTo>
                      <a:pt x="117" y="19"/>
                    </a:lnTo>
                    <a:lnTo>
                      <a:pt x="170" y="0"/>
                    </a:lnTo>
                    <a:lnTo>
                      <a:pt x="178" y="15"/>
                    </a:lnTo>
                    <a:lnTo>
                      <a:pt x="216" y="8"/>
                    </a:lnTo>
                    <a:lnTo>
                      <a:pt x="246" y="53"/>
                    </a:lnTo>
                    <a:lnTo>
                      <a:pt x="231" y="78"/>
                    </a:lnTo>
                    <a:lnTo>
                      <a:pt x="348" y="66"/>
                    </a:lnTo>
                    <a:lnTo>
                      <a:pt x="370" y="76"/>
                    </a:lnTo>
                    <a:lnTo>
                      <a:pt x="393" y="138"/>
                    </a:lnTo>
                    <a:lnTo>
                      <a:pt x="363" y="166"/>
                    </a:lnTo>
                    <a:lnTo>
                      <a:pt x="367" y="204"/>
                    </a:lnTo>
                    <a:lnTo>
                      <a:pt x="325" y="225"/>
                    </a:lnTo>
                    <a:lnTo>
                      <a:pt x="325" y="229"/>
                    </a:lnTo>
                    <a:lnTo>
                      <a:pt x="355" y="282"/>
                    </a:lnTo>
                    <a:lnTo>
                      <a:pt x="327" y="291"/>
                    </a:lnTo>
                    <a:lnTo>
                      <a:pt x="323" y="291"/>
                    </a:lnTo>
                    <a:lnTo>
                      <a:pt x="329" y="302"/>
                    </a:lnTo>
                    <a:lnTo>
                      <a:pt x="314" y="310"/>
                    </a:lnTo>
                    <a:lnTo>
                      <a:pt x="295" y="295"/>
                    </a:lnTo>
                    <a:lnTo>
                      <a:pt x="278" y="314"/>
                    </a:lnTo>
                    <a:lnTo>
                      <a:pt x="248" y="280"/>
                    </a:lnTo>
                    <a:lnTo>
                      <a:pt x="174" y="261"/>
                    </a:lnTo>
                    <a:lnTo>
                      <a:pt x="165" y="242"/>
                    </a:lnTo>
                    <a:lnTo>
                      <a:pt x="134" y="240"/>
                    </a:lnTo>
                    <a:lnTo>
                      <a:pt x="78" y="236"/>
                    </a:lnTo>
                    <a:lnTo>
                      <a:pt x="63" y="255"/>
                    </a:lnTo>
                    <a:lnTo>
                      <a:pt x="44" y="219"/>
                    </a:lnTo>
                    <a:lnTo>
                      <a:pt x="25" y="208"/>
                    </a:lnTo>
                    <a:lnTo>
                      <a:pt x="12" y="221"/>
                    </a:lnTo>
                    <a:lnTo>
                      <a:pt x="2" y="183"/>
                    </a:lnTo>
                    <a:lnTo>
                      <a:pt x="17" y="163"/>
                    </a:lnTo>
                    <a:lnTo>
                      <a:pt x="0" y="125"/>
                    </a:lnTo>
                    <a:lnTo>
                      <a:pt x="2" y="117"/>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grpSp>
        <p:grpSp>
          <p:nvGrpSpPr>
            <p:cNvPr id="161" name="Centre (N° Départements)">
              <a:extLst>
                <a:ext uri="{FF2B5EF4-FFF2-40B4-BE49-F238E27FC236}">
                  <a16:creationId xmlns:a16="http://schemas.microsoft.com/office/drawing/2014/main" id="{EB93956E-2589-4997-8929-85F4F06C8CC4}"/>
                </a:ext>
              </a:extLst>
            </p:cNvPr>
            <p:cNvGrpSpPr/>
            <p:nvPr/>
          </p:nvGrpSpPr>
          <p:grpSpPr>
            <a:xfrm>
              <a:off x="6567375" y="2627861"/>
              <a:ext cx="861001" cy="1031961"/>
              <a:chOff x="5813919" y="2797246"/>
              <a:chExt cx="861001" cy="1031961"/>
            </a:xfrm>
          </p:grpSpPr>
          <p:sp>
            <p:nvSpPr>
              <p:cNvPr id="284" name="18">
                <a:extLst>
                  <a:ext uri="{FF2B5EF4-FFF2-40B4-BE49-F238E27FC236}">
                    <a16:creationId xmlns:a16="http://schemas.microsoft.com/office/drawing/2014/main" id="{495A4FC5-335B-4F8D-9F70-AEE400F2F0CC}"/>
                  </a:ext>
                </a:extLst>
              </p:cNvPr>
              <p:cNvSpPr txBox="1"/>
              <p:nvPr/>
            </p:nvSpPr>
            <p:spPr>
              <a:xfrm>
                <a:off x="6490090" y="3503513"/>
                <a:ext cx="184830" cy="166169"/>
              </a:xfrm>
              <a:prstGeom prst="rect">
                <a:avLst/>
              </a:prstGeom>
              <a:noFill/>
            </p:spPr>
            <p:txBody>
              <a:bodyPr wrap="none" lIns="0" tIns="0" rIns="0" bIns="0" rtlCol="0">
                <a:noAutofit/>
              </a:bodyPr>
              <a:lstStyle/>
              <a:p>
                <a:r>
                  <a:rPr lang="fr-FR" sz="800">
                    <a:solidFill>
                      <a:srgbClr val="FFFFFF"/>
                    </a:solidFill>
                    <a:latin typeface="Tahoma"/>
                  </a:rPr>
                  <a:t>18</a:t>
                </a:r>
              </a:p>
            </p:txBody>
          </p:sp>
          <p:sp>
            <p:nvSpPr>
              <p:cNvPr id="285" name="28">
                <a:extLst>
                  <a:ext uri="{FF2B5EF4-FFF2-40B4-BE49-F238E27FC236}">
                    <a16:creationId xmlns:a16="http://schemas.microsoft.com/office/drawing/2014/main" id="{802DEBD4-005A-4AB4-941B-4E8EB8350114}"/>
                  </a:ext>
                </a:extLst>
              </p:cNvPr>
              <p:cNvSpPr txBox="1"/>
              <p:nvPr/>
            </p:nvSpPr>
            <p:spPr>
              <a:xfrm>
                <a:off x="6071068" y="2797246"/>
                <a:ext cx="184830" cy="166169"/>
              </a:xfrm>
              <a:prstGeom prst="rect">
                <a:avLst/>
              </a:prstGeom>
              <a:noFill/>
            </p:spPr>
            <p:txBody>
              <a:bodyPr wrap="none" lIns="0" tIns="0" rIns="0" bIns="0" rtlCol="0">
                <a:noAutofit/>
              </a:bodyPr>
              <a:lstStyle/>
              <a:p>
                <a:r>
                  <a:rPr lang="fr-FR" sz="800">
                    <a:solidFill>
                      <a:srgbClr val="503078"/>
                    </a:solidFill>
                    <a:latin typeface="Tahoma"/>
                  </a:rPr>
                  <a:t>28</a:t>
                </a:r>
              </a:p>
            </p:txBody>
          </p:sp>
          <p:sp>
            <p:nvSpPr>
              <p:cNvPr id="286" name="45">
                <a:extLst>
                  <a:ext uri="{FF2B5EF4-FFF2-40B4-BE49-F238E27FC236}">
                    <a16:creationId xmlns:a16="http://schemas.microsoft.com/office/drawing/2014/main" id="{5D3AFAB9-87D9-4983-9292-6A95D5604E88}"/>
                  </a:ext>
                </a:extLst>
              </p:cNvPr>
              <p:cNvSpPr txBox="1"/>
              <p:nvPr/>
            </p:nvSpPr>
            <p:spPr>
              <a:xfrm>
                <a:off x="6381214" y="3052770"/>
                <a:ext cx="184830" cy="166169"/>
              </a:xfrm>
              <a:prstGeom prst="rect">
                <a:avLst/>
              </a:prstGeom>
              <a:noFill/>
            </p:spPr>
            <p:txBody>
              <a:bodyPr wrap="none" lIns="0" tIns="0" rIns="0" bIns="0" rtlCol="0">
                <a:noAutofit/>
              </a:bodyPr>
              <a:lstStyle/>
              <a:p>
                <a:r>
                  <a:rPr lang="fr-FR" sz="800">
                    <a:solidFill>
                      <a:srgbClr val="503078"/>
                    </a:solidFill>
                    <a:latin typeface="Tahoma"/>
                  </a:rPr>
                  <a:t>45</a:t>
                </a:r>
              </a:p>
            </p:txBody>
          </p:sp>
          <p:sp>
            <p:nvSpPr>
              <p:cNvPr id="287" name="36">
                <a:extLst>
                  <a:ext uri="{FF2B5EF4-FFF2-40B4-BE49-F238E27FC236}">
                    <a16:creationId xmlns:a16="http://schemas.microsoft.com/office/drawing/2014/main" id="{B492683C-656F-4F31-9452-FA632DF2BBA3}"/>
                  </a:ext>
                </a:extLst>
              </p:cNvPr>
              <p:cNvSpPr txBox="1"/>
              <p:nvPr/>
            </p:nvSpPr>
            <p:spPr>
              <a:xfrm>
                <a:off x="6121190" y="3663038"/>
                <a:ext cx="184830" cy="166169"/>
              </a:xfrm>
              <a:prstGeom prst="rect">
                <a:avLst/>
              </a:prstGeom>
              <a:noFill/>
            </p:spPr>
            <p:txBody>
              <a:bodyPr wrap="none" lIns="0" tIns="0" rIns="0" bIns="0" rtlCol="0">
                <a:noAutofit/>
              </a:bodyPr>
              <a:lstStyle/>
              <a:p>
                <a:r>
                  <a:rPr lang="fr-FR" sz="800">
                    <a:solidFill>
                      <a:srgbClr val="FFFFFF"/>
                    </a:solidFill>
                    <a:latin typeface="Tahoma"/>
                  </a:rPr>
                  <a:t>36</a:t>
                </a:r>
              </a:p>
            </p:txBody>
          </p:sp>
          <p:sp>
            <p:nvSpPr>
              <p:cNvPr id="288" name="37">
                <a:extLst>
                  <a:ext uri="{FF2B5EF4-FFF2-40B4-BE49-F238E27FC236}">
                    <a16:creationId xmlns:a16="http://schemas.microsoft.com/office/drawing/2014/main" id="{6882EE60-5761-49B9-8E3D-B90762607D5C}"/>
                  </a:ext>
                </a:extLst>
              </p:cNvPr>
              <p:cNvSpPr txBox="1"/>
              <p:nvPr/>
            </p:nvSpPr>
            <p:spPr>
              <a:xfrm>
                <a:off x="5813919" y="3405177"/>
                <a:ext cx="184830" cy="166169"/>
              </a:xfrm>
              <a:prstGeom prst="rect">
                <a:avLst/>
              </a:prstGeom>
              <a:noFill/>
            </p:spPr>
            <p:txBody>
              <a:bodyPr wrap="none" lIns="0" tIns="0" rIns="0" bIns="0" rtlCol="0">
                <a:noAutofit/>
              </a:bodyPr>
              <a:lstStyle/>
              <a:p>
                <a:r>
                  <a:rPr lang="fr-FR" sz="800">
                    <a:solidFill>
                      <a:srgbClr val="503078"/>
                    </a:solidFill>
                    <a:latin typeface="Tahoma"/>
                  </a:rPr>
                  <a:t>37</a:t>
                </a:r>
              </a:p>
            </p:txBody>
          </p:sp>
          <p:sp>
            <p:nvSpPr>
              <p:cNvPr id="289" name="41">
                <a:extLst>
                  <a:ext uri="{FF2B5EF4-FFF2-40B4-BE49-F238E27FC236}">
                    <a16:creationId xmlns:a16="http://schemas.microsoft.com/office/drawing/2014/main" id="{352C317A-0FAC-4354-848B-284888EFA500}"/>
                  </a:ext>
                </a:extLst>
              </p:cNvPr>
              <p:cNvSpPr txBox="1"/>
              <p:nvPr/>
            </p:nvSpPr>
            <p:spPr>
              <a:xfrm>
                <a:off x="6071068" y="3216910"/>
                <a:ext cx="184830" cy="166169"/>
              </a:xfrm>
              <a:prstGeom prst="rect">
                <a:avLst/>
              </a:prstGeom>
              <a:noFill/>
            </p:spPr>
            <p:txBody>
              <a:bodyPr wrap="none" lIns="0" tIns="0" rIns="0" bIns="0" rtlCol="0">
                <a:noAutofit/>
              </a:bodyPr>
              <a:lstStyle/>
              <a:p>
                <a:r>
                  <a:rPr lang="fr-FR" sz="800">
                    <a:solidFill>
                      <a:srgbClr val="FFFFFF"/>
                    </a:solidFill>
                    <a:latin typeface="Tahoma"/>
                  </a:rPr>
                  <a:t>41</a:t>
                </a:r>
              </a:p>
            </p:txBody>
          </p:sp>
        </p:grpSp>
        <p:grpSp>
          <p:nvGrpSpPr>
            <p:cNvPr id="162" name="Bretagne (Formes)">
              <a:extLst>
                <a:ext uri="{FF2B5EF4-FFF2-40B4-BE49-F238E27FC236}">
                  <a16:creationId xmlns:a16="http://schemas.microsoft.com/office/drawing/2014/main" id="{A8F4212F-7B76-479E-A89D-6ED9062B26D4}"/>
                </a:ext>
              </a:extLst>
            </p:cNvPr>
            <p:cNvGrpSpPr/>
            <p:nvPr/>
          </p:nvGrpSpPr>
          <p:grpSpPr>
            <a:xfrm>
              <a:off x="4773804" y="2392006"/>
              <a:ext cx="1303634" cy="764991"/>
              <a:chOff x="4020348" y="2561391"/>
              <a:chExt cx="1303634" cy="764991"/>
            </a:xfrm>
            <a:solidFill>
              <a:srgbClr val="667E76"/>
            </a:solidFill>
          </p:grpSpPr>
          <p:sp>
            <p:nvSpPr>
              <p:cNvPr id="280" name="29">
                <a:extLst>
                  <a:ext uri="{FF2B5EF4-FFF2-40B4-BE49-F238E27FC236}">
                    <a16:creationId xmlns:a16="http://schemas.microsoft.com/office/drawing/2014/main" id="{7E18F559-2269-40B5-A3D6-5740B24DBA18}"/>
                  </a:ext>
                </a:extLst>
              </p:cNvPr>
              <p:cNvSpPr>
                <a:spLocks/>
              </p:cNvSpPr>
              <p:nvPr/>
            </p:nvSpPr>
            <p:spPr bwMode="gray">
              <a:xfrm>
                <a:off x="4020348" y="2612964"/>
                <a:ext cx="469881" cy="518589"/>
              </a:xfrm>
              <a:custGeom>
                <a:avLst/>
                <a:gdLst>
                  <a:gd name="T0" fmla="*/ 111 w 328"/>
                  <a:gd name="T1" fmla="*/ 224 h 362"/>
                  <a:gd name="T2" fmla="*/ 119 w 328"/>
                  <a:gd name="T3" fmla="*/ 204 h 362"/>
                  <a:gd name="T4" fmla="*/ 79 w 328"/>
                  <a:gd name="T5" fmla="*/ 170 h 362"/>
                  <a:gd name="T6" fmla="*/ 51 w 328"/>
                  <a:gd name="T7" fmla="*/ 192 h 362"/>
                  <a:gd name="T8" fmla="*/ 55 w 328"/>
                  <a:gd name="T9" fmla="*/ 160 h 362"/>
                  <a:gd name="T10" fmla="*/ 36 w 328"/>
                  <a:gd name="T11" fmla="*/ 158 h 362"/>
                  <a:gd name="T12" fmla="*/ 58 w 328"/>
                  <a:gd name="T13" fmla="*/ 130 h 362"/>
                  <a:gd name="T14" fmla="*/ 68 w 328"/>
                  <a:gd name="T15" fmla="*/ 151 h 362"/>
                  <a:gd name="T16" fmla="*/ 117 w 328"/>
                  <a:gd name="T17" fmla="*/ 149 h 362"/>
                  <a:gd name="T18" fmla="*/ 109 w 328"/>
                  <a:gd name="T19" fmla="*/ 134 h 362"/>
                  <a:gd name="T20" fmla="*/ 81 w 328"/>
                  <a:gd name="T21" fmla="*/ 136 h 362"/>
                  <a:gd name="T22" fmla="*/ 92 w 328"/>
                  <a:gd name="T23" fmla="*/ 113 h 362"/>
                  <a:gd name="T24" fmla="*/ 4 w 328"/>
                  <a:gd name="T25" fmla="*/ 128 h 362"/>
                  <a:gd name="T26" fmla="*/ 24 w 328"/>
                  <a:gd name="T27" fmla="*/ 45 h 362"/>
                  <a:gd name="T28" fmla="*/ 72 w 328"/>
                  <a:gd name="T29" fmla="*/ 22 h 362"/>
                  <a:gd name="T30" fmla="*/ 126 w 328"/>
                  <a:gd name="T31" fmla="*/ 13 h 362"/>
                  <a:gd name="T32" fmla="*/ 130 w 328"/>
                  <a:gd name="T33" fmla="*/ 26 h 362"/>
                  <a:gd name="T34" fmla="*/ 204 w 328"/>
                  <a:gd name="T35" fmla="*/ 0 h 362"/>
                  <a:gd name="T36" fmla="*/ 236 w 328"/>
                  <a:gd name="T37" fmla="*/ 39 h 362"/>
                  <a:gd name="T38" fmla="*/ 249 w 328"/>
                  <a:gd name="T39" fmla="*/ 11 h 362"/>
                  <a:gd name="T40" fmla="*/ 291 w 328"/>
                  <a:gd name="T41" fmla="*/ 26 h 362"/>
                  <a:gd name="T42" fmla="*/ 283 w 328"/>
                  <a:gd name="T43" fmla="*/ 36 h 362"/>
                  <a:gd name="T44" fmla="*/ 285 w 328"/>
                  <a:gd name="T45" fmla="*/ 39 h 362"/>
                  <a:gd name="T46" fmla="*/ 308 w 328"/>
                  <a:gd name="T47" fmla="*/ 81 h 362"/>
                  <a:gd name="T48" fmla="*/ 294 w 328"/>
                  <a:gd name="T49" fmla="*/ 102 h 362"/>
                  <a:gd name="T50" fmla="*/ 304 w 328"/>
                  <a:gd name="T51" fmla="*/ 113 h 362"/>
                  <a:gd name="T52" fmla="*/ 289 w 328"/>
                  <a:gd name="T53" fmla="*/ 134 h 362"/>
                  <a:gd name="T54" fmla="*/ 308 w 328"/>
                  <a:gd name="T55" fmla="*/ 162 h 362"/>
                  <a:gd name="T56" fmla="*/ 291 w 328"/>
                  <a:gd name="T57" fmla="*/ 207 h 362"/>
                  <a:gd name="T58" fmla="*/ 251 w 328"/>
                  <a:gd name="T59" fmla="*/ 226 h 362"/>
                  <a:gd name="T60" fmla="*/ 249 w 328"/>
                  <a:gd name="T61" fmla="*/ 236 h 362"/>
                  <a:gd name="T62" fmla="*/ 268 w 328"/>
                  <a:gd name="T63" fmla="*/ 277 h 362"/>
                  <a:gd name="T64" fmla="*/ 328 w 328"/>
                  <a:gd name="T65" fmla="*/ 296 h 362"/>
                  <a:gd name="T66" fmla="*/ 321 w 328"/>
                  <a:gd name="T67" fmla="*/ 328 h 362"/>
                  <a:gd name="T68" fmla="*/ 291 w 328"/>
                  <a:gd name="T69" fmla="*/ 334 h 362"/>
                  <a:gd name="T70" fmla="*/ 285 w 328"/>
                  <a:gd name="T71" fmla="*/ 362 h 362"/>
                  <a:gd name="T72" fmla="*/ 208 w 328"/>
                  <a:gd name="T73" fmla="*/ 345 h 362"/>
                  <a:gd name="T74" fmla="*/ 185 w 328"/>
                  <a:gd name="T75" fmla="*/ 302 h 362"/>
                  <a:gd name="T76" fmla="*/ 179 w 328"/>
                  <a:gd name="T77" fmla="*/ 319 h 362"/>
                  <a:gd name="T78" fmla="*/ 138 w 328"/>
                  <a:gd name="T79" fmla="*/ 315 h 362"/>
                  <a:gd name="T80" fmla="*/ 130 w 328"/>
                  <a:gd name="T81" fmla="*/ 334 h 362"/>
                  <a:gd name="T82" fmla="*/ 83 w 328"/>
                  <a:gd name="T83" fmla="*/ 330 h 362"/>
                  <a:gd name="T84" fmla="*/ 89 w 328"/>
                  <a:gd name="T85" fmla="*/ 306 h 362"/>
                  <a:gd name="T86" fmla="*/ 66 w 328"/>
                  <a:gd name="T87" fmla="*/ 258 h 362"/>
                  <a:gd name="T88" fmla="*/ 0 w 328"/>
                  <a:gd name="T89" fmla="*/ 234 h 362"/>
                  <a:gd name="T90" fmla="*/ 111 w 328"/>
                  <a:gd name="T91" fmla="*/ 224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8" h="362">
                    <a:moveTo>
                      <a:pt x="111" y="224"/>
                    </a:moveTo>
                    <a:lnTo>
                      <a:pt x="119" y="204"/>
                    </a:lnTo>
                    <a:lnTo>
                      <a:pt x="79" y="170"/>
                    </a:lnTo>
                    <a:lnTo>
                      <a:pt x="51" y="192"/>
                    </a:lnTo>
                    <a:lnTo>
                      <a:pt x="55" y="160"/>
                    </a:lnTo>
                    <a:lnTo>
                      <a:pt x="36" y="158"/>
                    </a:lnTo>
                    <a:lnTo>
                      <a:pt x="58" y="130"/>
                    </a:lnTo>
                    <a:lnTo>
                      <a:pt x="68" y="151"/>
                    </a:lnTo>
                    <a:lnTo>
                      <a:pt x="117" y="149"/>
                    </a:lnTo>
                    <a:lnTo>
                      <a:pt x="109" y="134"/>
                    </a:lnTo>
                    <a:lnTo>
                      <a:pt x="81" y="136"/>
                    </a:lnTo>
                    <a:lnTo>
                      <a:pt x="92" y="113"/>
                    </a:lnTo>
                    <a:lnTo>
                      <a:pt x="4" y="128"/>
                    </a:lnTo>
                    <a:lnTo>
                      <a:pt x="24" y="45"/>
                    </a:lnTo>
                    <a:lnTo>
                      <a:pt x="72" y="22"/>
                    </a:lnTo>
                    <a:lnTo>
                      <a:pt x="126" y="13"/>
                    </a:lnTo>
                    <a:lnTo>
                      <a:pt x="130" y="26"/>
                    </a:lnTo>
                    <a:lnTo>
                      <a:pt x="204" y="0"/>
                    </a:lnTo>
                    <a:lnTo>
                      <a:pt x="236" y="39"/>
                    </a:lnTo>
                    <a:lnTo>
                      <a:pt x="249" y="11"/>
                    </a:lnTo>
                    <a:lnTo>
                      <a:pt x="291" y="26"/>
                    </a:lnTo>
                    <a:lnTo>
                      <a:pt x="283" y="36"/>
                    </a:lnTo>
                    <a:lnTo>
                      <a:pt x="285" y="39"/>
                    </a:lnTo>
                    <a:lnTo>
                      <a:pt x="308" y="81"/>
                    </a:lnTo>
                    <a:lnTo>
                      <a:pt x="294" y="102"/>
                    </a:lnTo>
                    <a:lnTo>
                      <a:pt x="304" y="113"/>
                    </a:lnTo>
                    <a:lnTo>
                      <a:pt x="289" y="134"/>
                    </a:lnTo>
                    <a:lnTo>
                      <a:pt x="308" y="162"/>
                    </a:lnTo>
                    <a:lnTo>
                      <a:pt x="291" y="207"/>
                    </a:lnTo>
                    <a:lnTo>
                      <a:pt x="251" y="226"/>
                    </a:lnTo>
                    <a:lnTo>
                      <a:pt x="249" y="236"/>
                    </a:lnTo>
                    <a:lnTo>
                      <a:pt x="268" y="277"/>
                    </a:lnTo>
                    <a:lnTo>
                      <a:pt x="328" y="296"/>
                    </a:lnTo>
                    <a:lnTo>
                      <a:pt x="321" y="328"/>
                    </a:lnTo>
                    <a:lnTo>
                      <a:pt x="291" y="334"/>
                    </a:lnTo>
                    <a:lnTo>
                      <a:pt x="285" y="362"/>
                    </a:lnTo>
                    <a:lnTo>
                      <a:pt x="208" y="345"/>
                    </a:lnTo>
                    <a:lnTo>
                      <a:pt x="185" y="302"/>
                    </a:lnTo>
                    <a:lnTo>
                      <a:pt x="179" y="319"/>
                    </a:lnTo>
                    <a:lnTo>
                      <a:pt x="138" y="315"/>
                    </a:lnTo>
                    <a:lnTo>
                      <a:pt x="130" y="334"/>
                    </a:lnTo>
                    <a:lnTo>
                      <a:pt x="83" y="330"/>
                    </a:lnTo>
                    <a:lnTo>
                      <a:pt x="89" y="306"/>
                    </a:lnTo>
                    <a:lnTo>
                      <a:pt x="66" y="258"/>
                    </a:lnTo>
                    <a:lnTo>
                      <a:pt x="0" y="234"/>
                    </a:lnTo>
                    <a:lnTo>
                      <a:pt x="111" y="224"/>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sz="800">
                  <a:solidFill>
                    <a:srgbClr val="503078"/>
                  </a:solidFill>
                  <a:latin typeface="Tahoma"/>
                </a:endParaRPr>
              </a:p>
            </p:txBody>
          </p:sp>
          <p:sp>
            <p:nvSpPr>
              <p:cNvPr id="281" name="22">
                <a:extLst>
                  <a:ext uri="{FF2B5EF4-FFF2-40B4-BE49-F238E27FC236}">
                    <a16:creationId xmlns:a16="http://schemas.microsoft.com/office/drawing/2014/main" id="{95B5A87A-1A01-46AA-88E7-0508CD182858}"/>
                  </a:ext>
                </a:extLst>
              </p:cNvPr>
              <p:cNvSpPr>
                <a:spLocks/>
              </p:cNvSpPr>
              <p:nvPr/>
            </p:nvSpPr>
            <p:spPr bwMode="gray">
              <a:xfrm>
                <a:off x="4425764" y="2561391"/>
                <a:ext cx="600245" cy="454123"/>
              </a:xfrm>
              <a:custGeom>
                <a:avLst/>
                <a:gdLst>
                  <a:gd name="T0" fmla="*/ 2 w 419"/>
                  <a:gd name="T1" fmla="*/ 75 h 317"/>
                  <a:gd name="T2" fmla="*/ 25 w 419"/>
                  <a:gd name="T3" fmla="*/ 117 h 317"/>
                  <a:gd name="T4" fmla="*/ 11 w 419"/>
                  <a:gd name="T5" fmla="*/ 138 h 317"/>
                  <a:gd name="T6" fmla="*/ 21 w 419"/>
                  <a:gd name="T7" fmla="*/ 149 h 317"/>
                  <a:gd name="T8" fmla="*/ 6 w 419"/>
                  <a:gd name="T9" fmla="*/ 170 h 317"/>
                  <a:gd name="T10" fmla="*/ 25 w 419"/>
                  <a:gd name="T11" fmla="*/ 198 h 317"/>
                  <a:gd name="T12" fmla="*/ 8 w 419"/>
                  <a:gd name="T13" fmla="*/ 243 h 317"/>
                  <a:gd name="T14" fmla="*/ 79 w 419"/>
                  <a:gd name="T15" fmla="*/ 268 h 317"/>
                  <a:gd name="T16" fmla="*/ 130 w 419"/>
                  <a:gd name="T17" fmla="*/ 245 h 317"/>
                  <a:gd name="T18" fmla="*/ 191 w 419"/>
                  <a:gd name="T19" fmla="*/ 272 h 317"/>
                  <a:gd name="T20" fmla="*/ 200 w 419"/>
                  <a:gd name="T21" fmla="*/ 296 h 317"/>
                  <a:gd name="T22" fmla="*/ 229 w 419"/>
                  <a:gd name="T23" fmla="*/ 285 h 317"/>
                  <a:gd name="T24" fmla="*/ 225 w 419"/>
                  <a:gd name="T25" fmla="*/ 317 h 317"/>
                  <a:gd name="T26" fmla="*/ 255 w 419"/>
                  <a:gd name="T27" fmla="*/ 304 h 317"/>
                  <a:gd name="T28" fmla="*/ 261 w 419"/>
                  <a:gd name="T29" fmla="*/ 274 h 317"/>
                  <a:gd name="T30" fmla="*/ 319 w 419"/>
                  <a:gd name="T31" fmla="*/ 289 h 317"/>
                  <a:gd name="T32" fmla="*/ 346 w 419"/>
                  <a:gd name="T33" fmla="*/ 247 h 317"/>
                  <a:gd name="T34" fmla="*/ 404 w 419"/>
                  <a:gd name="T35" fmla="*/ 238 h 317"/>
                  <a:gd name="T36" fmla="*/ 412 w 419"/>
                  <a:gd name="T37" fmla="*/ 215 h 317"/>
                  <a:gd name="T38" fmla="*/ 419 w 419"/>
                  <a:gd name="T39" fmla="*/ 147 h 317"/>
                  <a:gd name="T40" fmla="*/ 370 w 419"/>
                  <a:gd name="T41" fmla="*/ 121 h 317"/>
                  <a:gd name="T42" fmla="*/ 349 w 419"/>
                  <a:gd name="T43" fmla="*/ 128 h 317"/>
                  <a:gd name="T44" fmla="*/ 340 w 419"/>
                  <a:gd name="T45" fmla="*/ 102 h 317"/>
                  <a:gd name="T46" fmla="*/ 321 w 419"/>
                  <a:gd name="T47" fmla="*/ 111 h 317"/>
                  <a:gd name="T48" fmla="*/ 334 w 419"/>
                  <a:gd name="T49" fmla="*/ 94 h 317"/>
                  <a:gd name="T50" fmla="*/ 325 w 419"/>
                  <a:gd name="T51" fmla="*/ 85 h 317"/>
                  <a:gd name="T52" fmla="*/ 285 w 419"/>
                  <a:gd name="T53" fmla="*/ 98 h 317"/>
                  <a:gd name="T54" fmla="*/ 232 w 419"/>
                  <a:gd name="T55" fmla="*/ 147 h 317"/>
                  <a:gd name="T56" fmla="*/ 181 w 419"/>
                  <a:gd name="T57" fmla="*/ 49 h 317"/>
                  <a:gd name="T58" fmla="*/ 149 w 419"/>
                  <a:gd name="T59" fmla="*/ 24 h 317"/>
                  <a:gd name="T60" fmla="*/ 151 w 419"/>
                  <a:gd name="T61" fmla="*/ 0 h 317"/>
                  <a:gd name="T62" fmla="*/ 119 w 419"/>
                  <a:gd name="T63" fmla="*/ 17 h 317"/>
                  <a:gd name="T64" fmla="*/ 113 w 419"/>
                  <a:gd name="T65" fmla="*/ 2 h 317"/>
                  <a:gd name="T66" fmla="*/ 79 w 419"/>
                  <a:gd name="T67" fmla="*/ 17 h 317"/>
                  <a:gd name="T68" fmla="*/ 51 w 419"/>
                  <a:gd name="T69" fmla="*/ 9 h 317"/>
                  <a:gd name="T70" fmla="*/ 25 w 419"/>
                  <a:gd name="T71" fmla="*/ 26 h 317"/>
                  <a:gd name="T72" fmla="*/ 23 w 419"/>
                  <a:gd name="T73" fmla="*/ 66 h 317"/>
                  <a:gd name="T74" fmla="*/ 8 w 419"/>
                  <a:gd name="T75" fmla="*/ 62 h 317"/>
                  <a:gd name="T76" fmla="*/ 0 w 419"/>
                  <a:gd name="T77" fmla="*/ 72 h 317"/>
                  <a:gd name="T78" fmla="*/ 2 w 419"/>
                  <a:gd name="T79" fmla="*/ 75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9" h="317">
                    <a:moveTo>
                      <a:pt x="2" y="75"/>
                    </a:moveTo>
                    <a:lnTo>
                      <a:pt x="25" y="117"/>
                    </a:lnTo>
                    <a:lnTo>
                      <a:pt x="11" y="138"/>
                    </a:lnTo>
                    <a:lnTo>
                      <a:pt x="21" y="149"/>
                    </a:lnTo>
                    <a:lnTo>
                      <a:pt x="6" y="170"/>
                    </a:lnTo>
                    <a:lnTo>
                      <a:pt x="25" y="198"/>
                    </a:lnTo>
                    <a:lnTo>
                      <a:pt x="8" y="243"/>
                    </a:lnTo>
                    <a:lnTo>
                      <a:pt x="79" y="268"/>
                    </a:lnTo>
                    <a:lnTo>
                      <a:pt x="130" y="245"/>
                    </a:lnTo>
                    <a:lnTo>
                      <a:pt x="191" y="272"/>
                    </a:lnTo>
                    <a:lnTo>
                      <a:pt x="200" y="296"/>
                    </a:lnTo>
                    <a:lnTo>
                      <a:pt x="229" y="285"/>
                    </a:lnTo>
                    <a:lnTo>
                      <a:pt x="225" y="317"/>
                    </a:lnTo>
                    <a:lnTo>
                      <a:pt x="255" y="304"/>
                    </a:lnTo>
                    <a:lnTo>
                      <a:pt x="261" y="274"/>
                    </a:lnTo>
                    <a:lnTo>
                      <a:pt x="319" y="289"/>
                    </a:lnTo>
                    <a:lnTo>
                      <a:pt x="346" y="247"/>
                    </a:lnTo>
                    <a:lnTo>
                      <a:pt x="404" y="238"/>
                    </a:lnTo>
                    <a:lnTo>
                      <a:pt x="412" y="215"/>
                    </a:lnTo>
                    <a:lnTo>
                      <a:pt x="419" y="147"/>
                    </a:lnTo>
                    <a:lnTo>
                      <a:pt x="370" y="121"/>
                    </a:lnTo>
                    <a:lnTo>
                      <a:pt x="349" y="128"/>
                    </a:lnTo>
                    <a:lnTo>
                      <a:pt x="340" y="102"/>
                    </a:lnTo>
                    <a:lnTo>
                      <a:pt x="321" y="111"/>
                    </a:lnTo>
                    <a:lnTo>
                      <a:pt x="334" y="94"/>
                    </a:lnTo>
                    <a:lnTo>
                      <a:pt x="325" y="85"/>
                    </a:lnTo>
                    <a:lnTo>
                      <a:pt x="285" y="98"/>
                    </a:lnTo>
                    <a:lnTo>
                      <a:pt x="232" y="147"/>
                    </a:lnTo>
                    <a:lnTo>
                      <a:pt x="181" y="49"/>
                    </a:lnTo>
                    <a:lnTo>
                      <a:pt x="149" y="24"/>
                    </a:lnTo>
                    <a:lnTo>
                      <a:pt x="151" y="0"/>
                    </a:lnTo>
                    <a:lnTo>
                      <a:pt x="119" y="17"/>
                    </a:lnTo>
                    <a:lnTo>
                      <a:pt x="113" y="2"/>
                    </a:lnTo>
                    <a:lnTo>
                      <a:pt x="79" y="17"/>
                    </a:lnTo>
                    <a:lnTo>
                      <a:pt x="51" y="9"/>
                    </a:lnTo>
                    <a:lnTo>
                      <a:pt x="25" y="26"/>
                    </a:lnTo>
                    <a:lnTo>
                      <a:pt x="23" y="66"/>
                    </a:lnTo>
                    <a:lnTo>
                      <a:pt x="8" y="62"/>
                    </a:lnTo>
                    <a:lnTo>
                      <a:pt x="0" y="72"/>
                    </a:lnTo>
                    <a:lnTo>
                      <a:pt x="2" y="75"/>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82" name="56">
                <a:extLst>
                  <a:ext uri="{FF2B5EF4-FFF2-40B4-BE49-F238E27FC236}">
                    <a16:creationId xmlns:a16="http://schemas.microsoft.com/office/drawing/2014/main" id="{9BBCEAA0-85EA-41D7-AD26-BF78C1F9125A}"/>
                  </a:ext>
                </a:extLst>
              </p:cNvPr>
              <p:cNvSpPr>
                <a:spLocks/>
              </p:cNvSpPr>
              <p:nvPr/>
            </p:nvSpPr>
            <p:spPr bwMode="gray">
              <a:xfrm>
                <a:off x="4377057" y="2909505"/>
                <a:ext cx="578756" cy="416877"/>
              </a:xfrm>
              <a:custGeom>
                <a:avLst/>
                <a:gdLst>
                  <a:gd name="T0" fmla="*/ 2 w 404"/>
                  <a:gd name="T1" fmla="*/ 19 h 291"/>
                  <a:gd name="T2" fmla="*/ 42 w 404"/>
                  <a:gd name="T3" fmla="*/ 0 h 291"/>
                  <a:gd name="T4" fmla="*/ 113 w 404"/>
                  <a:gd name="T5" fmla="*/ 25 h 291"/>
                  <a:gd name="T6" fmla="*/ 164 w 404"/>
                  <a:gd name="T7" fmla="*/ 2 h 291"/>
                  <a:gd name="T8" fmla="*/ 225 w 404"/>
                  <a:gd name="T9" fmla="*/ 29 h 291"/>
                  <a:gd name="T10" fmla="*/ 234 w 404"/>
                  <a:gd name="T11" fmla="*/ 53 h 291"/>
                  <a:gd name="T12" fmla="*/ 263 w 404"/>
                  <a:gd name="T13" fmla="*/ 42 h 291"/>
                  <a:gd name="T14" fmla="*/ 259 w 404"/>
                  <a:gd name="T15" fmla="*/ 74 h 291"/>
                  <a:gd name="T16" fmla="*/ 289 w 404"/>
                  <a:gd name="T17" fmla="*/ 61 h 291"/>
                  <a:gd name="T18" fmla="*/ 295 w 404"/>
                  <a:gd name="T19" fmla="*/ 31 h 291"/>
                  <a:gd name="T20" fmla="*/ 353 w 404"/>
                  <a:gd name="T21" fmla="*/ 46 h 291"/>
                  <a:gd name="T22" fmla="*/ 359 w 404"/>
                  <a:gd name="T23" fmla="*/ 72 h 291"/>
                  <a:gd name="T24" fmla="*/ 380 w 404"/>
                  <a:gd name="T25" fmla="*/ 68 h 291"/>
                  <a:gd name="T26" fmla="*/ 353 w 404"/>
                  <a:gd name="T27" fmla="*/ 89 h 291"/>
                  <a:gd name="T28" fmla="*/ 351 w 404"/>
                  <a:gd name="T29" fmla="*/ 95 h 291"/>
                  <a:gd name="T30" fmla="*/ 385 w 404"/>
                  <a:gd name="T31" fmla="*/ 102 h 291"/>
                  <a:gd name="T32" fmla="*/ 397 w 404"/>
                  <a:gd name="T33" fmla="*/ 125 h 291"/>
                  <a:gd name="T34" fmla="*/ 387 w 404"/>
                  <a:gd name="T35" fmla="*/ 151 h 291"/>
                  <a:gd name="T36" fmla="*/ 404 w 404"/>
                  <a:gd name="T37" fmla="*/ 151 h 291"/>
                  <a:gd name="T38" fmla="*/ 383 w 404"/>
                  <a:gd name="T39" fmla="*/ 180 h 291"/>
                  <a:gd name="T40" fmla="*/ 400 w 404"/>
                  <a:gd name="T41" fmla="*/ 189 h 291"/>
                  <a:gd name="T42" fmla="*/ 380 w 404"/>
                  <a:gd name="T43" fmla="*/ 197 h 291"/>
                  <a:gd name="T44" fmla="*/ 385 w 404"/>
                  <a:gd name="T45" fmla="*/ 231 h 291"/>
                  <a:gd name="T46" fmla="*/ 368 w 404"/>
                  <a:gd name="T47" fmla="*/ 280 h 291"/>
                  <a:gd name="T48" fmla="*/ 334 w 404"/>
                  <a:gd name="T49" fmla="*/ 272 h 291"/>
                  <a:gd name="T50" fmla="*/ 329 w 404"/>
                  <a:gd name="T51" fmla="*/ 289 h 291"/>
                  <a:gd name="T52" fmla="*/ 291 w 404"/>
                  <a:gd name="T53" fmla="*/ 291 h 291"/>
                  <a:gd name="T54" fmla="*/ 283 w 404"/>
                  <a:gd name="T55" fmla="*/ 276 h 291"/>
                  <a:gd name="T56" fmla="*/ 302 w 404"/>
                  <a:gd name="T57" fmla="*/ 274 h 291"/>
                  <a:gd name="T58" fmla="*/ 283 w 404"/>
                  <a:gd name="T59" fmla="*/ 263 h 291"/>
                  <a:gd name="T60" fmla="*/ 210 w 404"/>
                  <a:gd name="T61" fmla="*/ 272 h 291"/>
                  <a:gd name="T62" fmla="*/ 183 w 404"/>
                  <a:gd name="T63" fmla="*/ 248 h 291"/>
                  <a:gd name="T64" fmla="*/ 229 w 404"/>
                  <a:gd name="T65" fmla="*/ 253 h 291"/>
                  <a:gd name="T66" fmla="*/ 234 w 404"/>
                  <a:gd name="T67" fmla="*/ 231 h 291"/>
                  <a:gd name="T68" fmla="*/ 198 w 404"/>
                  <a:gd name="T69" fmla="*/ 221 h 291"/>
                  <a:gd name="T70" fmla="*/ 185 w 404"/>
                  <a:gd name="T71" fmla="*/ 233 h 291"/>
                  <a:gd name="T72" fmla="*/ 174 w 404"/>
                  <a:gd name="T73" fmla="*/ 216 h 291"/>
                  <a:gd name="T74" fmla="*/ 176 w 404"/>
                  <a:gd name="T75" fmla="*/ 244 h 291"/>
                  <a:gd name="T76" fmla="*/ 134 w 404"/>
                  <a:gd name="T77" fmla="*/ 227 h 291"/>
                  <a:gd name="T78" fmla="*/ 138 w 404"/>
                  <a:gd name="T79" fmla="*/ 272 h 291"/>
                  <a:gd name="T80" fmla="*/ 127 w 404"/>
                  <a:gd name="T81" fmla="*/ 270 h 291"/>
                  <a:gd name="T82" fmla="*/ 125 w 404"/>
                  <a:gd name="T83" fmla="*/ 221 h 291"/>
                  <a:gd name="T84" fmla="*/ 79 w 404"/>
                  <a:gd name="T85" fmla="*/ 187 h 291"/>
                  <a:gd name="T86" fmla="*/ 96 w 404"/>
                  <a:gd name="T87" fmla="*/ 185 h 291"/>
                  <a:gd name="T88" fmla="*/ 55 w 404"/>
                  <a:gd name="T89" fmla="*/ 180 h 291"/>
                  <a:gd name="T90" fmla="*/ 36 w 404"/>
                  <a:gd name="T91" fmla="*/ 155 h 291"/>
                  <a:gd name="T92" fmla="*/ 42 w 404"/>
                  <a:gd name="T93" fmla="*/ 127 h 291"/>
                  <a:gd name="T94" fmla="*/ 72 w 404"/>
                  <a:gd name="T95" fmla="*/ 121 h 291"/>
                  <a:gd name="T96" fmla="*/ 79 w 404"/>
                  <a:gd name="T97" fmla="*/ 89 h 291"/>
                  <a:gd name="T98" fmla="*/ 19 w 404"/>
                  <a:gd name="T99" fmla="*/ 70 h 291"/>
                  <a:gd name="T100" fmla="*/ 0 w 404"/>
                  <a:gd name="T101" fmla="*/ 29 h 291"/>
                  <a:gd name="T102" fmla="*/ 2 w 404"/>
                  <a:gd name="T103" fmla="*/ 1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4" h="291">
                    <a:moveTo>
                      <a:pt x="2" y="19"/>
                    </a:moveTo>
                    <a:lnTo>
                      <a:pt x="42" y="0"/>
                    </a:lnTo>
                    <a:lnTo>
                      <a:pt x="113" y="25"/>
                    </a:lnTo>
                    <a:lnTo>
                      <a:pt x="164" y="2"/>
                    </a:lnTo>
                    <a:lnTo>
                      <a:pt x="225" y="29"/>
                    </a:lnTo>
                    <a:lnTo>
                      <a:pt x="234" y="53"/>
                    </a:lnTo>
                    <a:lnTo>
                      <a:pt x="263" y="42"/>
                    </a:lnTo>
                    <a:lnTo>
                      <a:pt x="259" y="74"/>
                    </a:lnTo>
                    <a:lnTo>
                      <a:pt x="289" y="61"/>
                    </a:lnTo>
                    <a:lnTo>
                      <a:pt x="295" y="31"/>
                    </a:lnTo>
                    <a:lnTo>
                      <a:pt x="353" y="46"/>
                    </a:lnTo>
                    <a:lnTo>
                      <a:pt x="359" y="72"/>
                    </a:lnTo>
                    <a:lnTo>
                      <a:pt x="380" y="68"/>
                    </a:lnTo>
                    <a:lnTo>
                      <a:pt x="353" y="89"/>
                    </a:lnTo>
                    <a:lnTo>
                      <a:pt x="351" y="95"/>
                    </a:lnTo>
                    <a:lnTo>
                      <a:pt x="385" y="102"/>
                    </a:lnTo>
                    <a:lnTo>
                      <a:pt x="397" y="125"/>
                    </a:lnTo>
                    <a:lnTo>
                      <a:pt x="387" y="151"/>
                    </a:lnTo>
                    <a:lnTo>
                      <a:pt x="404" y="151"/>
                    </a:lnTo>
                    <a:lnTo>
                      <a:pt x="383" y="180"/>
                    </a:lnTo>
                    <a:lnTo>
                      <a:pt x="400" y="189"/>
                    </a:lnTo>
                    <a:lnTo>
                      <a:pt x="380" y="197"/>
                    </a:lnTo>
                    <a:lnTo>
                      <a:pt x="385" y="231"/>
                    </a:lnTo>
                    <a:lnTo>
                      <a:pt x="368" y="280"/>
                    </a:lnTo>
                    <a:lnTo>
                      <a:pt x="334" y="272"/>
                    </a:lnTo>
                    <a:lnTo>
                      <a:pt x="329" y="289"/>
                    </a:lnTo>
                    <a:lnTo>
                      <a:pt x="291" y="291"/>
                    </a:lnTo>
                    <a:lnTo>
                      <a:pt x="283" y="276"/>
                    </a:lnTo>
                    <a:lnTo>
                      <a:pt x="302" y="274"/>
                    </a:lnTo>
                    <a:lnTo>
                      <a:pt x="283" y="263"/>
                    </a:lnTo>
                    <a:lnTo>
                      <a:pt x="210" y="272"/>
                    </a:lnTo>
                    <a:lnTo>
                      <a:pt x="183" y="248"/>
                    </a:lnTo>
                    <a:lnTo>
                      <a:pt x="229" y="253"/>
                    </a:lnTo>
                    <a:lnTo>
                      <a:pt x="234" y="231"/>
                    </a:lnTo>
                    <a:lnTo>
                      <a:pt x="198" y="221"/>
                    </a:lnTo>
                    <a:lnTo>
                      <a:pt x="185" y="233"/>
                    </a:lnTo>
                    <a:lnTo>
                      <a:pt x="174" y="216"/>
                    </a:lnTo>
                    <a:lnTo>
                      <a:pt x="176" y="244"/>
                    </a:lnTo>
                    <a:lnTo>
                      <a:pt x="134" y="227"/>
                    </a:lnTo>
                    <a:lnTo>
                      <a:pt x="138" y="272"/>
                    </a:lnTo>
                    <a:lnTo>
                      <a:pt x="127" y="270"/>
                    </a:lnTo>
                    <a:lnTo>
                      <a:pt x="125" y="221"/>
                    </a:lnTo>
                    <a:lnTo>
                      <a:pt x="79" y="187"/>
                    </a:lnTo>
                    <a:lnTo>
                      <a:pt x="96" y="185"/>
                    </a:lnTo>
                    <a:lnTo>
                      <a:pt x="55" y="180"/>
                    </a:lnTo>
                    <a:lnTo>
                      <a:pt x="36" y="155"/>
                    </a:lnTo>
                    <a:lnTo>
                      <a:pt x="42" y="127"/>
                    </a:lnTo>
                    <a:lnTo>
                      <a:pt x="72" y="121"/>
                    </a:lnTo>
                    <a:lnTo>
                      <a:pt x="79" y="89"/>
                    </a:lnTo>
                    <a:lnTo>
                      <a:pt x="19" y="70"/>
                    </a:lnTo>
                    <a:lnTo>
                      <a:pt x="0" y="29"/>
                    </a:lnTo>
                    <a:lnTo>
                      <a:pt x="2" y="19"/>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83" name="35">
                <a:extLst>
                  <a:ext uri="{FF2B5EF4-FFF2-40B4-BE49-F238E27FC236}">
                    <a16:creationId xmlns:a16="http://schemas.microsoft.com/office/drawing/2014/main" id="{C55B4F99-949A-4BB4-BB48-F86ED0432F94}"/>
                  </a:ext>
                </a:extLst>
              </p:cNvPr>
              <p:cNvSpPr>
                <a:spLocks/>
              </p:cNvSpPr>
              <p:nvPr/>
            </p:nvSpPr>
            <p:spPr bwMode="gray">
              <a:xfrm>
                <a:off x="4879887" y="2683160"/>
                <a:ext cx="444095" cy="557268"/>
              </a:xfrm>
              <a:custGeom>
                <a:avLst/>
                <a:gdLst>
                  <a:gd name="T0" fmla="*/ 2 w 310"/>
                  <a:gd name="T1" fmla="*/ 247 h 389"/>
                  <a:gd name="T2" fmla="*/ 29 w 310"/>
                  <a:gd name="T3" fmla="*/ 226 h 389"/>
                  <a:gd name="T4" fmla="*/ 8 w 310"/>
                  <a:gd name="T5" fmla="*/ 230 h 389"/>
                  <a:gd name="T6" fmla="*/ 2 w 310"/>
                  <a:gd name="T7" fmla="*/ 204 h 389"/>
                  <a:gd name="T8" fmla="*/ 29 w 310"/>
                  <a:gd name="T9" fmla="*/ 162 h 389"/>
                  <a:gd name="T10" fmla="*/ 87 w 310"/>
                  <a:gd name="T11" fmla="*/ 153 h 389"/>
                  <a:gd name="T12" fmla="*/ 95 w 310"/>
                  <a:gd name="T13" fmla="*/ 130 h 389"/>
                  <a:gd name="T14" fmla="*/ 102 w 310"/>
                  <a:gd name="T15" fmla="*/ 62 h 389"/>
                  <a:gd name="T16" fmla="*/ 53 w 310"/>
                  <a:gd name="T17" fmla="*/ 36 h 389"/>
                  <a:gd name="T18" fmla="*/ 49 w 310"/>
                  <a:gd name="T19" fmla="*/ 24 h 389"/>
                  <a:gd name="T20" fmla="*/ 123 w 310"/>
                  <a:gd name="T21" fmla="*/ 0 h 389"/>
                  <a:gd name="T22" fmla="*/ 121 w 310"/>
                  <a:gd name="T23" fmla="*/ 34 h 389"/>
                  <a:gd name="T24" fmla="*/ 189 w 310"/>
                  <a:gd name="T25" fmla="*/ 34 h 389"/>
                  <a:gd name="T26" fmla="*/ 219 w 310"/>
                  <a:gd name="T27" fmla="*/ 98 h 389"/>
                  <a:gd name="T28" fmla="*/ 265 w 310"/>
                  <a:gd name="T29" fmla="*/ 70 h 389"/>
                  <a:gd name="T30" fmla="*/ 306 w 310"/>
                  <a:gd name="T31" fmla="*/ 87 h 389"/>
                  <a:gd name="T32" fmla="*/ 308 w 310"/>
                  <a:gd name="T33" fmla="*/ 153 h 389"/>
                  <a:gd name="T34" fmla="*/ 295 w 310"/>
                  <a:gd name="T35" fmla="*/ 175 h 389"/>
                  <a:gd name="T36" fmla="*/ 310 w 310"/>
                  <a:gd name="T37" fmla="*/ 266 h 389"/>
                  <a:gd name="T38" fmla="*/ 276 w 310"/>
                  <a:gd name="T39" fmla="*/ 281 h 389"/>
                  <a:gd name="T40" fmla="*/ 250 w 310"/>
                  <a:gd name="T41" fmla="*/ 336 h 389"/>
                  <a:gd name="T42" fmla="*/ 250 w 310"/>
                  <a:gd name="T43" fmla="*/ 338 h 389"/>
                  <a:gd name="T44" fmla="*/ 246 w 310"/>
                  <a:gd name="T45" fmla="*/ 351 h 389"/>
                  <a:gd name="T46" fmla="*/ 195 w 310"/>
                  <a:gd name="T47" fmla="*/ 326 h 389"/>
                  <a:gd name="T48" fmla="*/ 144 w 310"/>
                  <a:gd name="T49" fmla="*/ 366 h 389"/>
                  <a:gd name="T50" fmla="*/ 68 w 310"/>
                  <a:gd name="T51" fmla="*/ 370 h 389"/>
                  <a:gd name="T52" fmla="*/ 34 w 310"/>
                  <a:gd name="T53" fmla="*/ 389 h 389"/>
                  <a:gd name="T54" fmla="*/ 29 w 310"/>
                  <a:gd name="T55" fmla="*/ 355 h 389"/>
                  <a:gd name="T56" fmla="*/ 49 w 310"/>
                  <a:gd name="T57" fmla="*/ 347 h 389"/>
                  <a:gd name="T58" fmla="*/ 32 w 310"/>
                  <a:gd name="T59" fmla="*/ 338 h 389"/>
                  <a:gd name="T60" fmla="*/ 53 w 310"/>
                  <a:gd name="T61" fmla="*/ 309 h 389"/>
                  <a:gd name="T62" fmla="*/ 36 w 310"/>
                  <a:gd name="T63" fmla="*/ 309 h 389"/>
                  <a:gd name="T64" fmla="*/ 46 w 310"/>
                  <a:gd name="T65" fmla="*/ 283 h 389"/>
                  <a:gd name="T66" fmla="*/ 34 w 310"/>
                  <a:gd name="T67" fmla="*/ 260 h 389"/>
                  <a:gd name="T68" fmla="*/ 0 w 310"/>
                  <a:gd name="T69" fmla="*/ 253 h 389"/>
                  <a:gd name="T70" fmla="*/ 2 w 310"/>
                  <a:gd name="T71" fmla="*/ 247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0" h="389">
                    <a:moveTo>
                      <a:pt x="2" y="247"/>
                    </a:moveTo>
                    <a:lnTo>
                      <a:pt x="29" y="226"/>
                    </a:lnTo>
                    <a:lnTo>
                      <a:pt x="8" y="230"/>
                    </a:lnTo>
                    <a:lnTo>
                      <a:pt x="2" y="204"/>
                    </a:lnTo>
                    <a:lnTo>
                      <a:pt x="29" y="162"/>
                    </a:lnTo>
                    <a:lnTo>
                      <a:pt x="87" y="153"/>
                    </a:lnTo>
                    <a:lnTo>
                      <a:pt x="95" y="130"/>
                    </a:lnTo>
                    <a:lnTo>
                      <a:pt x="102" y="62"/>
                    </a:lnTo>
                    <a:lnTo>
                      <a:pt x="53" y="36"/>
                    </a:lnTo>
                    <a:lnTo>
                      <a:pt x="49" y="24"/>
                    </a:lnTo>
                    <a:lnTo>
                      <a:pt x="123" y="0"/>
                    </a:lnTo>
                    <a:lnTo>
                      <a:pt x="121" y="34"/>
                    </a:lnTo>
                    <a:lnTo>
                      <a:pt x="189" y="34"/>
                    </a:lnTo>
                    <a:lnTo>
                      <a:pt x="219" y="98"/>
                    </a:lnTo>
                    <a:lnTo>
                      <a:pt x="265" y="70"/>
                    </a:lnTo>
                    <a:lnTo>
                      <a:pt x="306" y="87"/>
                    </a:lnTo>
                    <a:lnTo>
                      <a:pt x="308" y="153"/>
                    </a:lnTo>
                    <a:lnTo>
                      <a:pt x="295" y="175"/>
                    </a:lnTo>
                    <a:lnTo>
                      <a:pt x="310" y="266"/>
                    </a:lnTo>
                    <a:lnTo>
                      <a:pt x="276" y="281"/>
                    </a:lnTo>
                    <a:lnTo>
                      <a:pt x="250" y="336"/>
                    </a:lnTo>
                    <a:lnTo>
                      <a:pt x="250" y="338"/>
                    </a:lnTo>
                    <a:lnTo>
                      <a:pt x="246" y="351"/>
                    </a:lnTo>
                    <a:lnTo>
                      <a:pt x="195" y="326"/>
                    </a:lnTo>
                    <a:lnTo>
                      <a:pt x="144" y="366"/>
                    </a:lnTo>
                    <a:lnTo>
                      <a:pt x="68" y="370"/>
                    </a:lnTo>
                    <a:lnTo>
                      <a:pt x="34" y="389"/>
                    </a:lnTo>
                    <a:lnTo>
                      <a:pt x="29" y="355"/>
                    </a:lnTo>
                    <a:lnTo>
                      <a:pt x="49" y="347"/>
                    </a:lnTo>
                    <a:lnTo>
                      <a:pt x="32" y="338"/>
                    </a:lnTo>
                    <a:lnTo>
                      <a:pt x="53" y="309"/>
                    </a:lnTo>
                    <a:lnTo>
                      <a:pt x="36" y="309"/>
                    </a:lnTo>
                    <a:lnTo>
                      <a:pt x="46" y="283"/>
                    </a:lnTo>
                    <a:lnTo>
                      <a:pt x="34" y="260"/>
                    </a:lnTo>
                    <a:lnTo>
                      <a:pt x="0" y="253"/>
                    </a:lnTo>
                    <a:lnTo>
                      <a:pt x="2" y="247"/>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grpSp>
        <p:grpSp>
          <p:nvGrpSpPr>
            <p:cNvPr id="163" name="Bretagne (N° Départements)">
              <a:extLst>
                <a:ext uri="{FF2B5EF4-FFF2-40B4-BE49-F238E27FC236}">
                  <a16:creationId xmlns:a16="http://schemas.microsoft.com/office/drawing/2014/main" id="{CBFA8B1F-7E67-4BE6-9135-F7C0EC59F679}"/>
                </a:ext>
              </a:extLst>
            </p:cNvPr>
            <p:cNvGrpSpPr/>
            <p:nvPr/>
          </p:nvGrpSpPr>
          <p:grpSpPr>
            <a:xfrm>
              <a:off x="4945684" y="2588277"/>
              <a:ext cx="1041532" cy="461277"/>
              <a:chOff x="4192228" y="2757662"/>
              <a:chExt cx="1041532" cy="461277"/>
            </a:xfrm>
            <a:noFill/>
          </p:grpSpPr>
          <p:sp>
            <p:nvSpPr>
              <p:cNvPr id="276" name="29">
                <a:extLst>
                  <a:ext uri="{FF2B5EF4-FFF2-40B4-BE49-F238E27FC236}">
                    <a16:creationId xmlns:a16="http://schemas.microsoft.com/office/drawing/2014/main" id="{D66B8D3B-6FD5-4C79-8143-9D4670708243}"/>
                  </a:ext>
                </a:extLst>
              </p:cNvPr>
              <p:cNvSpPr txBox="1"/>
              <p:nvPr/>
            </p:nvSpPr>
            <p:spPr>
              <a:xfrm>
                <a:off x="4192228" y="2757662"/>
                <a:ext cx="184830" cy="166169"/>
              </a:xfrm>
              <a:prstGeom prst="rect">
                <a:avLst/>
              </a:prstGeom>
              <a:grpFill/>
            </p:spPr>
            <p:txBody>
              <a:bodyPr wrap="none" lIns="0" tIns="0" rIns="0" bIns="0" rtlCol="0">
                <a:noAutofit/>
              </a:bodyPr>
              <a:lstStyle/>
              <a:p>
                <a:r>
                  <a:rPr lang="fr-FR" sz="800">
                    <a:solidFill>
                      <a:srgbClr val="FFFFFF"/>
                    </a:solidFill>
                    <a:latin typeface="Tahoma"/>
                  </a:rPr>
                  <a:t>29</a:t>
                </a:r>
              </a:p>
            </p:txBody>
          </p:sp>
          <p:sp>
            <p:nvSpPr>
              <p:cNvPr id="277" name="22">
                <a:extLst>
                  <a:ext uri="{FF2B5EF4-FFF2-40B4-BE49-F238E27FC236}">
                    <a16:creationId xmlns:a16="http://schemas.microsoft.com/office/drawing/2014/main" id="{8A1D47A6-D74C-431D-8DF1-4097FC0B78A1}"/>
                  </a:ext>
                </a:extLst>
              </p:cNvPr>
              <p:cNvSpPr txBox="1"/>
              <p:nvPr/>
            </p:nvSpPr>
            <p:spPr>
              <a:xfrm>
                <a:off x="4633471" y="2757662"/>
                <a:ext cx="184830" cy="166169"/>
              </a:xfrm>
              <a:prstGeom prst="rect">
                <a:avLst/>
              </a:prstGeom>
              <a:grpFill/>
            </p:spPr>
            <p:txBody>
              <a:bodyPr wrap="none" lIns="0" tIns="0" rIns="0" bIns="0" rtlCol="0">
                <a:noAutofit/>
              </a:bodyPr>
              <a:lstStyle/>
              <a:p>
                <a:r>
                  <a:rPr lang="fr-FR" sz="800">
                    <a:solidFill>
                      <a:srgbClr val="FFFFFF"/>
                    </a:solidFill>
                    <a:latin typeface="Tahoma"/>
                  </a:rPr>
                  <a:t>22</a:t>
                </a:r>
              </a:p>
            </p:txBody>
          </p:sp>
          <p:sp>
            <p:nvSpPr>
              <p:cNvPr id="278" name="56">
                <a:extLst>
                  <a:ext uri="{FF2B5EF4-FFF2-40B4-BE49-F238E27FC236}">
                    <a16:creationId xmlns:a16="http://schemas.microsoft.com/office/drawing/2014/main" id="{0B9FD103-C8A4-47CD-B566-837F8A52B48C}"/>
                  </a:ext>
                </a:extLst>
              </p:cNvPr>
              <p:cNvSpPr txBox="1"/>
              <p:nvPr/>
            </p:nvSpPr>
            <p:spPr>
              <a:xfrm>
                <a:off x="4633471" y="3052770"/>
                <a:ext cx="184830" cy="166169"/>
              </a:xfrm>
              <a:prstGeom prst="rect">
                <a:avLst/>
              </a:prstGeom>
              <a:grpFill/>
            </p:spPr>
            <p:txBody>
              <a:bodyPr wrap="none" lIns="0" tIns="0" rIns="0" bIns="0" rtlCol="0">
                <a:noAutofit/>
              </a:bodyPr>
              <a:lstStyle/>
              <a:p>
                <a:r>
                  <a:rPr lang="fr-FR" sz="800">
                    <a:solidFill>
                      <a:srgbClr val="FFFFFF"/>
                    </a:solidFill>
                    <a:latin typeface="Tahoma"/>
                  </a:rPr>
                  <a:t>56</a:t>
                </a:r>
              </a:p>
            </p:txBody>
          </p:sp>
          <p:sp>
            <p:nvSpPr>
              <p:cNvPr id="279" name="35">
                <a:extLst>
                  <a:ext uri="{FF2B5EF4-FFF2-40B4-BE49-F238E27FC236}">
                    <a16:creationId xmlns:a16="http://schemas.microsoft.com/office/drawing/2014/main" id="{0982A5D3-5092-45E7-8BF0-250123BA3087}"/>
                  </a:ext>
                </a:extLst>
              </p:cNvPr>
              <p:cNvSpPr txBox="1"/>
              <p:nvPr/>
            </p:nvSpPr>
            <p:spPr>
              <a:xfrm>
                <a:off x="5048930" y="2909505"/>
                <a:ext cx="184830" cy="166169"/>
              </a:xfrm>
              <a:prstGeom prst="rect">
                <a:avLst/>
              </a:prstGeom>
              <a:grpFill/>
            </p:spPr>
            <p:txBody>
              <a:bodyPr wrap="none" lIns="0" tIns="0" rIns="0" bIns="0" rtlCol="0">
                <a:noAutofit/>
              </a:bodyPr>
              <a:lstStyle/>
              <a:p>
                <a:r>
                  <a:rPr lang="fr-FR" sz="800">
                    <a:solidFill>
                      <a:srgbClr val="FFFFFF"/>
                    </a:solidFill>
                    <a:latin typeface="Tahoma"/>
                  </a:rPr>
                  <a:t>35</a:t>
                </a:r>
              </a:p>
            </p:txBody>
          </p:sp>
        </p:grpSp>
        <p:grpSp>
          <p:nvGrpSpPr>
            <p:cNvPr id="164" name="Bourgogne Franche Comté (Formes)">
              <a:extLst>
                <a:ext uri="{FF2B5EF4-FFF2-40B4-BE49-F238E27FC236}">
                  <a16:creationId xmlns:a16="http://schemas.microsoft.com/office/drawing/2014/main" id="{98E90655-9189-4C0C-887B-DD079EF93773}"/>
                </a:ext>
              </a:extLst>
            </p:cNvPr>
            <p:cNvGrpSpPr/>
            <p:nvPr/>
          </p:nvGrpSpPr>
          <p:grpSpPr>
            <a:xfrm>
              <a:off x="7429779" y="2742985"/>
              <a:ext cx="1518520" cy="1168973"/>
              <a:chOff x="6676323" y="2912370"/>
              <a:chExt cx="1518520" cy="1168973"/>
            </a:xfrm>
            <a:solidFill>
              <a:srgbClr val="667E76"/>
            </a:solidFill>
          </p:grpSpPr>
          <p:grpSp>
            <p:nvGrpSpPr>
              <p:cNvPr id="266" name="Franche Comté (Formes)">
                <a:extLst>
                  <a:ext uri="{FF2B5EF4-FFF2-40B4-BE49-F238E27FC236}">
                    <a16:creationId xmlns:a16="http://schemas.microsoft.com/office/drawing/2014/main" id="{60319AD2-1484-4C2A-B630-71CB6B193196}"/>
                  </a:ext>
                </a:extLst>
              </p:cNvPr>
              <p:cNvGrpSpPr/>
              <p:nvPr/>
            </p:nvGrpSpPr>
            <p:grpSpPr>
              <a:xfrm>
                <a:off x="7537296" y="3088575"/>
                <a:ext cx="657547" cy="928301"/>
                <a:chOff x="7537296" y="3088575"/>
                <a:chExt cx="657547" cy="928301"/>
              </a:xfrm>
              <a:grpFill/>
            </p:grpSpPr>
            <p:sp>
              <p:nvSpPr>
                <p:cNvPr id="272" name="90">
                  <a:extLst>
                    <a:ext uri="{FF2B5EF4-FFF2-40B4-BE49-F238E27FC236}">
                      <a16:creationId xmlns:a16="http://schemas.microsoft.com/office/drawing/2014/main" id="{F6F78476-CDC7-46EC-9549-D3EF76CA9C2F}"/>
                    </a:ext>
                  </a:extLst>
                </p:cNvPr>
                <p:cNvSpPr>
                  <a:spLocks/>
                </p:cNvSpPr>
                <p:nvPr/>
              </p:nvSpPr>
              <p:spPr bwMode="gray">
                <a:xfrm>
                  <a:off x="8055884" y="3185989"/>
                  <a:ext cx="138959" cy="200559"/>
                </a:xfrm>
                <a:custGeom>
                  <a:avLst/>
                  <a:gdLst>
                    <a:gd name="T0" fmla="*/ 2 w 97"/>
                    <a:gd name="T1" fmla="*/ 32 h 140"/>
                    <a:gd name="T2" fmla="*/ 17 w 97"/>
                    <a:gd name="T3" fmla="*/ 96 h 140"/>
                    <a:gd name="T4" fmla="*/ 51 w 97"/>
                    <a:gd name="T5" fmla="*/ 113 h 140"/>
                    <a:gd name="T6" fmla="*/ 40 w 97"/>
                    <a:gd name="T7" fmla="*/ 119 h 140"/>
                    <a:gd name="T8" fmla="*/ 51 w 97"/>
                    <a:gd name="T9" fmla="*/ 140 h 140"/>
                    <a:gd name="T10" fmla="*/ 61 w 97"/>
                    <a:gd name="T11" fmla="*/ 119 h 140"/>
                    <a:gd name="T12" fmla="*/ 97 w 97"/>
                    <a:gd name="T13" fmla="*/ 115 h 140"/>
                    <a:gd name="T14" fmla="*/ 83 w 97"/>
                    <a:gd name="T15" fmla="*/ 79 h 140"/>
                    <a:gd name="T16" fmla="*/ 63 w 97"/>
                    <a:gd name="T17" fmla="*/ 81 h 140"/>
                    <a:gd name="T18" fmla="*/ 70 w 97"/>
                    <a:gd name="T19" fmla="*/ 36 h 140"/>
                    <a:gd name="T20" fmla="*/ 23 w 97"/>
                    <a:gd name="T21" fmla="*/ 4 h 140"/>
                    <a:gd name="T22" fmla="*/ 21 w 97"/>
                    <a:gd name="T23" fmla="*/ 0 h 140"/>
                    <a:gd name="T24" fmla="*/ 15 w 97"/>
                    <a:gd name="T25" fmla="*/ 2 h 140"/>
                    <a:gd name="T26" fmla="*/ 0 w 97"/>
                    <a:gd name="T27" fmla="*/ 28 h 140"/>
                    <a:gd name="T28" fmla="*/ 2 w 97"/>
                    <a:gd name="T29" fmla="*/ 3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140">
                      <a:moveTo>
                        <a:pt x="2" y="32"/>
                      </a:moveTo>
                      <a:lnTo>
                        <a:pt x="17" y="96"/>
                      </a:lnTo>
                      <a:lnTo>
                        <a:pt x="51" y="113"/>
                      </a:lnTo>
                      <a:lnTo>
                        <a:pt x="40" y="119"/>
                      </a:lnTo>
                      <a:lnTo>
                        <a:pt x="51" y="140"/>
                      </a:lnTo>
                      <a:lnTo>
                        <a:pt x="61" y="119"/>
                      </a:lnTo>
                      <a:lnTo>
                        <a:pt x="97" y="115"/>
                      </a:lnTo>
                      <a:lnTo>
                        <a:pt x="83" y="79"/>
                      </a:lnTo>
                      <a:lnTo>
                        <a:pt x="63" y="81"/>
                      </a:lnTo>
                      <a:lnTo>
                        <a:pt x="70" y="36"/>
                      </a:lnTo>
                      <a:lnTo>
                        <a:pt x="23" y="4"/>
                      </a:lnTo>
                      <a:lnTo>
                        <a:pt x="21" y="0"/>
                      </a:lnTo>
                      <a:lnTo>
                        <a:pt x="15" y="2"/>
                      </a:lnTo>
                      <a:lnTo>
                        <a:pt x="0" y="28"/>
                      </a:lnTo>
                      <a:lnTo>
                        <a:pt x="2" y="32"/>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73" name="89">
                  <a:extLst>
                    <a:ext uri="{FF2B5EF4-FFF2-40B4-BE49-F238E27FC236}">
                      <a16:creationId xmlns:a16="http://schemas.microsoft.com/office/drawing/2014/main" id="{140E3AE7-EF17-46A2-8484-F2DD321AC3FA}"/>
                    </a:ext>
                  </a:extLst>
                </p:cNvPr>
                <p:cNvSpPr>
                  <a:spLocks/>
                </p:cNvSpPr>
                <p:nvPr/>
              </p:nvSpPr>
              <p:spPr bwMode="gray">
                <a:xfrm>
                  <a:off x="7537296" y="3472502"/>
                  <a:ext cx="345249" cy="544374"/>
                </a:xfrm>
                <a:custGeom>
                  <a:avLst/>
                  <a:gdLst>
                    <a:gd name="T0" fmla="*/ 2 w 241"/>
                    <a:gd name="T1" fmla="*/ 132 h 380"/>
                    <a:gd name="T2" fmla="*/ 0 w 241"/>
                    <a:gd name="T3" fmla="*/ 121 h 380"/>
                    <a:gd name="T4" fmla="*/ 45 w 241"/>
                    <a:gd name="T5" fmla="*/ 59 h 380"/>
                    <a:gd name="T6" fmla="*/ 64 w 241"/>
                    <a:gd name="T7" fmla="*/ 0 h 380"/>
                    <a:gd name="T8" fmla="*/ 79 w 241"/>
                    <a:gd name="T9" fmla="*/ 19 h 380"/>
                    <a:gd name="T10" fmla="*/ 109 w 241"/>
                    <a:gd name="T11" fmla="*/ 13 h 380"/>
                    <a:gd name="T12" fmla="*/ 141 w 241"/>
                    <a:gd name="T13" fmla="*/ 57 h 380"/>
                    <a:gd name="T14" fmla="*/ 124 w 241"/>
                    <a:gd name="T15" fmla="*/ 102 h 380"/>
                    <a:gd name="T16" fmla="*/ 138 w 241"/>
                    <a:gd name="T17" fmla="*/ 91 h 380"/>
                    <a:gd name="T18" fmla="*/ 164 w 241"/>
                    <a:gd name="T19" fmla="*/ 102 h 380"/>
                    <a:gd name="T20" fmla="*/ 194 w 241"/>
                    <a:gd name="T21" fmla="*/ 161 h 380"/>
                    <a:gd name="T22" fmla="*/ 241 w 241"/>
                    <a:gd name="T23" fmla="*/ 189 h 380"/>
                    <a:gd name="T24" fmla="*/ 209 w 241"/>
                    <a:gd name="T25" fmla="*/ 221 h 380"/>
                    <a:gd name="T26" fmla="*/ 202 w 241"/>
                    <a:gd name="T27" fmla="*/ 253 h 380"/>
                    <a:gd name="T28" fmla="*/ 226 w 241"/>
                    <a:gd name="T29" fmla="*/ 270 h 380"/>
                    <a:gd name="T30" fmla="*/ 209 w 241"/>
                    <a:gd name="T31" fmla="*/ 321 h 380"/>
                    <a:gd name="T32" fmla="*/ 162 w 241"/>
                    <a:gd name="T33" fmla="*/ 378 h 380"/>
                    <a:gd name="T34" fmla="*/ 126 w 241"/>
                    <a:gd name="T35" fmla="*/ 380 h 380"/>
                    <a:gd name="T36" fmla="*/ 104 w 241"/>
                    <a:gd name="T37" fmla="*/ 353 h 380"/>
                    <a:gd name="T38" fmla="*/ 70 w 241"/>
                    <a:gd name="T39" fmla="*/ 380 h 380"/>
                    <a:gd name="T40" fmla="*/ 49 w 241"/>
                    <a:gd name="T41" fmla="*/ 351 h 380"/>
                    <a:gd name="T42" fmla="*/ 43 w 241"/>
                    <a:gd name="T43" fmla="*/ 363 h 380"/>
                    <a:gd name="T44" fmla="*/ 19 w 241"/>
                    <a:gd name="T45" fmla="*/ 315 h 380"/>
                    <a:gd name="T46" fmla="*/ 45 w 241"/>
                    <a:gd name="T47" fmla="*/ 302 h 380"/>
                    <a:gd name="T48" fmla="*/ 30 w 241"/>
                    <a:gd name="T49" fmla="*/ 274 h 380"/>
                    <a:gd name="T50" fmla="*/ 49 w 241"/>
                    <a:gd name="T51" fmla="*/ 244 h 380"/>
                    <a:gd name="T52" fmla="*/ 19 w 241"/>
                    <a:gd name="T53" fmla="*/ 183 h 380"/>
                    <a:gd name="T54" fmla="*/ 53 w 241"/>
                    <a:gd name="T55" fmla="*/ 166 h 380"/>
                    <a:gd name="T56" fmla="*/ 0 w 241"/>
                    <a:gd name="T57" fmla="*/ 134 h 380"/>
                    <a:gd name="T58" fmla="*/ 2 w 241"/>
                    <a:gd name="T59" fmla="*/ 13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1" h="380">
                      <a:moveTo>
                        <a:pt x="2" y="132"/>
                      </a:moveTo>
                      <a:lnTo>
                        <a:pt x="0" y="121"/>
                      </a:lnTo>
                      <a:lnTo>
                        <a:pt x="45" y="59"/>
                      </a:lnTo>
                      <a:lnTo>
                        <a:pt x="64" y="0"/>
                      </a:lnTo>
                      <a:lnTo>
                        <a:pt x="79" y="19"/>
                      </a:lnTo>
                      <a:lnTo>
                        <a:pt x="109" y="13"/>
                      </a:lnTo>
                      <a:lnTo>
                        <a:pt x="141" y="57"/>
                      </a:lnTo>
                      <a:lnTo>
                        <a:pt x="124" y="102"/>
                      </a:lnTo>
                      <a:lnTo>
                        <a:pt x="138" y="91"/>
                      </a:lnTo>
                      <a:lnTo>
                        <a:pt x="164" y="102"/>
                      </a:lnTo>
                      <a:lnTo>
                        <a:pt x="194" y="161"/>
                      </a:lnTo>
                      <a:lnTo>
                        <a:pt x="241" y="189"/>
                      </a:lnTo>
                      <a:lnTo>
                        <a:pt x="209" y="221"/>
                      </a:lnTo>
                      <a:lnTo>
                        <a:pt x="202" y="253"/>
                      </a:lnTo>
                      <a:lnTo>
                        <a:pt x="226" y="270"/>
                      </a:lnTo>
                      <a:lnTo>
                        <a:pt x="209" y="321"/>
                      </a:lnTo>
                      <a:lnTo>
                        <a:pt x="162" y="378"/>
                      </a:lnTo>
                      <a:lnTo>
                        <a:pt x="126" y="380"/>
                      </a:lnTo>
                      <a:lnTo>
                        <a:pt x="104" y="353"/>
                      </a:lnTo>
                      <a:lnTo>
                        <a:pt x="70" y="380"/>
                      </a:lnTo>
                      <a:lnTo>
                        <a:pt x="49" y="351"/>
                      </a:lnTo>
                      <a:lnTo>
                        <a:pt x="43" y="363"/>
                      </a:lnTo>
                      <a:lnTo>
                        <a:pt x="19" y="315"/>
                      </a:lnTo>
                      <a:lnTo>
                        <a:pt x="45" y="302"/>
                      </a:lnTo>
                      <a:lnTo>
                        <a:pt x="30" y="274"/>
                      </a:lnTo>
                      <a:lnTo>
                        <a:pt x="49" y="244"/>
                      </a:lnTo>
                      <a:lnTo>
                        <a:pt x="19" y="183"/>
                      </a:lnTo>
                      <a:lnTo>
                        <a:pt x="53" y="166"/>
                      </a:lnTo>
                      <a:lnTo>
                        <a:pt x="0" y="134"/>
                      </a:lnTo>
                      <a:lnTo>
                        <a:pt x="2" y="132"/>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FFFFFF"/>
                    </a:solidFill>
                    <a:latin typeface="Tahoma"/>
                  </a:endParaRPr>
                </a:p>
              </p:txBody>
            </p:sp>
            <p:sp>
              <p:nvSpPr>
                <p:cNvPr id="274" name="70">
                  <a:extLst>
                    <a:ext uri="{FF2B5EF4-FFF2-40B4-BE49-F238E27FC236}">
                      <a16:creationId xmlns:a16="http://schemas.microsoft.com/office/drawing/2014/main" id="{14C942F0-6040-4696-82DA-58AA4BDF3498}"/>
                    </a:ext>
                  </a:extLst>
                </p:cNvPr>
                <p:cNvSpPr>
                  <a:spLocks/>
                </p:cNvSpPr>
                <p:nvPr/>
              </p:nvSpPr>
              <p:spPr bwMode="gray">
                <a:xfrm>
                  <a:off x="7571678" y="3088575"/>
                  <a:ext cx="508561" cy="411147"/>
                </a:xfrm>
                <a:custGeom>
                  <a:avLst/>
                  <a:gdLst>
                    <a:gd name="T0" fmla="*/ 0 w 355"/>
                    <a:gd name="T1" fmla="*/ 159 h 287"/>
                    <a:gd name="T2" fmla="*/ 27 w 355"/>
                    <a:gd name="T3" fmla="*/ 159 h 287"/>
                    <a:gd name="T4" fmla="*/ 27 w 355"/>
                    <a:gd name="T5" fmla="*/ 187 h 287"/>
                    <a:gd name="T6" fmla="*/ 2 w 355"/>
                    <a:gd name="T7" fmla="*/ 210 h 287"/>
                    <a:gd name="T8" fmla="*/ 32 w 355"/>
                    <a:gd name="T9" fmla="*/ 236 h 287"/>
                    <a:gd name="T10" fmla="*/ 40 w 355"/>
                    <a:gd name="T11" fmla="*/ 268 h 287"/>
                    <a:gd name="T12" fmla="*/ 55 w 355"/>
                    <a:gd name="T13" fmla="*/ 287 h 287"/>
                    <a:gd name="T14" fmla="*/ 85 w 355"/>
                    <a:gd name="T15" fmla="*/ 281 h 287"/>
                    <a:gd name="T16" fmla="*/ 87 w 355"/>
                    <a:gd name="T17" fmla="*/ 279 h 287"/>
                    <a:gd name="T18" fmla="*/ 217 w 355"/>
                    <a:gd name="T19" fmla="*/ 223 h 287"/>
                    <a:gd name="T20" fmla="*/ 238 w 355"/>
                    <a:gd name="T21" fmla="*/ 189 h 287"/>
                    <a:gd name="T22" fmla="*/ 293 w 355"/>
                    <a:gd name="T23" fmla="*/ 191 h 287"/>
                    <a:gd name="T24" fmla="*/ 319 w 355"/>
                    <a:gd name="T25" fmla="*/ 159 h 287"/>
                    <a:gd name="T26" fmla="*/ 355 w 355"/>
                    <a:gd name="T27" fmla="*/ 164 h 287"/>
                    <a:gd name="T28" fmla="*/ 340 w 355"/>
                    <a:gd name="T29" fmla="*/ 100 h 287"/>
                    <a:gd name="T30" fmla="*/ 338 w 355"/>
                    <a:gd name="T31" fmla="*/ 96 h 287"/>
                    <a:gd name="T32" fmla="*/ 353 w 355"/>
                    <a:gd name="T33" fmla="*/ 70 h 287"/>
                    <a:gd name="T34" fmla="*/ 297 w 355"/>
                    <a:gd name="T35" fmla="*/ 26 h 287"/>
                    <a:gd name="T36" fmla="*/ 268 w 355"/>
                    <a:gd name="T37" fmla="*/ 47 h 287"/>
                    <a:gd name="T38" fmla="*/ 251 w 355"/>
                    <a:gd name="T39" fmla="*/ 28 h 287"/>
                    <a:gd name="T40" fmla="*/ 251 w 355"/>
                    <a:gd name="T41" fmla="*/ 28 h 287"/>
                    <a:gd name="T42" fmla="*/ 202 w 355"/>
                    <a:gd name="T43" fmla="*/ 34 h 287"/>
                    <a:gd name="T44" fmla="*/ 180 w 355"/>
                    <a:gd name="T45" fmla="*/ 0 h 287"/>
                    <a:gd name="T46" fmla="*/ 123 w 355"/>
                    <a:gd name="T47" fmla="*/ 38 h 287"/>
                    <a:gd name="T48" fmla="*/ 108 w 355"/>
                    <a:gd name="T49" fmla="*/ 68 h 287"/>
                    <a:gd name="T50" fmla="*/ 74 w 355"/>
                    <a:gd name="T51" fmla="*/ 81 h 287"/>
                    <a:gd name="T52" fmla="*/ 78 w 355"/>
                    <a:gd name="T53" fmla="*/ 128 h 287"/>
                    <a:gd name="T54" fmla="*/ 12 w 355"/>
                    <a:gd name="T55" fmla="*/ 132 h 287"/>
                    <a:gd name="T56" fmla="*/ 0 w 355"/>
                    <a:gd name="T57" fmla="*/ 153 h 287"/>
                    <a:gd name="T58" fmla="*/ 0 w 355"/>
                    <a:gd name="T59" fmla="*/ 159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5" h="287">
                      <a:moveTo>
                        <a:pt x="0" y="159"/>
                      </a:moveTo>
                      <a:lnTo>
                        <a:pt x="27" y="159"/>
                      </a:lnTo>
                      <a:lnTo>
                        <a:pt x="27" y="187"/>
                      </a:lnTo>
                      <a:lnTo>
                        <a:pt x="2" y="210"/>
                      </a:lnTo>
                      <a:lnTo>
                        <a:pt x="32" y="236"/>
                      </a:lnTo>
                      <a:lnTo>
                        <a:pt x="40" y="268"/>
                      </a:lnTo>
                      <a:lnTo>
                        <a:pt x="55" y="287"/>
                      </a:lnTo>
                      <a:lnTo>
                        <a:pt x="85" y="281"/>
                      </a:lnTo>
                      <a:lnTo>
                        <a:pt x="87" y="279"/>
                      </a:lnTo>
                      <a:lnTo>
                        <a:pt x="217" y="223"/>
                      </a:lnTo>
                      <a:lnTo>
                        <a:pt x="238" y="189"/>
                      </a:lnTo>
                      <a:lnTo>
                        <a:pt x="293" y="191"/>
                      </a:lnTo>
                      <a:lnTo>
                        <a:pt x="319" y="159"/>
                      </a:lnTo>
                      <a:lnTo>
                        <a:pt x="355" y="164"/>
                      </a:lnTo>
                      <a:lnTo>
                        <a:pt x="340" y="100"/>
                      </a:lnTo>
                      <a:lnTo>
                        <a:pt x="338" y="96"/>
                      </a:lnTo>
                      <a:lnTo>
                        <a:pt x="353" y="70"/>
                      </a:lnTo>
                      <a:lnTo>
                        <a:pt x="297" y="26"/>
                      </a:lnTo>
                      <a:lnTo>
                        <a:pt x="268" y="47"/>
                      </a:lnTo>
                      <a:lnTo>
                        <a:pt x="251" y="28"/>
                      </a:lnTo>
                      <a:lnTo>
                        <a:pt x="251" y="28"/>
                      </a:lnTo>
                      <a:lnTo>
                        <a:pt x="202" y="34"/>
                      </a:lnTo>
                      <a:lnTo>
                        <a:pt x="180" y="0"/>
                      </a:lnTo>
                      <a:lnTo>
                        <a:pt x="123" y="38"/>
                      </a:lnTo>
                      <a:lnTo>
                        <a:pt x="108" y="68"/>
                      </a:lnTo>
                      <a:lnTo>
                        <a:pt x="74" y="81"/>
                      </a:lnTo>
                      <a:lnTo>
                        <a:pt x="78" y="128"/>
                      </a:lnTo>
                      <a:lnTo>
                        <a:pt x="12" y="132"/>
                      </a:lnTo>
                      <a:lnTo>
                        <a:pt x="0" y="153"/>
                      </a:lnTo>
                      <a:lnTo>
                        <a:pt x="0" y="159"/>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75" name="25">
                  <a:extLst>
                    <a:ext uri="{FF2B5EF4-FFF2-40B4-BE49-F238E27FC236}">
                      <a16:creationId xmlns:a16="http://schemas.microsoft.com/office/drawing/2014/main" id="{766E569F-1111-448B-A10C-F29B1521A0F7}"/>
                    </a:ext>
                  </a:extLst>
                </p:cNvPr>
                <p:cNvSpPr>
                  <a:spLocks/>
                </p:cNvSpPr>
                <p:nvPr/>
              </p:nvSpPr>
              <p:spPr bwMode="gray">
                <a:xfrm>
                  <a:off x="7693445" y="3316354"/>
                  <a:ext cx="481342" cy="542943"/>
                </a:xfrm>
                <a:custGeom>
                  <a:avLst/>
                  <a:gdLst>
                    <a:gd name="T0" fmla="*/ 2 w 336"/>
                    <a:gd name="T1" fmla="*/ 120 h 379"/>
                    <a:gd name="T2" fmla="*/ 132 w 336"/>
                    <a:gd name="T3" fmla="*/ 64 h 379"/>
                    <a:gd name="T4" fmla="*/ 153 w 336"/>
                    <a:gd name="T5" fmla="*/ 30 h 379"/>
                    <a:gd name="T6" fmla="*/ 208 w 336"/>
                    <a:gd name="T7" fmla="*/ 32 h 379"/>
                    <a:gd name="T8" fmla="*/ 234 w 336"/>
                    <a:gd name="T9" fmla="*/ 0 h 379"/>
                    <a:gd name="T10" fmla="*/ 270 w 336"/>
                    <a:gd name="T11" fmla="*/ 5 h 379"/>
                    <a:gd name="T12" fmla="*/ 304 w 336"/>
                    <a:gd name="T13" fmla="*/ 22 h 379"/>
                    <a:gd name="T14" fmla="*/ 293 w 336"/>
                    <a:gd name="T15" fmla="*/ 28 h 379"/>
                    <a:gd name="T16" fmla="*/ 304 w 336"/>
                    <a:gd name="T17" fmla="*/ 49 h 379"/>
                    <a:gd name="T18" fmla="*/ 291 w 336"/>
                    <a:gd name="T19" fmla="*/ 79 h 379"/>
                    <a:gd name="T20" fmla="*/ 336 w 336"/>
                    <a:gd name="T21" fmla="*/ 81 h 379"/>
                    <a:gd name="T22" fmla="*/ 251 w 336"/>
                    <a:gd name="T23" fmla="*/ 196 h 379"/>
                    <a:gd name="T24" fmla="*/ 187 w 336"/>
                    <a:gd name="T25" fmla="*/ 241 h 379"/>
                    <a:gd name="T26" fmla="*/ 189 w 336"/>
                    <a:gd name="T27" fmla="*/ 300 h 379"/>
                    <a:gd name="T28" fmla="*/ 117 w 336"/>
                    <a:gd name="T29" fmla="*/ 379 h 379"/>
                    <a:gd name="T30" fmla="*/ 93 w 336"/>
                    <a:gd name="T31" fmla="*/ 362 h 379"/>
                    <a:gd name="T32" fmla="*/ 100 w 336"/>
                    <a:gd name="T33" fmla="*/ 330 h 379"/>
                    <a:gd name="T34" fmla="*/ 132 w 336"/>
                    <a:gd name="T35" fmla="*/ 298 h 379"/>
                    <a:gd name="T36" fmla="*/ 85 w 336"/>
                    <a:gd name="T37" fmla="*/ 270 h 379"/>
                    <a:gd name="T38" fmla="*/ 55 w 336"/>
                    <a:gd name="T39" fmla="*/ 211 h 379"/>
                    <a:gd name="T40" fmla="*/ 29 w 336"/>
                    <a:gd name="T41" fmla="*/ 200 h 379"/>
                    <a:gd name="T42" fmla="*/ 15 w 336"/>
                    <a:gd name="T43" fmla="*/ 211 h 379"/>
                    <a:gd name="T44" fmla="*/ 32 w 336"/>
                    <a:gd name="T45" fmla="*/ 166 h 379"/>
                    <a:gd name="T46" fmla="*/ 0 w 336"/>
                    <a:gd name="T47" fmla="*/ 122 h 379"/>
                    <a:gd name="T48" fmla="*/ 2 w 336"/>
                    <a:gd name="T49" fmla="*/ 12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6" h="379">
                      <a:moveTo>
                        <a:pt x="2" y="120"/>
                      </a:moveTo>
                      <a:lnTo>
                        <a:pt x="132" y="64"/>
                      </a:lnTo>
                      <a:lnTo>
                        <a:pt x="153" y="30"/>
                      </a:lnTo>
                      <a:lnTo>
                        <a:pt x="208" y="32"/>
                      </a:lnTo>
                      <a:lnTo>
                        <a:pt x="234" y="0"/>
                      </a:lnTo>
                      <a:lnTo>
                        <a:pt x="270" y="5"/>
                      </a:lnTo>
                      <a:lnTo>
                        <a:pt x="304" y="22"/>
                      </a:lnTo>
                      <a:lnTo>
                        <a:pt x="293" y="28"/>
                      </a:lnTo>
                      <a:lnTo>
                        <a:pt x="304" y="49"/>
                      </a:lnTo>
                      <a:lnTo>
                        <a:pt x="291" y="79"/>
                      </a:lnTo>
                      <a:lnTo>
                        <a:pt x="336" y="81"/>
                      </a:lnTo>
                      <a:lnTo>
                        <a:pt x="251" y="196"/>
                      </a:lnTo>
                      <a:lnTo>
                        <a:pt x="187" y="241"/>
                      </a:lnTo>
                      <a:lnTo>
                        <a:pt x="189" y="300"/>
                      </a:lnTo>
                      <a:lnTo>
                        <a:pt x="117" y="379"/>
                      </a:lnTo>
                      <a:lnTo>
                        <a:pt x="93" y="362"/>
                      </a:lnTo>
                      <a:lnTo>
                        <a:pt x="100" y="330"/>
                      </a:lnTo>
                      <a:lnTo>
                        <a:pt x="132" y="298"/>
                      </a:lnTo>
                      <a:lnTo>
                        <a:pt x="85" y="270"/>
                      </a:lnTo>
                      <a:lnTo>
                        <a:pt x="55" y="211"/>
                      </a:lnTo>
                      <a:lnTo>
                        <a:pt x="29" y="200"/>
                      </a:lnTo>
                      <a:lnTo>
                        <a:pt x="15" y="211"/>
                      </a:lnTo>
                      <a:lnTo>
                        <a:pt x="32" y="166"/>
                      </a:lnTo>
                      <a:lnTo>
                        <a:pt x="0" y="122"/>
                      </a:lnTo>
                      <a:lnTo>
                        <a:pt x="2" y="120"/>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grpSp>
          <p:grpSp>
            <p:nvGrpSpPr>
              <p:cNvPr id="267" name="Bourgogne (Formes)">
                <a:extLst>
                  <a:ext uri="{FF2B5EF4-FFF2-40B4-BE49-F238E27FC236}">
                    <a16:creationId xmlns:a16="http://schemas.microsoft.com/office/drawing/2014/main" id="{FE2A6006-8A9B-4C9B-881B-730415AEAE8C}"/>
                  </a:ext>
                </a:extLst>
              </p:cNvPr>
              <p:cNvGrpSpPr/>
              <p:nvPr/>
            </p:nvGrpSpPr>
            <p:grpSpPr>
              <a:xfrm>
                <a:off x="6676323" y="2912370"/>
                <a:ext cx="952657" cy="1168973"/>
                <a:chOff x="6676323" y="2912370"/>
                <a:chExt cx="952657" cy="1168973"/>
              </a:xfrm>
              <a:grpFill/>
            </p:grpSpPr>
            <p:sp>
              <p:nvSpPr>
                <p:cNvPr id="268" name="58">
                  <a:extLst>
                    <a:ext uri="{FF2B5EF4-FFF2-40B4-BE49-F238E27FC236}">
                      <a16:creationId xmlns:a16="http://schemas.microsoft.com/office/drawing/2014/main" id="{638E1041-06A9-41BC-A588-EE2A5BBA9E9F}"/>
                    </a:ext>
                  </a:extLst>
                </p:cNvPr>
                <p:cNvSpPr>
                  <a:spLocks/>
                </p:cNvSpPr>
                <p:nvPr/>
              </p:nvSpPr>
              <p:spPr bwMode="gray">
                <a:xfrm>
                  <a:off x="6676323" y="3334976"/>
                  <a:ext cx="492802" cy="489937"/>
                </a:xfrm>
                <a:custGeom>
                  <a:avLst/>
                  <a:gdLst>
                    <a:gd name="T0" fmla="*/ 4 w 344"/>
                    <a:gd name="T1" fmla="*/ 13 h 342"/>
                    <a:gd name="T2" fmla="*/ 32 w 344"/>
                    <a:gd name="T3" fmla="*/ 4 h 342"/>
                    <a:gd name="T4" fmla="*/ 66 w 344"/>
                    <a:gd name="T5" fmla="*/ 0 h 342"/>
                    <a:gd name="T6" fmla="*/ 81 w 344"/>
                    <a:gd name="T7" fmla="*/ 24 h 342"/>
                    <a:gd name="T8" fmla="*/ 81 w 344"/>
                    <a:gd name="T9" fmla="*/ 24 h 342"/>
                    <a:gd name="T10" fmla="*/ 125 w 344"/>
                    <a:gd name="T11" fmla="*/ 43 h 342"/>
                    <a:gd name="T12" fmla="*/ 136 w 344"/>
                    <a:gd name="T13" fmla="*/ 28 h 342"/>
                    <a:gd name="T14" fmla="*/ 159 w 344"/>
                    <a:gd name="T15" fmla="*/ 34 h 342"/>
                    <a:gd name="T16" fmla="*/ 161 w 344"/>
                    <a:gd name="T17" fmla="*/ 9 h 342"/>
                    <a:gd name="T18" fmla="*/ 221 w 344"/>
                    <a:gd name="T19" fmla="*/ 68 h 342"/>
                    <a:gd name="T20" fmla="*/ 242 w 344"/>
                    <a:gd name="T21" fmla="*/ 75 h 342"/>
                    <a:gd name="T22" fmla="*/ 255 w 344"/>
                    <a:gd name="T23" fmla="*/ 58 h 342"/>
                    <a:gd name="T24" fmla="*/ 255 w 344"/>
                    <a:gd name="T25" fmla="*/ 79 h 342"/>
                    <a:gd name="T26" fmla="*/ 276 w 344"/>
                    <a:gd name="T27" fmla="*/ 72 h 342"/>
                    <a:gd name="T28" fmla="*/ 289 w 344"/>
                    <a:gd name="T29" fmla="*/ 100 h 342"/>
                    <a:gd name="T30" fmla="*/ 312 w 344"/>
                    <a:gd name="T31" fmla="*/ 89 h 342"/>
                    <a:gd name="T32" fmla="*/ 321 w 344"/>
                    <a:gd name="T33" fmla="*/ 126 h 342"/>
                    <a:gd name="T34" fmla="*/ 344 w 344"/>
                    <a:gd name="T35" fmla="*/ 138 h 342"/>
                    <a:gd name="T36" fmla="*/ 340 w 344"/>
                    <a:gd name="T37" fmla="*/ 158 h 342"/>
                    <a:gd name="T38" fmla="*/ 331 w 344"/>
                    <a:gd name="T39" fmla="*/ 160 h 342"/>
                    <a:gd name="T40" fmla="*/ 316 w 344"/>
                    <a:gd name="T41" fmla="*/ 160 h 342"/>
                    <a:gd name="T42" fmla="*/ 316 w 344"/>
                    <a:gd name="T43" fmla="*/ 168 h 342"/>
                    <a:gd name="T44" fmla="*/ 299 w 344"/>
                    <a:gd name="T45" fmla="*/ 172 h 342"/>
                    <a:gd name="T46" fmla="*/ 306 w 344"/>
                    <a:gd name="T47" fmla="*/ 194 h 342"/>
                    <a:gd name="T48" fmla="*/ 287 w 344"/>
                    <a:gd name="T49" fmla="*/ 221 h 342"/>
                    <a:gd name="T50" fmla="*/ 312 w 344"/>
                    <a:gd name="T51" fmla="*/ 264 h 342"/>
                    <a:gd name="T52" fmla="*/ 304 w 344"/>
                    <a:gd name="T53" fmla="*/ 289 h 342"/>
                    <a:gd name="T54" fmla="*/ 242 w 344"/>
                    <a:gd name="T55" fmla="*/ 323 h 342"/>
                    <a:gd name="T56" fmla="*/ 195 w 344"/>
                    <a:gd name="T57" fmla="*/ 306 h 342"/>
                    <a:gd name="T58" fmla="*/ 151 w 344"/>
                    <a:gd name="T59" fmla="*/ 342 h 342"/>
                    <a:gd name="T60" fmla="*/ 134 w 344"/>
                    <a:gd name="T61" fmla="*/ 317 h 342"/>
                    <a:gd name="T62" fmla="*/ 87 w 344"/>
                    <a:gd name="T63" fmla="*/ 332 h 342"/>
                    <a:gd name="T64" fmla="*/ 42 w 344"/>
                    <a:gd name="T65" fmla="*/ 287 h 342"/>
                    <a:gd name="T66" fmla="*/ 57 w 344"/>
                    <a:gd name="T67" fmla="*/ 202 h 342"/>
                    <a:gd name="T68" fmla="*/ 34 w 344"/>
                    <a:gd name="T69" fmla="*/ 119 h 342"/>
                    <a:gd name="T70" fmla="*/ 6 w 344"/>
                    <a:gd name="T71" fmla="*/ 92 h 342"/>
                    <a:gd name="T72" fmla="*/ 21 w 344"/>
                    <a:gd name="T73" fmla="*/ 55 h 342"/>
                    <a:gd name="T74" fmla="*/ 6 w 344"/>
                    <a:gd name="T75" fmla="*/ 24 h 342"/>
                    <a:gd name="T76" fmla="*/ 0 w 344"/>
                    <a:gd name="T77" fmla="*/ 13 h 342"/>
                    <a:gd name="T78" fmla="*/ 4 w 344"/>
                    <a:gd name="T79" fmla="*/ 13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4" h="342">
                      <a:moveTo>
                        <a:pt x="4" y="13"/>
                      </a:moveTo>
                      <a:lnTo>
                        <a:pt x="32" y="4"/>
                      </a:lnTo>
                      <a:lnTo>
                        <a:pt x="66" y="0"/>
                      </a:lnTo>
                      <a:lnTo>
                        <a:pt x="81" y="24"/>
                      </a:lnTo>
                      <a:lnTo>
                        <a:pt x="81" y="24"/>
                      </a:lnTo>
                      <a:lnTo>
                        <a:pt x="125" y="43"/>
                      </a:lnTo>
                      <a:lnTo>
                        <a:pt x="136" y="28"/>
                      </a:lnTo>
                      <a:lnTo>
                        <a:pt x="159" y="34"/>
                      </a:lnTo>
                      <a:lnTo>
                        <a:pt x="161" y="9"/>
                      </a:lnTo>
                      <a:lnTo>
                        <a:pt x="221" y="68"/>
                      </a:lnTo>
                      <a:lnTo>
                        <a:pt x="242" y="75"/>
                      </a:lnTo>
                      <a:lnTo>
                        <a:pt x="255" y="58"/>
                      </a:lnTo>
                      <a:lnTo>
                        <a:pt x="255" y="79"/>
                      </a:lnTo>
                      <a:lnTo>
                        <a:pt x="276" y="72"/>
                      </a:lnTo>
                      <a:lnTo>
                        <a:pt x="289" y="100"/>
                      </a:lnTo>
                      <a:lnTo>
                        <a:pt x="312" y="89"/>
                      </a:lnTo>
                      <a:lnTo>
                        <a:pt x="321" y="126"/>
                      </a:lnTo>
                      <a:lnTo>
                        <a:pt x="344" y="138"/>
                      </a:lnTo>
                      <a:lnTo>
                        <a:pt x="340" y="158"/>
                      </a:lnTo>
                      <a:lnTo>
                        <a:pt x="331" y="160"/>
                      </a:lnTo>
                      <a:lnTo>
                        <a:pt x="316" y="160"/>
                      </a:lnTo>
                      <a:lnTo>
                        <a:pt x="316" y="168"/>
                      </a:lnTo>
                      <a:lnTo>
                        <a:pt x="299" y="172"/>
                      </a:lnTo>
                      <a:lnTo>
                        <a:pt x="306" y="194"/>
                      </a:lnTo>
                      <a:lnTo>
                        <a:pt x="287" y="221"/>
                      </a:lnTo>
                      <a:lnTo>
                        <a:pt x="312" y="264"/>
                      </a:lnTo>
                      <a:lnTo>
                        <a:pt x="304" y="289"/>
                      </a:lnTo>
                      <a:lnTo>
                        <a:pt x="242" y="323"/>
                      </a:lnTo>
                      <a:lnTo>
                        <a:pt x="195" y="306"/>
                      </a:lnTo>
                      <a:lnTo>
                        <a:pt x="151" y="342"/>
                      </a:lnTo>
                      <a:lnTo>
                        <a:pt x="134" y="317"/>
                      </a:lnTo>
                      <a:lnTo>
                        <a:pt x="87" y="332"/>
                      </a:lnTo>
                      <a:lnTo>
                        <a:pt x="42" y="287"/>
                      </a:lnTo>
                      <a:lnTo>
                        <a:pt x="57" y="202"/>
                      </a:lnTo>
                      <a:lnTo>
                        <a:pt x="34" y="119"/>
                      </a:lnTo>
                      <a:lnTo>
                        <a:pt x="6" y="92"/>
                      </a:lnTo>
                      <a:lnTo>
                        <a:pt x="21" y="55"/>
                      </a:lnTo>
                      <a:lnTo>
                        <a:pt x="6" y="24"/>
                      </a:lnTo>
                      <a:lnTo>
                        <a:pt x="0" y="13"/>
                      </a:lnTo>
                      <a:lnTo>
                        <a:pt x="4" y="13"/>
                      </a:lnTo>
                    </a:path>
                  </a:pathLst>
                </a:custGeom>
                <a:solidFill>
                  <a:schemeClr val="bg2">
                    <a:lumMod val="75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69" name="71">
                  <a:extLst>
                    <a:ext uri="{FF2B5EF4-FFF2-40B4-BE49-F238E27FC236}">
                      <a16:creationId xmlns:a16="http://schemas.microsoft.com/office/drawing/2014/main" id="{8AC9E952-5894-4A25-BD8D-FF3D80C5012F}"/>
                    </a:ext>
                  </a:extLst>
                </p:cNvPr>
                <p:cNvSpPr>
                  <a:spLocks/>
                </p:cNvSpPr>
                <p:nvPr/>
              </p:nvSpPr>
              <p:spPr bwMode="gray">
                <a:xfrm>
                  <a:off x="6952810" y="3561322"/>
                  <a:ext cx="660413" cy="520021"/>
                </a:xfrm>
                <a:custGeom>
                  <a:avLst/>
                  <a:gdLst>
                    <a:gd name="T0" fmla="*/ 2 w 461"/>
                    <a:gd name="T1" fmla="*/ 148 h 363"/>
                    <a:gd name="T2" fmla="*/ 49 w 461"/>
                    <a:gd name="T3" fmla="*/ 165 h 363"/>
                    <a:gd name="T4" fmla="*/ 111 w 461"/>
                    <a:gd name="T5" fmla="*/ 131 h 363"/>
                    <a:gd name="T6" fmla="*/ 119 w 461"/>
                    <a:gd name="T7" fmla="*/ 106 h 363"/>
                    <a:gd name="T8" fmla="*/ 94 w 461"/>
                    <a:gd name="T9" fmla="*/ 63 h 363"/>
                    <a:gd name="T10" fmla="*/ 113 w 461"/>
                    <a:gd name="T11" fmla="*/ 36 h 363"/>
                    <a:gd name="T12" fmla="*/ 106 w 461"/>
                    <a:gd name="T13" fmla="*/ 14 h 363"/>
                    <a:gd name="T14" fmla="*/ 123 w 461"/>
                    <a:gd name="T15" fmla="*/ 10 h 363"/>
                    <a:gd name="T16" fmla="*/ 138 w 461"/>
                    <a:gd name="T17" fmla="*/ 2 h 363"/>
                    <a:gd name="T18" fmla="*/ 147 w 461"/>
                    <a:gd name="T19" fmla="*/ 0 h 363"/>
                    <a:gd name="T20" fmla="*/ 232 w 461"/>
                    <a:gd name="T21" fmla="*/ 48 h 363"/>
                    <a:gd name="T22" fmla="*/ 268 w 461"/>
                    <a:gd name="T23" fmla="*/ 91 h 363"/>
                    <a:gd name="T24" fmla="*/ 323 w 461"/>
                    <a:gd name="T25" fmla="*/ 65 h 363"/>
                    <a:gd name="T26" fmla="*/ 408 w 461"/>
                    <a:gd name="T27" fmla="*/ 59 h 363"/>
                    <a:gd name="T28" fmla="*/ 410 w 461"/>
                    <a:gd name="T29" fmla="*/ 70 h 363"/>
                    <a:gd name="T30" fmla="*/ 408 w 461"/>
                    <a:gd name="T31" fmla="*/ 72 h 363"/>
                    <a:gd name="T32" fmla="*/ 461 w 461"/>
                    <a:gd name="T33" fmla="*/ 104 h 363"/>
                    <a:gd name="T34" fmla="*/ 427 w 461"/>
                    <a:gd name="T35" fmla="*/ 121 h 363"/>
                    <a:gd name="T36" fmla="*/ 457 w 461"/>
                    <a:gd name="T37" fmla="*/ 182 h 363"/>
                    <a:gd name="T38" fmla="*/ 438 w 461"/>
                    <a:gd name="T39" fmla="*/ 212 h 363"/>
                    <a:gd name="T40" fmla="*/ 453 w 461"/>
                    <a:gd name="T41" fmla="*/ 240 h 363"/>
                    <a:gd name="T42" fmla="*/ 427 w 461"/>
                    <a:gd name="T43" fmla="*/ 253 h 363"/>
                    <a:gd name="T44" fmla="*/ 391 w 461"/>
                    <a:gd name="T45" fmla="*/ 227 h 363"/>
                    <a:gd name="T46" fmla="*/ 362 w 461"/>
                    <a:gd name="T47" fmla="*/ 242 h 363"/>
                    <a:gd name="T48" fmla="*/ 332 w 461"/>
                    <a:gd name="T49" fmla="*/ 231 h 363"/>
                    <a:gd name="T50" fmla="*/ 294 w 461"/>
                    <a:gd name="T51" fmla="*/ 355 h 363"/>
                    <a:gd name="T52" fmla="*/ 281 w 461"/>
                    <a:gd name="T53" fmla="*/ 352 h 363"/>
                    <a:gd name="T54" fmla="*/ 270 w 461"/>
                    <a:gd name="T55" fmla="*/ 308 h 363"/>
                    <a:gd name="T56" fmla="*/ 253 w 461"/>
                    <a:gd name="T57" fmla="*/ 323 h 363"/>
                    <a:gd name="T58" fmla="*/ 204 w 461"/>
                    <a:gd name="T59" fmla="*/ 310 h 363"/>
                    <a:gd name="T60" fmla="*/ 194 w 461"/>
                    <a:gd name="T61" fmla="*/ 340 h 363"/>
                    <a:gd name="T62" fmla="*/ 168 w 461"/>
                    <a:gd name="T63" fmla="*/ 363 h 363"/>
                    <a:gd name="T64" fmla="*/ 123 w 461"/>
                    <a:gd name="T65" fmla="*/ 348 h 363"/>
                    <a:gd name="T66" fmla="*/ 92 w 461"/>
                    <a:gd name="T67" fmla="*/ 359 h 363"/>
                    <a:gd name="T68" fmla="*/ 70 w 461"/>
                    <a:gd name="T69" fmla="*/ 344 h 363"/>
                    <a:gd name="T70" fmla="*/ 70 w 461"/>
                    <a:gd name="T71" fmla="*/ 321 h 363"/>
                    <a:gd name="T72" fmla="*/ 96 w 461"/>
                    <a:gd name="T73" fmla="*/ 304 h 363"/>
                    <a:gd name="T74" fmla="*/ 96 w 461"/>
                    <a:gd name="T75" fmla="*/ 259 h 363"/>
                    <a:gd name="T76" fmla="*/ 30 w 461"/>
                    <a:gd name="T77" fmla="*/ 225 h 363"/>
                    <a:gd name="T78" fmla="*/ 0 w 461"/>
                    <a:gd name="T79" fmla="*/ 150 h 363"/>
                    <a:gd name="T80" fmla="*/ 2 w 461"/>
                    <a:gd name="T81" fmla="*/ 148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1" h="363">
                      <a:moveTo>
                        <a:pt x="2" y="148"/>
                      </a:moveTo>
                      <a:lnTo>
                        <a:pt x="49" y="165"/>
                      </a:lnTo>
                      <a:lnTo>
                        <a:pt x="111" y="131"/>
                      </a:lnTo>
                      <a:lnTo>
                        <a:pt x="119" y="106"/>
                      </a:lnTo>
                      <a:lnTo>
                        <a:pt x="94" y="63"/>
                      </a:lnTo>
                      <a:lnTo>
                        <a:pt x="113" y="36"/>
                      </a:lnTo>
                      <a:lnTo>
                        <a:pt x="106" y="14"/>
                      </a:lnTo>
                      <a:lnTo>
                        <a:pt x="123" y="10"/>
                      </a:lnTo>
                      <a:lnTo>
                        <a:pt x="138" y="2"/>
                      </a:lnTo>
                      <a:lnTo>
                        <a:pt x="147" y="0"/>
                      </a:lnTo>
                      <a:lnTo>
                        <a:pt x="232" y="48"/>
                      </a:lnTo>
                      <a:lnTo>
                        <a:pt x="268" y="91"/>
                      </a:lnTo>
                      <a:lnTo>
                        <a:pt x="323" y="65"/>
                      </a:lnTo>
                      <a:lnTo>
                        <a:pt x="408" y="59"/>
                      </a:lnTo>
                      <a:lnTo>
                        <a:pt x="410" y="70"/>
                      </a:lnTo>
                      <a:lnTo>
                        <a:pt x="408" y="72"/>
                      </a:lnTo>
                      <a:lnTo>
                        <a:pt x="461" y="104"/>
                      </a:lnTo>
                      <a:lnTo>
                        <a:pt x="427" y="121"/>
                      </a:lnTo>
                      <a:lnTo>
                        <a:pt x="457" y="182"/>
                      </a:lnTo>
                      <a:lnTo>
                        <a:pt x="438" y="212"/>
                      </a:lnTo>
                      <a:lnTo>
                        <a:pt x="453" y="240"/>
                      </a:lnTo>
                      <a:lnTo>
                        <a:pt x="427" y="253"/>
                      </a:lnTo>
                      <a:lnTo>
                        <a:pt x="391" y="227"/>
                      </a:lnTo>
                      <a:lnTo>
                        <a:pt x="362" y="242"/>
                      </a:lnTo>
                      <a:lnTo>
                        <a:pt x="332" y="231"/>
                      </a:lnTo>
                      <a:lnTo>
                        <a:pt x="294" y="355"/>
                      </a:lnTo>
                      <a:lnTo>
                        <a:pt x="281" y="352"/>
                      </a:lnTo>
                      <a:lnTo>
                        <a:pt x="270" y="308"/>
                      </a:lnTo>
                      <a:lnTo>
                        <a:pt x="253" y="323"/>
                      </a:lnTo>
                      <a:lnTo>
                        <a:pt x="204" y="310"/>
                      </a:lnTo>
                      <a:lnTo>
                        <a:pt x="194" y="340"/>
                      </a:lnTo>
                      <a:lnTo>
                        <a:pt x="168" y="363"/>
                      </a:lnTo>
                      <a:lnTo>
                        <a:pt x="123" y="348"/>
                      </a:lnTo>
                      <a:lnTo>
                        <a:pt x="92" y="359"/>
                      </a:lnTo>
                      <a:lnTo>
                        <a:pt x="70" y="344"/>
                      </a:lnTo>
                      <a:lnTo>
                        <a:pt x="70" y="321"/>
                      </a:lnTo>
                      <a:lnTo>
                        <a:pt x="96" y="304"/>
                      </a:lnTo>
                      <a:lnTo>
                        <a:pt x="96" y="259"/>
                      </a:lnTo>
                      <a:lnTo>
                        <a:pt x="30" y="225"/>
                      </a:lnTo>
                      <a:lnTo>
                        <a:pt x="0" y="150"/>
                      </a:lnTo>
                      <a:lnTo>
                        <a:pt x="2" y="148"/>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70" name="21">
                  <a:extLst>
                    <a:ext uri="{FF2B5EF4-FFF2-40B4-BE49-F238E27FC236}">
                      <a16:creationId xmlns:a16="http://schemas.microsoft.com/office/drawing/2014/main" id="{F77AF606-8FF1-4D7C-8C42-C29D1A0DEA86}"/>
                    </a:ext>
                  </a:extLst>
                </p:cNvPr>
                <p:cNvSpPr>
                  <a:spLocks/>
                </p:cNvSpPr>
                <p:nvPr/>
              </p:nvSpPr>
              <p:spPr bwMode="gray">
                <a:xfrm>
                  <a:off x="7111824" y="3101469"/>
                  <a:ext cx="517156" cy="590217"/>
                </a:xfrm>
                <a:custGeom>
                  <a:avLst/>
                  <a:gdLst>
                    <a:gd name="T0" fmla="*/ 0 w 361"/>
                    <a:gd name="T1" fmla="*/ 231 h 412"/>
                    <a:gd name="T2" fmla="*/ 8 w 361"/>
                    <a:gd name="T3" fmla="*/ 252 h 412"/>
                    <a:gd name="T4" fmla="*/ 17 w 361"/>
                    <a:gd name="T5" fmla="*/ 289 h 412"/>
                    <a:gd name="T6" fmla="*/ 40 w 361"/>
                    <a:gd name="T7" fmla="*/ 301 h 412"/>
                    <a:gd name="T8" fmla="*/ 36 w 361"/>
                    <a:gd name="T9" fmla="*/ 321 h 412"/>
                    <a:gd name="T10" fmla="*/ 121 w 361"/>
                    <a:gd name="T11" fmla="*/ 369 h 412"/>
                    <a:gd name="T12" fmla="*/ 157 w 361"/>
                    <a:gd name="T13" fmla="*/ 412 h 412"/>
                    <a:gd name="T14" fmla="*/ 212 w 361"/>
                    <a:gd name="T15" fmla="*/ 386 h 412"/>
                    <a:gd name="T16" fmla="*/ 297 w 361"/>
                    <a:gd name="T17" fmla="*/ 380 h 412"/>
                    <a:gd name="T18" fmla="*/ 342 w 361"/>
                    <a:gd name="T19" fmla="*/ 318 h 412"/>
                    <a:gd name="T20" fmla="*/ 361 w 361"/>
                    <a:gd name="T21" fmla="*/ 259 h 412"/>
                    <a:gd name="T22" fmla="*/ 353 w 361"/>
                    <a:gd name="T23" fmla="*/ 227 h 412"/>
                    <a:gd name="T24" fmla="*/ 323 w 361"/>
                    <a:gd name="T25" fmla="*/ 201 h 412"/>
                    <a:gd name="T26" fmla="*/ 348 w 361"/>
                    <a:gd name="T27" fmla="*/ 178 h 412"/>
                    <a:gd name="T28" fmla="*/ 348 w 361"/>
                    <a:gd name="T29" fmla="*/ 150 h 412"/>
                    <a:gd name="T30" fmla="*/ 321 w 361"/>
                    <a:gd name="T31" fmla="*/ 150 h 412"/>
                    <a:gd name="T32" fmla="*/ 293 w 361"/>
                    <a:gd name="T33" fmla="*/ 161 h 412"/>
                    <a:gd name="T34" fmla="*/ 272 w 361"/>
                    <a:gd name="T35" fmla="*/ 125 h 412"/>
                    <a:gd name="T36" fmla="*/ 257 w 361"/>
                    <a:gd name="T37" fmla="*/ 136 h 412"/>
                    <a:gd name="T38" fmla="*/ 234 w 361"/>
                    <a:gd name="T39" fmla="*/ 114 h 412"/>
                    <a:gd name="T40" fmla="*/ 217 w 361"/>
                    <a:gd name="T41" fmla="*/ 119 h 412"/>
                    <a:gd name="T42" fmla="*/ 208 w 361"/>
                    <a:gd name="T43" fmla="*/ 89 h 412"/>
                    <a:gd name="T44" fmla="*/ 225 w 361"/>
                    <a:gd name="T45" fmla="*/ 74 h 412"/>
                    <a:gd name="T46" fmla="*/ 202 w 361"/>
                    <a:gd name="T47" fmla="*/ 38 h 412"/>
                    <a:gd name="T48" fmla="*/ 185 w 361"/>
                    <a:gd name="T49" fmla="*/ 40 h 412"/>
                    <a:gd name="T50" fmla="*/ 180 w 361"/>
                    <a:gd name="T51" fmla="*/ 12 h 412"/>
                    <a:gd name="T52" fmla="*/ 153 w 361"/>
                    <a:gd name="T53" fmla="*/ 2 h 412"/>
                    <a:gd name="T54" fmla="*/ 123 w 361"/>
                    <a:gd name="T55" fmla="*/ 0 h 412"/>
                    <a:gd name="T56" fmla="*/ 117 w 361"/>
                    <a:gd name="T57" fmla="*/ 21 h 412"/>
                    <a:gd name="T58" fmla="*/ 59 w 361"/>
                    <a:gd name="T59" fmla="*/ 25 h 412"/>
                    <a:gd name="T60" fmla="*/ 53 w 361"/>
                    <a:gd name="T61" fmla="*/ 38 h 412"/>
                    <a:gd name="T62" fmla="*/ 42 w 361"/>
                    <a:gd name="T63" fmla="*/ 55 h 412"/>
                    <a:gd name="T64" fmla="*/ 61 w 361"/>
                    <a:gd name="T65" fmla="*/ 65 h 412"/>
                    <a:gd name="T66" fmla="*/ 63 w 361"/>
                    <a:gd name="T67" fmla="*/ 99 h 412"/>
                    <a:gd name="T68" fmla="*/ 40 w 361"/>
                    <a:gd name="T69" fmla="*/ 110 h 412"/>
                    <a:gd name="T70" fmla="*/ 51 w 361"/>
                    <a:gd name="T71" fmla="*/ 125 h 412"/>
                    <a:gd name="T72" fmla="*/ 36 w 361"/>
                    <a:gd name="T73" fmla="*/ 129 h 412"/>
                    <a:gd name="T74" fmla="*/ 0 w 361"/>
                    <a:gd name="T75" fmla="*/ 229 h 412"/>
                    <a:gd name="T76" fmla="*/ 0 w 361"/>
                    <a:gd name="T77" fmla="*/ 231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412">
                      <a:moveTo>
                        <a:pt x="0" y="231"/>
                      </a:moveTo>
                      <a:lnTo>
                        <a:pt x="8" y="252"/>
                      </a:lnTo>
                      <a:lnTo>
                        <a:pt x="17" y="289"/>
                      </a:lnTo>
                      <a:lnTo>
                        <a:pt x="40" y="301"/>
                      </a:lnTo>
                      <a:lnTo>
                        <a:pt x="36" y="321"/>
                      </a:lnTo>
                      <a:lnTo>
                        <a:pt x="121" y="369"/>
                      </a:lnTo>
                      <a:lnTo>
                        <a:pt x="157" y="412"/>
                      </a:lnTo>
                      <a:lnTo>
                        <a:pt x="212" y="386"/>
                      </a:lnTo>
                      <a:lnTo>
                        <a:pt x="297" y="380"/>
                      </a:lnTo>
                      <a:lnTo>
                        <a:pt x="342" y="318"/>
                      </a:lnTo>
                      <a:lnTo>
                        <a:pt x="361" y="259"/>
                      </a:lnTo>
                      <a:lnTo>
                        <a:pt x="353" y="227"/>
                      </a:lnTo>
                      <a:lnTo>
                        <a:pt x="323" y="201"/>
                      </a:lnTo>
                      <a:lnTo>
                        <a:pt x="348" y="178"/>
                      </a:lnTo>
                      <a:lnTo>
                        <a:pt x="348" y="150"/>
                      </a:lnTo>
                      <a:lnTo>
                        <a:pt x="321" y="150"/>
                      </a:lnTo>
                      <a:lnTo>
                        <a:pt x="293" y="161"/>
                      </a:lnTo>
                      <a:lnTo>
                        <a:pt x="272" y="125"/>
                      </a:lnTo>
                      <a:lnTo>
                        <a:pt x="257" y="136"/>
                      </a:lnTo>
                      <a:lnTo>
                        <a:pt x="234" y="114"/>
                      </a:lnTo>
                      <a:lnTo>
                        <a:pt x="217" y="119"/>
                      </a:lnTo>
                      <a:lnTo>
                        <a:pt x="208" y="89"/>
                      </a:lnTo>
                      <a:lnTo>
                        <a:pt x="225" y="74"/>
                      </a:lnTo>
                      <a:lnTo>
                        <a:pt x="202" y="38"/>
                      </a:lnTo>
                      <a:lnTo>
                        <a:pt x="185" y="40"/>
                      </a:lnTo>
                      <a:lnTo>
                        <a:pt x="180" y="12"/>
                      </a:lnTo>
                      <a:lnTo>
                        <a:pt x="153" y="2"/>
                      </a:lnTo>
                      <a:lnTo>
                        <a:pt x="123" y="0"/>
                      </a:lnTo>
                      <a:lnTo>
                        <a:pt x="117" y="21"/>
                      </a:lnTo>
                      <a:lnTo>
                        <a:pt x="59" y="25"/>
                      </a:lnTo>
                      <a:lnTo>
                        <a:pt x="53" y="38"/>
                      </a:lnTo>
                      <a:lnTo>
                        <a:pt x="42" y="55"/>
                      </a:lnTo>
                      <a:lnTo>
                        <a:pt x="61" y="65"/>
                      </a:lnTo>
                      <a:lnTo>
                        <a:pt x="63" y="99"/>
                      </a:lnTo>
                      <a:lnTo>
                        <a:pt x="40" y="110"/>
                      </a:lnTo>
                      <a:lnTo>
                        <a:pt x="51" y="125"/>
                      </a:lnTo>
                      <a:lnTo>
                        <a:pt x="36" y="129"/>
                      </a:lnTo>
                      <a:lnTo>
                        <a:pt x="0" y="229"/>
                      </a:lnTo>
                      <a:lnTo>
                        <a:pt x="0" y="231"/>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71" name="89">
                  <a:extLst>
                    <a:ext uri="{FF2B5EF4-FFF2-40B4-BE49-F238E27FC236}">
                      <a16:creationId xmlns:a16="http://schemas.microsoft.com/office/drawing/2014/main" id="{01E47008-7BDF-4291-BA7E-6ED642E9C593}"/>
                    </a:ext>
                  </a:extLst>
                </p:cNvPr>
                <p:cNvSpPr>
                  <a:spLocks/>
                </p:cNvSpPr>
                <p:nvPr/>
              </p:nvSpPr>
              <p:spPr bwMode="gray">
                <a:xfrm>
                  <a:off x="6679189" y="2912370"/>
                  <a:ext cx="522887" cy="565864"/>
                </a:xfrm>
                <a:custGeom>
                  <a:avLst/>
                  <a:gdLst>
                    <a:gd name="T0" fmla="*/ 0 w 365"/>
                    <a:gd name="T1" fmla="*/ 246 h 395"/>
                    <a:gd name="T2" fmla="*/ 30 w 365"/>
                    <a:gd name="T3" fmla="*/ 299 h 395"/>
                    <a:gd name="T4" fmla="*/ 64 w 365"/>
                    <a:gd name="T5" fmla="*/ 295 h 395"/>
                    <a:gd name="T6" fmla="*/ 79 w 365"/>
                    <a:gd name="T7" fmla="*/ 319 h 395"/>
                    <a:gd name="T8" fmla="*/ 79 w 365"/>
                    <a:gd name="T9" fmla="*/ 319 h 395"/>
                    <a:gd name="T10" fmla="*/ 123 w 365"/>
                    <a:gd name="T11" fmla="*/ 338 h 395"/>
                    <a:gd name="T12" fmla="*/ 134 w 365"/>
                    <a:gd name="T13" fmla="*/ 323 h 395"/>
                    <a:gd name="T14" fmla="*/ 157 w 365"/>
                    <a:gd name="T15" fmla="*/ 329 h 395"/>
                    <a:gd name="T16" fmla="*/ 159 w 365"/>
                    <a:gd name="T17" fmla="*/ 304 h 395"/>
                    <a:gd name="T18" fmla="*/ 219 w 365"/>
                    <a:gd name="T19" fmla="*/ 363 h 395"/>
                    <a:gd name="T20" fmla="*/ 240 w 365"/>
                    <a:gd name="T21" fmla="*/ 370 h 395"/>
                    <a:gd name="T22" fmla="*/ 253 w 365"/>
                    <a:gd name="T23" fmla="*/ 353 h 395"/>
                    <a:gd name="T24" fmla="*/ 253 w 365"/>
                    <a:gd name="T25" fmla="*/ 374 h 395"/>
                    <a:gd name="T26" fmla="*/ 274 w 365"/>
                    <a:gd name="T27" fmla="*/ 367 h 395"/>
                    <a:gd name="T28" fmla="*/ 287 w 365"/>
                    <a:gd name="T29" fmla="*/ 395 h 395"/>
                    <a:gd name="T30" fmla="*/ 310 w 365"/>
                    <a:gd name="T31" fmla="*/ 384 h 395"/>
                    <a:gd name="T32" fmla="*/ 302 w 365"/>
                    <a:gd name="T33" fmla="*/ 363 h 395"/>
                    <a:gd name="T34" fmla="*/ 302 w 365"/>
                    <a:gd name="T35" fmla="*/ 361 h 395"/>
                    <a:gd name="T36" fmla="*/ 338 w 365"/>
                    <a:gd name="T37" fmla="*/ 261 h 395"/>
                    <a:gd name="T38" fmla="*/ 353 w 365"/>
                    <a:gd name="T39" fmla="*/ 257 h 395"/>
                    <a:gd name="T40" fmla="*/ 342 w 365"/>
                    <a:gd name="T41" fmla="*/ 242 h 395"/>
                    <a:gd name="T42" fmla="*/ 365 w 365"/>
                    <a:gd name="T43" fmla="*/ 231 h 395"/>
                    <a:gd name="T44" fmla="*/ 363 w 365"/>
                    <a:gd name="T45" fmla="*/ 197 h 395"/>
                    <a:gd name="T46" fmla="*/ 344 w 365"/>
                    <a:gd name="T47" fmla="*/ 187 h 395"/>
                    <a:gd name="T48" fmla="*/ 355 w 365"/>
                    <a:gd name="T49" fmla="*/ 170 h 395"/>
                    <a:gd name="T50" fmla="*/ 331 w 365"/>
                    <a:gd name="T51" fmla="*/ 153 h 395"/>
                    <a:gd name="T52" fmla="*/ 312 w 365"/>
                    <a:gd name="T53" fmla="*/ 168 h 395"/>
                    <a:gd name="T54" fmla="*/ 257 w 365"/>
                    <a:gd name="T55" fmla="*/ 170 h 395"/>
                    <a:gd name="T56" fmla="*/ 259 w 365"/>
                    <a:gd name="T57" fmla="*/ 146 h 395"/>
                    <a:gd name="T58" fmla="*/ 244 w 365"/>
                    <a:gd name="T59" fmla="*/ 149 h 395"/>
                    <a:gd name="T60" fmla="*/ 219 w 365"/>
                    <a:gd name="T61" fmla="*/ 80 h 395"/>
                    <a:gd name="T62" fmla="*/ 202 w 365"/>
                    <a:gd name="T63" fmla="*/ 91 h 395"/>
                    <a:gd name="T64" fmla="*/ 178 w 365"/>
                    <a:gd name="T65" fmla="*/ 74 h 395"/>
                    <a:gd name="T66" fmla="*/ 191 w 365"/>
                    <a:gd name="T67" fmla="*/ 49 h 395"/>
                    <a:gd name="T68" fmla="*/ 138 w 365"/>
                    <a:gd name="T69" fmla="*/ 0 h 395"/>
                    <a:gd name="T70" fmla="*/ 49 w 365"/>
                    <a:gd name="T71" fmla="*/ 12 h 395"/>
                    <a:gd name="T72" fmla="*/ 49 w 365"/>
                    <a:gd name="T73" fmla="*/ 51 h 395"/>
                    <a:gd name="T74" fmla="*/ 23 w 365"/>
                    <a:gd name="T75" fmla="*/ 83 h 395"/>
                    <a:gd name="T76" fmla="*/ 45 w 365"/>
                    <a:gd name="T77" fmla="*/ 93 h 395"/>
                    <a:gd name="T78" fmla="*/ 68 w 365"/>
                    <a:gd name="T79" fmla="*/ 155 h 395"/>
                    <a:gd name="T80" fmla="*/ 38 w 365"/>
                    <a:gd name="T81" fmla="*/ 183 h 395"/>
                    <a:gd name="T82" fmla="*/ 42 w 365"/>
                    <a:gd name="T83" fmla="*/ 221 h 395"/>
                    <a:gd name="T84" fmla="*/ 0 w 365"/>
                    <a:gd name="T85" fmla="*/ 242 h 395"/>
                    <a:gd name="T86" fmla="*/ 0 w 365"/>
                    <a:gd name="T87" fmla="*/ 246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5" h="395">
                      <a:moveTo>
                        <a:pt x="0" y="246"/>
                      </a:moveTo>
                      <a:lnTo>
                        <a:pt x="30" y="299"/>
                      </a:lnTo>
                      <a:lnTo>
                        <a:pt x="64" y="295"/>
                      </a:lnTo>
                      <a:lnTo>
                        <a:pt x="79" y="319"/>
                      </a:lnTo>
                      <a:lnTo>
                        <a:pt x="79" y="319"/>
                      </a:lnTo>
                      <a:lnTo>
                        <a:pt x="123" y="338"/>
                      </a:lnTo>
                      <a:lnTo>
                        <a:pt x="134" y="323"/>
                      </a:lnTo>
                      <a:lnTo>
                        <a:pt x="157" y="329"/>
                      </a:lnTo>
                      <a:lnTo>
                        <a:pt x="159" y="304"/>
                      </a:lnTo>
                      <a:lnTo>
                        <a:pt x="219" y="363"/>
                      </a:lnTo>
                      <a:lnTo>
                        <a:pt x="240" y="370"/>
                      </a:lnTo>
                      <a:lnTo>
                        <a:pt x="253" y="353"/>
                      </a:lnTo>
                      <a:lnTo>
                        <a:pt x="253" y="374"/>
                      </a:lnTo>
                      <a:lnTo>
                        <a:pt x="274" y="367"/>
                      </a:lnTo>
                      <a:lnTo>
                        <a:pt x="287" y="395"/>
                      </a:lnTo>
                      <a:lnTo>
                        <a:pt x="310" y="384"/>
                      </a:lnTo>
                      <a:lnTo>
                        <a:pt x="302" y="363"/>
                      </a:lnTo>
                      <a:lnTo>
                        <a:pt x="302" y="361"/>
                      </a:lnTo>
                      <a:lnTo>
                        <a:pt x="338" y="261"/>
                      </a:lnTo>
                      <a:lnTo>
                        <a:pt x="353" y="257"/>
                      </a:lnTo>
                      <a:lnTo>
                        <a:pt x="342" y="242"/>
                      </a:lnTo>
                      <a:lnTo>
                        <a:pt x="365" y="231"/>
                      </a:lnTo>
                      <a:lnTo>
                        <a:pt x="363" y="197"/>
                      </a:lnTo>
                      <a:lnTo>
                        <a:pt x="344" y="187"/>
                      </a:lnTo>
                      <a:lnTo>
                        <a:pt x="355" y="170"/>
                      </a:lnTo>
                      <a:lnTo>
                        <a:pt x="331" y="153"/>
                      </a:lnTo>
                      <a:lnTo>
                        <a:pt x="312" y="168"/>
                      </a:lnTo>
                      <a:lnTo>
                        <a:pt x="257" y="170"/>
                      </a:lnTo>
                      <a:lnTo>
                        <a:pt x="259" y="146"/>
                      </a:lnTo>
                      <a:lnTo>
                        <a:pt x="244" y="149"/>
                      </a:lnTo>
                      <a:lnTo>
                        <a:pt x="219" y="80"/>
                      </a:lnTo>
                      <a:lnTo>
                        <a:pt x="202" y="91"/>
                      </a:lnTo>
                      <a:lnTo>
                        <a:pt x="178" y="74"/>
                      </a:lnTo>
                      <a:lnTo>
                        <a:pt x="191" y="49"/>
                      </a:lnTo>
                      <a:lnTo>
                        <a:pt x="138" y="0"/>
                      </a:lnTo>
                      <a:lnTo>
                        <a:pt x="49" y="12"/>
                      </a:lnTo>
                      <a:lnTo>
                        <a:pt x="49" y="51"/>
                      </a:lnTo>
                      <a:lnTo>
                        <a:pt x="23" y="83"/>
                      </a:lnTo>
                      <a:lnTo>
                        <a:pt x="45" y="93"/>
                      </a:lnTo>
                      <a:lnTo>
                        <a:pt x="68" y="155"/>
                      </a:lnTo>
                      <a:lnTo>
                        <a:pt x="38" y="183"/>
                      </a:lnTo>
                      <a:lnTo>
                        <a:pt x="42" y="221"/>
                      </a:lnTo>
                      <a:lnTo>
                        <a:pt x="0" y="242"/>
                      </a:lnTo>
                      <a:lnTo>
                        <a:pt x="0" y="246"/>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grpSp>
        </p:grpSp>
        <p:grpSp>
          <p:nvGrpSpPr>
            <p:cNvPr id="165" name="Bourgogne Franche Comté (N° Départements)">
              <a:extLst>
                <a:ext uri="{FF2B5EF4-FFF2-40B4-BE49-F238E27FC236}">
                  <a16:creationId xmlns:a16="http://schemas.microsoft.com/office/drawing/2014/main" id="{AA4014BC-8920-481C-8DA0-54BCEC705AEF}"/>
                </a:ext>
              </a:extLst>
            </p:cNvPr>
            <p:cNvGrpSpPr/>
            <p:nvPr/>
          </p:nvGrpSpPr>
          <p:grpSpPr>
            <a:xfrm>
              <a:off x="7568007" y="2980800"/>
              <a:ext cx="1379219" cy="736329"/>
              <a:chOff x="6814551" y="3150185"/>
              <a:chExt cx="1379219" cy="736329"/>
            </a:xfrm>
          </p:grpSpPr>
          <p:grpSp>
            <p:nvGrpSpPr>
              <p:cNvPr id="256" name="Franche Comté (N° Départements)">
                <a:extLst>
                  <a:ext uri="{FF2B5EF4-FFF2-40B4-BE49-F238E27FC236}">
                    <a16:creationId xmlns:a16="http://schemas.microsoft.com/office/drawing/2014/main" id="{589353C4-3CBA-4339-9E0A-3265FE2484C3}"/>
                  </a:ext>
                </a:extLst>
              </p:cNvPr>
              <p:cNvGrpSpPr/>
              <p:nvPr/>
            </p:nvGrpSpPr>
            <p:grpSpPr>
              <a:xfrm>
                <a:off x="7613223" y="3177366"/>
                <a:ext cx="580547" cy="661869"/>
                <a:chOff x="7613223" y="3177366"/>
                <a:chExt cx="580547" cy="661869"/>
              </a:xfrm>
            </p:grpSpPr>
            <p:sp>
              <p:nvSpPr>
                <p:cNvPr id="262" name="39">
                  <a:extLst>
                    <a:ext uri="{FF2B5EF4-FFF2-40B4-BE49-F238E27FC236}">
                      <a16:creationId xmlns:a16="http://schemas.microsoft.com/office/drawing/2014/main" id="{2F5B5A38-ADF8-41CF-8AB2-7FBE3AB8D8A2}"/>
                    </a:ext>
                  </a:extLst>
                </p:cNvPr>
                <p:cNvSpPr txBox="1"/>
                <p:nvPr/>
              </p:nvSpPr>
              <p:spPr>
                <a:xfrm>
                  <a:off x="7613223" y="3673066"/>
                  <a:ext cx="184830" cy="166169"/>
                </a:xfrm>
                <a:prstGeom prst="rect">
                  <a:avLst/>
                </a:prstGeom>
                <a:noFill/>
              </p:spPr>
              <p:txBody>
                <a:bodyPr wrap="none" lIns="0" tIns="0" rIns="0" bIns="0" rtlCol="0">
                  <a:noAutofit/>
                </a:bodyPr>
                <a:lstStyle/>
                <a:p>
                  <a:r>
                    <a:rPr lang="fr-FR" sz="800">
                      <a:solidFill>
                        <a:srgbClr val="FFFFFF"/>
                      </a:solidFill>
                      <a:latin typeface="Tahoma"/>
                    </a:rPr>
                    <a:t>39</a:t>
                  </a:r>
                </a:p>
              </p:txBody>
            </p:sp>
            <p:sp>
              <p:nvSpPr>
                <p:cNvPr id="263" name="25">
                  <a:extLst>
                    <a:ext uri="{FF2B5EF4-FFF2-40B4-BE49-F238E27FC236}">
                      <a16:creationId xmlns:a16="http://schemas.microsoft.com/office/drawing/2014/main" id="{EDCB80B0-3767-4F02-8F9E-660A08E8518F}"/>
                    </a:ext>
                  </a:extLst>
                </p:cNvPr>
                <p:cNvSpPr txBox="1"/>
                <p:nvPr/>
              </p:nvSpPr>
              <p:spPr>
                <a:xfrm>
                  <a:off x="7833231" y="3442656"/>
                  <a:ext cx="184830" cy="166169"/>
                </a:xfrm>
                <a:prstGeom prst="rect">
                  <a:avLst/>
                </a:prstGeom>
                <a:noFill/>
              </p:spPr>
              <p:txBody>
                <a:bodyPr wrap="none" lIns="0" tIns="0" rIns="0" bIns="0" rtlCol="0">
                  <a:noAutofit/>
                </a:bodyPr>
                <a:lstStyle/>
                <a:p>
                  <a:r>
                    <a:rPr lang="fr-FR" sz="800">
                      <a:solidFill>
                        <a:srgbClr val="503078"/>
                      </a:solidFill>
                      <a:latin typeface="Tahoma"/>
                    </a:rPr>
                    <a:t>25</a:t>
                  </a:r>
                </a:p>
              </p:txBody>
            </p:sp>
            <p:sp>
              <p:nvSpPr>
                <p:cNvPr id="264" name="70">
                  <a:extLst>
                    <a:ext uri="{FF2B5EF4-FFF2-40B4-BE49-F238E27FC236}">
                      <a16:creationId xmlns:a16="http://schemas.microsoft.com/office/drawing/2014/main" id="{1DE05066-7C83-4AC2-A6C7-C0169AC06DDC}"/>
                    </a:ext>
                  </a:extLst>
                </p:cNvPr>
                <p:cNvSpPr txBox="1"/>
                <p:nvPr/>
              </p:nvSpPr>
              <p:spPr>
                <a:xfrm>
                  <a:off x="7720664" y="3177366"/>
                  <a:ext cx="184830" cy="166169"/>
                </a:xfrm>
                <a:prstGeom prst="rect">
                  <a:avLst/>
                </a:prstGeom>
                <a:noFill/>
              </p:spPr>
              <p:txBody>
                <a:bodyPr wrap="none" lIns="0" tIns="0" rIns="0" bIns="0" rtlCol="0">
                  <a:noAutofit/>
                </a:bodyPr>
                <a:lstStyle/>
                <a:p>
                  <a:r>
                    <a:rPr lang="fr-FR" sz="800">
                      <a:solidFill>
                        <a:srgbClr val="FFFFFF"/>
                      </a:solidFill>
                      <a:latin typeface="Tahoma"/>
                    </a:rPr>
                    <a:t>70</a:t>
                  </a:r>
                </a:p>
              </p:txBody>
            </p:sp>
            <p:sp>
              <p:nvSpPr>
                <p:cNvPr id="265" name="90">
                  <a:extLst>
                    <a:ext uri="{FF2B5EF4-FFF2-40B4-BE49-F238E27FC236}">
                      <a16:creationId xmlns:a16="http://schemas.microsoft.com/office/drawing/2014/main" id="{4E16FF46-EB27-41E7-B2E2-7DBCA9744732}"/>
                    </a:ext>
                  </a:extLst>
                </p:cNvPr>
                <p:cNvSpPr txBox="1"/>
                <p:nvPr/>
              </p:nvSpPr>
              <p:spPr>
                <a:xfrm>
                  <a:off x="8008940" y="3182007"/>
                  <a:ext cx="184830" cy="199736"/>
                </a:xfrm>
                <a:prstGeom prst="rect">
                  <a:avLst/>
                </a:prstGeom>
                <a:noFill/>
              </p:spPr>
              <p:txBody>
                <a:bodyPr wrap="none" lIns="0" tIns="0" rIns="0" bIns="0" rtlCol="0">
                  <a:noAutofit/>
                </a:bodyPr>
                <a:lstStyle/>
                <a:p>
                  <a:r>
                    <a:rPr lang="fr-FR" sz="800">
                      <a:solidFill>
                        <a:srgbClr val="503078"/>
                      </a:solidFill>
                      <a:latin typeface="Tahoma"/>
                    </a:rPr>
                    <a:t>90</a:t>
                  </a:r>
                </a:p>
              </p:txBody>
            </p:sp>
          </p:grpSp>
          <p:grpSp>
            <p:nvGrpSpPr>
              <p:cNvPr id="257" name="Bourgogne (N° Départements)">
                <a:extLst>
                  <a:ext uri="{FF2B5EF4-FFF2-40B4-BE49-F238E27FC236}">
                    <a16:creationId xmlns:a16="http://schemas.microsoft.com/office/drawing/2014/main" id="{9A675126-4CFA-4D21-95E2-F97D70834C06}"/>
                  </a:ext>
                </a:extLst>
              </p:cNvPr>
              <p:cNvGrpSpPr/>
              <p:nvPr/>
            </p:nvGrpSpPr>
            <p:grpSpPr>
              <a:xfrm>
                <a:off x="6814551" y="3150185"/>
                <a:ext cx="641314" cy="736329"/>
                <a:chOff x="6814551" y="3150185"/>
                <a:chExt cx="641314" cy="736329"/>
              </a:xfrm>
            </p:grpSpPr>
            <p:sp>
              <p:nvSpPr>
                <p:cNvPr id="258" name="71">
                  <a:extLst>
                    <a:ext uri="{FF2B5EF4-FFF2-40B4-BE49-F238E27FC236}">
                      <a16:creationId xmlns:a16="http://schemas.microsoft.com/office/drawing/2014/main" id="{326F6842-C74B-4CB6-B42F-E15A4FFCA690}"/>
                    </a:ext>
                  </a:extLst>
                </p:cNvPr>
                <p:cNvSpPr txBox="1"/>
                <p:nvPr/>
              </p:nvSpPr>
              <p:spPr>
                <a:xfrm>
                  <a:off x="7185572" y="3720345"/>
                  <a:ext cx="184830" cy="166169"/>
                </a:xfrm>
                <a:prstGeom prst="rect">
                  <a:avLst/>
                </a:prstGeom>
                <a:noFill/>
              </p:spPr>
              <p:txBody>
                <a:bodyPr wrap="none" lIns="0" tIns="0" rIns="0" bIns="0" rtlCol="0">
                  <a:noAutofit/>
                </a:bodyPr>
                <a:lstStyle/>
                <a:p>
                  <a:r>
                    <a:rPr lang="fr-FR" sz="800">
                      <a:solidFill>
                        <a:srgbClr val="FFFFFF"/>
                      </a:solidFill>
                      <a:latin typeface="Tahoma"/>
                    </a:rPr>
                    <a:t>71</a:t>
                  </a:r>
                </a:p>
              </p:txBody>
            </p:sp>
            <p:sp>
              <p:nvSpPr>
                <p:cNvPr id="259" name="58">
                  <a:extLst>
                    <a:ext uri="{FF2B5EF4-FFF2-40B4-BE49-F238E27FC236}">
                      <a16:creationId xmlns:a16="http://schemas.microsoft.com/office/drawing/2014/main" id="{488A1BEF-B7E5-4E67-B107-E376638CF58E}"/>
                    </a:ext>
                  </a:extLst>
                </p:cNvPr>
                <p:cNvSpPr txBox="1"/>
                <p:nvPr/>
              </p:nvSpPr>
              <p:spPr>
                <a:xfrm>
                  <a:off x="6814551" y="3508972"/>
                  <a:ext cx="184830" cy="166169"/>
                </a:xfrm>
                <a:prstGeom prst="rect">
                  <a:avLst/>
                </a:prstGeom>
                <a:noFill/>
              </p:spPr>
              <p:txBody>
                <a:bodyPr wrap="none" lIns="0" tIns="0" rIns="0" bIns="0" rtlCol="0">
                  <a:noAutofit/>
                </a:bodyPr>
                <a:lstStyle/>
                <a:p>
                  <a:r>
                    <a:rPr lang="fr-FR" sz="800">
                      <a:solidFill>
                        <a:srgbClr val="FFFFFF"/>
                      </a:solidFill>
                      <a:latin typeface="Tahoma"/>
                    </a:rPr>
                    <a:t>58</a:t>
                  </a:r>
                </a:p>
              </p:txBody>
            </p:sp>
            <p:sp>
              <p:nvSpPr>
                <p:cNvPr id="260" name="89">
                  <a:extLst>
                    <a:ext uri="{FF2B5EF4-FFF2-40B4-BE49-F238E27FC236}">
                      <a16:creationId xmlns:a16="http://schemas.microsoft.com/office/drawing/2014/main" id="{A1F5AC50-EE85-4837-BE5B-1E983A6213F5}"/>
                    </a:ext>
                  </a:extLst>
                </p:cNvPr>
                <p:cNvSpPr txBox="1"/>
                <p:nvPr/>
              </p:nvSpPr>
              <p:spPr>
                <a:xfrm>
                  <a:off x="6833175" y="3150185"/>
                  <a:ext cx="184830" cy="166169"/>
                </a:xfrm>
                <a:prstGeom prst="rect">
                  <a:avLst/>
                </a:prstGeom>
                <a:noFill/>
              </p:spPr>
              <p:txBody>
                <a:bodyPr wrap="none" lIns="0" tIns="0" rIns="0" bIns="0" rtlCol="0">
                  <a:noAutofit/>
                </a:bodyPr>
                <a:lstStyle/>
                <a:p>
                  <a:r>
                    <a:rPr lang="fr-FR" sz="800">
                      <a:solidFill>
                        <a:srgbClr val="FFFFFF"/>
                      </a:solidFill>
                      <a:latin typeface="Tahoma"/>
                    </a:rPr>
                    <a:t>89</a:t>
                  </a:r>
                </a:p>
              </p:txBody>
            </p:sp>
            <p:sp>
              <p:nvSpPr>
                <p:cNvPr id="261" name="21">
                  <a:extLst>
                    <a:ext uri="{FF2B5EF4-FFF2-40B4-BE49-F238E27FC236}">
                      <a16:creationId xmlns:a16="http://schemas.microsoft.com/office/drawing/2014/main" id="{80DB01D6-9C2F-4320-8304-5015C065D3FE}"/>
                    </a:ext>
                  </a:extLst>
                </p:cNvPr>
                <p:cNvSpPr txBox="1"/>
                <p:nvPr/>
              </p:nvSpPr>
              <p:spPr>
                <a:xfrm>
                  <a:off x="7271035" y="3341432"/>
                  <a:ext cx="184830" cy="166169"/>
                </a:xfrm>
                <a:prstGeom prst="rect">
                  <a:avLst/>
                </a:prstGeom>
                <a:noFill/>
              </p:spPr>
              <p:txBody>
                <a:bodyPr wrap="none" lIns="0" tIns="0" rIns="0" bIns="0" rtlCol="0">
                  <a:noAutofit/>
                </a:bodyPr>
                <a:lstStyle/>
                <a:p>
                  <a:r>
                    <a:rPr lang="fr-FR" sz="800">
                      <a:solidFill>
                        <a:srgbClr val="503078"/>
                      </a:solidFill>
                      <a:latin typeface="Tahoma"/>
                    </a:rPr>
                    <a:t>21</a:t>
                  </a:r>
                </a:p>
              </p:txBody>
            </p:sp>
          </p:grpSp>
        </p:grpSp>
        <p:grpSp>
          <p:nvGrpSpPr>
            <p:cNvPr id="166" name="Auvergne Rhône Alpes (Formes)">
              <a:extLst>
                <a:ext uri="{FF2B5EF4-FFF2-40B4-BE49-F238E27FC236}">
                  <a16:creationId xmlns:a16="http://schemas.microsoft.com/office/drawing/2014/main" id="{63865A36-3B42-42B0-BCD1-9C6BC094A617}"/>
                </a:ext>
              </a:extLst>
            </p:cNvPr>
            <p:cNvGrpSpPr/>
            <p:nvPr/>
          </p:nvGrpSpPr>
          <p:grpSpPr>
            <a:xfrm>
              <a:off x="7130375" y="3576738"/>
              <a:ext cx="1890985" cy="1398184"/>
              <a:chOff x="6376919" y="3746123"/>
              <a:chExt cx="1890985" cy="1398184"/>
            </a:xfrm>
            <a:solidFill>
              <a:srgbClr val="8C9B9C"/>
            </a:solidFill>
          </p:grpSpPr>
          <p:grpSp>
            <p:nvGrpSpPr>
              <p:cNvPr id="242" name="Rhône Alpes (Formes)">
                <a:extLst>
                  <a:ext uri="{FF2B5EF4-FFF2-40B4-BE49-F238E27FC236}">
                    <a16:creationId xmlns:a16="http://schemas.microsoft.com/office/drawing/2014/main" id="{49E91652-0189-4797-8846-8305A288AE6E}"/>
                  </a:ext>
                </a:extLst>
              </p:cNvPr>
              <p:cNvGrpSpPr/>
              <p:nvPr/>
            </p:nvGrpSpPr>
            <p:grpSpPr>
              <a:xfrm>
                <a:off x="6977163" y="3886514"/>
                <a:ext cx="1290741" cy="1257793"/>
                <a:chOff x="6977163" y="3886514"/>
                <a:chExt cx="1290741" cy="1257793"/>
              </a:xfrm>
              <a:grpFill/>
            </p:grpSpPr>
            <p:sp>
              <p:nvSpPr>
                <p:cNvPr id="248" name="26">
                  <a:extLst>
                    <a:ext uri="{FF2B5EF4-FFF2-40B4-BE49-F238E27FC236}">
                      <a16:creationId xmlns:a16="http://schemas.microsoft.com/office/drawing/2014/main" id="{0BEA0798-9D78-491A-8458-59CE93C4329D}"/>
                    </a:ext>
                  </a:extLst>
                </p:cNvPr>
                <p:cNvSpPr>
                  <a:spLocks/>
                </p:cNvSpPr>
                <p:nvPr/>
              </p:nvSpPr>
              <p:spPr bwMode="gray">
                <a:xfrm>
                  <a:off x="7342467" y="4505383"/>
                  <a:ext cx="429769" cy="638924"/>
                </a:xfrm>
                <a:custGeom>
                  <a:avLst/>
                  <a:gdLst>
                    <a:gd name="T0" fmla="*/ 0 w 300"/>
                    <a:gd name="T1" fmla="*/ 363 h 446"/>
                    <a:gd name="T2" fmla="*/ 13 w 300"/>
                    <a:gd name="T3" fmla="*/ 284 h 446"/>
                    <a:gd name="T4" fmla="*/ 34 w 300"/>
                    <a:gd name="T5" fmla="*/ 253 h 446"/>
                    <a:gd name="T6" fmla="*/ 28 w 300"/>
                    <a:gd name="T7" fmla="*/ 210 h 446"/>
                    <a:gd name="T8" fmla="*/ 58 w 300"/>
                    <a:gd name="T9" fmla="*/ 148 h 446"/>
                    <a:gd name="T10" fmla="*/ 34 w 300"/>
                    <a:gd name="T11" fmla="*/ 17 h 446"/>
                    <a:gd name="T12" fmla="*/ 87 w 300"/>
                    <a:gd name="T13" fmla="*/ 0 h 446"/>
                    <a:gd name="T14" fmla="*/ 104 w 300"/>
                    <a:gd name="T15" fmla="*/ 21 h 446"/>
                    <a:gd name="T16" fmla="*/ 119 w 300"/>
                    <a:gd name="T17" fmla="*/ 17 h 446"/>
                    <a:gd name="T18" fmla="*/ 117 w 300"/>
                    <a:gd name="T19" fmla="*/ 34 h 446"/>
                    <a:gd name="T20" fmla="*/ 136 w 300"/>
                    <a:gd name="T21" fmla="*/ 44 h 446"/>
                    <a:gd name="T22" fmla="*/ 121 w 300"/>
                    <a:gd name="T23" fmla="*/ 97 h 446"/>
                    <a:gd name="T24" fmla="*/ 187 w 300"/>
                    <a:gd name="T25" fmla="*/ 110 h 446"/>
                    <a:gd name="T26" fmla="*/ 213 w 300"/>
                    <a:gd name="T27" fmla="*/ 93 h 446"/>
                    <a:gd name="T28" fmla="*/ 209 w 300"/>
                    <a:gd name="T29" fmla="*/ 195 h 446"/>
                    <a:gd name="T30" fmla="*/ 300 w 300"/>
                    <a:gd name="T31" fmla="*/ 227 h 446"/>
                    <a:gd name="T32" fmla="*/ 296 w 300"/>
                    <a:gd name="T33" fmla="*/ 246 h 446"/>
                    <a:gd name="T34" fmla="*/ 257 w 300"/>
                    <a:gd name="T35" fmla="*/ 248 h 446"/>
                    <a:gd name="T36" fmla="*/ 247 w 300"/>
                    <a:gd name="T37" fmla="*/ 287 h 446"/>
                    <a:gd name="T38" fmla="*/ 264 w 300"/>
                    <a:gd name="T39" fmla="*/ 301 h 446"/>
                    <a:gd name="T40" fmla="*/ 251 w 300"/>
                    <a:gd name="T41" fmla="*/ 314 h 446"/>
                    <a:gd name="T42" fmla="*/ 211 w 300"/>
                    <a:gd name="T43" fmla="*/ 306 h 446"/>
                    <a:gd name="T44" fmla="*/ 221 w 300"/>
                    <a:gd name="T45" fmla="*/ 331 h 446"/>
                    <a:gd name="T46" fmla="*/ 202 w 300"/>
                    <a:gd name="T47" fmla="*/ 333 h 446"/>
                    <a:gd name="T48" fmla="*/ 206 w 300"/>
                    <a:gd name="T49" fmla="*/ 338 h 446"/>
                    <a:gd name="T50" fmla="*/ 223 w 300"/>
                    <a:gd name="T51" fmla="*/ 363 h 446"/>
                    <a:gd name="T52" fmla="*/ 257 w 300"/>
                    <a:gd name="T53" fmla="*/ 363 h 446"/>
                    <a:gd name="T54" fmla="*/ 272 w 300"/>
                    <a:gd name="T55" fmla="*/ 416 h 446"/>
                    <a:gd name="T56" fmla="*/ 274 w 300"/>
                    <a:gd name="T57" fmla="*/ 431 h 446"/>
                    <a:gd name="T58" fmla="*/ 247 w 300"/>
                    <a:gd name="T59" fmla="*/ 416 h 446"/>
                    <a:gd name="T60" fmla="*/ 226 w 300"/>
                    <a:gd name="T61" fmla="*/ 446 h 446"/>
                    <a:gd name="T62" fmla="*/ 187 w 300"/>
                    <a:gd name="T63" fmla="*/ 410 h 446"/>
                    <a:gd name="T64" fmla="*/ 138 w 300"/>
                    <a:gd name="T65" fmla="*/ 408 h 446"/>
                    <a:gd name="T66" fmla="*/ 136 w 300"/>
                    <a:gd name="T67" fmla="*/ 376 h 446"/>
                    <a:gd name="T68" fmla="*/ 47 w 300"/>
                    <a:gd name="T69" fmla="*/ 408 h 446"/>
                    <a:gd name="T70" fmla="*/ 43 w 300"/>
                    <a:gd name="T71" fmla="*/ 380 h 446"/>
                    <a:gd name="T72" fmla="*/ 2 w 300"/>
                    <a:gd name="T73" fmla="*/ 372 h 446"/>
                    <a:gd name="T74" fmla="*/ 0 w 300"/>
                    <a:gd name="T75" fmla="*/ 370 h 446"/>
                    <a:gd name="T76" fmla="*/ 0 w 300"/>
                    <a:gd name="T77" fmla="*/ 36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0" h="446">
                      <a:moveTo>
                        <a:pt x="0" y="363"/>
                      </a:moveTo>
                      <a:lnTo>
                        <a:pt x="13" y="284"/>
                      </a:lnTo>
                      <a:lnTo>
                        <a:pt x="34" y="253"/>
                      </a:lnTo>
                      <a:lnTo>
                        <a:pt x="28" y="210"/>
                      </a:lnTo>
                      <a:lnTo>
                        <a:pt x="58" y="148"/>
                      </a:lnTo>
                      <a:lnTo>
                        <a:pt x="34" y="17"/>
                      </a:lnTo>
                      <a:lnTo>
                        <a:pt x="87" y="0"/>
                      </a:lnTo>
                      <a:lnTo>
                        <a:pt x="104" y="21"/>
                      </a:lnTo>
                      <a:lnTo>
                        <a:pt x="119" y="17"/>
                      </a:lnTo>
                      <a:lnTo>
                        <a:pt x="117" y="34"/>
                      </a:lnTo>
                      <a:lnTo>
                        <a:pt x="136" y="44"/>
                      </a:lnTo>
                      <a:lnTo>
                        <a:pt x="121" y="97"/>
                      </a:lnTo>
                      <a:lnTo>
                        <a:pt x="187" y="110"/>
                      </a:lnTo>
                      <a:lnTo>
                        <a:pt x="213" y="93"/>
                      </a:lnTo>
                      <a:lnTo>
                        <a:pt x="209" y="195"/>
                      </a:lnTo>
                      <a:lnTo>
                        <a:pt x="300" y="227"/>
                      </a:lnTo>
                      <a:lnTo>
                        <a:pt x="296" y="246"/>
                      </a:lnTo>
                      <a:lnTo>
                        <a:pt x="257" y="248"/>
                      </a:lnTo>
                      <a:lnTo>
                        <a:pt x="247" y="287"/>
                      </a:lnTo>
                      <a:lnTo>
                        <a:pt x="264" y="301"/>
                      </a:lnTo>
                      <a:lnTo>
                        <a:pt x="251" y="314"/>
                      </a:lnTo>
                      <a:lnTo>
                        <a:pt x="211" y="306"/>
                      </a:lnTo>
                      <a:lnTo>
                        <a:pt x="221" y="331"/>
                      </a:lnTo>
                      <a:lnTo>
                        <a:pt x="202" y="333"/>
                      </a:lnTo>
                      <a:lnTo>
                        <a:pt x="206" y="338"/>
                      </a:lnTo>
                      <a:lnTo>
                        <a:pt x="223" y="363"/>
                      </a:lnTo>
                      <a:lnTo>
                        <a:pt x="257" y="363"/>
                      </a:lnTo>
                      <a:lnTo>
                        <a:pt x="272" y="416"/>
                      </a:lnTo>
                      <a:lnTo>
                        <a:pt x="274" y="431"/>
                      </a:lnTo>
                      <a:lnTo>
                        <a:pt x="247" y="416"/>
                      </a:lnTo>
                      <a:lnTo>
                        <a:pt x="226" y="446"/>
                      </a:lnTo>
                      <a:lnTo>
                        <a:pt x="187" y="410"/>
                      </a:lnTo>
                      <a:lnTo>
                        <a:pt x="138" y="408"/>
                      </a:lnTo>
                      <a:lnTo>
                        <a:pt x="136" y="376"/>
                      </a:lnTo>
                      <a:lnTo>
                        <a:pt x="47" y="408"/>
                      </a:lnTo>
                      <a:lnTo>
                        <a:pt x="43" y="380"/>
                      </a:lnTo>
                      <a:lnTo>
                        <a:pt x="2" y="372"/>
                      </a:lnTo>
                      <a:lnTo>
                        <a:pt x="0" y="370"/>
                      </a:lnTo>
                      <a:lnTo>
                        <a:pt x="0" y="363"/>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49" name="42">
                  <a:extLst>
                    <a:ext uri="{FF2B5EF4-FFF2-40B4-BE49-F238E27FC236}">
                      <a16:creationId xmlns:a16="http://schemas.microsoft.com/office/drawing/2014/main" id="{E9A8E44D-3904-44D4-BE97-4EF257741DA6}"/>
                    </a:ext>
                  </a:extLst>
                </p:cNvPr>
                <p:cNvSpPr>
                  <a:spLocks/>
                </p:cNvSpPr>
                <p:nvPr/>
              </p:nvSpPr>
              <p:spPr bwMode="gray">
                <a:xfrm>
                  <a:off x="6977163" y="4021176"/>
                  <a:ext cx="396821" cy="544374"/>
                </a:xfrm>
                <a:custGeom>
                  <a:avLst/>
                  <a:gdLst>
                    <a:gd name="T0" fmla="*/ 2 w 277"/>
                    <a:gd name="T1" fmla="*/ 123 h 380"/>
                    <a:gd name="T2" fmla="*/ 34 w 277"/>
                    <a:gd name="T3" fmla="*/ 104 h 380"/>
                    <a:gd name="T4" fmla="*/ 21 w 277"/>
                    <a:gd name="T5" fmla="*/ 19 h 380"/>
                    <a:gd name="T6" fmla="*/ 53 w 277"/>
                    <a:gd name="T7" fmla="*/ 0 h 380"/>
                    <a:gd name="T8" fmla="*/ 53 w 277"/>
                    <a:gd name="T9" fmla="*/ 23 h 380"/>
                    <a:gd name="T10" fmla="*/ 75 w 277"/>
                    <a:gd name="T11" fmla="*/ 38 h 380"/>
                    <a:gd name="T12" fmla="*/ 106 w 277"/>
                    <a:gd name="T13" fmla="*/ 27 h 380"/>
                    <a:gd name="T14" fmla="*/ 151 w 277"/>
                    <a:gd name="T15" fmla="*/ 42 h 380"/>
                    <a:gd name="T16" fmla="*/ 177 w 277"/>
                    <a:gd name="T17" fmla="*/ 19 h 380"/>
                    <a:gd name="T18" fmla="*/ 191 w 277"/>
                    <a:gd name="T19" fmla="*/ 36 h 380"/>
                    <a:gd name="T20" fmla="*/ 160 w 277"/>
                    <a:gd name="T21" fmla="*/ 51 h 380"/>
                    <a:gd name="T22" fmla="*/ 143 w 277"/>
                    <a:gd name="T23" fmla="*/ 82 h 380"/>
                    <a:gd name="T24" fmla="*/ 160 w 277"/>
                    <a:gd name="T25" fmla="*/ 95 h 380"/>
                    <a:gd name="T26" fmla="*/ 143 w 277"/>
                    <a:gd name="T27" fmla="*/ 102 h 380"/>
                    <a:gd name="T28" fmla="*/ 145 w 277"/>
                    <a:gd name="T29" fmla="*/ 104 h 380"/>
                    <a:gd name="T30" fmla="*/ 183 w 277"/>
                    <a:gd name="T31" fmla="*/ 153 h 380"/>
                    <a:gd name="T32" fmla="*/ 174 w 277"/>
                    <a:gd name="T33" fmla="*/ 219 h 380"/>
                    <a:gd name="T34" fmla="*/ 202 w 277"/>
                    <a:gd name="T35" fmla="*/ 250 h 380"/>
                    <a:gd name="T36" fmla="*/ 257 w 277"/>
                    <a:gd name="T37" fmla="*/ 259 h 380"/>
                    <a:gd name="T38" fmla="*/ 247 w 277"/>
                    <a:gd name="T39" fmla="*/ 282 h 380"/>
                    <a:gd name="T40" fmla="*/ 277 w 277"/>
                    <a:gd name="T41" fmla="*/ 295 h 380"/>
                    <a:gd name="T42" fmla="*/ 274 w 277"/>
                    <a:gd name="T43" fmla="*/ 310 h 380"/>
                    <a:gd name="T44" fmla="*/ 274 w 277"/>
                    <a:gd name="T45" fmla="*/ 314 h 380"/>
                    <a:gd name="T46" fmla="*/ 277 w 277"/>
                    <a:gd name="T47" fmla="*/ 331 h 380"/>
                    <a:gd name="T48" fmla="*/ 240 w 277"/>
                    <a:gd name="T49" fmla="*/ 350 h 380"/>
                    <a:gd name="T50" fmla="*/ 234 w 277"/>
                    <a:gd name="T51" fmla="*/ 376 h 380"/>
                    <a:gd name="T52" fmla="*/ 209 w 277"/>
                    <a:gd name="T53" fmla="*/ 380 h 380"/>
                    <a:gd name="T54" fmla="*/ 172 w 277"/>
                    <a:gd name="T55" fmla="*/ 363 h 380"/>
                    <a:gd name="T56" fmla="*/ 168 w 277"/>
                    <a:gd name="T57" fmla="*/ 331 h 380"/>
                    <a:gd name="T58" fmla="*/ 126 w 277"/>
                    <a:gd name="T59" fmla="*/ 323 h 380"/>
                    <a:gd name="T60" fmla="*/ 100 w 277"/>
                    <a:gd name="T61" fmla="*/ 342 h 380"/>
                    <a:gd name="T62" fmla="*/ 55 w 277"/>
                    <a:gd name="T63" fmla="*/ 338 h 380"/>
                    <a:gd name="T64" fmla="*/ 77 w 277"/>
                    <a:gd name="T65" fmla="*/ 287 h 380"/>
                    <a:gd name="T66" fmla="*/ 2 w 277"/>
                    <a:gd name="T67" fmla="*/ 176 h 380"/>
                    <a:gd name="T68" fmla="*/ 17 w 277"/>
                    <a:gd name="T69" fmla="*/ 142 h 380"/>
                    <a:gd name="T70" fmla="*/ 0 w 277"/>
                    <a:gd name="T71" fmla="*/ 125 h 380"/>
                    <a:gd name="T72" fmla="*/ 2 w 277"/>
                    <a:gd name="T73" fmla="*/ 123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80">
                      <a:moveTo>
                        <a:pt x="2" y="123"/>
                      </a:moveTo>
                      <a:lnTo>
                        <a:pt x="34" y="104"/>
                      </a:lnTo>
                      <a:lnTo>
                        <a:pt x="21" y="19"/>
                      </a:lnTo>
                      <a:lnTo>
                        <a:pt x="53" y="0"/>
                      </a:lnTo>
                      <a:lnTo>
                        <a:pt x="53" y="23"/>
                      </a:lnTo>
                      <a:lnTo>
                        <a:pt x="75" y="38"/>
                      </a:lnTo>
                      <a:lnTo>
                        <a:pt x="106" y="27"/>
                      </a:lnTo>
                      <a:lnTo>
                        <a:pt x="151" y="42"/>
                      </a:lnTo>
                      <a:lnTo>
                        <a:pt x="177" y="19"/>
                      </a:lnTo>
                      <a:lnTo>
                        <a:pt x="191" y="36"/>
                      </a:lnTo>
                      <a:lnTo>
                        <a:pt x="160" y="51"/>
                      </a:lnTo>
                      <a:lnTo>
                        <a:pt x="143" y="82"/>
                      </a:lnTo>
                      <a:lnTo>
                        <a:pt x="160" y="95"/>
                      </a:lnTo>
                      <a:lnTo>
                        <a:pt x="143" y="102"/>
                      </a:lnTo>
                      <a:lnTo>
                        <a:pt x="145" y="104"/>
                      </a:lnTo>
                      <a:lnTo>
                        <a:pt x="183" y="153"/>
                      </a:lnTo>
                      <a:lnTo>
                        <a:pt x="174" y="219"/>
                      </a:lnTo>
                      <a:lnTo>
                        <a:pt x="202" y="250"/>
                      </a:lnTo>
                      <a:lnTo>
                        <a:pt x="257" y="259"/>
                      </a:lnTo>
                      <a:lnTo>
                        <a:pt x="247" y="282"/>
                      </a:lnTo>
                      <a:lnTo>
                        <a:pt x="277" y="295"/>
                      </a:lnTo>
                      <a:lnTo>
                        <a:pt x="274" y="310"/>
                      </a:lnTo>
                      <a:lnTo>
                        <a:pt x="274" y="314"/>
                      </a:lnTo>
                      <a:lnTo>
                        <a:pt x="277" y="331"/>
                      </a:lnTo>
                      <a:lnTo>
                        <a:pt x="240" y="350"/>
                      </a:lnTo>
                      <a:lnTo>
                        <a:pt x="234" y="376"/>
                      </a:lnTo>
                      <a:lnTo>
                        <a:pt x="209" y="380"/>
                      </a:lnTo>
                      <a:lnTo>
                        <a:pt x="172" y="363"/>
                      </a:lnTo>
                      <a:lnTo>
                        <a:pt x="168" y="331"/>
                      </a:lnTo>
                      <a:lnTo>
                        <a:pt x="126" y="323"/>
                      </a:lnTo>
                      <a:lnTo>
                        <a:pt x="100" y="342"/>
                      </a:lnTo>
                      <a:lnTo>
                        <a:pt x="55" y="338"/>
                      </a:lnTo>
                      <a:lnTo>
                        <a:pt x="77" y="287"/>
                      </a:lnTo>
                      <a:lnTo>
                        <a:pt x="2" y="176"/>
                      </a:lnTo>
                      <a:lnTo>
                        <a:pt x="17" y="142"/>
                      </a:lnTo>
                      <a:lnTo>
                        <a:pt x="0" y="125"/>
                      </a:lnTo>
                      <a:lnTo>
                        <a:pt x="2" y="123"/>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50" name="69">
                  <a:extLst>
                    <a:ext uri="{FF2B5EF4-FFF2-40B4-BE49-F238E27FC236}">
                      <a16:creationId xmlns:a16="http://schemas.microsoft.com/office/drawing/2014/main" id="{CD792BE2-02E0-4871-BC13-08B79226E4B1}"/>
                    </a:ext>
                  </a:extLst>
                </p:cNvPr>
                <p:cNvSpPr>
                  <a:spLocks/>
                </p:cNvSpPr>
                <p:nvPr/>
              </p:nvSpPr>
              <p:spPr bwMode="gray">
                <a:xfrm>
                  <a:off x="7182020" y="4002551"/>
                  <a:ext cx="338085" cy="441230"/>
                </a:xfrm>
                <a:custGeom>
                  <a:avLst/>
                  <a:gdLst>
                    <a:gd name="T0" fmla="*/ 2 w 236"/>
                    <a:gd name="T1" fmla="*/ 117 h 308"/>
                    <a:gd name="T2" fmla="*/ 40 w 236"/>
                    <a:gd name="T3" fmla="*/ 166 h 308"/>
                    <a:gd name="T4" fmla="*/ 31 w 236"/>
                    <a:gd name="T5" fmla="*/ 232 h 308"/>
                    <a:gd name="T6" fmla="*/ 59 w 236"/>
                    <a:gd name="T7" fmla="*/ 263 h 308"/>
                    <a:gd name="T8" fmla="*/ 114 w 236"/>
                    <a:gd name="T9" fmla="*/ 272 h 308"/>
                    <a:gd name="T10" fmla="*/ 104 w 236"/>
                    <a:gd name="T11" fmla="*/ 295 h 308"/>
                    <a:gd name="T12" fmla="*/ 134 w 236"/>
                    <a:gd name="T13" fmla="*/ 308 h 308"/>
                    <a:gd name="T14" fmla="*/ 163 w 236"/>
                    <a:gd name="T15" fmla="*/ 283 h 308"/>
                    <a:gd name="T16" fmla="*/ 140 w 236"/>
                    <a:gd name="T17" fmla="*/ 263 h 308"/>
                    <a:gd name="T18" fmla="*/ 204 w 236"/>
                    <a:gd name="T19" fmla="*/ 251 h 308"/>
                    <a:gd name="T20" fmla="*/ 236 w 236"/>
                    <a:gd name="T21" fmla="*/ 215 h 308"/>
                    <a:gd name="T22" fmla="*/ 208 w 236"/>
                    <a:gd name="T23" fmla="*/ 191 h 308"/>
                    <a:gd name="T24" fmla="*/ 219 w 236"/>
                    <a:gd name="T25" fmla="*/ 178 h 308"/>
                    <a:gd name="T26" fmla="*/ 172 w 236"/>
                    <a:gd name="T27" fmla="*/ 181 h 308"/>
                    <a:gd name="T28" fmla="*/ 161 w 236"/>
                    <a:gd name="T29" fmla="*/ 146 h 308"/>
                    <a:gd name="T30" fmla="*/ 125 w 236"/>
                    <a:gd name="T31" fmla="*/ 134 h 308"/>
                    <a:gd name="T32" fmla="*/ 134 w 236"/>
                    <a:gd name="T33" fmla="*/ 47 h 308"/>
                    <a:gd name="T34" fmla="*/ 121 w 236"/>
                    <a:gd name="T35" fmla="*/ 44 h 308"/>
                    <a:gd name="T36" fmla="*/ 110 w 236"/>
                    <a:gd name="T37" fmla="*/ 0 h 308"/>
                    <a:gd name="T38" fmla="*/ 93 w 236"/>
                    <a:gd name="T39" fmla="*/ 15 h 308"/>
                    <a:gd name="T40" fmla="*/ 44 w 236"/>
                    <a:gd name="T41" fmla="*/ 2 h 308"/>
                    <a:gd name="T42" fmla="*/ 34 w 236"/>
                    <a:gd name="T43" fmla="*/ 32 h 308"/>
                    <a:gd name="T44" fmla="*/ 48 w 236"/>
                    <a:gd name="T45" fmla="*/ 49 h 308"/>
                    <a:gd name="T46" fmla="*/ 17 w 236"/>
                    <a:gd name="T47" fmla="*/ 64 h 308"/>
                    <a:gd name="T48" fmla="*/ 0 w 236"/>
                    <a:gd name="T49" fmla="*/ 95 h 308"/>
                    <a:gd name="T50" fmla="*/ 17 w 236"/>
                    <a:gd name="T51" fmla="*/ 108 h 308"/>
                    <a:gd name="T52" fmla="*/ 0 w 236"/>
                    <a:gd name="T53" fmla="*/ 115 h 308"/>
                    <a:gd name="T54" fmla="*/ 2 w 236"/>
                    <a:gd name="T55" fmla="*/ 117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6" h="308">
                      <a:moveTo>
                        <a:pt x="2" y="117"/>
                      </a:moveTo>
                      <a:lnTo>
                        <a:pt x="40" y="166"/>
                      </a:lnTo>
                      <a:lnTo>
                        <a:pt x="31" y="232"/>
                      </a:lnTo>
                      <a:lnTo>
                        <a:pt x="59" y="263"/>
                      </a:lnTo>
                      <a:lnTo>
                        <a:pt x="114" y="272"/>
                      </a:lnTo>
                      <a:lnTo>
                        <a:pt x="104" y="295"/>
                      </a:lnTo>
                      <a:lnTo>
                        <a:pt x="134" y="308"/>
                      </a:lnTo>
                      <a:lnTo>
                        <a:pt x="163" y="283"/>
                      </a:lnTo>
                      <a:lnTo>
                        <a:pt x="140" y="263"/>
                      </a:lnTo>
                      <a:lnTo>
                        <a:pt x="204" y="251"/>
                      </a:lnTo>
                      <a:lnTo>
                        <a:pt x="236" y="215"/>
                      </a:lnTo>
                      <a:lnTo>
                        <a:pt x="208" y="191"/>
                      </a:lnTo>
                      <a:lnTo>
                        <a:pt x="219" y="178"/>
                      </a:lnTo>
                      <a:lnTo>
                        <a:pt x="172" y="181"/>
                      </a:lnTo>
                      <a:lnTo>
                        <a:pt x="161" y="146"/>
                      </a:lnTo>
                      <a:lnTo>
                        <a:pt x="125" y="134"/>
                      </a:lnTo>
                      <a:lnTo>
                        <a:pt x="134" y="47"/>
                      </a:lnTo>
                      <a:lnTo>
                        <a:pt x="121" y="44"/>
                      </a:lnTo>
                      <a:lnTo>
                        <a:pt x="110" y="0"/>
                      </a:lnTo>
                      <a:lnTo>
                        <a:pt x="93" y="15"/>
                      </a:lnTo>
                      <a:lnTo>
                        <a:pt x="44" y="2"/>
                      </a:lnTo>
                      <a:lnTo>
                        <a:pt x="34" y="32"/>
                      </a:lnTo>
                      <a:lnTo>
                        <a:pt x="48" y="49"/>
                      </a:lnTo>
                      <a:lnTo>
                        <a:pt x="17" y="64"/>
                      </a:lnTo>
                      <a:lnTo>
                        <a:pt x="0" y="95"/>
                      </a:lnTo>
                      <a:lnTo>
                        <a:pt x="17" y="108"/>
                      </a:lnTo>
                      <a:lnTo>
                        <a:pt x="0" y="115"/>
                      </a:lnTo>
                      <a:lnTo>
                        <a:pt x="2" y="117"/>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51" name="73">
                  <a:extLst>
                    <a:ext uri="{FF2B5EF4-FFF2-40B4-BE49-F238E27FC236}">
                      <a16:creationId xmlns:a16="http://schemas.microsoft.com/office/drawing/2014/main" id="{5DB2A0E2-42E5-420A-8EDE-697CA8895F90}"/>
                    </a:ext>
                  </a:extLst>
                </p:cNvPr>
                <p:cNvSpPr>
                  <a:spLocks/>
                </p:cNvSpPr>
                <p:nvPr/>
              </p:nvSpPr>
              <p:spPr bwMode="gray">
                <a:xfrm>
                  <a:off x="7690580" y="4184488"/>
                  <a:ext cx="577324" cy="454123"/>
                </a:xfrm>
                <a:custGeom>
                  <a:avLst/>
                  <a:gdLst>
                    <a:gd name="T0" fmla="*/ 0 w 403"/>
                    <a:gd name="T1" fmla="*/ 119 h 317"/>
                    <a:gd name="T2" fmla="*/ 36 w 403"/>
                    <a:gd name="T3" fmla="*/ 81 h 317"/>
                    <a:gd name="T4" fmla="*/ 48 w 403"/>
                    <a:gd name="T5" fmla="*/ 0 h 317"/>
                    <a:gd name="T6" fmla="*/ 93 w 403"/>
                    <a:gd name="T7" fmla="*/ 68 h 317"/>
                    <a:gd name="T8" fmla="*/ 136 w 403"/>
                    <a:gd name="T9" fmla="*/ 64 h 317"/>
                    <a:gd name="T10" fmla="*/ 161 w 403"/>
                    <a:gd name="T11" fmla="*/ 90 h 317"/>
                    <a:gd name="T12" fmla="*/ 178 w 403"/>
                    <a:gd name="T13" fmla="*/ 85 h 317"/>
                    <a:gd name="T14" fmla="*/ 223 w 403"/>
                    <a:gd name="T15" fmla="*/ 7 h 317"/>
                    <a:gd name="T16" fmla="*/ 272 w 403"/>
                    <a:gd name="T17" fmla="*/ 68 h 317"/>
                    <a:gd name="T18" fmla="*/ 297 w 403"/>
                    <a:gd name="T19" fmla="*/ 49 h 317"/>
                    <a:gd name="T20" fmla="*/ 312 w 403"/>
                    <a:gd name="T21" fmla="*/ 81 h 317"/>
                    <a:gd name="T22" fmla="*/ 352 w 403"/>
                    <a:gd name="T23" fmla="*/ 98 h 317"/>
                    <a:gd name="T24" fmla="*/ 355 w 403"/>
                    <a:gd name="T25" fmla="*/ 147 h 317"/>
                    <a:gd name="T26" fmla="*/ 403 w 403"/>
                    <a:gd name="T27" fmla="*/ 181 h 317"/>
                    <a:gd name="T28" fmla="*/ 378 w 403"/>
                    <a:gd name="T29" fmla="*/ 251 h 317"/>
                    <a:gd name="T30" fmla="*/ 348 w 403"/>
                    <a:gd name="T31" fmla="*/ 255 h 317"/>
                    <a:gd name="T32" fmla="*/ 325 w 403"/>
                    <a:gd name="T33" fmla="*/ 285 h 317"/>
                    <a:gd name="T34" fmla="*/ 301 w 403"/>
                    <a:gd name="T35" fmla="*/ 275 h 317"/>
                    <a:gd name="T36" fmla="*/ 265 w 403"/>
                    <a:gd name="T37" fmla="*/ 294 h 317"/>
                    <a:gd name="T38" fmla="*/ 233 w 403"/>
                    <a:gd name="T39" fmla="*/ 298 h 317"/>
                    <a:gd name="T40" fmla="*/ 221 w 403"/>
                    <a:gd name="T41" fmla="*/ 317 h 317"/>
                    <a:gd name="T42" fmla="*/ 170 w 403"/>
                    <a:gd name="T43" fmla="*/ 292 h 317"/>
                    <a:gd name="T44" fmla="*/ 140 w 403"/>
                    <a:gd name="T45" fmla="*/ 283 h 317"/>
                    <a:gd name="T46" fmla="*/ 134 w 403"/>
                    <a:gd name="T47" fmla="*/ 236 h 317"/>
                    <a:gd name="T48" fmla="*/ 148 w 403"/>
                    <a:gd name="T49" fmla="*/ 211 h 317"/>
                    <a:gd name="T50" fmla="*/ 129 w 403"/>
                    <a:gd name="T51" fmla="*/ 181 h 317"/>
                    <a:gd name="T52" fmla="*/ 89 w 403"/>
                    <a:gd name="T53" fmla="*/ 164 h 317"/>
                    <a:gd name="T54" fmla="*/ 72 w 403"/>
                    <a:gd name="T55" fmla="*/ 200 h 317"/>
                    <a:gd name="T56" fmla="*/ 31 w 403"/>
                    <a:gd name="T57" fmla="*/ 185 h 317"/>
                    <a:gd name="T58" fmla="*/ 0 w 403"/>
                    <a:gd name="T59" fmla="*/ 124 h 317"/>
                    <a:gd name="T60" fmla="*/ 0 w 403"/>
                    <a:gd name="T61" fmla="*/ 11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3" h="317">
                      <a:moveTo>
                        <a:pt x="0" y="119"/>
                      </a:moveTo>
                      <a:lnTo>
                        <a:pt x="36" y="81"/>
                      </a:lnTo>
                      <a:lnTo>
                        <a:pt x="48" y="0"/>
                      </a:lnTo>
                      <a:lnTo>
                        <a:pt x="93" y="68"/>
                      </a:lnTo>
                      <a:lnTo>
                        <a:pt x="136" y="64"/>
                      </a:lnTo>
                      <a:lnTo>
                        <a:pt x="161" y="90"/>
                      </a:lnTo>
                      <a:lnTo>
                        <a:pt x="178" y="85"/>
                      </a:lnTo>
                      <a:lnTo>
                        <a:pt x="223" y="7"/>
                      </a:lnTo>
                      <a:lnTo>
                        <a:pt x="272" y="68"/>
                      </a:lnTo>
                      <a:lnTo>
                        <a:pt x="297" y="49"/>
                      </a:lnTo>
                      <a:lnTo>
                        <a:pt x="312" y="81"/>
                      </a:lnTo>
                      <a:lnTo>
                        <a:pt x="352" y="98"/>
                      </a:lnTo>
                      <a:lnTo>
                        <a:pt x="355" y="147"/>
                      </a:lnTo>
                      <a:lnTo>
                        <a:pt x="403" y="181"/>
                      </a:lnTo>
                      <a:lnTo>
                        <a:pt x="378" y="251"/>
                      </a:lnTo>
                      <a:lnTo>
                        <a:pt x="348" y="255"/>
                      </a:lnTo>
                      <a:lnTo>
                        <a:pt x="325" y="285"/>
                      </a:lnTo>
                      <a:lnTo>
                        <a:pt x="301" y="275"/>
                      </a:lnTo>
                      <a:lnTo>
                        <a:pt x="265" y="294"/>
                      </a:lnTo>
                      <a:lnTo>
                        <a:pt x="233" y="298"/>
                      </a:lnTo>
                      <a:lnTo>
                        <a:pt x="221" y="317"/>
                      </a:lnTo>
                      <a:lnTo>
                        <a:pt x="170" y="292"/>
                      </a:lnTo>
                      <a:lnTo>
                        <a:pt x="140" y="283"/>
                      </a:lnTo>
                      <a:lnTo>
                        <a:pt x="134" y="236"/>
                      </a:lnTo>
                      <a:lnTo>
                        <a:pt x="148" y="211"/>
                      </a:lnTo>
                      <a:lnTo>
                        <a:pt x="129" y="181"/>
                      </a:lnTo>
                      <a:lnTo>
                        <a:pt x="89" y="164"/>
                      </a:lnTo>
                      <a:lnTo>
                        <a:pt x="72" y="200"/>
                      </a:lnTo>
                      <a:lnTo>
                        <a:pt x="31" y="185"/>
                      </a:lnTo>
                      <a:lnTo>
                        <a:pt x="0" y="124"/>
                      </a:lnTo>
                      <a:lnTo>
                        <a:pt x="0" y="119"/>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52" name="38">
                  <a:extLst>
                    <a:ext uri="{FF2B5EF4-FFF2-40B4-BE49-F238E27FC236}">
                      <a16:creationId xmlns:a16="http://schemas.microsoft.com/office/drawing/2014/main" id="{30E26FF3-1CBC-4F34-B917-536F4209F9F5}"/>
                    </a:ext>
                  </a:extLst>
                </p:cNvPr>
                <p:cNvSpPr>
                  <a:spLocks/>
                </p:cNvSpPr>
                <p:nvPr/>
              </p:nvSpPr>
              <p:spPr bwMode="gray">
                <a:xfrm>
                  <a:off x="7369685" y="4218869"/>
                  <a:ext cx="605976" cy="611706"/>
                </a:xfrm>
                <a:custGeom>
                  <a:avLst/>
                  <a:gdLst>
                    <a:gd name="T0" fmla="*/ 0 w 423"/>
                    <a:gd name="T1" fmla="*/ 176 h 427"/>
                    <a:gd name="T2" fmla="*/ 3 w 423"/>
                    <a:gd name="T3" fmla="*/ 193 h 427"/>
                    <a:gd name="T4" fmla="*/ 15 w 423"/>
                    <a:gd name="T5" fmla="*/ 217 h 427"/>
                    <a:gd name="T6" fmla="*/ 68 w 423"/>
                    <a:gd name="T7" fmla="*/ 200 h 427"/>
                    <a:gd name="T8" fmla="*/ 85 w 423"/>
                    <a:gd name="T9" fmla="*/ 221 h 427"/>
                    <a:gd name="T10" fmla="*/ 100 w 423"/>
                    <a:gd name="T11" fmla="*/ 217 h 427"/>
                    <a:gd name="T12" fmla="*/ 98 w 423"/>
                    <a:gd name="T13" fmla="*/ 234 h 427"/>
                    <a:gd name="T14" fmla="*/ 117 w 423"/>
                    <a:gd name="T15" fmla="*/ 244 h 427"/>
                    <a:gd name="T16" fmla="*/ 102 w 423"/>
                    <a:gd name="T17" fmla="*/ 297 h 427"/>
                    <a:gd name="T18" fmla="*/ 168 w 423"/>
                    <a:gd name="T19" fmla="*/ 310 h 427"/>
                    <a:gd name="T20" fmla="*/ 194 w 423"/>
                    <a:gd name="T21" fmla="*/ 293 h 427"/>
                    <a:gd name="T22" fmla="*/ 190 w 423"/>
                    <a:gd name="T23" fmla="*/ 395 h 427"/>
                    <a:gd name="T24" fmla="*/ 281 w 423"/>
                    <a:gd name="T25" fmla="*/ 427 h 427"/>
                    <a:gd name="T26" fmla="*/ 334 w 423"/>
                    <a:gd name="T27" fmla="*/ 378 h 427"/>
                    <a:gd name="T28" fmla="*/ 423 w 423"/>
                    <a:gd name="T29" fmla="*/ 365 h 427"/>
                    <a:gd name="T30" fmla="*/ 411 w 423"/>
                    <a:gd name="T31" fmla="*/ 312 h 427"/>
                    <a:gd name="T32" fmla="*/ 381 w 423"/>
                    <a:gd name="T33" fmla="*/ 310 h 427"/>
                    <a:gd name="T34" fmla="*/ 394 w 423"/>
                    <a:gd name="T35" fmla="*/ 268 h 427"/>
                    <a:gd name="T36" fmla="*/ 364 w 423"/>
                    <a:gd name="T37" fmla="*/ 259 h 427"/>
                    <a:gd name="T38" fmla="*/ 358 w 423"/>
                    <a:gd name="T39" fmla="*/ 212 h 427"/>
                    <a:gd name="T40" fmla="*/ 372 w 423"/>
                    <a:gd name="T41" fmla="*/ 187 h 427"/>
                    <a:gd name="T42" fmla="*/ 353 w 423"/>
                    <a:gd name="T43" fmla="*/ 157 h 427"/>
                    <a:gd name="T44" fmla="*/ 313 w 423"/>
                    <a:gd name="T45" fmla="*/ 140 h 427"/>
                    <a:gd name="T46" fmla="*/ 296 w 423"/>
                    <a:gd name="T47" fmla="*/ 176 h 427"/>
                    <a:gd name="T48" fmla="*/ 255 w 423"/>
                    <a:gd name="T49" fmla="*/ 161 h 427"/>
                    <a:gd name="T50" fmla="*/ 224 w 423"/>
                    <a:gd name="T51" fmla="*/ 100 h 427"/>
                    <a:gd name="T52" fmla="*/ 224 w 423"/>
                    <a:gd name="T53" fmla="*/ 95 h 427"/>
                    <a:gd name="T54" fmla="*/ 153 w 423"/>
                    <a:gd name="T55" fmla="*/ 0 h 427"/>
                    <a:gd name="T56" fmla="*/ 124 w 423"/>
                    <a:gd name="T57" fmla="*/ 40 h 427"/>
                    <a:gd name="T58" fmla="*/ 88 w 423"/>
                    <a:gd name="T59" fmla="*/ 27 h 427"/>
                    <a:gd name="T60" fmla="*/ 77 w 423"/>
                    <a:gd name="T61" fmla="*/ 40 h 427"/>
                    <a:gd name="T62" fmla="*/ 105 w 423"/>
                    <a:gd name="T63" fmla="*/ 64 h 427"/>
                    <a:gd name="T64" fmla="*/ 73 w 423"/>
                    <a:gd name="T65" fmla="*/ 100 h 427"/>
                    <a:gd name="T66" fmla="*/ 9 w 423"/>
                    <a:gd name="T67" fmla="*/ 112 h 427"/>
                    <a:gd name="T68" fmla="*/ 32 w 423"/>
                    <a:gd name="T69" fmla="*/ 132 h 427"/>
                    <a:gd name="T70" fmla="*/ 3 w 423"/>
                    <a:gd name="T71" fmla="*/ 157 h 427"/>
                    <a:gd name="T72" fmla="*/ 0 w 423"/>
                    <a:gd name="T73" fmla="*/ 172 h 427"/>
                    <a:gd name="T74" fmla="*/ 0 w 423"/>
                    <a:gd name="T75" fmla="*/ 176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3" h="427">
                      <a:moveTo>
                        <a:pt x="0" y="176"/>
                      </a:moveTo>
                      <a:lnTo>
                        <a:pt x="3" y="193"/>
                      </a:lnTo>
                      <a:lnTo>
                        <a:pt x="15" y="217"/>
                      </a:lnTo>
                      <a:lnTo>
                        <a:pt x="68" y="200"/>
                      </a:lnTo>
                      <a:lnTo>
                        <a:pt x="85" y="221"/>
                      </a:lnTo>
                      <a:lnTo>
                        <a:pt x="100" y="217"/>
                      </a:lnTo>
                      <a:lnTo>
                        <a:pt x="98" y="234"/>
                      </a:lnTo>
                      <a:lnTo>
                        <a:pt x="117" y="244"/>
                      </a:lnTo>
                      <a:lnTo>
                        <a:pt x="102" y="297"/>
                      </a:lnTo>
                      <a:lnTo>
                        <a:pt x="168" y="310"/>
                      </a:lnTo>
                      <a:lnTo>
                        <a:pt x="194" y="293"/>
                      </a:lnTo>
                      <a:lnTo>
                        <a:pt x="190" y="395"/>
                      </a:lnTo>
                      <a:lnTo>
                        <a:pt x="281" y="427"/>
                      </a:lnTo>
                      <a:lnTo>
                        <a:pt x="334" y="378"/>
                      </a:lnTo>
                      <a:lnTo>
                        <a:pt x="423" y="365"/>
                      </a:lnTo>
                      <a:lnTo>
                        <a:pt x="411" y="312"/>
                      </a:lnTo>
                      <a:lnTo>
                        <a:pt x="381" y="310"/>
                      </a:lnTo>
                      <a:lnTo>
                        <a:pt x="394" y="268"/>
                      </a:lnTo>
                      <a:lnTo>
                        <a:pt x="364" y="259"/>
                      </a:lnTo>
                      <a:lnTo>
                        <a:pt x="358" y="212"/>
                      </a:lnTo>
                      <a:lnTo>
                        <a:pt x="372" y="187"/>
                      </a:lnTo>
                      <a:lnTo>
                        <a:pt x="353" y="157"/>
                      </a:lnTo>
                      <a:lnTo>
                        <a:pt x="313" y="140"/>
                      </a:lnTo>
                      <a:lnTo>
                        <a:pt x="296" y="176"/>
                      </a:lnTo>
                      <a:lnTo>
                        <a:pt x="255" y="161"/>
                      </a:lnTo>
                      <a:lnTo>
                        <a:pt x="224" y="100"/>
                      </a:lnTo>
                      <a:lnTo>
                        <a:pt x="224" y="95"/>
                      </a:lnTo>
                      <a:lnTo>
                        <a:pt x="153" y="0"/>
                      </a:lnTo>
                      <a:lnTo>
                        <a:pt x="124" y="40"/>
                      </a:lnTo>
                      <a:lnTo>
                        <a:pt x="88" y="27"/>
                      </a:lnTo>
                      <a:lnTo>
                        <a:pt x="77" y="40"/>
                      </a:lnTo>
                      <a:lnTo>
                        <a:pt x="105" y="64"/>
                      </a:lnTo>
                      <a:lnTo>
                        <a:pt x="73" y="100"/>
                      </a:lnTo>
                      <a:lnTo>
                        <a:pt x="9" y="112"/>
                      </a:lnTo>
                      <a:lnTo>
                        <a:pt x="32" y="132"/>
                      </a:lnTo>
                      <a:lnTo>
                        <a:pt x="3" y="157"/>
                      </a:lnTo>
                      <a:lnTo>
                        <a:pt x="0" y="172"/>
                      </a:lnTo>
                      <a:lnTo>
                        <a:pt x="0" y="176"/>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53" name="01">
                  <a:extLst>
                    <a:ext uri="{FF2B5EF4-FFF2-40B4-BE49-F238E27FC236}">
                      <a16:creationId xmlns:a16="http://schemas.microsoft.com/office/drawing/2014/main" id="{951BE009-F69A-4F9C-ACCC-49CB68ADB292}"/>
                    </a:ext>
                  </a:extLst>
                </p:cNvPr>
                <p:cNvSpPr>
                  <a:spLocks/>
                </p:cNvSpPr>
                <p:nvPr/>
              </p:nvSpPr>
              <p:spPr bwMode="gray">
                <a:xfrm>
                  <a:off x="7361089" y="3886514"/>
                  <a:ext cx="514292" cy="468450"/>
                </a:xfrm>
                <a:custGeom>
                  <a:avLst/>
                  <a:gdLst>
                    <a:gd name="T0" fmla="*/ 0 w 359"/>
                    <a:gd name="T1" fmla="*/ 215 h 327"/>
                    <a:gd name="T2" fmla="*/ 36 w 359"/>
                    <a:gd name="T3" fmla="*/ 227 h 327"/>
                    <a:gd name="T4" fmla="*/ 47 w 359"/>
                    <a:gd name="T5" fmla="*/ 262 h 327"/>
                    <a:gd name="T6" fmla="*/ 94 w 359"/>
                    <a:gd name="T7" fmla="*/ 259 h 327"/>
                    <a:gd name="T8" fmla="*/ 130 w 359"/>
                    <a:gd name="T9" fmla="*/ 272 h 327"/>
                    <a:gd name="T10" fmla="*/ 159 w 359"/>
                    <a:gd name="T11" fmla="*/ 232 h 327"/>
                    <a:gd name="T12" fmla="*/ 230 w 359"/>
                    <a:gd name="T13" fmla="*/ 327 h 327"/>
                    <a:gd name="T14" fmla="*/ 266 w 359"/>
                    <a:gd name="T15" fmla="*/ 289 h 327"/>
                    <a:gd name="T16" fmla="*/ 278 w 359"/>
                    <a:gd name="T17" fmla="*/ 208 h 327"/>
                    <a:gd name="T18" fmla="*/ 272 w 359"/>
                    <a:gd name="T19" fmla="*/ 174 h 327"/>
                    <a:gd name="T20" fmla="*/ 270 w 359"/>
                    <a:gd name="T21" fmla="*/ 170 h 327"/>
                    <a:gd name="T22" fmla="*/ 274 w 359"/>
                    <a:gd name="T23" fmla="*/ 149 h 327"/>
                    <a:gd name="T24" fmla="*/ 308 w 359"/>
                    <a:gd name="T25" fmla="*/ 136 h 327"/>
                    <a:gd name="T26" fmla="*/ 310 w 359"/>
                    <a:gd name="T27" fmla="*/ 106 h 327"/>
                    <a:gd name="T28" fmla="*/ 349 w 359"/>
                    <a:gd name="T29" fmla="*/ 91 h 327"/>
                    <a:gd name="T30" fmla="*/ 359 w 359"/>
                    <a:gd name="T31" fmla="*/ 47 h 327"/>
                    <a:gd name="T32" fmla="*/ 332 w 359"/>
                    <a:gd name="T33" fmla="*/ 32 h 327"/>
                    <a:gd name="T34" fmla="*/ 285 w 359"/>
                    <a:gd name="T35" fmla="*/ 89 h 327"/>
                    <a:gd name="T36" fmla="*/ 249 w 359"/>
                    <a:gd name="T37" fmla="*/ 91 h 327"/>
                    <a:gd name="T38" fmla="*/ 227 w 359"/>
                    <a:gd name="T39" fmla="*/ 64 h 327"/>
                    <a:gd name="T40" fmla="*/ 193 w 359"/>
                    <a:gd name="T41" fmla="*/ 91 h 327"/>
                    <a:gd name="T42" fmla="*/ 172 w 359"/>
                    <a:gd name="T43" fmla="*/ 62 h 327"/>
                    <a:gd name="T44" fmla="*/ 166 w 359"/>
                    <a:gd name="T45" fmla="*/ 74 h 327"/>
                    <a:gd name="T46" fmla="*/ 142 w 359"/>
                    <a:gd name="T47" fmla="*/ 26 h 327"/>
                    <a:gd name="T48" fmla="*/ 106 w 359"/>
                    <a:gd name="T49" fmla="*/ 0 h 327"/>
                    <a:gd name="T50" fmla="*/ 77 w 359"/>
                    <a:gd name="T51" fmla="*/ 15 h 327"/>
                    <a:gd name="T52" fmla="*/ 47 w 359"/>
                    <a:gd name="T53" fmla="*/ 4 h 327"/>
                    <a:gd name="T54" fmla="*/ 9 w 359"/>
                    <a:gd name="T55" fmla="*/ 128 h 327"/>
                    <a:gd name="T56" fmla="*/ 0 w 359"/>
                    <a:gd name="T57"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9" h="327">
                      <a:moveTo>
                        <a:pt x="0" y="215"/>
                      </a:moveTo>
                      <a:lnTo>
                        <a:pt x="36" y="227"/>
                      </a:lnTo>
                      <a:lnTo>
                        <a:pt x="47" y="262"/>
                      </a:lnTo>
                      <a:lnTo>
                        <a:pt x="94" y="259"/>
                      </a:lnTo>
                      <a:lnTo>
                        <a:pt x="130" y="272"/>
                      </a:lnTo>
                      <a:lnTo>
                        <a:pt x="159" y="232"/>
                      </a:lnTo>
                      <a:lnTo>
                        <a:pt x="230" y="327"/>
                      </a:lnTo>
                      <a:lnTo>
                        <a:pt x="266" y="289"/>
                      </a:lnTo>
                      <a:lnTo>
                        <a:pt x="278" y="208"/>
                      </a:lnTo>
                      <a:lnTo>
                        <a:pt x="272" y="174"/>
                      </a:lnTo>
                      <a:lnTo>
                        <a:pt x="270" y="170"/>
                      </a:lnTo>
                      <a:lnTo>
                        <a:pt x="274" y="149"/>
                      </a:lnTo>
                      <a:lnTo>
                        <a:pt x="308" y="136"/>
                      </a:lnTo>
                      <a:lnTo>
                        <a:pt x="310" y="106"/>
                      </a:lnTo>
                      <a:lnTo>
                        <a:pt x="349" y="91"/>
                      </a:lnTo>
                      <a:lnTo>
                        <a:pt x="359" y="47"/>
                      </a:lnTo>
                      <a:lnTo>
                        <a:pt x="332" y="32"/>
                      </a:lnTo>
                      <a:lnTo>
                        <a:pt x="285" y="89"/>
                      </a:lnTo>
                      <a:lnTo>
                        <a:pt x="249" y="91"/>
                      </a:lnTo>
                      <a:lnTo>
                        <a:pt x="227" y="64"/>
                      </a:lnTo>
                      <a:lnTo>
                        <a:pt x="193" y="91"/>
                      </a:lnTo>
                      <a:lnTo>
                        <a:pt x="172" y="62"/>
                      </a:lnTo>
                      <a:lnTo>
                        <a:pt x="166" y="74"/>
                      </a:lnTo>
                      <a:lnTo>
                        <a:pt x="142" y="26"/>
                      </a:lnTo>
                      <a:lnTo>
                        <a:pt x="106" y="0"/>
                      </a:lnTo>
                      <a:lnTo>
                        <a:pt x="77" y="15"/>
                      </a:lnTo>
                      <a:lnTo>
                        <a:pt x="47" y="4"/>
                      </a:lnTo>
                      <a:lnTo>
                        <a:pt x="9" y="128"/>
                      </a:lnTo>
                      <a:lnTo>
                        <a:pt x="0" y="215"/>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54" name="07">
                  <a:extLst>
                    <a:ext uri="{FF2B5EF4-FFF2-40B4-BE49-F238E27FC236}">
                      <a16:creationId xmlns:a16="http://schemas.microsoft.com/office/drawing/2014/main" id="{7E02754C-BC81-4833-88F4-1F86F469AC86}"/>
                    </a:ext>
                  </a:extLst>
                </p:cNvPr>
                <p:cNvSpPr>
                  <a:spLocks/>
                </p:cNvSpPr>
                <p:nvPr/>
              </p:nvSpPr>
              <p:spPr bwMode="gray">
                <a:xfrm>
                  <a:off x="7044494" y="4495354"/>
                  <a:ext cx="381062" cy="578756"/>
                </a:xfrm>
                <a:custGeom>
                  <a:avLst/>
                  <a:gdLst>
                    <a:gd name="T0" fmla="*/ 2 w 266"/>
                    <a:gd name="T1" fmla="*/ 247 h 404"/>
                    <a:gd name="T2" fmla="*/ 38 w 266"/>
                    <a:gd name="T3" fmla="*/ 332 h 404"/>
                    <a:gd name="T4" fmla="*/ 57 w 266"/>
                    <a:gd name="T5" fmla="*/ 353 h 404"/>
                    <a:gd name="T6" fmla="*/ 53 w 266"/>
                    <a:gd name="T7" fmla="*/ 385 h 404"/>
                    <a:gd name="T8" fmla="*/ 72 w 266"/>
                    <a:gd name="T9" fmla="*/ 379 h 404"/>
                    <a:gd name="T10" fmla="*/ 108 w 266"/>
                    <a:gd name="T11" fmla="*/ 404 h 404"/>
                    <a:gd name="T12" fmla="*/ 125 w 266"/>
                    <a:gd name="T13" fmla="*/ 377 h 404"/>
                    <a:gd name="T14" fmla="*/ 140 w 266"/>
                    <a:gd name="T15" fmla="*/ 372 h 404"/>
                    <a:gd name="T16" fmla="*/ 155 w 266"/>
                    <a:gd name="T17" fmla="*/ 396 h 404"/>
                    <a:gd name="T18" fmla="*/ 170 w 266"/>
                    <a:gd name="T19" fmla="*/ 374 h 404"/>
                    <a:gd name="T20" fmla="*/ 208 w 266"/>
                    <a:gd name="T21" fmla="*/ 398 h 404"/>
                    <a:gd name="T22" fmla="*/ 210 w 266"/>
                    <a:gd name="T23" fmla="*/ 396 h 404"/>
                    <a:gd name="T24" fmla="*/ 210 w 266"/>
                    <a:gd name="T25" fmla="*/ 379 h 404"/>
                    <a:gd name="T26" fmla="*/ 208 w 266"/>
                    <a:gd name="T27" fmla="*/ 377 h 404"/>
                    <a:gd name="T28" fmla="*/ 208 w 266"/>
                    <a:gd name="T29" fmla="*/ 370 h 404"/>
                    <a:gd name="T30" fmla="*/ 221 w 266"/>
                    <a:gd name="T31" fmla="*/ 291 h 404"/>
                    <a:gd name="T32" fmla="*/ 242 w 266"/>
                    <a:gd name="T33" fmla="*/ 260 h 404"/>
                    <a:gd name="T34" fmla="*/ 236 w 266"/>
                    <a:gd name="T35" fmla="*/ 217 h 404"/>
                    <a:gd name="T36" fmla="*/ 266 w 266"/>
                    <a:gd name="T37" fmla="*/ 155 h 404"/>
                    <a:gd name="T38" fmla="*/ 242 w 266"/>
                    <a:gd name="T39" fmla="*/ 24 h 404"/>
                    <a:gd name="T40" fmla="*/ 230 w 266"/>
                    <a:gd name="T41" fmla="*/ 0 h 404"/>
                    <a:gd name="T42" fmla="*/ 193 w 266"/>
                    <a:gd name="T43" fmla="*/ 19 h 404"/>
                    <a:gd name="T44" fmla="*/ 187 w 266"/>
                    <a:gd name="T45" fmla="*/ 45 h 404"/>
                    <a:gd name="T46" fmla="*/ 162 w 266"/>
                    <a:gd name="T47" fmla="*/ 49 h 404"/>
                    <a:gd name="T48" fmla="*/ 153 w 266"/>
                    <a:gd name="T49" fmla="*/ 92 h 404"/>
                    <a:gd name="T50" fmla="*/ 132 w 266"/>
                    <a:gd name="T51" fmla="*/ 83 h 404"/>
                    <a:gd name="T52" fmla="*/ 134 w 266"/>
                    <a:gd name="T53" fmla="*/ 121 h 404"/>
                    <a:gd name="T54" fmla="*/ 113 w 266"/>
                    <a:gd name="T55" fmla="*/ 128 h 404"/>
                    <a:gd name="T56" fmla="*/ 115 w 266"/>
                    <a:gd name="T57" fmla="*/ 145 h 404"/>
                    <a:gd name="T58" fmla="*/ 93 w 266"/>
                    <a:gd name="T59" fmla="*/ 147 h 404"/>
                    <a:gd name="T60" fmla="*/ 76 w 266"/>
                    <a:gd name="T61" fmla="*/ 181 h 404"/>
                    <a:gd name="T62" fmla="*/ 45 w 266"/>
                    <a:gd name="T63" fmla="*/ 183 h 404"/>
                    <a:gd name="T64" fmla="*/ 0 w 266"/>
                    <a:gd name="T65" fmla="*/ 230 h 404"/>
                    <a:gd name="T66" fmla="*/ 0 w 266"/>
                    <a:gd name="T67" fmla="*/ 240 h 404"/>
                    <a:gd name="T68" fmla="*/ 2 w 266"/>
                    <a:gd name="T69" fmla="*/ 24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6" h="404">
                      <a:moveTo>
                        <a:pt x="2" y="247"/>
                      </a:moveTo>
                      <a:lnTo>
                        <a:pt x="38" y="332"/>
                      </a:lnTo>
                      <a:lnTo>
                        <a:pt x="57" y="353"/>
                      </a:lnTo>
                      <a:lnTo>
                        <a:pt x="53" y="385"/>
                      </a:lnTo>
                      <a:lnTo>
                        <a:pt x="72" y="379"/>
                      </a:lnTo>
                      <a:lnTo>
                        <a:pt x="108" y="404"/>
                      </a:lnTo>
                      <a:lnTo>
                        <a:pt x="125" y="377"/>
                      </a:lnTo>
                      <a:lnTo>
                        <a:pt x="140" y="372"/>
                      </a:lnTo>
                      <a:lnTo>
                        <a:pt x="155" y="396"/>
                      </a:lnTo>
                      <a:lnTo>
                        <a:pt x="170" y="374"/>
                      </a:lnTo>
                      <a:lnTo>
                        <a:pt x="208" y="398"/>
                      </a:lnTo>
                      <a:lnTo>
                        <a:pt x="210" y="396"/>
                      </a:lnTo>
                      <a:lnTo>
                        <a:pt x="210" y="379"/>
                      </a:lnTo>
                      <a:lnTo>
                        <a:pt x="208" y="377"/>
                      </a:lnTo>
                      <a:lnTo>
                        <a:pt x="208" y="370"/>
                      </a:lnTo>
                      <a:lnTo>
                        <a:pt x="221" y="291"/>
                      </a:lnTo>
                      <a:lnTo>
                        <a:pt x="242" y="260"/>
                      </a:lnTo>
                      <a:lnTo>
                        <a:pt x="236" y="217"/>
                      </a:lnTo>
                      <a:lnTo>
                        <a:pt x="266" y="155"/>
                      </a:lnTo>
                      <a:lnTo>
                        <a:pt x="242" y="24"/>
                      </a:lnTo>
                      <a:lnTo>
                        <a:pt x="230" y="0"/>
                      </a:lnTo>
                      <a:lnTo>
                        <a:pt x="193" y="19"/>
                      </a:lnTo>
                      <a:lnTo>
                        <a:pt x="187" y="45"/>
                      </a:lnTo>
                      <a:lnTo>
                        <a:pt x="162" y="49"/>
                      </a:lnTo>
                      <a:lnTo>
                        <a:pt x="153" y="92"/>
                      </a:lnTo>
                      <a:lnTo>
                        <a:pt x="132" y="83"/>
                      </a:lnTo>
                      <a:lnTo>
                        <a:pt x="134" y="121"/>
                      </a:lnTo>
                      <a:lnTo>
                        <a:pt x="113" y="128"/>
                      </a:lnTo>
                      <a:lnTo>
                        <a:pt x="115" y="145"/>
                      </a:lnTo>
                      <a:lnTo>
                        <a:pt x="93" y="147"/>
                      </a:lnTo>
                      <a:lnTo>
                        <a:pt x="76" y="181"/>
                      </a:lnTo>
                      <a:lnTo>
                        <a:pt x="45" y="183"/>
                      </a:lnTo>
                      <a:lnTo>
                        <a:pt x="0" y="230"/>
                      </a:lnTo>
                      <a:lnTo>
                        <a:pt x="0" y="240"/>
                      </a:lnTo>
                      <a:lnTo>
                        <a:pt x="2" y="247"/>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55" name="74">
                  <a:extLst>
                    <a:ext uri="{FF2B5EF4-FFF2-40B4-BE49-F238E27FC236}">
                      <a16:creationId xmlns:a16="http://schemas.microsoft.com/office/drawing/2014/main" id="{34F3A1C3-F8B2-429E-9C38-9D1173799435}"/>
                    </a:ext>
                  </a:extLst>
                </p:cNvPr>
                <p:cNvSpPr>
                  <a:spLocks/>
                </p:cNvSpPr>
                <p:nvPr/>
              </p:nvSpPr>
              <p:spPr bwMode="gray">
                <a:xfrm>
                  <a:off x="7747882" y="3935221"/>
                  <a:ext cx="454124" cy="378197"/>
                </a:xfrm>
                <a:custGeom>
                  <a:avLst/>
                  <a:gdLst>
                    <a:gd name="T0" fmla="*/ 8 w 317"/>
                    <a:gd name="T1" fmla="*/ 174 h 264"/>
                    <a:gd name="T2" fmla="*/ 53 w 317"/>
                    <a:gd name="T3" fmla="*/ 242 h 264"/>
                    <a:gd name="T4" fmla="*/ 96 w 317"/>
                    <a:gd name="T5" fmla="*/ 238 h 264"/>
                    <a:gd name="T6" fmla="*/ 121 w 317"/>
                    <a:gd name="T7" fmla="*/ 264 h 264"/>
                    <a:gd name="T8" fmla="*/ 138 w 317"/>
                    <a:gd name="T9" fmla="*/ 259 h 264"/>
                    <a:gd name="T10" fmla="*/ 183 w 317"/>
                    <a:gd name="T11" fmla="*/ 181 h 264"/>
                    <a:gd name="T12" fmla="*/ 232 w 317"/>
                    <a:gd name="T13" fmla="*/ 242 h 264"/>
                    <a:gd name="T14" fmla="*/ 257 w 317"/>
                    <a:gd name="T15" fmla="*/ 223 h 264"/>
                    <a:gd name="T16" fmla="*/ 261 w 317"/>
                    <a:gd name="T17" fmla="*/ 202 h 264"/>
                    <a:gd name="T18" fmla="*/ 293 w 317"/>
                    <a:gd name="T19" fmla="*/ 198 h 264"/>
                    <a:gd name="T20" fmla="*/ 317 w 317"/>
                    <a:gd name="T21" fmla="*/ 168 h 264"/>
                    <a:gd name="T22" fmla="*/ 289 w 317"/>
                    <a:gd name="T23" fmla="*/ 119 h 264"/>
                    <a:gd name="T24" fmla="*/ 272 w 317"/>
                    <a:gd name="T25" fmla="*/ 123 h 264"/>
                    <a:gd name="T26" fmla="*/ 276 w 317"/>
                    <a:gd name="T27" fmla="*/ 98 h 264"/>
                    <a:gd name="T28" fmla="*/ 251 w 317"/>
                    <a:gd name="T29" fmla="*/ 91 h 264"/>
                    <a:gd name="T30" fmla="*/ 266 w 317"/>
                    <a:gd name="T31" fmla="*/ 38 h 264"/>
                    <a:gd name="T32" fmla="*/ 242 w 317"/>
                    <a:gd name="T33" fmla="*/ 17 h 264"/>
                    <a:gd name="T34" fmla="*/ 249 w 317"/>
                    <a:gd name="T35" fmla="*/ 0 h 264"/>
                    <a:gd name="T36" fmla="*/ 174 w 317"/>
                    <a:gd name="T37" fmla="*/ 0 h 264"/>
                    <a:gd name="T38" fmla="*/ 145 w 317"/>
                    <a:gd name="T39" fmla="*/ 23 h 264"/>
                    <a:gd name="T40" fmla="*/ 128 w 317"/>
                    <a:gd name="T41" fmla="*/ 13 h 264"/>
                    <a:gd name="T42" fmla="*/ 108 w 317"/>
                    <a:gd name="T43" fmla="*/ 47 h 264"/>
                    <a:gd name="T44" fmla="*/ 123 w 317"/>
                    <a:gd name="T45" fmla="*/ 66 h 264"/>
                    <a:gd name="T46" fmla="*/ 83 w 317"/>
                    <a:gd name="T47" fmla="*/ 98 h 264"/>
                    <a:gd name="T48" fmla="*/ 38 w 317"/>
                    <a:gd name="T49" fmla="*/ 102 h 264"/>
                    <a:gd name="T50" fmla="*/ 4 w 317"/>
                    <a:gd name="T51" fmla="*/ 115 h 264"/>
                    <a:gd name="T52" fmla="*/ 0 w 317"/>
                    <a:gd name="T53" fmla="*/ 136 h 264"/>
                    <a:gd name="T54" fmla="*/ 2 w 317"/>
                    <a:gd name="T55" fmla="*/ 14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7" h="264">
                      <a:moveTo>
                        <a:pt x="8" y="174"/>
                      </a:moveTo>
                      <a:lnTo>
                        <a:pt x="53" y="242"/>
                      </a:lnTo>
                      <a:lnTo>
                        <a:pt x="96" y="238"/>
                      </a:lnTo>
                      <a:lnTo>
                        <a:pt x="121" y="264"/>
                      </a:lnTo>
                      <a:lnTo>
                        <a:pt x="138" y="259"/>
                      </a:lnTo>
                      <a:lnTo>
                        <a:pt x="183" y="181"/>
                      </a:lnTo>
                      <a:lnTo>
                        <a:pt x="232" y="242"/>
                      </a:lnTo>
                      <a:lnTo>
                        <a:pt x="257" y="223"/>
                      </a:lnTo>
                      <a:lnTo>
                        <a:pt x="261" y="202"/>
                      </a:lnTo>
                      <a:lnTo>
                        <a:pt x="293" y="198"/>
                      </a:lnTo>
                      <a:lnTo>
                        <a:pt x="317" y="168"/>
                      </a:lnTo>
                      <a:lnTo>
                        <a:pt x="289" y="119"/>
                      </a:lnTo>
                      <a:lnTo>
                        <a:pt x="272" y="123"/>
                      </a:lnTo>
                      <a:lnTo>
                        <a:pt x="276" y="98"/>
                      </a:lnTo>
                      <a:lnTo>
                        <a:pt x="251" y="91"/>
                      </a:lnTo>
                      <a:lnTo>
                        <a:pt x="266" y="38"/>
                      </a:lnTo>
                      <a:lnTo>
                        <a:pt x="242" y="17"/>
                      </a:lnTo>
                      <a:lnTo>
                        <a:pt x="249" y="0"/>
                      </a:lnTo>
                      <a:lnTo>
                        <a:pt x="174" y="0"/>
                      </a:lnTo>
                      <a:lnTo>
                        <a:pt x="145" y="23"/>
                      </a:lnTo>
                      <a:lnTo>
                        <a:pt x="128" y="13"/>
                      </a:lnTo>
                      <a:lnTo>
                        <a:pt x="108" y="47"/>
                      </a:lnTo>
                      <a:lnTo>
                        <a:pt x="123" y="66"/>
                      </a:lnTo>
                      <a:lnTo>
                        <a:pt x="83" y="98"/>
                      </a:lnTo>
                      <a:lnTo>
                        <a:pt x="38" y="102"/>
                      </a:lnTo>
                      <a:lnTo>
                        <a:pt x="4" y="115"/>
                      </a:lnTo>
                      <a:lnTo>
                        <a:pt x="0" y="136"/>
                      </a:lnTo>
                      <a:lnTo>
                        <a:pt x="2" y="140"/>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grpSp>
          <p:grpSp>
            <p:nvGrpSpPr>
              <p:cNvPr id="243" name="Auvergne (Formes)">
                <a:extLst>
                  <a:ext uri="{FF2B5EF4-FFF2-40B4-BE49-F238E27FC236}">
                    <a16:creationId xmlns:a16="http://schemas.microsoft.com/office/drawing/2014/main" id="{BC01D112-5306-4D29-952F-EBF32A982188}"/>
                  </a:ext>
                </a:extLst>
              </p:cNvPr>
              <p:cNvGrpSpPr/>
              <p:nvPr/>
            </p:nvGrpSpPr>
            <p:grpSpPr>
              <a:xfrm>
                <a:off x="6376919" y="3746123"/>
                <a:ext cx="899651" cy="1138888"/>
                <a:chOff x="6376919" y="3746123"/>
                <a:chExt cx="899651" cy="1138888"/>
              </a:xfrm>
              <a:grpFill/>
            </p:grpSpPr>
            <p:sp>
              <p:nvSpPr>
                <p:cNvPr id="244" name="15">
                  <a:extLst>
                    <a:ext uri="{FF2B5EF4-FFF2-40B4-BE49-F238E27FC236}">
                      <a16:creationId xmlns:a16="http://schemas.microsoft.com/office/drawing/2014/main" id="{8D59525B-0F3A-4A06-965D-9F5D6FBB4C45}"/>
                    </a:ext>
                  </a:extLst>
                </p:cNvPr>
                <p:cNvSpPr>
                  <a:spLocks/>
                </p:cNvSpPr>
                <p:nvPr/>
              </p:nvSpPr>
              <p:spPr bwMode="gray">
                <a:xfrm>
                  <a:off x="6376919" y="4435186"/>
                  <a:ext cx="481342" cy="449825"/>
                </a:xfrm>
                <a:custGeom>
                  <a:avLst/>
                  <a:gdLst>
                    <a:gd name="T0" fmla="*/ 3 w 336"/>
                    <a:gd name="T1" fmla="*/ 191 h 314"/>
                    <a:gd name="T2" fmla="*/ 28 w 336"/>
                    <a:gd name="T3" fmla="*/ 251 h 314"/>
                    <a:gd name="T4" fmla="*/ 15 w 336"/>
                    <a:gd name="T5" fmla="*/ 285 h 314"/>
                    <a:gd name="T6" fmla="*/ 37 w 336"/>
                    <a:gd name="T7" fmla="*/ 314 h 314"/>
                    <a:gd name="T8" fmla="*/ 66 w 336"/>
                    <a:gd name="T9" fmla="*/ 297 h 314"/>
                    <a:gd name="T10" fmla="*/ 107 w 336"/>
                    <a:gd name="T11" fmla="*/ 304 h 314"/>
                    <a:gd name="T12" fmla="*/ 141 w 336"/>
                    <a:gd name="T13" fmla="*/ 231 h 314"/>
                    <a:gd name="T14" fmla="*/ 175 w 336"/>
                    <a:gd name="T15" fmla="*/ 200 h 314"/>
                    <a:gd name="T16" fmla="*/ 183 w 336"/>
                    <a:gd name="T17" fmla="*/ 227 h 314"/>
                    <a:gd name="T18" fmla="*/ 207 w 336"/>
                    <a:gd name="T19" fmla="*/ 223 h 314"/>
                    <a:gd name="T20" fmla="*/ 226 w 336"/>
                    <a:gd name="T21" fmla="*/ 257 h 314"/>
                    <a:gd name="T22" fmla="*/ 236 w 336"/>
                    <a:gd name="T23" fmla="*/ 308 h 314"/>
                    <a:gd name="T24" fmla="*/ 241 w 336"/>
                    <a:gd name="T25" fmla="*/ 302 h 314"/>
                    <a:gd name="T26" fmla="*/ 268 w 336"/>
                    <a:gd name="T27" fmla="*/ 221 h 314"/>
                    <a:gd name="T28" fmla="*/ 290 w 336"/>
                    <a:gd name="T29" fmla="*/ 227 h 314"/>
                    <a:gd name="T30" fmla="*/ 304 w 336"/>
                    <a:gd name="T31" fmla="*/ 200 h 314"/>
                    <a:gd name="T32" fmla="*/ 336 w 336"/>
                    <a:gd name="T33" fmla="*/ 189 h 314"/>
                    <a:gd name="T34" fmla="*/ 317 w 336"/>
                    <a:gd name="T35" fmla="*/ 140 h 314"/>
                    <a:gd name="T36" fmla="*/ 334 w 336"/>
                    <a:gd name="T37" fmla="*/ 140 h 314"/>
                    <a:gd name="T38" fmla="*/ 300 w 336"/>
                    <a:gd name="T39" fmla="*/ 78 h 314"/>
                    <a:gd name="T40" fmla="*/ 264 w 336"/>
                    <a:gd name="T41" fmla="*/ 72 h 314"/>
                    <a:gd name="T42" fmla="*/ 264 w 336"/>
                    <a:gd name="T43" fmla="*/ 68 h 314"/>
                    <a:gd name="T44" fmla="*/ 270 w 336"/>
                    <a:gd name="T45" fmla="*/ 49 h 314"/>
                    <a:gd name="T46" fmla="*/ 245 w 336"/>
                    <a:gd name="T47" fmla="*/ 72 h 314"/>
                    <a:gd name="T48" fmla="*/ 213 w 336"/>
                    <a:gd name="T49" fmla="*/ 36 h 314"/>
                    <a:gd name="T50" fmla="*/ 168 w 336"/>
                    <a:gd name="T51" fmla="*/ 36 h 314"/>
                    <a:gd name="T52" fmla="*/ 162 w 336"/>
                    <a:gd name="T53" fmla="*/ 17 h 314"/>
                    <a:gd name="T54" fmla="*/ 117 w 336"/>
                    <a:gd name="T55" fmla="*/ 0 h 314"/>
                    <a:gd name="T56" fmla="*/ 119 w 336"/>
                    <a:gd name="T57" fmla="*/ 36 h 314"/>
                    <a:gd name="T58" fmla="*/ 77 w 336"/>
                    <a:gd name="T59" fmla="*/ 25 h 314"/>
                    <a:gd name="T60" fmla="*/ 77 w 336"/>
                    <a:gd name="T61" fmla="*/ 51 h 314"/>
                    <a:gd name="T62" fmla="*/ 37 w 336"/>
                    <a:gd name="T63" fmla="*/ 93 h 314"/>
                    <a:gd name="T64" fmla="*/ 45 w 336"/>
                    <a:gd name="T65" fmla="*/ 112 h 314"/>
                    <a:gd name="T66" fmla="*/ 28 w 336"/>
                    <a:gd name="T67" fmla="*/ 144 h 314"/>
                    <a:gd name="T68" fmla="*/ 9 w 336"/>
                    <a:gd name="T69" fmla="*/ 155 h 314"/>
                    <a:gd name="T70" fmla="*/ 20 w 336"/>
                    <a:gd name="T71" fmla="*/ 180 h 314"/>
                    <a:gd name="T72" fmla="*/ 0 w 336"/>
                    <a:gd name="T73" fmla="*/ 183 h 314"/>
                    <a:gd name="T74" fmla="*/ 3 w 336"/>
                    <a:gd name="T75" fmla="*/ 191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6" h="314">
                      <a:moveTo>
                        <a:pt x="3" y="191"/>
                      </a:moveTo>
                      <a:lnTo>
                        <a:pt x="28" y="251"/>
                      </a:lnTo>
                      <a:lnTo>
                        <a:pt x="15" y="285"/>
                      </a:lnTo>
                      <a:lnTo>
                        <a:pt x="37" y="314"/>
                      </a:lnTo>
                      <a:lnTo>
                        <a:pt x="66" y="297"/>
                      </a:lnTo>
                      <a:lnTo>
                        <a:pt x="107" y="304"/>
                      </a:lnTo>
                      <a:lnTo>
                        <a:pt x="141" y="231"/>
                      </a:lnTo>
                      <a:lnTo>
                        <a:pt x="175" y="200"/>
                      </a:lnTo>
                      <a:lnTo>
                        <a:pt x="183" y="227"/>
                      </a:lnTo>
                      <a:lnTo>
                        <a:pt x="207" y="223"/>
                      </a:lnTo>
                      <a:lnTo>
                        <a:pt x="226" y="257"/>
                      </a:lnTo>
                      <a:lnTo>
                        <a:pt x="236" y="308"/>
                      </a:lnTo>
                      <a:lnTo>
                        <a:pt x="241" y="302"/>
                      </a:lnTo>
                      <a:lnTo>
                        <a:pt x="268" y="221"/>
                      </a:lnTo>
                      <a:lnTo>
                        <a:pt x="290" y="227"/>
                      </a:lnTo>
                      <a:lnTo>
                        <a:pt x="304" y="200"/>
                      </a:lnTo>
                      <a:lnTo>
                        <a:pt x="336" y="189"/>
                      </a:lnTo>
                      <a:lnTo>
                        <a:pt x="317" y="140"/>
                      </a:lnTo>
                      <a:lnTo>
                        <a:pt x="334" y="140"/>
                      </a:lnTo>
                      <a:lnTo>
                        <a:pt x="300" y="78"/>
                      </a:lnTo>
                      <a:lnTo>
                        <a:pt x="264" y="72"/>
                      </a:lnTo>
                      <a:lnTo>
                        <a:pt x="264" y="68"/>
                      </a:lnTo>
                      <a:lnTo>
                        <a:pt x="270" y="49"/>
                      </a:lnTo>
                      <a:lnTo>
                        <a:pt x="245" y="72"/>
                      </a:lnTo>
                      <a:lnTo>
                        <a:pt x="213" y="36"/>
                      </a:lnTo>
                      <a:lnTo>
                        <a:pt x="168" y="36"/>
                      </a:lnTo>
                      <a:lnTo>
                        <a:pt x="162" y="17"/>
                      </a:lnTo>
                      <a:lnTo>
                        <a:pt x="117" y="0"/>
                      </a:lnTo>
                      <a:lnTo>
                        <a:pt x="119" y="36"/>
                      </a:lnTo>
                      <a:lnTo>
                        <a:pt x="77" y="25"/>
                      </a:lnTo>
                      <a:lnTo>
                        <a:pt x="77" y="51"/>
                      </a:lnTo>
                      <a:lnTo>
                        <a:pt x="37" y="93"/>
                      </a:lnTo>
                      <a:lnTo>
                        <a:pt x="45" y="112"/>
                      </a:lnTo>
                      <a:lnTo>
                        <a:pt x="28" y="144"/>
                      </a:lnTo>
                      <a:lnTo>
                        <a:pt x="9" y="155"/>
                      </a:lnTo>
                      <a:lnTo>
                        <a:pt x="20" y="180"/>
                      </a:lnTo>
                      <a:lnTo>
                        <a:pt x="0" y="183"/>
                      </a:lnTo>
                      <a:lnTo>
                        <a:pt x="3" y="191"/>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45" name="63">
                  <a:extLst>
                    <a:ext uri="{FF2B5EF4-FFF2-40B4-BE49-F238E27FC236}">
                      <a16:creationId xmlns:a16="http://schemas.microsoft.com/office/drawing/2014/main" id="{F8C29BE7-1BF8-40E6-801C-5994B759F36A}"/>
                    </a:ext>
                  </a:extLst>
                </p:cNvPr>
                <p:cNvSpPr>
                  <a:spLocks/>
                </p:cNvSpPr>
                <p:nvPr/>
              </p:nvSpPr>
              <p:spPr bwMode="gray">
                <a:xfrm>
                  <a:off x="6502984" y="4035501"/>
                  <a:ext cx="584487" cy="502831"/>
                </a:xfrm>
                <a:custGeom>
                  <a:avLst/>
                  <a:gdLst>
                    <a:gd name="T0" fmla="*/ 4 w 408"/>
                    <a:gd name="T1" fmla="*/ 147 h 351"/>
                    <a:gd name="T2" fmla="*/ 57 w 408"/>
                    <a:gd name="T3" fmla="*/ 98 h 351"/>
                    <a:gd name="T4" fmla="*/ 46 w 408"/>
                    <a:gd name="T5" fmla="*/ 38 h 351"/>
                    <a:gd name="T6" fmla="*/ 61 w 408"/>
                    <a:gd name="T7" fmla="*/ 45 h 351"/>
                    <a:gd name="T8" fmla="*/ 89 w 408"/>
                    <a:gd name="T9" fmla="*/ 9 h 351"/>
                    <a:gd name="T10" fmla="*/ 106 w 408"/>
                    <a:gd name="T11" fmla="*/ 17 h 351"/>
                    <a:gd name="T12" fmla="*/ 110 w 408"/>
                    <a:gd name="T13" fmla="*/ 2 h 351"/>
                    <a:gd name="T14" fmla="*/ 138 w 408"/>
                    <a:gd name="T15" fmla="*/ 0 h 351"/>
                    <a:gd name="T16" fmla="*/ 148 w 408"/>
                    <a:gd name="T17" fmla="*/ 45 h 351"/>
                    <a:gd name="T18" fmla="*/ 202 w 408"/>
                    <a:gd name="T19" fmla="*/ 66 h 351"/>
                    <a:gd name="T20" fmla="*/ 270 w 408"/>
                    <a:gd name="T21" fmla="*/ 66 h 351"/>
                    <a:gd name="T22" fmla="*/ 274 w 408"/>
                    <a:gd name="T23" fmla="*/ 87 h 351"/>
                    <a:gd name="T24" fmla="*/ 306 w 408"/>
                    <a:gd name="T25" fmla="*/ 81 h 351"/>
                    <a:gd name="T26" fmla="*/ 331 w 408"/>
                    <a:gd name="T27" fmla="*/ 115 h 351"/>
                    <a:gd name="T28" fmla="*/ 348 w 408"/>
                    <a:gd name="T29" fmla="*/ 132 h 351"/>
                    <a:gd name="T30" fmla="*/ 333 w 408"/>
                    <a:gd name="T31" fmla="*/ 166 h 351"/>
                    <a:gd name="T32" fmla="*/ 408 w 408"/>
                    <a:gd name="T33" fmla="*/ 277 h 351"/>
                    <a:gd name="T34" fmla="*/ 386 w 408"/>
                    <a:gd name="T35" fmla="*/ 328 h 351"/>
                    <a:gd name="T36" fmla="*/ 331 w 408"/>
                    <a:gd name="T37" fmla="*/ 317 h 351"/>
                    <a:gd name="T38" fmla="*/ 316 w 408"/>
                    <a:gd name="T39" fmla="*/ 332 h 351"/>
                    <a:gd name="T40" fmla="*/ 282 w 408"/>
                    <a:gd name="T41" fmla="*/ 302 h 351"/>
                    <a:gd name="T42" fmla="*/ 246 w 408"/>
                    <a:gd name="T43" fmla="*/ 302 h 351"/>
                    <a:gd name="T44" fmla="*/ 182 w 408"/>
                    <a:gd name="T45" fmla="*/ 328 h 351"/>
                    <a:gd name="T46" fmla="*/ 157 w 408"/>
                    <a:gd name="T47" fmla="*/ 351 h 351"/>
                    <a:gd name="T48" fmla="*/ 125 w 408"/>
                    <a:gd name="T49" fmla="*/ 315 h 351"/>
                    <a:gd name="T50" fmla="*/ 80 w 408"/>
                    <a:gd name="T51" fmla="*/ 315 h 351"/>
                    <a:gd name="T52" fmla="*/ 74 w 408"/>
                    <a:gd name="T53" fmla="*/ 296 h 351"/>
                    <a:gd name="T54" fmla="*/ 29 w 408"/>
                    <a:gd name="T55" fmla="*/ 279 h 351"/>
                    <a:gd name="T56" fmla="*/ 25 w 408"/>
                    <a:gd name="T57" fmla="*/ 185 h 351"/>
                    <a:gd name="T58" fmla="*/ 0 w 408"/>
                    <a:gd name="T59" fmla="*/ 151 h 351"/>
                    <a:gd name="T60" fmla="*/ 4 w 408"/>
                    <a:gd name="T61" fmla="*/ 147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8" h="351">
                      <a:moveTo>
                        <a:pt x="4" y="147"/>
                      </a:moveTo>
                      <a:lnTo>
                        <a:pt x="57" y="98"/>
                      </a:lnTo>
                      <a:lnTo>
                        <a:pt x="46" y="38"/>
                      </a:lnTo>
                      <a:lnTo>
                        <a:pt x="61" y="45"/>
                      </a:lnTo>
                      <a:lnTo>
                        <a:pt x="89" y="9"/>
                      </a:lnTo>
                      <a:lnTo>
                        <a:pt x="106" y="17"/>
                      </a:lnTo>
                      <a:lnTo>
                        <a:pt x="110" y="2"/>
                      </a:lnTo>
                      <a:lnTo>
                        <a:pt x="138" y="0"/>
                      </a:lnTo>
                      <a:lnTo>
                        <a:pt x="148" y="45"/>
                      </a:lnTo>
                      <a:lnTo>
                        <a:pt x="202" y="66"/>
                      </a:lnTo>
                      <a:lnTo>
                        <a:pt x="270" y="66"/>
                      </a:lnTo>
                      <a:lnTo>
                        <a:pt x="274" y="87"/>
                      </a:lnTo>
                      <a:lnTo>
                        <a:pt x="306" y="81"/>
                      </a:lnTo>
                      <a:lnTo>
                        <a:pt x="331" y="115"/>
                      </a:lnTo>
                      <a:lnTo>
                        <a:pt x="348" y="132"/>
                      </a:lnTo>
                      <a:lnTo>
                        <a:pt x="333" y="166"/>
                      </a:lnTo>
                      <a:lnTo>
                        <a:pt x="408" y="277"/>
                      </a:lnTo>
                      <a:lnTo>
                        <a:pt x="386" y="328"/>
                      </a:lnTo>
                      <a:lnTo>
                        <a:pt x="331" y="317"/>
                      </a:lnTo>
                      <a:lnTo>
                        <a:pt x="316" y="332"/>
                      </a:lnTo>
                      <a:lnTo>
                        <a:pt x="282" y="302"/>
                      </a:lnTo>
                      <a:lnTo>
                        <a:pt x="246" y="302"/>
                      </a:lnTo>
                      <a:lnTo>
                        <a:pt x="182" y="328"/>
                      </a:lnTo>
                      <a:lnTo>
                        <a:pt x="157" y="351"/>
                      </a:lnTo>
                      <a:lnTo>
                        <a:pt x="125" y="315"/>
                      </a:lnTo>
                      <a:lnTo>
                        <a:pt x="80" y="315"/>
                      </a:lnTo>
                      <a:lnTo>
                        <a:pt x="74" y="296"/>
                      </a:lnTo>
                      <a:lnTo>
                        <a:pt x="29" y="279"/>
                      </a:lnTo>
                      <a:lnTo>
                        <a:pt x="25" y="185"/>
                      </a:lnTo>
                      <a:lnTo>
                        <a:pt x="0" y="151"/>
                      </a:lnTo>
                      <a:lnTo>
                        <a:pt x="4" y="147"/>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46" name="43">
                  <a:extLst>
                    <a:ext uri="{FF2B5EF4-FFF2-40B4-BE49-F238E27FC236}">
                      <a16:creationId xmlns:a16="http://schemas.microsoft.com/office/drawing/2014/main" id="{61752BC2-81F4-40CD-9C89-C188B749D82A}"/>
                    </a:ext>
                  </a:extLst>
                </p:cNvPr>
                <p:cNvSpPr>
                  <a:spLocks/>
                </p:cNvSpPr>
                <p:nvPr/>
              </p:nvSpPr>
              <p:spPr bwMode="gray">
                <a:xfrm>
                  <a:off x="6755116" y="4468136"/>
                  <a:ext cx="521454" cy="356709"/>
                </a:xfrm>
                <a:custGeom>
                  <a:avLst/>
                  <a:gdLst>
                    <a:gd name="T0" fmla="*/ 0 w 364"/>
                    <a:gd name="T1" fmla="*/ 45 h 249"/>
                    <a:gd name="T2" fmla="*/ 6 w 364"/>
                    <a:gd name="T3" fmla="*/ 26 h 249"/>
                    <a:gd name="T4" fmla="*/ 70 w 364"/>
                    <a:gd name="T5" fmla="*/ 0 h 249"/>
                    <a:gd name="T6" fmla="*/ 106 w 364"/>
                    <a:gd name="T7" fmla="*/ 0 h 249"/>
                    <a:gd name="T8" fmla="*/ 140 w 364"/>
                    <a:gd name="T9" fmla="*/ 30 h 249"/>
                    <a:gd name="T10" fmla="*/ 155 w 364"/>
                    <a:gd name="T11" fmla="*/ 15 h 249"/>
                    <a:gd name="T12" fmla="*/ 210 w 364"/>
                    <a:gd name="T13" fmla="*/ 26 h 249"/>
                    <a:gd name="T14" fmla="*/ 255 w 364"/>
                    <a:gd name="T15" fmla="*/ 30 h 249"/>
                    <a:gd name="T16" fmla="*/ 281 w 364"/>
                    <a:gd name="T17" fmla="*/ 11 h 249"/>
                    <a:gd name="T18" fmla="*/ 323 w 364"/>
                    <a:gd name="T19" fmla="*/ 19 h 249"/>
                    <a:gd name="T20" fmla="*/ 327 w 364"/>
                    <a:gd name="T21" fmla="*/ 51 h 249"/>
                    <a:gd name="T22" fmla="*/ 364 w 364"/>
                    <a:gd name="T23" fmla="*/ 68 h 249"/>
                    <a:gd name="T24" fmla="*/ 355 w 364"/>
                    <a:gd name="T25" fmla="*/ 111 h 249"/>
                    <a:gd name="T26" fmla="*/ 334 w 364"/>
                    <a:gd name="T27" fmla="*/ 102 h 249"/>
                    <a:gd name="T28" fmla="*/ 336 w 364"/>
                    <a:gd name="T29" fmla="*/ 140 h 249"/>
                    <a:gd name="T30" fmla="*/ 315 w 364"/>
                    <a:gd name="T31" fmla="*/ 147 h 249"/>
                    <a:gd name="T32" fmla="*/ 317 w 364"/>
                    <a:gd name="T33" fmla="*/ 164 h 249"/>
                    <a:gd name="T34" fmla="*/ 295 w 364"/>
                    <a:gd name="T35" fmla="*/ 166 h 249"/>
                    <a:gd name="T36" fmla="*/ 278 w 364"/>
                    <a:gd name="T37" fmla="*/ 200 h 249"/>
                    <a:gd name="T38" fmla="*/ 247 w 364"/>
                    <a:gd name="T39" fmla="*/ 202 h 249"/>
                    <a:gd name="T40" fmla="*/ 202 w 364"/>
                    <a:gd name="T41" fmla="*/ 249 h 249"/>
                    <a:gd name="T42" fmla="*/ 147 w 364"/>
                    <a:gd name="T43" fmla="*/ 200 h 249"/>
                    <a:gd name="T44" fmla="*/ 102 w 364"/>
                    <a:gd name="T45" fmla="*/ 225 h 249"/>
                    <a:gd name="T46" fmla="*/ 72 w 364"/>
                    <a:gd name="T47" fmla="*/ 166 h 249"/>
                    <a:gd name="T48" fmla="*/ 53 w 364"/>
                    <a:gd name="T49" fmla="*/ 117 h 249"/>
                    <a:gd name="T50" fmla="*/ 70 w 364"/>
                    <a:gd name="T51" fmla="*/ 117 h 249"/>
                    <a:gd name="T52" fmla="*/ 36 w 364"/>
                    <a:gd name="T53" fmla="*/ 55 h 249"/>
                    <a:gd name="T54" fmla="*/ 0 w 364"/>
                    <a:gd name="T55" fmla="*/ 49 h 249"/>
                    <a:gd name="T56" fmla="*/ 0 w 364"/>
                    <a:gd name="T57" fmla="*/ 4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4" h="249">
                      <a:moveTo>
                        <a:pt x="0" y="45"/>
                      </a:moveTo>
                      <a:lnTo>
                        <a:pt x="6" y="26"/>
                      </a:lnTo>
                      <a:lnTo>
                        <a:pt x="70" y="0"/>
                      </a:lnTo>
                      <a:lnTo>
                        <a:pt x="106" y="0"/>
                      </a:lnTo>
                      <a:lnTo>
                        <a:pt x="140" y="30"/>
                      </a:lnTo>
                      <a:lnTo>
                        <a:pt x="155" y="15"/>
                      </a:lnTo>
                      <a:lnTo>
                        <a:pt x="210" y="26"/>
                      </a:lnTo>
                      <a:lnTo>
                        <a:pt x="255" y="30"/>
                      </a:lnTo>
                      <a:lnTo>
                        <a:pt x="281" y="11"/>
                      </a:lnTo>
                      <a:lnTo>
                        <a:pt x="323" y="19"/>
                      </a:lnTo>
                      <a:lnTo>
                        <a:pt x="327" y="51"/>
                      </a:lnTo>
                      <a:lnTo>
                        <a:pt x="364" y="68"/>
                      </a:lnTo>
                      <a:lnTo>
                        <a:pt x="355" y="111"/>
                      </a:lnTo>
                      <a:lnTo>
                        <a:pt x="334" y="102"/>
                      </a:lnTo>
                      <a:lnTo>
                        <a:pt x="336" y="140"/>
                      </a:lnTo>
                      <a:lnTo>
                        <a:pt x="315" y="147"/>
                      </a:lnTo>
                      <a:lnTo>
                        <a:pt x="317" y="164"/>
                      </a:lnTo>
                      <a:lnTo>
                        <a:pt x="295" y="166"/>
                      </a:lnTo>
                      <a:lnTo>
                        <a:pt x="278" y="200"/>
                      </a:lnTo>
                      <a:lnTo>
                        <a:pt x="247" y="202"/>
                      </a:lnTo>
                      <a:lnTo>
                        <a:pt x="202" y="249"/>
                      </a:lnTo>
                      <a:lnTo>
                        <a:pt x="147" y="200"/>
                      </a:lnTo>
                      <a:lnTo>
                        <a:pt x="102" y="225"/>
                      </a:lnTo>
                      <a:lnTo>
                        <a:pt x="72" y="166"/>
                      </a:lnTo>
                      <a:lnTo>
                        <a:pt x="53" y="117"/>
                      </a:lnTo>
                      <a:lnTo>
                        <a:pt x="70" y="117"/>
                      </a:lnTo>
                      <a:lnTo>
                        <a:pt x="36" y="55"/>
                      </a:lnTo>
                      <a:lnTo>
                        <a:pt x="0" y="49"/>
                      </a:lnTo>
                      <a:lnTo>
                        <a:pt x="0" y="45"/>
                      </a:lnTo>
                    </a:path>
                  </a:pathLst>
                </a:custGeom>
                <a:solidFill>
                  <a:schemeClr val="bg2">
                    <a:lumMod val="75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47" name="03">
                  <a:extLst>
                    <a:ext uri="{FF2B5EF4-FFF2-40B4-BE49-F238E27FC236}">
                      <a16:creationId xmlns:a16="http://schemas.microsoft.com/office/drawing/2014/main" id="{A6DF1AF4-3A5F-4F32-BABD-266FC527C956}"/>
                    </a:ext>
                  </a:extLst>
                </p:cNvPr>
                <p:cNvSpPr>
                  <a:spLocks/>
                </p:cNvSpPr>
                <p:nvPr/>
              </p:nvSpPr>
              <p:spPr bwMode="gray">
                <a:xfrm>
                  <a:off x="6462872" y="3746123"/>
                  <a:ext cx="627464" cy="454123"/>
                </a:xfrm>
                <a:custGeom>
                  <a:avLst/>
                  <a:gdLst>
                    <a:gd name="T0" fmla="*/ 4 w 438"/>
                    <a:gd name="T1" fmla="*/ 138 h 317"/>
                    <a:gd name="T2" fmla="*/ 8 w 438"/>
                    <a:gd name="T3" fmla="*/ 164 h 317"/>
                    <a:gd name="T4" fmla="*/ 53 w 438"/>
                    <a:gd name="T5" fmla="*/ 189 h 317"/>
                    <a:gd name="T6" fmla="*/ 74 w 438"/>
                    <a:gd name="T7" fmla="*/ 240 h 317"/>
                    <a:gd name="T8" fmla="*/ 89 w 438"/>
                    <a:gd name="T9" fmla="*/ 247 h 317"/>
                    <a:gd name="T10" fmla="*/ 117 w 438"/>
                    <a:gd name="T11" fmla="*/ 211 h 317"/>
                    <a:gd name="T12" fmla="*/ 134 w 438"/>
                    <a:gd name="T13" fmla="*/ 219 h 317"/>
                    <a:gd name="T14" fmla="*/ 138 w 438"/>
                    <a:gd name="T15" fmla="*/ 204 h 317"/>
                    <a:gd name="T16" fmla="*/ 166 w 438"/>
                    <a:gd name="T17" fmla="*/ 202 h 317"/>
                    <a:gd name="T18" fmla="*/ 176 w 438"/>
                    <a:gd name="T19" fmla="*/ 247 h 317"/>
                    <a:gd name="T20" fmla="*/ 230 w 438"/>
                    <a:gd name="T21" fmla="*/ 268 h 317"/>
                    <a:gd name="T22" fmla="*/ 298 w 438"/>
                    <a:gd name="T23" fmla="*/ 268 h 317"/>
                    <a:gd name="T24" fmla="*/ 302 w 438"/>
                    <a:gd name="T25" fmla="*/ 289 h 317"/>
                    <a:gd name="T26" fmla="*/ 334 w 438"/>
                    <a:gd name="T27" fmla="*/ 283 h 317"/>
                    <a:gd name="T28" fmla="*/ 359 w 438"/>
                    <a:gd name="T29" fmla="*/ 317 h 317"/>
                    <a:gd name="T30" fmla="*/ 361 w 438"/>
                    <a:gd name="T31" fmla="*/ 315 h 317"/>
                    <a:gd name="T32" fmla="*/ 393 w 438"/>
                    <a:gd name="T33" fmla="*/ 296 h 317"/>
                    <a:gd name="T34" fmla="*/ 380 w 438"/>
                    <a:gd name="T35" fmla="*/ 211 h 317"/>
                    <a:gd name="T36" fmla="*/ 412 w 438"/>
                    <a:gd name="T37" fmla="*/ 192 h 317"/>
                    <a:gd name="T38" fmla="*/ 438 w 438"/>
                    <a:gd name="T39" fmla="*/ 175 h 317"/>
                    <a:gd name="T40" fmla="*/ 438 w 438"/>
                    <a:gd name="T41" fmla="*/ 130 h 317"/>
                    <a:gd name="T42" fmla="*/ 372 w 438"/>
                    <a:gd name="T43" fmla="*/ 96 h 317"/>
                    <a:gd name="T44" fmla="*/ 342 w 438"/>
                    <a:gd name="T45" fmla="*/ 21 h 317"/>
                    <a:gd name="T46" fmla="*/ 344 w 438"/>
                    <a:gd name="T47" fmla="*/ 19 h 317"/>
                    <a:gd name="T48" fmla="*/ 300 w 438"/>
                    <a:gd name="T49" fmla="*/ 55 h 317"/>
                    <a:gd name="T50" fmla="*/ 283 w 438"/>
                    <a:gd name="T51" fmla="*/ 30 h 317"/>
                    <a:gd name="T52" fmla="*/ 236 w 438"/>
                    <a:gd name="T53" fmla="*/ 45 h 317"/>
                    <a:gd name="T54" fmla="*/ 191 w 438"/>
                    <a:gd name="T55" fmla="*/ 0 h 317"/>
                    <a:gd name="T56" fmla="*/ 164 w 438"/>
                    <a:gd name="T57" fmla="*/ 2 h 317"/>
                    <a:gd name="T58" fmla="*/ 147 w 438"/>
                    <a:gd name="T59" fmla="*/ 26 h 317"/>
                    <a:gd name="T60" fmla="*/ 110 w 438"/>
                    <a:gd name="T61" fmla="*/ 21 h 317"/>
                    <a:gd name="T62" fmla="*/ 79 w 438"/>
                    <a:gd name="T63" fmla="*/ 49 h 317"/>
                    <a:gd name="T64" fmla="*/ 89 w 438"/>
                    <a:gd name="T65" fmla="*/ 90 h 317"/>
                    <a:gd name="T66" fmla="*/ 25 w 438"/>
                    <a:gd name="T67" fmla="*/ 102 h 317"/>
                    <a:gd name="T68" fmla="*/ 0 w 438"/>
                    <a:gd name="T69" fmla="*/ 136 h 317"/>
                    <a:gd name="T70" fmla="*/ 4 w 438"/>
                    <a:gd name="T71" fmla="*/ 138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8" h="317">
                      <a:moveTo>
                        <a:pt x="4" y="138"/>
                      </a:moveTo>
                      <a:lnTo>
                        <a:pt x="8" y="164"/>
                      </a:lnTo>
                      <a:lnTo>
                        <a:pt x="53" y="189"/>
                      </a:lnTo>
                      <a:lnTo>
                        <a:pt x="74" y="240"/>
                      </a:lnTo>
                      <a:lnTo>
                        <a:pt x="89" y="247"/>
                      </a:lnTo>
                      <a:lnTo>
                        <a:pt x="117" y="211"/>
                      </a:lnTo>
                      <a:lnTo>
                        <a:pt x="134" y="219"/>
                      </a:lnTo>
                      <a:lnTo>
                        <a:pt x="138" y="204"/>
                      </a:lnTo>
                      <a:lnTo>
                        <a:pt x="166" y="202"/>
                      </a:lnTo>
                      <a:lnTo>
                        <a:pt x="176" y="247"/>
                      </a:lnTo>
                      <a:lnTo>
                        <a:pt x="230" y="268"/>
                      </a:lnTo>
                      <a:lnTo>
                        <a:pt x="298" y="268"/>
                      </a:lnTo>
                      <a:lnTo>
                        <a:pt x="302" y="289"/>
                      </a:lnTo>
                      <a:lnTo>
                        <a:pt x="334" y="283"/>
                      </a:lnTo>
                      <a:lnTo>
                        <a:pt x="359" y="317"/>
                      </a:lnTo>
                      <a:lnTo>
                        <a:pt x="361" y="315"/>
                      </a:lnTo>
                      <a:lnTo>
                        <a:pt x="393" y="296"/>
                      </a:lnTo>
                      <a:lnTo>
                        <a:pt x="380" y="211"/>
                      </a:lnTo>
                      <a:lnTo>
                        <a:pt x="412" y="192"/>
                      </a:lnTo>
                      <a:lnTo>
                        <a:pt x="438" y="175"/>
                      </a:lnTo>
                      <a:lnTo>
                        <a:pt x="438" y="130"/>
                      </a:lnTo>
                      <a:lnTo>
                        <a:pt x="372" y="96"/>
                      </a:lnTo>
                      <a:lnTo>
                        <a:pt x="342" y="21"/>
                      </a:lnTo>
                      <a:lnTo>
                        <a:pt x="344" y="19"/>
                      </a:lnTo>
                      <a:lnTo>
                        <a:pt x="300" y="55"/>
                      </a:lnTo>
                      <a:lnTo>
                        <a:pt x="283" y="30"/>
                      </a:lnTo>
                      <a:lnTo>
                        <a:pt x="236" y="45"/>
                      </a:lnTo>
                      <a:lnTo>
                        <a:pt x="191" y="0"/>
                      </a:lnTo>
                      <a:lnTo>
                        <a:pt x="164" y="2"/>
                      </a:lnTo>
                      <a:lnTo>
                        <a:pt x="147" y="26"/>
                      </a:lnTo>
                      <a:lnTo>
                        <a:pt x="110" y="21"/>
                      </a:lnTo>
                      <a:lnTo>
                        <a:pt x="79" y="49"/>
                      </a:lnTo>
                      <a:lnTo>
                        <a:pt x="89" y="90"/>
                      </a:lnTo>
                      <a:lnTo>
                        <a:pt x="25" y="102"/>
                      </a:lnTo>
                      <a:lnTo>
                        <a:pt x="0" y="136"/>
                      </a:lnTo>
                      <a:lnTo>
                        <a:pt x="4" y="138"/>
                      </a:lnTo>
                    </a:path>
                  </a:pathLst>
                </a:custGeom>
                <a:solidFill>
                  <a:schemeClr val="bg2">
                    <a:lumMod val="75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grpSp>
        </p:grpSp>
        <p:grpSp>
          <p:nvGrpSpPr>
            <p:cNvPr id="167" name="Auvergne Rhône Alpes (N° Départements)">
              <a:extLst>
                <a:ext uri="{FF2B5EF4-FFF2-40B4-BE49-F238E27FC236}">
                  <a16:creationId xmlns:a16="http://schemas.microsoft.com/office/drawing/2014/main" id="{9DCF0445-8C85-47B5-9700-50FB3AF6AF33}"/>
                </a:ext>
              </a:extLst>
            </p:cNvPr>
            <p:cNvGrpSpPr/>
            <p:nvPr/>
          </p:nvGrpSpPr>
          <p:grpSpPr>
            <a:xfrm>
              <a:off x="7281986" y="3719999"/>
              <a:ext cx="1582665" cy="1024367"/>
              <a:chOff x="6528530" y="3889384"/>
              <a:chExt cx="1582665" cy="1024367"/>
            </a:xfrm>
          </p:grpSpPr>
          <p:grpSp>
            <p:nvGrpSpPr>
              <p:cNvPr id="228" name="Rhône Alpes (N° Départements)">
                <a:extLst>
                  <a:ext uri="{FF2B5EF4-FFF2-40B4-BE49-F238E27FC236}">
                    <a16:creationId xmlns:a16="http://schemas.microsoft.com/office/drawing/2014/main" id="{0B800737-87E0-4DA8-A9F3-E0946D194332}"/>
                  </a:ext>
                </a:extLst>
              </p:cNvPr>
              <p:cNvGrpSpPr/>
              <p:nvPr/>
            </p:nvGrpSpPr>
            <p:grpSpPr>
              <a:xfrm>
                <a:off x="7021417" y="4027630"/>
                <a:ext cx="1089778" cy="886121"/>
                <a:chOff x="7021417" y="4027630"/>
                <a:chExt cx="1089778" cy="886121"/>
              </a:xfrm>
            </p:grpSpPr>
            <p:sp>
              <p:nvSpPr>
                <p:cNvPr id="234" name="26">
                  <a:extLst>
                    <a:ext uri="{FF2B5EF4-FFF2-40B4-BE49-F238E27FC236}">
                      <a16:creationId xmlns:a16="http://schemas.microsoft.com/office/drawing/2014/main" id="{F60DA4D3-71E8-4F5E-A0D9-CFFDC32DA3BA}"/>
                    </a:ext>
                  </a:extLst>
                </p:cNvPr>
                <p:cNvSpPr txBox="1"/>
                <p:nvPr/>
              </p:nvSpPr>
              <p:spPr>
                <a:xfrm>
                  <a:off x="7433405" y="4747582"/>
                  <a:ext cx="184830" cy="166169"/>
                </a:xfrm>
                <a:prstGeom prst="rect">
                  <a:avLst/>
                </a:prstGeom>
                <a:noFill/>
              </p:spPr>
              <p:txBody>
                <a:bodyPr wrap="none" lIns="0" tIns="0" rIns="0" bIns="0" rtlCol="0">
                  <a:noAutofit/>
                </a:bodyPr>
                <a:lstStyle/>
                <a:p>
                  <a:r>
                    <a:rPr lang="fr-FR" sz="800">
                      <a:solidFill>
                        <a:srgbClr val="503078"/>
                      </a:solidFill>
                      <a:latin typeface="Tahoma"/>
                    </a:rPr>
                    <a:t>26</a:t>
                  </a:r>
                </a:p>
              </p:txBody>
            </p:sp>
            <p:sp>
              <p:nvSpPr>
                <p:cNvPr id="235" name="17">
                  <a:extLst>
                    <a:ext uri="{FF2B5EF4-FFF2-40B4-BE49-F238E27FC236}">
                      <a16:creationId xmlns:a16="http://schemas.microsoft.com/office/drawing/2014/main" id="{5AACD402-F79B-471A-ACD1-CE75F5104687}"/>
                    </a:ext>
                  </a:extLst>
                </p:cNvPr>
                <p:cNvSpPr txBox="1"/>
                <p:nvPr/>
              </p:nvSpPr>
              <p:spPr>
                <a:xfrm>
                  <a:off x="7147901" y="4734601"/>
                  <a:ext cx="184830" cy="166169"/>
                </a:xfrm>
                <a:prstGeom prst="rect">
                  <a:avLst/>
                </a:prstGeom>
                <a:noFill/>
              </p:spPr>
              <p:txBody>
                <a:bodyPr wrap="none" lIns="0" tIns="0" rIns="0" bIns="0" rtlCol="0">
                  <a:noAutofit/>
                </a:bodyPr>
                <a:lstStyle/>
                <a:p>
                  <a:r>
                    <a:rPr lang="fr-FR" sz="800">
                      <a:solidFill>
                        <a:srgbClr val="FFFFFF"/>
                      </a:solidFill>
                      <a:latin typeface="Tahoma"/>
                    </a:rPr>
                    <a:t>07</a:t>
                  </a:r>
                </a:p>
              </p:txBody>
            </p:sp>
            <p:sp>
              <p:nvSpPr>
                <p:cNvPr id="236" name="38">
                  <a:extLst>
                    <a:ext uri="{FF2B5EF4-FFF2-40B4-BE49-F238E27FC236}">
                      <a16:creationId xmlns:a16="http://schemas.microsoft.com/office/drawing/2014/main" id="{69441329-B8C7-4104-B495-4575925A7EDF}"/>
                    </a:ext>
                  </a:extLst>
                </p:cNvPr>
                <p:cNvSpPr txBox="1"/>
                <p:nvPr/>
              </p:nvSpPr>
              <p:spPr>
                <a:xfrm>
                  <a:off x="7623039" y="4455518"/>
                  <a:ext cx="184830" cy="166169"/>
                </a:xfrm>
                <a:prstGeom prst="rect">
                  <a:avLst/>
                </a:prstGeom>
                <a:noFill/>
              </p:spPr>
              <p:txBody>
                <a:bodyPr wrap="none" lIns="0" tIns="0" rIns="0" bIns="0" rtlCol="0">
                  <a:noAutofit/>
                </a:bodyPr>
                <a:lstStyle/>
                <a:p>
                  <a:r>
                    <a:rPr lang="fr-FR" sz="800">
                      <a:solidFill>
                        <a:srgbClr val="503078"/>
                      </a:solidFill>
                      <a:latin typeface="Tahoma"/>
                    </a:rPr>
                    <a:t>38</a:t>
                  </a:r>
                </a:p>
              </p:txBody>
            </p:sp>
            <p:sp>
              <p:nvSpPr>
                <p:cNvPr id="237" name="73">
                  <a:extLst>
                    <a:ext uri="{FF2B5EF4-FFF2-40B4-BE49-F238E27FC236}">
                      <a16:creationId xmlns:a16="http://schemas.microsoft.com/office/drawing/2014/main" id="{3E27A0F1-B73D-4508-8EF7-E0E56C80108F}"/>
                    </a:ext>
                  </a:extLst>
                </p:cNvPr>
                <p:cNvSpPr txBox="1"/>
                <p:nvPr/>
              </p:nvSpPr>
              <p:spPr>
                <a:xfrm>
                  <a:off x="7926365" y="4349565"/>
                  <a:ext cx="184830" cy="166169"/>
                </a:xfrm>
                <a:prstGeom prst="rect">
                  <a:avLst/>
                </a:prstGeom>
                <a:noFill/>
              </p:spPr>
              <p:txBody>
                <a:bodyPr wrap="none" lIns="0" tIns="0" rIns="0" bIns="0" rtlCol="0">
                  <a:noAutofit/>
                </a:bodyPr>
                <a:lstStyle/>
                <a:p>
                  <a:r>
                    <a:rPr lang="fr-FR" sz="800">
                      <a:solidFill>
                        <a:srgbClr val="503078"/>
                      </a:solidFill>
                      <a:latin typeface="Tahoma"/>
                    </a:rPr>
                    <a:t>73</a:t>
                  </a:r>
                </a:p>
              </p:txBody>
            </p:sp>
            <p:sp>
              <p:nvSpPr>
                <p:cNvPr id="238" name="74">
                  <a:extLst>
                    <a:ext uri="{FF2B5EF4-FFF2-40B4-BE49-F238E27FC236}">
                      <a16:creationId xmlns:a16="http://schemas.microsoft.com/office/drawing/2014/main" id="{C06CE9FC-DA88-4314-9568-697DEFD9C6C3}"/>
                    </a:ext>
                  </a:extLst>
                </p:cNvPr>
                <p:cNvSpPr txBox="1"/>
                <p:nvPr/>
              </p:nvSpPr>
              <p:spPr>
                <a:xfrm>
                  <a:off x="7882529" y="4037654"/>
                  <a:ext cx="184830" cy="166169"/>
                </a:xfrm>
                <a:prstGeom prst="rect">
                  <a:avLst/>
                </a:prstGeom>
                <a:noFill/>
              </p:spPr>
              <p:txBody>
                <a:bodyPr wrap="none" lIns="0" tIns="0" rIns="0" bIns="0" rtlCol="0">
                  <a:noAutofit/>
                </a:bodyPr>
                <a:lstStyle/>
                <a:p>
                  <a:r>
                    <a:rPr lang="fr-FR" sz="800">
                      <a:solidFill>
                        <a:srgbClr val="503078"/>
                      </a:solidFill>
                      <a:latin typeface="Tahoma"/>
                    </a:rPr>
                    <a:t>74</a:t>
                  </a:r>
                </a:p>
              </p:txBody>
            </p:sp>
            <p:sp>
              <p:nvSpPr>
                <p:cNvPr id="239" name="01">
                  <a:extLst>
                    <a:ext uri="{FF2B5EF4-FFF2-40B4-BE49-F238E27FC236}">
                      <a16:creationId xmlns:a16="http://schemas.microsoft.com/office/drawing/2014/main" id="{7C8C29FF-502A-492F-83BB-F21C3455D4F1}"/>
                    </a:ext>
                  </a:extLst>
                </p:cNvPr>
                <p:cNvSpPr txBox="1"/>
                <p:nvPr/>
              </p:nvSpPr>
              <p:spPr>
                <a:xfrm>
                  <a:off x="7487843" y="4027630"/>
                  <a:ext cx="184830" cy="166169"/>
                </a:xfrm>
                <a:prstGeom prst="rect">
                  <a:avLst/>
                </a:prstGeom>
                <a:noFill/>
              </p:spPr>
              <p:txBody>
                <a:bodyPr wrap="none" lIns="0" tIns="0" rIns="0" bIns="0" rtlCol="0">
                  <a:noAutofit/>
                </a:bodyPr>
                <a:lstStyle/>
                <a:p>
                  <a:r>
                    <a:rPr lang="fr-FR" sz="800">
                      <a:solidFill>
                        <a:srgbClr val="503078"/>
                      </a:solidFill>
                      <a:latin typeface="Tahoma"/>
                    </a:rPr>
                    <a:t>01</a:t>
                  </a:r>
                </a:p>
              </p:txBody>
            </p:sp>
            <p:sp>
              <p:nvSpPr>
                <p:cNvPr id="240" name="69">
                  <a:extLst>
                    <a:ext uri="{FF2B5EF4-FFF2-40B4-BE49-F238E27FC236}">
                      <a16:creationId xmlns:a16="http://schemas.microsoft.com/office/drawing/2014/main" id="{CABCA37D-74D2-44F1-8047-521737FA6CB7}"/>
                    </a:ext>
                  </a:extLst>
                </p:cNvPr>
                <p:cNvSpPr txBox="1"/>
                <p:nvPr/>
              </p:nvSpPr>
              <p:spPr>
                <a:xfrm>
                  <a:off x="7262229" y="4188795"/>
                  <a:ext cx="184830" cy="166169"/>
                </a:xfrm>
                <a:prstGeom prst="rect">
                  <a:avLst/>
                </a:prstGeom>
                <a:noFill/>
              </p:spPr>
              <p:txBody>
                <a:bodyPr wrap="none" lIns="0" tIns="0" rIns="0" bIns="0" rtlCol="0">
                  <a:noAutofit/>
                </a:bodyPr>
                <a:lstStyle/>
                <a:p>
                  <a:r>
                    <a:rPr lang="fr-FR" sz="800">
                      <a:solidFill>
                        <a:srgbClr val="503078"/>
                      </a:solidFill>
                      <a:latin typeface="Tahoma"/>
                    </a:rPr>
                    <a:t>69</a:t>
                  </a:r>
                </a:p>
              </p:txBody>
            </p:sp>
            <p:sp>
              <p:nvSpPr>
                <p:cNvPr id="241" name="42">
                  <a:extLst>
                    <a:ext uri="{FF2B5EF4-FFF2-40B4-BE49-F238E27FC236}">
                      <a16:creationId xmlns:a16="http://schemas.microsoft.com/office/drawing/2014/main" id="{21CC872D-ABAC-4E92-B537-7CBD7FE7040B}"/>
                    </a:ext>
                  </a:extLst>
                </p:cNvPr>
                <p:cNvSpPr txBox="1"/>
                <p:nvPr/>
              </p:nvSpPr>
              <p:spPr>
                <a:xfrm>
                  <a:off x="7021417" y="4178807"/>
                  <a:ext cx="184830" cy="166169"/>
                </a:xfrm>
                <a:prstGeom prst="rect">
                  <a:avLst/>
                </a:prstGeom>
                <a:noFill/>
              </p:spPr>
              <p:txBody>
                <a:bodyPr wrap="none" lIns="0" tIns="0" rIns="0" bIns="0" rtlCol="0">
                  <a:noAutofit/>
                </a:bodyPr>
                <a:lstStyle/>
                <a:p>
                  <a:r>
                    <a:rPr lang="fr-FR" sz="800">
                      <a:solidFill>
                        <a:srgbClr val="FFFFFF"/>
                      </a:solidFill>
                      <a:latin typeface="Tahoma"/>
                    </a:rPr>
                    <a:t>42</a:t>
                  </a:r>
                </a:p>
              </p:txBody>
            </p:sp>
          </p:grpSp>
          <p:grpSp>
            <p:nvGrpSpPr>
              <p:cNvPr id="229" name="Auvergne (N° Départements)">
                <a:extLst>
                  <a:ext uri="{FF2B5EF4-FFF2-40B4-BE49-F238E27FC236}">
                    <a16:creationId xmlns:a16="http://schemas.microsoft.com/office/drawing/2014/main" id="{71A477CE-07FC-4971-98BD-C40161149087}"/>
                  </a:ext>
                </a:extLst>
              </p:cNvPr>
              <p:cNvGrpSpPr/>
              <p:nvPr/>
            </p:nvGrpSpPr>
            <p:grpSpPr>
              <a:xfrm>
                <a:off x="6528530" y="3889384"/>
                <a:ext cx="571119" cy="833739"/>
                <a:chOff x="6528530" y="3889384"/>
                <a:chExt cx="571119" cy="833739"/>
              </a:xfrm>
            </p:grpSpPr>
            <p:sp>
              <p:nvSpPr>
                <p:cNvPr id="230" name="43">
                  <a:extLst>
                    <a:ext uri="{FF2B5EF4-FFF2-40B4-BE49-F238E27FC236}">
                      <a16:creationId xmlns:a16="http://schemas.microsoft.com/office/drawing/2014/main" id="{1A83313E-8227-411A-A459-C7FCD73E77FE}"/>
                    </a:ext>
                  </a:extLst>
                </p:cNvPr>
                <p:cNvSpPr txBox="1"/>
                <p:nvPr/>
              </p:nvSpPr>
              <p:spPr>
                <a:xfrm>
                  <a:off x="6914819" y="4556954"/>
                  <a:ext cx="184830" cy="166169"/>
                </a:xfrm>
                <a:prstGeom prst="rect">
                  <a:avLst/>
                </a:prstGeom>
                <a:noFill/>
              </p:spPr>
              <p:txBody>
                <a:bodyPr wrap="none" lIns="0" tIns="0" rIns="0" bIns="0" rtlCol="0">
                  <a:noAutofit/>
                </a:bodyPr>
                <a:lstStyle/>
                <a:p>
                  <a:r>
                    <a:rPr lang="fr-FR" sz="800">
                      <a:solidFill>
                        <a:srgbClr val="FFFFFF"/>
                      </a:solidFill>
                      <a:latin typeface="Tahoma"/>
                    </a:rPr>
                    <a:t>43</a:t>
                  </a:r>
                </a:p>
              </p:txBody>
            </p:sp>
            <p:sp>
              <p:nvSpPr>
                <p:cNvPr id="231" name="63">
                  <a:extLst>
                    <a:ext uri="{FF2B5EF4-FFF2-40B4-BE49-F238E27FC236}">
                      <a16:creationId xmlns:a16="http://schemas.microsoft.com/office/drawing/2014/main" id="{38F1511B-9937-495F-BCA9-8C65A7AB3109}"/>
                    </a:ext>
                  </a:extLst>
                </p:cNvPr>
                <p:cNvSpPr txBox="1"/>
                <p:nvPr/>
              </p:nvSpPr>
              <p:spPr>
                <a:xfrm>
                  <a:off x="6679955" y="4231765"/>
                  <a:ext cx="184830" cy="166169"/>
                </a:xfrm>
                <a:prstGeom prst="rect">
                  <a:avLst/>
                </a:prstGeom>
                <a:noFill/>
              </p:spPr>
              <p:txBody>
                <a:bodyPr wrap="none" lIns="0" tIns="0" rIns="0" bIns="0" rtlCol="0">
                  <a:noAutofit/>
                </a:bodyPr>
                <a:lstStyle/>
                <a:p>
                  <a:r>
                    <a:rPr lang="fr-FR" sz="800">
                      <a:solidFill>
                        <a:srgbClr val="503078"/>
                      </a:solidFill>
                      <a:latin typeface="Tahoma"/>
                    </a:rPr>
                    <a:t>63</a:t>
                  </a:r>
                </a:p>
              </p:txBody>
            </p:sp>
            <p:sp>
              <p:nvSpPr>
                <p:cNvPr id="232" name="15">
                  <a:extLst>
                    <a:ext uri="{FF2B5EF4-FFF2-40B4-BE49-F238E27FC236}">
                      <a16:creationId xmlns:a16="http://schemas.microsoft.com/office/drawing/2014/main" id="{D59AAFE5-8D4A-46DD-A5AA-1D77225FD243}"/>
                    </a:ext>
                  </a:extLst>
                </p:cNvPr>
                <p:cNvSpPr txBox="1"/>
                <p:nvPr/>
              </p:nvSpPr>
              <p:spPr>
                <a:xfrm>
                  <a:off x="6528530" y="4546517"/>
                  <a:ext cx="184830" cy="166169"/>
                </a:xfrm>
                <a:prstGeom prst="rect">
                  <a:avLst/>
                </a:prstGeom>
                <a:noFill/>
              </p:spPr>
              <p:txBody>
                <a:bodyPr wrap="none" lIns="0" tIns="0" rIns="0" bIns="0" rtlCol="0">
                  <a:noAutofit/>
                </a:bodyPr>
                <a:lstStyle/>
                <a:p>
                  <a:r>
                    <a:rPr lang="fr-FR" sz="800">
                      <a:solidFill>
                        <a:srgbClr val="FFFFFF"/>
                      </a:solidFill>
                      <a:latin typeface="Tahoma"/>
                    </a:rPr>
                    <a:t>15</a:t>
                  </a:r>
                </a:p>
              </p:txBody>
            </p:sp>
            <p:sp>
              <p:nvSpPr>
                <p:cNvPr id="233" name="03">
                  <a:extLst>
                    <a:ext uri="{FF2B5EF4-FFF2-40B4-BE49-F238E27FC236}">
                      <a16:creationId xmlns:a16="http://schemas.microsoft.com/office/drawing/2014/main" id="{98EE8DF1-9895-42D2-995F-37B7595604DC}"/>
                    </a:ext>
                  </a:extLst>
                </p:cNvPr>
                <p:cNvSpPr txBox="1"/>
                <p:nvPr/>
              </p:nvSpPr>
              <p:spPr>
                <a:xfrm>
                  <a:off x="6699947" y="3889384"/>
                  <a:ext cx="184830" cy="166169"/>
                </a:xfrm>
                <a:prstGeom prst="rect">
                  <a:avLst/>
                </a:prstGeom>
                <a:noFill/>
              </p:spPr>
              <p:txBody>
                <a:bodyPr wrap="none" lIns="0" tIns="0" rIns="0" bIns="0" rtlCol="0">
                  <a:noAutofit/>
                </a:bodyPr>
                <a:lstStyle/>
                <a:p>
                  <a:r>
                    <a:rPr lang="fr-FR" sz="800">
                      <a:solidFill>
                        <a:srgbClr val="FFFFFF"/>
                      </a:solidFill>
                      <a:latin typeface="Tahoma"/>
                    </a:rPr>
                    <a:t>03</a:t>
                  </a:r>
                </a:p>
              </p:txBody>
            </p:sp>
          </p:grpSp>
        </p:grpSp>
        <p:grpSp>
          <p:nvGrpSpPr>
            <p:cNvPr id="168" name="Aquitaine Limousin Poitou-Charentes (Formes)">
              <a:extLst>
                <a:ext uri="{FF2B5EF4-FFF2-40B4-BE49-F238E27FC236}">
                  <a16:creationId xmlns:a16="http://schemas.microsoft.com/office/drawing/2014/main" id="{1BE4E293-890D-420C-9874-585B14DFBD5A}"/>
                </a:ext>
              </a:extLst>
            </p:cNvPr>
            <p:cNvGrpSpPr/>
            <p:nvPr/>
          </p:nvGrpSpPr>
          <p:grpSpPr>
            <a:xfrm>
              <a:off x="5647669" y="3357555"/>
              <a:ext cx="1690426" cy="2282077"/>
              <a:chOff x="4894213" y="3526940"/>
              <a:chExt cx="1690426" cy="2282077"/>
            </a:xfrm>
            <a:solidFill>
              <a:srgbClr val="CAC5B8"/>
            </a:solidFill>
          </p:grpSpPr>
          <p:grpSp>
            <p:nvGrpSpPr>
              <p:cNvPr id="213" name="Poitou Charentes (Formes)">
                <a:extLst>
                  <a:ext uri="{FF2B5EF4-FFF2-40B4-BE49-F238E27FC236}">
                    <a16:creationId xmlns:a16="http://schemas.microsoft.com/office/drawing/2014/main" id="{2F763418-BF06-40AB-B71A-E123D84DDD54}"/>
                  </a:ext>
                </a:extLst>
              </p:cNvPr>
              <p:cNvGrpSpPr/>
              <p:nvPr/>
            </p:nvGrpSpPr>
            <p:grpSpPr>
              <a:xfrm>
                <a:off x="5172130" y="3526940"/>
                <a:ext cx="909680" cy="1078722"/>
                <a:chOff x="5172130" y="3526940"/>
                <a:chExt cx="909680" cy="1078722"/>
              </a:xfrm>
              <a:grpFill/>
            </p:grpSpPr>
            <p:sp>
              <p:nvSpPr>
                <p:cNvPr id="224" name="86">
                  <a:extLst>
                    <a:ext uri="{FF2B5EF4-FFF2-40B4-BE49-F238E27FC236}">
                      <a16:creationId xmlns:a16="http://schemas.microsoft.com/office/drawing/2014/main" id="{1257072D-1678-4233-8215-F9F91AD1041E}"/>
                    </a:ext>
                  </a:extLst>
                </p:cNvPr>
                <p:cNvSpPr>
                  <a:spLocks/>
                </p:cNvSpPr>
                <p:nvPr/>
              </p:nvSpPr>
              <p:spPr bwMode="gray">
                <a:xfrm>
                  <a:off x="5621956" y="3526940"/>
                  <a:ext cx="459854" cy="591649"/>
                </a:xfrm>
                <a:custGeom>
                  <a:avLst/>
                  <a:gdLst>
                    <a:gd name="T0" fmla="*/ 0 w 321"/>
                    <a:gd name="T1" fmla="*/ 41 h 413"/>
                    <a:gd name="T2" fmla="*/ 15 w 321"/>
                    <a:gd name="T3" fmla="*/ 106 h 413"/>
                    <a:gd name="T4" fmla="*/ 30 w 321"/>
                    <a:gd name="T5" fmla="*/ 115 h 413"/>
                    <a:gd name="T6" fmla="*/ 11 w 321"/>
                    <a:gd name="T7" fmla="*/ 123 h 413"/>
                    <a:gd name="T8" fmla="*/ 30 w 321"/>
                    <a:gd name="T9" fmla="*/ 160 h 413"/>
                    <a:gd name="T10" fmla="*/ 2 w 321"/>
                    <a:gd name="T11" fmla="*/ 194 h 413"/>
                    <a:gd name="T12" fmla="*/ 28 w 321"/>
                    <a:gd name="T13" fmla="*/ 211 h 413"/>
                    <a:gd name="T14" fmla="*/ 7 w 321"/>
                    <a:gd name="T15" fmla="*/ 253 h 413"/>
                    <a:gd name="T16" fmla="*/ 19 w 321"/>
                    <a:gd name="T17" fmla="*/ 306 h 413"/>
                    <a:gd name="T18" fmla="*/ 60 w 321"/>
                    <a:gd name="T19" fmla="*/ 306 h 413"/>
                    <a:gd name="T20" fmla="*/ 41 w 321"/>
                    <a:gd name="T21" fmla="*/ 359 h 413"/>
                    <a:gd name="T22" fmla="*/ 66 w 321"/>
                    <a:gd name="T23" fmla="*/ 370 h 413"/>
                    <a:gd name="T24" fmla="*/ 60 w 321"/>
                    <a:gd name="T25" fmla="*/ 393 h 413"/>
                    <a:gd name="T26" fmla="*/ 117 w 321"/>
                    <a:gd name="T27" fmla="*/ 413 h 413"/>
                    <a:gd name="T28" fmla="*/ 136 w 321"/>
                    <a:gd name="T29" fmla="*/ 381 h 413"/>
                    <a:gd name="T30" fmla="*/ 162 w 321"/>
                    <a:gd name="T31" fmla="*/ 404 h 413"/>
                    <a:gd name="T32" fmla="*/ 194 w 321"/>
                    <a:gd name="T33" fmla="*/ 383 h 413"/>
                    <a:gd name="T34" fmla="*/ 221 w 321"/>
                    <a:gd name="T35" fmla="*/ 387 h 413"/>
                    <a:gd name="T36" fmla="*/ 219 w 321"/>
                    <a:gd name="T37" fmla="*/ 351 h 413"/>
                    <a:gd name="T38" fmla="*/ 313 w 321"/>
                    <a:gd name="T39" fmla="*/ 296 h 413"/>
                    <a:gd name="T40" fmla="*/ 321 w 321"/>
                    <a:gd name="T41" fmla="*/ 279 h 413"/>
                    <a:gd name="T42" fmla="*/ 306 w 321"/>
                    <a:gd name="T43" fmla="*/ 272 h 413"/>
                    <a:gd name="T44" fmla="*/ 306 w 321"/>
                    <a:gd name="T45" fmla="*/ 251 h 413"/>
                    <a:gd name="T46" fmla="*/ 247 w 321"/>
                    <a:gd name="T47" fmla="*/ 217 h 413"/>
                    <a:gd name="T48" fmla="*/ 240 w 321"/>
                    <a:gd name="T49" fmla="*/ 164 h 413"/>
                    <a:gd name="T50" fmla="*/ 238 w 321"/>
                    <a:gd name="T51" fmla="*/ 160 h 413"/>
                    <a:gd name="T52" fmla="*/ 196 w 321"/>
                    <a:gd name="T53" fmla="*/ 77 h 413"/>
                    <a:gd name="T54" fmla="*/ 166 w 321"/>
                    <a:gd name="T55" fmla="*/ 64 h 413"/>
                    <a:gd name="T56" fmla="*/ 172 w 321"/>
                    <a:gd name="T57" fmla="*/ 81 h 413"/>
                    <a:gd name="T58" fmla="*/ 104 w 321"/>
                    <a:gd name="T59" fmla="*/ 89 h 413"/>
                    <a:gd name="T60" fmla="*/ 100 w 321"/>
                    <a:gd name="T61" fmla="*/ 45 h 413"/>
                    <a:gd name="T62" fmla="*/ 68 w 321"/>
                    <a:gd name="T63" fmla="*/ 41 h 413"/>
                    <a:gd name="T64" fmla="*/ 73 w 321"/>
                    <a:gd name="T65" fmla="*/ 21 h 413"/>
                    <a:gd name="T66" fmla="*/ 41 w 321"/>
                    <a:gd name="T67" fmla="*/ 4 h 413"/>
                    <a:gd name="T68" fmla="*/ 41 w 321"/>
                    <a:gd name="T69" fmla="*/ 0 h 413"/>
                    <a:gd name="T70" fmla="*/ 0 w 321"/>
                    <a:gd name="T71" fmla="*/ 36 h 413"/>
                    <a:gd name="T72" fmla="*/ 0 w 321"/>
                    <a:gd name="T73" fmla="*/ 41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1" h="413">
                      <a:moveTo>
                        <a:pt x="0" y="41"/>
                      </a:moveTo>
                      <a:lnTo>
                        <a:pt x="15" y="106"/>
                      </a:lnTo>
                      <a:lnTo>
                        <a:pt x="30" y="115"/>
                      </a:lnTo>
                      <a:lnTo>
                        <a:pt x="11" y="123"/>
                      </a:lnTo>
                      <a:lnTo>
                        <a:pt x="30" y="160"/>
                      </a:lnTo>
                      <a:lnTo>
                        <a:pt x="2" y="194"/>
                      </a:lnTo>
                      <a:lnTo>
                        <a:pt x="28" y="211"/>
                      </a:lnTo>
                      <a:lnTo>
                        <a:pt x="7" y="253"/>
                      </a:lnTo>
                      <a:lnTo>
                        <a:pt x="19" y="306"/>
                      </a:lnTo>
                      <a:lnTo>
                        <a:pt x="60" y="306"/>
                      </a:lnTo>
                      <a:lnTo>
                        <a:pt x="41" y="359"/>
                      </a:lnTo>
                      <a:lnTo>
                        <a:pt x="66" y="370"/>
                      </a:lnTo>
                      <a:lnTo>
                        <a:pt x="60" y="393"/>
                      </a:lnTo>
                      <a:lnTo>
                        <a:pt x="117" y="413"/>
                      </a:lnTo>
                      <a:lnTo>
                        <a:pt x="136" y="381"/>
                      </a:lnTo>
                      <a:lnTo>
                        <a:pt x="162" y="404"/>
                      </a:lnTo>
                      <a:lnTo>
                        <a:pt x="194" y="383"/>
                      </a:lnTo>
                      <a:lnTo>
                        <a:pt x="221" y="387"/>
                      </a:lnTo>
                      <a:lnTo>
                        <a:pt x="219" y="351"/>
                      </a:lnTo>
                      <a:lnTo>
                        <a:pt x="313" y="296"/>
                      </a:lnTo>
                      <a:lnTo>
                        <a:pt x="321" y="279"/>
                      </a:lnTo>
                      <a:lnTo>
                        <a:pt x="306" y="272"/>
                      </a:lnTo>
                      <a:lnTo>
                        <a:pt x="306" y="251"/>
                      </a:lnTo>
                      <a:lnTo>
                        <a:pt x="247" y="217"/>
                      </a:lnTo>
                      <a:lnTo>
                        <a:pt x="240" y="164"/>
                      </a:lnTo>
                      <a:lnTo>
                        <a:pt x="238" y="160"/>
                      </a:lnTo>
                      <a:lnTo>
                        <a:pt x="196" y="77"/>
                      </a:lnTo>
                      <a:lnTo>
                        <a:pt x="166" y="64"/>
                      </a:lnTo>
                      <a:lnTo>
                        <a:pt x="172" y="81"/>
                      </a:lnTo>
                      <a:lnTo>
                        <a:pt x="104" y="89"/>
                      </a:lnTo>
                      <a:lnTo>
                        <a:pt x="100" y="45"/>
                      </a:lnTo>
                      <a:lnTo>
                        <a:pt x="68" y="41"/>
                      </a:lnTo>
                      <a:lnTo>
                        <a:pt x="73" y="21"/>
                      </a:lnTo>
                      <a:lnTo>
                        <a:pt x="41" y="4"/>
                      </a:lnTo>
                      <a:lnTo>
                        <a:pt x="41" y="0"/>
                      </a:lnTo>
                      <a:lnTo>
                        <a:pt x="0" y="36"/>
                      </a:lnTo>
                      <a:lnTo>
                        <a:pt x="0" y="41"/>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25" name="79">
                  <a:extLst>
                    <a:ext uri="{FF2B5EF4-FFF2-40B4-BE49-F238E27FC236}">
                      <a16:creationId xmlns:a16="http://schemas.microsoft.com/office/drawing/2014/main" id="{385110C3-F5E8-4AF5-B643-084F1B3D375B}"/>
                    </a:ext>
                  </a:extLst>
                </p:cNvPr>
                <p:cNvSpPr>
                  <a:spLocks/>
                </p:cNvSpPr>
                <p:nvPr/>
              </p:nvSpPr>
              <p:spPr bwMode="gray">
                <a:xfrm>
                  <a:off x="5335443" y="3554159"/>
                  <a:ext cx="381062" cy="597380"/>
                </a:xfrm>
                <a:custGeom>
                  <a:avLst/>
                  <a:gdLst>
                    <a:gd name="T0" fmla="*/ 3 w 266"/>
                    <a:gd name="T1" fmla="*/ 39 h 417"/>
                    <a:gd name="T2" fmla="*/ 71 w 266"/>
                    <a:gd name="T3" fmla="*/ 36 h 417"/>
                    <a:gd name="T4" fmla="*/ 100 w 266"/>
                    <a:gd name="T5" fmla="*/ 7 h 417"/>
                    <a:gd name="T6" fmla="*/ 107 w 266"/>
                    <a:gd name="T7" fmla="*/ 17 h 417"/>
                    <a:gd name="T8" fmla="*/ 181 w 266"/>
                    <a:gd name="T9" fmla="*/ 0 h 417"/>
                    <a:gd name="T10" fmla="*/ 200 w 266"/>
                    <a:gd name="T11" fmla="*/ 17 h 417"/>
                    <a:gd name="T12" fmla="*/ 200 w 266"/>
                    <a:gd name="T13" fmla="*/ 22 h 417"/>
                    <a:gd name="T14" fmla="*/ 215 w 266"/>
                    <a:gd name="T15" fmla="*/ 87 h 417"/>
                    <a:gd name="T16" fmla="*/ 230 w 266"/>
                    <a:gd name="T17" fmla="*/ 96 h 417"/>
                    <a:gd name="T18" fmla="*/ 211 w 266"/>
                    <a:gd name="T19" fmla="*/ 104 h 417"/>
                    <a:gd name="T20" fmla="*/ 230 w 266"/>
                    <a:gd name="T21" fmla="*/ 141 h 417"/>
                    <a:gd name="T22" fmla="*/ 202 w 266"/>
                    <a:gd name="T23" fmla="*/ 175 h 417"/>
                    <a:gd name="T24" fmla="*/ 228 w 266"/>
                    <a:gd name="T25" fmla="*/ 192 h 417"/>
                    <a:gd name="T26" fmla="*/ 207 w 266"/>
                    <a:gd name="T27" fmla="*/ 234 h 417"/>
                    <a:gd name="T28" fmla="*/ 219 w 266"/>
                    <a:gd name="T29" fmla="*/ 287 h 417"/>
                    <a:gd name="T30" fmla="*/ 260 w 266"/>
                    <a:gd name="T31" fmla="*/ 287 h 417"/>
                    <a:gd name="T32" fmla="*/ 241 w 266"/>
                    <a:gd name="T33" fmla="*/ 340 h 417"/>
                    <a:gd name="T34" fmla="*/ 266 w 266"/>
                    <a:gd name="T35" fmla="*/ 351 h 417"/>
                    <a:gd name="T36" fmla="*/ 260 w 266"/>
                    <a:gd name="T37" fmla="*/ 374 h 417"/>
                    <a:gd name="T38" fmla="*/ 200 w 266"/>
                    <a:gd name="T39" fmla="*/ 387 h 417"/>
                    <a:gd name="T40" fmla="*/ 181 w 266"/>
                    <a:gd name="T41" fmla="*/ 417 h 417"/>
                    <a:gd name="T42" fmla="*/ 137 w 266"/>
                    <a:gd name="T43" fmla="*/ 372 h 417"/>
                    <a:gd name="T44" fmla="*/ 51 w 266"/>
                    <a:gd name="T45" fmla="*/ 349 h 417"/>
                    <a:gd name="T46" fmla="*/ 24 w 266"/>
                    <a:gd name="T47" fmla="*/ 287 h 417"/>
                    <a:gd name="T48" fmla="*/ 79 w 266"/>
                    <a:gd name="T49" fmla="*/ 260 h 417"/>
                    <a:gd name="T50" fmla="*/ 56 w 266"/>
                    <a:gd name="T51" fmla="*/ 253 h 417"/>
                    <a:gd name="T52" fmla="*/ 66 w 266"/>
                    <a:gd name="T53" fmla="*/ 202 h 417"/>
                    <a:gd name="T54" fmla="*/ 47 w 266"/>
                    <a:gd name="T55" fmla="*/ 102 h 417"/>
                    <a:gd name="T56" fmla="*/ 0 w 266"/>
                    <a:gd name="T57" fmla="*/ 41 h 417"/>
                    <a:gd name="T58" fmla="*/ 3 w 266"/>
                    <a:gd name="T59" fmla="*/ 3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417">
                      <a:moveTo>
                        <a:pt x="3" y="39"/>
                      </a:moveTo>
                      <a:lnTo>
                        <a:pt x="71" y="36"/>
                      </a:lnTo>
                      <a:lnTo>
                        <a:pt x="100" y="7"/>
                      </a:lnTo>
                      <a:lnTo>
                        <a:pt x="107" y="17"/>
                      </a:lnTo>
                      <a:lnTo>
                        <a:pt x="181" y="0"/>
                      </a:lnTo>
                      <a:lnTo>
                        <a:pt x="200" y="17"/>
                      </a:lnTo>
                      <a:lnTo>
                        <a:pt x="200" y="22"/>
                      </a:lnTo>
                      <a:lnTo>
                        <a:pt x="215" y="87"/>
                      </a:lnTo>
                      <a:lnTo>
                        <a:pt x="230" y="96"/>
                      </a:lnTo>
                      <a:lnTo>
                        <a:pt x="211" y="104"/>
                      </a:lnTo>
                      <a:lnTo>
                        <a:pt x="230" y="141"/>
                      </a:lnTo>
                      <a:lnTo>
                        <a:pt x="202" y="175"/>
                      </a:lnTo>
                      <a:lnTo>
                        <a:pt x="228" y="192"/>
                      </a:lnTo>
                      <a:lnTo>
                        <a:pt x="207" y="234"/>
                      </a:lnTo>
                      <a:lnTo>
                        <a:pt x="219" y="287"/>
                      </a:lnTo>
                      <a:lnTo>
                        <a:pt x="260" y="287"/>
                      </a:lnTo>
                      <a:lnTo>
                        <a:pt x="241" y="340"/>
                      </a:lnTo>
                      <a:lnTo>
                        <a:pt x="266" y="351"/>
                      </a:lnTo>
                      <a:lnTo>
                        <a:pt x="260" y="374"/>
                      </a:lnTo>
                      <a:lnTo>
                        <a:pt x="200" y="387"/>
                      </a:lnTo>
                      <a:lnTo>
                        <a:pt x="181" y="417"/>
                      </a:lnTo>
                      <a:lnTo>
                        <a:pt x="137" y="372"/>
                      </a:lnTo>
                      <a:lnTo>
                        <a:pt x="51" y="349"/>
                      </a:lnTo>
                      <a:lnTo>
                        <a:pt x="24" y="287"/>
                      </a:lnTo>
                      <a:lnTo>
                        <a:pt x="79" y="260"/>
                      </a:lnTo>
                      <a:lnTo>
                        <a:pt x="56" y="253"/>
                      </a:lnTo>
                      <a:lnTo>
                        <a:pt x="66" y="202"/>
                      </a:lnTo>
                      <a:lnTo>
                        <a:pt x="47" y="102"/>
                      </a:lnTo>
                      <a:lnTo>
                        <a:pt x="0" y="41"/>
                      </a:lnTo>
                      <a:lnTo>
                        <a:pt x="3" y="39"/>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26" name="16">
                  <a:extLst>
                    <a:ext uri="{FF2B5EF4-FFF2-40B4-BE49-F238E27FC236}">
                      <a16:creationId xmlns:a16="http://schemas.microsoft.com/office/drawing/2014/main" id="{A4585505-571B-4E30-B81E-1FE4764264AD}"/>
                    </a:ext>
                  </a:extLst>
                </p:cNvPr>
                <p:cNvSpPr>
                  <a:spLocks/>
                </p:cNvSpPr>
                <p:nvPr/>
              </p:nvSpPr>
              <p:spPr bwMode="gray">
                <a:xfrm>
                  <a:off x="5461509" y="4072747"/>
                  <a:ext cx="517156" cy="484207"/>
                </a:xfrm>
                <a:custGeom>
                  <a:avLst/>
                  <a:gdLst>
                    <a:gd name="T0" fmla="*/ 0 w 361"/>
                    <a:gd name="T1" fmla="*/ 136 h 338"/>
                    <a:gd name="T2" fmla="*/ 19 w 361"/>
                    <a:gd name="T3" fmla="*/ 168 h 338"/>
                    <a:gd name="T4" fmla="*/ 6 w 361"/>
                    <a:gd name="T5" fmla="*/ 178 h 338"/>
                    <a:gd name="T6" fmla="*/ 51 w 361"/>
                    <a:gd name="T7" fmla="*/ 227 h 338"/>
                    <a:gd name="T8" fmla="*/ 38 w 361"/>
                    <a:gd name="T9" fmla="*/ 295 h 338"/>
                    <a:gd name="T10" fmla="*/ 78 w 361"/>
                    <a:gd name="T11" fmla="*/ 302 h 338"/>
                    <a:gd name="T12" fmla="*/ 78 w 361"/>
                    <a:gd name="T13" fmla="*/ 321 h 338"/>
                    <a:gd name="T14" fmla="*/ 110 w 361"/>
                    <a:gd name="T15" fmla="*/ 338 h 338"/>
                    <a:gd name="T16" fmla="*/ 144 w 361"/>
                    <a:gd name="T17" fmla="*/ 336 h 338"/>
                    <a:gd name="T18" fmla="*/ 180 w 361"/>
                    <a:gd name="T19" fmla="*/ 304 h 338"/>
                    <a:gd name="T20" fmla="*/ 180 w 361"/>
                    <a:gd name="T21" fmla="*/ 259 h 338"/>
                    <a:gd name="T22" fmla="*/ 225 w 361"/>
                    <a:gd name="T23" fmla="*/ 238 h 338"/>
                    <a:gd name="T24" fmla="*/ 248 w 361"/>
                    <a:gd name="T25" fmla="*/ 183 h 338"/>
                    <a:gd name="T26" fmla="*/ 278 w 361"/>
                    <a:gd name="T27" fmla="*/ 157 h 338"/>
                    <a:gd name="T28" fmla="*/ 284 w 361"/>
                    <a:gd name="T29" fmla="*/ 153 h 338"/>
                    <a:gd name="T30" fmla="*/ 301 w 361"/>
                    <a:gd name="T31" fmla="*/ 123 h 338"/>
                    <a:gd name="T32" fmla="*/ 318 w 361"/>
                    <a:gd name="T33" fmla="*/ 127 h 338"/>
                    <a:gd name="T34" fmla="*/ 327 w 361"/>
                    <a:gd name="T35" fmla="*/ 78 h 338"/>
                    <a:gd name="T36" fmla="*/ 361 w 361"/>
                    <a:gd name="T37" fmla="*/ 63 h 338"/>
                    <a:gd name="T38" fmla="*/ 329 w 361"/>
                    <a:gd name="T39" fmla="*/ 34 h 338"/>
                    <a:gd name="T40" fmla="*/ 333 w 361"/>
                    <a:gd name="T41" fmla="*/ 6 h 338"/>
                    <a:gd name="T42" fmla="*/ 306 w 361"/>
                    <a:gd name="T43" fmla="*/ 2 h 338"/>
                    <a:gd name="T44" fmla="*/ 274 w 361"/>
                    <a:gd name="T45" fmla="*/ 23 h 338"/>
                    <a:gd name="T46" fmla="*/ 248 w 361"/>
                    <a:gd name="T47" fmla="*/ 0 h 338"/>
                    <a:gd name="T48" fmla="*/ 229 w 361"/>
                    <a:gd name="T49" fmla="*/ 32 h 338"/>
                    <a:gd name="T50" fmla="*/ 172 w 361"/>
                    <a:gd name="T51" fmla="*/ 12 h 338"/>
                    <a:gd name="T52" fmla="*/ 112 w 361"/>
                    <a:gd name="T53" fmla="*/ 25 h 338"/>
                    <a:gd name="T54" fmla="*/ 93 w 361"/>
                    <a:gd name="T55" fmla="*/ 55 h 338"/>
                    <a:gd name="T56" fmla="*/ 78 w 361"/>
                    <a:gd name="T57" fmla="*/ 125 h 338"/>
                    <a:gd name="T58" fmla="*/ 49 w 361"/>
                    <a:gd name="T59" fmla="*/ 112 h 338"/>
                    <a:gd name="T60" fmla="*/ 0 w 361"/>
                    <a:gd name="T61" fmla="*/ 129 h 338"/>
                    <a:gd name="T62" fmla="*/ 0 w 361"/>
                    <a:gd name="T63" fmla="*/ 13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1" h="338">
                      <a:moveTo>
                        <a:pt x="0" y="136"/>
                      </a:moveTo>
                      <a:lnTo>
                        <a:pt x="19" y="168"/>
                      </a:lnTo>
                      <a:lnTo>
                        <a:pt x="6" y="178"/>
                      </a:lnTo>
                      <a:lnTo>
                        <a:pt x="51" y="227"/>
                      </a:lnTo>
                      <a:lnTo>
                        <a:pt x="38" y="295"/>
                      </a:lnTo>
                      <a:lnTo>
                        <a:pt x="78" y="302"/>
                      </a:lnTo>
                      <a:lnTo>
                        <a:pt x="78" y="321"/>
                      </a:lnTo>
                      <a:lnTo>
                        <a:pt x="110" y="338"/>
                      </a:lnTo>
                      <a:lnTo>
                        <a:pt x="144" y="336"/>
                      </a:lnTo>
                      <a:lnTo>
                        <a:pt x="180" y="304"/>
                      </a:lnTo>
                      <a:lnTo>
                        <a:pt x="180" y="259"/>
                      </a:lnTo>
                      <a:lnTo>
                        <a:pt x="225" y="238"/>
                      </a:lnTo>
                      <a:lnTo>
                        <a:pt x="248" y="183"/>
                      </a:lnTo>
                      <a:lnTo>
                        <a:pt x="278" y="157"/>
                      </a:lnTo>
                      <a:lnTo>
                        <a:pt x="284" y="153"/>
                      </a:lnTo>
                      <a:lnTo>
                        <a:pt x="301" y="123"/>
                      </a:lnTo>
                      <a:lnTo>
                        <a:pt x="318" y="127"/>
                      </a:lnTo>
                      <a:lnTo>
                        <a:pt x="327" y="78"/>
                      </a:lnTo>
                      <a:lnTo>
                        <a:pt x="361" y="63"/>
                      </a:lnTo>
                      <a:lnTo>
                        <a:pt x="329" y="34"/>
                      </a:lnTo>
                      <a:lnTo>
                        <a:pt x="333" y="6"/>
                      </a:lnTo>
                      <a:lnTo>
                        <a:pt x="306" y="2"/>
                      </a:lnTo>
                      <a:lnTo>
                        <a:pt x="274" y="23"/>
                      </a:lnTo>
                      <a:lnTo>
                        <a:pt x="248" y="0"/>
                      </a:lnTo>
                      <a:lnTo>
                        <a:pt x="229" y="32"/>
                      </a:lnTo>
                      <a:lnTo>
                        <a:pt x="172" y="12"/>
                      </a:lnTo>
                      <a:lnTo>
                        <a:pt x="112" y="25"/>
                      </a:lnTo>
                      <a:lnTo>
                        <a:pt x="93" y="55"/>
                      </a:lnTo>
                      <a:lnTo>
                        <a:pt x="78" y="125"/>
                      </a:lnTo>
                      <a:lnTo>
                        <a:pt x="49" y="112"/>
                      </a:lnTo>
                      <a:lnTo>
                        <a:pt x="0" y="129"/>
                      </a:lnTo>
                      <a:lnTo>
                        <a:pt x="0" y="136"/>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27" name="17">
                  <a:extLst>
                    <a:ext uri="{FF2B5EF4-FFF2-40B4-BE49-F238E27FC236}">
                      <a16:creationId xmlns:a16="http://schemas.microsoft.com/office/drawing/2014/main" id="{92B0AE07-625C-4692-B114-F47C2F450A2A}"/>
                    </a:ext>
                  </a:extLst>
                </p:cNvPr>
                <p:cNvSpPr>
                  <a:spLocks/>
                </p:cNvSpPr>
                <p:nvPr/>
              </p:nvSpPr>
              <p:spPr bwMode="gray">
                <a:xfrm>
                  <a:off x="5172130" y="3929491"/>
                  <a:ext cx="446960" cy="676171"/>
                </a:xfrm>
                <a:custGeom>
                  <a:avLst/>
                  <a:gdLst>
                    <a:gd name="T0" fmla="*/ 2 w 312"/>
                    <a:gd name="T1" fmla="*/ 204 h 472"/>
                    <a:gd name="T2" fmla="*/ 32 w 312"/>
                    <a:gd name="T3" fmla="*/ 208 h 472"/>
                    <a:gd name="T4" fmla="*/ 23 w 312"/>
                    <a:gd name="T5" fmla="*/ 187 h 472"/>
                    <a:gd name="T6" fmla="*/ 44 w 312"/>
                    <a:gd name="T7" fmla="*/ 174 h 472"/>
                    <a:gd name="T8" fmla="*/ 42 w 312"/>
                    <a:gd name="T9" fmla="*/ 134 h 472"/>
                    <a:gd name="T10" fmla="*/ 57 w 312"/>
                    <a:gd name="T11" fmla="*/ 132 h 472"/>
                    <a:gd name="T12" fmla="*/ 15 w 312"/>
                    <a:gd name="T13" fmla="*/ 70 h 472"/>
                    <a:gd name="T14" fmla="*/ 42 w 312"/>
                    <a:gd name="T15" fmla="*/ 17 h 472"/>
                    <a:gd name="T16" fmla="*/ 93 w 312"/>
                    <a:gd name="T17" fmla="*/ 0 h 472"/>
                    <a:gd name="T18" fmla="*/ 91 w 312"/>
                    <a:gd name="T19" fmla="*/ 19 h 472"/>
                    <a:gd name="T20" fmla="*/ 117 w 312"/>
                    <a:gd name="T21" fmla="*/ 10 h 472"/>
                    <a:gd name="T22" fmla="*/ 138 w 312"/>
                    <a:gd name="T23" fmla="*/ 25 h 472"/>
                    <a:gd name="T24" fmla="*/ 165 w 312"/>
                    <a:gd name="T25" fmla="*/ 87 h 472"/>
                    <a:gd name="T26" fmla="*/ 251 w 312"/>
                    <a:gd name="T27" fmla="*/ 110 h 472"/>
                    <a:gd name="T28" fmla="*/ 295 w 312"/>
                    <a:gd name="T29" fmla="*/ 155 h 472"/>
                    <a:gd name="T30" fmla="*/ 280 w 312"/>
                    <a:gd name="T31" fmla="*/ 225 h 472"/>
                    <a:gd name="T32" fmla="*/ 251 w 312"/>
                    <a:gd name="T33" fmla="*/ 212 h 472"/>
                    <a:gd name="T34" fmla="*/ 202 w 312"/>
                    <a:gd name="T35" fmla="*/ 229 h 472"/>
                    <a:gd name="T36" fmla="*/ 202 w 312"/>
                    <a:gd name="T37" fmla="*/ 236 h 472"/>
                    <a:gd name="T38" fmla="*/ 221 w 312"/>
                    <a:gd name="T39" fmla="*/ 268 h 472"/>
                    <a:gd name="T40" fmla="*/ 208 w 312"/>
                    <a:gd name="T41" fmla="*/ 278 h 472"/>
                    <a:gd name="T42" fmla="*/ 253 w 312"/>
                    <a:gd name="T43" fmla="*/ 327 h 472"/>
                    <a:gd name="T44" fmla="*/ 240 w 312"/>
                    <a:gd name="T45" fmla="*/ 395 h 472"/>
                    <a:gd name="T46" fmla="*/ 280 w 312"/>
                    <a:gd name="T47" fmla="*/ 402 h 472"/>
                    <a:gd name="T48" fmla="*/ 280 w 312"/>
                    <a:gd name="T49" fmla="*/ 421 h 472"/>
                    <a:gd name="T50" fmla="*/ 312 w 312"/>
                    <a:gd name="T51" fmla="*/ 438 h 472"/>
                    <a:gd name="T52" fmla="*/ 299 w 312"/>
                    <a:gd name="T53" fmla="*/ 472 h 472"/>
                    <a:gd name="T54" fmla="*/ 210 w 312"/>
                    <a:gd name="T55" fmla="*/ 450 h 472"/>
                    <a:gd name="T56" fmla="*/ 204 w 312"/>
                    <a:gd name="T57" fmla="*/ 406 h 472"/>
                    <a:gd name="T58" fmla="*/ 165 w 312"/>
                    <a:gd name="T59" fmla="*/ 395 h 472"/>
                    <a:gd name="T60" fmla="*/ 163 w 312"/>
                    <a:gd name="T61" fmla="*/ 378 h 472"/>
                    <a:gd name="T62" fmla="*/ 129 w 312"/>
                    <a:gd name="T63" fmla="*/ 382 h 472"/>
                    <a:gd name="T64" fmla="*/ 108 w 312"/>
                    <a:gd name="T65" fmla="*/ 325 h 472"/>
                    <a:gd name="T66" fmla="*/ 0 w 312"/>
                    <a:gd name="T67" fmla="*/ 236 h 472"/>
                    <a:gd name="T68" fmla="*/ 2 w 312"/>
                    <a:gd name="T69" fmla="*/ 204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2" h="472">
                      <a:moveTo>
                        <a:pt x="2" y="204"/>
                      </a:moveTo>
                      <a:lnTo>
                        <a:pt x="32" y="208"/>
                      </a:lnTo>
                      <a:lnTo>
                        <a:pt x="23" y="187"/>
                      </a:lnTo>
                      <a:lnTo>
                        <a:pt x="44" y="174"/>
                      </a:lnTo>
                      <a:lnTo>
                        <a:pt x="42" y="134"/>
                      </a:lnTo>
                      <a:lnTo>
                        <a:pt x="57" y="132"/>
                      </a:lnTo>
                      <a:lnTo>
                        <a:pt x="15" y="70"/>
                      </a:lnTo>
                      <a:lnTo>
                        <a:pt x="42" y="17"/>
                      </a:lnTo>
                      <a:lnTo>
                        <a:pt x="93" y="0"/>
                      </a:lnTo>
                      <a:lnTo>
                        <a:pt x="91" y="19"/>
                      </a:lnTo>
                      <a:lnTo>
                        <a:pt x="117" y="10"/>
                      </a:lnTo>
                      <a:lnTo>
                        <a:pt x="138" y="25"/>
                      </a:lnTo>
                      <a:lnTo>
                        <a:pt x="165" y="87"/>
                      </a:lnTo>
                      <a:lnTo>
                        <a:pt x="251" y="110"/>
                      </a:lnTo>
                      <a:lnTo>
                        <a:pt x="295" y="155"/>
                      </a:lnTo>
                      <a:lnTo>
                        <a:pt x="280" y="225"/>
                      </a:lnTo>
                      <a:lnTo>
                        <a:pt x="251" y="212"/>
                      </a:lnTo>
                      <a:lnTo>
                        <a:pt x="202" y="229"/>
                      </a:lnTo>
                      <a:lnTo>
                        <a:pt x="202" y="236"/>
                      </a:lnTo>
                      <a:lnTo>
                        <a:pt x="221" y="268"/>
                      </a:lnTo>
                      <a:lnTo>
                        <a:pt x="208" y="278"/>
                      </a:lnTo>
                      <a:lnTo>
                        <a:pt x="253" y="327"/>
                      </a:lnTo>
                      <a:lnTo>
                        <a:pt x="240" y="395"/>
                      </a:lnTo>
                      <a:lnTo>
                        <a:pt x="280" y="402"/>
                      </a:lnTo>
                      <a:lnTo>
                        <a:pt x="280" y="421"/>
                      </a:lnTo>
                      <a:lnTo>
                        <a:pt x="312" y="438"/>
                      </a:lnTo>
                      <a:lnTo>
                        <a:pt x="299" y="472"/>
                      </a:lnTo>
                      <a:lnTo>
                        <a:pt x="210" y="450"/>
                      </a:lnTo>
                      <a:lnTo>
                        <a:pt x="204" y="406"/>
                      </a:lnTo>
                      <a:lnTo>
                        <a:pt x="165" y="395"/>
                      </a:lnTo>
                      <a:lnTo>
                        <a:pt x="163" y="378"/>
                      </a:lnTo>
                      <a:lnTo>
                        <a:pt x="129" y="382"/>
                      </a:lnTo>
                      <a:lnTo>
                        <a:pt x="108" y="325"/>
                      </a:lnTo>
                      <a:lnTo>
                        <a:pt x="0" y="236"/>
                      </a:lnTo>
                      <a:lnTo>
                        <a:pt x="2" y="204"/>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grpSp>
          <p:grpSp>
            <p:nvGrpSpPr>
              <p:cNvPr id="214" name="Limousin (Formes)">
                <a:extLst>
                  <a:ext uri="{FF2B5EF4-FFF2-40B4-BE49-F238E27FC236}">
                    <a16:creationId xmlns:a16="http://schemas.microsoft.com/office/drawing/2014/main" id="{802F4AA3-1B7B-48A2-AC62-BA1D337CBE8E}"/>
                  </a:ext>
                </a:extLst>
              </p:cNvPr>
              <p:cNvGrpSpPr/>
              <p:nvPr/>
            </p:nvGrpSpPr>
            <p:grpSpPr>
              <a:xfrm>
                <a:off x="5859761" y="3919463"/>
                <a:ext cx="724878" cy="802237"/>
                <a:chOff x="5859761" y="3919463"/>
                <a:chExt cx="724878" cy="802237"/>
              </a:xfrm>
              <a:grpFill/>
            </p:grpSpPr>
            <p:sp>
              <p:nvSpPr>
                <p:cNvPr id="221" name="19">
                  <a:extLst>
                    <a:ext uri="{FF2B5EF4-FFF2-40B4-BE49-F238E27FC236}">
                      <a16:creationId xmlns:a16="http://schemas.microsoft.com/office/drawing/2014/main" id="{7A623049-6952-46BB-B714-6F6EB46FFD4B}"/>
                    </a:ext>
                  </a:extLst>
                </p:cNvPr>
                <p:cNvSpPr>
                  <a:spLocks/>
                </p:cNvSpPr>
                <p:nvPr/>
              </p:nvSpPr>
              <p:spPr bwMode="gray">
                <a:xfrm>
                  <a:off x="6070349" y="4286200"/>
                  <a:ext cx="477045" cy="435500"/>
                </a:xfrm>
                <a:custGeom>
                  <a:avLst/>
                  <a:gdLst>
                    <a:gd name="T0" fmla="*/ 2 w 333"/>
                    <a:gd name="T1" fmla="*/ 201 h 304"/>
                    <a:gd name="T2" fmla="*/ 47 w 333"/>
                    <a:gd name="T3" fmla="*/ 229 h 304"/>
                    <a:gd name="T4" fmla="*/ 38 w 333"/>
                    <a:gd name="T5" fmla="*/ 238 h 304"/>
                    <a:gd name="T6" fmla="*/ 55 w 333"/>
                    <a:gd name="T7" fmla="*/ 267 h 304"/>
                    <a:gd name="T8" fmla="*/ 102 w 333"/>
                    <a:gd name="T9" fmla="*/ 263 h 304"/>
                    <a:gd name="T10" fmla="*/ 138 w 333"/>
                    <a:gd name="T11" fmla="*/ 304 h 304"/>
                    <a:gd name="T12" fmla="*/ 214 w 333"/>
                    <a:gd name="T13" fmla="*/ 287 h 304"/>
                    <a:gd name="T14" fmla="*/ 234 w 333"/>
                    <a:gd name="T15" fmla="*/ 284 h 304"/>
                    <a:gd name="T16" fmla="*/ 223 w 333"/>
                    <a:gd name="T17" fmla="*/ 259 h 304"/>
                    <a:gd name="T18" fmla="*/ 242 w 333"/>
                    <a:gd name="T19" fmla="*/ 248 h 304"/>
                    <a:gd name="T20" fmla="*/ 259 w 333"/>
                    <a:gd name="T21" fmla="*/ 216 h 304"/>
                    <a:gd name="T22" fmla="*/ 251 w 333"/>
                    <a:gd name="T23" fmla="*/ 197 h 304"/>
                    <a:gd name="T24" fmla="*/ 291 w 333"/>
                    <a:gd name="T25" fmla="*/ 155 h 304"/>
                    <a:gd name="T26" fmla="*/ 291 w 333"/>
                    <a:gd name="T27" fmla="*/ 129 h 304"/>
                    <a:gd name="T28" fmla="*/ 333 w 333"/>
                    <a:gd name="T29" fmla="*/ 140 h 304"/>
                    <a:gd name="T30" fmla="*/ 331 w 333"/>
                    <a:gd name="T31" fmla="*/ 104 h 304"/>
                    <a:gd name="T32" fmla="*/ 327 w 333"/>
                    <a:gd name="T33" fmla="*/ 10 h 304"/>
                    <a:gd name="T34" fmla="*/ 270 w 333"/>
                    <a:gd name="T35" fmla="*/ 36 h 304"/>
                    <a:gd name="T36" fmla="*/ 214 w 333"/>
                    <a:gd name="T37" fmla="*/ 0 h 304"/>
                    <a:gd name="T38" fmla="*/ 176 w 333"/>
                    <a:gd name="T39" fmla="*/ 21 h 304"/>
                    <a:gd name="T40" fmla="*/ 10 w 333"/>
                    <a:gd name="T41" fmla="*/ 110 h 304"/>
                    <a:gd name="T42" fmla="*/ 27 w 333"/>
                    <a:gd name="T43" fmla="*/ 133 h 304"/>
                    <a:gd name="T44" fmla="*/ 4 w 333"/>
                    <a:gd name="T45" fmla="*/ 157 h 304"/>
                    <a:gd name="T46" fmla="*/ 15 w 333"/>
                    <a:gd name="T47" fmla="*/ 184 h 304"/>
                    <a:gd name="T48" fmla="*/ 0 w 333"/>
                    <a:gd name="T49" fmla="*/ 195 h 304"/>
                    <a:gd name="T50" fmla="*/ 2 w 333"/>
                    <a:gd name="T51" fmla="*/ 201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3" h="304">
                      <a:moveTo>
                        <a:pt x="2" y="201"/>
                      </a:moveTo>
                      <a:lnTo>
                        <a:pt x="47" y="229"/>
                      </a:lnTo>
                      <a:lnTo>
                        <a:pt x="38" y="238"/>
                      </a:lnTo>
                      <a:lnTo>
                        <a:pt x="55" y="267"/>
                      </a:lnTo>
                      <a:lnTo>
                        <a:pt x="102" y="263"/>
                      </a:lnTo>
                      <a:lnTo>
                        <a:pt x="138" y="304"/>
                      </a:lnTo>
                      <a:lnTo>
                        <a:pt x="214" y="287"/>
                      </a:lnTo>
                      <a:lnTo>
                        <a:pt x="234" y="284"/>
                      </a:lnTo>
                      <a:lnTo>
                        <a:pt x="223" y="259"/>
                      </a:lnTo>
                      <a:lnTo>
                        <a:pt x="242" y="248"/>
                      </a:lnTo>
                      <a:lnTo>
                        <a:pt x="259" y="216"/>
                      </a:lnTo>
                      <a:lnTo>
                        <a:pt x="251" y="197"/>
                      </a:lnTo>
                      <a:lnTo>
                        <a:pt x="291" y="155"/>
                      </a:lnTo>
                      <a:lnTo>
                        <a:pt x="291" y="129"/>
                      </a:lnTo>
                      <a:lnTo>
                        <a:pt x="333" y="140"/>
                      </a:lnTo>
                      <a:lnTo>
                        <a:pt x="331" y="104"/>
                      </a:lnTo>
                      <a:lnTo>
                        <a:pt x="327" y="10"/>
                      </a:lnTo>
                      <a:lnTo>
                        <a:pt x="270" y="36"/>
                      </a:lnTo>
                      <a:lnTo>
                        <a:pt x="214" y="0"/>
                      </a:lnTo>
                      <a:lnTo>
                        <a:pt x="176" y="21"/>
                      </a:lnTo>
                      <a:lnTo>
                        <a:pt x="10" y="110"/>
                      </a:lnTo>
                      <a:lnTo>
                        <a:pt x="27" y="133"/>
                      </a:lnTo>
                      <a:lnTo>
                        <a:pt x="4" y="157"/>
                      </a:lnTo>
                      <a:lnTo>
                        <a:pt x="15" y="184"/>
                      </a:lnTo>
                      <a:lnTo>
                        <a:pt x="0" y="195"/>
                      </a:lnTo>
                      <a:lnTo>
                        <a:pt x="2" y="201"/>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22" name="23">
                  <a:extLst>
                    <a:ext uri="{FF2B5EF4-FFF2-40B4-BE49-F238E27FC236}">
                      <a16:creationId xmlns:a16="http://schemas.microsoft.com/office/drawing/2014/main" id="{941C1375-BC14-4319-9C53-7E30DB149F89}"/>
                    </a:ext>
                  </a:extLst>
                </p:cNvPr>
                <p:cNvSpPr>
                  <a:spLocks/>
                </p:cNvSpPr>
                <p:nvPr/>
              </p:nvSpPr>
              <p:spPr bwMode="gray">
                <a:xfrm>
                  <a:off x="6140544" y="3919463"/>
                  <a:ext cx="444095" cy="418309"/>
                </a:xfrm>
                <a:custGeom>
                  <a:avLst/>
                  <a:gdLst>
                    <a:gd name="T0" fmla="*/ 2 w 310"/>
                    <a:gd name="T1" fmla="*/ 92 h 292"/>
                    <a:gd name="T2" fmla="*/ 27 w 310"/>
                    <a:gd name="T3" fmla="*/ 113 h 292"/>
                    <a:gd name="T4" fmla="*/ 46 w 310"/>
                    <a:gd name="T5" fmla="*/ 170 h 292"/>
                    <a:gd name="T6" fmla="*/ 27 w 310"/>
                    <a:gd name="T7" fmla="*/ 187 h 292"/>
                    <a:gd name="T8" fmla="*/ 61 w 310"/>
                    <a:gd name="T9" fmla="*/ 194 h 292"/>
                    <a:gd name="T10" fmla="*/ 57 w 310"/>
                    <a:gd name="T11" fmla="*/ 221 h 292"/>
                    <a:gd name="T12" fmla="*/ 95 w 310"/>
                    <a:gd name="T13" fmla="*/ 215 h 292"/>
                    <a:gd name="T14" fmla="*/ 123 w 310"/>
                    <a:gd name="T15" fmla="*/ 243 h 292"/>
                    <a:gd name="T16" fmla="*/ 127 w 310"/>
                    <a:gd name="T17" fmla="*/ 277 h 292"/>
                    <a:gd name="T18" fmla="*/ 165 w 310"/>
                    <a:gd name="T19" fmla="*/ 256 h 292"/>
                    <a:gd name="T20" fmla="*/ 221 w 310"/>
                    <a:gd name="T21" fmla="*/ 292 h 292"/>
                    <a:gd name="T22" fmla="*/ 278 w 310"/>
                    <a:gd name="T23" fmla="*/ 266 h 292"/>
                    <a:gd name="T24" fmla="*/ 253 w 310"/>
                    <a:gd name="T25" fmla="*/ 232 h 292"/>
                    <a:gd name="T26" fmla="*/ 257 w 310"/>
                    <a:gd name="T27" fmla="*/ 228 h 292"/>
                    <a:gd name="T28" fmla="*/ 310 w 310"/>
                    <a:gd name="T29" fmla="*/ 179 h 292"/>
                    <a:gd name="T30" fmla="*/ 299 w 310"/>
                    <a:gd name="T31" fmla="*/ 119 h 292"/>
                    <a:gd name="T32" fmla="*/ 278 w 310"/>
                    <a:gd name="T33" fmla="*/ 68 h 292"/>
                    <a:gd name="T34" fmla="*/ 233 w 310"/>
                    <a:gd name="T35" fmla="*/ 43 h 292"/>
                    <a:gd name="T36" fmla="*/ 229 w 310"/>
                    <a:gd name="T37" fmla="*/ 17 h 292"/>
                    <a:gd name="T38" fmla="*/ 225 w 310"/>
                    <a:gd name="T39" fmla="*/ 15 h 292"/>
                    <a:gd name="T40" fmla="*/ 199 w 310"/>
                    <a:gd name="T41" fmla="*/ 13 h 292"/>
                    <a:gd name="T42" fmla="*/ 106 w 310"/>
                    <a:gd name="T43" fmla="*/ 0 h 292"/>
                    <a:gd name="T44" fmla="*/ 87 w 310"/>
                    <a:gd name="T45" fmla="*/ 24 h 292"/>
                    <a:gd name="T46" fmla="*/ 38 w 310"/>
                    <a:gd name="T47" fmla="*/ 9 h 292"/>
                    <a:gd name="T48" fmla="*/ 12 w 310"/>
                    <a:gd name="T49" fmla="*/ 37 h 292"/>
                    <a:gd name="T50" fmla="*/ 15 w 310"/>
                    <a:gd name="T51" fmla="*/ 66 h 292"/>
                    <a:gd name="T52" fmla="*/ 0 w 310"/>
                    <a:gd name="T53" fmla="*/ 85 h 292"/>
                    <a:gd name="T54" fmla="*/ 2 w 310"/>
                    <a:gd name="T55" fmla="*/ 9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0" h="292">
                      <a:moveTo>
                        <a:pt x="2" y="92"/>
                      </a:moveTo>
                      <a:lnTo>
                        <a:pt x="27" y="113"/>
                      </a:lnTo>
                      <a:lnTo>
                        <a:pt x="46" y="170"/>
                      </a:lnTo>
                      <a:lnTo>
                        <a:pt x="27" y="187"/>
                      </a:lnTo>
                      <a:lnTo>
                        <a:pt x="61" y="194"/>
                      </a:lnTo>
                      <a:lnTo>
                        <a:pt x="57" y="221"/>
                      </a:lnTo>
                      <a:lnTo>
                        <a:pt x="95" y="215"/>
                      </a:lnTo>
                      <a:lnTo>
                        <a:pt x="123" y="243"/>
                      </a:lnTo>
                      <a:lnTo>
                        <a:pt x="127" y="277"/>
                      </a:lnTo>
                      <a:lnTo>
                        <a:pt x="165" y="256"/>
                      </a:lnTo>
                      <a:lnTo>
                        <a:pt x="221" y="292"/>
                      </a:lnTo>
                      <a:lnTo>
                        <a:pt x="278" y="266"/>
                      </a:lnTo>
                      <a:lnTo>
                        <a:pt x="253" y="232"/>
                      </a:lnTo>
                      <a:lnTo>
                        <a:pt x="257" y="228"/>
                      </a:lnTo>
                      <a:lnTo>
                        <a:pt x="310" y="179"/>
                      </a:lnTo>
                      <a:lnTo>
                        <a:pt x="299" y="119"/>
                      </a:lnTo>
                      <a:lnTo>
                        <a:pt x="278" y="68"/>
                      </a:lnTo>
                      <a:lnTo>
                        <a:pt x="233" y="43"/>
                      </a:lnTo>
                      <a:lnTo>
                        <a:pt x="229" y="17"/>
                      </a:lnTo>
                      <a:lnTo>
                        <a:pt x="225" y="15"/>
                      </a:lnTo>
                      <a:lnTo>
                        <a:pt x="199" y="13"/>
                      </a:lnTo>
                      <a:lnTo>
                        <a:pt x="106" y="0"/>
                      </a:lnTo>
                      <a:lnTo>
                        <a:pt x="87" y="24"/>
                      </a:lnTo>
                      <a:lnTo>
                        <a:pt x="38" y="9"/>
                      </a:lnTo>
                      <a:lnTo>
                        <a:pt x="12" y="37"/>
                      </a:lnTo>
                      <a:lnTo>
                        <a:pt x="15" y="66"/>
                      </a:lnTo>
                      <a:lnTo>
                        <a:pt x="0" y="85"/>
                      </a:lnTo>
                      <a:lnTo>
                        <a:pt x="2" y="92"/>
                      </a:lnTo>
                    </a:path>
                  </a:pathLst>
                </a:custGeom>
                <a:solidFill>
                  <a:schemeClr val="bg2">
                    <a:lumMod val="75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23" name="87">
                  <a:extLst>
                    <a:ext uri="{FF2B5EF4-FFF2-40B4-BE49-F238E27FC236}">
                      <a16:creationId xmlns:a16="http://schemas.microsoft.com/office/drawing/2014/main" id="{38796014-B420-4CDF-A00D-DDFB63DF1126}"/>
                    </a:ext>
                  </a:extLst>
                </p:cNvPr>
                <p:cNvSpPr>
                  <a:spLocks/>
                </p:cNvSpPr>
                <p:nvPr/>
              </p:nvSpPr>
              <p:spPr bwMode="gray">
                <a:xfrm>
                  <a:off x="5859761" y="3943817"/>
                  <a:ext cx="462719" cy="499965"/>
                </a:xfrm>
                <a:custGeom>
                  <a:avLst/>
                  <a:gdLst>
                    <a:gd name="T0" fmla="*/ 6 w 323"/>
                    <a:gd name="T1" fmla="*/ 243 h 349"/>
                    <a:gd name="T2" fmla="*/ 23 w 323"/>
                    <a:gd name="T3" fmla="*/ 213 h 349"/>
                    <a:gd name="T4" fmla="*/ 40 w 323"/>
                    <a:gd name="T5" fmla="*/ 217 h 349"/>
                    <a:gd name="T6" fmla="*/ 49 w 323"/>
                    <a:gd name="T7" fmla="*/ 168 h 349"/>
                    <a:gd name="T8" fmla="*/ 83 w 323"/>
                    <a:gd name="T9" fmla="*/ 153 h 349"/>
                    <a:gd name="T10" fmla="*/ 51 w 323"/>
                    <a:gd name="T11" fmla="*/ 124 h 349"/>
                    <a:gd name="T12" fmla="*/ 55 w 323"/>
                    <a:gd name="T13" fmla="*/ 96 h 349"/>
                    <a:gd name="T14" fmla="*/ 53 w 323"/>
                    <a:gd name="T15" fmla="*/ 60 h 349"/>
                    <a:gd name="T16" fmla="*/ 147 w 323"/>
                    <a:gd name="T17" fmla="*/ 5 h 349"/>
                    <a:gd name="T18" fmla="*/ 191 w 323"/>
                    <a:gd name="T19" fmla="*/ 0 h 349"/>
                    <a:gd name="T20" fmla="*/ 208 w 323"/>
                    <a:gd name="T21" fmla="*/ 20 h 349"/>
                    <a:gd name="T22" fmla="*/ 211 w 323"/>
                    <a:gd name="T23" fmla="*/ 49 h 349"/>
                    <a:gd name="T24" fmla="*/ 196 w 323"/>
                    <a:gd name="T25" fmla="*/ 68 h 349"/>
                    <a:gd name="T26" fmla="*/ 198 w 323"/>
                    <a:gd name="T27" fmla="*/ 75 h 349"/>
                    <a:gd name="T28" fmla="*/ 223 w 323"/>
                    <a:gd name="T29" fmla="*/ 96 h 349"/>
                    <a:gd name="T30" fmla="*/ 242 w 323"/>
                    <a:gd name="T31" fmla="*/ 153 h 349"/>
                    <a:gd name="T32" fmla="*/ 223 w 323"/>
                    <a:gd name="T33" fmla="*/ 170 h 349"/>
                    <a:gd name="T34" fmla="*/ 257 w 323"/>
                    <a:gd name="T35" fmla="*/ 177 h 349"/>
                    <a:gd name="T36" fmla="*/ 253 w 323"/>
                    <a:gd name="T37" fmla="*/ 204 h 349"/>
                    <a:gd name="T38" fmla="*/ 291 w 323"/>
                    <a:gd name="T39" fmla="*/ 198 h 349"/>
                    <a:gd name="T40" fmla="*/ 319 w 323"/>
                    <a:gd name="T41" fmla="*/ 226 h 349"/>
                    <a:gd name="T42" fmla="*/ 323 w 323"/>
                    <a:gd name="T43" fmla="*/ 260 h 349"/>
                    <a:gd name="T44" fmla="*/ 157 w 323"/>
                    <a:gd name="T45" fmla="*/ 349 h 349"/>
                    <a:gd name="T46" fmla="*/ 121 w 323"/>
                    <a:gd name="T47" fmla="*/ 334 h 349"/>
                    <a:gd name="T48" fmla="*/ 136 w 323"/>
                    <a:gd name="T49" fmla="*/ 319 h 349"/>
                    <a:gd name="T50" fmla="*/ 115 w 323"/>
                    <a:gd name="T51" fmla="*/ 315 h 349"/>
                    <a:gd name="T52" fmla="*/ 100 w 323"/>
                    <a:gd name="T53" fmla="*/ 287 h 349"/>
                    <a:gd name="T54" fmla="*/ 60 w 323"/>
                    <a:gd name="T55" fmla="*/ 283 h 349"/>
                    <a:gd name="T56" fmla="*/ 45 w 323"/>
                    <a:gd name="T57" fmla="*/ 298 h 349"/>
                    <a:gd name="T58" fmla="*/ 28 w 323"/>
                    <a:gd name="T59" fmla="*/ 258 h 349"/>
                    <a:gd name="T60" fmla="*/ 0 w 323"/>
                    <a:gd name="T61" fmla="*/ 247 h 349"/>
                    <a:gd name="T62" fmla="*/ 6 w 323"/>
                    <a:gd name="T63" fmla="*/ 243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3" h="349">
                      <a:moveTo>
                        <a:pt x="6" y="243"/>
                      </a:moveTo>
                      <a:lnTo>
                        <a:pt x="23" y="213"/>
                      </a:lnTo>
                      <a:lnTo>
                        <a:pt x="40" y="217"/>
                      </a:lnTo>
                      <a:lnTo>
                        <a:pt x="49" y="168"/>
                      </a:lnTo>
                      <a:lnTo>
                        <a:pt x="83" y="153"/>
                      </a:lnTo>
                      <a:lnTo>
                        <a:pt x="51" y="124"/>
                      </a:lnTo>
                      <a:lnTo>
                        <a:pt x="55" y="96"/>
                      </a:lnTo>
                      <a:lnTo>
                        <a:pt x="53" y="60"/>
                      </a:lnTo>
                      <a:lnTo>
                        <a:pt x="147" y="5"/>
                      </a:lnTo>
                      <a:lnTo>
                        <a:pt x="191" y="0"/>
                      </a:lnTo>
                      <a:lnTo>
                        <a:pt x="208" y="20"/>
                      </a:lnTo>
                      <a:lnTo>
                        <a:pt x="211" y="49"/>
                      </a:lnTo>
                      <a:lnTo>
                        <a:pt x="196" y="68"/>
                      </a:lnTo>
                      <a:lnTo>
                        <a:pt x="198" y="75"/>
                      </a:lnTo>
                      <a:lnTo>
                        <a:pt x="223" y="96"/>
                      </a:lnTo>
                      <a:lnTo>
                        <a:pt x="242" y="153"/>
                      </a:lnTo>
                      <a:lnTo>
                        <a:pt x="223" y="170"/>
                      </a:lnTo>
                      <a:lnTo>
                        <a:pt x="257" y="177"/>
                      </a:lnTo>
                      <a:lnTo>
                        <a:pt x="253" y="204"/>
                      </a:lnTo>
                      <a:lnTo>
                        <a:pt x="291" y="198"/>
                      </a:lnTo>
                      <a:lnTo>
                        <a:pt x="319" y="226"/>
                      </a:lnTo>
                      <a:lnTo>
                        <a:pt x="323" y="260"/>
                      </a:lnTo>
                      <a:lnTo>
                        <a:pt x="157" y="349"/>
                      </a:lnTo>
                      <a:lnTo>
                        <a:pt x="121" y="334"/>
                      </a:lnTo>
                      <a:lnTo>
                        <a:pt x="136" y="319"/>
                      </a:lnTo>
                      <a:lnTo>
                        <a:pt x="115" y="315"/>
                      </a:lnTo>
                      <a:lnTo>
                        <a:pt x="100" y="287"/>
                      </a:lnTo>
                      <a:lnTo>
                        <a:pt x="60" y="283"/>
                      </a:lnTo>
                      <a:lnTo>
                        <a:pt x="45" y="298"/>
                      </a:lnTo>
                      <a:lnTo>
                        <a:pt x="28" y="258"/>
                      </a:lnTo>
                      <a:lnTo>
                        <a:pt x="0" y="247"/>
                      </a:lnTo>
                      <a:lnTo>
                        <a:pt x="6" y="243"/>
                      </a:lnTo>
                    </a:path>
                  </a:pathLst>
                </a:custGeom>
                <a:solidFill>
                  <a:schemeClr val="bg2">
                    <a:lumMod val="75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grpSp>
          <p:grpSp>
            <p:nvGrpSpPr>
              <p:cNvPr id="215" name="Aquitaine (Formes)">
                <a:extLst>
                  <a:ext uri="{FF2B5EF4-FFF2-40B4-BE49-F238E27FC236}">
                    <a16:creationId xmlns:a16="http://schemas.microsoft.com/office/drawing/2014/main" id="{49F858A7-E595-4C01-944B-1E65ACCCE596}"/>
                  </a:ext>
                </a:extLst>
              </p:cNvPr>
              <p:cNvGrpSpPr/>
              <p:nvPr/>
            </p:nvGrpSpPr>
            <p:grpSpPr>
              <a:xfrm>
                <a:off x="4894213" y="4296945"/>
                <a:ext cx="1254327" cy="1512072"/>
                <a:chOff x="4894213" y="4296945"/>
                <a:chExt cx="1254327" cy="1512072"/>
              </a:xfrm>
              <a:grpFill/>
            </p:grpSpPr>
            <p:sp>
              <p:nvSpPr>
                <p:cNvPr id="216" name="64">
                  <a:extLst>
                    <a:ext uri="{FF2B5EF4-FFF2-40B4-BE49-F238E27FC236}">
                      <a16:creationId xmlns:a16="http://schemas.microsoft.com/office/drawing/2014/main" id="{B37F6D9A-53C6-418B-8D18-9EFC228ACB36}"/>
                    </a:ext>
                  </a:extLst>
                </p:cNvPr>
                <p:cNvSpPr>
                  <a:spLocks/>
                </p:cNvSpPr>
                <p:nvPr/>
              </p:nvSpPr>
              <p:spPr bwMode="gray">
                <a:xfrm>
                  <a:off x="4894213" y="5390708"/>
                  <a:ext cx="691929" cy="418309"/>
                </a:xfrm>
                <a:custGeom>
                  <a:avLst/>
                  <a:gdLst>
                    <a:gd name="T0" fmla="*/ 15 w 483"/>
                    <a:gd name="T1" fmla="*/ 87 h 292"/>
                    <a:gd name="T2" fmla="*/ 41 w 483"/>
                    <a:gd name="T3" fmla="*/ 87 h 292"/>
                    <a:gd name="T4" fmla="*/ 45 w 483"/>
                    <a:gd name="T5" fmla="*/ 104 h 292"/>
                    <a:gd name="T6" fmla="*/ 66 w 483"/>
                    <a:gd name="T7" fmla="*/ 92 h 292"/>
                    <a:gd name="T8" fmla="*/ 100 w 483"/>
                    <a:gd name="T9" fmla="*/ 104 h 292"/>
                    <a:gd name="T10" fmla="*/ 96 w 483"/>
                    <a:gd name="T11" fmla="*/ 147 h 292"/>
                    <a:gd name="T12" fmla="*/ 77 w 483"/>
                    <a:gd name="T13" fmla="*/ 166 h 292"/>
                    <a:gd name="T14" fmla="*/ 85 w 483"/>
                    <a:gd name="T15" fmla="*/ 183 h 292"/>
                    <a:gd name="T16" fmla="*/ 109 w 483"/>
                    <a:gd name="T17" fmla="*/ 192 h 292"/>
                    <a:gd name="T18" fmla="*/ 115 w 483"/>
                    <a:gd name="T19" fmla="*/ 164 h 292"/>
                    <a:gd name="T20" fmla="*/ 130 w 483"/>
                    <a:gd name="T21" fmla="*/ 164 h 292"/>
                    <a:gd name="T22" fmla="*/ 132 w 483"/>
                    <a:gd name="T23" fmla="*/ 189 h 292"/>
                    <a:gd name="T24" fmla="*/ 211 w 483"/>
                    <a:gd name="T25" fmla="*/ 223 h 292"/>
                    <a:gd name="T26" fmla="*/ 268 w 483"/>
                    <a:gd name="T27" fmla="*/ 226 h 292"/>
                    <a:gd name="T28" fmla="*/ 311 w 483"/>
                    <a:gd name="T29" fmla="*/ 292 h 292"/>
                    <a:gd name="T30" fmla="*/ 332 w 483"/>
                    <a:gd name="T31" fmla="*/ 279 h 292"/>
                    <a:gd name="T32" fmla="*/ 383 w 483"/>
                    <a:gd name="T33" fmla="*/ 274 h 292"/>
                    <a:gd name="T34" fmla="*/ 381 w 483"/>
                    <a:gd name="T35" fmla="*/ 249 h 292"/>
                    <a:gd name="T36" fmla="*/ 483 w 483"/>
                    <a:gd name="T37" fmla="*/ 98 h 292"/>
                    <a:gd name="T38" fmla="*/ 476 w 483"/>
                    <a:gd name="T39" fmla="*/ 60 h 292"/>
                    <a:gd name="T40" fmla="*/ 459 w 483"/>
                    <a:gd name="T41" fmla="*/ 70 h 292"/>
                    <a:gd name="T42" fmla="*/ 472 w 483"/>
                    <a:gd name="T43" fmla="*/ 49 h 292"/>
                    <a:gd name="T44" fmla="*/ 453 w 483"/>
                    <a:gd name="T45" fmla="*/ 9 h 292"/>
                    <a:gd name="T46" fmla="*/ 417 w 483"/>
                    <a:gd name="T47" fmla="*/ 4 h 292"/>
                    <a:gd name="T48" fmla="*/ 362 w 483"/>
                    <a:gd name="T49" fmla="*/ 15 h 292"/>
                    <a:gd name="T50" fmla="*/ 355 w 483"/>
                    <a:gd name="T51" fmla="*/ 0 h 292"/>
                    <a:gd name="T52" fmla="*/ 315 w 483"/>
                    <a:gd name="T53" fmla="*/ 17 h 292"/>
                    <a:gd name="T54" fmla="*/ 274 w 483"/>
                    <a:gd name="T55" fmla="*/ 0 h 292"/>
                    <a:gd name="T56" fmla="*/ 175 w 483"/>
                    <a:gd name="T57" fmla="*/ 28 h 292"/>
                    <a:gd name="T58" fmla="*/ 168 w 483"/>
                    <a:gd name="T59" fmla="*/ 7 h 292"/>
                    <a:gd name="T60" fmla="*/ 113 w 483"/>
                    <a:gd name="T61" fmla="*/ 22 h 292"/>
                    <a:gd name="T62" fmla="*/ 79 w 483"/>
                    <a:gd name="T63" fmla="*/ 9 h 292"/>
                    <a:gd name="T64" fmla="*/ 75 w 483"/>
                    <a:gd name="T65" fmla="*/ 7 h 292"/>
                    <a:gd name="T66" fmla="*/ 32 w 483"/>
                    <a:gd name="T67" fmla="*/ 56 h 292"/>
                    <a:gd name="T68" fmla="*/ 0 w 483"/>
                    <a:gd name="T69" fmla="*/ 58 h 292"/>
                    <a:gd name="T70" fmla="*/ 15 w 483"/>
                    <a:gd name="T71" fmla="*/ 8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3" h="292">
                      <a:moveTo>
                        <a:pt x="15" y="87"/>
                      </a:moveTo>
                      <a:lnTo>
                        <a:pt x="41" y="87"/>
                      </a:lnTo>
                      <a:lnTo>
                        <a:pt x="45" y="104"/>
                      </a:lnTo>
                      <a:lnTo>
                        <a:pt x="66" y="92"/>
                      </a:lnTo>
                      <a:lnTo>
                        <a:pt x="100" y="104"/>
                      </a:lnTo>
                      <a:lnTo>
                        <a:pt x="96" y="147"/>
                      </a:lnTo>
                      <a:lnTo>
                        <a:pt x="77" y="166"/>
                      </a:lnTo>
                      <a:lnTo>
                        <a:pt x="85" y="183"/>
                      </a:lnTo>
                      <a:lnTo>
                        <a:pt x="109" y="192"/>
                      </a:lnTo>
                      <a:lnTo>
                        <a:pt x="115" y="164"/>
                      </a:lnTo>
                      <a:lnTo>
                        <a:pt x="130" y="164"/>
                      </a:lnTo>
                      <a:lnTo>
                        <a:pt x="132" y="189"/>
                      </a:lnTo>
                      <a:lnTo>
                        <a:pt x="211" y="223"/>
                      </a:lnTo>
                      <a:lnTo>
                        <a:pt x="268" y="226"/>
                      </a:lnTo>
                      <a:lnTo>
                        <a:pt x="311" y="292"/>
                      </a:lnTo>
                      <a:lnTo>
                        <a:pt x="332" y="279"/>
                      </a:lnTo>
                      <a:lnTo>
                        <a:pt x="383" y="274"/>
                      </a:lnTo>
                      <a:lnTo>
                        <a:pt x="381" y="249"/>
                      </a:lnTo>
                      <a:lnTo>
                        <a:pt x="483" y="98"/>
                      </a:lnTo>
                      <a:lnTo>
                        <a:pt x="476" y="60"/>
                      </a:lnTo>
                      <a:lnTo>
                        <a:pt x="459" y="70"/>
                      </a:lnTo>
                      <a:lnTo>
                        <a:pt x="472" y="49"/>
                      </a:lnTo>
                      <a:lnTo>
                        <a:pt x="453" y="9"/>
                      </a:lnTo>
                      <a:lnTo>
                        <a:pt x="417" y="4"/>
                      </a:lnTo>
                      <a:lnTo>
                        <a:pt x="362" y="15"/>
                      </a:lnTo>
                      <a:lnTo>
                        <a:pt x="355" y="0"/>
                      </a:lnTo>
                      <a:lnTo>
                        <a:pt x="315" y="17"/>
                      </a:lnTo>
                      <a:lnTo>
                        <a:pt x="274" y="0"/>
                      </a:lnTo>
                      <a:lnTo>
                        <a:pt x="175" y="28"/>
                      </a:lnTo>
                      <a:lnTo>
                        <a:pt x="168" y="7"/>
                      </a:lnTo>
                      <a:lnTo>
                        <a:pt x="113" y="22"/>
                      </a:lnTo>
                      <a:lnTo>
                        <a:pt x="79" y="9"/>
                      </a:lnTo>
                      <a:lnTo>
                        <a:pt x="75" y="7"/>
                      </a:lnTo>
                      <a:lnTo>
                        <a:pt x="32" y="56"/>
                      </a:lnTo>
                      <a:lnTo>
                        <a:pt x="0" y="58"/>
                      </a:lnTo>
                      <a:lnTo>
                        <a:pt x="15" y="87"/>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17" name="24">
                  <a:extLst>
                    <a:ext uri="{FF2B5EF4-FFF2-40B4-BE49-F238E27FC236}">
                      <a16:creationId xmlns:a16="http://schemas.microsoft.com/office/drawing/2014/main" id="{06515302-D591-4621-8AE7-3814C7393D7B}"/>
                    </a:ext>
                  </a:extLst>
                </p:cNvPr>
                <p:cNvSpPr>
                  <a:spLocks/>
                </p:cNvSpPr>
                <p:nvPr/>
              </p:nvSpPr>
              <p:spPr bwMode="gray">
                <a:xfrm>
                  <a:off x="5594137" y="4296945"/>
                  <a:ext cx="554403" cy="603110"/>
                </a:xfrm>
                <a:custGeom>
                  <a:avLst/>
                  <a:gdLst>
                    <a:gd name="T0" fmla="*/ 2 w 387"/>
                    <a:gd name="T1" fmla="*/ 306 h 421"/>
                    <a:gd name="T2" fmla="*/ 32 w 387"/>
                    <a:gd name="T3" fmla="*/ 230 h 421"/>
                    <a:gd name="T4" fmla="*/ 26 w 387"/>
                    <a:gd name="T5" fmla="*/ 213 h 421"/>
                    <a:gd name="T6" fmla="*/ 4 w 387"/>
                    <a:gd name="T7" fmla="*/ 215 h 421"/>
                    <a:gd name="T8" fmla="*/ 17 w 387"/>
                    <a:gd name="T9" fmla="*/ 181 h 421"/>
                    <a:gd name="T10" fmla="*/ 51 w 387"/>
                    <a:gd name="T11" fmla="*/ 179 h 421"/>
                    <a:gd name="T12" fmla="*/ 87 w 387"/>
                    <a:gd name="T13" fmla="*/ 147 h 421"/>
                    <a:gd name="T14" fmla="*/ 87 w 387"/>
                    <a:gd name="T15" fmla="*/ 102 h 421"/>
                    <a:gd name="T16" fmla="*/ 132 w 387"/>
                    <a:gd name="T17" fmla="*/ 81 h 421"/>
                    <a:gd name="T18" fmla="*/ 155 w 387"/>
                    <a:gd name="T19" fmla="*/ 26 h 421"/>
                    <a:gd name="T20" fmla="*/ 185 w 387"/>
                    <a:gd name="T21" fmla="*/ 0 h 421"/>
                    <a:gd name="T22" fmla="*/ 213 w 387"/>
                    <a:gd name="T23" fmla="*/ 11 h 421"/>
                    <a:gd name="T24" fmla="*/ 230 w 387"/>
                    <a:gd name="T25" fmla="*/ 51 h 421"/>
                    <a:gd name="T26" fmla="*/ 245 w 387"/>
                    <a:gd name="T27" fmla="*/ 36 h 421"/>
                    <a:gd name="T28" fmla="*/ 285 w 387"/>
                    <a:gd name="T29" fmla="*/ 40 h 421"/>
                    <a:gd name="T30" fmla="*/ 300 w 387"/>
                    <a:gd name="T31" fmla="*/ 68 h 421"/>
                    <a:gd name="T32" fmla="*/ 321 w 387"/>
                    <a:gd name="T33" fmla="*/ 72 h 421"/>
                    <a:gd name="T34" fmla="*/ 306 w 387"/>
                    <a:gd name="T35" fmla="*/ 87 h 421"/>
                    <a:gd name="T36" fmla="*/ 342 w 387"/>
                    <a:gd name="T37" fmla="*/ 102 h 421"/>
                    <a:gd name="T38" fmla="*/ 359 w 387"/>
                    <a:gd name="T39" fmla="*/ 125 h 421"/>
                    <a:gd name="T40" fmla="*/ 336 w 387"/>
                    <a:gd name="T41" fmla="*/ 149 h 421"/>
                    <a:gd name="T42" fmla="*/ 347 w 387"/>
                    <a:gd name="T43" fmla="*/ 176 h 421"/>
                    <a:gd name="T44" fmla="*/ 332 w 387"/>
                    <a:gd name="T45" fmla="*/ 187 h 421"/>
                    <a:gd name="T46" fmla="*/ 334 w 387"/>
                    <a:gd name="T47" fmla="*/ 193 h 421"/>
                    <a:gd name="T48" fmla="*/ 379 w 387"/>
                    <a:gd name="T49" fmla="*/ 221 h 421"/>
                    <a:gd name="T50" fmla="*/ 370 w 387"/>
                    <a:gd name="T51" fmla="*/ 230 h 421"/>
                    <a:gd name="T52" fmla="*/ 387 w 387"/>
                    <a:gd name="T53" fmla="*/ 259 h 421"/>
                    <a:gd name="T54" fmla="*/ 385 w 387"/>
                    <a:gd name="T55" fmla="*/ 313 h 421"/>
                    <a:gd name="T56" fmla="*/ 285 w 387"/>
                    <a:gd name="T57" fmla="*/ 421 h 421"/>
                    <a:gd name="T58" fmla="*/ 262 w 387"/>
                    <a:gd name="T59" fmla="*/ 395 h 421"/>
                    <a:gd name="T60" fmla="*/ 223 w 387"/>
                    <a:gd name="T61" fmla="*/ 408 h 421"/>
                    <a:gd name="T62" fmla="*/ 213 w 387"/>
                    <a:gd name="T63" fmla="*/ 372 h 421"/>
                    <a:gd name="T64" fmla="*/ 100 w 387"/>
                    <a:gd name="T65" fmla="*/ 383 h 421"/>
                    <a:gd name="T66" fmla="*/ 85 w 387"/>
                    <a:gd name="T67" fmla="*/ 344 h 421"/>
                    <a:gd name="T68" fmla="*/ 85 w 387"/>
                    <a:gd name="T69" fmla="*/ 304 h 421"/>
                    <a:gd name="T70" fmla="*/ 58 w 387"/>
                    <a:gd name="T71" fmla="*/ 321 h 421"/>
                    <a:gd name="T72" fmla="*/ 0 w 387"/>
                    <a:gd name="T73" fmla="*/ 308 h 421"/>
                    <a:gd name="T74" fmla="*/ 2 w 387"/>
                    <a:gd name="T75" fmla="*/ 306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7" h="421">
                      <a:moveTo>
                        <a:pt x="2" y="306"/>
                      </a:moveTo>
                      <a:lnTo>
                        <a:pt x="32" y="230"/>
                      </a:lnTo>
                      <a:lnTo>
                        <a:pt x="26" y="213"/>
                      </a:lnTo>
                      <a:lnTo>
                        <a:pt x="4" y="215"/>
                      </a:lnTo>
                      <a:lnTo>
                        <a:pt x="17" y="181"/>
                      </a:lnTo>
                      <a:lnTo>
                        <a:pt x="51" y="179"/>
                      </a:lnTo>
                      <a:lnTo>
                        <a:pt x="87" y="147"/>
                      </a:lnTo>
                      <a:lnTo>
                        <a:pt x="87" y="102"/>
                      </a:lnTo>
                      <a:lnTo>
                        <a:pt x="132" y="81"/>
                      </a:lnTo>
                      <a:lnTo>
                        <a:pt x="155" y="26"/>
                      </a:lnTo>
                      <a:lnTo>
                        <a:pt x="185" y="0"/>
                      </a:lnTo>
                      <a:lnTo>
                        <a:pt x="213" y="11"/>
                      </a:lnTo>
                      <a:lnTo>
                        <a:pt x="230" y="51"/>
                      </a:lnTo>
                      <a:lnTo>
                        <a:pt x="245" y="36"/>
                      </a:lnTo>
                      <a:lnTo>
                        <a:pt x="285" y="40"/>
                      </a:lnTo>
                      <a:lnTo>
                        <a:pt x="300" y="68"/>
                      </a:lnTo>
                      <a:lnTo>
                        <a:pt x="321" y="72"/>
                      </a:lnTo>
                      <a:lnTo>
                        <a:pt x="306" y="87"/>
                      </a:lnTo>
                      <a:lnTo>
                        <a:pt x="342" y="102"/>
                      </a:lnTo>
                      <a:lnTo>
                        <a:pt x="359" y="125"/>
                      </a:lnTo>
                      <a:lnTo>
                        <a:pt x="336" y="149"/>
                      </a:lnTo>
                      <a:lnTo>
                        <a:pt x="347" y="176"/>
                      </a:lnTo>
                      <a:lnTo>
                        <a:pt x="332" y="187"/>
                      </a:lnTo>
                      <a:lnTo>
                        <a:pt x="334" y="193"/>
                      </a:lnTo>
                      <a:lnTo>
                        <a:pt x="379" y="221"/>
                      </a:lnTo>
                      <a:lnTo>
                        <a:pt x="370" y="230"/>
                      </a:lnTo>
                      <a:lnTo>
                        <a:pt x="387" y="259"/>
                      </a:lnTo>
                      <a:lnTo>
                        <a:pt x="385" y="313"/>
                      </a:lnTo>
                      <a:lnTo>
                        <a:pt x="285" y="421"/>
                      </a:lnTo>
                      <a:lnTo>
                        <a:pt x="262" y="395"/>
                      </a:lnTo>
                      <a:lnTo>
                        <a:pt x="223" y="408"/>
                      </a:lnTo>
                      <a:lnTo>
                        <a:pt x="213" y="372"/>
                      </a:lnTo>
                      <a:lnTo>
                        <a:pt x="100" y="383"/>
                      </a:lnTo>
                      <a:lnTo>
                        <a:pt x="85" y="344"/>
                      </a:lnTo>
                      <a:lnTo>
                        <a:pt x="85" y="304"/>
                      </a:lnTo>
                      <a:lnTo>
                        <a:pt x="58" y="321"/>
                      </a:lnTo>
                      <a:lnTo>
                        <a:pt x="0" y="308"/>
                      </a:lnTo>
                      <a:lnTo>
                        <a:pt x="2" y="306"/>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18" name="33">
                  <a:extLst>
                    <a:ext uri="{FF2B5EF4-FFF2-40B4-BE49-F238E27FC236}">
                      <a16:creationId xmlns:a16="http://schemas.microsoft.com/office/drawing/2014/main" id="{F64F929B-B359-49D1-AA30-1A9190D9745E}"/>
                    </a:ext>
                  </a:extLst>
                </p:cNvPr>
                <p:cNvSpPr>
                  <a:spLocks/>
                </p:cNvSpPr>
                <p:nvPr/>
              </p:nvSpPr>
              <p:spPr bwMode="gray">
                <a:xfrm>
                  <a:off x="5132019" y="4343502"/>
                  <a:ext cx="584487" cy="730608"/>
                </a:xfrm>
                <a:custGeom>
                  <a:avLst/>
                  <a:gdLst>
                    <a:gd name="T0" fmla="*/ 0 w 408"/>
                    <a:gd name="T1" fmla="*/ 400 h 510"/>
                    <a:gd name="T2" fmla="*/ 13 w 408"/>
                    <a:gd name="T3" fmla="*/ 395 h 510"/>
                    <a:gd name="T4" fmla="*/ 38 w 408"/>
                    <a:gd name="T5" fmla="*/ 389 h 510"/>
                    <a:gd name="T6" fmla="*/ 70 w 408"/>
                    <a:gd name="T7" fmla="*/ 389 h 510"/>
                    <a:gd name="T8" fmla="*/ 57 w 408"/>
                    <a:gd name="T9" fmla="*/ 419 h 510"/>
                    <a:gd name="T10" fmla="*/ 159 w 408"/>
                    <a:gd name="T11" fmla="*/ 417 h 510"/>
                    <a:gd name="T12" fmla="*/ 157 w 408"/>
                    <a:gd name="T13" fmla="*/ 434 h 510"/>
                    <a:gd name="T14" fmla="*/ 223 w 408"/>
                    <a:gd name="T15" fmla="*/ 476 h 510"/>
                    <a:gd name="T16" fmla="*/ 219 w 408"/>
                    <a:gd name="T17" fmla="*/ 506 h 510"/>
                    <a:gd name="T18" fmla="*/ 264 w 408"/>
                    <a:gd name="T19" fmla="*/ 510 h 510"/>
                    <a:gd name="T20" fmla="*/ 274 w 408"/>
                    <a:gd name="T21" fmla="*/ 487 h 510"/>
                    <a:gd name="T22" fmla="*/ 287 w 408"/>
                    <a:gd name="T23" fmla="*/ 502 h 510"/>
                    <a:gd name="T24" fmla="*/ 315 w 408"/>
                    <a:gd name="T25" fmla="*/ 487 h 510"/>
                    <a:gd name="T26" fmla="*/ 306 w 408"/>
                    <a:gd name="T27" fmla="*/ 457 h 510"/>
                    <a:gd name="T28" fmla="*/ 330 w 408"/>
                    <a:gd name="T29" fmla="*/ 451 h 510"/>
                    <a:gd name="T30" fmla="*/ 327 w 408"/>
                    <a:gd name="T31" fmla="*/ 387 h 510"/>
                    <a:gd name="T32" fmla="*/ 376 w 408"/>
                    <a:gd name="T33" fmla="*/ 353 h 510"/>
                    <a:gd name="T34" fmla="*/ 357 w 408"/>
                    <a:gd name="T35" fmla="*/ 332 h 510"/>
                    <a:gd name="T36" fmla="*/ 408 w 408"/>
                    <a:gd name="T37" fmla="*/ 312 h 510"/>
                    <a:gd name="T38" fmla="*/ 408 w 408"/>
                    <a:gd name="T39" fmla="*/ 272 h 510"/>
                    <a:gd name="T40" fmla="*/ 381 w 408"/>
                    <a:gd name="T41" fmla="*/ 289 h 510"/>
                    <a:gd name="T42" fmla="*/ 323 w 408"/>
                    <a:gd name="T43" fmla="*/ 276 h 510"/>
                    <a:gd name="T44" fmla="*/ 325 w 408"/>
                    <a:gd name="T45" fmla="*/ 274 h 510"/>
                    <a:gd name="T46" fmla="*/ 355 w 408"/>
                    <a:gd name="T47" fmla="*/ 198 h 510"/>
                    <a:gd name="T48" fmla="*/ 349 w 408"/>
                    <a:gd name="T49" fmla="*/ 181 h 510"/>
                    <a:gd name="T50" fmla="*/ 327 w 408"/>
                    <a:gd name="T51" fmla="*/ 183 h 510"/>
                    <a:gd name="T52" fmla="*/ 238 w 408"/>
                    <a:gd name="T53" fmla="*/ 161 h 510"/>
                    <a:gd name="T54" fmla="*/ 232 w 408"/>
                    <a:gd name="T55" fmla="*/ 117 h 510"/>
                    <a:gd name="T56" fmla="*/ 193 w 408"/>
                    <a:gd name="T57" fmla="*/ 106 h 510"/>
                    <a:gd name="T58" fmla="*/ 191 w 408"/>
                    <a:gd name="T59" fmla="*/ 89 h 510"/>
                    <a:gd name="T60" fmla="*/ 157 w 408"/>
                    <a:gd name="T61" fmla="*/ 93 h 510"/>
                    <a:gd name="T62" fmla="*/ 172 w 408"/>
                    <a:gd name="T63" fmla="*/ 185 h 510"/>
                    <a:gd name="T64" fmla="*/ 206 w 408"/>
                    <a:gd name="T65" fmla="*/ 213 h 510"/>
                    <a:gd name="T66" fmla="*/ 179 w 408"/>
                    <a:gd name="T67" fmla="*/ 200 h 510"/>
                    <a:gd name="T68" fmla="*/ 196 w 408"/>
                    <a:gd name="T69" fmla="*/ 225 h 510"/>
                    <a:gd name="T70" fmla="*/ 159 w 408"/>
                    <a:gd name="T71" fmla="*/ 185 h 510"/>
                    <a:gd name="T72" fmla="*/ 130 w 408"/>
                    <a:gd name="T73" fmla="*/ 81 h 510"/>
                    <a:gd name="T74" fmla="*/ 68 w 408"/>
                    <a:gd name="T75" fmla="*/ 21 h 510"/>
                    <a:gd name="T76" fmla="*/ 72 w 408"/>
                    <a:gd name="T77" fmla="*/ 0 h 510"/>
                    <a:gd name="T78" fmla="*/ 49 w 408"/>
                    <a:gd name="T79" fmla="*/ 25 h 510"/>
                    <a:gd name="T80" fmla="*/ 0 w 408"/>
                    <a:gd name="T81" fmla="*/ 344 h 510"/>
                    <a:gd name="T82" fmla="*/ 30 w 408"/>
                    <a:gd name="T83" fmla="*/ 293 h 510"/>
                    <a:gd name="T84" fmla="*/ 64 w 408"/>
                    <a:gd name="T85" fmla="*/ 327 h 510"/>
                    <a:gd name="T86" fmla="*/ 17 w 408"/>
                    <a:gd name="T87" fmla="*/ 332 h 510"/>
                    <a:gd name="T88" fmla="*/ 0 w 408"/>
                    <a:gd name="T89" fmla="*/ 40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8" h="510">
                      <a:moveTo>
                        <a:pt x="0" y="400"/>
                      </a:moveTo>
                      <a:lnTo>
                        <a:pt x="13" y="395"/>
                      </a:lnTo>
                      <a:lnTo>
                        <a:pt x="38" y="389"/>
                      </a:lnTo>
                      <a:lnTo>
                        <a:pt x="70" y="389"/>
                      </a:lnTo>
                      <a:lnTo>
                        <a:pt x="57" y="419"/>
                      </a:lnTo>
                      <a:lnTo>
                        <a:pt x="159" y="417"/>
                      </a:lnTo>
                      <a:lnTo>
                        <a:pt x="157" y="434"/>
                      </a:lnTo>
                      <a:lnTo>
                        <a:pt x="223" y="476"/>
                      </a:lnTo>
                      <a:lnTo>
                        <a:pt x="219" y="506"/>
                      </a:lnTo>
                      <a:lnTo>
                        <a:pt x="264" y="510"/>
                      </a:lnTo>
                      <a:lnTo>
                        <a:pt x="274" y="487"/>
                      </a:lnTo>
                      <a:lnTo>
                        <a:pt x="287" y="502"/>
                      </a:lnTo>
                      <a:lnTo>
                        <a:pt x="315" y="487"/>
                      </a:lnTo>
                      <a:lnTo>
                        <a:pt x="306" y="457"/>
                      </a:lnTo>
                      <a:lnTo>
                        <a:pt x="330" y="451"/>
                      </a:lnTo>
                      <a:lnTo>
                        <a:pt x="327" y="387"/>
                      </a:lnTo>
                      <a:lnTo>
                        <a:pt x="376" y="353"/>
                      </a:lnTo>
                      <a:lnTo>
                        <a:pt x="357" y="332"/>
                      </a:lnTo>
                      <a:lnTo>
                        <a:pt x="408" y="312"/>
                      </a:lnTo>
                      <a:lnTo>
                        <a:pt x="408" y="272"/>
                      </a:lnTo>
                      <a:lnTo>
                        <a:pt x="381" y="289"/>
                      </a:lnTo>
                      <a:lnTo>
                        <a:pt x="323" y="276"/>
                      </a:lnTo>
                      <a:lnTo>
                        <a:pt x="325" y="274"/>
                      </a:lnTo>
                      <a:lnTo>
                        <a:pt x="355" y="198"/>
                      </a:lnTo>
                      <a:lnTo>
                        <a:pt x="349" y="181"/>
                      </a:lnTo>
                      <a:lnTo>
                        <a:pt x="327" y="183"/>
                      </a:lnTo>
                      <a:lnTo>
                        <a:pt x="238" y="161"/>
                      </a:lnTo>
                      <a:lnTo>
                        <a:pt x="232" y="117"/>
                      </a:lnTo>
                      <a:lnTo>
                        <a:pt x="193" y="106"/>
                      </a:lnTo>
                      <a:lnTo>
                        <a:pt x="191" y="89"/>
                      </a:lnTo>
                      <a:lnTo>
                        <a:pt x="157" y="93"/>
                      </a:lnTo>
                      <a:lnTo>
                        <a:pt x="172" y="185"/>
                      </a:lnTo>
                      <a:lnTo>
                        <a:pt x="206" y="213"/>
                      </a:lnTo>
                      <a:lnTo>
                        <a:pt x="179" y="200"/>
                      </a:lnTo>
                      <a:lnTo>
                        <a:pt x="196" y="225"/>
                      </a:lnTo>
                      <a:lnTo>
                        <a:pt x="159" y="185"/>
                      </a:lnTo>
                      <a:lnTo>
                        <a:pt x="130" y="81"/>
                      </a:lnTo>
                      <a:lnTo>
                        <a:pt x="68" y="21"/>
                      </a:lnTo>
                      <a:lnTo>
                        <a:pt x="72" y="0"/>
                      </a:lnTo>
                      <a:lnTo>
                        <a:pt x="49" y="25"/>
                      </a:lnTo>
                      <a:lnTo>
                        <a:pt x="0" y="344"/>
                      </a:lnTo>
                      <a:lnTo>
                        <a:pt x="30" y="293"/>
                      </a:lnTo>
                      <a:lnTo>
                        <a:pt x="64" y="327"/>
                      </a:lnTo>
                      <a:lnTo>
                        <a:pt x="17" y="332"/>
                      </a:lnTo>
                      <a:lnTo>
                        <a:pt x="0" y="400"/>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19" name="40">
                  <a:extLst>
                    <a:ext uri="{FF2B5EF4-FFF2-40B4-BE49-F238E27FC236}">
                      <a16:creationId xmlns:a16="http://schemas.microsoft.com/office/drawing/2014/main" id="{FFF7C6EC-B6B5-4EEE-A247-2A887E08BBEB}"/>
                    </a:ext>
                  </a:extLst>
                </p:cNvPr>
                <p:cNvSpPr>
                  <a:spLocks/>
                </p:cNvSpPr>
                <p:nvPr/>
              </p:nvSpPr>
              <p:spPr bwMode="gray">
                <a:xfrm>
                  <a:off x="5001656" y="4900770"/>
                  <a:ext cx="641789" cy="530049"/>
                </a:xfrm>
                <a:custGeom>
                  <a:avLst/>
                  <a:gdLst>
                    <a:gd name="T0" fmla="*/ 4 w 448"/>
                    <a:gd name="T1" fmla="*/ 351 h 370"/>
                    <a:gd name="T2" fmla="*/ 38 w 448"/>
                    <a:gd name="T3" fmla="*/ 364 h 370"/>
                    <a:gd name="T4" fmla="*/ 93 w 448"/>
                    <a:gd name="T5" fmla="*/ 349 h 370"/>
                    <a:gd name="T6" fmla="*/ 100 w 448"/>
                    <a:gd name="T7" fmla="*/ 370 h 370"/>
                    <a:gd name="T8" fmla="*/ 199 w 448"/>
                    <a:gd name="T9" fmla="*/ 342 h 370"/>
                    <a:gd name="T10" fmla="*/ 240 w 448"/>
                    <a:gd name="T11" fmla="*/ 359 h 370"/>
                    <a:gd name="T12" fmla="*/ 280 w 448"/>
                    <a:gd name="T13" fmla="*/ 342 h 370"/>
                    <a:gd name="T14" fmla="*/ 287 w 448"/>
                    <a:gd name="T15" fmla="*/ 357 h 370"/>
                    <a:gd name="T16" fmla="*/ 342 w 448"/>
                    <a:gd name="T17" fmla="*/ 346 h 370"/>
                    <a:gd name="T18" fmla="*/ 331 w 448"/>
                    <a:gd name="T19" fmla="*/ 334 h 370"/>
                    <a:gd name="T20" fmla="*/ 331 w 448"/>
                    <a:gd name="T21" fmla="*/ 327 h 370"/>
                    <a:gd name="T22" fmla="*/ 357 w 448"/>
                    <a:gd name="T23" fmla="*/ 291 h 370"/>
                    <a:gd name="T24" fmla="*/ 359 w 448"/>
                    <a:gd name="T25" fmla="*/ 238 h 370"/>
                    <a:gd name="T26" fmla="*/ 346 w 448"/>
                    <a:gd name="T27" fmla="*/ 232 h 370"/>
                    <a:gd name="T28" fmla="*/ 401 w 448"/>
                    <a:gd name="T29" fmla="*/ 206 h 370"/>
                    <a:gd name="T30" fmla="*/ 429 w 448"/>
                    <a:gd name="T31" fmla="*/ 234 h 370"/>
                    <a:gd name="T32" fmla="*/ 431 w 448"/>
                    <a:gd name="T33" fmla="*/ 204 h 370"/>
                    <a:gd name="T34" fmla="*/ 448 w 448"/>
                    <a:gd name="T35" fmla="*/ 155 h 370"/>
                    <a:gd name="T36" fmla="*/ 380 w 448"/>
                    <a:gd name="T37" fmla="*/ 140 h 370"/>
                    <a:gd name="T38" fmla="*/ 380 w 448"/>
                    <a:gd name="T39" fmla="*/ 119 h 370"/>
                    <a:gd name="T40" fmla="*/ 378 w 448"/>
                    <a:gd name="T41" fmla="*/ 113 h 370"/>
                    <a:gd name="T42" fmla="*/ 365 w 448"/>
                    <a:gd name="T43" fmla="*/ 98 h 370"/>
                    <a:gd name="T44" fmla="*/ 355 w 448"/>
                    <a:gd name="T45" fmla="*/ 121 h 370"/>
                    <a:gd name="T46" fmla="*/ 310 w 448"/>
                    <a:gd name="T47" fmla="*/ 117 h 370"/>
                    <a:gd name="T48" fmla="*/ 314 w 448"/>
                    <a:gd name="T49" fmla="*/ 87 h 370"/>
                    <a:gd name="T50" fmla="*/ 248 w 448"/>
                    <a:gd name="T51" fmla="*/ 45 h 370"/>
                    <a:gd name="T52" fmla="*/ 250 w 448"/>
                    <a:gd name="T53" fmla="*/ 28 h 370"/>
                    <a:gd name="T54" fmla="*/ 148 w 448"/>
                    <a:gd name="T55" fmla="*/ 30 h 370"/>
                    <a:gd name="T56" fmla="*/ 161 w 448"/>
                    <a:gd name="T57" fmla="*/ 0 h 370"/>
                    <a:gd name="T58" fmla="*/ 129 w 448"/>
                    <a:gd name="T59" fmla="*/ 0 h 370"/>
                    <a:gd name="T60" fmla="*/ 104 w 448"/>
                    <a:gd name="T61" fmla="*/ 6 h 370"/>
                    <a:gd name="T62" fmla="*/ 91 w 448"/>
                    <a:gd name="T63" fmla="*/ 11 h 370"/>
                    <a:gd name="T64" fmla="*/ 23 w 448"/>
                    <a:gd name="T65" fmla="*/ 302 h 370"/>
                    <a:gd name="T66" fmla="*/ 0 w 448"/>
                    <a:gd name="T67" fmla="*/ 349 h 370"/>
                    <a:gd name="T68" fmla="*/ 4 w 448"/>
                    <a:gd name="T69" fmla="*/ 35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8" h="370">
                      <a:moveTo>
                        <a:pt x="4" y="351"/>
                      </a:moveTo>
                      <a:lnTo>
                        <a:pt x="38" y="364"/>
                      </a:lnTo>
                      <a:lnTo>
                        <a:pt x="93" y="349"/>
                      </a:lnTo>
                      <a:lnTo>
                        <a:pt x="100" y="370"/>
                      </a:lnTo>
                      <a:lnTo>
                        <a:pt x="199" y="342"/>
                      </a:lnTo>
                      <a:lnTo>
                        <a:pt x="240" y="359"/>
                      </a:lnTo>
                      <a:lnTo>
                        <a:pt x="280" y="342"/>
                      </a:lnTo>
                      <a:lnTo>
                        <a:pt x="287" y="357"/>
                      </a:lnTo>
                      <a:lnTo>
                        <a:pt x="342" y="346"/>
                      </a:lnTo>
                      <a:lnTo>
                        <a:pt x="331" y="334"/>
                      </a:lnTo>
                      <a:lnTo>
                        <a:pt x="331" y="327"/>
                      </a:lnTo>
                      <a:lnTo>
                        <a:pt x="357" y="291"/>
                      </a:lnTo>
                      <a:lnTo>
                        <a:pt x="359" y="238"/>
                      </a:lnTo>
                      <a:lnTo>
                        <a:pt x="346" y="232"/>
                      </a:lnTo>
                      <a:lnTo>
                        <a:pt x="401" y="206"/>
                      </a:lnTo>
                      <a:lnTo>
                        <a:pt x="429" y="234"/>
                      </a:lnTo>
                      <a:lnTo>
                        <a:pt x="431" y="204"/>
                      </a:lnTo>
                      <a:lnTo>
                        <a:pt x="448" y="155"/>
                      </a:lnTo>
                      <a:lnTo>
                        <a:pt x="380" y="140"/>
                      </a:lnTo>
                      <a:lnTo>
                        <a:pt x="380" y="119"/>
                      </a:lnTo>
                      <a:lnTo>
                        <a:pt x="378" y="113"/>
                      </a:lnTo>
                      <a:lnTo>
                        <a:pt x="365" y="98"/>
                      </a:lnTo>
                      <a:lnTo>
                        <a:pt x="355" y="121"/>
                      </a:lnTo>
                      <a:lnTo>
                        <a:pt x="310" y="117"/>
                      </a:lnTo>
                      <a:lnTo>
                        <a:pt x="314" y="87"/>
                      </a:lnTo>
                      <a:lnTo>
                        <a:pt x="248" y="45"/>
                      </a:lnTo>
                      <a:lnTo>
                        <a:pt x="250" y="28"/>
                      </a:lnTo>
                      <a:lnTo>
                        <a:pt x="148" y="30"/>
                      </a:lnTo>
                      <a:lnTo>
                        <a:pt x="161" y="0"/>
                      </a:lnTo>
                      <a:lnTo>
                        <a:pt x="129" y="0"/>
                      </a:lnTo>
                      <a:lnTo>
                        <a:pt x="104" y="6"/>
                      </a:lnTo>
                      <a:lnTo>
                        <a:pt x="91" y="11"/>
                      </a:lnTo>
                      <a:lnTo>
                        <a:pt x="23" y="302"/>
                      </a:lnTo>
                      <a:lnTo>
                        <a:pt x="0" y="349"/>
                      </a:lnTo>
                      <a:lnTo>
                        <a:pt x="4" y="351"/>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220" name="47">
                  <a:extLst>
                    <a:ext uri="{FF2B5EF4-FFF2-40B4-BE49-F238E27FC236}">
                      <a16:creationId xmlns:a16="http://schemas.microsoft.com/office/drawing/2014/main" id="{CC8E43BD-1EB8-4042-A37A-D163B24321CF}"/>
                    </a:ext>
                  </a:extLst>
                </p:cNvPr>
                <p:cNvSpPr>
                  <a:spLocks/>
                </p:cNvSpPr>
                <p:nvPr/>
              </p:nvSpPr>
              <p:spPr bwMode="gray">
                <a:xfrm>
                  <a:off x="5543165" y="4790463"/>
                  <a:ext cx="459854" cy="411147"/>
                </a:xfrm>
                <a:custGeom>
                  <a:avLst/>
                  <a:gdLst>
                    <a:gd name="T0" fmla="*/ 2 w 321"/>
                    <a:gd name="T1" fmla="*/ 196 h 287"/>
                    <a:gd name="T2" fmla="*/ 2 w 321"/>
                    <a:gd name="T3" fmla="*/ 217 h 287"/>
                    <a:gd name="T4" fmla="*/ 70 w 321"/>
                    <a:gd name="T5" fmla="*/ 232 h 287"/>
                    <a:gd name="T6" fmla="*/ 53 w 321"/>
                    <a:gd name="T7" fmla="*/ 281 h 287"/>
                    <a:gd name="T8" fmla="*/ 74 w 321"/>
                    <a:gd name="T9" fmla="*/ 287 h 287"/>
                    <a:gd name="T10" fmla="*/ 89 w 321"/>
                    <a:gd name="T11" fmla="*/ 270 h 287"/>
                    <a:gd name="T12" fmla="*/ 113 w 321"/>
                    <a:gd name="T13" fmla="*/ 281 h 287"/>
                    <a:gd name="T14" fmla="*/ 187 w 321"/>
                    <a:gd name="T15" fmla="*/ 253 h 287"/>
                    <a:gd name="T16" fmla="*/ 206 w 321"/>
                    <a:gd name="T17" fmla="*/ 273 h 287"/>
                    <a:gd name="T18" fmla="*/ 230 w 321"/>
                    <a:gd name="T19" fmla="*/ 260 h 287"/>
                    <a:gd name="T20" fmla="*/ 230 w 321"/>
                    <a:gd name="T21" fmla="*/ 251 h 287"/>
                    <a:gd name="T22" fmla="*/ 242 w 321"/>
                    <a:gd name="T23" fmla="*/ 232 h 287"/>
                    <a:gd name="T24" fmla="*/ 266 w 321"/>
                    <a:gd name="T25" fmla="*/ 236 h 287"/>
                    <a:gd name="T26" fmla="*/ 259 w 321"/>
                    <a:gd name="T27" fmla="*/ 219 h 287"/>
                    <a:gd name="T28" fmla="*/ 285 w 321"/>
                    <a:gd name="T29" fmla="*/ 185 h 287"/>
                    <a:gd name="T30" fmla="*/ 266 w 321"/>
                    <a:gd name="T31" fmla="*/ 171 h 287"/>
                    <a:gd name="T32" fmla="*/ 272 w 321"/>
                    <a:gd name="T33" fmla="*/ 149 h 287"/>
                    <a:gd name="T34" fmla="*/ 317 w 321"/>
                    <a:gd name="T35" fmla="*/ 147 h 287"/>
                    <a:gd name="T36" fmla="*/ 298 w 321"/>
                    <a:gd name="T37" fmla="*/ 88 h 287"/>
                    <a:gd name="T38" fmla="*/ 300 w 321"/>
                    <a:gd name="T39" fmla="*/ 85 h 287"/>
                    <a:gd name="T40" fmla="*/ 321 w 321"/>
                    <a:gd name="T41" fmla="*/ 77 h 287"/>
                    <a:gd name="T42" fmla="*/ 298 w 321"/>
                    <a:gd name="T43" fmla="*/ 51 h 287"/>
                    <a:gd name="T44" fmla="*/ 259 w 321"/>
                    <a:gd name="T45" fmla="*/ 64 h 287"/>
                    <a:gd name="T46" fmla="*/ 249 w 321"/>
                    <a:gd name="T47" fmla="*/ 28 h 287"/>
                    <a:gd name="T48" fmla="*/ 136 w 321"/>
                    <a:gd name="T49" fmla="*/ 39 h 287"/>
                    <a:gd name="T50" fmla="*/ 121 w 321"/>
                    <a:gd name="T51" fmla="*/ 0 h 287"/>
                    <a:gd name="T52" fmla="*/ 70 w 321"/>
                    <a:gd name="T53" fmla="*/ 20 h 287"/>
                    <a:gd name="T54" fmla="*/ 89 w 321"/>
                    <a:gd name="T55" fmla="*/ 41 h 287"/>
                    <a:gd name="T56" fmla="*/ 40 w 321"/>
                    <a:gd name="T57" fmla="*/ 75 h 287"/>
                    <a:gd name="T58" fmla="*/ 43 w 321"/>
                    <a:gd name="T59" fmla="*/ 139 h 287"/>
                    <a:gd name="T60" fmla="*/ 19 w 321"/>
                    <a:gd name="T61" fmla="*/ 145 h 287"/>
                    <a:gd name="T62" fmla="*/ 28 w 321"/>
                    <a:gd name="T63" fmla="*/ 175 h 287"/>
                    <a:gd name="T64" fmla="*/ 0 w 321"/>
                    <a:gd name="T65" fmla="*/ 190 h 287"/>
                    <a:gd name="T66" fmla="*/ 2 w 321"/>
                    <a:gd name="T67" fmla="*/ 1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87">
                      <a:moveTo>
                        <a:pt x="2" y="196"/>
                      </a:moveTo>
                      <a:lnTo>
                        <a:pt x="2" y="217"/>
                      </a:lnTo>
                      <a:lnTo>
                        <a:pt x="70" y="232"/>
                      </a:lnTo>
                      <a:lnTo>
                        <a:pt x="53" y="281"/>
                      </a:lnTo>
                      <a:lnTo>
                        <a:pt x="74" y="287"/>
                      </a:lnTo>
                      <a:lnTo>
                        <a:pt x="89" y="270"/>
                      </a:lnTo>
                      <a:lnTo>
                        <a:pt x="113" y="281"/>
                      </a:lnTo>
                      <a:lnTo>
                        <a:pt x="187" y="253"/>
                      </a:lnTo>
                      <a:lnTo>
                        <a:pt x="206" y="273"/>
                      </a:lnTo>
                      <a:lnTo>
                        <a:pt x="230" y="260"/>
                      </a:lnTo>
                      <a:lnTo>
                        <a:pt x="230" y="251"/>
                      </a:lnTo>
                      <a:lnTo>
                        <a:pt x="242" y="232"/>
                      </a:lnTo>
                      <a:lnTo>
                        <a:pt x="266" y="236"/>
                      </a:lnTo>
                      <a:lnTo>
                        <a:pt x="259" y="219"/>
                      </a:lnTo>
                      <a:lnTo>
                        <a:pt x="285" y="185"/>
                      </a:lnTo>
                      <a:lnTo>
                        <a:pt x="266" y="171"/>
                      </a:lnTo>
                      <a:lnTo>
                        <a:pt x="272" y="149"/>
                      </a:lnTo>
                      <a:lnTo>
                        <a:pt x="317" y="147"/>
                      </a:lnTo>
                      <a:lnTo>
                        <a:pt x="298" y="88"/>
                      </a:lnTo>
                      <a:lnTo>
                        <a:pt x="300" y="85"/>
                      </a:lnTo>
                      <a:lnTo>
                        <a:pt x="321" y="77"/>
                      </a:lnTo>
                      <a:lnTo>
                        <a:pt x="298" y="51"/>
                      </a:lnTo>
                      <a:lnTo>
                        <a:pt x="259" y="64"/>
                      </a:lnTo>
                      <a:lnTo>
                        <a:pt x="249" y="28"/>
                      </a:lnTo>
                      <a:lnTo>
                        <a:pt x="136" y="39"/>
                      </a:lnTo>
                      <a:lnTo>
                        <a:pt x="121" y="0"/>
                      </a:lnTo>
                      <a:lnTo>
                        <a:pt x="70" y="20"/>
                      </a:lnTo>
                      <a:lnTo>
                        <a:pt x="89" y="41"/>
                      </a:lnTo>
                      <a:lnTo>
                        <a:pt x="40" y="75"/>
                      </a:lnTo>
                      <a:lnTo>
                        <a:pt x="43" y="139"/>
                      </a:lnTo>
                      <a:lnTo>
                        <a:pt x="19" y="145"/>
                      </a:lnTo>
                      <a:lnTo>
                        <a:pt x="28" y="175"/>
                      </a:lnTo>
                      <a:lnTo>
                        <a:pt x="0" y="190"/>
                      </a:lnTo>
                      <a:lnTo>
                        <a:pt x="2" y="196"/>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grpSp>
        </p:grpSp>
        <p:grpSp>
          <p:nvGrpSpPr>
            <p:cNvPr id="169" name="Aquitaine Limousin Poitou Charentes (N° Départements)">
              <a:extLst>
                <a:ext uri="{FF2B5EF4-FFF2-40B4-BE49-F238E27FC236}">
                  <a16:creationId xmlns:a16="http://schemas.microsoft.com/office/drawing/2014/main" id="{FF061E4F-1DB4-4949-8C8F-F253915B2836}"/>
                </a:ext>
              </a:extLst>
            </p:cNvPr>
            <p:cNvGrpSpPr/>
            <p:nvPr/>
          </p:nvGrpSpPr>
          <p:grpSpPr>
            <a:xfrm>
              <a:off x="5945905" y="3550959"/>
              <a:ext cx="1272910" cy="1921319"/>
              <a:chOff x="5192449" y="3720344"/>
              <a:chExt cx="1272910" cy="1921319"/>
            </a:xfrm>
          </p:grpSpPr>
          <p:grpSp>
            <p:nvGrpSpPr>
              <p:cNvPr id="198" name="Poitou Charentes (N° Départements)">
                <a:extLst>
                  <a:ext uri="{FF2B5EF4-FFF2-40B4-BE49-F238E27FC236}">
                    <a16:creationId xmlns:a16="http://schemas.microsoft.com/office/drawing/2014/main" id="{68A4BF42-8DF3-45F3-B282-701071F3E902}"/>
                  </a:ext>
                </a:extLst>
              </p:cNvPr>
              <p:cNvGrpSpPr/>
              <p:nvPr/>
            </p:nvGrpSpPr>
            <p:grpSpPr>
              <a:xfrm>
                <a:off x="5291004" y="3720344"/>
                <a:ext cx="621047" cy="646071"/>
                <a:chOff x="5291004" y="3720344"/>
                <a:chExt cx="621047" cy="646071"/>
              </a:xfrm>
            </p:grpSpPr>
            <p:sp>
              <p:nvSpPr>
                <p:cNvPr id="209" name="17">
                  <a:extLst>
                    <a:ext uri="{FF2B5EF4-FFF2-40B4-BE49-F238E27FC236}">
                      <a16:creationId xmlns:a16="http://schemas.microsoft.com/office/drawing/2014/main" id="{E8A37156-B429-4AFA-8B64-72ABC8C0F921}"/>
                    </a:ext>
                  </a:extLst>
                </p:cNvPr>
                <p:cNvSpPr txBox="1"/>
                <p:nvPr/>
              </p:nvSpPr>
              <p:spPr>
                <a:xfrm>
                  <a:off x="5291004" y="4110832"/>
                  <a:ext cx="184830" cy="166169"/>
                </a:xfrm>
                <a:prstGeom prst="rect">
                  <a:avLst/>
                </a:prstGeom>
                <a:noFill/>
              </p:spPr>
              <p:txBody>
                <a:bodyPr wrap="none" lIns="0" tIns="0" rIns="0" bIns="0" rtlCol="0">
                  <a:noAutofit/>
                </a:bodyPr>
                <a:lstStyle/>
                <a:p>
                  <a:r>
                    <a:rPr lang="fr-FR" sz="800">
                      <a:solidFill>
                        <a:srgbClr val="FFFFFF"/>
                      </a:solidFill>
                      <a:latin typeface="Tahoma"/>
                    </a:rPr>
                    <a:t>17</a:t>
                  </a:r>
                </a:p>
              </p:txBody>
            </p:sp>
            <p:sp>
              <p:nvSpPr>
                <p:cNvPr id="210" name="16">
                  <a:extLst>
                    <a:ext uri="{FF2B5EF4-FFF2-40B4-BE49-F238E27FC236}">
                      <a16:creationId xmlns:a16="http://schemas.microsoft.com/office/drawing/2014/main" id="{075219FA-7225-4D6D-9AED-1D71D28F70F9}"/>
                    </a:ext>
                  </a:extLst>
                </p:cNvPr>
                <p:cNvSpPr txBox="1"/>
                <p:nvPr/>
              </p:nvSpPr>
              <p:spPr>
                <a:xfrm>
                  <a:off x="5631956" y="4200246"/>
                  <a:ext cx="184830" cy="166169"/>
                </a:xfrm>
                <a:prstGeom prst="rect">
                  <a:avLst/>
                </a:prstGeom>
                <a:noFill/>
              </p:spPr>
              <p:txBody>
                <a:bodyPr wrap="none" lIns="0" tIns="0" rIns="0" bIns="0" rtlCol="0">
                  <a:noAutofit/>
                </a:bodyPr>
                <a:lstStyle/>
                <a:p>
                  <a:r>
                    <a:rPr lang="fr-FR" sz="800">
                      <a:solidFill>
                        <a:srgbClr val="FFFFFF"/>
                      </a:solidFill>
                      <a:latin typeface="Tahoma"/>
                    </a:rPr>
                    <a:t>16</a:t>
                  </a:r>
                </a:p>
              </p:txBody>
            </p:sp>
            <p:sp>
              <p:nvSpPr>
                <p:cNvPr id="211" name="86">
                  <a:extLst>
                    <a:ext uri="{FF2B5EF4-FFF2-40B4-BE49-F238E27FC236}">
                      <a16:creationId xmlns:a16="http://schemas.microsoft.com/office/drawing/2014/main" id="{594BC1BD-3145-4709-97B5-3F15F9C67F7C}"/>
                    </a:ext>
                  </a:extLst>
                </p:cNvPr>
                <p:cNvSpPr txBox="1"/>
                <p:nvPr/>
              </p:nvSpPr>
              <p:spPr>
                <a:xfrm>
                  <a:off x="5727221" y="3753294"/>
                  <a:ext cx="184830" cy="166169"/>
                </a:xfrm>
                <a:prstGeom prst="rect">
                  <a:avLst/>
                </a:prstGeom>
                <a:noFill/>
              </p:spPr>
              <p:txBody>
                <a:bodyPr wrap="none" lIns="0" tIns="0" rIns="0" bIns="0" rtlCol="0">
                  <a:noAutofit/>
                </a:bodyPr>
                <a:lstStyle/>
                <a:p>
                  <a:r>
                    <a:rPr lang="fr-FR" sz="800">
                      <a:solidFill>
                        <a:srgbClr val="503078"/>
                      </a:solidFill>
                      <a:latin typeface="Tahoma"/>
                    </a:rPr>
                    <a:t>86</a:t>
                  </a:r>
                </a:p>
              </p:txBody>
            </p:sp>
            <p:sp>
              <p:nvSpPr>
                <p:cNvPr id="212" name="79">
                  <a:extLst>
                    <a:ext uri="{FF2B5EF4-FFF2-40B4-BE49-F238E27FC236}">
                      <a16:creationId xmlns:a16="http://schemas.microsoft.com/office/drawing/2014/main" id="{A5A94475-6BBC-4480-99F2-43A978857B6E}"/>
                    </a:ext>
                  </a:extLst>
                </p:cNvPr>
                <p:cNvSpPr txBox="1"/>
                <p:nvPr/>
              </p:nvSpPr>
              <p:spPr>
                <a:xfrm>
                  <a:off x="5452703" y="3720344"/>
                  <a:ext cx="184830" cy="166169"/>
                </a:xfrm>
                <a:prstGeom prst="rect">
                  <a:avLst/>
                </a:prstGeom>
                <a:noFill/>
              </p:spPr>
              <p:txBody>
                <a:bodyPr wrap="none" lIns="0" tIns="0" rIns="0" bIns="0" rtlCol="0">
                  <a:noAutofit/>
                </a:bodyPr>
                <a:lstStyle/>
                <a:p>
                  <a:r>
                    <a:rPr lang="fr-FR" sz="800">
                      <a:solidFill>
                        <a:srgbClr val="FFFFFF"/>
                      </a:solidFill>
                      <a:latin typeface="Tahoma"/>
                    </a:rPr>
                    <a:t>79</a:t>
                  </a:r>
                </a:p>
              </p:txBody>
            </p:sp>
          </p:grpSp>
          <p:grpSp>
            <p:nvGrpSpPr>
              <p:cNvPr id="199" name="Limousin (N° Départements)">
                <a:extLst>
                  <a:ext uri="{FF2B5EF4-FFF2-40B4-BE49-F238E27FC236}">
                    <a16:creationId xmlns:a16="http://schemas.microsoft.com/office/drawing/2014/main" id="{5ED835EC-16FF-4140-A687-8A88209706A0}"/>
                  </a:ext>
                </a:extLst>
              </p:cNvPr>
              <p:cNvGrpSpPr/>
              <p:nvPr/>
            </p:nvGrpSpPr>
            <p:grpSpPr>
              <a:xfrm>
                <a:off x="5985798" y="4025958"/>
                <a:ext cx="479561" cy="562509"/>
                <a:chOff x="5985798" y="4025958"/>
                <a:chExt cx="479561" cy="562509"/>
              </a:xfrm>
            </p:grpSpPr>
            <p:sp>
              <p:nvSpPr>
                <p:cNvPr id="206" name="23">
                  <a:extLst>
                    <a:ext uri="{FF2B5EF4-FFF2-40B4-BE49-F238E27FC236}">
                      <a16:creationId xmlns:a16="http://schemas.microsoft.com/office/drawing/2014/main" id="{8F3BA986-2A19-4084-A838-681450BE13EE}"/>
                    </a:ext>
                  </a:extLst>
                </p:cNvPr>
                <p:cNvSpPr txBox="1"/>
                <p:nvPr/>
              </p:nvSpPr>
              <p:spPr>
                <a:xfrm>
                  <a:off x="6280529" y="4025958"/>
                  <a:ext cx="184830" cy="166169"/>
                </a:xfrm>
                <a:prstGeom prst="rect">
                  <a:avLst/>
                </a:prstGeom>
                <a:noFill/>
              </p:spPr>
              <p:txBody>
                <a:bodyPr wrap="none" lIns="0" tIns="0" rIns="0" bIns="0" rtlCol="0">
                  <a:noAutofit/>
                </a:bodyPr>
                <a:lstStyle/>
                <a:p>
                  <a:r>
                    <a:rPr lang="fr-FR" sz="800">
                      <a:solidFill>
                        <a:srgbClr val="FFFFFF"/>
                      </a:solidFill>
                      <a:latin typeface="Tahoma"/>
                    </a:rPr>
                    <a:t>23</a:t>
                  </a:r>
                </a:p>
              </p:txBody>
            </p:sp>
            <p:sp>
              <p:nvSpPr>
                <p:cNvPr id="207" name="87">
                  <a:extLst>
                    <a:ext uri="{FF2B5EF4-FFF2-40B4-BE49-F238E27FC236}">
                      <a16:creationId xmlns:a16="http://schemas.microsoft.com/office/drawing/2014/main" id="{1109E4DE-B7B7-40FD-A3ED-D88C710C9FD2}"/>
                    </a:ext>
                  </a:extLst>
                </p:cNvPr>
                <p:cNvSpPr txBox="1"/>
                <p:nvPr/>
              </p:nvSpPr>
              <p:spPr>
                <a:xfrm>
                  <a:off x="5985798" y="4151539"/>
                  <a:ext cx="184830" cy="166169"/>
                </a:xfrm>
                <a:prstGeom prst="rect">
                  <a:avLst/>
                </a:prstGeom>
                <a:noFill/>
              </p:spPr>
              <p:txBody>
                <a:bodyPr wrap="none" lIns="0" tIns="0" rIns="0" bIns="0" rtlCol="0">
                  <a:noAutofit/>
                </a:bodyPr>
                <a:lstStyle/>
                <a:p>
                  <a:r>
                    <a:rPr lang="fr-FR" sz="800">
                      <a:solidFill>
                        <a:srgbClr val="FFFFFF"/>
                      </a:solidFill>
                      <a:latin typeface="Tahoma"/>
                    </a:rPr>
                    <a:t>87</a:t>
                  </a:r>
                </a:p>
              </p:txBody>
            </p:sp>
            <p:sp>
              <p:nvSpPr>
                <p:cNvPr id="208" name="19">
                  <a:extLst>
                    <a:ext uri="{FF2B5EF4-FFF2-40B4-BE49-F238E27FC236}">
                      <a16:creationId xmlns:a16="http://schemas.microsoft.com/office/drawing/2014/main" id="{2535B21B-22C9-470F-8185-0DE8432D0D44}"/>
                    </a:ext>
                  </a:extLst>
                </p:cNvPr>
                <p:cNvSpPr txBox="1"/>
                <p:nvPr/>
              </p:nvSpPr>
              <p:spPr>
                <a:xfrm>
                  <a:off x="6232931" y="4422298"/>
                  <a:ext cx="184830" cy="166169"/>
                </a:xfrm>
                <a:prstGeom prst="rect">
                  <a:avLst/>
                </a:prstGeom>
                <a:noFill/>
              </p:spPr>
              <p:txBody>
                <a:bodyPr wrap="none" lIns="0" tIns="0" rIns="0" bIns="0" rtlCol="0">
                  <a:noAutofit/>
                </a:bodyPr>
                <a:lstStyle/>
                <a:p>
                  <a:r>
                    <a:rPr lang="fr-FR" sz="800">
                      <a:solidFill>
                        <a:srgbClr val="FFFFFF"/>
                      </a:solidFill>
                      <a:latin typeface="Tahoma"/>
                    </a:rPr>
                    <a:t>19</a:t>
                  </a:r>
                </a:p>
              </p:txBody>
            </p:sp>
          </p:grpSp>
          <p:grpSp>
            <p:nvGrpSpPr>
              <p:cNvPr id="200" name="Aquitaine (N° Départments)">
                <a:extLst>
                  <a:ext uri="{FF2B5EF4-FFF2-40B4-BE49-F238E27FC236}">
                    <a16:creationId xmlns:a16="http://schemas.microsoft.com/office/drawing/2014/main" id="{45C656BC-17D0-4139-89A2-3240F8A57032}"/>
                  </a:ext>
                </a:extLst>
              </p:cNvPr>
              <p:cNvGrpSpPr/>
              <p:nvPr/>
            </p:nvGrpSpPr>
            <p:grpSpPr>
              <a:xfrm>
                <a:off x="5192449" y="4538332"/>
                <a:ext cx="777621" cy="1103331"/>
                <a:chOff x="5192449" y="4538332"/>
                <a:chExt cx="777621" cy="1103331"/>
              </a:xfrm>
            </p:grpSpPr>
            <p:sp>
              <p:nvSpPr>
                <p:cNvPr id="201" name="24">
                  <a:extLst>
                    <a:ext uri="{FF2B5EF4-FFF2-40B4-BE49-F238E27FC236}">
                      <a16:creationId xmlns:a16="http://schemas.microsoft.com/office/drawing/2014/main" id="{2267BFA6-E856-4BF1-875F-AD2CFA105D38}"/>
                    </a:ext>
                  </a:extLst>
                </p:cNvPr>
                <p:cNvSpPr txBox="1"/>
                <p:nvPr/>
              </p:nvSpPr>
              <p:spPr>
                <a:xfrm>
                  <a:off x="5785240" y="4538332"/>
                  <a:ext cx="184830" cy="166169"/>
                </a:xfrm>
                <a:prstGeom prst="rect">
                  <a:avLst/>
                </a:prstGeom>
                <a:noFill/>
              </p:spPr>
              <p:txBody>
                <a:bodyPr wrap="none" lIns="0" tIns="0" rIns="0" bIns="0" rtlCol="0">
                  <a:noAutofit/>
                </a:bodyPr>
                <a:lstStyle/>
                <a:p>
                  <a:r>
                    <a:rPr lang="fr-FR" sz="800">
                      <a:solidFill>
                        <a:srgbClr val="FFFFFF"/>
                      </a:solidFill>
                      <a:latin typeface="Tahoma"/>
                    </a:rPr>
                    <a:t>24</a:t>
                  </a:r>
                </a:p>
              </p:txBody>
            </p:sp>
            <p:sp>
              <p:nvSpPr>
                <p:cNvPr id="202" name="33">
                  <a:extLst>
                    <a:ext uri="{FF2B5EF4-FFF2-40B4-BE49-F238E27FC236}">
                      <a16:creationId xmlns:a16="http://schemas.microsoft.com/office/drawing/2014/main" id="{01E9DEA6-DABD-41E5-AE2D-9A53ADB0E5D4}"/>
                    </a:ext>
                  </a:extLst>
                </p:cNvPr>
                <p:cNvSpPr txBox="1"/>
                <p:nvPr/>
              </p:nvSpPr>
              <p:spPr>
                <a:xfrm>
                  <a:off x="5324701" y="4701647"/>
                  <a:ext cx="184830" cy="166169"/>
                </a:xfrm>
                <a:prstGeom prst="rect">
                  <a:avLst/>
                </a:prstGeom>
                <a:noFill/>
              </p:spPr>
              <p:txBody>
                <a:bodyPr wrap="none" lIns="0" tIns="0" rIns="0" bIns="0" rtlCol="0">
                  <a:noAutofit/>
                </a:bodyPr>
                <a:lstStyle/>
                <a:p>
                  <a:r>
                    <a:rPr lang="fr-FR" sz="800">
                      <a:solidFill>
                        <a:srgbClr val="503078"/>
                      </a:solidFill>
                      <a:latin typeface="Tahoma"/>
                    </a:rPr>
                    <a:t>33</a:t>
                  </a:r>
                </a:p>
              </p:txBody>
            </p:sp>
            <p:sp>
              <p:nvSpPr>
                <p:cNvPr id="203" name="64">
                  <a:extLst>
                    <a:ext uri="{FF2B5EF4-FFF2-40B4-BE49-F238E27FC236}">
                      <a16:creationId xmlns:a16="http://schemas.microsoft.com/office/drawing/2014/main" id="{60006F56-E1C8-400E-8020-8C075AAABC32}"/>
                    </a:ext>
                  </a:extLst>
                </p:cNvPr>
                <p:cNvSpPr txBox="1"/>
                <p:nvPr/>
              </p:nvSpPr>
              <p:spPr>
                <a:xfrm>
                  <a:off x="5243028" y="5475494"/>
                  <a:ext cx="184830" cy="166169"/>
                </a:xfrm>
                <a:prstGeom prst="rect">
                  <a:avLst/>
                </a:prstGeom>
                <a:noFill/>
              </p:spPr>
              <p:txBody>
                <a:bodyPr wrap="none" lIns="0" tIns="0" rIns="0" bIns="0" rtlCol="0">
                  <a:noAutofit/>
                </a:bodyPr>
                <a:lstStyle/>
                <a:p>
                  <a:r>
                    <a:rPr lang="fr-FR" sz="800">
                      <a:solidFill>
                        <a:srgbClr val="FFFFFF"/>
                      </a:solidFill>
                      <a:latin typeface="Tahoma"/>
                    </a:rPr>
                    <a:t>64</a:t>
                  </a:r>
                </a:p>
              </p:txBody>
            </p:sp>
            <p:sp>
              <p:nvSpPr>
                <p:cNvPr id="204" name="40">
                  <a:extLst>
                    <a:ext uri="{FF2B5EF4-FFF2-40B4-BE49-F238E27FC236}">
                      <a16:creationId xmlns:a16="http://schemas.microsoft.com/office/drawing/2014/main" id="{3FFFF29F-2966-43A7-80C9-15379B2F869D}"/>
                    </a:ext>
                  </a:extLst>
                </p:cNvPr>
                <p:cNvSpPr txBox="1"/>
                <p:nvPr/>
              </p:nvSpPr>
              <p:spPr>
                <a:xfrm>
                  <a:off x="5192449" y="5100479"/>
                  <a:ext cx="184830" cy="166169"/>
                </a:xfrm>
                <a:prstGeom prst="rect">
                  <a:avLst/>
                </a:prstGeom>
                <a:noFill/>
              </p:spPr>
              <p:txBody>
                <a:bodyPr wrap="none" lIns="0" tIns="0" rIns="0" bIns="0" rtlCol="0">
                  <a:noAutofit/>
                </a:bodyPr>
                <a:lstStyle/>
                <a:p>
                  <a:r>
                    <a:rPr lang="fr-FR" sz="800">
                      <a:solidFill>
                        <a:srgbClr val="503078"/>
                      </a:solidFill>
                      <a:latin typeface="Tahoma"/>
                    </a:rPr>
                    <a:t>40</a:t>
                  </a:r>
                </a:p>
              </p:txBody>
            </p:sp>
            <p:sp>
              <p:nvSpPr>
                <p:cNvPr id="205" name="17">
                  <a:extLst>
                    <a:ext uri="{FF2B5EF4-FFF2-40B4-BE49-F238E27FC236}">
                      <a16:creationId xmlns:a16="http://schemas.microsoft.com/office/drawing/2014/main" id="{FF5B16C7-A643-401D-A498-B2B98123E99A}"/>
                    </a:ext>
                  </a:extLst>
                </p:cNvPr>
                <p:cNvSpPr txBox="1"/>
                <p:nvPr/>
              </p:nvSpPr>
              <p:spPr>
                <a:xfrm>
                  <a:off x="5671886" y="4891465"/>
                  <a:ext cx="184830" cy="166169"/>
                </a:xfrm>
                <a:prstGeom prst="rect">
                  <a:avLst/>
                </a:prstGeom>
                <a:noFill/>
              </p:spPr>
              <p:txBody>
                <a:bodyPr wrap="none" lIns="0" tIns="0" rIns="0" bIns="0" rtlCol="0">
                  <a:noAutofit/>
                </a:bodyPr>
                <a:lstStyle/>
                <a:p>
                  <a:r>
                    <a:rPr lang="fr-FR" sz="800">
                      <a:solidFill>
                        <a:srgbClr val="FFFFFF"/>
                      </a:solidFill>
                      <a:latin typeface="Tahoma"/>
                    </a:rPr>
                    <a:t>47</a:t>
                  </a:r>
                </a:p>
              </p:txBody>
            </p:sp>
          </p:grpSp>
        </p:grpSp>
        <p:grpSp>
          <p:nvGrpSpPr>
            <p:cNvPr id="170" name="Alsace Lorraine Champagne Ardennes (Formes)">
              <a:extLst>
                <a:ext uri="{FF2B5EF4-FFF2-40B4-BE49-F238E27FC236}">
                  <a16:creationId xmlns:a16="http://schemas.microsoft.com/office/drawing/2014/main" id="{7CE84E19-C4D9-4FE0-B840-53C5342306AA}"/>
                </a:ext>
              </a:extLst>
            </p:cNvPr>
            <p:cNvGrpSpPr/>
            <p:nvPr/>
          </p:nvGrpSpPr>
          <p:grpSpPr>
            <a:xfrm>
              <a:off x="7621743" y="1816115"/>
              <a:ext cx="1668939" cy="1395320"/>
              <a:chOff x="6868287" y="1985500"/>
              <a:chExt cx="1668939" cy="1395320"/>
            </a:xfrm>
            <a:solidFill>
              <a:srgbClr val="8C9B9C"/>
            </a:solidFill>
          </p:grpSpPr>
          <p:grpSp>
            <p:nvGrpSpPr>
              <p:cNvPr id="185" name="Lorraine (Formes)">
                <a:extLst>
                  <a:ext uri="{FF2B5EF4-FFF2-40B4-BE49-F238E27FC236}">
                    <a16:creationId xmlns:a16="http://schemas.microsoft.com/office/drawing/2014/main" id="{2FDF9269-F2C8-4926-94E7-C29B6E60AF9B}"/>
                  </a:ext>
                </a:extLst>
              </p:cNvPr>
              <p:cNvGrpSpPr/>
              <p:nvPr/>
            </p:nvGrpSpPr>
            <p:grpSpPr>
              <a:xfrm>
                <a:off x="7385444" y="2263417"/>
                <a:ext cx="944061" cy="925439"/>
                <a:chOff x="7385444" y="2263417"/>
                <a:chExt cx="944061" cy="925439"/>
              </a:xfrm>
              <a:grpFill/>
            </p:grpSpPr>
            <p:sp>
              <p:nvSpPr>
                <p:cNvPr id="194" name="54">
                  <a:extLst>
                    <a:ext uri="{FF2B5EF4-FFF2-40B4-BE49-F238E27FC236}">
                      <a16:creationId xmlns:a16="http://schemas.microsoft.com/office/drawing/2014/main" id="{D912020F-5ABD-42E5-AC5A-21472557740B}"/>
                    </a:ext>
                  </a:extLst>
                </p:cNvPr>
                <p:cNvSpPr>
                  <a:spLocks/>
                </p:cNvSpPr>
                <p:nvPr/>
              </p:nvSpPr>
              <p:spPr bwMode="gray">
                <a:xfrm>
                  <a:off x="7571678" y="2287771"/>
                  <a:ext cx="593082" cy="633194"/>
                </a:xfrm>
                <a:custGeom>
                  <a:avLst/>
                  <a:gdLst>
                    <a:gd name="T0" fmla="*/ 0 w 414"/>
                    <a:gd name="T1" fmla="*/ 59 h 442"/>
                    <a:gd name="T2" fmla="*/ 15 w 414"/>
                    <a:gd name="T3" fmla="*/ 55 h 442"/>
                    <a:gd name="T4" fmla="*/ 6 w 414"/>
                    <a:gd name="T5" fmla="*/ 25 h 442"/>
                    <a:gd name="T6" fmla="*/ 76 w 414"/>
                    <a:gd name="T7" fmla="*/ 0 h 442"/>
                    <a:gd name="T8" fmla="*/ 104 w 414"/>
                    <a:gd name="T9" fmla="*/ 23 h 442"/>
                    <a:gd name="T10" fmla="*/ 106 w 414"/>
                    <a:gd name="T11" fmla="*/ 30 h 442"/>
                    <a:gd name="T12" fmla="*/ 140 w 414"/>
                    <a:gd name="T13" fmla="*/ 113 h 442"/>
                    <a:gd name="T14" fmla="*/ 136 w 414"/>
                    <a:gd name="T15" fmla="*/ 164 h 442"/>
                    <a:gd name="T16" fmla="*/ 119 w 414"/>
                    <a:gd name="T17" fmla="*/ 172 h 442"/>
                    <a:gd name="T18" fmla="*/ 148 w 414"/>
                    <a:gd name="T19" fmla="*/ 212 h 442"/>
                    <a:gd name="T20" fmla="*/ 212 w 414"/>
                    <a:gd name="T21" fmla="*/ 232 h 442"/>
                    <a:gd name="T22" fmla="*/ 208 w 414"/>
                    <a:gd name="T23" fmla="*/ 257 h 442"/>
                    <a:gd name="T24" fmla="*/ 227 w 414"/>
                    <a:gd name="T25" fmla="*/ 280 h 442"/>
                    <a:gd name="T26" fmla="*/ 274 w 414"/>
                    <a:gd name="T27" fmla="*/ 289 h 442"/>
                    <a:gd name="T28" fmla="*/ 302 w 414"/>
                    <a:gd name="T29" fmla="*/ 319 h 442"/>
                    <a:gd name="T30" fmla="*/ 387 w 414"/>
                    <a:gd name="T31" fmla="*/ 338 h 442"/>
                    <a:gd name="T32" fmla="*/ 401 w 414"/>
                    <a:gd name="T33" fmla="*/ 366 h 442"/>
                    <a:gd name="T34" fmla="*/ 414 w 414"/>
                    <a:gd name="T35" fmla="*/ 372 h 442"/>
                    <a:gd name="T36" fmla="*/ 333 w 414"/>
                    <a:gd name="T37" fmla="*/ 421 h 442"/>
                    <a:gd name="T38" fmla="*/ 297 w 414"/>
                    <a:gd name="T39" fmla="*/ 393 h 442"/>
                    <a:gd name="T40" fmla="*/ 285 w 414"/>
                    <a:gd name="T41" fmla="*/ 412 h 442"/>
                    <a:gd name="T42" fmla="*/ 244 w 414"/>
                    <a:gd name="T43" fmla="*/ 423 h 442"/>
                    <a:gd name="T44" fmla="*/ 217 w 414"/>
                    <a:gd name="T45" fmla="*/ 408 h 442"/>
                    <a:gd name="T46" fmla="*/ 180 w 414"/>
                    <a:gd name="T47" fmla="*/ 421 h 442"/>
                    <a:gd name="T48" fmla="*/ 172 w 414"/>
                    <a:gd name="T49" fmla="*/ 440 h 442"/>
                    <a:gd name="T50" fmla="*/ 165 w 414"/>
                    <a:gd name="T51" fmla="*/ 429 h 442"/>
                    <a:gd name="T52" fmla="*/ 136 w 414"/>
                    <a:gd name="T53" fmla="*/ 442 h 442"/>
                    <a:gd name="T54" fmla="*/ 127 w 414"/>
                    <a:gd name="T55" fmla="*/ 412 h 442"/>
                    <a:gd name="T56" fmla="*/ 110 w 414"/>
                    <a:gd name="T57" fmla="*/ 421 h 442"/>
                    <a:gd name="T58" fmla="*/ 119 w 414"/>
                    <a:gd name="T59" fmla="*/ 389 h 442"/>
                    <a:gd name="T60" fmla="*/ 85 w 414"/>
                    <a:gd name="T61" fmla="*/ 391 h 442"/>
                    <a:gd name="T62" fmla="*/ 72 w 414"/>
                    <a:gd name="T63" fmla="*/ 361 h 442"/>
                    <a:gd name="T64" fmla="*/ 93 w 414"/>
                    <a:gd name="T65" fmla="*/ 342 h 442"/>
                    <a:gd name="T66" fmla="*/ 83 w 414"/>
                    <a:gd name="T67" fmla="*/ 344 h 442"/>
                    <a:gd name="T68" fmla="*/ 72 w 414"/>
                    <a:gd name="T69" fmla="*/ 300 h 442"/>
                    <a:gd name="T70" fmla="*/ 100 w 414"/>
                    <a:gd name="T71" fmla="*/ 189 h 442"/>
                    <a:gd name="T72" fmla="*/ 68 w 414"/>
                    <a:gd name="T73" fmla="*/ 134 h 442"/>
                    <a:gd name="T74" fmla="*/ 78 w 414"/>
                    <a:gd name="T75" fmla="*/ 96 h 442"/>
                    <a:gd name="T76" fmla="*/ 68 w 414"/>
                    <a:gd name="T77" fmla="*/ 59 h 442"/>
                    <a:gd name="T78" fmla="*/ 44 w 414"/>
                    <a:gd name="T79" fmla="*/ 47 h 442"/>
                    <a:gd name="T80" fmla="*/ 0 w 414"/>
                    <a:gd name="T81" fmla="*/ 62 h 442"/>
                    <a:gd name="T82" fmla="*/ 0 w 414"/>
                    <a:gd name="T83" fmla="*/ 59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4" h="442">
                      <a:moveTo>
                        <a:pt x="0" y="59"/>
                      </a:moveTo>
                      <a:lnTo>
                        <a:pt x="15" y="55"/>
                      </a:lnTo>
                      <a:lnTo>
                        <a:pt x="6" y="25"/>
                      </a:lnTo>
                      <a:lnTo>
                        <a:pt x="76" y="0"/>
                      </a:lnTo>
                      <a:lnTo>
                        <a:pt x="104" y="23"/>
                      </a:lnTo>
                      <a:lnTo>
                        <a:pt x="106" y="30"/>
                      </a:lnTo>
                      <a:lnTo>
                        <a:pt x="140" y="113"/>
                      </a:lnTo>
                      <a:lnTo>
                        <a:pt x="136" y="164"/>
                      </a:lnTo>
                      <a:lnTo>
                        <a:pt x="119" y="172"/>
                      </a:lnTo>
                      <a:lnTo>
                        <a:pt x="148" y="212"/>
                      </a:lnTo>
                      <a:lnTo>
                        <a:pt x="212" y="232"/>
                      </a:lnTo>
                      <a:lnTo>
                        <a:pt x="208" y="257"/>
                      </a:lnTo>
                      <a:lnTo>
                        <a:pt x="227" y="280"/>
                      </a:lnTo>
                      <a:lnTo>
                        <a:pt x="274" y="289"/>
                      </a:lnTo>
                      <a:lnTo>
                        <a:pt x="302" y="319"/>
                      </a:lnTo>
                      <a:lnTo>
                        <a:pt x="387" y="338"/>
                      </a:lnTo>
                      <a:lnTo>
                        <a:pt x="401" y="366"/>
                      </a:lnTo>
                      <a:lnTo>
                        <a:pt x="414" y="372"/>
                      </a:lnTo>
                      <a:lnTo>
                        <a:pt x="333" y="421"/>
                      </a:lnTo>
                      <a:lnTo>
                        <a:pt x="297" y="393"/>
                      </a:lnTo>
                      <a:lnTo>
                        <a:pt x="285" y="412"/>
                      </a:lnTo>
                      <a:lnTo>
                        <a:pt x="244" y="423"/>
                      </a:lnTo>
                      <a:lnTo>
                        <a:pt x="217" y="408"/>
                      </a:lnTo>
                      <a:lnTo>
                        <a:pt x="180" y="421"/>
                      </a:lnTo>
                      <a:lnTo>
                        <a:pt x="172" y="440"/>
                      </a:lnTo>
                      <a:lnTo>
                        <a:pt x="165" y="429"/>
                      </a:lnTo>
                      <a:lnTo>
                        <a:pt x="136" y="442"/>
                      </a:lnTo>
                      <a:lnTo>
                        <a:pt x="127" y="412"/>
                      </a:lnTo>
                      <a:lnTo>
                        <a:pt x="110" y="421"/>
                      </a:lnTo>
                      <a:lnTo>
                        <a:pt x="119" y="389"/>
                      </a:lnTo>
                      <a:lnTo>
                        <a:pt x="85" y="391"/>
                      </a:lnTo>
                      <a:lnTo>
                        <a:pt x="72" y="361"/>
                      </a:lnTo>
                      <a:lnTo>
                        <a:pt x="93" y="342"/>
                      </a:lnTo>
                      <a:lnTo>
                        <a:pt x="83" y="344"/>
                      </a:lnTo>
                      <a:lnTo>
                        <a:pt x="72" y="300"/>
                      </a:lnTo>
                      <a:lnTo>
                        <a:pt x="100" y="189"/>
                      </a:lnTo>
                      <a:lnTo>
                        <a:pt x="68" y="134"/>
                      </a:lnTo>
                      <a:lnTo>
                        <a:pt x="78" y="96"/>
                      </a:lnTo>
                      <a:lnTo>
                        <a:pt x="68" y="59"/>
                      </a:lnTo>
                      <a:lnTo>
                        <a:pt x="44" y="47"/>
                      </a:lnTo>
                      <a:lnTo>
                        <a:pt x="0" y="62"/>
                      </a:lnTo>
                      <a:lnTo>
                        <a:pt x="0" y="59"/>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195" name="55">
                  <a:extLst>
                    <a:ext uri="{FF2B5EF4-FFF2-40B4-BE49-F238E27FC236}">
                      <a16:creationId xmlns:a16="http://schemas.microsoft.com/office/drawing/2014/main" id="{C16FB1F0-572A-46D9-B9F9-A4BB00418469}"/>
                    </a:ext>
                  </a:extLst>
                </p:cNvPr>
                <p:cNvSpPr>
                  <a:spLocks/>
                </p:cNvSpPr>
                <p:nvPr/>
              </p:nvSpPr>
              <p:spPr bwMode="gray">
                <a:xfrm>
                  <a:off x="7385444" y="2263417"/>
                  <a:ext cx="329490" cy="624598"/>
                </a:xfrm>
                <a:custGeom>
                  <a:avLst/>
                  <a:gdLst>
                    <a:gd name="T0" fmla="*/ 2 w 230"/>
                    <a:gd name="T1" fmla="*/ 297 h 436"/>
                    <a:gd name="T2" fmla="*/ 30 w 230"/>
                    <a:gd name="T3" fmla="*/ 323 h 436"/>
                    <a:gd name="T4" fmla="*/ 26 w 230"/>
                    <a:gd name="T5" fmla="*/ 342 h 436"/>
                    <a:gd name="T6" fmla="*/ 32 w 230"/>
                    <a:gd name="T7" fmla="*/ 370 h 436"/>
                    <a:gd name="T8" fmla="*/ 43 w 230"/>
                    <a:gd name="T9" fmla="*/ 363 h 436"/>
                    <a:gd name="T10" fmla="*/ 145 w 230"/>
                    <a:gd name="T11" fmla="*/ 436 h 436"/>
                    <a:gd name="T12" fmla="*/ 215 w 230"/>
                    <a:gd name="T13" fmla="*/ 408 h 436"/>
                    <a:gd name="T14" fmla="*/ 202 w 230"/>
                    <a:gd name="T15" fmla="*/ 378 h 436"/>
                    <a:gd name="T16" fmla="*/ 223 w 230"/>
                    <a:gd name="T17" fmla="*/ 359 h 436"/>
                    <a:gd name="T18" fmla="*/ 213 w 230"/>
                    <a:gd name="T19" fmla="*/ 361 h 436"/>
                    <a:gd name="T20" fmla="*/ 202 w 230"/>
                    <a:gd name="T21" fmla="*/ 317 h 436"/>
                    <a:gd name="T22" fmla="*/ 230 w 230"/>
                    <a:gd name="T23" fmla="*/ 206 h 436"/>
                    <a:gd name="T24" fmla="*/ 198 w 230"/>
                    <a:gd name="T25" fmla="*/ 151 h 436"/>
                    <a:gd name="T26" fmla="*/ 208 w 230"/>
                    <a:gd name="T27" fmla="*/ 113 h 436"/>
                    <a:gd name="T28" fmla="*/ 198 w 230"/>
                    <a:gd name="T29" fmla="*/ 76 h 436"/>
                    <a:gd name="T30" fmla="*/ 174 w 230"/>
                    <a:gd name="T31" fmla="*/ 64 h 436"/>
                    <a:gd name="T32" fmla="*/ 130 w 230"/>
                    <a:gd name="T33" fmla="*/ 79 h 436"/>
                    <a:gd name="T34" fmla="*/ 130 w 230"/>
                    <a:gd name="T35" fmla="*/ 76 h 436"/>
                    <a:gd name="T36" fmla="*/ 145 w 230"/>
                    <a:gd name="T37" fmla="*/ 72 h 436"/>
                    <a:gd name="T38" fmla="*/ 136 w 230"/>
                    <a:gd name="T39" fmla="*/ 42 h 436"/>
                    <a:gd name="T40" fmla="*/ 115 w 230"/>
                    <a:gd name="T41" fmla="*/ 0 h 436"/>
                    <a:gd name="T42" fmla="*/ 87 w 230"/>
                    <a:gd name="T43" fmla="*/ 27 h 436"/>
                    <a:gd name="T44" fmla="*/ 47 w 230"/>
                    <a:gd name="T45" fmla="*/ 15 h 436"/>
                    <a:gd name="T46" fmla="*/ 36 w 230"/>
                    <a:gd name="T47" fmla="*/ 42 h 436"/>
                    <a:gd name="T48" fmla="*/ 49 w 230"/>
                    <a:gd name="T49" fmla="*/ 85 h 436"/>
                    <a:gd name="T50" fmla="*/ 36 w 230"/>
                    <a:gd name="T51" fmla="*/ 127 h 436"/>
                    <a:gd name="T52" fmla="*/ 15 w 230"/>
                    <a:gd name="T53" fmla="*/ 140 h 436"/>
                    <a:gd name="T54" fmla="*/ 19 w 230"/>
                    <a:gd name="T55" fmla="*/ 219 h 436"/>
                    <a:gd name="T56" fmla="*/ 34 w 230"/>
                    <a:gd name="T57" fmla="*/ 221 h 436"/>
                    <a:gd name="T58" fmla="*/ 34 w 230"/>
                    <a:gd name="T59" fmla="*/ 244 h 436"/>
                    <a:gd name="T60" fmla="*/ 11 w 230"/>
                    <a:gd name="T61" fmla="*/ 257 h 436"/>
                    <a:gd name="T62" fmla="*/ 0 w 230"/>
                    <a:gd name="T63" fmla="*/ 295 h 436"/>
                    <a:gd name="T64" fmla="*/ 2 w 230"/>
                    <a:gd name="T65" fmla="*/ 29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436">
                      <a:moveTo>
                        <a:pt x="2" y="297"/>
                      </a:moveTo>
                      <a:lnTo>
                        <a:pt x="30" y="323"/>
                      </a:lnTo>
                      <a:lnTo>
                        <a:pt x="26" y="342"/>
                      </a:lnTo>
                      <a:lnTo>
                        <a:pt x="32" y="370"/>
                      </a:lnTo>
                      <a:lnTo>
                        <a:pt x="43" y="363"/>
                      </a:lnTo>
                      <a:lnTo>
                        <a:pt x="145" y="436"/>
                      </a:lnTo>
                      <a:lnTo>
                        <a:pt x="215" y="408"/>
                      </a:lnTo>
                      <a:lnTo>
                        <a:pt x="202" y="378"/>
                      </a:lnTo>
                      <a:lnTo>
                        <a:pt x="223" y="359"/>
                      </a:lnTo>
                      <a:lnTo>
                        <a:pt x="213" y="361"/>
                      </a:lnTo>
                      <a:lnTo>
                        <a:pt x="202" y="317"/>
                      </a:lnTo>
                      <a:lnTo>
                        <a:pt x="230" y="206"/>
                      </a:lnTo>
                      <a:lnTo>
                        <a:pt x="198" y="151"/>
                      </a:lnTo>
                      <a:lnTo>
                        <a:pt x="208" y="113"/>
                      </a:lnTo>
                      <a:lnTo>
                        <a:pt x="198" y="76"/>
                      </a:lnTo>
                      <a:lnTo>
                        <a:pt x="174" y="64"/>
                      </a:lnTo>
                      <a:lnTo>
                        <a:pt x="130" y="79"/>
                      </a:lnTo>
                      <a:lnTo>
                        <a:pt x="130" y="76"/>
                      </a:lnTo>
                      <a:lnTo>
                        <a:pt x="145" y="72"/>
                      </a:lnTo>
                      <a:lnTo>
                        <a:pt x="136" y="42"/>
                      </a:lnTo>
                      <a:lnTo>
                        <a:pt x="115" y="0"/>
                      </a:lnTo>
                      <a:lnTo>
                        <a:pt x="87" y="27"/>
                      </a:lnTo>
                      <a:lnTo>
                        <a:pt x="47" y="15"/>
                      </a:lnTo>
                      <a:lnTo>
                        <a:pt x="36" y="42"/>
                      </a:lnTo>
                      <a:lnTo>
                        <a:pt x="49" y="85"/>
                      </a:lnTo>
                      <a:lnTo>
                        <a:pt x="36" y="127"/>
                      </a:lnTo>
                      <a:lnTo>
                        <a:pt x="15" y="140"/>
                      </a:lnTo>
                      <a:lnTo>
                        <a:pt x="19" y="219"/>
                      </a:lnTo>
                      <a:lnTo>
                        <a:pt x="34" y="221"/>
                      </a:lnTo>
                      <a:lnTo>
                        <a:pt x="34" y="244"/>
                      </a:lnTo>
                      <a:lnTo>
                        <a:pt x="11" y="257"/>
                      </a:lnTo>
                      <a:lnTo>
                        <a:pt x="0" y="295"/>
                      </a:lnTo>
                      <a:lnTo>
                        <a:pt x="2" y="297"/>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196" name="57">
                  <a:extLst>
                    <a:ext uri="{FF2B5EF4-FFF2-40B4-BE49-F238E27FC236}">
                      <a16:creationId xmlns:a16="http://schemas.microsoft.com/office/drawing/2014/main" id="{E058CA00-AEC9-48CC-93CA-C05D4B340E80}"/>
                    </a:ext>
                  </a:extLst>
                </p:cNvPr>
                <p:cNvSpPr>
                  <a:spLocks/>
                </p:cNvSpPr>
                <p:nvPr/>
              </p:nvSpPr>
              <p:spPr bwMode="gray">
                <a:xfrm>
                  <a:off x="7720664" y="2312125"/>
                  <a:ext cx="608841" cy="499965"/>
                </a:xfrm>
                <a:custGeom>
                  <a:avLst/>
                  <a:gdLst>
                    <a:gd name="T0" fmla="*/ 2 w 425"/>
                    <a:gd name="T1" fmla="*/ 13 h 349"/>
                    <a:gd name="T2" fmla="*/ 36 w 425"/>
                    <a:gd name="T3" fmla="*/ 96 h 349"/>
                    <a:gd name="T4" fmla="*/ 32 w 425"/>
                    <a:gd name="T5" fmla="*/ 147 h 349"/>
                    <a:gd name="T6" fmla="*/ 15 w 425"/>
                    <a:gd name="T7" fmla="*/ 155 h 349"/>
                    <a:gd name="T8" fmla="*/ 44 w 425"/>
                    <a:gd name="T9" fmla="*/ 195 h 349"/>
                    <a:gd name="T10" fmla="*/ 108 w 425"/>
                    <a:gd name="T11" fmla="*/ 215 h 349"/>
                    <a:gd name="T12" fmla="*/ 104 w 425"/>
                    <a:gd name="T13" fmla="*/ 240 h 349"/>
                    <a:gd name="T14" fmla="*/ 123 w 425"/>
                    <a:gd name="T15" fmla="*/ 263 h 349"/>
                    <a:gd name="T16" fmla="*/ 170 w 425"/>
                    <a:gd name="T17" fmla="*/ 272 h 349"/>
                    <a:gd name="T18" fmla="*/ 198 w 425"/>
                    <a:gd name="T19" fmla="*/ 302 h 349"/>
                    <a:gd name="T20" fmla="*/ 283 w 425"/>
                    <a:gd name="T21" fmla="*/ 321 h 349"/>
                    <a:gd name="T22" fmla="*/ 297 w 425"/>
                    <a:gd name="T23" fmla="*/ 349 h 349"/>
                    <a:gd name="T24" fmla="*/ 340 w 425"/>
                    <a:gd name="T25" fmla="*/ 329 h 349"/>
                    <a:gd name="T26" fmla="*/ 351 w 425"/>
                    <a:gd name="T27" fmla="*/ 300 h 349"/>
                    <a:gd name="T28" fmla="*/ 336 w 425"/>
                    <a:gd name="T29" fmla="*/ 289 h 349"/>
                    <a:gd name="T30" fmla="*/ 353 w 425"/>
                    <a:gd name="T31" fmla="*/ 259 h 349"/>
                    <a:gd name="T32" fmla="*/ 321 w 425"/>
                    <a:gd name="T33" fmla="*/ 232 h 349"/>
                    <a:gd name="T34" fmla="*/ 295 w 425"/>
                    <a:gd name="T35" fmla="*/ 255 h 349"/>
                    <a:gd name="T36" fmla="*/ 297 w 425"/>
                    <a:gd name="T37" fmla="*/ 227 h 349"/>
                    <a:gd name="T38" fmla="*/ 261 w 425"/>
                    <a:gd name="T39" fmla="*/ 206 h 349"/>
                    <a:gd name="T40" fmla="*/ 261 w 425"/>
                    <a:gd name="T41" fmla="*/ 204 h 349"/>
                    <a:gd name="T42" fmla="*/ 280 w 425"/>
                    <a:gd name="T43" fmla="*/ 193 h 349"/>
                    <a:gd name="T44" fmla="*/ 291 w 425"/>
                    <a:gd name="T45" fmla="*/ 151 h 349"/>
                    <a:gd name="T46" fmla="*/ 304 w 425"/>
                    <a:gd name="T47" fmla="*/ 174 h 349"/>
                    <a:gd name="T48" fmla="*/ 351 w 425"/>
                    <a:gd name="T49" fmla="*/ 195 h 349"/>
                    <a:gd name="T50" fmla="*/ 404 w 425"/>
                    <a:gd name="T51" fmla="*/ 195 h 349"/>
                    <a:gd name="T52" fmla="*/ 425 w 425"/>
                    <a:gd name="T53" fmla="*/ 153 h 349"/>
                    <a:gd name="T54" fmla="*/ 376 w 425"/>
                    <a:gd name="T55" fmla="*/ 106 h 349"/>
                    <a:gd name="T56" fmla="*/ 340 w 425"/>
                    <a:gd name="T57" fmla="*/ 132 h 349"/>
                    <a:gd name="T58" fmla="*/ 293 w 425"/>
                    <a:gd name="T59" fmla="*/ 121 h 349"/>
                    <a:gd name="T60" fmla="*/ 283 w 425"/>
                    <a:gd name="T61" fmla="*/ 136 h 349"/>
                    <a:gd name="T62" fmla="*/ 276 w 425"/>
                    <a:gd name="T63" fmla="*/ 108 h 349"/>
                    <a:gd name="T64" fmla="*/ 251 w 425"/>
                    <a:gd name="T65" fmla="*/ 98 h 349"/>
                    <a:gd name="T66" fmla="*/ 229 w 425"/>
                    <a:gd name="T67" fmla="*/ 102 h 349"/>
                    <a:gd name="T68" fmla="*/ 229 w 425"/>
                    <a:gd name="T69" fmla="*/ 123 h 349"/>
                    <a:gd name="T70" fmla="*/ 206 w 425"/>
                    <a:gd name="T71" fmla="*/ 119 h 349"/>
                    <a:gd name="T72" fmla="*/ 138 w 425"/>
                    <a:gd name="T73" fmla="*/ 13 h 349"/>
                    <a:gd name="T74" fmla="*/ 72 w 425"/>
                    <a:gd name="T75" fmla="*/ 0 h 349"/>
                    <a:gd name="T76" fmla="*/ 36 w 425"/>
                    <a:gd name="T77" fmla="*/ 23 h 349"/>
                    <a:gd name="T78" fmla="*/ 0 w 425"/>
                    <a:gd name="T79" fmla="*/ 6 h 349"/>
                    <a:gd name="T80" fmla="*/ 2 w 425"/>
                    <a:gd name="T81" fmla="*/ 13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5" h="349">
                      <a:moveTo>
                        <a:pt x="2" y="13"/>
                      </a:moveTo>
                      <a:lnTo>
                        <a:pt x="36" y="96"/>
                      </a:lnTo>
                      <a:lnTo>
                        <a:pt x="32" y="147"/>
                      </a:lnTo>
                      <a:lnTo>
                        <a:pt x="15" y="155"/>
                      </a:lnTo>
                      <a:lnTo>
                        <a:pt x="44" y="195"/>
                      </a:lnTo>
                      <a:lnTo>
                        <a:pt x="108" y="215"/>
                      </a:lnTo>
                      <a:lnTo>
                        <a:pt x="104" y="240"/>
                      </a:lnTo>
                      <a:lnTo>
                        <a:pt x="123" y="263"/>
                      </a:lnTo>
                      <a:lnTo>
                        <a:pt x="170" y="272"/>
                      </a:lnTo>
                      <a:lnTo>
                        <a:pt x="198" y="302"/>
                      </a:lnTo>
                      <a:lnTo>
                        <a:pt x="283" y="321"/>
                      </a:lnTo>
                      <a:lnTo>
                        <a:pt x="297" y="349"/>
                      </a:lnTo>
                      <a:lnTo>
                        <a:pt x="340" y="329"/>
                      </a:lnTo>
                      <a:lnTo>
                        <a:pt x="351" y="300"/>
                      </a:lnTo>
                      <a:lnTo>
                        <a:pt x="336" y="289"/>
                      </a:lnTo>
                      <a:lnTo>
                        <a:pt x="353" y="259"/>
                      </a:lnTo>
                      <a:lnTo>
                        <a:pt x="321" y="232"/>
                      </a:lnTo>
                      <a:lnTo>
                        <a:pt x="295" y="255"/>
                      </a:lnTo>
                      <a:lnTo>
                        <a:pt x="297" y="227"/>
                      </a:lnTo>
                      <a:lnTo>
                        <a:pt x="261" y="206"/>
                      </a:lnTo>
                      <a:lnTo>
                        <a:pt x="261" y="204"/>
                      </a:lnTo>
                      <a:lnTo>
                        <a:pt x="280" y="193"/>
                      </a:lnTo>
                      <a:lnTo>
                        <a:pt x="291" y="151"/>
                      </a:lnTo>
                      <a:lnTo>
                        <a:pt x="304" y="174"/>
                      </a:lnTo>
                      <a:lnTo>
                        <a:pt x="351" y="195"/>
                      </a:lnTo>
                      <a:lnTo>
                        <a:pt x="404" y="195"/>
                      </a:lnTo>
                      <a:lnTo>
                        <a:pt x="425" y="153"/>
                      </a:lnTo>
                      <a:lnTo>
                        <a:pt x="376" y="106"/>
                      </a:lnTo>
                      <a:lnTo>
                        <a:pt x="340" y="132"/>
                      </a:lnTo>
                      <a:lnTo>
                        <a:pt x="293" y="121"/>
                      </a:lnTo>
                      <a:lnTo>
                        <a:pt x="283" y="136"/>
                      </a:lnTo>
                      <a:lnTo>
                        <a:pt x="276" y="108"/>
                      </a:lnTo>
                      <a:lnTo>
                        <a:pt x="251" y="98"/>
                      </a:lnTo>
                      <a:lnTo>
                        <a:pt x="229" y="102"/>
                      </a:lnTo>
                      <a:lnTo>
                        <a:pt x="229" y="123"/>
                      </a:lnTo>
                      <a:lnTo>
                        <a:pt x="206" y="119"/>
                      </a:lnTo>
                      <a:lnTo>
                        <a:pt x="138" y="13"/>
                      </a:lnTo>
                      <a:lnTo>
                        <a:pt x="72" y="0"/>
                      </a:lnTo>
                      <a:lnTo>
                        <a:pt x="36" y="23"/>
                      </a:lnTo>
                      <a:lnTo>
                        <a:pt x="0" y="6"/>
                      </a:lnTo>
                      <a:lnTo>
                        <a:pt x="2" y="13"/>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197" name="88">
                  <a:extLst>
                    <a:ext uri="{FF2B5EF4-FFF2-40B4-BE49-F238E27FC236}">
                      <a16:creationId xmlns:a16="http://schemas.microsoft.com/office/drawing/2014/main" id="{09E2AB33-7429-48B7-91E1-12DCC932020D}"/>
                    </a:ext>
                  </a:extLst>
                </p:cNvPr>
                <p:cNvSpPr>
                  <a:spLocks/>
                </p:cNvSpPr>
                <p:nvPr/>
              </p:nvSpPr>
              <p:spPr bwMode="gray">
                <a:xfrm>
                  <a:off x="7568812" y="2820686"/>
                  <a:ext cx="630329" cy="368170"/>
                </a:xfrm>
                <a:custGeom>
                  <a:avLst/>
                  <a:gdLst>
                    <a:gd name="T0" fmla="*/ 0 w 440"/>
                    <a:gd name="T1" fmla="*/ 62 h 257"/>
                    <a:gd name="T2" fmla="*/ 78 w 440"/>
                    <a:gd name="T3" fmla="*/ 119 h 257"/>
                    <a:gd name="T4" fmla="*/ 61 w 440"/>
                    <a:gd name="T5" fmla="*/ 170 h 257"/>
                    <a:gd name="T6" fmla="*/ 125 w 440"/>
                    <a:gd name="T7" fmla="*/ 225 h 257"/>
                    <a:gd name="T8" fmla="*/ 182 w 440"/>
                    <a:gd name="T9" fmla="*/ 187 h 257"/>
                    <a:gd name="T10" fmla="*/ 204 w 440"/>
                    <a:gd name="T11" fmla="*/ 221 h 257"/>
                    <a:gd name="T12" fmla="*/ 253 w 440"/>
                    <a:gd name="T13" fmla="*/ 215 h 257"/>
                    <a:gd name="T14" fmla="*/ 253 w 440"/>
                    <a:gd name="T15" fmla="*/ 215 h 257"/>
                    <a:gd name="T16" fmla="*/ 270 w 440"/>
                    <a:gd name="T17" fmla="*/ 234 h 257"/>
                    <a:gd name="T18" fmla="*/ 299 w 440"/>
                    <a:gd name="T19" fmla="*/ 213 h 257"/>
                    <a:gd name="T20" fmla="*/ 355 w 440"/>
                    <a:gd name="T21" fmla="*/ 257 h 257"/>
                    <a:gd name="T22" fmla="*/ 361 w 440"/>
                    <a:gd name="T23" fmla="*/ 255 h 257"/>
                    <a:gd name="T24" fmla="*/ 378 w 440"/>
                    <a:gd name="T25" fmla="*/ 244 h 257"/>
                    <a:gd name="T26" fmla="*/ 382 w 440"/>
                    <a:gd name="T27" fmla="*/ 193 h 257"/>
                    <a:gd name="T28" fmla="*/ 440 w 440"/>
                    <a:gd name="T29" fmla="*/ 72 h 257"/>
                    <a:gd name="T30" fmla="*/ 410 w 440"/>
                    <a:gd name="T31" fmla="*/ 59 h 257"/>
                    <a:gd name="T32" fmla="*/ 416 w 440"/>
                    <a:gd name="T33" fmla="*/ 0 h 257"/>
                    <a:gd name="T34" fmla="*/ 335 w 440"/>
                    <a:gd name="T35" fmla="*/ 49 h 257"/>
                    <a:gd name="T36" fmla="*/ 299 w 440"/>
                    <a:gd name="T37" fmla="*/ 21 h 257"/>
                    <a:gd name="T38" fmla="*/ 287 w 440"/>
                    <a:gd name="T39" fmla="*/ 40 h 257"/>
                    <a:gd name="T40" fmla="*/ 246 w 440"/>
                    <a:gd name="T41" fmla="*/ 51 h 257"/>
                    <a:gd name="T42" fmla="*/ 219 w 440"/>
                    <a:gd name="T43" fmla="*/ 36 h 257"/>
                    <a:gd name="T44" fmla="*/ 182 w 440"/>
                    <a:gd name="T45" fmla="*/ 49 h 257"/>
                    <a:gd name="T46" fmla="*/ 174 w 440"/>
                    <a:gd name="T47" fmla="*/ 68 h 257"/>
                    <a:gd name="T48" fmla="*/ 167 w 440"/>
                    <a:gd name="T49" fmla="*/ 57 h 257"/>
                    <a:gd name="T50" fmla="*/ 138 w 440"/>
                    <a:gd name="T51" fmla="*/ 70 h 257"/>
                    <a:gd name="T52" fmla="*/ 129 w 440"/>
                    <a:gd name="T53" fmla="*/ 40 h 257"/>
                    <a:gd name="T54" fmla="*/ 112 w 440"/>
                    <a:gd name="T55" fmla="*/ 49 h 257"/>
                    <a:gd name="T56" fmla="*/ 121 w 440"/>
                    <a:gd name="T57" fmla="*/ 17 h 257"/>
                    <a:gd name="T58" fmla="*/ 87 w 440"/>
                    <a:gd name="T59" fmla="*/ 19 h 257"/>
                    <a:gd name="T60" fmla="*/ 17 w 440"/>
                    <a:gd name="T61" fmla="*/ 47 h 257"/>
                    <a:gd name="T62" fmla="*/ 0 w 440"/>
                    <a:gd name="T63" fmla="*/ 59 h 257"/>
                    <a:gd name="T64" fmla="*/ 0 w 440"/>
                    <a:gd name="T65" fmla="*/ 6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0" h="257">
                      <a:moveTo>
                        <a:pt x="0" y="62"/>
                      </a:moveTo>
                      <a:lnTo>
                        <a:pt x="78" y="119"/>
                      </a:lnTo>
                      <a:lnTo>
                        <a:pt x="61" y="170"/>
                      </a:lnTo>
                      <a:lnTo>
                        <a:pt x="125" y="225"/>
                      </a:lnTo>
                      <a:lnTo>
                        <a:pt x="182" y="187"/>
                      </a:lnTo>
                      <a:lnTo>
                        <a:pt x="204" y="221"/>
                      </a:lnTo>
                      <a:lnTo>
                        <a:pt x="253" y="215"/>
                      </a:lnTo>
                      <a:lnTo>
                        <a:pt x="253" y="215"/>
                      </a:lnTo>
                      <a:lnTo>
                        <a:pt x="270" y="234"/>
                      </a:lnTo>
                      <a:lnTo>
                        <a:pt x="299" y="213"/>
                      </a:lnTo>
                      <a:lnTo>
                        <a:pt x="355" y="257"/>
                      </a:lnTo>
                      <a:lnTo>
                        <a:pt x="361" y="255"/>
                      </a:lnTo>
                      <a:lnTo>
                        <a:pt x="378" y="244"/>
                      </a:lnTo>
                      <a:lnTo>
                        <a:pt x="382" y="193"/>
                      </a:lnTo>
                      <a:lnTo>
                        <a:pt x="440" y="72"/>
                      </a:lnTo>
                      <a:lnTo>
                        <a:pt x="410" y="59"/>
                      </a:lnTo>
                      <a:lnTo>
                        <a:pt x="416" y="0"/>
                      </a:lnTo>
                      <a:lnTo>
                        <a:pt x="335" y="49"/>
                      </a:lnTo>
                      <a:lnTo>
                        <a:pt x="299" y="21"/>
                      </a:lnTo>
                      <a:lnTo>
                        <a:pt x="287" y="40"/>
                      </a:lnTo>
                      <a:lnTo>
                        <a:pt x="246" y="51"/>
                      </a:lnTo>
                      <a:lnTo>
                        <a:pt x="219" y="36"/>
                      </a:lnTo>
                      <a:lnTo>
                        <a:pt x="182" y="49"/>
                      </a:lnTo>
                      <a:lnTo>
                        <a:pt x="174" y="68"/>
                      </a:lnTo>
                      <a:lnTo>
                        <a:pt x="167" y="57"/>
                      </a:lnTo>
                      <a:lnTo>
                        <a:pt x="138" y="70"/>
                      </a:lnTo>
                      <a:lnTo>
                        <a:pt x="129" y="40"/>
                      </a:lnTo>
                      <a:lnTo>
                        <a:pt x="112" y="49"/>
                      </a:lnTo>
                      <a:lnTo>
                        <a:pt x="121" y="17"/>
                      </a:lnTo>
                      <a:lnTo>
                        <a:pt x="87" y="19"/>
                      </a:lnTo>
                      <a:lnTo>
                        <a:pt x="17" y="47"/>
                      </a:lnTo>
                      <a:lnTo>
                        <a:pt x="0" y="59"/>
                      </a:lnTo>
                      <a:lnTo>
                        <a:pt x="0" y="62"/>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grpSp>
          <p:grpSp>
            <p:nvGrpSpPr>
              <p:cNvPr id="186" name="Champagne Ardennes">
                <a:extLst>
                  <a:ext uri="{FF2B5EF4-FFF2-40B4-BE49-F238E27FC236}">
                    <a16:creationId xmlns:a16="http://schemas.microsoft.com/office/drawing/2014/main" id="{67F26F05-B6B6-49B4-BBC6-6E48EBAB80EC}"/>
                  </a:ext>
                </a:extLst>
              </p:cNvPr>
              <p:cNvGrpSpPr/>
              <p:nvPr/>
            </p:nvGrpSpPr>
            <p:grpSpPr>
              <a:xfrm>
                <a:off x="6868287" y="1985500"/>
                <a:ext cx="879595" cy="1346611"/>
                <a:chOff x="6868287" y="1985500"/>
                <a:chExt cx="879595" cy="1346611"/>
              </a:xfrm>
              <a:grpFill/>
            </p:grpSpPr>
            <p:sp>
              <p:nvSpPr>
                <p:cNvPr id="190" name="51">
                  <a:extLst>
                    <a:ext uri="{FF2B5EF4-FFF2-40B4-BE49-F238E27FC236}">
                      <a16:creationId xmlns:a16="http://schemas.microsoft.com/office/drawing/2014/main" id="{C44C46AC-596F-4E9D-A762-EA5682CA36BB}"/>
                    </a:ext>
                  </a:extLst>
                </p:cNvPr>
                <p:cNvSpPr>
                  <a:spLocks/>
                </p:cNvSpPr>
                <p:nvPr/>
              </p:nvSpPr>
              <p:spPr bwMode="gray">
                <a:xfrm>
                  <a:off x="6875417" y="2379589"/>
                  <a:ext cx="560134" cy="468450"/>
                </a:xfrm>
                <a:custGeom>
                  <a:avLst/>
                  <a:gdLst>
                    <a:gd name="T0" fmla="*/ 0 w 391"/>
                    <a:gd name="T1" fmla="*/ 240 h 327"/>
                    <a:gd name="T2" fmla="*/ 15 w 391"/>
                    <a:gd name="T3" fmla="*/ 246 h 327"/>
                    <a:gd name="T4" fmla="*/ 13 w 391"/>
                    <a:gd name="T5" fmla="*/ 282 h 327"/>
                    <a:gd name="T6" fmla="*/ 36 w 391"/>
                    <a:gd name="T7" fmla="*/ 291 h 327"/>
                    <a:gd name="T8" fmla="*/ 57 w 391"/>
                    <a:gd name="T9" fmla="*/ 319 h 327"/>
                    <a:gd name="T10" fmla="*/ 102 w 391"/>
                    <a:gd name="T11" fmla="*/ 327 h 327"/>
                    <a:gd name="T12" fmla="*/ 164 w 391"/>
                    <a:gd name="T13" fmla="*/ 259 h 327"/>
                    <a:gd name="T14" fmla="*/ 217 w 391"/>
                    <a:gd name="T15" fmla="*/ 253 h 327"/>
                    <a:gd name="T16" fmla="*/ 221 w 391"/>
                    <a:gd name="T17" fmla="*/ 291 h 327"/>
                    <a:gd name="T18" fmla="*/ 242 w 391"/>
                    <a:gd name="T19" fmla="*/ 310 h 327"/>
                    <a:gd name="T20" fmla="*/ 306 w 391"/>
                    <a:gd name="T21" fmla="*/ 319 h 327"/>
                    <a:gd name="T22" fmla="*/ 344 w 391"/>
                    <a:gd name="T23" fmla="*/ 312 h 327"/>
                    <a:gd name="T24" fmla="*/ 332 w 391"/>
                    <a:gd name="T25" fmla="*/ 295 h 327"/>
                    <a:gd name="T26" fmla="*/ 349 w 391"/>
                    <a:gd name="T27" fmla="*/ 280 h 327"/>
                    <a:gd name="T28" fmla="*/ 334 w 391"/>
                    <a:gd name="T29" fmla="*/ 268 h 327"/>
                    <a:gd name="T30" fmla="*/ 383 w 391"/>
                    <a:gd name="T31" fmla="*/ 261 h 327"/>
                    <a:gd name="T32" fmla="*/ 387 w 391"/>
                    <a:gd name="T33" fmla="*/ 242 h 327"/>
                    <a:gd name="T34" fmla="*/ 359 w 391"/>
                    <a:gd name="T35" fmla="*/ 216 h 327"/>
                    <a:gd name="T36" fmla="*/ 357 w 391"/>
                    <a:gd name="T37" fmla="*/ 214 h 327"/>
                    <a:gd name="T38" fmla="*/ 368 w 391"/>
                    <a:gd name="T39" fmla="*/ 176 h 327"/>
                    <a:gd name="T40" fmla="*/ 391 w 391"/>
                    <a:gd name="T41" fmla="*/ 163 h 327"/>
                    <a:gd name="T42" fmla="*/ 391 w 391"/>
                    <a:gd name="T43" fmla="*/ 140 h 327"/>
                    <a:gd name="T44" fmla="*/ 376 w 391"/>
                    <a:gd name="T45" fmla="*/ 138 h 327"/>
                    <a:gd name="T46" fmla="*/ 372 w 391"/>
                    <a:gd name="T47" fmla="*/ 59 h 327"/>
                    <a:gd name="T48" fmla="*/ 298 w 391"/>
                    <a:gd name="T49" fmla="*/ 63 h 327"/>
                    <a:gd name="T50" fmla="*/ 276 w 391"/>
                    <a:gd name="T51" fmla="*/ 40 h 327"/>
                    <a:gd name="T52" fmla="*/ 249 w 391"/>
                    <a:gd name="T53" fmla="*/ 49 h 327"/>
                    <a:gd name="T54" fmla="*/ 187 w 391"/>
                    <a:gd name="T55" fmla="*/ 2 h 327"/>
                    <a:gd name="T56" fmla="*/ 155 w 391"/>
                    <a:gd name="T57" fmla="*/ 0 h 327"/>
                    <a:gd name="T58" fmla="*/ 151 w 391"/>
                    <a:gd name="T59" fmla="*/ 19 h 327"/>
                    <a:gd name="T60" fmla="*/ 123 w 391"/>
                    <a:gd name="T61" fmla="*/ 2 h 327"/>
                    <a:gd name="T62" fmla="*/ 106 w 391"/>
                    <a:gd name="T63" fmla="*/ 23 h 327"/>
                    <a:gd name="T64" fmla="*/ 57 w 391"/>
                    <a:gd name="T65" fmla="*/ 34 h 327"/>
                    <a:gd name="T66" fmla="*/ 59 w 391"/>
                    <a:gd name="T67" fmla="*/ 70 h 327"/>
                    <a:gd name="T68" fmla="*/ 83 w 391"/>
                    <a:gd name="T69" fmla="*/ 91 h 327"/>
                    <a:gd name="T70" fmla="*/ 53 w 391"/>
                    <a:gd name="T71" fmla="*/ 95 h 327"/>
                    <a:gd name="T72" fmla="*/ 42 w 391"/>
                    <a:gd name="T73" fmla="*/ 134 h 327"/>
                    <a:gd name="T74" fmla="*/ 66 w 391"/>
                    <a:gd name="T75" fmla="*/ 144 h 327"/>
                    <a:gd name="T76" fmla="*/ 19 w 391"/>
                    <a:gd name="T77" fmla="*/ 204 h 327"/>
                    <a:gd name="T78" fmla="*/ 0 w 391"/>
                    <a:gd name="T79" fmla="*/ 236 h 327"/>
                    <a:gd name="T80" fmla="*/ 0 w 391"/>
                    <a:gd name="T81" fmla="*/ 24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1" h="327">
                      <a:moveTo>
                        <a:pt x="0" y="240"/>
                      </a:moveTo>
                      <a:lnTo>
                        <a:pt x="15" y="246"/>
                      </a:lnTo>
                      <a:lnTo>
                        <a:pt x="13" y="282"/>
                      </a:lnTo>
                      <a:lnTo>
                        <a:pt x="36" y="291"/>
                      </a:lnTo>
                      <a:lnTo>
                        <a:pt x="57" y="319"/>
                      </a:lnTo>
                      <a:lnTo>
                        <a:pt x="102" y="327"/>
                      </a:lnTo>
                      <a:lnTo>
                        <a:pt x="164" y="259"/>
                      </a:lnTo>
                      <a:lnTo>
                        <a:pt x="217" y="253"/>
                      </a:lnTo>
                      <a:lnTo>
                        <a:pt x="221" y="291"/>
                      </a:lnTo>
                      <a:lnTo>
                        <a:pt x="242" y="310"/>
                      </a:lnTo>
                      <a:lnTo>
                        <a:pt x="306" y="319"/>
                      </a:lnTo>
                      <a:lnTo>
                        <a:pt x="344" y="312"/>
                      </a:lnTo>
                      <a:lnTo>
                        <a:pt x="332" y="295"/>
                      </a:lnTo>
                      <a:lnTo>
                        <a:pt x="349" y="280"/>
                      </a:lnTo>
                      <a:lnTo>
                        <a:pt x="334" y="268"/>
                      </a:lnTo>
                      <a:lnTo>
                        <a:pt x="383" y="261"/>
                      </a:lnTo>
                      <a:lnTo>
                        <a:pt x="387" y="242"/>
                      </a:lnTo>
                      <a:lnTo>
                        <a:pt x="359" y="216"/>
                      </a:lnTo>
                      <a:lnTo>
                        <a:pt x="357" y="214"/>
                      </a:lnTo>
                      <a:lnTo>
                        <a:pt x="368" y="176"/>
                      </a:lnTo>
                      <a:lnTo>
                        <a:pt x="391" y="163"/>
                      </a:lnTo>
                      <a:lnTo>
                        <a:pt x="391" y="140"/>
                      </a:lnTo>
                      <a:lnTo>
                        <a:pt x="376" y="138"/>
                      </a:lnTo>
                      <a:lnTo>
                        <a:pt x="372" y="59"/>
                      </a:lnTo>
                      <a:lnTo>
                        <a:pt x="298" y="63"/>
                      </a:lnTo>
                      <a:lnTo>
                        <a:pt x="276" y="40"/>
                      </a:lnTo>
                      <a:lnTo>
                        <a:pt x="249" y="49"/>
                      </a:lnTo>
                      <a:lnTo>
                        <a:pt x="187" y="2"/>
                      </a:lnTo>
                      <a:lnTo>
                        <a:pt x="155" y="0"/>
                      </a:lnTo>
                      <a:lnTo>
                        <a:pt x="151" y="19"/>
                      </a:lnTo>
                      <a:lnTo>
                        <a:pt x="123" y="2"/>
                      </a:lnTo>
                      <a:lnTo>
                        <a:pt x="106" y="23"/>
                      </a:lnTo>
                      <a:lnTo>
                        <a:pt x="57" y="34"/>
                      </a:lnTo>
                      <a:lnTo>
                        <a:pt x="59" y="70"/>
                      </a:lnTo>
                      <a:lnTo>
                        <a:pt x="83" y="91"/>
                      </a:lnTo>
                      <a:lnTo>
                        <a:pt x="53" y="95"/>
                      </a:lnTo>
                      <a:lnTo>
                        <a:pt x="42" y="134"/>
                      </a:lnTo>
                      <a:lnTo>
                        <a:pt x="66" y="144"/>
                      </a:lnTo>
                      <a:lnTo>
                        <a:pt x="19" y="204"/>
                      </a:lnTo>
                      <a:lnTo>
                        <a:pt x="0" y="236"/>
                      </a:lnTo>
                      <a:lnTo>
                        <a:pt x="0" y="240"/>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191" name="08">
                  <a:extLst>
                    <a:ext uri="{FF2B5EF4-FFF2-40B4-BE49-F238E27FC236}">
                      <a16:creationId xmlns:a16="http://schemas.microsoft.com/office/drawing/2014/main" id="{235F3443-16F2-4C9F-8DB7-C72A7156BC71}"/>
                    </a:ext>
                  </a:extLst>
                </p:cNvPr>
                <p:cNvSpPr>
                  <a:spLocks/>
                </p:cNvSpPr>
                <p:nvPr/>
              </p:nvSpPr>
              <p:spPr bwMode="gray">
                <a:xfrm>
                  <a:off x="7087471" y="1985500"/>
                  <a:ext cx="462719" cy="484207"/>
                </a:xfrm>
                <a:custGeom>
                  <a:avLst/>
                  <a:gdLst>
                    <a:gd name="T0" fmla="*/ 0 w 323"/>
                    <a:gd name="T1" fmla="*/ 200 h 338"/>
                    <a:gd name="T2" fmla="*/ 6 w 323"/>
                    <a:gd name="T3" fmla="*/ 275 h 338"/>
                    <a:gd name="T4" fmla="*/ 38 w 323"/>
                    <a:gd name="T5" fmla="*/ 277 h 338"/>
                    <a:gd name="T6" fmla="*/ 100 w 323"/>
                    <a:gd name="T7" fmla="*/ 324 h 338"/>
                    <a:gd name="T8" fmla="*/ 127 w 323"/>
                    <a:gd name="T9" fmla="*/ 315 h 338"/>
                    <a:gd name="T10" fmla="*/ 149 w 323"/>
                    <a:gd name="T11" fmla="*/ 338 h 338"/>
                    <a:gd name="T12" fmla="*/ 223 w 323"/>
                    <a:gd name="T13" fmla="*/ 334 h 338"/>
                    <a:gd name="T14" fmla="*/ 244 w 323"/>
                    <a:gd name="T15" fmla="*/ 321 h 338"/>
                    <a:gd name="T16" fmla="*/ 257 w 323"/>
                    <a:gd name="T17" fmla="*/ 279 h 338"/>
                    <a:gd name="T18" fmla="*/ 244 w 323"/>
                    <a:gd name="T19" fmla="*/ 236 h 338"/>
                    <a:gd name="T20" fmla="*/ 255 w 323"/>
                    <a:gd name="T21" fmla="*/ 209 h 338"/>
                    <a:gd name="T22" fmla="*/ 295 w 323"/>
                    <a:gd name="T23" fmla="*/ 221 h 338"/>
                    <a:gd name="T24" fmla="*/ 323 w 323"/>
                    <a:gd name="T25" fmla="*/ 194 h 338"/>
                    <a:gd name="T26" fmla="*/ 306 w 323"/>
                    <a:gd name="T27" fmla="*/ 196 h 338"/>
                    <a:gd name="T28" fmla="*/ 293 w 323"/>
                    <a:gd name="T29" fmla="*/ 166 h 338"/>
                    <a:gd name="T30" fmla="*/ 270 w 323"/>
                    <a:gd name="T31" fmla="*/ 166 h 338"/>
                    <a:gd name="T32" fmla="*/ 227 w 323"/>
                    <a:gd name="T33" fmla="*/ 130 h 338"/>
                    <a:gd name="T34" fmla="*/ 195 w 323"/>
                    <a:gd name="T35" fmla="*/ 134 h 338"/>
                    <a:gd name="T36" fmla="*/ 202 w 323"/>
                    <a:gd name="T37" fmla="*/ 90 h 338"/>
                    <a:gd name="T38" fmla="*/ 178 w 323"/>
                    <a:gd name="T39" fmla="*/ 64 h 338"/>
                    <a:gd name="T40" fmla="*/ 197 w 323"/>
                    <a:gd name="T41" fmla="*/ 0 h 338"/>
                    <a:gd name="T42" fmla="*/ 155 w 323"/>
                    <a:gd name="T43" fmla="*/ 22 h 338"/>
                    <a:gd name="T44" fmla="*/ 155 w 323"/>
                    <a:gd name="T45" fmla="*/ 58 h 338"/>
                    <a:gd name="T46" fmla="*/ 97 w 323"/>
                    <a:gd name="T47" fmla="*/ 81 h 338"/>
                    <a:gd name="T48" fmla="*/ 46 w 323"/>
                    <a:gd name="T49" fmla="*/ 75 h 338"/>
                    <a:gd name="T50" fmla="*/ 46 w 323"/>
                    <a:gd name="T51" fmla="*/ 158 h 338"/>
                    <a:gd name="T52" fmla="*/ 0 w 323"/>
                    <a:gd name="T53" fmla="*/ 196 h 338"/>
                    <a:gd name="T54" fmla="*/ 0 w 323"/>
                    <a:gd name="T55" fmla="*/ 20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3" h="338">
                      <a:moveTo>
                        <a:pt x="0" y="200"/>
                      </a:moveTo>
                      <a:lnTo>
                        <a:pt x="6" y="275"/>
                      </a:lnTo>
                      <a:lnTo>
                        <a:pt x="38" y="277"/>
                      </a:lnTo>
                      <a:lnTo>
                        <a:pt x="100" y="324"/>
                      </a:lnTo>
                      <a:lnTo>
                        <a:pt x="127" y="315"/>
                      </a:lnTo>
                      <a:lnTo>
                        <a:pt x="149" y="338"/>
                      </a:lnTo>
                      <a:lnTo>
                        <a:pt x="223" y="334"/>
                      </a:lnTo>
                      <a:lnTo>
                        <a:pt x="244" y="321"/>
                      </a:lnTo>
                      <a:lnTo>
                        <a:pt x="257" y="279"/>
                      </a:lnTo>
                      <a:lnTo>
                        <a:pt x="244" y="236"/>
                      </a:lnTo>
                      <a:lnTo>
                        <a:pt x="255" y="209"/>
                      </a:lnTo>
                      <a:lnTo>
                        <a:pt x="295" y="221"/>
                      </a:lnTo>
                      <a:lnTo>
                        <a:pt x="323" y="194"/>
                      </a:lnTo>
                      <a:lnTo>
                        <a:pt x="306" y="196"/>
                      </a:lnTo>
                      <a:lnTo>
                        <a:pt x="293" y="166"/>
                      </a:lnTo>
                      <a:lnTo>
                        <a:pt x="270" y="166"/>
                      </a:lnTo>
                      <a:lnTo>
                        <a:pt x="227" y="130"/>
                      </a:lnTo>
                      <a:lnTo>
                        <a:pt x="195" y="134"/>
                      </a:lnTo>
                      <a:lnTo>
                        <a:pt x="202" y="90"/>
                      </a:lnTo>
                      <a:lnTo>
                        <a:pt x="178" y="64"/>
                      </a:lnTo>
                      <a:lnTo>
                        <a:pt x="197" y="0"/>
                      </a:lnTo>
                      <a:lnTo>
                        <a:pt x="155" y="22"/>
                      </a:lnTo>
                      <a:lnTo>
                        <a:pt x="155" y="58"/>
                      </a:lnTo>
                      <a:lnTo>
                        <a:pt x="97" y="81"/>
                      </a:lnTo>
                      <a:lnTo>
                        <a:pt x="46" y="75"/>
                      </a:lnTo>
                      <a:lnTo>
                        <a:pt x="46" y="158"/>
                      </a:lnTo>
                      <a:lnTo>
                        <a:pt x="0" y="196"/>
                      </a:lnTo>
                      <a:lnTo>
                        <a:pt x="0" y="200"/>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192" name="10">
                  <a:extLst>
                    <a:ext uri="{FF2B5EF4-FFF2-40B4-BE49-F238E27FC236}">
                      <a16:creationId xmlns:a16="http://schemas.microsoft.com/office/drawing/2014/main" id="{AAD6C239-D328-430E-B079-3DCE5FEC3D37}"/>
                    </a:ext>
                  </a:extLst>
                </p:cNvPr>
                <p:cNvSpPr>
                  <a:spLocks/>
                </p:cNvSpPr>
                <p:nvPr/>
              </p:nvSpPr>
              <p:spPr bwMode="gray">
                <a:xfrm>
                  <a:off x="6868287" y="2741895"/>
                  <a:ext cx="514292" cy="414012"/>
                </a:xfrm>
                <a:custGeom>
                  <a:avLst/>
                  <a:gdLst>
                    <a:gd name="T0" fmla="*/ 4 w 359"/>
                    <a:gd name="T1" fmla="*/ 97 h 289"/>
                    <a:gd name="T2" fmla="*/ 6 w 359"/>
                    <a:gd name="T3" fmla="*/ 119 h 289"/>
                    <a:gd name="T4" fmla="*/ 59 w 359"/>
                    <a:gd name="T5" fmla="*/ 168 h 289"/>
                    <a:gd name="T6" fmla="*/ 46 w 359"/>
                    <a:gd name="T7" fmla="*/ 193 h 289"/>
                    <a:gd name="T8" fmla="*/ 70 w 359"/>
                    <a:gd name="T9" fmla="*/ 210 h 289"/>
                    <a:gd name="T10" fmla="*/ 87 w 359"/>
                    <a:gd name="T11" fmla="*/ 199 h 289"/>
                    <a:gd name="T12" fmla="*/ 112 w 359"/>
                    <a:gd name="T13" fmla="*/ 268 h 289"/>
                    <a:gd name="T14" fmla="*/ 127 w 359"/>
                    <a:gd name="T15" fmla="*/ 265 h 289"/>
                    <a:gd name="T16" fmla="*/ 125 w 359"/>
                    <a:gd name="T17" fmla="*/ 289 h 289"/>
                    <a:gd name="T18" fmla="*/ 180 w 359"/>
                    <a:gd name="T19" fmla="*/ 287 h 289"/>
                    <a:gd name="T20" fmla="*/ 199 w 359"/>
                    <a:gd name="T21" fmla="*/ 272 h 289"/>
                    <a:gd name="T22" fmla="*/ 223 w 359"/>
                    <a:gd name="T23" fmla="*/ 289 h 289"/>
                    <a:gd name="T24" fmla="*/ 229 w 359"/>
                    <a:gd name="T25" fmla="*/ 276 h 289"/>
                    <a:gd name="T26" fmla="*/ 287 w 359"/>
                    <a:gd name="T27" fmla="*/ 272 h 289"/>
                    <a:gd name="T28" fmla="*/ 293 w 359"/>
                    <a:gd name="T29" fmla="*/ 251 h 289"/>
                    <a:gd name="T30" fmla="*/ 323 w 359"/>
                    <a:gd name="T31" fmla="*/ 253 h 289"/>
                    <a:gd name="T32" fmla="*/ 312 w 359"/>
                    <a:gd name="T33" fmla="*/ 231 h 289"/>
                    <a:gd name="T34" fmla="*/ 355 w 359"/>
                    <a:gd name="T35" fmla="*/ 221 h 289"/>
                    <a:gd name="T36" fmla="*/ 359 w 359"/>
                    <a:gd name="T37" fmla="*/ 163 h 289"/>
                    <a:gd name="T38" fmla="*/ 353 w 359"/>
                    <a:gd name="T39" fmla="*/ 136 h 289"/>
                    <a:gd name="T40" fmla="*/ 304 w 359"/>
                    <a:gd name="T41" fmla="*/ 93 h 289"/>
                    <a:gd name="T42" fmla="*/ 302 w 359"/>
                    <a:gd name="T43" fmla="*/ 91 h 289"/>
                    <a:gd name="T44" fmla="*/ 310 w 359"/>
                    <a:gd name="T45" fmla="*/ 66 h 289"/>
                    <a:gd name="T46" fmla="*/ 246 w 359"/>
                    <a:gd name="T47" fmla="*/ 57 h 289"/>
                    <a:gd name="T48" fmla="*/ 225 w 359"/>
                    <a:gd name="T49" fmla="*/ 38 h 289"/>
                    <a:gd name="T50" fmla="*/ 221 w 359"/>
                    <a:gd name="T51" fmla="*/ 0 h 289"/>
                    <a:gd name="T52" fmla="*/ 168 w 359"/>
                    <a:gd name="T53" fmla="*/ 6 h 289"/>
                    <a:gd name="T54" fmla="*/ 106 w 359"/>
                    <a:gd name="T55" fmla="*/ 74 h 289"/>
                    <a:gd name="T56" fmla="*/ 61 w 359"/>
                    <a:gd name="T57" fmla="*/ 66 h 289"/>
                    <a:gd name="T58" fmla="*/ 40 w 359"/>
                    <a:gd name="T59" fmla="*/ 38 h 289"/>
                    <a:gd name="T60" fmla="*/ 0 w 359"/>
                    <a:gd name="T61" fmla="*/ 87 h 289"/>
                    <a:gd name="T62" fmla="*/ 4 w 359"/>
                    <a:gd name="T63" fmla="*/ 9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9" h="289">
                      <a:moveTo>
                        <a:pt x="4" y="97"/>
                      </a:moveTo>
                      <a:lnTo>
                        <a:pt x="6" y="119"/>
                      </a:lnTo>
                      <a:lnTo>
                        <a:pt x="59" y="168"/>
                      </a:lnTo>
                      <a:lnTo>
                        <a:pt x="46" y="193"/>
                      </a:lnTo>
                      <a:lnTo>
                        <a:pt x="70" y="210"/>
                      </a:lnTo>
                      <a:lnTo>
                        <a:pt x="87" y="199"/>
                      </a:lnTo>
                      <a:lnTo>
                        <a:pt x="112" y="268"/>
                      </a:lnTo>
                      <a:lnTo>
                        <a:pt x="127" y="265"/>
                      </a:lnTo>
                      <a:lnTo>
                        <a:pt x="125" y="289"/>
                      </a:lnTo>
                      <a:lnTo>
                        <a:pt x="180" y="287"/>
                      </a:lnTo>
                      <a:lnTo>
                        <a:pt x="199" y="272"/>
                      </a:lnTo>
                      <a:lnTo>
                        <a:pt x="223" y="289"/>
                      </a:lnTo>
                      <a:lnTo>
                        <a:pt x="229" y="276"/>
                      </a:lnTo>
                      <a:lnTo>
                        <a:pt x="287" y="272"/>
                      </a:lnTo>
                      <a:lnTo>
                        <a:pt x="293" y="251"/>
                      </a:lnTo>
                      <a:lnTo>
                        <a:pt x="323" y="253"/>
                      </a:lnTo>
                      <a:lnTo>
                        <a:pt x="312" y="231"/>
                      </a:lnTo>
                      <a:lnTo>
                        <a:pt x="355" y="221"/>
                      </a:lnTo>
                      <a:lnTo>
                        <a:pt x="359" y="163"/>
                      </a:lnTo>
                      <a:lnTo>
                        <a:pt x="353" y="136"/>
                      </a:lnTo>
                      <a:lnTo>
                        <a:pt x="304" y="93"/>
                      </a:lnTo>
                      <a:lnTo>
                        <a:pt x="302" y="91"/>
                      </a:lnTo>
                      <a:lnTo>
                        <a:pt x="310" y="66"/>
                      </a:lnTo>
                      <a:lnTo>
                        <a:pt x="246" y="57"/>
                      </a:lnTo>
                      <a:lnTo>
                        <a:pt x="225" y="38"/>
                      </a:lnTo>
                      <a:lnTo>
                        <a:pt x="221" y="0"/>
                      </a:lnTo>
                      <a:lnTo>
                        <a:pt x="168" y="6"/>
                      </a:lnTo>
                      <a:lnTo>
                        <a:pt x="106" y="74"/>
                      </a:lnTo>
                      <a:lnTo>
                        <a:pt x="61" y="66"/>
                      </a:lnTo>
                      <a:lnTo>
                        <a:pt x="40" y="38"/>
                      </a:lnTo>
                      <a:lnTo>
                        <a:pt x="0" y="87"/>
                      </a:lnTo>
                      <a:lnTo>
                        <a:pt x="4" y="97"/>
                      </a:lnTo>
                    </a:path>
                  </a:pathLst>
                </a:custGeom>
                <a:solidFill>
                  <a:srgbClr val="7030A0"/>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193" name="52">
                  <a:extLst>
                    <a:ext uri="{FF2B5EF4-FFF2-40B4-BE49-F238E27FC236}">
                      <a16:creationId xmlns:a16="http://schemas.microsoft.com/office/drawing/2014/main" id="{08129821-AD64-4AC4-85F5-C64E2C8B22F9}"/>
                    </a:ext>
                  </a:extLst>
                </p:cNvPr>
                <p:cNvSpPr>
                  <a:spLocks/>
                </p:cNvSpPr>
                <p:nvPr/>
              </p:nvSpPr>
              <p:spPr bwMode="gray">
                <a:xfrm>
                  <a:off x="7300922" y="2753355"/>
                  <a:ext cx="446960" cy="578756"/>
                </a:xfrm>
                <a:custGeom>
                  <a:avLst/>
                  <a:gdLst>
                    <a:gd name="T0" fmla="*/ 2 w 312"/>
                    <a:gd name="T1" fmla="*/ 85 h 404"/>
                    <a:gd name="T2" fmla="*/ 51 w 312"/>
                    <a:gd name="T3" fmla="*/ 128 h 404"/>
                    <a:gd name="T4" fmla="*/ 57 w 312"/>
                    <a:gd name="T5" fmla="*/ 155 h 404"/>
                    <a:gd name="T6" fmla="*/ 53 w 312"/>
                    <a:gd name="T7" fmla="*/ 213 h 404"/>
                    <a:gd name="T8" fmla="*/ 10 w 312"/>
                    <a:gd name="T9" fmla="*/ 223 h 404"/>
                    <a:gd name="T10" fmla="*/ 21 w 312"/>
                    <a:gd name="T11" fmla="*/ 245 h 404"/>
                    <a:gd name="T12" fmla="*/ 48 w 312"/>
                    <a:gd name="T13" fmla="*/ 255 h 404"/>
                    <a:gd name="T14" fmla="*/ 53 w 312"/>
                    <a:gd name="T15" fmla="*/ 283 h 404"/>
                    <a:gd name="T16" fmla="*/ 70 w 312"/>
                    <a:gd name="T17" fmla="*/ 281 h 404"/>
                    <a:gd name="T18" fmla="*/ 93 w 312"/>
                    <a:gd name="T19" fmla="*/ 317 h 404"/>
                    <a:gd name="T20" fmla="*/ 76 w 312"/>
                    <a:gd name="T21" fmla="*/ 332 h 404"/>
                    <a:gd name="T22" fmla="*/ 85 w 312"/>
                    <a:gd name="T23" fmla="*/ 362 h 404"/>
                    <a:gd name="T24" fmla="*/ 102 w 312"/>
                    <a:gd name="T25" fmla="*/ 357 h 404"/>
                    <a:gd name="T26" fmla="*/ 125 w 312"/>
                    <a:gd name="T27" fmla="*/ 379 h 404"/>
                    <a:gd name="T28" fmla="*/ 140 w 312"/>
                    <a:gd name="T29" fmla="*/ 368 h 404"/>
                    <a:gd name="T30" fmla="*/ 161 w 312"/>
                    <a:gd name="T31" fmla="*/ 404 h 404"/>
                    <a:gd name="T32" fmla="*/ 189 w 312"/>
                    <a:gd name="T33" fmla="*/ 393 h 404"/>
                    <a:gd name="T34" fmla="*/ 189 w 312"/>
                    <a:gd name="T35" fmla="*/ 387 h 404"/>
                    <a:gd name="T36" fmla="*/ 201 w 312"/>
                    <a:gd name="T37" fmla="*/ 366 h 404"/>
                    <a:gd name="T38" fmla="*/ 267 w 312"/>
                    <a:gd name="T39" fmla="*/ 362 h 404"/>
                    <a:gd name="T40" fmla="*/ 263 w 312"/>
                    <a:gd name="T41" fmla="*/ 315 h 404"/>
                    <a:gd name="T42" fmla="*/ 297 w 312"/>
                    <a:gd name="T43" fmla="*/ 302 h 404"/>
                    <a:gd name="T44" fmla="*/ 312 w 312"/>
                    <a:gd name="T45" fmla="*/ 272 h 404"/>
                    <a:gd name="T46" fmla="*/ 248 w 312"/>
                    <a:gd name="T47" fmla="*/ 217 h 404"/>
                    <a:gd name="T48" fmla="*/ 265 w 312"/>
                    <a:gd name="T49" fmla="*/ 166 h 404"/>
                    <a:gd name="T50" fmla="*/ 187 w 312"/>
                    <a:gd name="T51" fmla="*/ 109 h 404"/>
                    <a:gd name="T52" fmla="*/ 187 w 312"/>
                    <a:gd name="T53" fmla="*/ 106 h 404"/>
                    <a:gd name="T54" fmla="*/ 204 w 312"/>
                    <a:gd name="T55" fmla="*/ 94 h 404"/>
                    <a:gd name="T56" fmla="*/ 102 w 312"/>
                    <a:gd name="T57" fmla="*/ 21 h 404"/>
                    <a:gd name="T58" fmla="*/ 91 w 312"/>
                    <a:gd name="T59" fmla="*/ 28 h 404"/>
                    <a:gd name="T60" fmla="*/ 85 w 312"/>
                    <a:gd name="T61" fmla="*/ 0 h 404"/>
                    <a:gd name="T62" fmla="*/ 36 w 312"/>
                    <a:gd name="T63" fmla="*/ 7 h 404"/>
                    <a:gd name="T64" fmla="*/ 51 w 312"/>
                    <a:gd name="T65" fmla="*/ 19 h 404"/>
                    <a:gd name="T66" fmla="*/ 34 w 312"/>
                    <a:gd name="T67" fmla="*/ 34 h 404"/>
                    <a:gd name="T68" fmla="*/ 46 w 312"/>
                    <a:gd name="T69" fmla="*/ 51 h 404"/>
                    <a:gd name="T70" fmla="*/ 8 w 312"/>
                    <a:gd name="T71" fmla="*/ 58 h 404"/>
                    <a:gd name="T72" fmla="*/ 0 w 312"/>
                    <a:gd name="T73" fmla="*/ 83 h 404"/>
                    <a:gd name="T74" fmla="*/ 2 w 312"/>
                    <a:gd name="T75" fmla="*/ 85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2" h="404">
                      <a:moveTo>
                        <a:pt x="2" y="85"/>
                      </a:moveTo>
                      <a:lnTo>
                        <a:pt x="51" y="128"/>
                      </a:lnTo>
                      <a:lnTo>
                        <a:pt x="57" y="155"/>
                      </a:lnTo>
                      <a:lnTo>
                        <a:pt x="53" y="213"/>
                      </a:lnTo>
                      <a:lnTo>
                        <a:pt x="10" y="223"/>
                      </a:lnTo>
                      <a:lnTo>
                        <a:pt x="21" y="245"/>
                      </a:lnTo>
                      <a:lnTo>
                        <a:pt x="48" y="255"/>
                      </a:lnTo>
                      <a:lnTo>
                        <a:pt x="53" y="283"/>
                      </a:lnTo>
                      <a:lnTo>
                        <a:pt x="70" y="281"/>
                      </a:lnTo>
                      <a:lnTo>
                        <a:pt x="93" y="317"/>
                      </a:lnTo>
                      <a:lnTo>
                        <a:pt x="76" y="332"/>
                      </a:lnTo>
                      <a:lnTo>
                        <a:pt x="85" y="362"/>
                      </a:lnTo>
                      <a:lnTo>
                        <a:pt x="102" y="357"/>
                      </a:lnTo>
                      <a:lnTo>
                        <a:pt x="125" y="379"/>
                      </a:lnTo>
                      <a:lnTo>
                        <a:pt x="140" y="368"/>
                      </a:lnTo>
                      <a:lnTo>
                        <a:pt x="161" y="404"/>
                      </a:lnTo>
                      <a:lnTo>
                        <a:pt x="189" y="393"/>
                      </a:lnTo>
                      <a:lnTo>
                        <a:pt x="189" y="387"/>
                      </a:lnTo>
                      <a:lnTo>
                        <a:pt x="201" y="366"/>
                      </a:lnTo>
                      <a:lnTo>
                        <a:pt x="267" y="362"/>
                      </a:lnTo>
                      <a:lnTo>
                        <a:pt x="263" y="315"/>
                      </a:lnTo>
                      <a:lnTo>
                        <a:pt x="297" y="302"/>
                      </a:lnTo>
                      <a:lnTo>
                        <a:pt x="312" y="272"/>
                      </a:lnTo>
                      <a:lnTo>
                        <a:pt x="248" y="217"/>
                      </a:lnTo>
                      <a:lnTo>
                        <a:pt x="265" y="166"/>
                      </a:lnTo>
                      <a:lnTo>
                        <a:pt x="187" y="109"/>
                      </a:lnTo>
                      <a:lnTo>
                        <a:pt x="187" y="106"/>
                      </a:lnTo>
                      <a:lnTo>
                        <a:pt x="204" y="94"/>
                      </a:lnTo>
                      <a:lnTo>
                        <a:pt x="102" y="21"/>
                      </a:lnTo>
                      <a:lnTo>
                        <a:pt x="91" y="28"/>
                      </a:lnTo>
                      <a:lnTo>
                        <a:pt x="85" y="0"/>
                      </a:lnTo>
                      <a:lnTo>
                        <a:pt x="36" y="7"/>
                      </a:lnTo>
                      <a:lnTo>
                        <a:pt x="51" y="19"/>
                      </a:lnTo>
                      <a:lnTo>
                        <a:pt x="34" y="34"/>
                      </a:lnTo>
                      <a:lnTo>
                        <a:pt x="46" y="51"/>
                      </a:lnTo>
                      <a:lnTo>
                        <a:pt x="8" y="58"/>
                      </a:lnTo>
                      <a:lnTo>
                        <a:pt x="0" y="83"/>
                      </a:lnTo>
                      <a:lnTo>
                        <a:pt x="2" y="85"/>
                      </a:lnTo>
                    </a:path>
                  </a:pathLst>
                </a:custGeom>
                <a:solidFill>
                  <a:schemeClr val="bg2">
                    <a:lumMod val="75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grpSp>
          <p:grpSp>
            <p:nvGrpSpPr>
              <p:cNvPr id="187" name="Alsace (Formes)">
                <a:extLst>
                  <a:ext uri="{FF2B5EF4-FFF2-40B4-BE49-F238E27FC236}">
                    <a16:creationId xmlns:a16="http://schemas.microsoft.com/office/drawing/2014/main" id="{1325F595-A19D-42FA-A1D7-319542C375D6}"/>
                  </a:ext>
                </a:extLst>
              </p:cNvPr>
              <p:cNvGrpSpPr/>
              <p:nvPr/>
            </p:nvGrpSpPr>
            <p:grpSpPr>
              <a:xfrm>
                <a:off x="8085968" y="2522713"/>
                <a:ext cx="451258" cy="858107"/>
                <a:chOff x="8085968" y="2522713"/>
                <a:chExt cx="451258" cy="858107"/>
              </a:xfrm>
              <a:grpFill/>
            </p:grpSpPr>
            <p:sp>
              <p:nvSpPr>
                <p:cNvPr id="188" name="68">
                  <a:extLst>
                    <a:ext uri="{FF2B5EF4-FFF2-40B4-BE49-F238E27FC236}">
                      <a16:creationId xmlns:a16="http://schemas.microsoft.com/office/drawing/2014/main" id="{3D129AEC-D927-4A17-9213-236D04135A60}"/>
                    </a:ext>
                  </a:extLst>
                </p:cNvPr>
                <p:cNvSpPr>
                  <a:spLocks/>
                </p:cNvSpPr>
                <p:nvPr/>
              </p:nvSpPr>
              <p:spPr bwMode="gray">
                <a:xfrm>
                  <a:off x="8085968" y="2923831"/>
                  <a:ext cx="267890" cy="456989"/>
                </a:xfrm>
                <a:custGeom>
                  <a:avLst/>
                  <a:gdLst>
                    <a:gd name="T0" fmla="*/ 2 w 187"/>
                    <a:gd name="T1" fmla="*/ 187 h 319"/>
                    <a:gd name="T2" fmla="*/ 49 w 187"/>
                    <a:gd name="T3" fmla="*/ 219 h 319"/>
                    <a:gd name="T4" fmla="*/ 42 w 187"/>
                    <a:gd name="T5" fmla="*/ 264 h 319"/>
                    <a:gd name="T6" fmla="*/ 62 w 187"/>
                    <a:gd name="T7" fmla="*/ 262 h 319"/>
                    <a:gd name="T8" fmla="*/ 76 w 187"/>
                    <a:gd name="T9" fmla="*/ 298 h 319"/>
                    <a:gd name="T10" fmla="*/ 93 w 187"/>
                    <a:gd name="T11" fmla="*/ 298 h 319"/>
                    <a:gd name="T12" fmla="*/ 87 w 187"/>
                    <a:gd name="T13" fmla="*/ 319 h 319"/>
                    <a:gd name="T14" fmla="*/ 140 w 187"/>
                    <a:gd name="T15" fmla="*/ 319 h 319"/>
                    <a:gd name="T16" fmla="*/ 187 w 187"/>
                    <a:gd name="T17" fmla="*/ 262 h 319"/>
                    <a:gd name="T18" fmla="*/ 166 w 187"/>
                    <a:gd name="T19" fmla="*/ 219 h 319"/>
                    <a:gd name="T20" fmla="*/ 187 w 187"/>
                    <a:gd name="T21" fmla="*/ 119 h 319"/>
                    <a:gd name="T22" fmla="*/ 172 w 187"/>
                    <a:gd name="T23" fmla="*/ 66 h 319"/>
                    <a:gd name="T24" fmla="*/ 79 w 187"/>
                    <a:gd name="T25" fmla="*/ 0 h 319"/>
                    <a:gd name="T26" fmla="*/ 21 w 187"/>
                    <a:gd name="T27" fmla="*/ 121 h 319"/>
                    <a:gd name="T28" fmla="*/ 17 w 187"/>
                    <a:gd name="T29" fmla="*/ 172 h 319"/>
                    <a:gd name="T30" fmla="*/ 0 w 187"/>
                    <a:gd name="T31" fmla="*/ 183 h 319"/>
                    <a:gd name="T32" fmla="*/ 2 w 187"/>
                    <a:gd name="T33" fmla="*/ 187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7" h="319">
                      <a:moveTo>
                        <a:pt x="2" y="187"/>
                      </a:moveTo>
                      <a:lnTo>
                        <a:pt x="49" y="219"/>
                      </a:lnTo>
                      <a:lnTo>
                        <a:pt x="42" y="264"/>
                      </a:lnTo>
                      <a:lnTo>
                        <a:pt x="62" y="262"/>
                      </a:lnTo>
                      <a:lnTo>
                        <a:pt x="76" y="298"/>
                      </a:lnTo>
                      <a:lnTo>
                        <a:pt x="93" y="298"/>
                      </a:lnTo>
                      <a:lnTo>
                        <a:pt x="87" y="319"/>
                      </a:lnTo>
                      <a:lnTo>
                        <a:pt x="140" y="319"/>
                      </a:lnTo>
                      <a:lnTo>
                        <a:pt x="187" y="262"/>
                      </a:lnTo>
                      <a:lnTo>
                        <a:pt x="166" y="219"/>
                      </a:lnTo>
                      <a:lnTo>
                        <a:pt x="187" y="119"/>
                      </a:lnTo>
                      <a:lnTo>
                        <a:pt x="172" y="66"/>
                      </a:lnTo>
                      <a:lnTo>
                        <a:pt x="79" y="0"/>
                      </a:lnTo>
                      <a:lnTo>
                        <a:pt x="21" y="121"/>
                      </a:lnTo>
                      <a:lnTo>
                        <a:pt x="17" y="172"/>
                      </a:lnTo>
                      <a:lnTo>
                        <a:pt x="0" y="183"/>
                      </a:lnTo>
                      <a:lnTo>
                        <a:pt x="2" y="187"/>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sp>
              <p:nvSpPr>
                <p:cNvPr id="189" name="67">
                  <a:extLst>
                    <a:ext uri="{FF2B5EF4-FFF2-40B4-BE49-F238E27FC236}">
                      <a16:creationId xmlns:a16="http://schemas.microsoft.com/office/drawing/2014/main" id="{EDAB4FB5-65DD-4F27-8EAA-1131EAC8865F}"/>
                    </a:ext>
                  </a:extLst>
                </p:cNvPr>
                <p:cNvSpPr>
                  <a:spLocks/>
                </p:cNvSpPr>
                <p:nvPr/>
              </p:nvSpPr>
              <p:spPr bwMode="gray">
                <a:xfrm>
                  <a:off x="8094563" y="2522713"/>
                  <a:ext cx="442663" cy="495667"/>
                </a:xfrm>
                <a:custGeom>
                  <a:avLst/>
                  <a:gdLst>
                    <a:gd name="T0" fmla="*/ 0 w 309"/>
                    <a:gd name="T1" fmla="*/ 57 h 346"/>
                    <a:gd name="T2" fmla="*/ 19 w 309"/>
                    <a:gd name="T3" fmla="*/ 46 h 346"/>
                    <a:gd name="T4" fmla="*/ 30 w 309"/>
                    <a:gd name="T5" fmla="*/ 4 h 346"/>
                    <a:gd name="T6" fmla="*/ 43 w 309"/>
                    <a:gd name="T7" fmla="*/ 27 h 346"/>
                    <a:gd name="T8" fmla="*/ 90 w 309"/>
                    <a:gd name="T9" fmla="*/ 48 h 346"/>
                    <a:gd name="T10" fmla="*/ 143 w 309"/>
                    <a:gd name="T11" fmla="*/ 48 h 346"/>
                    <a:gd name="T12" fmla="*/ 164 w 309"/>
                    <a:gd name="T13" fmla="*/ 6 h 346"/>
                    <a:gd name="T14" fmla="*/ 234 w 309"/>
                    <a:gd name="T15" fmla="*/ 0 h 346"/>
                    <a:gd name="T16" fmla="*/ 309 w 309"/>
                    <a:gd name="T17" fmla="*/ 27 h 346"/>
                    <a:gd name="T18" fmla="*/ 281 w 309"/>
                    <a:gd name="T19" fmla="*/ 85 h 346"/>
                    <a:gd name="T20" fmla="*/ 221 w 309"/>
                    <a:gd name="T21" fmla="*/ 151 h 346"/>
                    <a:gd name="T22" fmla="*/ 204 w 309"/>
                    <a:gd name="T23" fmla="*/ 267 h 346"/>
                    <a:gd name="T24" fmla="*/ 166 w 309"/>
                    <a:gd name="T25" fmla="*/ 346 h 346"/>
                    <a:gd name="T26" fmla="*/ 73 w 309"/>
                    <a:gd name="T27" fmla="*/ 280 h 346"/>
                    <a:gd name="T28" fmla="*/ 43 w 309"/>
                    <a:gd name="T29" fmla="*/ 267 h 346"/>
                    <a:gd name="T30" fmla="*/ 49 w 309"/>
                    <a:gd name="T31" fmla="*/ 208 h 346"/>
                    <a:gd name="T32" fmla="*/ 36 w 309"/>
                    <a:gd name="T33" fmla="*/ 202 h 346"/>
                    <a:gd name="T34" fmla="*/ 79 w 309"/>
                    <a:gd name="T35" fmla="*/ 182 h 346"/>
                    <a:gd name="T36" fmla="*/ 90 w 309"/>
                    <a:gd name="T37" fmla="*/ 153 h 346"/>
                    <a:gd name="T38" fmla="*/ 75 w 309"/>
                    <a:gd name="T39" fmla="*/ 142 h 346"/>
                    <a:gd name="T40" fmla="*/ 92 w 309"/>
                    <a:gd name="T41" fmla="*/ 112 h 346"/>
                    <a:gd name="T42" fmla="*/ 60 w 309"/>
                    <a:gd name="T43" fmla="*/ 85 h 346"/>
                    <a:gd name="T44" fmla="*/ 34 w 309"/>
                    <a:gd name="T45" fmla="*/ 108 h 346"/>
                    <a:gd name="T46" fmla="*/ 36 w 309"/>
                    <a:gd name="T47" fmla="*/ 80 h 346"/>
                    <a:gd name="T48" fmla="*/ 0 w 309"/>
                    <a:gd name="T49" fmla="*/ 59 h 346"/>
                    <a:gd name="T50" fmla="*/ 0 w 309"/>
                    <a:gd name="T51" fmla="*/ 5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9" h="346">
                      <a:moveTo>
                        <a:pt x="0" y="57"/>
                      </a:moveTo>
                      <a:lnTo>
                        <a:pt x="19" y="46"/>
                      </a:lnTo>
                      <a:lnTo>
                        <a:pt x="30" y="4"/>
                      </a:lnTo>
                      <a:lnTo>
                        <a:pt x="43" y="27"/>
                      </a:lnTo>
                      <a:lnTo>
                        <a:pt x="90" y="48"/>
                      </a:lnTo>
                      <a:lnTo>
                        <a:pt x="143" y="48"/>
                      </a:lnTo>
                      <a:lnTo>
                        <a:pt x="164" y="6"/>
                      </a:lnTo>
                      <a:lnTo>
                        <a:pt x="234" y="0"/>
                      </a:lnTo>
                      <a:lnTo>
                        <a:pt x="309" y="27"/>
                      </a:lnTo>
                      <a:lnTo>
                        <a:pt x="281" y="85"/>
                      </a:lnTo>
                      <a:lnTo>
                        <a:pt x="221" y="151"/>
                      </a:lnTo>
                      <a:lnTo>
                        <a:pt x="204" y="267"/>
                      </a:lnTo>
                      <a:lnTo>
                        <a:pt x="166" y="346"/>
                      </a:lnTo>
                      <a:lnTo>
                        <a:pt x="73" y="280"/>
                      </a:lnTo>
                      <a:lnTo>
                        <a:pt x="43" y="267"/>
                      </a:lnTo>
                      <a:lnTo>
                        <a:pt x="49" y="208"/>
                      </a:lnTo>
                      <a:lnTo>
                        <a:pt x="36" y="202"/>
                      </a:lnTo>
                      <a:lnTo>
                        <a:pt x="79" y="182"/>
                      </a:lnTo>
                      <a:lnTo>
                        <a:pt x="90" y="153"/>
                      </a:lnTo>
                      <a:lnTo>
                        <a:pt x="75" y="142"/>
                      </a:lnTo>
                      <a:lnTo>
                        <a:pt x="92" y="112"/>
                      </a:lnTo>
                      <a:lnTo>
                        <a:pt x="60" y="85"/>
                      </a:lnTo>
                      <a:lnTo>
                        <a:pt x="34" y="108"/>
                      </a:lnTo>
                      <a:lnTo>
                        <a:pt x="36" y="80"/>
                      </a:lnTo>
                      <a:lnTo>
                        <a:pt x="0" y="59"/>
                      </a:lnTo>
                      <a:lnTo>
                        <a:pt x="0" y="57"/>
                      </a:lnTo>
                    </a:path>
                  </a:pathLst>
                </a:custGeom>
                <a:solidFill>
                  <a:srgbClr val="EBE4F4"/>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a:solidFill>
                      <a:srgbClr val="503078"/>
                    </a:solidFill>
                    <a:latin typeface="Tahoma"/>
                  </a:endParaRPr>
                </a:p>
              </p:txBody>
            </p:sp>
          </p:grpSp>
        </p:grpSp>
        <p:grpSp>
          <p:nvGrpSpPr>
            <p:cNvPr id="171" name="Alsace Lorraine Champagne Ardennes (N° Départements)">
              <a:extLst>
                <a:ext uri="{FF2B5EF4-FFF2-40B4-BE49-F238E27FC236}">
                  <a16:creationId xmlns:a16="http://schemas.microsoft.com/office/drawing/2014/main" id="{9268DD33-2A13-4606-9E3E-AD377D4F2FBB}"/>
                </a:ext>
              </a:extLst>
            </p:cNvPr>
            <p:cNvGrpSpPr/>
            <p:nvPr/>
          </p:nvGrpSpPr>
          <p:grpSpPr>
            <a:xfrm>
              <a:off x="7803651" y="2006669"/>
              <a:ext cx="1350967" cy="1043500"/>
              <a:chOff x="7050195" y="2176054"/>
              <a:chExt cx="1350967" cy="1043500"/>
            </a:xfrm>
          </p:grpSpPr>
          <p:grpSp>
            <p:nvGrpSpPr>
              <p:cNvPr id="172" name="Lorraine (N° Départements)">
                <a:extLst>
                  <a:ext uri="{FF2B5EF4-FFF2-40B4-BE49-F238E27FC236}">
                    <a16:creationId xmlns:a16="http://schemas.microsoft.com/office/drawing/2014/main" id="{443F4E75-2D9F-4085-863D-EFF618E1D857}"/>
                  </a:ext>
                </a:extLst>
              </p:cNvPr>
              <p:cNvGrpSpPr/>
              <p:nvPr/>
            </p:nvGrpSpPr>
            <p:grpSpPr>
              <a:xfrm>
                <a:off x="7453174" y="2406363"/>
                <a:ext cx="564887" cy="679566"/>
                <a:chOff x="7453174" y="2406363"/>
                <a:chExt cx="564887" cy="679566"/>
              </a:xfrm>
            </p:grpSpPr>
            <p:sp>
              <p:nvSpPr>
                <p:cNvPr id="181" name="57">
                  <a:extLst>
                    <a:ext uri="{FF2B5EF4-FFF2-40B4-BE49-F238E27FC236}">
                      <a16:creationId xmlns:a16="http://schemas.microsoft.com/office/drawing/2014/main" id="{616F94C4-9F0F-4593-AD71-12500B21DBE0}"/>
                    </a:ext>
                  </a:extLst>
                </p:cNvPr>
                <p:cNvSpPr txBox="1"/>
                <p:nvPr/>
              </p:nvSpPr>
              <p:spPr>
                <a:xfrm>
                  <a:off x="7826677" y="2406363"/>
                  <a:ext cx="184830" cy="166169"/>
                </a:xfrm>
                <a:prstGeom prst="rect">
                  <a:avLst/>
                </a:prstGeom>
                <a:noFill/>
              </p:spPr>
              <p:txBody>
                <a:bodyPr wrap="none" lIns="0" tIns="0" rIns="0" bIns="0" rtlCol="0">
                  <a:noAutofit/>
                </a:bodyPr>
                <a:lstStyle/>
                <a:p>
                  <a:r>
                    <a:rPr lang="fr-FR" sz="800">
                      <a:solidFill>
                        <a:srgbClr val="503078"/>
                      </a:solidFill>
                      <a:latin typeface="Tahoma"/>
                    </a:rPr>
                    <a:t>57</a:t>
                  </a:r>
                </a:p>
              </p:txBody>
            </p:sp>
            <p:sp>
              <p:nvSpPr>
                <p:cNvPr id="182" name="55">
                  <a:extLst>
                    <a:ext uri="{FF2B5EF4-FFF2-40B4-BE49-F238E27FC236}">
                      <a16:creationId xmlns:a16="http://schemas.microsoft.com/office/drawing/2014/main" id="{2DD7F041-7AAC-4CD8-9FBB-609F3F8E9965}"/>
                    </a:ext>
                  </a:extLst>
                </p:cNvPr>
                <p:cNvSpPr txBox="1"/>
                <p:nvPr/>
              </p:nvSpPr>
              <p:spPr>
                <a:xfrm>
                  <a:off x="7453174" y="2538630"/>
                  <a:ext cx="184830" cy="166169"/>
                </a:xfrm>
                <a:prstGeom prst="rect">
                  <a:avLst/>
                </a:prstGeom>
                <a:noFill/>
              </p:spPr>
              <p:txBody>
                <a:bodyPr wrap="none" lIns="0" tIns="0" rIns="0" bIns="0" rtlCol="0">
                  <a:noAutofit/>
                </a:bodyPr>
                <a:lstStyle/>
                <a:p>
                  <a:r>
                    <a:rPr lang="fr-FR" sz="800">
                      <a:solidFill>
                        <a:srgbClr val="FFFFFF"/>
                      </a:solidFill>
                      <a:latin typeface="Tahoma"/>
                    </a:rPr>
                    <a:t>55</a:t>
                  </a:r>
                </a:p>
              </p:txBody>
            </p:sp>
            <p:sp>
              <p:nvSpPr>
                <p:cNvPr id="183" name="88">
                  <a:extLst>
                    <a:ext uri="{FF2B5EF4-FFF2-40B4-BE49-F238E27FC236}">
                      <a16:creationId xmlns:a16="http://schemas.microsoft.com/office/drawing/2014/main" id="{FD805F8D-4E4B-4529-86E5-110F0551B3E4}"/>
                    </a:ext>
                  </a:extLst>
                </p:cNvPr>
                <p:cNvSpPr txBox="1"/>
                <p:nvPr/>
              </p:nvSpPr>
              <p:spPr>
                <a:xfrm>
                  <a:off x="7833231" y="2919760"/>
                  <a:ext cx="184830" cy="166169"/>
                </a:xfrm>
                <a:prstGeom prst="rect">
                  <a:avLst/>
                </a:prstGeom>
                <a:noFill/>
              </p:spPr>
              <p:txBody>
                <a:bodyPr wrap="none" lIns="0" tIns="0" rIns="0" bIns="0" rtlCol="0">
                  <a:noAutofit/>
                </a:bodyPr>
                <a:lstStyle/>
                <a:p>
                  <a:r>
                    <a:rPr lang="fr-FR" sz="800">
                      <a:solidFill>
                        <a:srgbClr val="FFFFFF"/>
                      </a:solidFill>
                      <a:latin typeface="Tahoma"/>
                    </a:rPr>
                    <a:t>88</a:t>
                  </a:r>
                </a:p>
              </p:txBody>
            </p:sp>
            <p:sp>
              <p:nvSpPr>
                <p:cNvPr id="184" name="54">
                  <a:extLst>
                    <a:ext uri="{FF2B5EF4-FFF2-40B4-BE49-F238E27FC236}">
                      <a16:creationId xmlns:a16="http://schemas.microsoft.com/office/drawing/2014/main" id="{B71C8A83-255F-47B3-A6B6-8D17E2CCD11F}"/>
                    </a:ext>
                  </a:extLst>
                </p:cNvPr>
                <p:cNvSpPr txBox="1"/>
                <p:nvPr/>
              </p:nvSpPr>
              <p:spPr>
                <a:xfrm>
                  <a:off x="7739076" y="2656264"/>
                  <a:ext cx="184830" cy="166169"/>
                </a:xfrm>
                <a:prstGeom prst="rect">
                  <a:avLst/>
                </a:prstGeom>
                <a:noFill/>
              </p:spPr>
              <p:txBody>
                <a:bodyPr wrap="none" lIns="0" tIns="0" rIns="0" bIns="0" rtlCol="0">
                  <a:noAutofit/>
                </a:bodyPr>
                <a:lstStyle/>
                <a:p>
                  <a:r>
                    <a:rPr lang="fr-FR" sz="800">
                      <a:solidFill>
                        <a:srgbClr val="503078"/>
                      </a:solidFill>
                      <a:latin typeface="Tahoma"/>
                    </a:rPr>
                    <a:t>54</a:t>
                  </a:r>
                </a:p>
              </p:txBody>
            </p:sp>
          </p:grpSp>
          <p:grpSp>
            <p:nvGrpSpPr>
              <p:cNvPr id="173" name="Champagne Ardennes (N° Départements)">
                <a:extLst>
                  <a:ext uri="{FF2B5EF4-FFF2-40B4-BE49-F238E27FC236}">
                    <a16:creationId xmlns:a16="http://schemas.microsoft.com/office/drawing/2014/main" id="{57B71847-BF77-48DE-9402-C43C3DF657B2}"/>
                  </a:ext>
                </a:extLst>
              </p:cNvPr>
              <p:cNvGrpSpPr/>
              <p:nvPr/>
            </p:nvGrpSpPr>
            <p:grpSpPr>
              <a:xfrm>
                <a:off x="7050195" y="2176054"/>
                <a:ext cx="568040" cy="959800"/>
                <a:chOff x="7050195" y="2176054"/>
                <a:chExt cx="568040" cy="959800"/>
              </a:xfrm>
            </p:grpSpPr>
            <p:sp>
              <p:nvSpPr>
                <p:cNvPr id="177" name="08">
                  <a:extLst>
                    <a:ext uri="{FF2B5EF4-FFF2-40B4-BE49-F238E27FC236}">
                      <a16:creationId xmlns:a16="http://schemas.microsoft.com/office/drawing/2014/main" id="{946FE1EA-9EF5-4902-916A-F4669E9CADBB}"/>
                    </a:ext>
                  </a:extLst>
                </p:cNvPr>
                <p:cNvSpPr txBox="1"/>
                <p:nvPr/>
              </p:nvSpPr>
              <p:spPr>
                <a:xfrm>
                  <a:off x="7178620" y="2176054"/>
                  <a:ext cx="184830" cy="166169"/>
                </a:xfrm>
                <a:prstGeom prst="rect">
                  <a:avLst/>
                </a:prstGeom>
                <a:noFill/>
              </p:spPr>
              <p:txBody>
                <a:bodyPr wrap="none" lIns="0" tIns="0" rIns="0" bIns="0" rtlCol="0">
                  <a:noAutofit/>
                </a:bodyPr>
                <a:lstStyle/>
                <a:p>
                  <a:r>
                    <a:rPr lang="fr-FR" sz="800">
                      <a:solidFill>
                        <a:srgbClr val="FFFFFF"/>
                      </a:solidFill>
                      <a:latin typeface="Tahoma"/>
                    </a:rPr>
                    <a:t>08</a:t>
                  </a:r>
                </a:p>
              </p:txBody>
            </p:sp>
            <p:sp>
              <p:nvSpPr>
                <p:cNvPr id="178" name="10">
                  <a:extLst>
                    <a:ext uri="{FF2B5EF4-FFF2-40B4-BE49-F238E27FC236}">
                      <a16:creationId xmlns:a16="http://schemas.microsoft.com/office/drawing/2014/main" id="{56C19FCF-4F50-4759-96F0-48715AF04520}"/>
                    </a:ext>
                  </a:extLst>
                </p:cNvPr>
                <p:cNvSpPr txBox="1"/>
                <p:nvPr/>
              </p:nvSpPr>
              <p:spPr>
                <a:xfrm>
                  <a:off x="7050195" y="2854550"/>
                  <a:ext cx="184830" cy="166169"/>
                </a:xfrm>
                <a:prstGeom prst="rect">
                  <a:avLst/>
                </a:prstGeom>
                <a:noFill/>
              </p:spPr>
              <p:txBody>
                <a:bodyPr wrap="none" lIns="0" tIns="0" rIns="0" bIns="0" rtlCol="0">
                  <a:noAutofit/>
                </a:bodyPr>
                <a:lstStyle/>
                <a:p>
                  <a:r>
                    <a:rPr lang="fr-FR" sz="800">
                      <a:solidFill>
                        <a:srgbClr val="FFFFFF"/>
                      </a:solidFill>
                      <a:latin typeface="Tahoma"/>
                    </a:rPr>
                    <a:t>10</a:t>
                  </a:r>
                </a:p>
              </p:txBody>
            </p:sp>
            <p:sp>
              <p:nvSpPr>
                <p:cNvPr id="179" name="51">
                  <a:extLst>
                    <a:ext uri="{FF2B5EF4-FFF2-40B4-BE49-F238E27FC236}">
                      <a16:creationId xmlns:a16="http://schemas.microsoft.com/office/drawing/2014/main" id="{F5D8CA44-4A86-47EB-8B8E-A8C9DCF2F3BB}"/>
                    </a:ext>
                  </a:extLst>
                </p:cNvPr>
                <p:cNvSpPr txBox="1"/>
                <p:nvPr/>
              </p:nvSpPr>
              <p:spPr>
                <a:xfrm>
                  <a:off x="7050195" y="2536269"/>
                  <a:ext cx="184830" cy="166169"/>
                </a:xfrm>
                <a:prstGeom prst="rect">
                  <a:avLst/>
                </a:prstGeom>
                <a:noFill/>
              </p:spPr>
              <p:txBody>
                <a:bodyPr wrap="none" lIns="0" tIns="0" rIns="0" bIns="0" rtlCol="0">
                  <a:noAutofit/>
                </a:bodyPr>
                <a:lstStyle/>
                <a:p>
                  <a:r>
                    <a:rPr lang="fr-FR" sz="800">
                      <a:solidFill>
                        <a:srgbClr val="503078"/>
                      </a:solidFill>
                      <a:latin typeface="Tahoma"/>
                    </a:rPr>
                    <a:t>51</a:t>
                  </a:r>
                </a:p>
              </p:txBody>
            </p:sp>
            <p:sp>
              <p:nvSpPr>
                <p:cNvPr id="180" name="52">
                  <a:extLst>
                    <a:ext uri="{FF2B5EF4-FFF2-40B4-BE49-F238E27FC236}">
                      <a16:creationId xmlns:a16="http://schemas.microsoft.com/office/drawing/2014/main" id="{FFDB09E8-35F7-43B8-ACE6-2272A9327AA9}"/>
                    </a:ext>
                  </a:extLst>
                </p:cNvPr>
                <p:cNvSpPr txBox="1"/>
                <p:nvPr/>
              </p:nvSpPr>
              <p:spPr>
                <a:xfrm>
                  <a:off x="7433405" y="2969685"/>
                  <a:ext cx="184830" cy="166169"/>
                </a:xfrm>
                <a:prstGeom prst="rect">
                  <a:avLst/>
                </a:prstGeom>
                <a:noFill/>
              </p:spPr>
              <p:txBody>
                <a:bodyPr wrap="none" lIns="0" tIns="0" rIns="0" bIns="0" rtlCol="0">
                  <a:noAutofit/>
                </a:bodyPr>
                <a:lstStyle/>
                <a:p>
                  <a:r>
                    <a:rPr lang="fr-FR" sz="800">
                      <a:solidFill>
                        <a:srgbClr val="FFFFFF"/>
                      </a:solidFill>
                      <a:latin typeface="Tahoma"/>
                    </a:rPr>
                    <a:t>52</a:t>
                  </a:r>
                </a:p>
              </p:txBody>
            </p:sp>
          </p:grpSp>
          <p:grpSp>
            <p:nvGrpSpPr>
              <p:cNvPr id="174" name="Alsace (N° Départements)">
                <a:extLst>
                  <a:ext uri="{FF2B5EF4-FFF2-40B4-BE49-F238E27FC236}">
                    <a16:creationId xmlns:a16="http://schemas.microsoft.com/office/drawing/2014/main" id="{3C7784C2-9843-4DBD-81E7-F035A0C0B89B}"/>
                  </a:ext>
                </a:extLst>
              </p:cNvPr>
              <p:cNvGrpSpPr/>
              <p:nvPr/>
            </p:nvGrpSpPr>
            <p:grpSpPr>
              <a:xfrm>
                <a:off x="8131064" y="2654517"/>
                <a:ext cx="270098" cy="565037"/>
                <a:chOff x="8131064" y="2654517"/>
                <a:chExt cx="270098" cy="565037"/>
              </a:xfrm>
            </p:grpSpPr>
            <p:sp>
              <p:nvSpPr>
                <p:cNvPr id="175" name="67">
                  <a:extLst>
                    <a:ext uri="{FF2B5EF4-FFF2-40B4-BE49-F238E27FC236}">
                      <a16:creationId xmlns:a16="http://schemas.microsoft.com/office/drawing/2014/main" id="{26D84BBE-9408-4BB5-9070-A7FF1FAD64A9}"/>
                    </a:ext>
                  </a:extLst>
                </p:cNvPr>
                <p:cNvSpPr txBox="1"/>
                <p:nvPr/>
              </p:nvSpPr>
              <p:spPr>
                <a:xfrm>
                  <a:off x="8216332" y="2654517"/>
                  <a:ext cx="184830" cy="166169"/>
                </a:xfrm>
                <a:prstGeom prst="rect">
                  <a:avLst/>
                </a:prstGeom>
                <a:noFill/>
              </p:spPr>
              <p:txBody>
                <a:bodyPr wrap="none" lIns="0" tIns="0" rIns="0" bIns="0" rtlCol="0">
                  <a:noAutofit/>
                </a:bodyPr>
                <a:lstStyle/>
                <a:p>
                  <a:r>
                    <a:rPr lang="fr-FR" sz="800">
                      <a:solidFill>
                        <a:srgbClr val="503078"/>
                      </a:solidFill>
                      <a:latin typeface="Tahoma"/>
                    </a:rPr>
                    <a:t>67</a:t>
                  </a:r>
                </a:p>
              </p:txBody>
            </p:sp>
            <p:sp>
              <p:nvSpPr>
                <p:cNvPr id="176" name="68">
                  <a:extLst>
                    <a:ext uri="{FF2B5EF4-FFF2-40B4-BE49-F238E27FC236}">
                      <a16:creationId xmlns:a16="http://schemas.microsoft.com/office/drawing/2014/main" id="{9FD8D3F9-BF11-41F3-BB7F-E940806015FF}"/>
                    </a:ext>
                  </a:extLst>
                </p:cNvPr>
                <p:cNvSpPr txBox="1"/>
                <p:nvPr/>
              </p:nvSpPr>
              <p:spPr>
                <a:xfrm>
                  <a:off x="8131064" y="3053385"/>
                  <a:ext cx="184830" cy="166169"/>
                </a:xfrm>
                <a:prstGeom prst="rect">
                  <a:avLst/>
                </a:prstGeom>
                <a:noFill/>
              </p:spPr>
              <p:txBody>
                <a:bodyPr wrap="none" lIns="0" tIns="0" rIns="0" bIns="0" rtlCol="0">
                  <a:noAutofit/>
                </a:bodyPr>
                <a:lstStyle/>
                <a:p>
                  <a:r>
                    <a:rPr lang="fr-FR" sz="800">
                      <a:solidFill>
                        <a:srgbClr val="503078"/>
                      </a:solidFill>
                      <a:latin typeface="Tahoma"/>
                    </a:rPr>
                    <a:t>68</a:t>
                  </a:r>
                </a:p>
              </p:txBody>
            </p:sp>
          </p:grpSp>
        </p:grpSp>
      </p:grpSp>
      <p:sp>
        <p:nvSpPr>
          <p:cNvPr id="421" name="ZoneTexte 420">
            <a:extLst>
              <a:ext uri="{FF2B5EF4-FFF2-40B4-BE49-F238E27FC236}">
                <a16:creationId xmlns:a16="http://schemas.microsoft.com/office/drawing/2014/main" id="{D51717BE-4DD0-4665-A9F9-673D821EABBF}"/>
              </a:ext>
            </a:extLst>
          </p:cNvPr>
          <p:cNvSpPr txBox="1"/>
          <p:nvPr/>
        </p:nvSpPr>
        <p:spPr>
          <a:xfrm>
            <a:off x="3011807" y="6078448"/>
            <a:ext cx="850317" cy="507831"/>
          </a:xfrm>
          <a:prstGeom prst="rect">
            <a:avLst/>
          </a:prstGeom>
          <a:noFill/>
        </p:spPr>
        <p:txBody>
          <a:bodyPr wrap="square" lIns="108000" rIns="108000" rtlCol="0">
            <a:spAutoFit/>
          </a:bodyPr>
          <a:lstStyle/>
          <a:p>
            <a:endParaRPr lang="fr-FR" sz="900">
              <a:solidFill>
                <a:srgbClr val="5F5F5F"/>
              </a:solidFill>
              <a:latin typeface="Tahoma"/>
            </a:endParaRPr>
          </a:p>
          <a:p>
            <a:pPr algn="ctr"/>
            <a:r>
              <a:rPr lang="fr-FR" sz="900" b="1">
                <a:solidFill>
                  <a:srgbClr val="503078"/>
                </a:solidFill>
                <a:latin typeface="Tahoma"/>
              </a:rPr>
              <a:t>Guyane</a:t>
            </a:r>
            <a:endParaRPr lang="fr-FR" sz="900">
              <a:solidFill>
                <a:srgbClr val="5F5F5F"/>
              </a:solidFill>
              <a:latin typeface="Tahoma"/>
            </a:endParaRPr>
          </a:p>
          <a:p>
            <a:endParaRPr lang="fr-FR" sz="900">
              <a:solidFill>
                <a:srgbClr val="5F5F5F"/>
              </a:solidFill>
              <a:latin typeface="Tahoma"/>
            </a:endParaRPr>
          </a:p>
        </p:txBody>
      </p:sp>
      <p:sp>
        <p:nvSpPr>
          <p:cNvPr id="422" name="ZoneTexte 421">
            <a:extLst>
              <a:ext uri="{FF2B5EF4-FFF2-40B4-BE49-F238E27FC236}">
                <a16:creationId xmlns:a16="http://schemas.microsoft.com/office/drawing/2014/main" id="{C93A5602-4BC7-42B1-9C0A-1373E7BE735A}"/>
              </a:ext>
            </a:extLst>
          </p:cNvPr>
          <p:cNvSpPr txBox="1"/>
          <p:nvPr/>
        </p:nvSpPr>
        <p:spPr>
          <a:xfrm>
            <a:off x="2496011" y="6078616"/>
            <a:ext cx="714633" cy="507831"/>
          </a:xfrm>
          <a:prstGeom prst="rect">
            <a:avLst/>
          </a:prstGeom>
          <a:noFill/>
        </p:spPr>
        <p:txBody>
          <a:bodyPr wrap="square" lIns="108000" rIns="108000" rtlCol="0">
            <a:spAutoFit/>
          </a:bodyPr>
          <a:lstStyle/>
          <a:p>
            <a:endParaRPr lang="fr-FR" sz="900">
              <a:solidFill>
                <a:srgbClr val="5F5F5F"/>
              </a:solidFill>
              <a:latin typeface="Tahoma"/>
            </a:endParaRPr>
          </a:p>
          <a:p>
            <a:pPr algn="ctr"/>
            <a:r>
              <a:rPr lang="fr-FR" sz="900" b="1">
                <a:solidFill>
                  <a:srgbClr val="503078"/>
                </a:solidFill>
                <a:latin typeface="Tahoma"/>
              </a:rPr>
              <a:t>Réunion</a:t>
            </a:r>
            <a:endParaRPr lang="fr-FR" sz="900">
              <a:solidFill>
                <a:srgbClr val="5F5F5F"/>
              </a:solidFill>
              <a:latin typeface="Tahoma"/>
            </a:endParaRPr>
          </a:p>
          <a:p>
            <a:endParaRPr lang="fr-FR" sz="900">
              <a:solidFill>
                <a:srgbClr val="5F5F5F"/>
              </a:solidFill>
              <a:latin typeface="Tahoma"/>
            </a:endParaRPr>
          </a:p>
        </p:txBody>
      </p:sp>
      <p:grpSp>
        <p:nvGrpSpPr>
          <p:cNvPr id="423" name="Guadeloupe">
            <a:extLst>
              <a:ext uri="{FF2B5EF4-FFF2-40B4-BE49-F238E27FC236}">
                <a16:creationId xmlns:a16="http://schemas.microsoft.com/office/drawing/2014/main" id="{196B7A85-7998-4EA0-8C91-30261D7B1856}"/>
              </a:ext>
            </a:extLst>
          </p:cNvPr>
          <p:cNvGrpSpPr/>
          <p:nvPr/>
        </p:nvGrpSpPr>
        <p:grpSpPr>
          <a:xfrm>
            <a:off x="4753509" y="6480512"/>
            <a:ext cx="391310" cy="213068"/>
            <a:chOff x="171449" y="1201742"/>
            <a:chExt cx="6338892" cy="5299084"/>
          </a:xfrm>
          <a:solidFill>
            <a:schemeClr val="bg2">
              <a:lumMod val="75000"/>
            </a:schemeClr>
          </a:solidFill>
        </p:grpSpPr>
        <p:sp>
          <p:nvSpPr>
            <p:cNvPr id="424" name="Freeform 19">
              <a:extLst>
                <a:ext uri="{FF2B5EF4-FFF2-40B4-BE49-F238E27FC236}">
                  <a16:creationId xmlns:a16="http://schemas.microsoft.com/office/drawing/2014/main" id="{5E50F51F-4560-4409-B8F6-D2B103FC0C33}"/>
                </a:ext>
              </a:extLst>
            </p:cNvPr>
            <p:cNvSpPr>
              <a:spLocks noChangeAspect="1"/>
            </p:cNvSpPr>
            <p:nvPr/>
          </p:nvSpPr>
          <p:spPr bwMode="auto">
            <a:xfrm>
              <a:off x="2193926" y="1201742"/>
              <a:ext cx="2965452" cy="2517782"/>
            </a:xfrm>
            <a:custGeom>
              <a:avLst/>
              <a:gdLst>
                <a:gd name="T0" fmla="*/ 658 w 2864"/>
                <a:gd name="T1" fmla="*/ 51 h 2431"/>
                <a:gd name="T2" fmla="*/ 577 w 2864"/>
                <a:gd name="T3" fmla="*/ 20 h 2431"/>
                <a:gd name="T4" fmla="*/ 466 w 2864"/>
                <a:gd name="T5" fmla="*/ 162 h 2431"/>
                <a:gd name="T6" fmla="*/ 324 w 2864"/>
                <a:gd name="T7" fmla="*/ 243 h 2431"/>
                <a:gd name="T8" fmla="*/ 243 w 2864"/>
                <a:gd name="T9" fmla="*/ 324 h 2431"/>
                <a:gd name="T10" fmla="*/ 132 w 2864"/>
                <a:gd name="T11" fmla="*/ 426 h 2431"/>
                <a:gd name="T12" fmla="*/ 71 w 2864"/>
                <a:gd name="T13" fmla="*/ 567 h 2431"/>
                <a:gd name="T14" fmla="*/ 122 w 2864"/>
                <a:gd name="T15" fmla="*/ 648 h 2431"/>
                <a:gd name="T16" fmla="*/ 152 w 2864"/>
                <a:gd name="T17" fmla="*/ 841 h 2431"/>
                <a:gd name="T18" fmla="*/ 284 w 2864"/>
                <a:gd name="T19" fmla="*/ 962 h 2431"/>
                <a:gd name="T20" fmla="*/ 395 w 2864"/>
                <a:gd name="T21" fmla="*/ 1033 h 2431"/>
                <a:gd name="T22" fmla="*/ 395 w 2864"/>
                <a:gd name="T23" fmla="*/ 1185 h 2431"/>
                <a:gd name="T24" fmla="*/ 385 w 2864"/>
                <a:gd name="T25" fmla="*/ 1236 h 2431"/>
                <a:gd name="T26" fmla="*/ 324 w 2864"/>
                <a:gd name="T27" fmla="*/ 1307 h 2431"/>
                <a:gd name="T28" fmla="*/ 162 w 2864"/>
                <a:gd name="T29" fmla="*/ 1307 h 2431"/>
                <a:gd name="T30" fmla="*/ 122 w 2864"/>
                <a:gd name="T31" fmla="*/ 1439 h 2431"/>
                <a:gd name="T32" fmla="*/ 81 w 2864"/>
                <a:gd name="T33" fmla="*/ 1580 h 2431"/>
                <a:gd name="T34" fmla="*/ 31 w 2864"/>
                <a:gd name="T35" fmla="*/ 1651 h 2431"/>
                <a:gd name="T36" fmla="*/ 0 w 2864"/>
                <a:gd name="T37" fmla="*/ 1702 h 2431"/>
                <a:gd name="T38" fmla="*/ 41 w 2864"/>
                <a:gd name="T39" fmla="*/ 1894 h 2431"/>
                <a:gd name="T40" fmla="*/ 41 w 2864"/>
                <a:gd name="T41" fmla="*/ 2057 h 2431"/>
                <a:gd name="T42" fmla="*/ 132 w 2864"/>
                <a:gd name="T43" fmla="*/ 2168 h 2431"/>
                <a:gd name="T44" fmla="*/ 203 w 2864"/>
                <a:gd name="T45" fmla="*/ 2229 h 2431"/>
                <a:gd name="T46" fmla="*/ 243 w 2864"/>
                <a:gd name="T47" fmla="*/ 2259 h 2431"/>
                <a:gd name="T48" fmla="*/ 344 w 2864"/>
                <a:gd name="T49" fmla="*/ 2340 h 2431"/>
                <a:gd name="T50" fmla="*/ 567 w 2864"/>
                <a:gd name="T51" fmla="*/ 2391 h 2431"/>
                <a:gd name="T52" fmla="*/ 678 w 2864"/>
                <a:gd name="T53" fmla="*/ 2401 h 2431"/>
                <a:gd name="T54" fmla="*/ 820 w 2864"/>
                <a:gd name="T55" fmla="*/ 2320 h 2431"/>
                <a:gd name="T56" fmla="*/ 941 w 2864"/>
                <a:gd name="T57" fmla="*/ 2350 h 2431"/>
                <a:gd name="T58" fmla="*/ 1063 w 2864"/>
                <a:gd name="T59" fmla="*/ 2320 h 2431"/>
                <a:gd name="T60" fmla="*/ 1124 w 2864"/>
                <a:gd name="T61" fmla="*/ 2259 h 2431"/>
                <a:gd name="T62" fmla="*/ 1205 w 2864"/>
                <a:gd name="T63" fmla="*/ 2229 h 2431"/>
                <a:gd name="T64" fmla="*/ 1356 w 2864"/>
                <a:gd name="T65" fmla="*/ 2188 h 2431"/>
                <a:gd name="T66" fmla="*/ 1508 w 2864"/>
                <a:gd name="T67" fmla="*/ 2127 h 2431"/>
                <a:gd name="T68" fmla="*/ 1690 w 2864"/>
                <a:gd name="T69" fmla="*/ 2087 h 2431"/>
                <a:gd name="T70" fmla="*/ 1852 w 2864"/>
                <a:gd name="T71" fmla="*/ 2087 h 2431"/>
                <a:gd name="T72" fmla="*/ 2034 w 2864"/>
                <a:gd name="T73" fmla="*/ 2026 h 2431"/>
                <a:gd name="T74" fmla="*/ 2146 w 2864"/>
                <a:gd name="T75" fmla="*/ 2057 h 2431"/>
                <a:gd name="T76" fmla="*/ 2328 w 2864"/>
                <a:gd name="T77" fmla="*/ 1986 h 2431"/>
                <a:gd name="T78" fmla="*/ 2550 w 2864"/>
                <a:gd name="T79" fmla="*/ 1996 h 2431"/>
                <a:gd name="T80" fmla="*/ 2753 w 2864"/>
                <a:gd name="T81" fmla="*/ 2046 h 2431"/>
                <a:gd name="T82" fmla="*/ 2854 w 2864"/>
                <a:gd name="T83" fmla="*/ 2057 h 2431"/>
                <a:gd name="T84" fmla="*/ 2793 w 2864"/>
                <a:gd name="T85" fmla="*/ 2016 h 2431"/>
                <a:gd name="T86" fmla="*/ 2672 w 2864"/>
                <a:gd name="T87" fmla="*/ 1965 h 2431"/>
                <a:gd name="T88" fmla="*/ 2520 w 2864"/>
                <a:gd name="T89" fmla="*/ 1945 h 2431"/>
                <a:gd name="T90" fmla="*/ 2348 w 2864"/>
                <a:gd name="T91" fmla="*/ 1864 h 2431"/>
                <a:gd name="T92" fmla="*/ 2257 w 2864"/>
                <a:gd name="T93" fmla="*/ 1692 h 2431"/>
                <a:gd name="T94" fmla="*/ 2146 w 2864"/>
                <a:gd name="T95" fmla="*/ 1560 h 2431"/>
                <a:gd name="T96" fmla="*/ 1953 w 2864"/>
                <a:gd name="T97" fmla="*/ 1459 h 2431"/>
                <a:gd name="T98" fmla="*/ 1852 w 2864"/>
                <a:gd name="T99" fmla="*/ 1439 h 2431"/>
                <a:gd name="T100" fmla="*/ 1700 w 2864"/>
                <a:gd name="T101" fmla="*/ 1378 h 2431"/>
                <a:gd name="T102" fmla="*/ 1458 w 2864"/>
                <a:gd name="T103" fmla="*/ 1368 h 2431"/>
                <a:gd name="T104" fmla="*/ 1366 w 2864"/>
                <a:gd name="T105" fmla="*/ 1337 h 2431"/>
                <a:gd name="T106" fmla="*/ 1225 w 2864"/>
                <a:gd name="T107" fmla="*/ 1226 h 2431"/>
                <a:gd name="T108" fmla="*/ 1113 w 2864"/>
                <a:gd name="T109" fmla="*/ 1023 h 2431"/>
                <a:gd name="T110" fmla="*/ 1113 w 2864"/>
                <a:gd name="T111" fmla="*/ 811 h 2431"/>
                <a:gd name="T112" fmla="*/ 1124 w 2864"/>
                <a:gd name="T113" fmla="*/ 719 h 2431"/>
                <a:gd name="T114" fmla="*/ 1124 w 2864"/>
                <a:gd name="T115" fmla="*/ 547 h 2431"/>
                <a:gd name="T116" fmla="*/ 1053 w 2864"/>
                <a:gd name="T117" fmla="*/ 324 h 2431"/>
                <a:gd name="T118" fmla="*/ 962 w 2864"/>
                <a:gd name="T119" fmla="*/ 274 h 2431"/>
                <a:gd name="T120" fmla="*/ 840 w 2864"/>
                <a:gd name="T121" fmla="*/ 172 h 2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64" h="2431">
                  <a:moveTo>
                    <a:pt x="800" y="101"/>
                  </a:moveTo>
                  <a:lnTo>
                    <a:pt x="769" y="101"/>
                  </a:lnTo>
                  <a:lnTo>
                    <a:pt x="739" y="101"/>
                  </a:lnTo>
                  <a:lnTo>
                    <a:pt x="719" y="101"/>
                  </a:lnTo>
                  <a:lnTo>
                    <a:pt x="699" y="101"/>
                  </a:lnTo>
                  <a:lnTo>
                    <a:pt x="678" y="112"/>
                  </a:lnTo>
                  <a:lnTo>
                    <a:pt x="668" y="112"/>
                  </a:lnTo>
                  <a:lnTo>
                    <a:pt x="668" y="101"/>
                  </a:lnTo>
                  <a:lnTo>
                    <a:pt x="658" y="101"/>
                  </a:lnTo>
                  <a:lnTo>
                    <a:pt x="668" y="91"/>
                  </a:lnTo>
                  <a:lnTo>
                    <a:pt x="668" y="71"/>
                  </a:lnTo>
                  <a:lnTo>
                    <a:pt x="668" y="61"/>
                  </a:lnTo>
                  <a:lnTo>
                    <a:pt x="658" y="61"/>
                  </a:lnTo>
                  <a:lnTo>
                    <a:pt x="658" y="51"/>
                  </a:lnTo>
                  <a:lnTo>
                    <a:pt x="648" y="41"/>
                  </a:lnTo>
                  <a:lnTo>
                    <a:pt x="648" y="30"/>
                  </a:lnTo>
                  <a:lnTo>
                    <a:pt x="648" y="20"/>
                  </a:lnTo>
                  <a:lnTo>
                    <a:pt x="648" y="10"/>
                  </a:lnTo>
                  <a:lnTo>
                    <a:pt x="648" y="0"/>
                  </a:lnTo>
                  <a:lnTo>
                    <a:pt x="638" y="0"/>
                  </a:lnTo>
                  <a:lnTo>
                    <a:pt x="628" y="0"/>
                  </a:lnTo>
                  <a:lnTo>
                    <a:pt x="608" y="0"/>
                  </a:lnTo>
                  <a:lnTo>
                    <a:pt x="597" y="10"/>
                  </a:lnTo>
                  <a:lnTo>
                    <a:pt x="587" y="10"/>
                  </a:lnTo>
                  <a:lnTo>
                    <a:pt x="577" y="20"/>
                  </a:lnTo>
                  <a:lnTo>
                    <a:pt x="567" y="41"/>
                  </a:lnTo>
                  <a:lnTo>
                    <a:pt x="547" y="51"/>
                  </a:lnTo>
                  <a:lnTo>
                    <a:pt x="537" y="61"/>
                  </a:lnTo>
                  <a:lnTo>
                    <a:pt x="537" y="81"/>
                  </a:lnTo>
                  <a:lnTo>
                    <a:pt x="527" y="91"/>
                  </a:lnTo>
                  <a:lnTo>
                    <a:pt x="527" y="101"/>
                  </a:lnTo>
                  <a:lnTo>
                    <a:pt x="527" y="112"/>
                  </a:lnTo>
                  <a:lnTo>
                    <a:pt x="516" y="112"/>
                  </a:lnTo>
                  <a:lnTo>
                    <a:pt x="516" y="122"/>
                  </a:lnTo>
                  <a:lnTo>
                    <a:pt x="506" y="132"/>
                  </a:lnTo>
                  <a:lnTo>
                    <a:pt x="496" y="142"/>
                  </a:lnTo>
                  <a:lnTo>
                    <a:pt x="486" y="152"/>
                  </a:lnTo>
                  <a:lnTo>
                    <a:pt x="466" y="162"/>
                  </a:lnTo>
                  <a:lnTo>
                    <a:pt x="456" y="172"/>
                  </a:lnTo>
                  <a:lnTo>
                    <a:pt x="446" y="182"/>
                  </a:lnTo>
                  <a:lnTo>
                    <a:pt x="425" y="203"/>
                  </a:lnTo>
                  <a:lnTo>
                    <a:pt x="405" y="213"/>
                  </a:lnTo>
                  <a:lnTo>
                    <a:pt x="405" y="223"/>
                  </a:lnTo>
                  <a:lnTo>
                    <a:pt x="395" y="223"/>
                  </a:lnTo>
                  <a:lnTo>
                    <a:pt x="385" y="223"/>
                  </a:lnTo>
                  <a:lnTo>
                    <a:pt x="375" y="223"/>
                  </a:lnTo>
                  <a:lnTo>
                    <a:pt x="365" y="223"/>
                  </a:lnTo>
                  <a:lnTo>
                    <a:pt x="344" y="223"/>
                  </a:lnTo>
                  <a:lnTo>
                    <a:pt x="344" y="233"/>
                  </a:lnTo>
                  <a:lnTo>
                    <a:pt x="334" y="233"/>
                  </a:lnTo>
                  <a:lnTo>
                    <a:pt x="324" y="243"/>
                  </a:lnTo>
                  <a:lnTo>
                    <a:pt x="324" y="253"/>
                  </a:lnTo>
                  <a:lnTo>
                    <a:pt x="314" y="253"/>
                  </a:lnTo>
                  <a:lnTo>
                    <a:pt x="314" y="263"/>
                  </a:lnTo>
                  <a:lnTo>
                    <a:pt x="304" y="274"/>
                  </a:lnTo>
                  <a:lnTo>
                    <a:pt x="294" y="274"/>
                  </a:lnTo>
                  <a:lnTo>
                    <a:pt x="284" y="284"/>
                  </a:lnTo>
                  <a:lnTo>
                    <a:pt x="284" y="294"/>
                  </a:lnTo>
                  <a:lnTo>
                    <a:pt x="274" y="304"/>
                  </a:lnTo>
                  <a:lnTo>
                    <a:pt x="264" y="304"/>
                  </a:lnTo>
                  <a:lnTo>
                    <a:pt x="253" y="314"/>
                  </a:lnTo>
                  <a:lnTo>
                    <a:pt x="243" y="314"/>
                  </a:lnTo>
                  <a:lnTo>
                    <a:pt x="243" y="324"/>
                  </a:lnTo>
                  <a:lnTo>
                    <a:pt x="243" y="334"/>
                  </a:lnTo>
                  <a:lnTo>
                    <a:pt x="233" y="345"/>
                  </a:lnTo>
                  <a:lnTo>
                    <a:pt x="223" y="365"/>
                  </a:lnTo>
                  <a:lnTo>
                    <a:pt x="223" y="375"/>
                  </a:lnTo>
                  <a:lnTo>
                    <a:pt x="213" y="375"/>
                  </a:lnTo>
                  <a:lnTo>
                    <a:pt x="193" y="385"/>
                  </a:lnTo>
                  <a:lnTo>
                    <a:pt x="183" y="385"/>
                  </a:lnTo>
                  <a:lnTo>
                    <a:pt x="172" y="395"/>
                  </a:lnTo>
                  <a:lnTo>
                    <a:pt x="152" y="395"/>
                  </a:lnTo>
                  <a:lnTo>
                    <a:pt x="152" y="405"/>
                  </a:lnTo>
                  <a:lnTo>
                    <a:pt x="142" y="415"/>
                  </a:lnTo>
                  <a:lnTo>
                    <a:pt x="142" y="426"/>
                  </a:lnTo>
                  <a:lnTo>
                    <a:pt x="132" y="426"/>
                  </a:lnTo>
                  <a:lnTo>
                    <a:pt x="122" y="436"/>
                  </a:lnTo>
                  <a:lnTo>
                    <a:pt x="112" y="456"/>
                  </a:lnTo>
                  <a:lnTo>
                    <a:pt x="112" y="466"/>
                  </a:lnTo>
                  <a:lnTo>
                    <a:pt x="112" y="486"/>
                  </a:lnTo>
                  <a:lnTo>
                    <a:pt x="112" y="507"/>
                  </a:lnTo>
                  <a:lnTo>
                    <a:pt x="102" y="517"/>
                  </a:lnTo>
                  <a:lnTo>
                    <a:pt x="102" y="527"/>
                  </a:lnTo>
                  <a:lnTo>
                    <a:pt x="91" y="527"/>
                  </a:lnTo>
                  <a:lnTo>
                    <a:pt x="81" y="547"/>
                  </a:lnTo>
                  <a:lnTo>
                    <a:pt x="81" y="557"/>
                  </a:lnTo>
                  <a:lnTo>
                    <a:pt x="71" y="567"/>
                  </a:lnTo>
                  <a:lnTo>
                    <a:pt x="81" y="578"/>
                  </a:lnTo>
                  <a:lnTo>
                    <a:pt x="91" y="578"/>
                  </a:lnTo>
                  <a:lnTo>
                    <a:pt x="102" y="578"/>
                  </a:lnTo>
                  <a:lnTo>
                    <a:pt x="102" y="588"/>
                  </a:lnTo>
                  <a:lnTo>
                    <a:pt x="102" y="598"/>
                  </a:lnTo>
                  <a:lnTo>
                    <a:pt x="102" y="608"/>
                  </a:lnTo>
                  <a:lnTo>
                    <a:pt x="102" y="628"/>
                  </a:lnTo>
                  <a:lnTo>
                    <a:pt x="102" y="638"/>
                  </a:lnTo>
                  <a:lnTo>
                    <a:pt x="112" y="638"/>
                  </a:lnTo>
                  <a:lnTo>
                    <a:pt x="122" y="648"/>
                  </a:lnTo>
                  <a:lnTo>
                    <a:pt x="122" y="659"/>
                  </a:lnTo>
                  <a:lnTo>
                    <a:pt x="132" y="699"/>
                  </a:lnTo>
                  <a:lnTo>
                    <a:pt x="132" y="709"/>
                  </a:lnTo>
                  <a:lnTo>
                    <a:pt x="132" y="719"/>
                  </a:lnTo>
                  <a:lnTo>
                    <a:pt x="142" y="729"/>
                  </a:lnTo>
                  <a:lnTo>
                    <a:pt x="152" y="729"/>
                  </a:lnTo>
                  <a:lnTo>
                    <a:pt x="152" y="740"/>
                  </a:lnTo>
                  <a:lnTo>
                    <a:pt x="152" y="760"/>
                  </a:lnTo>
                  <a:lnTo>
                    <a:pt x="162" y="780"/>
                  </a:lnTo>
                  <a:lnTo>
                    <a:pt x="162" y="790"/>
                  </a:lnTo>
                  <a:lnTo>
                    <a:pt x="162" y="800"/>
                  </a:lnTo>
                  <a:lnTo>
                    <a:pt x="152" y="821"/>
                  </a:lnTo>
                  <a:lnTo>
                    <a:pt x="152" y="841"/>
                  </a:lnTo>
                  <a:lnTo>
                    <a:pt x="152" y="851"/>
                  </a:lnTo>
                  <a:lnTo>
                    <a:pt x="152" y="861"/>
                  </a:lnTo>
                  <a:lnTo>
                    <a:pt x="162" y="871"/>
                  </a:lnTo>
                  <a:lnTo>
                    <a:pt x="172" y="881"/>
                  </a:lnTo>
                  <a:lnTo>
                    <a:pt x="193" y="892"/>
                  </a:lnTo>
                  <a:lnTo>
                    <a:pt x="213" y="902"/>
                  </a:lnTo>
                  <a:lnTo>
                    <a:pt x="213" y="912"/>
                  </a:lnTo>
                  <a:lnTo>
                    <a:pt x="223" y="922"/>
                  </a:lnTo>
                  <a:lnTo>
                    <a:pt x="233" y="922"/>
                  </a:lnTo>
                  <a:lnTo>
                    <a:pt x="253" y="932"/>
                  </a:lnTo>
                  <a:lnTo>
                    <a:pt x="264" y="942"/>
                  </a:lnTo>
                  <a:lnTo>
                    <a:pt x="274" y="942"/>
                  </a:lnTo>
                  <a:lnTo>
                    <a:pt x="284" y="962"/>
                  </a:lnTo>
                  <a:lnTo>
                    <a:pt x="294" y="962"/>
                  </a:lnTo>
                  <a:lnTo>
                    <a:pt x="304" y="973"/>
                  </a:lnTo>
                  <a:lnTo>
                    <a:pt x="314" y="973"/>
                  </a:lnTo>
                  <a:lnTo>
                    <a:pt x="324" y="962"/>
                  </a:lnTo>
                  <a:lnTo>
                    <a:pt x="334" y="952"/>
                  </a:lnTo>
                  <a:lnTo>
                    <a:pt x="334" y="942"/>
                  </a:lnTo>
                  <a:lnTo>
                    <a:pt x="344" y="942"/>
                  </a:lnTo>
                  <a:lnTo>
                    <a:pt x="355" y="952"/>
                  </a:lnTo>
                  <a:lnTo>
                    <a:pt x="355" y="962"/>
                  </a:lnTo>
                  <a:lnTo>
                    <a:pt x="365" y="973"/>
                  </a:lnTo>
                  <a:lnTo>
                    <a:pt x="375" y="1003"/>
                  </a:lnTo>
                  <a:lnTo>
                    <a:pt x="385" y="1023"/>
                  </a:lnTo>
                  <a:lnTo>
                    <a:pt x="395" y="1033"/>
                  </a:lnTo>
                  <a:lnTo>
                    <a:pt x="395" y="1044"/>
                  </a:lnTo>
                  <a:lnTo>
                    <a:pt x="395" y="1064"/>
                  </a:lnTo>
                  <a:lnTo>
                    <a:pt x="395" y="1074"/>
                  </a:lnTo>
                  <a:lnTo>
                    <a:pt x="385" y="1084"/>
                  </a:lnTo>
                  <a:lnTo>
                    <a:pt x="385" y="1094"/>
                  </a:lnTo>
                  <a:lnTo>
                    <a:pt x="375" y="1114"/>
                  </a:lnTo>
                  <a:lnTo>
                    <a:pt x="375" y="1125"/>
                  </a:lnTo>
                  <a:lnTo>
                    <a:pt x="375" y="1135"/>
                  </a:lnTo>
                  <a:lnTo>
                    <a:pt x="385" y="1145"/>
                  </a:lnTo>
                  <a:lnTo>
                    <a:pt x="385" y="1155"/>
                  </a:lnTo>
                  <a:lnTo>
                    <a:pt x="395" y="1165"/>
                  </a:lnTo>
                  <a:lnTo>
                    <a:pt x="395" y="1185"/>
                  </a:lnTo>
                  <a:lnTo>
                    <a:pt x="385" y="1185"/>
                  </a:lnTo>
                  <a:lnTo>
                    <a:pt x="385" y="1195"/>
                  </a:lnTo>
                  <a:lnTo>
                    <a:pt x="385" y="1206"/>
                  </a:lnTo>
                  <a:lnTo>
                    <a:pt x="395" y="1206"/>
                  </a:lnTo>
                  <a:lnTo>
                    <a:pt x="415" y="1206"/>
                  </a:lnTo>
                  <a:lnTo>
                    <a:pt x="415" y="1216"/>
                  </a:lnTo>
                  <a:lnTo>
                    <a:pt x="405" y="1216"/>
                  </a:lnTo>
                  <a:lnTo>
                    <a:pt x="395" y="1226"/>
                  </a:lnTo>
                  <a:lnTo>
                    <a:pt x="385" y="1236"/>
                  </a:lnTo>
                  <a:lnTo>
                    <a:pt x="375" y="1236"/>
                  </a:lnTo>
                  <a:lnTo>
                    <a:pt x="365" y="1246"/>
                  </a:lnTo>
                  <a:lnTo>
                    <a:pt x="344" y="1246"/>
                  </a:lnTo>
                  <a:lnTo>
                    <a:pt x="334" y="1256"/>
                  </a:lnTo>
                  <a:lnTo>
                    <a:pt x="324" y="1256"/>
                  </a:lnTo>
                  <a:lnTo>
                    <a:pt x="314" y="1266"/>
                  </a:lnTo>
                  <a:lnTo>
                    <a:pt x="314" y="1277"/>
                  </a:lnTo>
                  <a:lnTo>
                    <a:pt x="324" y="1277"/>
                  </a:lnTo>
                  <a:lnTo>
                    <a:pt x="324" y="1287"/>
                  </a:lnTo>
                  <a:lnTo>
                    <a:pt x="324" y="1297"/>
                  </a:lnTo>
                  <a:lnTo>
                    <a:pt x="324" y="1307"/>
                  </a:lnTo>
                  <a:lnTo>
                    <a:pt x="294" y="1307"/>
                  </a:lnTo>
                  <a:lnTo>
                    <a:pt x="284" y="1307"/>
                  </a:lnTo>
                  <a:lnTo>
                    <a:pt x="264" y="1307"/>
                  </a:lnTo>
                  <a:lnTo>
                    <a:pt x="253" y="1307"/>
                  </a:lnTo>
                  <a:lnTo>
                    <a:pt x="243" y="1297"/>
                  </a:lnTo>
                  <a:lnTo>
                    <a:pt x="233" y="1287"/>
                  </a:lnTo>
                  <a:lnTo>
                    <a:pt x="233" y="1277"/>
                  </a:lnTo>
                  <a:lnTo>
                    <a:pt x="223" y="1277"/>
                  </a:lnTo>
                  <a:lnTo>
                    <a:pt x="213" y="1277"/>
                  </a:lnTo>
                  <a:lnTo>
                    <a:pt x="203" y="1277"/>
                  </a:lnTo>
                  <a:lnTo>
                    <a:pt x="203" y="1287"/>
                  </a:lnTo>
                  <a:lnTo>
                    <a:pt x="172" y="1297"/>
                  </a:lnTo>
                  <a:lnTo>
                    <a:pt x="162" y="1307"/>
                  </a:lnTo>
                  <a:lnTo>
                    <a:pt x="152" y="1317"/>
                  </a:lnTo>
                  <a:lnTo>
                    <a:pt x="152" y="1327"/>
                  </a:lnTo>
                  <a:lnTo>
                    <a:pt x="152" y="1337"/>
                  </a:lnTo>
                  <a:lnTo>
                    <a:pt x="152" y="1347"/>
                  </a:lnTo>
                  <a:lnTo>
                    <a:pt x="142" y="1347"/>
                  </a:lnTo>
                  <a:lnTo>
                    <a:pt x="132" y="1358"/>
                  </a:lnTo>
                  <a:lnTo>
                    <a:pt x="122" y="1368"/>
                  </a:lnTo>
                  <a:lnTo>
                    <a:pt x="122" y="1378"/>
                  </a:lnTo>
                  <a:lnTo>
                    <a:pt x="122" y="1388"/>
                  </a:lnTo>
                  <a:lnTo>
                    <a:pt x="122" y="1408"/>
                  </a:lnTo>
                  <a:lnTo>
                    <a:pt x="122" y="1439"/>
                  </a:lnTo>
                  <a:lnTo>
                    <a:pt x="112" y="1449"/>
                  </a:lnTo>
                  <a:lnTo>
                    <a:pt x="112" y="1469"/>
                  </a:lnTo>
                  <a:lnTo>
                    <a:pt x="112" y="1479"/>
                  </a:lnTo>
                  <a:lnTo>
                    <a:pt x="102" y="1499"/>
                  </a:lnTo>
                  <a:lnTo>
                    <a:pt x="102" y="1510"/>
                  </a:lnTo>
                  <a:lnTo>
                    <a:pt x="112" y="1520"/>
                  </a:lnTo>
                  <a:lnTo>
                    <a:pt x="112" y="1530"/>
                  </a:lnTo>
                  <a:lnTo>
                    <a:pt x="112" y="1540"/>
                  </a:lnTo>
                  <a:lnTo>
                    <a:pt x="102" y="1550"/>
                  </a:lnTo>
                  <a:lnTo>
                    <a:pt x="102" y="1560"/>
                  </a:lnTo>
                  <a:lnTo>
                    <a:pt x="81" y="1560"/>
                  </a:lnTo>
                  <a:lnTo>
                    <a:pt x="81" y="1580"/>
                  </a:lnTo>
                  <a:lnTo>
                    <a:pt x="71" y="1580"/>
                  </a:lnTo>
                  <a:lnTo>
                    <a:pt x="61" y="1591"/>
                  </a:lnTo>
                  <a:lnTo>
                    <a:pt x="51" y="1591"/>
                  </a:lnTo>
                  <a:lnTo>
                    <a:pt x="41" y="1591"/>
                  </a:lnTo>
                  <a:lnTo>
                    <a:pt x="31" y="1591"/>
                  </a:lnTo>
                  <a:lnTo>
                    <a:pt x="31" y="1601"/>
                  </a:lnTo>
                  <a:lnTo>
                    <a:pt x="21" y="1601"/>
                  </a:lnTo>
                  <a:lnTo>
                    <a:pt x="21" y="1611"/>
                  </a:lnTo>
                  <a:lnTo>
                    <a:pt x="31" y="1621"/>
                  </a:lnTo>
                  <a:lnTo>
                    <a:pt x="31" y="1631"/>
                  </a:lnTo>
                  <a:lnTo>
                    <a:pt x="31" y="1641"/>
                  </a:lnTo>
                  <a:lnTo>
                    <a:pt x="31" y="1651"/>
                  </a:lnTo>
                  <a:lnTo>
                    <a:pt x="41" y="1651"/>
                  </a:lnTo>
                  <a:lnTo>
                    <a:pt x="51" y="1661"/>
                  </a:lnTo>
                  <a:lnTo>
                    <a:pt x="61" y="1682"/>
                  </a:lnTo>
                  <a:lnTo>
                    <a:pt x="61" y="1692"/>
                  </a:lnTo>
                  <a:lnTo>
                    <a:pt x="51" y="1692"/>
                  </a:lnTo>
                  <a:lnTo>
                    <a:pt x="41" y="1692"/>
                  </a:lnTo>
                  <a:lnTo>
                    <a:pt x="31" y="1692"/>
                  </a:lnTo>
                  <a:lnTo>
                    <a:pt x="21" y="1682"/>
                  </a:lnTo>
                  <a:lnTo>
                    <a:pt x="11" y="1692"/>
                  </a:lnTo>
                  <a:lnTo>
                    <a:pt x="0" y="1702"/>
                  </a:lnTo>
                  <a:lnTo>
                    <a:pt x="0" y="1712"/>
                  </a:lnTo>
                  <a:lnTo>
                    <a:pt x="11" y="1722"/>
                  </a:lnTo>
                  <a:lnTo>
                    <a:pt x="11" y="1743"/>
                  </a:lnTo>
                  <a:lnTo>
                    <a:pt x="11" y="1783"/>
                  </a:lnTo>
                  <a:lnTo>
                    <a:pt x="11" y="1793"/>
                  </a:lnTo>
                  <a:lnTo>
                    <a:pt x="21" y="1803"/>
                  </a:lnTo>
                  <a:lnTo>
                    <a:pt x="21" y="1813"/>
                  </a:lnTo>
                  <a:lnTo>
                    <a:pt x="31" y="1813"/>
                  </a:lnTo>
                  <a:lnTo>
                    <a:pt x="31" y="1824"/>
                  </a:lnTo>
                  <a:lnTo>
                    <a:pt x="31" y="1834"/>
                  </a:lnTo>
                  <a:lnTo>
                    <a:pt x="31" y="1854"/>
                  </a:lnTo>
                  <a:lnTo>
                    <a:pt x="31" y="1874"/>
                  </a:lnTo>
                  <a:lnTo>
                    <a:pt x="31" y="1884"/>
                  </a:lnTo>
                  <a:lnTo>
                    <a:pt x="41" y="1894"/>
                  </a:lnTo>
                  <a:lnTo>
                    <a:pt x="31" y="1915"/>
                  </a:lnTo>
                  <a:lnTo>
                    <a:pt x="31" y="1925"/>
                  </a:lnTo>
                  <a:lnTo>
                    <a:pt x="31" y="1945"/>
                  </a:lnTo>
                  <a:lnTo>
                    <a:pt x="31" y="1976"/>
                  </a:lnTo>
                  <a:lnTo>
                    <a:pt x="31" y="1986"/>
                  </a:lnTo>
                  <a:lnTo>
                    <a:pt x="31" y="1996"/>
                  </a:lnTo>
                  <a:lnTo>
                    <a:pt x="41" y="2016"/>
                  </a:lnTo>
                  <a:lnTo>
                    <a:pt x="41" y="2026"/>
                  </a:lnTo>
                  <a:lnTo>
                    <a:pt x="41" y="2036"/>
                  </a:lnTo>
                  <a:lnTo>
                    <a:pt x="41" y="2046"/>
                  </a:lnTo>
                  <a:lnTo>
                    <a:pt x="41" y="2057"/>
                  </a:lnTo>
                  <a:lnTo>
                    <a:pt x="51" y="2077"/>
                  </a:lnTo>
                  <a:lnTo>
                    <a:pt x="61" y="2087"/>
                  </a:lnTo>
                  <a:lnTo>
                    <a:pt x="61" y="2097"/>
                  </a:lnTo>
                  <a:lnTo>
                    <a:pt x="61" y="2107"/>
                  </a:lnTo>
                  <a:lnTo>
                    <a:pt x="71" y="2117"/>
                  </a:lnTo>
                  <a:lnTo>
                    <a:pt x="81" y="2127"/>
                  </a:lnTo>
                  <a:lnTo>
                    <a:pt x="91" y="2127"/>
                  </a:lnTo>
                  <a:lnTo>
                    <a:pt x="91" y="2138"/>
                  </a:lnTo>
                  <a:lnTo>
                    <a:pt x="102" y="2138"/>
                  </a:lnTo>
                  <a:lnTo>
                    <a:pt x="122" y="2148"/>
                  </a:lnTo>
                  <a:lnTo>
                    <a:pt x="122" y="2158"/>
                  </a:lnTo>
                  <a:lnTo>
                    <a:pt x="122" y="2168"/>
                  </a:lnTo>
                  <a:lnTo>
                    <a:pt x="132" y="2168"/>
                  </a:lnTo>
                  <a:lnTo>
                    <a:pt x="132" y="2178"/>
                  </a:lnTo>
                  <a:lnTo>
                    <a:pt x="132" y="2188"/>
                  </a:lnTo>
                  <a:lnTo>
                    <a:pt x="132" y="2198"/>
                  </a:lnTo>
                  <a:lnTo>
                    <a:pt x="132" y="2209"/>
                  </a:lnTo>
                  <a:lnTo>
                    <a:pt x="132" y="2219"/>
                  </a:lnTo>
                  <a:lnTo>
                    <a:pt x="132" y="2229"/>
                  </a:lnTo>
                  <a:lnTo>
                    <a:pt x="142" y="2229"/>
                  </a:lnTo>
                  <a:lnTo>
                    <a:pt x="152" y="2229"/>
                  </a:lnTo>
                  <a:lnTo>
                    <a:pt x="172" y="2219"/>
                  </a:lnTo>
                  <a:lnTo>
                    <a:pt x="183" y="2229"/>
                  </a:lnTo>
                  <a:lnTo>
                    <a:pt x="193" y="2229"/>
                  </a:lnTo>
                  <a:lnTo>
                    <a:pt x="203" y="2229"/>
                  </a:lnTo>
                  <a:lnTo>
                    <a:pt x="203" y="2239"/>
                  </a:lnTo>
                  <a:lnTo>
                    <a:pt x="193" y="2249"/>
                  </a:lnTo>
                  <a:lnTo>
                    <a:pt x="183" y="2249"/>
                  </a:lnTo>
                  <a:lnTo>
                    <a:pt x="183" y="2259"/>
                  </a:lnTo>
                  <a:lnTo>
                    <a:pt x="172" y="2269"/>
                  </a:lnTo>
                  <a:lnTo>
                    <a:pt x="172" y="2279"/>
                  </a:lnTo>
                  <a:lnTo>
                    <a:pt x="183" y="2279"/>
                  </a:lnTo>
                  <a:lnTo>
                    <a:pt x="193" y="2269"/>
                  </a:lnTo>
                  <a:lnTo>
                    <a:pt x="203" y="2269"/>
                  </a:lnTo>
                  <a:lnTo>
                    <a:pt x="213" y="2269"/>
                  </a:lnTo>
                  <a:lnTo>
                    <a:pt x="233" y="2269"/>
                  </a:lnTo>
                  <a:lnTo>
                    <a:pt x="243" y="2259"/>
                  </a:lnTo>
                  <a:lnTo>
                    <a:pt x="253" y="2259"/>
                  </a:lnTo>
                  <a:lnTo>
                    <a:pt x="264" y="2259"/>
                  </a:lnTo>
                  <a:lnTo>
                    <a:pt x="274" y="2259"/>
                  </a:lnTo>
                  <a:lnTo>
                    <a:pt x="284" y="2259"/>
                  </a:lnTo>
                  <a:lnTo>
                    <a:pt x="294" y="2279"/>
                  </a:lnTo>
                  <a:lnTo>
                    <a:pt x="304" y="2290"/>
                  </a:lnTo>
                  <a:lnTo>
                    <a:pt x="304" y="2300"/>
                  </a:lnTo>
                  <a:lnTo>
                    <a:pt x="304" y="2310"/>
                  </a:lnTo>
                  <a:lnTo>
                    <a:pt x="304" y="2320"/>
                  </a:lnTo>
                  <a:lnTo>
                    <a:pt x="304" y="2330"/>
                  </a:lnTo>
                  <a:lnTo>
                    <a:pt x="314" y="2330"/>
                  </a:lnTo>
                  <a:lnTo>
                    <a:pt x="324" y="2340"/>
                  </a:lnTo>
                  <a:lnTo>
                    <a:pt x="344" y="2340"/>
                  </a:lnTo>
                  <a:lnTo>
                    <a:pt x="365" y="2340"/>
                  </a:lnTo>
                  <a:lnTo>
                    <a:pt x="385" y="2340"/>
                  </a:lnTo>
                  <a:lnTo>
                    <a:pt x="395" y="2340"/>
                  </a:lnTo>
                  <a:lnTo>
                    <a:pt x="405" y="2340"/>
                  </a:lnTo>
                  <a:lnTo>
                    <a:pt x="425" y="2350"/>
                  </a:lnTo>
                  <a:lnTo>
                    <a:pt x="436" y="2350"/>
                  </a:lnTo>
                  <a:lnTo>
                    <a:pt x="446" y="2350"/>
                  </a:lnTo>
                  <a:lnTo>
                    <a:pt x="466" y="2360"/>
                  </a:lnTo>
                  <a:lnTo>
                    <a:pt x="476" y="2360"/>
                  </a:lnTo>
                  <a:lnTo>
                    <a:pt x="516" y="2381"/>
                  </a:lnTo>
                  <a:lnTo>
                    <a:pt x="527" y="2391"/>
                  </a:lnTo>
                  <a:lnTo>
                    <a:pt x="547" y="2391"/>
                  </a:lnTo>
                  <a:lnTo>
                    <a:pt x="557" y="2391"/>
                  </a:lnTo>
                  <a:lnTo>
                    <a:pt x="567" y="2391"/>
                  </a:lnTo>
                  <a:lnTo>
                    <a:pt x="587" y="2391"/>
                  </a:lnTo>
                  <a:lnTo>
                    <a:pt x="597" y="2391"/>
                  </a:lnTo>
                  <a:lnTo>
                    <a:pt x="608" y="2401"/>
                  </a:lnTo>
                  <a:lnTo>
                    <a:pt x="618" y="2411"/>
                  </a:lnTo>
                  <a:lnTo>
                    <a:pt x="618" y="2421"/>
                  </a:lnTo>
                  <a:lnTo>
                    <a:pt x="618" y="2431"/>
                  </a:lnTo>
                  <a:lnTo>
                    <a:pt x="628" y="2431"/>
                  </a:lnTo>
                  <a:lnTo>
                    <a:pt x="638" y="2431"/>
                  </a:lnTo>
                  <a:lnTo>
                    <a:pt x="648" y="2421"/>
                  </a:lnTo>
                  <a:lnTo>
                    <a:pt x="658" y="2411"/>
                  </a:lnTo>
                  <a:lnTo>
                    <a:pt x="678" y="2411"/>
                  </a:lnTo>
                  <a:lnTo>
                    <a:pt x="678" y="2401"/>
                  </a:lnTo>
                  <a:lnTo>
                    <a:pt x="689" y="2401"/>
                  </a:lnTo>
                  <a:lnTo>
                    <a:pt x="709" y="2401"/>
                  </a:lnTo>
                  <a:lnTo>
                    <a:pt x="719" y="2401"/>
                  </a:lnTo>
                  <a:lnTo>
                    <a:pt x="739" y="2401"/>
                  </a:lnTo>
                  <a:lnTo>
                    <a:pt x="759" y="2401"/>
                  </a:lnTo>
                  <a:lnTo>
                    <a:pt x="769" y="2401"/>
                  </a:lnTo>
                  <a:lnTo>
                    <a:pt x="780" y="2401"/>
                  </a:lnTo>
                  <a:lnTo>
                    <a:pt x="790" y="2391"/>
                  </a:lnTo>
                  <a:lnTo>
                    <a:pt x="800" y="2381"/>
                  </a:lnTo>
                  <a:lnTo>
                    <a:pt x="800" y="2371"/>
                  </a:lnTo>
                  <a:lnTo>
                    <a:pt x="810" y="2340"/>
                  </a:lnTo>
                  <a:lnTo>
                    <a:pt x="820" y="2330"/>
                  </a:lnTo>
                  <a:lnTo>
                    <a:pt x="820" y="2320"/>
                  </a:lnTo>
                  <a:lnTo>
                    <a:pt x="830" y="2310"/>
                  </a:lnTo>
                  <a:lnTo>
                    <a:pt x="850" y="2310"/>
                  </a:lnTo>
                  <a:lnTo>
                    <a:pt x="861" y="2310"/>
                  </a:lnTo>
                  <a:lnTo>
                    <a:pt x="871" y="2320"/>
                  </a:lnTo>
                  <a:lnTo>
                    <a:pt x="881" y="2320"/>
                  </a:lnTo>
                  <a:lnTo>
                    <a:pt x="891" y="2310"/>
                  </a:lnTo>
                  <a:lnTo>
                    <a:pt x="901" y="2320"/>
                  </a:lnTo>
                  <a:lnTo>
                    <a:pt x="911" y="2320"/>
                  </a:lnTo>
                  <a:lnTo>
                    <a:pt x="921" y="2340"/>
                  </a:lnTo>
                  <a:lnTo>
                    <a:pt x="931" y="2350"/>
                  </a:lnTo>
                  <a:lnTo>
                    <a:pt x="941" y="2350"/>
                  </a:lnTo>
                  <a:lnTo>
                    <a:pt x="952" y="2340"/>
                  </a:lnTo>
                  <a:lnTo>
                    <a:pt x="962" y="2330"/>
                  </a:lnTo>
                  <a:lnTo>
                    <a:pt x="972" y="2320"/>
                  </a:lnTo>
                  <a:lnTo>
                    <a:pt x="982" y="2320"/>
                  </a:lnTo>
                  <a:lnTo>
                    <a:pt x="992" y="2320"/>
                  </a:lnTo>
                  <a:lnTo>
                    <a:pt x="1002" y="2320"/>
                  </a:lnTo>
                  <a:lnTo>
                    <a:pt x="1012" y="2320"/>
                  </a:lnTo>
                  <a:lnTo>
                    <a:pt x="1022" y="2320"/>
                  </a:lnTo>
                  <a:lnTo>
                    <a:pt x="1033" y="2320"/>
                  </a:lnTo>
                  <a:lnTo>
                    <a:pt x="1043" y="2320"/>
                  </a:lnTo>
                  <a:lnTo>
                    <a:pt x="1063" y="2320"/>
                  </a:lnTo>
                  <a:lnTo>
                    <a:pt x="1073" y="2310"/>
                  </a:lnTo>
                  <a:lnTo>
                    <a:pt x="1073" y="2300"/>
                  </a:lnTo>
                  <a:lnTo>
                    <a:pt x="1083" y="2290"/>
                  </a:lnTo>
                  <a:lnTo>
                    <a:pt x="1083" y="2279"/>
                  </a:lnTo>
                  <a:lnTo>
                    <a:pt x="1083" y="2269"/>
                  </a:lnTo>
                  <a:lnTo>
                    <a:pt x="1093" y="2259"/>
                  </a:lnTo>
                  <a:lnTo>
                    <a:pt x="1103" y="2259"/>
                  </a:lnTo>
                  <a:lnTo>
                    <a:pt x="1103" y="2269"/>
                  </a:lnTo>
                  <a:lnTo>
                    <a:pt x="1113" y="2269"/>
                  </a:lnTo>
                  <a:lnTo>
                    <a:pt x="1124" y="2259"/>
                  </a:lnTo>
                  <a:lnTo>
                    <a:pt x="1134" y="2259"/>
                  </a:lnTo>
                  <a:lnTo>
                    <a:pt x="1144" y="2259"/>
                  </a:lnTo>
                  <a:lnTo>
                    <a:pt x="1154" y="2269"/>
                  </a:lnTo>
                  <a:lnTo>
                    <a:pt x="1164" y="2269"/>
                  </a:lnTo>
                  <a:lnTo>
                    <a:pt x="1164" y="2279"/>
                  </a:lnTo>
                  <a:lnTo>
                    <a:pt x="1174" y="2279"/>
                  </a:lnTo>
                  <a:lnTo>
                    <a:pt x="1174" y="2269"/>
                  </a:lnTo>
                  <a:lnTo>
                    <a:pt x="1184" y="2269"/>
                  </a:lnTo>
                  <a:lnTo>
                    <a:pt x="1184" y="2259"/>
                  </a:lnTo>
                  <a:lnTo>
                    <a:pt x="1194" y="2249"/>
                  </a:lnTo>
                  <a:lnTo>
                    <a:pt x="1194" y="2239"/>
                  </a:lnTo>
                  <a:lnTo>
                    <a:pt x="1205" y="2229"/>
                  </a:lnTo>
                  <a:lnTo>
                    <a:pt x="1215" y="2219"/>
                  </a:lnTo>
                  <a:lnTo>
                    <a:pt x="1225" y="2209"/>
                  </a:lnTo>
                  <a:lnTo>
                    <a:pt x="1235" y="2209"/>
                  </a:lnTo>
                  <a:lnTo>
                    <a:pt x="1245" y="2209"/>
                  </a:lnTo>
                  <a:lnTo>
                    <a:pt x="1265" y="2209"/>
                  </a:lnTo>
                  <a:lnTo>
                    <a:pt x="1275" y="2209"/>
                  </a:lnTo>
                  <a:lnTo>
                    <a:pt x="1286" y="2198"/>
                  </a:lnTo>
                  <a:lnTo>
                    <a:pt x="1296" y="2198"/>
                  </a:lnTo>
                  <a:lnTo>
                    <a:pt x="1306" y="2198"/>
                  </a:lnTo>
                  <a:lnTo>
                    <a:pt x="1326" y="2198"/>
                  </a:lnTo>
                  <a:lnTo>
                    <a:pt x="1336" y="2188"/>
                  </a:lnTo>
                  <a:lnTo>
                    <a:pt x="1346" y="2188"/>
                  </a:lnTo>
                  <a:lnTo>
                    <a:pt x="1356" y="2188"/>
                  </a:lnTo>
                  <a:lnTo>
                    <a:pt x="1356" y="2178"/>
                  </a:lnTo>
                  <a:lnTo>
                    <a:pt x="1366" y="2168"/>
                  </a:lnTo>
                  <a:lnTo>
                    <a:pt x="1366" y="2158"/>
                  </a:lnTo>
                  <a:lnTo>
                    <a:pt x="1366" y="2148"/>
                  </a:lnTo>
                  <a:lnTo>
                    <a:pt x="1377" y="2138"/>
                  </a:lnTo>
                  <a:lnTo>
                    <a:pt x="1387" y="2127"/>
                  </a:lnTo>
                  <a:lnTo>
                    <a:pt x="1397" y="2127"/>
                  </a:lnTo>
                  <a:lnTo>
                    <a:pt x="1417" y="2127"/>
                  </a:lnTo>
                  <a:lnTo>
                    <a:pt x="1437" y="2127"/>
                  </a:lnTo>
                  <a:lnTo>
                    <a:pt x="1458" y="2127"/>
                  </a:lnTo>
                  <a:lnTo>
                    <a:pt x="1478" y="2127"/>
                  </a:lnTo>
                  <a:lnTo>
                    <a:pt x="1508" y="2127"/>
                  </a:lnTo>
                  <a:lnTo>
                    <a:pt x="1518" y="2127"/>
                  </a:lnTo>
                  <a:lnTo>
                    <a:pt x="1528" y="2117"/>
                  </a:lnTo>
                  <a:lnTo>
                    <a:pt x="1538" y="2107"/>
                  </a:lnTo>
                  <a:lnTo>
                    <a:pt x="1549" y="2107"/>
                  </a:lnTo>
                  <a:lnTo>
                    <a:pt x="1559" y="2097"/>
                  </a:lnTo>
                  <a:lnTo>
                    <a:pt x="1579" y="2097"/>
                  </a:lnTo>
                  <a:lnTo>
                    <a:pt x="1599" y="2097"/>
                  </a:lnTo>
                  <a:lnTo>
                    <a:pt x="1630" y="2097"/>
                  </a:lnTo>
                  <a:lnTo>
                    <a:pt x="1640" y="2097"/>
                  </a:lnTo>
                  <a:lnTo>
                    <a:pt x="1650" y="2087"/>
                  </a:lnTo>
                  <a:lnTo>
                    <a:pt x="1660" y="2087"/>
                  </a:lnTo>
                  <a:lnTo>
                    <a:pt x="1680" y="2087"/>
                  </a:lnTo>
                  <a:lnTo>
                    <a:pt x="1690" y="2087"/>
                  </a:lnTo>
                  <a:lnTo>
                    <a:pt x="1700" y="2077"/>
                  </a:lnTo>
                  <a:lnTo>
                    <a:pt x="1711" y="2077"/>
                  </a:lnTo>
                  <a:lnTo>
                    <a:pt x="1721" y="2077"/>
                  </a:lnTo>
                  <a:lnTo>
                    <a:pt x="1731" y="2067"/>
                  </a:lnTo>
                  <a:lnTo>
                    <a:pt x="1741" y="2077"/>
                  </a:lnTo>
                  <a:lnTo>
                    <a:pt x="1751" y="2077"/>
                  </a:lnTo>
                  <a:lnTo>
                    <a:pt x="1751" y="2087"/>
                  </a:lnTo>
                  <a:lnTo>
                    <a:pt x="1761" y="2087"/>
                  </a:lnTo>
                  <a:lnTo>
                    <a:pt x="1761" y="2097"/>
                  </a:lnTo>
                  <a:lnTo>
                    <a:pt x="1781" y="2097"/>
                  </a:lnTo>
                  <a:lnTo>
                    <a:pt x="1802" y="2097"/>
                  </a:lnTo>
                  <a:lnTo>
                    <a:pt x="1822" y="2097"/>
                  </a:lnTo>
                  <a:lnTo>
                    <a:pt x="1832" y="2087"/>
                  </a:lnTo>
                  <a:lnTo>
                    <a:pt x="1852" y="2087"/>
                  </a:lnTo>
                  <a:lnTo>
                    <a:pt x="1862" y="2087"/>
                  </a:lnTo>
                  <a:lnTo>
                    <a:pt x="1883" y="2087"/>
                  </a:lnTo>
                  <a:lnTo>
                    <a:pt x="1903" y="2077"/>
                  </a:lnTo>
                  <a:lnTo>
                    <a:pt x="1913" y="2067"/>
                  </a:lnTo>
                  <a:lnTo>
                    <a:pt x="1933" y="2067"/>
                  </a:lnTo>
                  <a:lnTo>
                    <a:pt x="1943" y="2067"/>
                  </a:lnTo>
                  <a:lnTo>
                    <a:pt x="1974" y="2067"/>
                  </a:lnTo>
                  <a:lnTo>
                    <a:pt x="1984" y="2067"/>
                  </a:lnTo>
                  <a:lnTo>
                    <a:pt x="1994" y="2057"/>
                  </a:lnTo>
                  <a:lnTo>
                    <a:pt x="2004" y="2046"/>
                  </a:lnTo>
                  <a:lnTo>
                    <a:pt x="2004" y="2036"/>
                  </a:lnTo>
                  <a:lnTo>
                    <a:pt x="2014" y="2026"/>
                  </a:lnTo>
                  <a:lnTo>
                    <a:pt x="2034" y="2026"/>
                  </a:lnTo>
                  <a:lnTo>
                    <a:pt x="2044" y="2026"/>
                  </a:lnTo>
                  <a:lnTo>
                    <a:pt x="2055" y="2026"/>
                  </a:lnTo>
                  <a:lnTo>
                    <a:pt x="2065" y="2026"/>
                  </a:lnTo>
                  <a:lnTo>
                    <a:pt x="2075" y="2036"/>
                  </a:lnTo>
                  <a:lnTo>
                    <a:pt x="2085" y="2026"/>
                  </a:lnTo>
                  <a:lnTo>
                    <a:pt x="2085" y="2036"/>
                  </a:lnTo>
                  <a:lnTo>
                    <a:pt x="2095" y="2036"/>
                  </a:lnTo>
                  <a:lnTo>
                    <a:pt x="2105" y="2046"/>
                  </a:lnTo>
                  <a:lnTo>
                    <a:pt x="2115" y="2057"/>
                  </a:lnTo>
                  <a:lnTo>
                    <a:pt x="2125" y="2057"/>
                  </a:lnTo>
                  <a:lnTo>
                    <a:pt x="2136" y="2057"/>
                  </a:lnTo>
                  <a:lnTo>
                    <a:pt x="2146" y="2057"/>
                  </a:lnTo>
                  <a:lnTo>
                    <a:pt x="2166" y="2036"/>
                  </a:lnTo>
                  <a:lnTo>
                    <a:pt x="2176" y="2026"/>
                  </a:lnTo>
                  <a:lnTo>
                    <a:pt x="2186" y="2016"/>
                  </a:lnTo>
                  <a:lnTo>
                    <a:pt x="2216" y="1996"/>
                  </a:lnTo>
                  <a:lnTo>
                    <a:pt x="2227" y="1986"/>
                  </a:lnTo>
                  <a:lnTo>
                    <a:pt x="2237" y="1986"/>
                  </a:lnTo>
                  <a:lnTo>
                    <a:pt x="2247" y="1976"/>
                  </a:lnTo>
                  <a:lnTo>
                    <a:pt x="2267" y="1976"/>
                  </a:lnTo>
                  <a:lnTo>
                    <a:pt x="2277" y="1976"/>
                  </a:lnTo>
                  <a:lnTo>
                    <a:pt x="2287" y="1976"/>
                  </a:lnTo>
                  <a:lnTo>
                    <a:pt x="2297" y="1976"/>
                  </a:lnTo>
                  <a:lnTo>
                    <a:pt x="2308" y="1986"/>
                  </a:lnTo>
                  <a:lnTo>
                    <a:pt x="2318" y="1986"/>
                  </a:lnTo>
                  <a:lnTo>
                    <a:pt x="2328" y="1986"/>
                  </a:lnTo>
                  <a:lnTo>
                    <a:pt x="2348" y="1986"/>
                  </a:lnTo>
                  <a:lnTo>
                    <a:pt x="2368" y="1996"/>
                  </a:lnTo>
                  <a:lnTo>
                    <a:pt x="2378" y="2006"/>
                  </a:lnTo>
                  <a:lnTo>
                    <a:pt x="2399" y="2006"/>
                  </a:lnTo>
                  <a:lnTo>
                    <a:pt x="2419" y="2006"/>
                  </a:lnTo>
                  <a:lnTo>
                    <a:pt x="2429" y="2006"/>
                  </a:lnTo>
                  <a:lnTo>
                    <a:pt x="2439" y="2006"/>
                  </a:lnTo>
                  <a:lnTo>
                    <a:pt x="2449" y="1996"/>
                  </a:lnTo>
                  <a:lnTo>
                    <a:pt x="2480" y="1996"/>
                  </a:lnTo>
                  <a:lnTo>
                    <a:pt x="2490" y="1996"/>
                  </a:lnTo>
                  <a:lnTo>
                    <a:pt x="2500" y="1996"/>
                  </a:lnTo>
                  <a:lnTo>
                    <a:pt x="2510" y="1996"/>
                  </a:lnTo>
                  <a:lnTo>
                    <a:pt x="2520" y="1996"/>
                  </a:lnTo>
                  <a:lnTo>
                    <a:pt x="2550" y="1996"/>
                  </a:lnTo>
                  <a:lnTo>
                    <a:pt x="2571" y="2006"/>
                  </a:lnTo>
                  <a:lnTo>
                    <a:pt x="2581" y="2006"/>
                  </a:lnTo>
                  <a:lnTo>
                    <a:pt x="2591" y="2016"/>
                  </a:lnTo>
                  <a:lnTo>
                    <a:pt x="2601" y="2016"/>
                  </a:lnTo>
                  <a:lnTo>
                    <a:pt x="2621" y="2016"/>
                  </a:lnTo>
                  <a:lnTo>
                    <a:pt x="2631" y="2016"/>
                  </a:lnTo>
                  <a:lnTo>
                    <a:pt x="2652" y="2016"/>
                  </a:lnTo>
                  <a:lnTo>
                    <a:pt x="2672" y="2016"/>
                  </a:lnTo>
                  <a:lnTo>
                    <a:pt x="2692" y="2016"/>
                  </a:lnTo>
                  <a:lnTo>
                    <a:pt x="2702" y="2026"/>
                  </a:lnTo>
                  <a:lnTo>
                    <a:pt x="2722" y="2036"/>
                  </a:lnTo>
                  <a:lnTo>
                    <a:pt x="2743" y="2036"/>
                  </a:lnTo>
                  <a:lnTo>
                    <a:pt x="2753" y="2046"/>
                  </a:lnTo>
                  <a:lnTo>
                    <a:pt x="2773" y="2046"/>
                  </a:lnTo>
                  <a:lnTo>
                    <a:pt x="2783" y="2057"/>
                  </a:lnTo>
                  <a:lnTo>
                    <a:pt x="2803" y="2067"/>
                  </a:lnTo>
                  <a:lnTo>
                    <a:pt x="2813" y="2067"/>
                  </a:lnTo>
                  <a:lnTo>
                    <a:pt x="2824" y="2077"/>
                  </a:lnTo>
                  <a:lnTo>
                    <a:pt x="2834" y="2087"/>
                  </a:lnTo>
                  <a:lnTo>
                    <a:pt x="2844" y="2087"/>
                  </a:lnTo>
                  <a:lnTo>
                    <a:pt x="2854" y="2087"/>
                  </a:lnTo>
                  <a:lnTo>
                    <a:pt x="2854" y="2077"/>
                  </a:lnTo>
                  <a:lnTo>
                    <a:pt x="2854" y="2067"/>
                  </a:lnTo>
                  <a:lnTo>
                    <a:pt x="2854" y="2057"/>
                  </a:lnTo>
                  <a:lnTo>
                    <a:pt x="2864" y="2046"/>
                  </a:lnTo>
                  <a:lnTo>
                    <a:pt x="2864" y="2036"/>
                  </a:lnTo>
                  <a:lnTo>
                    <a:pt x="2854" y="2036"/>
                  </a:lnTo>
                  <a:lnTo>
                    <a:pt x="2844" y="2036"/>
                  </a:lnTo>
                  <a:lnTo>
                    <a:pt x="2834" y="2036"/>
                  </a:lnTo>
                  <a:lnTo>
                    <a:pt x="2834" y="2026"/>
                  </a:lnTo>
                  <a:lnTo>
                    <a:pt x="2824" y="2016"/>
                  </a:lnTo>
                  <a:lnTo>
                    <a:pt x="2813" y="2006"/>
                  </a:lnTo>
                  <a:lnTo>
                    <a:pt x="2803" y="2006"/>
                  </a:lnTo>
                  <a:lnTo>
                    <a:pt x="2793" y="2016"/>
                  </a:lnTo>
                  <a:lnTo>
                    <a:pt x="2783" y="2006"/>
                  </a:lnTo>
                  <a:lnTo>
                    <a:pt x="2783" y="1996"/>
                  </a:lnTo>
                  <a:lnTo>
                    <a:pt x="2773" y="1986"/>
                  </a:lnTo>
                  <a:lnTo>
                    <a:pt x="2753" y="1986"/>
                  </a:lnTo>
                  <a:lnTo>
                    <a:pt x="2743" y="1976"/>
                  </a:lnTo>
                  <a:lnTo>
                    <a:pt x="2733" y="1976"/>
                  </a:lnTo>
                  <a:lnTo>
                    <a:pt x="2712" y="1976"/>
                  </a:lnTo>
                  <a:lnTo>
                    <a:pt x="2702" y="1976"/>
                  </a:lnTo>
                  <a:lnTo>
                    <a:pt x="2692" y="1965"/>
                  </a:lnTo>
                  <a:lnTo>
                    <a:pt x="2672" y="1965"/>
                  </a:lnTo>
                  <a:lnTo>
                    <a:pt x="2662" y="1965"/>
                  </a:lnTo>
                  <a:lnTo>
                    <a:pt x="2652" y="1976"/>
                  </a:lnTo>
                  <a:lnTo>
                    <a:pt x="2641" y="1976"/>
                  </a:lnTo>
                  <a:lnTo>
                    <a:pt x="2631" y="1976"/>
                  </a:lnTo>
                  <a:lnTo>
                    <a:pt x="2631" y="1965"/>
                  </a:lnTo>
                  <a:lnTo>
                    <a:pt x="2621" y="1965"/>
                  </a:lnTo>
                  <a:lnTo>
                    <a:pt x="2611" y="1955"/>
                  </a:lnTo>
                  <a:lnTo>
                    <a:pt x="2601" y="1945"/>
                  </a:lnTo>
                  <a:lnTo>
                    <a:pt x="2591" y="1935"/>
                  </a:lnTo>
                  <a:lnTo>
                    <a:pt x="2581" y="1935"/>
                  </a:lnTo>
                  <a:lnTo>
                    <a:pt x="2560" y="1935"/>
                  </a:lnTo>
                  <a:lnTo>
                    <a:pt x="2540" y="1945"/>
                  </a:lnTo>
                  <a:lnTo>
                    <a:pt x="2530" y="1945"/>
                  </a:lnTo>
                  <a:lnTo>
                    <a:pt x="2520" y="1945"/>
                  </a:lnTo>
                  <a:lnTo>
                    <a:pt x="2520" y="1935"/>
                  </a:lnTo>
                  <a:lnTo>
                    <a:pt x="2510" y="1925"/>
                  </a:lnTo>
                  <a:lnTo>
                    <a:pt x="2500" y="1915"/>
                  </a:lnTo>
                  <a:lnTo>
                    <a:pt x="2490" y="1905"/>
                  </a:lnTo>
                  <a:lnTo>
                    <a:pt x="2469" y="1894"/>
                  </a:lnTo>
                  <a:lnTo>
                    <a:pt x="2459" y="1894"/>
                  </a:lnTo>
                  <a:lnTo>
                    <a:pt x="2449" y="1894"/>
                  </a:lnTo>
                  <a:lnTo>
                    <a:pt x="2439" y="1884"/>
                  </a:lnTo>
                  <a:lnTo>
                    <a:pt x="2419" y="1884"/>
                  </a:lnTo>
                  <a:lnTo>
                    <a:pt x="2409" y="1884"/>
                  </a:lnTo>
                  <a:lnTo>
                    <a:pt x="2399" y="1884"/>
                  </a:lnTo>
                  <a:lnTo>
                    <a:pt x="2378" y="1874"/>
                  </a:lnTo>
                  <a:lnTo>
                    <a:pt x="2358" y="1874"/>
                  </a:lnTo>
                  <a:lnTo>
                    <a:pt x="2348" y="1864"/>
                  </a:lnTo>
                  <a:lnTo>
                    <a:pt x="2348" y="1854"/>
                  </a:lnTo>
                  <a:lnTo>
                    <a:pt x="2338" y="1844"/>
                  </a:lnTo>
                  <a:lnTo>
                    <a:pt x="2328" y="1834"/>
                  </a:lnTo>
                  <a:lnTo>
                    <a:pt x="2318" y="1813"/>
                  </a:lnTo>
                  <a:lnTo>
                    <a:pt x="2308" y="1803"/>
                  </a:lnTo>
                  <a:lnTo>
                    <a:pt x="2297" y="1783"/>
                  </a:lnTo>
                  <a:lnTo>
                    <a:pt x="2297" y="1773"/>
                  </a:lnTo>
                  <a:lnTo>
                    <a:pt x="2297" y="1753"/>
                  </a:lnTo>
                  <a:lnTo>
                    <a:pt x="2287" y="1743"/>
                  </a:lnTo>
                  <a:lnTo>
                    <a:pt x="2277" y="1722"/>
                  </a:lnTo>
                  <a:lnTo>
                    <a:pt x="2267" y="1712"/>
                  </a:lnTo>
                  <a:lnTo>
                    <a:pt x="2257" y="1692"/>
                  </a:lnTo>
                  <a:lnTo>
                    <a:pt x="2247" y="1682"/>
                  </a:lnTo>
                  <a:lnTo>
                    <a:pt x="2247" y="1672"/>
                  </a:lnTo>
                  <a:lnTo>
                    <a:pt x="2247" y="1651"/>
                  </a:lnTo>
                  <a:lnTo>
                    <a:pt x="2247" y="1631"/>
                  </a:lnTo>
                  <a:lnTo>
                    <a:pt x="2237" y="1621"/>
                  </a:lnTo>
                  <a:lnTo>
                    <a:pt x="2237" y="1611"/>
                  </a:lnTo>
                  <a:lnTo>
                    <a:pt x="2227" y="1601"/>
                  </a:lnTo>
                  <a:lnTo>
                    <a:pt x="2206" y="1591"/>
                  </a:lnTo>
                  <a:lnTo>
                    <a:pt x="2196" y="1580"/>
                  </a:lnTo>
                  <a:lnTo>
                    <a:pt x="2186" y="1580"/>
                  </a:lnTo>
                  <a:lnTo>
                    <a:pt x="2166" y="1580"/>
                  </a:lnTo>
                  <a:lnTo>
                    <a:pt x="2156" y="1580"/>
                  </a:lnTo>
                  <a:lnTo>
                    <a:pt x="2146" y="1560"/>
                  </a:lnTo>
                  <a:lnTo>
                    <a:pt x="2146" y="1550"/>
                  </a:lnTo>
                  <a:lnTo>
                    <a:pt x="2136" y="1530"/>
                  </a:lnTo>
                  <a:lnTo>
                    <a:pt x="2125" y="1520"/>
                  </a:lnTo>
                  <a:lnTo>
                    <a:pt x="2115" y="1520"/>
                  </a:lnTo>
                  <a:lnTo>
                    <a:pt x="2105" y="1510"/>
                  </a:lnTo>
                  <a:lnTo>
                    <a:pt x="2095" y="1510"/>
                  </a:lnTo>
                  <a:lnTo>
                    <a:pt x="2065" y="1499"/>
                  </a:lnTo>
                  <a:lnTo>
                    <a:pt x="2034" y="1489"/>
                  </a:lnTo>
                  <a:lnTo>
                    <a:pt x="2014" y="1479"/>
                  </a:lnTo>
                  <a:lnTo>
                    <a:pt x="2004" y="1479"/>
                  </a:lnTo>
                  <a:lnTo>
                    <a:pt x="1994" y="1479"/>
                  </a:lnTo>
                  <a:lnTo>
                    <a:pt x="1974" y="1469"/>
                  </a:lnTo>
                  <a:lnTo>
                    <a:pt x="1953" y="1459"/>
                  </a:lnTo>
                  <a:lnTo>
                    <a:pt x="1933" y="1449"/>
                  </a:lnTo>
                  <a:lnTo>
                    <a:pt x="1923" y="1449"/>
                  </a:lnTo>
                  <a:lnTo>
                    <a:pt x="1923" y="1439"/>
                  </a:lnTo>
                  <a:lnTo>
                    <a:pt x="1923" y="1428"/>
                  </a:lnTo>
                  <a:lnTo>
                    <a:pt x="1913" y="1418"/>
                  </a:lnTo>
                  <a:lnTo>
                    <a:pt x="1903" y="1408"/>
                  </a:lnTo>
                  <a:lnTo>
                    <a:pt x="1893" y="1408"/>
                  </a:lnTo>
                  <a:lnTo>
                    <a:pt x="1883" y="1408"/>
                  </a:lnTo>
                  <a:lnTo>
                    <a:pt x="1883" y="1418"/>
                  </a:lnTo>
                  <a:lnTo>
                    <a:pt x="1872" y="1428"/>
                  </a:lnTo>
                  <a:lnTo>
                    <a:pt x="1852" y="1439"/>
                  </a:lnTo>
                  <a:lnTo>
                    <a:pt x="1842" y="1428"/>
                  </a:lnTo>
                  <a:lnTo>
                    <a:pt x="1832" y="1428"/>
                  </a:lnTo>
                  <a:lnTo>
                    <a:pt x="1832" y="1418"/>
                  </a:lnTo>
                  <a:lnTo>
                    <a:pt x="1822" y="1408"/>
                  </a:lnTo>
                  <a:lnTo>
                    <a:pt x="1812" y="1398"/>
                  </a:lnTo>
                  <a:lnTo>
                    <a:pt x="1802" y="1388"/>
                  </a:lnTo>
                  <a:lnTo>
                    <a:pt x="1791" y="1388"/>
                  </a:lnTo>
                  <a:lnTo>
                    <a:pt x="1781" y="1388"/>
                  </a:lnTo>
                  <a:lnTo>
                    <a:pt x="1771" y="1388"/>
                  </a:lnTo>
                  <a:lnTo>
                    <a:pt x="1751" y="1398"/>
                  </a:lnTo>
                  <a:lnTo>
                    <a:pt x="1741" y="1398"/>
                  </a:lnTo>
                  <a:lnTo>
                    <a:pt x="1721" y="1398"/>
                  </a:lnTo>
                  <a:lnTo>
                    <a:pt x="1711" y="1388"/>
                  </a:lnTo>
                  <a:lnTo>
                    <a:pt x="1700" y="1378"/>
                  </a:lnTo>
                  <a:lnTo>
                    <a:pt x="1680" y="1368"/>
                  </a:lnTo>
                  <a:lnTo>
                    <a:pt x="1670" y="1378"/>
                  </a:lnTo>
                  <a:lnTo>
                    <a:pt x="1660" y="1368"/>
                  </a:lnTo>
                  <a:lnTo>
                    <a:pt x="1650" y="1368"/>
                  </a:lnTo>
                  <a:lnTo>
                    <a:pt x="1630" y="1368"/>
                  </a:lnTo>
                  <a:lnTo>
                    <a:pt x="1619" y="1368"/>
                  </a:lnTo>
                  <a:lnTo>
                    <a:pt x="1599" y="1378"/>
                  </a:lnTo>
                  <a:lnTo>
                    <a:pt x="1589" y="1368"/>
                  </a:lnTo>
                  <a:lnTo>
                    <a:pt x="1569" y="1368"/>
                  </a:lnTo>
                  <a:lnTo>
                    <a:pt x="1559" y="1368"/>
                  </a:lnTo>
                  <a:lnTo>
                    <a:pt x="1538" y="1358"/>
                  </a:lnTo>
                  <a:lnTo>
                    <a:pt x="1508" y="1358"/>
                  </a:lnTo>
                  <a:lnTo>
                    <a:pt x="1488" y="1368"/>
                  </a:lnTo>
                  <a:lnTo>
                    <a:pt x="1458" y="1368"/>
                  </a:lnTo>
                  <a:lnTo>
                    <a:pt x="1458" y="1358"/>
                  </a:lnTo>
                  <a:lnTo>
                    <a:pt x="1447" y="1358"/>
                  </a:lnTo>
                  <a:lnTo>
                    <a:pt x="1437" y="1358"/>
                  </a:lnTo>
                  <a:lnTo>
                    <a:pt x="1427" y="1347"/>
                  </a:lnTo>
                  <a:lnTo>
                    <a:pt x="1417" y="1347"/>
                  </a:lnTo>
                  <a:lnTo>
                    <a:pt x="1407" y="1358"/>
                  </a:lnTo>
                  <a:lnTo>
                    <a:pt x="1397" y="1368"/>
                  </a:lnTo>
                  <a:lnTo>
                    <a:pt x="1387" y="1368"/>
                  </a:lnTo>
                  <a:lnTo>
                    <a:pt x="1377" y="1358"/>
                  </a:lnTo>
                  <a:lnTo>
                    <a:pt x="1377" y="1347"/>
                  </a:lnTo>
                  <a:lnTo>
                    <a:pt x="1377" y="1337"/>
                  </a:lnTo>
                  <a:lnTo>
                    <a:pt x="1366" y="1337"/>
                  </a:lnTo>
                  <a:lnTo>
                    <a:pt x="1366" y="1327"/>
                  </a:lnTo>
                  <a:lnTo>
                    <a:pt x="1346" y="1327"/>
                  </a:lnTo>
                  <a:lnTo>
                    <a:pt x="1336" y="1317"/>
                  </a:lnTo>
                  <a:lnTo>
                    <a:pt x="1326" y="1317"/>
                  </a:lnTo>
                  <a:lnTo>
                    <a:pt x="1316" y="1317"/>
                  </a:lnTo>
                  <a:lnTo>
                    <a:pt x="1316" y="1307"/>
                  </a:lnTo>
                  <a:lnTo>
                    <a:pt x="1296" y="1297"/>
                  </a:lnTo>
                  <a:lnTo>
                    <a:pt x="1275" y="1287"/>
                  </a:lnTo>
                  <a:lnTo>
                    <a:pt x="1265" y="1277"/>
                  </a:lnTo>
                  <a:lnTo>
                    <a:pt x="1265" y="1266"/>
                  </a:lnTo>
                  <a:lnTo>
                    <a:pt x="1255" y="1256"/>
                  </a:lnTo>
                  <a:lnTo>
                    <a:pt x="1245" y="1246"/>
                  </a:lnTo>
                  <a:lnTo>
                    <a:pt x="1235" y="1236"/>
                  </a:lnTo>
                  <a:lnTo>
                    <a:pt x="1225" y="1226"/>
                  </a:lnTo>
                  <a:lnTo>
                    <a:pt x="1215" y="1216"/>
                  </a:lnTo>
                  <a:lnTo>
                    <a:pt x="1205" y="1206"/>
                  </a:lnTo>
                  <a:lnTo>
                    <a:pt x="1205" y="1195"/>
                  </a:lnTo>
                  <a:lnTo>
                    <a:pt x="1194" y="1185"/>
                  </a:lnTo>
                  <a:lnTo>
                    <a:pt x="1184" y="1165"/>
                  </a:lnTo>
                  <a:lnTo>
                    <a:pt x="1174" y="1155"/>
                  </a:lnTo>
                  <a:lnTo>
                    <a:pt x="1174" y="1135"/>
                  </a:lnTo>
                  <a:lnTo>
                    <a:pt x="1164" y="1125"/>
                  </a:lnTo>
                  <a:lnTo>
                    <a:pt x="1164" y="1114"/>
                  </a:lnTo>
                  <a:lnTo>
                    <a:pt x="1154" y="1114"/>
                  </a:lnTo>
                  <a:lnTo>
                    <a:pt x="1154" y="1104"/>
                  </a:lnTo>
                  <a:lnTo>
                    <a:pt x="1144" y="1094"/>
                  </a:lnTo>
                  <a:lnTo>
                    <a:pt x="1134" y="1054"/>
                  </a:lnTo>
                  <a:lnTo>
                    <a:pt x="1113" y="1023"/>
                  </a:lnTo>
                  <a:lnTo>
                    <a:pt x="1113" y="1013"/>
                  </a:lnTo>
                  <a:lnTo>
                    <a:pt x="1113" y="1003"/>
                  </a:lnTo>
                  <a:lnTo>
                    <a:pt x="1103" y="973"/>
                  </a:lnTo>
                  <a:lnTo>
                    <a:pt x="1103" y="952"/>
                  </a:lnTo>
                  <a:lnTo>
                    <a:pt x="1103" y="922"/>
                  </a:lnTo>
                  <a:lnTo>
                    <a:pt x="1103" y="871"/>
                  </a:lnTo>
                  <a:lnTo>
                    <a:pt x="1103" y="861"/>
                  </a:lnTo>
                  <a:lnTo>
                    <a:pt x="1093" y="851"/>
                  </a:lnTo>
                  <a:lnTo>
                    <a:pt x="1093" y="841"/>
                  </a:lnTo>
                  <a:lnTo>
                    <a:pt x="1093" y="831"/>
                  </a:lnTo>
                  <a:lnTo>
                    <a:pt x="1093" y="821"/>
                  </a:lnTo>
                  <a:lnTo>
                    <a:pt x="1103" y="821"/>
                  </a:lnTo>
                  <a:lnTo>
                    <a:pt x="1113" y="811"/>
                  </a:lnTo>
                  <a:lnTo>
                    <a:pt x="1124" y="790"/>
                  </a:lnTo>
                  <a:lnTo>
                    <a:pt x="1124" y="780"/>
                  </a:lnTo>
                  <a:lnTo>
                    <a:pt x="1134" y="770"/>
                  </a:lnTo>
                  <a:lnTo>
                    <a:pt x="1134" y="760"/>
                  </a:lnTo>
                  <a:lnTo>
                    <a:pt x="1134" y="750"/>
                  </a:lnTo>
                  <a:lnTo>
                    <a:pt x="1134" y="740"/>
                  </a:lnTo>
                  <a:lnTo>
                    <a:pt x="1124" y="740"/>
                  </a:lnTo>
                  <a:lnTo>
                    <a:pt x="1113" y="729"/>
                  </a:lnTo>
                  <a:lnTo>
                    <a:pt x="1124" y="729"/>
                  </a:lnTo>
                  <a:lnTo>
                    <a:pt x="1124" y="719"/>
                  </a:lnTo>
                  <a:lnTo>
                    <a:pt x="1134" y="709"/>
                  </a:lnTo>
                  <a:lnTo>
                    <a:pt x="1144" y="709"/>
                  </a:lnTo>
                  <a:lnTo>
                    <a:pt x="1154" y="699"/>
                  </a:lnTo>
                  <a:lnTo>
                    <a:pt x="1154" y="689"/>
                  </a:lnTo>
                  <a:lnTo>
                    <a:pt x="1154" y="679"/>
                  </a:lnTo>
                  <a:lnTo>
                    <a:pt x="1164" y="648"/>
                  </a:lnTo>
                  <a:lnTo>
                    <a:pt x="1164" y="638"/>
                  </a:lnTo>
                  <a:lnTo>
                    <a:pt x="1154" y="628"/>
                  </a:lnTo>
                  <a:lnTo>
                    <a:pt x="1154" y="608"/>
                  </a:lnTo>
                  <a:lnTo>
                    <a:pt x="1154" y="598"/>
                  </a:lnTo>
                  <a:lnTo>
                    <a:pt x="1144" y="588"/>
                  </a:lnTo>
                  <a:lnTo>
                    <a:pt x="1134" y="567"/>
                  </a:lnTo>
                  <a:lnTo>
                    <a:pt x="1124" y="557"/>
                  </a:lnTo>
                  <a:lnTo>
                    <a:pt x="1124" y="547"/>
                  </a:lnTo>
                  <a:lnTo>
                    <a:pt x="1103" y="517"/>
                  </a:lnTo>
                  <a:lnTo>
                    <a:pt x="1093" y="496"/>
                  </a:lnTo>
                  <a:lnTo>
                    <a:pt x="1093" y="486"/>
                  </a:lnTo>
                  <a:lnTo>
                    <a:pt x="1093" y="466"/>
                  </a:lnTo>
                  <a:lnTo>
                    <a:pt x="1093" y="446"/>
                  </a:lnTo>
                  <a:lnTo>
                    <a:pt x="1093" y="436"/>
                  </a:lnTo>
                  <a:lnTo>
                    <a:pt x="1093" y="426"/>
                  </a:lnTo>
                  <a:lnTo>
                    <a:pt x="1083" y="415"/>
                  </a:lnTo>
                  <a:lnTo>
                    <a:pt x="1073" y="395"/>
                  </a:lnTo>
                  <a:lnTo>
                    <a:pt x="1063" y="375"/>
                  </a:lnTo>
                  <a:lnTo>
                    <a:pt x="1063" y="355"/>
                  </a:lnTo>
                  <a:lnTo>
                    <a:pt x="1063" y="345"/>
                  </a:lnTo>
                  <a:lnTo>
                    <a:pt x="1063" y="334"/>
                  </a:lnTo>
                  <a:lnTo>
                    <a:pt x="1053" y="324"/>
                  </a:lnTo>
                  <a:lnTo>
                    <a:pt x="1043" y="324"/>
                  </a:lnTo>
                  <a:lnTo>
                    <a:pt x="1022" y="324"/>
                  </a:lnTo>
                  <a:lnTo>
                    <a:pt x="1012" y="324"/>
                  </a:lnTo>
                  <a:lnTo>
                    <a:pt x="1012" y="314"/>
                  </a:lnTo>
                  <a:lnTo>
                    <a:pt x="1002" y="294"/>
                  </a:lnTo>
                  <a:lnTo>
                    <a:pt x="1002" y="284"/>
                  </a:lnTo>
                  <a:lnTo>
                    <a:pt x="992" y="284"/>
                  </a:lnTo>
                  <a:lnTo>
                    <a:pt x="982" y="274"/>
                  </a:lnTo>
                  <a:lnTo>
                    <a:pt x="972" y="274"/>
                  </a:lnTo>
                  <a:lnTo>
                    <a:pt x="962" y="274"/>
                  </a:lnTo>
                  <a:lnTo>
                    <a:pt x="952" y="274"/>
                  </a:lnTo>
                  <a:lnTo>
                    <a:pt x="941" y="274"/>
                  </a:lnTo>
                  <a:lnTo>
                    <a:pt x="931" y="263"/>
                  </a:lnTo>
                  <a:lnTo>
                    <a:pt x="931" y="253"/>
                  </a:lnTo>
                  <a:lnTo>
                    <a:pt x="921" y="253"/>
                  </a:lnTo>
                  <a:lnTo>
                    <a:pt x="911" y="253"/>
                  </a:lnTo>
                  <a:lnTo>
                    <a:pt x="911" y="243"/>
                  </a:lnTo>
                  <a:lnTo>
                    <a:pt x="901" y="233"/>
                  </a:lnTo>
                  <a:lnTo>
                    <a:pt x="881" y="213"/>
                  </a:lnTo>
                  <a:lnTo>
                    <a:pt x="871" y="193"/>
                  </a:lnTo>
                  <a:lnTo>
                    <a:pt x="861" y="182"/>
                  </a:lnTo>
                  <a:lnTo>
                    <a:pt x="840" y="182"/>
                  </a:lnTo>
                  <a:lnTo>
                    <a:pt x="840" y="172"/>
                  </a:lnTo>
                  <a:lnTo>
                    <a:pt x="830" y="172"/>
                  </a:lnTo>
                  <a:lnTo>
                    <a:pt x="820" y="162"/>
                  </a:lnTo>
                  <a:lnTo>
                    <a:pt x="820" y="152"/>
                  </a:lnTo>
                  <a:lnTo>
                    <a:pt x="820" y="142"/>
                  </a:lnTo>
                  <a:lnTo>
                    <a:pt x="820" y="132"/>
                  </a:lnTo>
                  <a:lnTo>
                    <a:pt x="810" y="112"/>
                  </a:lnTo>
                  <a:lnTo>
                    <a:pt x="800" y="101"/>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425" name="Freeform 18">
              <a:extLst>
                <a:ext uri="{FF2B5EF4-FFF2-40B4-BE49-F238E27FC236}">
                  <a16:creationId xmlns:a16="http://schemas.microsoft.com/office/drawing/2014/main" id="{88CCBD30-8882-43FA-85F0-81A7BA06EE4A}"/>
                </a:ext>
              </a:extLst>
            </p:cNvPr>
            <p:cNvSpPr>
              <a:spLocks noChangeAspect="1"/>
            </p:cNvSpPr>
            <p:nvPr/>
          </p:nvSpPr>
          <p:spPr bwMode="auto">
            <a:xfrm>
              <a:off x="171449" y="2397132"/>
              <a:ext cx="2065339" cy="3282959"/>
            </a:xfrm>
            <a:custGeom>
              <a:avLst/>
              <a:gdLst>
                <a:gd name="T0" fmla="*/ 1690 w 1994"/>
                <a:gd name="T1" fmla="*/ 1094 h 3171"/>
                <a:gd name="T2" fmla="*/ 1721 w 1994"/>
                <a:gd name="T3" fmla="*/ 962 h 3171"/>
                <a:gd name="T4" fmla="*/ 1822 w 1994"/>
                <a:gd name="T5" fmla="*/ 983 h 3171"/>
                <a:gd name="T6" fmla="*/ 1903 w 1994"/>
                <a:gd name="T7" fmla="*/ 993 h 3171"/>
                <a:gd name="T8" fmla="*/ 1953 w 1994"/>
                <a:gd name="T9" fmla="*/ 972 h 3171"/>
                <a:gd name="T10" fmla="*/ 1953 w 1994"/>
                <a:gd name="T11" fmla="*/ 891 h 3171"/>
                <a:gd name="T12" fmla="*/ 1953 w 1994"/>
                <a:gd name="T13" fmla="*/ 750 h 3171"/>
                <a:gd name="T14" fmla="*/ 1933 w 1994"/>
                <a:gd name="T15" fmla="*/ 648 h 3171"/>
                <a:gd name="T16" fmla="*/ 1923 w 1994"/>
                <a:gd name="T17" fmla="*/ 608 h 3171"/>
                <a:gd name="T18" fmla="*/ 1771 w 1994"/>
                <a:gd name="T19" fmla="*/ 588 h 3171"/>
                <a:gd name="T20" fmla="*/ 1731 w 1994"/>
                <a:gd name="T21" fmla="*/ 658 h 3171"/>
                <a:gd name="T22" fmla="*/ 1589 w 1994"/>
                <a:gd name="T23" fmla="*/ 709 h 3171"/>
                <a:gd name="T24" fmla="*/ 1579 w 1994"/>
                <a:gd name="T25" fmla="*/ 628 h 3171"/>
                <a:gd name="T26" fmla="*/ 1468 w 1994"/>
                <a:gd name="T27" fmla="*/ 679 h 3171"/>
                <a:gd name="T28" fmla="*/ 1387 w 1994"/>
                <a:gd name="T29" fmla="*/ 628 h 3171"/>
                <a:gd name="T30" fmla="*/ 1437 w 1994"/>
                <a:gd name="T31" fmla="*/ 598 h 3171"/>
                <a:gd name="T32" fmla="*/ 1539 w 1994"/>
                <a:gd name="T33" fmla="*/ 466 h 3171"/>
                <a:gd name="T34" fmla="*/ 1437 w 1994"/>
                <a:gd name="T35" fmla="*/ 446 h 3171"/>
                <a:gd name="T36" fmla="*/ 1306 w 1994"/>
                <a:gd name="T37" fmla="*/ 405 h 3171"/>
                <a:gd name="T38" fmla="*/ 1235 w 1994"/>
                <a:gd name="T39" fmla="*/ 314 h 3171"/>
                <a:gd name="T40" fmla="*/ 1073 w 1994"/>
                <a:gd name="T41" fmla="*/ 324 h 3171"/>
                <a:gd name="T42" fmla="*/ 942 w 1994"/>
                <a:gd name="T43" fmla="*/ 284 h 3171"/>
                <a:gd name="T44" fmla="*/ 820 w 1994"/>
                <a:gd name="T45" fmla="*/ 203 h 3171"/>
                <a:gd name="T46" fmla="*/ 709 w 1994"/>
                <a:gd name="T47" fmla="*/ 101 h 3171"/>
                <a:gd name="T48" fmla="*/ 547 w 1994"/>
                <a:gd name="T49" fmla="*/ 20 h 3171"/>
                <a:gd name="T50" fmla="*/ 466 w 1994"/>
                <a:gd name="T51" fmla="*/ 40 h 3171"/>
                <a:gd name="T52" fmla="*/ 304 w 1994"/>
                <a:gd name="T53" fmla="*/ 71 h 3171"/>
                <a:gd name="T54" fmla="*/ 223 w 1994"/>
                <a:gd name="T55" fmla="*/ 162 h 3171"/>
                <a:gd name="T56" fmla="*/ 173 w 1994"/>
                <a:gd name="T57" fmla="*/ 263 h 3171"/>
                <a:gd name="T58" fmla="*/ 61 w 1994"/>
                <a:gd name="T59" fmla="*/ 344 h 3171"/>
                <a:gd name="T60" fmla="*/ 71 w 1994"/>
                <a:gd name="T61" fmla="*/ 446 h 3171"/>
                <a:gd name="T62" fmla="*/ 41 w 1994"/>
                <a:gd name="T63" fmla="*/ 638 h 3171"/>
                <a:gd name="T64" fmla="*/ 21 w 1994"/>
                <a:gd name="T65" fmla="*/ 790 h 3171"/>
                <a:gd name="T66" fmla="*/ 71 w 1994"/>
                <a:gd name="T67" fmla="*/ 942 h 3171"/>
                <a:gd name="T68" fmla="*/ 193 w 1994"/>
                <a:gd name="T69" fmla="*/ 1145 h 3171"/>
                <a:gd name="T70" fmla="*/ 193 w 1994"/>
                <a:gd name="T71" fmla="*/ 1317 h 3171"/>
                <a:gd name="T72" fmla="*/ 243 w 1994"/>
                <a:gd name="T73" fmla="*/ 1479 h 3171"/>
                <a:gd name="T74" fmla="*/ 243 w 1994"/>
                <a:gd name="T75" fmla="*/ 1712 h 3171"/>
                <a:gd name="T76" fmla="*/ 253 w 1994"/>
                <a:gd name="T77" fmla="*/ 1975 h 3171"/>
                <a:gd name="T78" fmla="*/ 294 w 1994"/>
                <a:gd name="T79" fmla="*/ 2056 h 3171"/>
                <a:gd name="T80" fmla="*/ 284 w 1994"/>
                <a:gd name="T81" fmla="*/ 2218 h 3171"/>
                <a:gd name="T82" fmla="*/ 385 w 1994"/>
                <a:gd name="T83" fmla="*/ 2451 h 3171"/>
                <a:gd name="T84" fmla="*/ 476 w 1994"/>
                <a:gd name="T85" fmla="*/ 2695 h 3171"/>
                <a:gd name="T86" fmla="*/ 658 w 1994"/>
                <a:gd name="T87" fmla="*/ 2877 h 3171"/>
                <a:gd name="T88" fmla="*/ 749 w 1994"/>
                <a:gd name="T89" fmla="*/ 3130 h 3171"/>
                <a:gd name="T90" fmla="*/ 850 w 1994"/>
                <a:gd name="T91" fmla="*/ 3171 h 3171"/>
                <a:gd name="T92" fmla="*/ 1012 w 1994"/>
                <a:gd name="T93" fmla="*/ 3110 h 3171"/>
                <a:gd name="T94" fmla="*/ 1134 w 1994"/>
                <a:gd name="T95" fmla="*/ 3069 h 3171"/>
                <a:gd name="T96" fmla="*/ 1245 w 1994"/>
                <a:gd name="T97" fmla="*/ 3009 h 3171"/>
                <a:gd name="T98" fmla="*/ 1397 w 1994"/>
                <a:gd name="T99" fmla="*/ 2999 h 3171"/>
                <a:gd name="T100" fmla="*/ 1478 w 1994"/>
                <a:gd name="T101" fmla="*/ 2857 h 3171"/>
                <a:gd name="T102" fmla="*/ 1599 w 1994"/>
                <a:gd name="T103" fmla="*/ 2755 h 3171"/>
                <a:gd name="T104" fmla="*/ 1711 w 1994"/>
                <a:gd name="T105" fmla="*/ 2644 h 3171"/>
                <a:gd name="T106" fmla="*/ 1862 w 1994"/>
                <a:gd name="T107" fmla="*/ 2492 h 3171"/>
                <a:gd name="T108" fmla="*/ 1903 w 1994"/>
                <a:gd name="T109" fmla="*/ 2320 h 3171"/>
                <a:gd name="T110" fmla="*/ 1872 w 1994"/>
                <a:gd name="T111" fmla="*/ 2178 h 3171"/>
                <a:gd name="T112" fmla="*/ 1872 w 1994"/>
                <a:gd name="T113" fmla="*/ 1996 h 3171"/>
                <a:gd name="T114" fmla="*/ 1832 w 1994"/>
                <a:gd name="T115" fmla="*/ 1844 h 3171"/>
                <a:gd name="T116" fmla="*/ 1872 w 1994"/>
                <a:gd name="T117" fmla="*/ 1742 h 3171"/>
                <a:gd name="T118" fmla="*/ 1771 w 1994"/>
                <a:gd name="T119" fmla="*/ 1641 h 3171"/>
                <a:gd name="T120" fmla="*/ 1711 w 1994"/>
                <a:gd name="T121" fmla="*/ 1509 h 3171"/>
                <a:gd name="T122" fmla="*/ 1670 w 1994"/>
                <a:gd name="T123" fmla="*/ 1368 h 3171"/>
                <a:gd name="T124" fmla="*/ 1711 w 1994"/>
                <a:gd name="T125" fmla="*/ 1205 h 3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94" h="3171">
                  <a:moveTo>
                    <a:pt x="1721" y="1195"/>
                  </a:moveTo>
                  <a:lnTo>
                    <a:pt x="1721" y="1185"/>
                  </a:lnTo>
                  <a:lnTo>
                    <a:pt x="1711" y="1175"/>
                  </a:lnTo>
                  <a:lnTo>
                    <a:pt x="1700" y="1175"/>
                  </a:lnTo>
                  <a:lnTo>
                    <a:pt x="1690" y="1165"/>
                  </a:lnTo>
                  <a:lnTo>
                    <a:pt x="1700" y="1165"/>
                  </a:lnTo>
                  <a:lnTo>
                    <a:pt x="1700" y="1155"/>
                  </a:lnTo>
                  <a:lnTo>
                    <a:pt x="1700" y="1145"/>
                  </a:lnTo>
                  <a:lnTo>
                    <a:pt x="1711" y="1145"/>
                  </a:lnTo>
                  <a:lnTo>
                    <a:pt x="1711" y="1135"/>
                  </a:lnTo>
                  <a:lnTo>
                    <a:pt x="1700" y="1135"/>
                  </a:lnTo>
                  <a:lnTo>
                    <a:pt x="1690" y="1114"/>
                  </a:lnTo>
                  <a:lnTo>
                    <a:pt x="1690" y="1104"/>
                  </a:lnTo>
                  <a:lnTo>
                    <a:pt x="1690" y="1094"/>
                  </a:lnTo>
                  <a:lnTo>
                    <a:pt x="1680" y="1084"/>
                  </a:lnTo>
                  <a:lnTo>
                    <a:pt x="1680" y="1074"/>
                  </a:lnTo>
                  <a:lnTo>
                    <a:pt x="1680" y="1064"/>
                  </a:lnTo>
                  <a:lnTo>
                    <a:pt x="1690" y="1054"/>
                  </a:lnTo>
                  <a:lnTo>
                    <a:pt x="1690" y="1043"/>
                  </a:lnTo>
                  <a:lnTo>
                    <a:pt x="1690" y="1033"/>
                  </a:lnTo>
                  <a:lnTo>
                    <a:pt x="1700" y="1023"/>
                  </a:lnTo>
                  <a:lnTo>
                    <a:pt x="1700" y="1013"/>
                  </a:lnTo>
                  <a:lnTo>
                    <a:pt x="1711" y="1003"/>
                  </a:lnTo>
                  <a:lnTo>
                    <a:pt x="1711" y="993"/>
                  </a:lnTo>
                  <a:lnTo>
                    <a:pt x="1711" y="983"/>
                  </a:lnTo>
                  <a:lnTo>
                    <a:pt x="1711" y="962"/>
                  </a:lnTo>
                  <a:lnTo>
                    <a:pt x="1721" y="962"/>
                  </a:lnTo>
                  <a:lnTo>
                    <a:pt x="1721" y="952"/>
                  </a:lnTo>
                  <a:lnTo>
                    <a:pt x="1731" y="952"/>
                  </a:lnTo>
                  <a:lnTo>
                    <a:pt x="1731" y="962"/>
                  </a:lnTo>
                  <a:lnTo>
                    <a:pt x="1741" y="972"/>
                  </a:lnTo>
                  <a:lnTo>
                    <a:pt x="1751" y="983"/>
                  </a:lnTo>
                  <a:lnTo>
                    <a:pt x="1761" y="983"/>
                  </a:lnTo>
                  <a:lnTo>
                    <a:pt x="1771" y="972"/>
                  </a:lnTo>
                  <a:lnTo>
                    <a:pt x="1781" y="972"/>
                  </a:lnTo>
                  <a:lnTo>
                    <a:pt x="1802" y="962"/>
                  </a:lnTo>
                  <a:lnTo>
                    <a:pt x="1812" y="962"/>
                  </a:lnTo>
                  <a:lnTo>
                    <a:pt x="1822" y="972"/>
                  </a:lnTo>
                  <a:lnTo>
                    <a:pt x="1822" y="983"/>
                  </a:lnTo>
                  <a:lnTo>
                    <a:pt x="1822" y="993"/>
                  </a:lnTo>
                  <a:lnTo>
                    <a:pt x="1832" y="1003"/>
                  </a:lnTo>
                  <a:lnTo>
                    <a:pt x="1842" y="1003"/>
                  </a:lnTo>
                  <a:lnTo>
                    <a:pt x="1842" y="993"/>
                  </a:lnTo>
                  <a:lnTo>
                    <a:pt x="1852" y="993"/>
                  </a:lnTo>
                  <a:lnTo>
                    <a:pt x="1852" y="983"/>
                  </a:lnTo>
                  <a:lnTo>
                    <a:pt x="1862" y="972"/>
                  </a:lnTo>
                  <a:lnTo>
                    <a:pt x="1872" y="972"/>
                  </a:lnTo>
                  <a:lnTo>
                    <a:pt x="1883" y="983"/>
                  </a:lnTo>
                  <a:lnTo>
                    <a:pt x="1893" y="983"/>
                  </a:lnTo>
                  <a:lnTo>
                    <a:pt x="1903" y="993"/>
                  </a:lnTo>
                  <a:lnTo>
                    <a:pt x="1913" y="993"/>
                  </a:lnTo>
                  <a:lnTo>
                    <a:pt x="1923" y="1003"/>
                  </a:lnTo>
                  <a:lnTo>
                    <a:pt x="1943" y="1003"/>
                  </a:lnTo>
                  <a:lnTo>
                    <a:pt x="1964" y="1003"/>
                  </a:lnTo>
                  <a:lnTo>
                    <a:pt x="1974" y="1003"/>
                  </a:lnTo>
                  <a:lnTo>
                    <a:pt x="1984" y="1013"/>
                  </a:lnTo>
                  <a:lnTo>
                    <a:pt x="1984" y="1003"/>
                  </a:lnTo>
                  <a:lnTo>
                    <a:pt x="1994" y="993"/>
                  </a:lnTo>
                  <a:lnTo>
                    <a:pt x="1984" y="993"/>
                  </a:lnTo>
                  <a:lnTo>
                    <a:pt x="1984" y="983"/>
                  </a:lnTo>
                  <a:lnTo>
                    <a:pt x="1974" y="983"/>
                  </a:lnTo>
                  <a:lnTo>
                    <a:pt x="1964" y="983"/>
                  </a:lnTo>
                  <a:lnTo>
                    <a:pt x="1953" y="972"/>
                  </a:lnTo>
                  <a:lnTo>
                    <a:pt x="1943" y="962"/>
                  </a:lnTo>
                  <a:lnTo>
                    <a:pt x="1943" y="952"/>
                  </a:lnTo>
                  <a:lnTo>
                    <a:pt x="1953" y="942"/>
                  </a:lnTo>
                  <a:lnTo>
                    <a:pt x="1953" y="932"/>
                  </a:lnTo>
                  <a:lnTo>
                    <a:pt x="1953" y="922"/>
                  </a:lnTo>
                  <a:lnTo>
                    <a:pt x="1964" y="912"/>
                  </a:lnTo>
                  <a:lnTo>
                    <a:pt x="1964" y="902"/>
                  </a:lnTo>
                  <a:lnTo>
                    <a:pt x="1953" y="891"/>
                  </a:lnTo>
                  <a:lnTo>
                    <a:pt x="1943" y="891"/>
                  </a:lnTo>
                  <a:lnTo>
                    <a:pt x="1933" y="881"/>
                  </a:lnTo>
                  <a:lnTo>
                    <a:pt x="1923" y="871"/>
                  </a:lnTo>
                  <a:lnTo>
                    <a:pt x="1923" y="861"/>
                  </a:lnTo>
                  <a:lnTo>
                    <a:pt x="1923" y="851"/>
                  </a:lnTo>
                  <a:lnTo>
                    <a:pt x="1933" y="851"/>
                  </a:lnTo>
                  <a:lnTo>
                    <a:pt x="1943" y="831"/>
                  </a:lnTo>
                  <a:lnTo>
                    <a:pt x="1953" y="821"/>
                  </a:lnTo>
                  <a:lnTo>
                    <a:pt x="1964" y="810"/>
                  </a:lnTo>
                  <a:lnTo>
                    <a:pt x="1964" y="800"/>
                  </a:lnTo>
                  <a:lnTo>
                    <a:pt x="1953" y="780"/>
                  </a:lnTo>
                  <a:lnTo>
                    <a:pt x="1953" y="770"/>
                  </a:lnTo>
                  <a:lnTo>
                    <a:pt x="1953" y="760"/>
                  </a:lnTo>
                  <a:lnTo>
                    <a:pt x="1953" y="750"/>
                  </a:lnTo>
                  <a:lnTo>
                    <a:pt x="1953" y="739"/>
                  </a:lnTo>
                  <a:lnTo>
                    <a:pt x="1953" y="729"/>
                  </a:lnTo>
                  <a:lnTo>
                    <a:pt x="1964" y="719"/>
                  </a:lnTo>
                  <a:lnTo>
                    <a:pt x="1964" y="709"/>
                  </a:lnTo>
                  <a:lnTo>
                    <a:pt x="1964" y="699"/>
                  </a:lnTo>
                  <a:lnTo>
                    <a:pt x="1964" y="689"/>
                  </a:lnTo>
                  <a:lnTo>
                    <a:pt x="1964" y="679"/>
                  </a:lnTo>
                  <a:lnTo>
                    <a:pt x="1953" y="669"/>
                  </a:lnTo>
                  <a:lnTo>
                    <a:pt x="1953" y="658"/>
                  </a:lnTo>
                  <a:lnTo>
                    <a:pt x="1953" y="648"/>
                  </a:lnTo>
                  <a:lnTo>
                    <a:pt x="1943" y="638"/>
                  </a:lnTo>
                  <a:lnTo>
                    <a:pt x="1933" y="648"/>
                  </a:lnTo>
                  <a:lnTo>
                    <a:pt x="1933" y="658"/>
                  </a:lnTo>
                  <a:lnTo>
                    <a:pt x="1933" y="669"/>
                  </a:lnTo>
                  <a:lnTo>
                    <a:pt x="1923" y="669"/>
                  </a:lnTo>
                  <a:lnTo>
                    <a:pt x="1913" y="669"/>
                  </a:lnTo>
                  <a:lnTo>
                    <a:pt x="1903" y="669"/>
                  </a:lnTo>
                  <a:lnTo>
                    <a:pt x="1893" y="658"/>
                  </a:lnTo>
                  <a:lnTo>
                    <a:pt x="1893" y="648"/>
                  </a:lnTo>
                  <a:lnTo>
                    <a:pt x="1893" y="638"/>
                  </a:lnTo>
                  <a:lnTo>
                    <a:pt x="1893" y="628"/>
                  </a:lnTo>
                  <a:lnTo>
                    <a:pt x="1913" y="618"/>
                  </a:lnTo>
                  <a:lnTo>
                    <a:pt x="1923" y="618"/>
                  </a:lnTo>
                  <a:lnTo>
                    <a:pt x="1923" y="608"/>
                  </a:lnTo>
                  <a:lnTo>
                    <a:pt x="1923" y="598"/>
                  </a:lnTo>
                  <a:lnTo>
                    <a:pt x="1913" y="588"/>
                  </a:lnTo>
                  <a:lnTo>
                    <a:pt x="1893" y="577"/>
                  </a:lnTo>
                  <a:lnTo>
                    <a:pt x="1883" y="577"/>
                  </a:lnTo>
                  <a:lnTo>
                    <a:pt x="1872" y="567"/>
                  </a:lnTo>
                  <a:lnTo>
                    <a:pt x="1862" y="577"/>
                  </a:lnTo>
                  <a:lnTo>
                    <a:pt x="1842" y="588"/>
                  </a:lnTo>
                  <a:lnTo>
                    <a:pt x="1822" y="598"/>
                  </a:lnTo>
                  <a:lnTo>
                    <a:pt x="1802" y="608"/>
                  </a:lnTo>
                  <a:lnTo>
                    <a:pt x="1792" y="608"/>
                  </a:lnTo>
                  <a:lnTo>
                    <a:pt x="1781" y="608"/>
                  </a:lnTo>
                  <a:lnTo>
                    <a:pt x="1771" y="608"/>
                  </a:lnTo>
                  <a:lnTo>
                    <a:pt x="1771" y="598"/>
                  </a:lnTo>
                  <a:lnTo>
                    <a:pt x="1771" y="588"/>
                  </a:lnTo>
                  <a:lnTo>
                    <a:pt x="1771" y="577"/>
                  </a:lnTo>
                  <a:lnTo>
                    <a:pt x="1761" y="577"/>
                  </a:lnTo>
                  <a:lnTo>
                    <a:pt x="1751" y="577"/>
                  </a:lnTo>
                  <a:lnTo>
                    <a:pt x="1741" y="588"/>
                  </a:lnTo>
                  <a:lnTo>
                    <a:pt x="1731" y="588"/>
                  </a:lnTo>
                  <a:lnTo>
                    <a:pt x="1721" y="588"/>
                  </a:lnTo>
                  <a:lnTo>
                    <a:pt x="1721" y="598"/>
                  </a:lnTo>
                  <a:lnTo>
                    <a:pt x="1721" y="608"/>
                  </a:lnTo>
                  <a:lnTo>
                    <a:pt x="1721" y="618"/>
                  </a:lnTo>
                  <a:lnTo>
                    <a:pt x="1731" y="618"/>
                  </a:lnTo>
                  <a:lnTo>
                    <a:pt x="1731" y="628"/>
                  </a:lnTo>
                  <a:lnTo>
                    <a:pt x="1731" y="648"/>
                  </a:lnTo>
                  <a:lnTo>
                    <a:pt x="1731" y="658"/>
                  </a:lnTo>
                  <a:lnTo>
                    <a:pt x="1731" y="669"/>
                  </a:lnTo>
                  <a:lnTo>
                    <a:pt x="1731" y="679"/>
                  </a:lnTo>
                  <a:lnTo>
                    <a:pt x="1721" y="679"/>
                  </a:lnTo>
                  <a:lnTo>
                    <a:pt x="1711" y="689"/>
                  </a:lnTo>
                  <a:lnTo>
                    <a:pt x="1700" y="699"/>
                  </a:lnTo>
                  <a:lnTo>
                    <a:pt x="1690" y="699"/>
                  </a:lnTo>
                  <a:lnTo>
                    <a:pt x="1680" y="699"/>
                  </a:lnTo>
                  <a:lnTo>
                    <a:pt x="1670" y="699"/>
                  </a:lnTo>
                  <a:lnTo>
                    <a:pt x="1660" y="699"/>
                  </a:lnTo>
                  <a:lnTo>
                    <a:pt x="1650" y="699"/>
                  </a:lnTo>
                  <a:lnTo>
                    <a:pt x="1630" y="719"/>
                  </a:lnTo>
                  <a:lnTo>
                    <a:pt x="1609" y="719"/>
                  </a:lnTo>
                  <a:lnTo>
                    <a:pt x="1599" y="719"/>
                  </a:lnTo>
                  <a:lnTo>
                    <a:pt x="1589" y="709"/>
                  </a:lnTo>
                  <a:lnTo>
                    <a:pt x="1589" y="699"/>
                  </a:lnTo>
                  <a:lnTo>
                    <a:pt x="1599" y="689"/>
                  </a:lnTo>
                  <a:lnTo>
                    <a:pt x="1599" y="669"/>
                  </a:lnTo>
                  <a:lnTo>
                    <a:pt x="1609" y="658"/>
                  </a:lnTo>
                  <a:lnTo>
                    <a:pt x="1609" y="638"/>
                  </a:lnTo>
                  <a:lnTo>
                    <a:pt x="1609" y="618"/>
                  </a:lnTo>
                  <a:lnTo>
                    <a:pt x="1609" y="608"/>
                  </a:lnTo>
                  <a:lnTo>
                    <a:pt x="1599" y="608"/>
                  </a:lnTo>
                  <a:lnTo>
                    <a:pt x="1589" y="618"/>
                  </a:lnTo>
                  <a:lnTo>
                    <a:pt x="1579" y="628"/>
                  </a:lnTo>
                  <a:lnTo>
                    <a:pt x="1569" y="638"/>
                  </a:lnTo>
                  <a:lnTo>
                    <a:pt x="1549" y="669"/>
                  </a:lnTo>
                  <a:lnTo>
                    <a:pt x="1549" y="679"/>
                  </a:lnTo>
                  <a:lnTo>
                    <a:pt x="1539" y="689"/>
                  </a:lnTo>
                  <a:lnTo>
                    <a:pt x="1539" y="699"/>
                  </a:lnTo>
                  <a:lnTo>
                    <a:pt x="1528" y="709"/>
                  </a:lnTo>
                  <a:lnTo>
                    <a:pt x="1518" y="719"/>
                  </a:lnTo>
                  <a:lnTo>
                    <a:pt x="1508" y="719"/>
                  </a:lnTo>
                  <a:lnTo>
                    <a:pt x="1498" y="719"/>
                  </a:lnTo>
                  <a:lnTo>
                    <a:pt x="1488" y="719"/>
                  </a:lnTo>
                  <a:lnTo>
                    <a:pt x="1488" y="709"/>
                  </a:lnTo>
                  <a:lnTo>
                    <a:pt x="1478" y="699"/>
                  </a:lnTo>
                  <a:lnTo>
                    <a:pt x="1468" y="689"/>
                  </a:lnTo>
                  <a:lnTo>
                    <a:pt x="1468" y="679"/>
                  </a:lnTo>
                  <a:lnTo>
                    <a:pt x="1458" y="658"/>
                  </a:lnTo>
                  <a:lnTo>
                    <a:pt x="1458" y="648"/>
                  </a:lnTo>
                  <a:lnTo>
                    <a:pt x="1447" y="648"/>
                  </a:lnTo>
                  <a:lnTo>
                    <a:pt x="1437" y="648"/>
                  </a:lnTo>
                  <a:lnTo>
                    <a:pt x="1417" y="648"/>
                  </a:lnTo>
                  <a:lnTo>
                    <a:pt x="1407" y="658"/>
                  </a:lnTo>
                  <a:lnTo>
                    <a:pt x="1397" y="658"/>
                  </a:lnTo>
                  <a:lnTo>
                    <a:pt x="1387" y="658"/>
                  </a:lnTo>
                  <a:lnTo>
                    <a:pt x="1377" y="658"/>
                  </a:lnTo>
                  <a:lnTo>
                    <a:pt x="1377" y="648"/>
                  </a:lnTo>
                  <a:lnTo>
                    <a:pt x="1377" y="638"/>
                  </a:lnTo>
                  <a:lnTo>
                    <a:pt x="1387" y="628"/>
                  </a:lnTo>
                  <a:lnTo>
                    <a:pt x="1387" y="618"/>
                  </a:lnTo>
                  <a:lnTo>
                    <a:pt x="1387" y="608"/>
                  </a:lnTo>
                  <a:lnTo>
                    <a:pt x="1387" y="598"/>
                  </a:lnTo>
                  <a:lnTo>
                    <a:pt x="1397" y="588"/>
                  </a:lnTo>
                  <a:lnTo>
                    <a:pt x="1397" y="577"/>
                  </a:lnTo>
                  <a:lnTo>
                    <a:pt x="1407" y="567"/>
                  </a:lnTo>
                  <a:lnTo>
                    <a:pt x="1417" y="557"/>
                  </a:lnTo>
                  <a:lnTo>
                    <a:pt x="1427" y="547"/>
                  </a:lnTo>
                  <a:lnTo>
                    <a:pt x="1427" y="557"/>
                  </a:lnTo>
                  <a:lnTo>
                    <a:pt x="1437" y="557"/>
                  </a:lnTo>
                  <a:lnTo>
                    <a:pt x="1437" y="577"/>
                  </a:lnTo>
                  <a:lnTo>
                    <a:pt x="1437" y="598"/>
                  </a:lnTo>
                  <a:lnTo>
                    <a:pt x="1437" y="608"/>
                  </a:lnTo>
                  <a:lnTo>
                    <a:pt x="1447" y="608"/>
                  </a:lnTo>
                  <a:lnTo>
                    <a:pt x="1458" y="598"/>
                  </a:lnTo>
                  <a:lnTo>
                    <a:pt x="1468" y="588"/>
                  </a:lnTo>
                  <a:lnTo>
                    <a:pt x="1478" y="567"/>
                  </a:lnTo>
                  <a:lnTo>
                    <a:pt x="1488" y="557"/>
                  </a:lnTo>
                  <a:lnTo>
                    <a:pt x="1498" y="547"/>
                  </a:lnTo>
                  <a:lnTo>
                    <a:pt x="1508" y="537"/>
                  </a:lnTo>
                  <a:lnTo>
                    <a:pt x="1508" y="527"/>
                  </a:lnTo>
                  <a:lnTo>
                    <a:pt x="1518" y="506"/>
                  </a:lnTo>
                  <a:lnTo>
                    <a:pt x="1528" y="496"/>
                  </a:lnTo>
                  <a:lnTo>
                    <a:pt x="1539" y="486"/>
                  </a:lnTo>
                  <a:lnTo>
                    <a:pt x="1539" y="476"/>
                  </a:lnTo>
                  <a:lnTo>
                    <a:pt x="1539" y="466"/>
                  </a:lnTo>
                  <a:lnTo>
                    <a:pt x="1549" y="456"/>
                  </a:lnTo>
                  <a:lnTo>
                    <a:pt x="1559" y="456"/>
                  </a:lnTo>
                  <a:lnTo>
                    <a:pt x="1559" y="446"/>
                  </a:lnTo>
                  <a:lnTo>
                    <a:pt x="1569" y="446"/>
                  </a:lnTo>
                  <a:lnTo>
                    <a:pt x="1559" y="436"/>
                  </a:lnTo>
                  <a:lnTo>
                    <a:pt x="1559" y="425"/>
                  </a:lnTo>
                  <a:lnTo>
                    <a:pt x="1559" y="415"/>
                  </a:lnTo>
                  <a:lnTo>
                    <a:pt x="1549" y="415"/>
                  </a:lnTo>
                  <a:lnTo>
                    <a:pt x="1539" y="415"/>
                  </a:lnTo>
                  <a:lnTo>
                    <a:pt x="1518" y="425"/>
                  </a:lnTo>
                  <a:lnTo>
                    <a:pt x="1498" y="425"/>
                  </a:lnTo>
                  <a:lnTo>
                    <a:pt x="1478" y="425"/>
                  </a:lnTo>
                  <a:lnTo>
                    <a:pt x="1468" y="425"/>
                  </a:lnTo>
                  <a:lnTo>
                    <a:pt x="1458" y="436"/>
                  </a:lnTo>
                  <a:lnTo>
                    <a:pt x="1437" y="446"/>
                  </a:lnTo>
                  <a:lnTo>
                    <a:pt x="1417" y="456"/>
                  </a:lnTo>
                  <a:lnTo>
                    <a:pt x="1407" y="456"/>
                  </a:lnTo>
                  <a:lnTo>
                    <a:pt x="1397" y="456"/>
                  </a:lnTo>
                  <a:lnTo>
                    <a:pt x="1377" y="446"/>
                  </a:lnTo>
                  <a:lnTo>
                    <a:pt x="1377" y="436"/>
                  </a:lnTo>
                  <a:lnTo>
                    <a:pt x="1367" y="436"/>
                  </a:lnTo>
                  <a:lnTo>
                    <a:pt x="1346" y="436"/>
                  </a:lnTo>
                  <a:lnTo>
                    <a:pt x="1336" y="436"/>
                  </a:lnTo>
                  <a:lnTo>
                    <a:pt x="1326" y="425"/>
                  </a:lnTo>
                  <a:lnTo>
                    <a:pt x="1326" y="415"/>
                  </a:lnTo>
                  <a:lnTo>
                    <a:pt x="1316" y="405"/>
                  </a:lnTo>
                  <a:lnTo>
                    <a:pt x="1306" y="405"/>
                  </a:lnTo>
                  <a:lnTo>
                    <a:pt x="1296" y="405"/>
                  </a:lnTo>
                  <a:lnTo>
                    <a:pt x="1286" y="405"/>
                  </a:lnTo>
                  <a:lnTo>
                    <a:pt x="1275" y="395"/>
                  </a:lnTo>
                  <a:lnTo>
                    <a:pt x="1265" y="395"/>
                  </a:lnTo>
                  <a:lnTo>
                    <a:pt x="1245" y="385"/>
                  </a:lnTo>
                  <a:lnTo>
                    <a:pt x="1245" y="375"/>
                  </a:lnTo>
                  <a:lnTo>
                    <a:pt x="1255" y="365"/>
                  </a:lnTo>
                  <a:lnTo>
                    <a:pt x="1265" y="344"/>
                  </a:lnTo>
                  <a:lnTo>
                    <a:pt x="1255" y="334"/>
                  </a:lnTo>
                  <a:lnTo>
                    <a:pt x="1255" y="324"/>
                  </a:lnTo>
                  <a:lnTo>
                    <a:pt x="1245" y="324"/>
                  </a:lnTo>
                  <a:lnTo>
                    <a:pt x="1235" y="314"/>
                  </a:lnTo>
                  <a:lnTo>
                    <a:pt x="1225" y="304"/>
                  </a:lnTo>
                  <a:lnTo>
                    <a:pt x="1205" y="304"/>
                  </a:lnTo>
                  <a:lnTo>
                    <a:pt x="1195" y="304"/>
                  </a:lnTo>
                  <a:lnTo>
                    <a:pt x="1184" y="304"/>
                  </a:lnTo>
                  <a:lnTo>
                    <a:pt x="1174" y="304"/>
                  </a:lnTo>
                  <a:lnTo>
                    <a:pt x="1164" y="314"/>
                  </a:lnTo>
                  <a:lnTo>
                    <a:pt x="1144" y="314"/>
                  </a:lnTo>
                  <a:lnTo>
                    <a:pt x="1124" y="314"/>
                  </a:lnTo>
                  <a:lnTo>
                    <a:pt x="1114" y="304"/>
                  </a:lnTo>
                  <a:lnTo>
                    <a:pt x="1103" y="304"/>
                  </a:lnTo>
                  <a:lnTo>
                    <a:pt x="1093" y="304"/>
                  </a:lnTo>
                  <a:lnTo>
                    <a:pt x="1093" y="314"/>
                  </a:lnTo>
                  <a:lnTo>
                    <a:pt x="1083" y="314"/>
                  </a:lnTo>
                  <a:lnTo>
                    <a:pt x="1083" y="324"/>
                  </a:lnTo>
                  <a:lnTo>
                    <a:pt x="1073" y="324"/>
                  </a:lnTo>
                  <a:lnTo>
                    <a:pt x="1053" y="334"/>
                  </a:lnTo>
                  <a:lnTo>
                    <a:pt x="1043" y="324"/>
                  </a:lnTo>
                  <a:lnTo>
                    <a:pt x="1033" y="324"/>
                  </a:lnTo>
                  <a:lnTo>
                    <a:pt x="1033" y="314"/>
                  </a:lnTo>
                  <a:lnTo>
                    <a:pt x="1033" y="304"/>
                  </a:lnTo>
                  <a:lnTo>
                    <a:pt x="1033" y="284"/>
                  </a:lnTo>
                  <a:lnTo>
                    <a:pt x="1022" y="273"/>
                  </a:lnTo>
                  <a:lnTo>
                    <a:pt x="1012" y="263"/>
                  </a:lnTo>
                  <a:lnTo>
                    <a:pt x="982" y="263"/>
                  </a:lnTo>
                  <a:lnTo>
                    <a:pt x="972" y="273"/>
                  </a:lnTo>
                  <a:lnTo>
                    <a:pt x="952" y="273"/>
                  </a:lnTo>
                  <a:lnTo>
                    <a:pt x="942" y="284"/>
                  </a:lnTo>
                  <a:lnTo>
                    <a:pt x="931" y="284"/>
                  </a:lnTo>
                  <a:lnTo>
                    <a:pt x="931" y="273"/>
                  </a:lnTo>
                  <a:lnTo>
                    <a:pt x="921" y="263"/>
                  </a:lnTo>
                  <a:lnTo>
                    <a:pt x="911" y="243"/>
                  </a:lnTo>
                  <a:lnTo>
                    <a:pt x="901" y="233"/>
                  </a:lnTo>
                  <a:lnTo>
                    <a:pt x="891" y="233"/>
                  </a:lnTo>
                  <a:lnTo>
                    <a:pt x="871" y="233"/>
                  </a:lnTo>
                  <a:lnTo>
                    <a:pt x="861" y="233"/>
                  </a:lnTo>
                  <a:lnTo>
                    <a:pt x="850" y="223"/>
                  </a:lnTo>
                  <a:lnTo>
                    <a:pt x="840" y="223"/>
                  </a:lnTo>
                  <a:lnTo>
                    <a:pt x="830" y="213"/>
                  </a:lnTo>
                  <a:lnTo>
                    <a:pt x="820" y="203"/>
                  </a:lnTo>
                  <a:lnTo>
                    <a:pt x="800" y="192"/>
                  </a:lnTo>
                  <a:lnTo>
                    <a:pt x="780" y="182"/>
                  </a:lnTo>
                  <a:lnTo>
                    <a:pt x="770" y="182"/>
                  </a:lnTo>
                  <a:lnTo>
                    <a:pt x="749" y="182"/>
                  </a:lnTo>
                  <a:lnTo>
                    <a:pt x="739" y="172"/>
                  </a:lnTo>
                  <a:lnTo>
                    <a:pt x="729" y="172"/>
                  </a:lnTo>
                  <a:lnTo>
                    <a:pt x="719" y="172"/>
                  </a:lnTo>
                  <a:lnTo>
                    <a:pt x="709" y="162"/>
                  </a:lnTo>
                  <a:lnTo>
                    <a:pt x="699" y="162"/>
                  </a:lnTo>
                  <a:lnTo>
                    <a:pt x="699" y="152"/>
                  </a:lnTo>
                  <a:lnTo>
                    <a:pt x="699" y="142"/>
                  </a:lnTo>
                  <a:lnTo>
                    <a:pt x="709" y="122"/>
                  </a:lnTo>
                  <a:lnTo>
                    <a:pt x="709" y="111"/>
                  </a:lnTo>
                  <a:lnTo>
                    <a:pt x="709" y="101"/>
                  </a:lnTo>
                  <a:lnTo>
                    <a:pt x="699" y="91"/>
                  </a:lnTo>
                  <a:lnTo>
                    <a:pt x="689" y="81"/>
                  </a:lnTo>
                  <a:lnTo>
                    <a:pt x="668" y="71"/>
                  </a:lnTo>
                  <a:lnTo>
                    <a:pt x="658" y="61"/>
                  </a:lnTo>
                  <a:lnTo>
                    <a:pt x="648" y="51"/>
                  </a:lnTo>
                  <a:lnTo>
                    <a:pt x="638" y="40"/>
                  </a:lnTo>
                  <a:lnTo>
                    <a:pt x="628" y="30"/>
                  </a:lnTo>
                  <a:lnTo>
                    <a:pt x="618" y="30"/>
                  </a:lnTo>
                  <a:lnTo>
                    <a:pt x="598" y="30"/>
                  </a:lnTo>
                  <a:lnTo>
                    <a:pt x="587" y="30"/>
                  </a:lnTo>
                  <a:lnTo>
                    <a:pt x="567" y="20"/>
                  </a:lnTo>
                  <a:lnTo>
                    <a:pt x="557" y="20"/>
                  </a:lnTo>
                  <a:lnTo>
                    <a:pt x="547" y="20"/>
                  </a:lnTo>
                  <a:lnTo>
                    <a:pt x="537" y="20"/>
                  </a:lnTo>
                  <a:lnTo>
                    <a:pt x="537" y="10"/>
                  </a:lnTo>
                  <a:lnTo>
                    <a:pt x="527" y="10"/>
                  </a:lnTo>
                  <a:lnTo>
                    <a:pt x="517" y="10"/>
                  </a:lnTo>
                  <a:lnTo>
                    <a:pt x="506" y="0"/>
                  </a:lnTo>
                  <a:lnTo>
                    <a:pt x="496" y="0"/>
                  </a:lnTo>
                  <a:lnTo>
                    <a:pt x="486" y="0"/>
                  </a:lnTo>
                  <a:lnTo>
                    <a:pt x="476" y="10"/>
                  </a:lnTo>
                  <a:lnTo>
                    <a:pt x="476" y="20"/>
                  </a:lnTo>
                  <a:lnTo>
                    <a:pt x="466" y="40"/>
                  </a:lnTo>
                  <a:lnTo>
                    <a:pt x="456" y="51"/>
                  </a:lnTo>
                  <a:lnTo>
                    <a:pt x="436" y="61"/>
                  </a:lnTo>
                  <a:lnTo>
                    <a:pt x="415" y="61"/>
                  </a:lnTo>
                  <a:lnTo>
                    <a:pt x="405" y="61"/>
                  </a:lnTo>
                  <a:lnTo>
                    <a:pt x="405" y="51"/>
                  </a:lnTo>
                  <a:lnTo>
                    <a:pt x="395" y="51"/>
                  </a:lnTo>
                  <a:lnTo>
                    <a:pt x="355" y="51"/>
                  </a:lnTo>
                  <a:lnTo>
                    <a:pt x="345" y="61"/>
                  </a:lnTo>
                  <a:lnTo>
                    <a:pt x="334" y="71"/>
                  </a:lnTo>
                  <a:lnTo>
                    <a:pt x="324" y="71"/>
                  </a:lnTo>
                  <a:lnTo>
                    <a:pt x="314" y="71"/>
                  </a:lnTo>
                  <a:lnTo>
                    <a:pt x="304" y="71"/>
                  </a:lnTo>
                  <a:lnTo>
                    <a:pt x="284" y="71"/>
                  </a:lnTo>
                  <a:lnTo>
                    <a:pt x="274" y="71"/>
                  </a:lnTo>
                  <a:lnTo>
                    <a:pt x="264" y="81"/>
                  </a:lnTo>
                  <a:lnTo>
                    <a:pt x="253" y="81"/>
                  </a:lnTo>
                  <a:lnTo>
                    <a:pt x="253" y="91"/>
                  </a:lnTo>
                  <a:lnTo>
                    <a:pt x="243" y="101"/>
                  </a:lnTo>
                  <a:lnTo>
                    <a:pt x="243" y="111"/>
                  </a:lnTo>
                  <a:lnTo>
                    <a:pt x="243" y="122"/>
                  </a:lnTo>
                  <a:lnTo>
                    <a:pt x="243" y="142"/>
                  </a:lnTo>
                  <a:lnTo>
                    <a:pt x="243" y="152"/>
                  </a:lnTo>
                  <a:lnTo>
                    <a:pt x="233" y="152"/>
                  </a:lnTo>
                  <a:lnTo>
                    <a:pt x="223" y="162"/>
                  </a:lnTo>
                  <a:lnTo>
                    <a:pt x="213" y="172"/>
                  </a:lnTo>
                  <a:lnTo>
                    <a:pt x="203" y="172"/>
                  </a:lnTo>
                  <a:lnTo>
                    <a:pt x="193" y="182"/>
                  </a:lnTo>
                  <a:lnTo>
                    <a:pt x="183" y="182"/>
                  </a:lnTo>
                  <a:lnTo>
                    <a:pt x="173" y="192"/>
                  </a:lnTo>
                  <a:lnTo>
                    <a:pt x="173" y="203"/>
                  </a:lnTo>
                  <a:lnTo>
                    <a:pt x="173" y="213"/>
                  </a:lnTo>
                  <a:lnTo>
                    <a:pt x="173" y="223"/>
                  </a:lnTo>
                  <a:lnTo>
                    <a:pt x="173" y="233"/>
                  </a:lnTo>
                  <a:lnTo>
                    <a:pt x="162" y="243"/>
                  </a:lnTo>
                  <a:lnTo>
                    <a:pt x="162" y="253"/>
                  </a:lnTo>
                  <a:lnTo>
                    <a:pt x="173" y="263"/>
                  </a:lnTo>
                  <a:lnTo>
                    <a:pt x="183" y="263"/>
                  </a:lnTo>
                  <a:lnTo>
                    <a:pt x="183" y="273"/>
                  </a:lnTo>
                  <a:lnTo>
                    <a:pt x="183" y="284"/>
                  </a:lnTo>
                  <a:lnTo>
                    <a:pt x="173" y="284"/>
                  </a:lnTo>
                  <a:lnTo>
                    <a:pt x="173" y="294"/>
                  </a:lnTo>
                  <a:lnTo>
                    <a:pt x="162" y="304"/>
                  </a:lnTo>
                  <a:lnTo>
                    <a:pt x="152" y="304"/>
                  </a:lnTo>
                  <a:lnTo>
                    <a:pt x="142" y="314"/>
                  </a:lnTo>
                  <a:lnTo>
                    <a:pt x="122" y="314"/>
                  </a:lnTo>
                  <a:lnTo>
                    <a:pt x="112" y="314"/>
                  </a:lnTo>
                  <a:lnTo>
                    <a:pt x="92" y="324"/>
                  </a:lnTo>
                  <a:lnTo>
                    <a:pt x="71" y="344"/>
                  </a:lnTo>
                  <a:lnTo>
                    <a:pt x="61" y="344"/>
                  </a:lnTo>
                  <a:lnTo>
                    <a:pt x="61" y="365"/>
                  </a:lnTo>
                  <a:lnTo>
                    <a:pt x="61" y="375"/>
                  </a:lnTo>
                  <a:lnTo>
                    <a:pt x="71" y="375"/>
                  </a:lnTo>
                  <a:lnTo>
                    <a:pt x="81" y="385"/>
                  </a:lnTo>
                  <a:lnTo>
                    <a:pt x="92" y="385"/>
                  </a:lnTo>
                  <a:lnTo>
                    <a:pt x="92" y="395"/>
                  </a:lnTo>
                  <a:lnTo>
                    <a:pt x="102" y="395"/>
                  </a:lnTo>
                  <a:lnTo>
                    <a:pt x="102" y="405"/>
                  </a:lnTo>
                  <a:lnTo>
                    <a:pt x="92" y="425"/>
                  </a:lnTo>
                  <a:lnTo>
                    <a:pt x="81" y="436"/>
                  </a:lnTo>
                  <a:lnTo>
                    <a:pt x="81" y="446"/>
                  </a:lnTo>
                  <a:lnTo>
                    <a:pt x="71" y="446"/>
                  </a:lnTo>
                  <a:lnTo>
                    <a:pt x="61" y="456"/>
                  </a:lnTo>
                  <a:lnTo>
                    <a:pt x="61" y="466"/>
                  </a:lnTo>
                  <a:lnTo>
                    <a:pt x="61" y="496"/>
                  </a:lnTo>
                  <a:lnTo>
                    <a:pt x="61" y="517"/>
                  </a:lnTo>
                  <a:lnTo>
                    <a:pt x="51" y="527"/>
                  </a:lnTo>
                  <a:lnTo>
                    <a:pt x="51" y="547"/>
                  </a:lnTo>
                  <a:lnTo>
                    <a:pt x="51" y="567"/>
                  </a:lnTo>
                  <a:lnTo>
                    <a:pt x="51" y="577"/>
                  </a:lnTo>
                  <a:lnTo>
                    <a:pt x="51" y="588"/>
                  </a:lnTo>
                  <a:lnTo>
                    <a:pt x="41" y="608"/>
                  </a:lnTo>
                  <a:lnTo>
                    <a:pt x="41" y="618"/>
                  </a:lnTo>
                  <a:lnTo>
                    <a:pt x="41" y="638"/>
                  </a:lnTo>
                  <a:lnTo>
                    <a:pt x="31" y="648"/>
                  </a:lnTo>
                  <a:lnTo>
                    <a:pt x="21" y="658"/>
                  </a:lnTo>
                  <a:lnTo>
                    <a:pt x="11" y="658"/>
                  </a:lnTo>
                  <a:lnTo>
                    <a:pt x="11" y="669"/>
                  </a:lnTo>
                  <a:lnTo>
                    <a:pt x="0" y="679"/>
                  </a:lnTo>
                  <a:lnTo>
                    <a:pt x="11" y="689"/>
                  </a:lnTo>
                  <a:lnTo>
                    <a:pt x="21" y="699"/>
                  </a:lnTo>
                  <a:lnTo>
                    <a:pt x="21" y="709"/>
                  </a:lnTo>
                  <a:lnTo>
                    <a:pt x="21" y="719"/>
                  </a:lnTo>
                  <a:lnTo>
                    <a:pt x="31" y="729"/>
                  </a:lnTo>
                  <a:lnTo>
                    <a:pt x="31" y="739"/>
                  </a:lnTo>
                  <a:lnTo>
                    <a:pt x="31" y="770"/>
                  </a:lnTo>
                  <a:lnTo>
                    <a:pt x="21" y="790"/>
                  </a:lnTo>
                  <a:lnTo>
                    <a:pt x="21" y="800"/>
                  </a:lnTo>
                  <a:lnTo>
                    <a:pt x="31" y="821"/>
                  </a:lnTo>
                  <a:lnTo>
                    <a:pt x="41" y="831"/>
                  </a:lnTo>
                  <a:lnTo>
                    <a:pt x="41" y="841"/>
                  </a:lnTo>
                  <a:lnTo>
                    <a:pt x="41" y="851"/>
                  </a:lnTo>
                  <a:lnTo>
                    <a:pt x="51" y="861"/>
                  </a:lnTo>
                  <a:lnTo>
                    <a:pt x="51" y="871"/>
                  </a:lnTo>
                  <a:lnTo>
                    <a:pt x="51" y="881"/>
                  </a:lnTo>
                  <a:lnTo>
                    <a:pt x="51" y="912"/>
                  </a:lnTo>
                  <a:lnTo>
                    <a:pt x="51" y="922"/>
                  </a:lnTo>
                  <a:lnTo>
                    <a:pt x="61" y="932"/>
                  </a:lnTo>
                  <a:lnTo>
                    <a:pt x="71" y="942"/>
                  </a:lnTo>
                  <a:lnTo>
                    <a:pt x="81" y="942"/>
                  </a:lnTo>
                  <a:lnTo>
                    <a:pt x="92" y="942"/>
                  </a:lnTo>
                  <a:lnTo>
                    <a:pt x="102" y="952"/>
                  </a:lnTo>
                  <a:lnTo>
                    <a:pt x="112" y="952"/>
                  </a:lnTo>
                  <a:lnTo>
                    <a:pt x="112" y="962"/>
                  </a:lnTo>
                  <a:lnTo>
                    <a:pt x="132" y="993"/>
                  </a:lnTo>
                  <a:lnTo>
                    <a:pt x="152" y="1023"/>
                  </a:lnTo>
                  <a:lnTo>
                    <a:pt x="162" y="1043"/>
                  </a:lnTo>
                  <a:lnTo>
                    <a:pt x="173" y="1054"/>
                  </a:lnTo>
                  <a:lnTo>
                    <a:pt x="173" y="1064"/>
                  </a:lnTo>
                  <a:lnTo>
                    <a:pt x="173" y="1074"/>
                  </a:lnTo>
                  <a:lnTo>
                    <a:pt x="173" y="1094"/>
                  </a:lnTo>
                  <a:lnTo>
                    <a:pt x="183" y="1104"/>
                  </a:lnTo>
                  <a:lnTo>
                    <a:pt x="183" y="1124"/>
                  </a:lnTo>
                  <a:lnTo>
                    <a:pt x="193" y="1145"/>
                  </a:lnTo>
                  <a:lnTo>
                    <a:pt x="193" y="1165"/>
                  </a:lnTo>
                  <a:lnTo>
                    <a:pt x="193" y="1175"/>
                  </a:lnTo>
                  <a:lnTo>
                    <a:pt x="183" y="1195"/>
                  </a:lnTo>
                  <a:lnTo>
                    <a:pt x="183" y="1205"/>
                  </a:lnTo>
                  <a:lnTo>
                    <a:pt x="173" y="1216"/>
                  </a:lnTo>
                  <a:lnTo>
                    <a:pt x="173" y="1226"/>
                  </a:lnTo>
                  <a:lnTo>
                    <a:pt x="162" y="1246"/>
                  </a:lnTo>
                  <a:lnTo>
                    <a:pt x="162" y="1256"/>
                  </a:lnTo>
                  <a:lnTo>
                    <a:pt x="162" y="1276"/>
                  </a:lnTo>
                  <a:lnTo>
                    <a:pt x="162" y="1287"/>
                  </a:lnTo>
                  <a:lnTo>
                    <a:pt x="173" y="1307"/>
                  </a:lnTo>
                  <a:lnTo>
                    <a:pt x="183" y="1307"/>
                  </a:lnTo>
                  <a:lnTo>
                    <a:pt x="193" y="1317"/>
                  </a:lnTo>
                  <a:lnTo>
                    <a:pt x="193" y="1327"/>
                  </a:lnTo>
                  <a:lnTo>
                    <a:pt x="193" y="1347"/>
                  </a:lnTo>
                  <a:lnTo>
                    <a:pt x="193" y="1388"/>
                  </a:lnTo>
                  <a:lnTo>
                    <a:pt x="183" y="1408"/>
                  </a:lnTo>
                  <a:lnTo>
                    <a:pt x="183" y="1418"/>
                  </a:lnTo>
                  <a:lnTo>
                    <a:pt x="183" y="1428"/>
                  </a:lnTo>
                  <a:lnTo>
                    <a:pt x="183" y="1438"/>
                  </a:lnTo>
                  <a:lnTo>
                    <a:pt x="193" y="1449"/>
                  </a:lnTo>
                  <a:lnTo>
                    <a:pt x="203" y="1449"/>
                  </a:lnTo>
                  <a:lnTo>
                    <a:pt x="213" y="1449"/>
                  </a:lnTo>
                  <a:lnTo>
                    <a:pt x="223" y="1449"/>
                  </a:lnTo>
                  <a:lnTo>
                    <a:pt x="233" y="1459"/>
                  </a:lnTo>
                  <a:lnTo>
                    <a:pt x="243" y="1479"/>
                  </a:lnTo>
                  <a:lnTo>
                    <a:pt x="243" y="1509"/>
                  </a:lnTo>
                  <a:lnTo>
                    <a:pt x="243" y="1520"/>
                  </a:lnTo>
                  <a:lnTo>
                    <a:pt x="253" y="1540"/>
                  </a:lnTo>
                  <a:lnTo>
                    <a:pt x="253" y="1570"/>
                  </a:lnTo>
                  <a:lnTo>
                    <a:pt x="253" y="1590"/>
                  </a:lnTo>
                  <a:lnTo>
                    <a:pt x="253" y="1611"/>
                  </a:lnTo>
                  <a:lnTo>
                    <a:pt x="243" y="1621"/>
                  </a:lnTo>
                  <a:lnTo>
                    <a:pt x="243" y="1631"/>
                  </a:lnTo>
                  <a:lnTo>
                    <a:pt x="233" y="1651"/>
                  </a:lnTo>
                  <a:lnTo>
                    <a:pt x="223" y="1661"/>
                  </a:lnTo>
                  <a:lnTo>
                    <a:pt x="223" y="1671"/>
                  </a:lnTo>
                  <a:lnTo>
                    <a:pt x="223" y="1682"/>
                  </a:lnTo>
                  <a:lnTo>
                    <a:pt x="223" y="1692"/>
                  </a:lnTo>
                  <a:lnTo>
                    <a:pt x="233" y="1702"/>
                  </a:lnTo>
                  <a:lnTo>
                    <a:pt x="243" y="1712"/>
                  </a:lnTo>
                  <a:lnTo>
                    <a:pt x="253" y="1722"/>
                  </a:lnTo>
                  <a:lnTo>
                    <a:pt x="264" y="1732"/>
                  </a:lnTo>
                  <a:lnTo>
                    <a:pt x="284" y="1753"/>
                  </a:lnTo>
                  <a:lnTo>
                    <a:pt x="284" y="1763"/>
                  </a:lnTo>
                  <a:lnTo>
                    <a:pt x="284" y="1773"/>
                  </a:lnTo>
                  <a:lnTo>
                    <a:pt x="294" y="1803"/>
                  </a:lnTo>
                  <a:lnTo>
                    <a:pt x="294" y="1813"/>
                  </a:lnTo>
                  <a:lnTo>
                    <a:pt x="284" y="1823"/>
                  </a:lnTo>
                  <a:lnTo>
                    <a:pt x="284" y="1844"/>
                  </a:lnTo>
                  <a:lnTo>
                    <a:pt x="264" y="1874"/>
                  </a:lnTo>
                  <a:lnTo>
                    <a:pt x="253" y="1904"/>
                  </a:lnTo>
                  <a:lnTo>
                    <a:pt x="253" y="1925"/>
                  </a:lnTo>
                  <a:lnTo>
                    <a:pt x="253" y="1955"/>
                  </a:lnTo>
                  <a:lnTo>
                    <a:pt x="253" y="1965"/>
                  </a:lnTo>
                  <a:lnTo>
                    <a:pt x="253" y="1975"/>
                  </a:lnTo>
                  <a:lnTo>
                    <a:pt x="264" y="1986"/>
                  </a:lnTo>
                  <a:lnTo>
                    <a:pt x="274" y="1986"/>
                  </a:lnTo>
                  <a:lnTo>
                    <a:pt x="274" y="1996"/>
                  </a:lnTo>
                  <a:lnTo>
                    <a:pt x="264" y="2006"/>
                  </a:lnTo>
                  <a:lnTo>
                    <a:pt x="264" y="2016"/>
                  </a:lnTo>
                  <a:lnTo>
                    <a:pt x="274" y="2026"/>
                  </a:lnTo>
                  <a:lnTo>
                    <a:pt x="274" y="2036"/>
                  </a:lnTo>
                  <a:lnTo>
                    <a:pt x="284" y="2046"/>
                  </a:lnTo>
                  <a:lnTo>
                    <a:pt x="284" y="2067"/>
                  </a:lnTo>
                  <a:lnTo>
                    <a:pt x="284" y="2056"/>
                  </a:lnTo>
                  <a:lnTo>
                    <a:pt x="294" y="2056"/>
                  </a:lnTo>
                  <a:lnTo>
                    <a:pt x="304" y="2056"/>
                  </a:lnTo>
                  <a:lnTo>
                    <a:pt x="314" y="2067"/>
                  </a:lnTo>
                  <a:lnTo>
                    <a:pt x="314" y="2077"/>
                  </a:lnTo>
                  <a:lnTo>
                    <a:pt x="304" y="2097"/>
                  </a:lnTo>
                  <a:lnTo>
                    <a:pt x="304" y="2107"/>
                  </a:lnTo>
                  <a:lnTo>
                    <a:pt x="304" y="2117"/>
                  </a:lnTo>
                  <a:lnTo>
                    <a:pt x="304" y="2137"/>
                  </a:lnTo>
                  <a:lnTo>
                    <a:pt x="304" y="2148"/>
                  </a:lnTo>
                  <a:lnTo>
                    <a:pt x="304" y="2158"/>
                  </a:lnTo>
                  <a:lnTo>
                    <a:pt x="304" y="2168"/>
                  </a:lnTo>
                  <a:lnTo>
                    <a:pt x="294" y="2188"/>
                  </a:lnTo>
                  <a:lnTo>
                    <a:pt x="284" y="2218"/>
                  </a:lnTo>
                  <a:lnTo>
                    <a:pt x="284" y="2229"/>
                  </a:lnTo>
                  <a:lnTo>
                    <a:pt x="284" y="2249"/>
                  </a:lnTo>
                  <a:lnTo>
                    <a:pt x="284" y="2259"/>
                  </a:lnTo>
                  <a:lnTo>
                    <a:pt x="284" y="2269"/>
                  </a:lnTo>
                  <a:lnTo>
                    <a:pt x="294" y="2289"/>
                  </a:lnTo>
                  <a:lnTo>
                    <a:pt x="294" y="2300"/>
                  </a:lnTo>
                  <a:lnTo>
                    <a:pt x="294" y="2320"/>
                  </a:lnTo>
                  <a:lnTo>
                    <a:pt x="304" y="2330"/>
                  </a:lnTo>
                  <a:lnTo>
                    <a:pt x="314" y="2340"/>
                  </a:lnTo>
                  <a:lnTo>
                    <a:pt x="334" y="2360"/>
                  </a:lnTo>
                  <a:lnTo>
                    <a:pt x="345" y="2391"/>
                  </a:lnTo>
                  <a:lnTo>
                    <a:pt x="365" y="2411"/>
                  </a:lnTo>
                  <a:lnTo>
                    <a:pt x="365" y="2421"/>
                  </a:lnTo>
                  <a:lnTo>
                    <a:pt x="375" y="2431"/>
                  </a:lnTo>
                  <a:lnTo>
                    <a:pt x="385" y="2451"/>
                  </a:lnTo>
                  <a:lnTo>
                    <a:pt x="395" y="2462"/>
                  </a:lnTo>
                  <a:lnTo>
                    <a:pt x="395" y="2482"/>
                  </a:lnTo>
                  <a:lnTo>
                    <a:pt x="415" y="2512"/>
                  </a:lnTo>
                  <a:lnTo>
                    <a:pt x="436" y="2533"/>
                  </a:lnTo>
                  <a:lnTo>
                    <a:pt x="436" y="2543"/>
                  </a:lnTo>
                  <a:lnTo>
                    <a:pt x="436" y="2553"/>
                  </a:lnTo>
                  <a:lnTo>
                    <a:pt x="436" y="2573"/>
                  </a:lnTo>
                  <a:lnTo>
                    <a:pt x="446" y="2593"/>
                  </a:lnTo>
                  <a:lnTo>
                    <a:pt x="446" y="2614"/>
                  </a:lnTo>
                  <a:lnTo>
                    <a:pt x="446" y="2624"/>
                  </a:lnTo>
                  <a:lnTo>
                    <a:pt x="446" y="2644"/>
                  </a:lnTo>
                  <a:lnTo>
                    <a:pt x="456" y="2664"/>
                  </a:lnTo>
                  <a:lnTo>
                    <a:pt x="466" y="2674"/>
                  </a:lnTo>
                  <a:lnTo>
                    <a:pt x="466" y="2695"/>
                  </a:lnTo>
                  <a:lnTo>
                    <a:pt x="476" y="2695"/>
                  </a:lnTo>
                  <a:lnTo>
                    <a:pt x="486" y="2705"/>
                  </a:lnTo>
                  <a:lnTo>
                    <a:pt x="496" y="2705"/>
                  </a:lnTo>
                  <a:lnTo>
                    <a:pt x="517" y="2725"/>
                  </a:lnTo>
                  <a:lnTo>
                    <a:pt x="527" y="2745"/>
                  </a:lnTo>
                  <a:lnTo>
                    <a:pt x="547" y="2755"/>
                  </a:lnTo>
                  <a:lnTo>
                    <a:pt x="547" y="2766"/>
                  </a:lnTo>
                  <a:lnTo>
                    <a:pt x="567" y="2786"/>
                  </a:lnTo>
                  <a:lnTo>
                    <a:pt x="567" y="2796"/>
                  </a:lnTo>
                  <a:lnTo>
                    <a:pt x="577" y="2796"/>
                  </a:lnTo>
                  <a:lnTo>
                    <a:pt x="587" y="2806"/>
                  </a:lnTo>
                  <a:lnTo>
                    <a:pt x="598" y="2816"/>
                  </a:lnTo>
                  <a:lnTo>
                    <a:pt x="618" y="2836"/>
                  </a:lnTo>
                  <a:lnTo>
                    <a:pt x="628" y="2847"/>
                  </a:lnTo>
                  <a:lnTo>
                    <a:pt x="638" y="2857"/>
                  </a:lnTo>
                  <a:lnTo>
                    <a:pt x="658" y="2877"/>
                  </a:lnTo>
                  <a:lnTo>
                    <a:pt x="678" y="2887"/>
                  </a:lnTo>
                  <a:lnTo>
                    <a:pt x="689" y="2887"/>
                  </a:lnTo>
                  <a:lnTo>
                    <a:pt x="699" y="2907"/>
                  </a:lnTo>
                  <a:lnTo>
                    <a:pt x="719" y="2928"/>
                  </a:lnTo>
                  <a:lnTo>
                    <a:pt x="719" y="2948"/>
                  </a:lnTo>
                  <a:lnTo>
                    <a:pt x="729" y="2958"/>
                  </a:lnTo>
                  <a:lnTo>
                    <a:pt x="739" y="2978"/>
                  </a:lnTo>
                  <a:lnTo>
                    <a:pt x="739" y="2999"/>
                  </a:lnTo>
                  <a:lnTo>
                    <a:pt x="739" y="3009"/>
                  </a:lnTo>
                  <a:lnTo>
                    <a:pt x="739" y="3029"/>
                  </a:lnTo>
                  <a:lnTo>
                    <a:pt x="749" y="3039"/>
                  </a:lnTo>
                  <a:lnTo>
                    <a:pt x="749" y="3059"/>
                  </a:lnTo>
                  <a:lnTo>
                    <a:pt x="749" y="3100"/>
                  </a:lnTo>
                  <a:lnTo>
                    <a:pt x="749" y="3130"/>
                  </a:lnTo>
                  <a:lnTo>
                    <a:pt x="749" y="3140"/>
                  </a:lnTo>
                  <a:lnTo>
                    <a:pt x="749" y="3150"/>
                  </a:lnTo>
                  <a:lnTo>
                    <a:pt x="749" y="3171"/>
                  </a:lnTo>
                  <a:lnTo>
                    <a:pt x="759" y="3171"/>
                  </a:lnTo>
                  <a:lnTo>
                    <a:pt x="770" y="3171"/>
                  </a:lnTo>
                  <a:lnTo>
                    <a:pt x="780" y="3171"/>
                  </a:lnTo>
                  <a:lnTo>
                    <a:pt x="790" y="3161"/>
                  </a:lnTo>
                  <a:lnTo>
                    <a:pt x="800" y="3161"/>
                  </a:lnTo>
                  <a:lnTo>
                    <a:pt x="810" y="3161"/>
                  </a:lnTo>
                  <a:lnTo>
                    <a:pt x="820" y="3171"/>
                  </a:lnTo>
                  <a:lnTo>
                    <a:pt x="830" y="3171"/>
                  </a:lnTo>
                  <a:lnTo>
                    <a:pt x="850" y="3171"/>
                  </a:lnTo>
                  <a:lnTo>
                    <a:pt x="850" y="3161"/>
                  </a:lnTo>
                  <a:lnTo>
                    <a:pt x="861" y="3161"/>
                  </a:lnTo>
                  <a:lnTo>
                    <a:pt x="871" y="3150"/>
                  </a:lnTo>
                  <a:lnTo>
                    <a:pt x="881" y="3150"/>
                  </a:lnTo>
                  <a:lnTo>
                    <a:pt x="891" y="3150"/>
                  </a:lnTo>
                  <a:lnTo>
                    <a:pt x="921" y="3150"/>
                  </a:lnTo>
                  <a:lnTo>
                    <a:pt x="931" y="3150"/>
                  </a:lnTo>
                  <a:lnTo>
                    <a:pt x="942" y="3150"/>
                  </a:lnTo>
                  <a:lnTo>
                    <a:pt x="952" y="3150"/>
                  </a:lnTo>
                  <a:lnTo>
                    <a:pt x="962" y="3150"/>
                  </a:lnTo>
                  <a:lnTo>
                    <a:pt x="982" y="3140"/>
                  </a:lnTo>
                  <a:lnTo>
                    <a:pt x="992" y="3140"/>
                  </a:lnTo>
                  <a:lnTo>
                    <a:pt x="1002" y="3130"/>
                  </a:lnTo>
                  <a:lnTo>
                    <a:pt x="1002" y="3120"/>
                  </a:lnTo>
                  <a:lnTo>
                    <a:pt x="1012" y="3110"/>
                  </a:lnTo>
                  <a:lnTo>
                    <a:pt x="1033" y="3090"/>
                  </a:lnTo>
                  <a:lnTo>
                    <a:pt x="1033" y="3080"/>
                  </a:lnTo>
                  <a:lnTo>
                    <a:pt x="1033" y="3069"/>
                  </a:lnTo>
                  <a:lnTo>
                    <a:pt x="1043" y="3069"/>
                  </a:lnTo>
                  <a:lnTo>
                    <a:pt x="1053" y="3059"/>
                  </a:lnTo>
                  <a:lnTo>
                    <a:pt x="1063" y="3049"/>
                  </a:lnTo>
                  <a:lnTo>
                    <a:pt x="1073" y="3039"/>
                  </a:lnTo>
                  <a:lnTo>
                    <a:pt x="1083" y="3039"/>
                  </a:lnTo>
                  <a:lnTo>
                    <a:pt x="1103" y="3039"/>
                  </a:lnTo>
                  <a:lnTo>
                    <a:pt x="1114" y="3039"/>
                  </a:lnTo>
                  <a:lnTo>
                    <a:pt x="1124" y="3049"/>
                  </a:lnTo>
                  <a:lnTo>
                    <a:pt x="1124" y="3059"/>
                  </a:lnTo>
                  <a:lnTo>
                    <a:pt x="1134" y="3069"/>
                  </a:lnTo>
                  <a:lnTo>
                    <a:pt x="1144" y="3069"/>
                  </a:lnTo>
                  <a:lnTo>
                    <a:pt x="1144" y="3059"/>
                  </a:lnTo>
                  <a:lnTo>
                    <a:pt x="1154" y="3049"/>
                  </a:lnTo>
                  <a:lnTo>
                    <a:pt x="1154" y="3039"/>
                  </a:lnTo>
                  <a:lnTo>
                    <a:pt x="1164" y="3029"/>
                  </a:lnTo>
                  <a:lnTo>
                    <a:pt x="1164" y="3019"/>
                  </a:lnTo>
                  <a:lnTo>
                    <a:pt x="1174" y="3019"/>
                  </a:lnTo>
                  <a:lnTo>
                    <a:pt x="1184" y="3009"/>
                  </a:lnTo>
                  <a:lnTo>
                    <a:pt x="1205" y="2999"/>
                  </a:lnTo>
                  <a:lnTo>
                    <a:pt x="1215" y="2999"/>
                  </a:lnTo>
                  <a:lnTo>
                    <a:pt x="1235" y="2999"/>
                  </a:lnTo>
                  <a:lnTo>
                    <a:pt x="1245" y="3009"/>
                  </a:lnTo>
                  <a:lnTo>
                    <a:pt x="1265" y="3029"/>
                  </a:lnTo>
                  <a:lnTo>
                    <a:pt x="1275" y="3029"/>
                  </a:lnTo>
                  <a:lnTo>
                    <a:pt x="1296" y="3029"/>
                  </a:lnTo>
                  <a:lnTo>
                    <a:pt x="1316" y="3009"/>
                  </a:lnTo>
                  <a:lnTo>
                    <a:pt x="1326" y="3009"/>
                  </a:lnTo>
                  <a:lnTo>
                    <a:pt x="1336" y="3009"/>
                  </a:lnTo>
                  <a:lnTo>
                    <a:pt x="1336" y="2999"/>
                  </a:lnTo>
                  <a:lnTo>
                    <a:pt x="1356" y="2999"/>
                  </a:lnTo>
                  <a:lnTo>
                    <a:pt x="1377" y="2999"/>
                  </a:lnTo>
                  <a:lnTo>
                    <a:pt x="1387" y="2999"/>
                  </a:lnTo>
                  <a:lnTo>
                    <a:pt x="1397" y="2999"/>
                  </a:lnTo>
                  <a:lnTo>
                    <a:pt x="1407" y="2999"/>
                  </a:lnTo>
                  <a:lnTo>
                    <a:pt x="1417" y="2988"/>
                  </a:lnTo>
                  <a:lnTo>
                    <a:pt x="1427" y="2988"/>
                  </a:lnTo>
                  <a:lnTo>
                    <a:pt x="1427" y="2978"/>
                  </a:lnTo>
                  <a:lnTo>
                    <a:pt x="1427" y="2968"/>
                  </a:lnTo>
                  <a:lnTo>
                    <a:pt x="1427" y="2948"/>
                  </a:lnTo>
                  <a:lnTo>
                    <a:pt x="1427" y="2938"/>
                  </a:lnTo>
                  <a:lnTo>
                    <a:pt x="1437" y="2938"/>
                  </a:lnTo>
                  <a:lnTo>
                    <a:pt x="1447" y="2917"/>
                  </a:lnTo>
                  <a:lnTo>
                    <a:pt x="1458" y="2917"/>
                  </a:lnTo>
                  <a:lnTo>
                    <a:pt x="1468" y="2907"/>
                  </a:lnTo>
                  <a:lnTo>
                    <a:pt x="1478" y="2897"/>
                  </a:lnTo>
                  <a:lnTo>
                    <a:pt x="1478" y="2877"/>
                  </a:lnTo>
                  <a:lnTo>
                    <a:pt x="1478" y="2857"/>
                  </a:lnTo>
                  <a:lnTo>
                    <a:pt x="1478" y="2847"/>
                  </a:lnTo>
                  <a:lnTo>
                    <a:pt x="1478" y="2836"/>
                  </a:lnTo>
                  <a:lnTo>
                    <a:pt x="1488" y="2836"/>
                  </a:lnTo>
                  <a:lnTo>
                    <a:pt x="1498" y="2836"/>
                  </a:lnTo>
                  <a:lnTo>
                    <a:pt x="1518" y="2836"/>
                  </a:lnTo>
                  <a:lnTo>
                    <a:pt x="1528" y="2826"/>
                  </a:lnTo>
                  <a:lnTo>
                    <a:pt x="1549" y="2826"/>
                  </a:lnTo>
                  <a:lnTo>
                    <a:pt x="1559" y="2826"/>
                  </a:lnTo>
                  <a:lnTo>
                    <a:pt x="1569" y="2826"/>
                  </a:lnTo>
                  <a:lnTo>
                    <a:pt x="1569" y="2816"/>
                  </a:lnTo>
                  <a:lnTo>
                    <a:pt x="1579" y="2806"/>
                  </a:lnTo>
                  <a:lnTo>
                    <a:pt x="1589" y="2786"/>
                  </a:lnTo>
                  <a:lnTo>
                    <a:pt x="1589" y="2776"/>
                  </a:lnTo>
                  <a:lnTo>
                    <a:pt x="1599" y="2755"/>
                  </a:lnTo>
                  <a:lnTo>
                    <a:pt x="1609" y="2745"/>
                  </a:lnTo>
                  <a:lnTo>
                    <a:pt x="1609" y="2735"/>
                  </a:lnTo>
                  <a:lnTo>
                    <a:pt x="1620" y="2735"/>
                  </a:lnTo>
                  <a:lnTo>
                    <a:pt x="1620" y="2725"/>
                  </a:lnTo>
                  <a:lnTo>
                    <a:pt x="1630" y="2725"/>
                  </a:lnTo>
                  <a:lnTo>
                    <a:pt x="1650" y="2725"/>
                  </a:lnTo>
                  <a:lnTo>
                    <a:pt x="1660" y="2715"/>
                  </a:lnTo>
                  <a:lnTo>
                    <a:pt x="1670" y="2695"/>
                  </a:lnTo>
                  <a:lnTo>
                    <a:pt x="1680" y="2674"/>
                  </a:lnTo>
                  <a:lnTo>
                    <a:pt x="1690" y="2664"/>
                  </a:lnTo>
                  <a:lnTo>
                    <a:pt x="1690" y="2654"/>
                  </a:lnTo>
                  <a:lnTo>
                    <a:pt x="1711" y="2644"/>
                  </a:lnTo>
                  <a:lnTo>
                    <a:pt x="1721" y="2634"/>
                  </a:lnTo>
                  <a:lnTo>
                    <a:pt x="1731" y="2624"/>
                  </a:lnTo>
                  <a:lnTo>
                    <a:pt x="1741" y="2614"/>
                  </a:lnTo>
                  <a:lnTo>
                    <a:pt x="1761" y="2614"/>
                  </a:lnTo>
                  <a:lnTo>
                    <a:pt x="1781" y="2603"/>
                  </a:lnTo>
                  <a:lnTo>
                    <a:pt x="1792" y="2593"/>
                  </a:lnTo>
                  <a:lnTo>
                    <a:pt x="1802" y="2583"/>
                  </a:lnTo>
                  <a:lnTo>
                    <a:pt x="1802" y="2573"/>
                  </a:lnTo>
                  <a:lnTo>
                    <a:pt x="1812" y="2563"/>
                  </a:lnTo>
                  <a:lnTo>
                    <a:pt x="1822" y="2543"/>
                  </a:lnTo>
                  <a:lnTo>
                    <a:pt x="1832" y="2533"/>
                  </a:lnTo>
                  <a:lnTo>
                    <a:pt x="1842" y="2522"/>
                  </a:lnTo>
                  <a:lnTo>
                    <a:pt x="1852" y="2512"/>
                  </a:lnTo>
                  <a:lnTo>
                    <a:pt x="1852" y="2502"/>
                  </a:lnTo>
                  <a:lnTo>
                    <a:pt x="1862" y="2492"/>
                  </a:lnTo>
                  <a:lnTo>
                    <a:pt x="1862" y="2472"/>
                  </a:lnTo>
                  <a:lnTo>
                    <a:pt x="1862" y="2462"/>
                  </a:lnTo>
                  <a:lnTo>
                    <a:pt x="1872" y="2441"/>
                  </a:lnTo>
                  <a:lnTo>
                    <a:pt x="1872" y="2421"/>
                  </a:lnTo>
                  <a:lnTo>
                    <a:pt x="1883" y="2411"/>
                  </a:lnTo>
                  <a:lnTo>
                    <a:pt x="1883" y="2401"/>
                  </a:lnTo>
                  <a:lnTo>
                    <a:pt x="1893" y="2401"/>
                  </a:lnTo>
                  <a:lnTo>
                    <a:pt x="1913" y="2391"/>
                  </a:lnTo>
                  <a:lnTo>
                    <a:pt x="1913" y="2381"/>
                  </a:lnTo>
                  <a:lnTo>
                    <a:pt x="1923" y="2381"/>
                  </a:lnTo>
                  <a:lnTo>
                    <a:pt x="1923" y="2360"/>
                  </a:lnTo>
                  <a:lnTo>
                    <a:pt x="1923" y="2350"/>
                  </a:lnTo>
                  <a:lnTo>
                    <a:pt x="1913" y="2330"/>
                  </a:lnTo>
                  <a:lnTo>
                    <a:pt x="1913" y="2320"/>
                  </a:lnTo>
                  <a:lnTo>
                    <a:pt x="1903" y="2320"/>
                  </a:lnTo>
                  <a:lnTo>
                    <a:pt x="1893" y="2310"/>
                  </a:lnTo>
                  <a:lnTo>
                    <a:pt x="1893" y="2300"/>
                  </a:lnTo>
                  <a:lnTo>
                    <a:pt x="1893" y="2289"/>
                  </a:lnTo>
                  <a:lnTo>
                    <a:pt x="1893" y="2279"/>
                  </a:lnTo>
                  <a:lnTo>
                    <a:pt x="1883" y="2269"/>
                  </a:lnTo>
                  <a:lnTo>
                    <a:pt x="1883" y="2249"/>
                  </a:lnTo>
                  <a:lnTo>
                    <a:pt x="1883" y="2239"/>
                  </a:lnTo>
                  <a:lnTo>
                    <a:pt x="1893" y="2218"/>
                  </a:lnTo>
                  <a:lnTo>
                    <a:pt x="1893" y="2208"/>
                  </a:lnTo>
                  <a:lnTo>
                    <a:pt x="1893" y="2198"/>
                  </a:lnTo>
                  <a:lnTo>
                    <a:pt x="1893" y="2188"/>
                  </a:lnTo>
                  <a:lnTo>
                    <a:pt x="1883" y="2188"/>
                  </a:lnTo>
                  <a:lnTo>
                    <a:pt x="1872" y="2178"/>
                  </a:lnTo>
                  <a:lnTo>
                    <a:pt x="1872" y="2148"/>
                  </a:lnTo>
                  <a:lnTo>
                    <a:pt x="1883" y="2127"/>
                  </a:lnTo>
                  <a:lnTo>
                    <a:pt x="1883" y="2117"/>
                  </a:lnTo>
                  <a:lnTo>
                    <a:pt x="1893" y="2097"/>
                  </a:lnTo>
                  <a:lnTo>
                    <a:pt x="1893" y="2087"/>
                  </a:lnTo>
                  <a:lnTo>
                    <a:pt x="1903" y="2056"/>
                  </a:lnTo>
                  <a:lnTo>
                    <a:pt x="1903" y="2046"/>
                  </a:lnTo>
                  <a:lnTo>
                    <a:pt x="1903" y="2026"/>
                  </a:lnTo>
                  <a:lnTo>
                    <a:pt x="1903" y="2016"/>
                  </a:lnTo>
                  <a:lnTo>
                    <a:pt x="1893" y="2016"/>
                  </a:lnTo>
                  <a:lnTo>
                    <a:pt x="1893" y="2006"/>
                  </a:lnTo>
                  <a:lnTo>
                    <a:pt x="1883" y="2006"/>
                  </a:lnTo>
                  <a:lnTo>
                    <a:pt x="1872" y="1996"/>
                  </a:lnTo>
                  <a:lnTo>
                    <a:pt x="1872" y="1986"/>
                  </a:lnTo>
                  <a:lnTo>
                    <a:pt x="1872" y="1975"/>
                  </a:lnTo>
                  <a:lnTo>
                    <a:pt x="1862" y="1965"/>
                  </a:lnTo>
                  <a:lnTo>
                    <a:pt x="1852" y="1955"/>
                  </a:lnTo>
                  <a:lnTo>
                    <a:pt x="1852" y="1945"/>
                  </a:lnTo>
                  <a:lnTo>
                    <a:pt x="1842" y="1925"/>
                  </a:lnTo>
                  <a:lnTo>
                    <a:pt x="1832" y="1915"/>
                  </a:lnTo>
                  <a:lnTo>
                    <a:pt x="1822" y="1904"/>
                  </a:lnTo>
                  <a:lnTo>
                    <a:pt x="1822" y="1894"/>
                  </a:lnTo>
                  <a:lnTo>
                    <a:pt x="1822" y="1874"/>
                  </a:lnTo>
                  <a:lnTo>
                    <a:pt x="1832" y="1854"/>
                  </a:lnTo>
                  <a:lnTo>
                    <a:pt x="1832" y="1844"/>
                  </a:lnTo>
                  <a:lnTo>
                    <a:pt x="1842" y="1834"/>
                  </a:lnTo>
                  <a:lnTo>
                    <a:pt x="1842" y="1823"/>
                  </a:lnTo>
                  <a:lnTo>
                    <a:pt x="1842" y="1813"/>
                  </a:lnTo>
                  <a:lnTo>
                    <a:pt x="1852" y="1803"/>
                  </a:lnTo>
                  <a:lnTo>
                    <a:pt x="1862" y="1803"/>
                  </a:lnTo>
                  <a:lnTo>
                    <a:pt x="1883" y="1793"/>
                  </a:lnTo>
                  <a:lnTo>
                    <a:pt x="1893" y="1783"/>
                  </a:lnTo>
                  <a:lnTo>
                    <a:pt x="1893" y="1773"/>
                  </a:lnTo>
                  <a:lnTo>
                    <a:pt x="1893" y="1763"/>
                  </a:lnTo>
                  <a:lnTo>
                    <a:pt x="1883" y="1753"/>
                  </a:lnTo>
                  <a:lnTo>
                    <a:pt x="1872" y="1742"/>
                  </a:lnTo>
                  <a:lnTo>
                    <a:pt x="1862" y="1742"/>
                  </a:lnTo>
                  <a:lnTo>
                    <a:pt x="1852" y="1732"/>
                  </a:lnTo>
                  <a:lnTo>
                    <a:pt x="1842" y="1732"/>
                  </a:lnTo>
                  <a:lnTo>
                    <a:pt x="1822" y="1732"/>
                  </a:lnTo>
                  <a:lnTo>
                    <a:pt x="1812" y="1732"/>
                  </a:lnTo>
                  <a:lnTo>
                    <a:pt x="1792" y="1722"/>
                  </a:lnTo>
                  <a:lnTo>
                    <a:pt x="1792" y="1712"/>
                  </a:lnTo>
                  <a:lnTo>
                    <a:pt x="1781" y="1712"/>
                  </a:lnTo>
                  <a:lnTo>
                    <a:pt x="1771" y="1712"/>
                  </a:lnTo>
                  <a:lnTo>
                    <a:pt x="1771" y="1702"/>
                  </a:lnTo>
                  <a:lnTo>
                    <a:pt x="1761" y="1692"/>
                  </a:lnTo>
                  <a:lnTo>
                    <a:pt x="1771" y="1671"/>
                  </a:lnTo>
                  <a:lnTo>
                    <a:pt x="1771" y="1651"/>
                  </a:lnTo>
                  <a:lnTo>
                    <a:pt x="1771" y="1641"/>
                  </a:lnTo>
                  <a:lnTo>
                    <a:pt x="1792" y="1631"/>
                  </a:lnTo>
                  <a:lnTo>
                    <a:pt x="1792" y="1621"/>
                  </a:lnTo>
                  <a:lnTo>
                    <a:pt x="1792" y="1611"/>
                  </a:lnTo>
                  <a:lnTo>
                    <a:pt x="1781" y="1601"/>
                  </a:lnTo>
                  <a:lnTo>
                    <a:pt x="1761" y="1601"/>
                  </a:lnTo>
                  <a:lnTo>
                    <a:pt x="1741" y="1601"/>
                  </a:lnTo>
                  <a:lnTo>
                    <a:pt x="1731" y="1601"/>
                  </a:lnTo>
                  <a:lnTo>
                    <a:pt x="1731" y="1590"/>
                  </a:lnTo>
                  <a:lnTo>
                    <a:pt x="1721" y="1570"/>
                  </a:lnTo>
                  <a:lnTo>
                    <a:pt x="1721" y="1550"/>
                  </a:lnTo>
                  <a:lnTo>
                    <a:pt x="1721" y="1540"/>
                  </a:lnTo>
                  <a:lnTo>
                    <a:pt x="1711" y="1530"/>
                  </a:lnTo>
                  <a:lnTo>
                    <a:pt x="1711" y="1520"/>
                  </a:lnTo>
                  <a:lnTo>
                    <a:pt x="1711" y="1509"/>
                  </a:lnTo>
                  <a:lnTo>
                    <a:pt x="1700" y="1479"/>
                  </a:lnTo>
                  <a:lnTo>
                    <a:pt x="1700" y="1459"/>
                  </a:lnTo>
                  <a:lnTo>
                    <a:pt x="1711" y="1449"/>
                  </a:lnTo>
                  <a:lnTo>
                    <a:pt x="1731" y="1438"/>
                  </a:lnTo>
                  <a:lnTo>
                    <a:pt x="1731" y="1428"/>
                  </a:lnTo>
                  <a:lnTo>
                    <a:pt x="1731" y="1418"/>
                  </a:lnTo>
                  <a:lnTo>
                    <a:pt x="1721" y="1408"/>
                  </a:lnTo>
                  <a:lnTo>
                    <a:pt x="1721" y="1398"/>
                  </a:lnTo>
                  <a:lnTo>
                    <a:pt x="1711" y="1398"/>
                  </a:lnTo>
                  <a:lnTo>
                    <a:pt x="1700" y="1388"/>
                  </a:lnTo>
                  <a:lnTo>
                    <a:pt x="1690" y="1388"/>
                  </a:lnTo>
                  <a:lnTo>
                    <a:pt x="1680" y="1378"/>
                  </a:lnTo>
                  <a:lnTo>
                    <a:pt x="1670" y="1368"/>
                  </a:lnTo>
                  <a:lnTo>
                    <a:pt x="1670" y="1357"/>
                  </a:lnTo>
                  <a:lnTo>
                    <a:pt x="1660" y="1347"/>
                  </a:lnTo>
                  <a:lnTo>
                    <a:pt x="1650" y="1337"/>
                  </a:lnTo>
                  <a:lnTo>
                    <a:pt x="1640" y="1327"/>
                  </a:lnTo>
                  <a:lnTo>
                    <a:pt x="1640" y="1317"/>
                  </a:lnTo>
                  <a:lnTo>
                    <a:pt x="1640" y="1297"/>
                  </a:lnTo>
                  <a:lnTo>
                    <a:pt x="1650" y="1287"/>
                  </a:lnTo>
                  <a:lnTo>
                    <a:pt x="1650" y="1276"/>
                  </a:lnTo>
                  <a:lnTo>
                    <a:pt x="1660" y="1266"/>
                  </a:lnTo>
                  <a:lnTo>
                    <a:pt x="1670" y="1256"/>
                  </a:lnTo>
                  <a:lnTo>
                    <a:pt x="1690" y="1246"/>
                  </a:lnTo>
                  <a:lnTo>
                    <a:pt x="1700" y="1236"/>
                  </a:lnTo>
                  <a:lnTo>
                    <a:pt x="1700" y="1226"/>
                  </a:lnTo>
                  <a:lnTo>
                    <a:pt x="1711" y="1216"/>
                  </a:lnTo>
                  <a:lnTo>
                    <a:pt x="1711" y="1205"/>
                  </a:lnTo>
                  <a:lnTo>
                    <a:pt x="1721" y="1195"/>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426" name="Freeform 20">
              <a:extLst>
                <a:ext uri="{FF2B5EF4-FFF2-40B4-BE49-F238E27FC236}">
                  <a16:creationId xmlns:a16="http://schemas.microsoft.com/office/drawing/2014/main" id="{48BA040A-D75F-4E44-8EF1-0C784CA9B088}"/>
                </a:ext>
              </a:extLst>
            </p:cNvPr>
            <p:cNvSpPr>
              <a:spLocks noChangeAspect="1"/>
            </p:cNvSpPr>
            <p:nvPr/>
          </p:nvSpPr>
          <p:spPr bwMode="auto">
            <a:xfrm>
              <a:off x="5746753" y="2501907"/>
              <a:ext cx="763588" cy="461965"/>
            </a:xfrm>
            <a:custGeom>
              <a:avLst/>
              <a:gdLst>
                <a:gd name="T0" fmla="*/ 425 w 738"/>
                <a:gd name="T1" fmla="*/ 294 h 446"/>
                <a:gd name="T2" fmla="*/ 445 w 738"/>
                <a:gd name="T3" fmla="*/ 274 h 446"/>
                <a:gd name="T4" fmla="*/ 465 w 738"/>
                <a:gd name="T5" fmla="*/ 254 h 446"/>
                <a:gd name="T6" fmla="*/ 475 w 738"/>
                <a:gd name="T7" fmla="*/ 233 h 446"/>
                <a:gd name="T8" fmla="*/ 506 w 738"/>
                <a:gd name="T9" fmla="*/ 223 h 446"/>
                <a:gd name="T10" fmla="*/ 536 w 738"/>
                <a:gd name="T11" fmla="*/ 213 h 446"/>
                <a:gd name="T12" fmla="*/ 566 w 738"/>
                <a:gd name="T13" fmla="*/ 193 h 446"/>
                <a:gd name="T14" fmla="*/ 587 w 738"/>
                <a:gd name="T15" fmla="*/ 172 h 446"/>
                <a:gd name="T16" fmla="*/ 617 w 738"/>
                <a:gd name="T17" fmla="*/ 183 h 446"/>
                <a:gd name="T18" fmla="*/ 647 w 738"/>
                <a:gd name="T19" fmla="*/ 162 h 446"/>
                <a:gd name="T20" fmla="*/ 668 w 738"/>
                <a:gd name="T21" fmla="*/ 162 h 446"/>
                <a:gd name="T22" fmla="*/ 688 w 738"/>
                <a:gd name="T23" fmla="*/ 152 h 446"/>
                <a:gd name="T24" fmla="*/ 708 w 738"/>
                <a:gd name="T25" fmla="*/ 122 h 446"/>
                <a:gd name="T26" fmla="*/ 738 w 738"/>
                <a:gd name="T27" fmla="*/ 102 h 446"/>
                <a:gd name="T28" fmla="*/ 708 w 738"/>
                <a:gd name="T29" fmla="*/ 102 h 446"/>
                <a:gd name="T30" fmla="*/ 698 w 738"/>
                <a:gd name="T31" fmla="*/ 91 h 446"/>
                <a:gd name="T32" fmla="*/ 698 w 738"/>
                <a:gd name="T33" fmla="*/ 71 h 446"/>
                <a:gd name="T34" fmla="*/ 698 w 738"/>
                <a:gd name="T35" fmla="*/ 61 h 446"/>
                <a:gd name="T36" fmla="*/ 688 w 738"/>
                <a:gd name="T37" fmla="*/ 41 h 446"/>
                <a:gd name="T38" fmla="*/ 688 w 738"/>
                <a:gd name="T39" fmla="*/ 21 h 446"/>
                <a:gd name="T40" fmla="*/ 678 w 738"/>
                <a:gd name="T41" fmla="*/ 10 h 446"/>
                <a:gd name="T42" fmla="*/ 647 w 738"/>
                <a:gd name="T43" fmla="*/ 0 h 446"/>
                <a:gd name="T44" fmla="*/ 627 w 738"/>
                <a:gd name="T45" fmla="*/ 21 h 446"/>
                <a:gd name="T46" fmla="*/ 607 w 738"/>
                <a:gd name="T47" fmla="*/ 51 h 446"/>
                <a:gd name="T48" fmla="*/ 546 w 738"/>
                <a:gd name="T49" fmla="*/ 61 h 446"/>
                <a:gd name="T50" fmla="*/ 526 w 738"/>
                <a:gd name="T51" fmla="*/ 71 h 446"/>
                <a:gd name="T52" fmla="*/ 516 w 738"/>
                <a:gd name="T53" fmla="*/ 91 h 446"/>
                <a:gd name="T54" fmla="*/ 455 w 738"/>
                <a:gd name="T55" fmla="*/ 91 h 446"/>
                <a:gd name="T56" fmla="*/ 415 w 738"/>
                <a:gd name="T57" fmla="*/ 122 h 446"/>
                <a:gd name="T58" fmla="*/ 404 w 738"/>
                <a:gd name="T59" fmla="*/ 142 h 446"/>
                <a:gd name="T60" fmla="*/ 384 w 738"/>
                <a:gd name="T61" fmla="*/ 132 h 446"/>
                <a:gd name="T62" fmla="*/ 374 w 738"/>
                <a:gd name="T63" fmla="*/ 122 h 446"/>
                <a:gd name="T64" fmla="*/ 364 w 738"/>
                <a:gd name="T65" fmla="*/ 142 h 446"/>
                <a:gd name="T66" fmla="*/ 344 w 738"/>
                <a:gd name="T67" fmla="*/ 162 h 446"/>
                <a:gd name="T68" fmla="*/ 313 w 738"/>
                <a:gd name="T69" fmla="*/ 183 h 446"/>
                <a:gd name="T70" fmla="*/ 283 w 738"/>
                <a:gd name="T71" fmla="*/ 213 h 446"/>
                <a:gd name="T72" fmla="*/ 222 w 738"/>
                <a:gd name="T73" fmla="*/ 223 h 446"/>
                <a:gd name="T74" fmla="*/ 182 w 738"/>
                <a:gd name="T75" fmla="*/ 223 h 446"/>
                <a:gd name="T76" fmla="*/ 162 w 738"/>
                <a:gd name="T77" fmla="*/ 243 h 446"/>
                <a:gd name="T78" fmla="*/ 151 w 738"/>
                <a:gd name="T79" fmla="*/ 274 h 446"/>
                <a:gd name="T80" fmla="*/ 121 w 738"/>
                <a:gd name="T81" fmla="*/ 284 h 446"/>
                <a:gd name="T82" fmla="*/ 71 w 738"/>
                <a:gd name="T83" fmla="*/ 284 h 446"/>
                <a:gd name="T84" fmla="*/ 50 w 738"/>
                <a:gd name="T85" fmla="*/ 294 h 446"/>
                <a:gd name="T86" fmla="*/ 40 w 738"/>
                <a:gd name="T87" fmla="*/ 324 h 446"/>
                <a:gd name="T88" fmla="*/ 30 w 738"/>
                <a:gd name="T89" fmla="*/ 335 h 446"/>
                <a:gd name="T90" fmla="*/ 0 w 738"/>
                <a:gd name="T91" fmla="*/ 345 h 446"/>
                <a:gd name="T92" fmla="*/ 10 w 738"/>
                <a:gd name="T93" fmla="*/ 365 h 446"/>
                <a:gd name="T94" fmla="*/ 20 w 738"/>
                <a:gd name="T95" fmla="*/ 385 h 446"/>
                <a:gd name="T96" fmla="*/ 10 w 738"/>
                <a:gd name="T97" fmla="*/ 405 h 446"/>
                <a:gd name="T98" fmla="*/ 0 w 738"/>
                <a:gd name="T99" fmla="*/ 446 h 446"/>
                <a:gd name="T100" fmla="*/ 30 w 738"/>
                <a:gd name="T101" fmla="*/ 436 h 446"/>
                <a:gd name="T102" fmla="*/ 50 w 738"/>
                <a:gd name="T103" fmla="*/ 405 h 446"/>
                <a:gd name="T104" fmla="*/ 81 w 738"/>
                <a:gd name="T105" fmla="*/ 405 h 446"/>
                <a:gd name="T106" fmla="*/ 111 w 738"/>
                <a:gd name="T107" fmla="*/ 405 h 446"/>
                <a:gd name="T108" fmla="*/ 141 w 738"/>
                <a:gd name="T109" fmla="*/ 385 h 446"/>
                <a:gd name="T110" fmla="*/ 151 w 738"/>
                <a:gd name="T111" fmla="*/ 365 h 446"/>
                <a:gd name="T112" fmla="*/ 182 w 738"/>
                <a:gd name="T113" fmla="*/ 365 h 446"/>
                <a:gd name="T114" fmla="*/ 212 w 738"/>
                <a:gd name="T115" fmla="*/ 355 h 446"/>
                <a:gd name="T116" fmla="*/ 243 w 738"/>
                <a:gd name="T117" fmla="*/ 355 h 446"/>
                <a:gd name="T118" fmla="*/ 283 w 738"/>
                <a:gd name="T119" fmla="*/ 345 h 446"/>
                <a:gd name="T120" fmla="*/ 334 w 738"/>
                <a:gd name="T121" fmla="*/ 345 h 446"/>
                <a:gd name="T122" fmla="*/ 374 w 738"/>
                <a:gd name="T123" fmla="*/ 324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8" h="446">
                  <a:moveTo>
                    <a:pt x="394" y="314"/>
                  </a:moveTo>
                  <a:lnTo>
                    <a:pt x="404" y="304"/>
                  </a:lnTo>
                  <a:lnTo>
                    <a:pt x="415" y="304"/>
                  </a:lnTo>
                  <a:lnTo>
                    <a:pt x="425" y="294"/>
                  </a:lnTo>
                  <a:lnTo>
                    <a:pt x="425" y="284"/>
                  </a:lnTo>
                  <a:lnTo>
                    <a:pt x="435" y="284"/>
                  </a:lnTo>
                  <a:lnTo>
                    <a:pt x="445" y="274"/>
                  </a:lnTo>
                  <a:lnTo>
                    <a:pt x="445" y="264"/>
                  </a:lnTo>
                  <a:lnTo>
                    <a:pt x="455" y="264"/>
                  </a:lnTo>
                  <a:lnTo>
                    <a:pt x="465" y="254"/>
                  </a:lnTo>
                  <a:lnTo>
                    <a:pt x="465" y="243"/>
                  </a:lnTo>
                  <a:lnTo>
                    <a:pt x="475" y="233"/>
                  </a:lnTo>
                  <a:lnTo>
                    <a:pt x="485" y="223"/>
                  </a:lnTo>
                  <a:lnTo>
                    <a:pt x="496" y="223"/>
                  </a:lnTo>
                  <a:lnTo>
                    <a:pt x="506" y="223"/>
                  </a:lnTo>
                  <a:lnTo>
                    <a:pt x="516" y="223"/>
                  </a:lnTo>
                  <a:lnTo>
                    <a:pt x="516" y="213"/>
                  </a:lnTo>
                  <a:lnTo>
                    <a:pt x="526" y="213"/>
                  </a:lnTo>
                  <a:lnTo>
                    <a:pt x="536" y="213"/>
                  </a:lnTo>
                  <a:lnTo>
                    <a:pt x="546" y="203"/>
                  </a:lnTo>
                  <a:lnTo>
                    <a:pt x="556" y="203"/>
                  </a:lnTo>
                  <a:lnTo>
                    <a:pt x="566" y="193"/>
                  </a:lnTo>
                  <a:lnTo>
                    <a:pt x="576" y="183"/>
                  </a:lnTo>
                  <a:lnTo>
                    <a:pt x="587" y="183"/>
                  </a:lnTo>
                  <a:lnTo>
                    <a:pt x="587" y="172"/>
                  </a:lnTo>
                  <a:lnTo>
                    <a:pt x="597" y="172"/>
                  </a:lnTo>
                  <a:lnTo>
                    <a:pt x="607" y="172"/>
                  </a:lnTo>
                  <a:lnTo>
                    <a:pt x="617" y="183"/>
                  </a:lnTo>
                  <a:lnTo>
                    <a:pt x="627" y="183"/>
                  </a:lnTo>
                  <a:lnTo>
                    <a:pt x="637" y="172"/>
                  </a:lnTo>
                  <a:lnTo>
                    <a:pt x="647" y="162"/>
                  </a:lnTo>
                  <a:lnTo>
                    <a:pt x="657" y="162"/>
                  </a:lnTo>
                  <a:lnTo>
                    <a:pt x="668" y="162"/>
                  </a:lnTo>
                  <a:lnTo>
                    <a:pt x="678" y="162"/>
                  </a:lnTo>
                  <a:lnTo>
                    <a:pt x="688" y="162"/>
                  </a:lnTo>
                  <a:lnTo>
                    <a:pt x="688" y="152"/>
                  </a:lnTo>
                  <a:lnTo>
                    <a:pt x="698" y="142"/>
                  </a:lnTo>
                  <a:lnTo>
                    <a:pt x="698" y="132"/>
                  </a:lnTo>
                  <a:lnTo>
                    <a:pt x="708" y="122"/>
                  </a:lnTo>
                  <a:lnTo>
                    <a:pt x="728" y="122"/>
                  </a:lnTo>
                  <a:lnTo>
                    <a:pt x="738" y="112"/>
                  </a:lnTo>
                  <a:lnTo>
                    <a:pt x="738" y="102"/>
                  </a:lnTo>
                  <a:lnTo>
                    <a:pt x="728" y="102"/>
                  </a:lnTo>
                  <a:lnTo>
                    <a:pt x="718" y="102"/>
                  </a:lnTo>
                  <a:lnTo>
                    <a:pt x="708" y="102"/>
                  </a:lnTo>
                  <a:lnTo>
                    <a:pt x="698" y="102"/>
                  </a:lnTo>
                  <a:lnTo>
                    <a:pt x="688" y="102"/>
                  </a:lnTo>
                  <a:lnTo>
                    <a:pt x="688" y="91"/>
                  </a:lnTo>
                  <a:lnTo>
                    <a:pt x="698" y="91"/>
                  </a:lnTo>
                  <a:lnTo>
                    <a:pt x="698" y="81"/>
                  </a:lnTo>
                  <a:lnTo>
                    <a:pt x="688" y="81"/>
                  </a:lnTo>
                  <a:lnTo>
                    <a:pt x="698" y="71"/>
                  </a:lnTo>
                  <a:lnTo>
                    <a:pt x="708" y="71"/>
                  </a:lnTo>
                  <a:lnTo>
                    <a:pt x="708" y="61"/>
                  </a:lnTo>
                  <a:lnTo>
                    <a:pt x="698" y="61"/>
                  </a:lnTo>
                  <a:lnTo>
                    <a:pt x="688" y="61"/>
                  </a:lnTo>
                  <a:lnTo>
                    <a:pt x="688" y="51"/>
                  </a:lnTo>
                  <a:lnTo>
                    <a:pt x="688" y="41"/>
                  </a:lnTo>
                  <a:lnTo>
                    <a:pt x="688" y="31"/>
                  </a:lnTo>
                  <a:lnTo>
                    <a:pt x="688" y="21"/>
                  </a:lnTo>
                  <a:lnTo>
                    <a:pt x="688" y="10"/>
                  </a:lnTo>
                  <a:lnTo>
                    <a:pt x="678" y="10"/>
                  </a:lnTo>
                  <a:lnTo>
                    <a:pt x="668" y="10"/>
                  </a:lnTo>
                  <a:lnTo>
                    <a:pt x="657" y="10"/>
                  </a:lnTo>
                  <a:lnTo>
                    <a:pt x="647" y="0"/>
                  </a:lnTo>
                  <a:lnTo>
                    <a:pt x="637" y="10"/>
                  </a:lnTo>
                  <a:lnTo>
                    <a:pt x="627" y="21"/>
                  </a:lnTo>
                  <a:lnTo>
                    <a:pt x="627" y="31"/>
                  </a:lnTo>
                  <a:lnTo>
                    <a:pt x="617" y="31"/>
                  </a:lnTo>
                  <a:lnTo>
                    <a:pt x="617" y="41"/>
                  </a:lnTo>
                  <a:lnTo>
                    <a:pt x="607" y="51"/>
                  </a:lnTo>
                  <a:lnTo>
                    <a:pt x="597" y="61"/>
                  </a:lnTo>
                  <a:lnTo>
                    <a:pt x="587" y="61"/>
                  </a:lnTo>
                  <a:lnTo>
                    <a:pt x="546" y="61"/>
                  </a:lnTo>
                  <a:lnTo>
                    <a:pt x="536" y="61"/>
                  </a:lnTo>
                  <a:lnTo>
                    <a:pt x="526" y="71"/>
                  </a:lnTo>
                  <a:lnTo>
                    <a:pt x="526" y="81"/>
                  </a:lnTo>
                  <a:lnTo>
                    <a:pt x="516" y="81"/>
                  </a:lnTo>
                  <a:lnTo>
                    <a:pt x="516" y="91"/>
                  </a:lnTo>
                  <a:lnTo>
                    <a:pt x="496" y="91"/>
                  </a:lnTo>
                  <a:lnTo>
                    <a:pt x="475" y="91"/>
                  </a:lnTo>
                  <a:lnTo>
                    <a:pt x="465" y="91"/>
                  </a:lnTo>
                  <a:lnTo>
                    <a:pt x="455" y="91"/>
                  </a:lnTo>
                  <a:lnTo>
                    <a:pt x="445" y="102"/>
                  </a:lnTo>
                  <a:lnTo>
                    <a:pt x="435" y="112"/>
                  </a:lnTo>
                  <a:lnTo>
                    <a:pt x="425" y="122"/>
                  </a:lnTo>
                  <a:lnTo>
                    <a:pt x="415" y="122"/>
                  </a:lnTo>
                  <a:lnTo>
                    <a:pt x="404" y="132"/>
                  </a:lnTo>
                  <a:lnTo>
                    <a:pt x="404" y="142"/>
                  </a:lnTo>
                  <a:lnTo>
                    <a:pt x="394" y="142"/>
                  </a:lnTo>
                  <a:lnTo>
                    <a:pt x="384" y="142"/>
                  </a:lnTo>
                  <a:lnTo>
                    <a:pt x="384" y="132"/>
                  </a:lnTo>
                  <a:lnTo>
                    <a:pt x="374" y="122"/>
                  </a:lnTo>
                  <a:lnTo>
                    <a:pt x="364" y="122"/>
                  </a:lnTo>
                  <a:lnTo>
                    <a:pt x="364" y="132"/>
                  </a:lnTo>
                  <a:lnTo>
                    <a:pt x="364" y="142"/>
                  </a:lnTo>
                  <a:lnTo>
                    <a:pt x="354" y="152"/>
                  </a:lnTo>
                  <a:lnTo>
                    <a:pt x="354" y="162"/>
                  </a:lnTo>
                  <a:lnTo>
                    <a:pt x="344" y="162"/>
                  </a:lnTo>
                  <a:lnTo>
                    <a:pt x="334" y="172"/>
                  </a:lnTo>
                  <a:lnTo>
                    <a:pt x="324" y="172"/>
                  </a:lnTo>
                  <a:lnTo>
                    <a:pt x="313" y="183"/>
                  </a:lnTo>
                  <a:lnTo>
                    <a:pt x="303" y="183"/>
                  </a:lnTo>
                  <a:lnTo>
                    <a:pt x="293" y="193"/>
                  </a:lnTo>
                  <a:lnTo>
                    <a:pt x="283" y="203"/>
                  </a:lnTo>
                  <a:lnTo>
                    <a:pt x="283" y="213"/>
                  </a:lnTo>
                  <a:lnTo>
                    <a:pt x="273" y="213"/>
                  </a:lnTo>
                  <a:lnTo>
                    <a:pt x="263" y="223"/>
                  </a:lnTo>
                  <a:lnTo>
                    <a:pt x="253" y="223"/>
                  </a:lnTo>
                  <a:lnTo>
                    <a:pt x="222" y="223"/>
                  </a:lnTo>
                  <a:lnTo>
                    <a:pt x="212" y="223"/>
                  </a:lnTo>
                  <a:lnTo>
                    <a:pt x="192" y="223"/>
                  </a:lnTo>
                  <a:lnTo>
                    <a:pt x="182" y="223"/>
                  </a:lnTo>
                  <a:lnTo>
                    <a:pt x="172" y="223"/>
                  </a:lnTo>
                  <a:lnTo>
                    <a:pt x="172" y="233"/>
                  </a:lnTo>
                  <a:lnTo>
                    <a:pt x="162" y="233"/>
                  </a:lnTo>
                  <a:lnTo>
                    <a:pt x="162" y="243"/>
                  </a:lnTo>
                  <a:lnTo>
                    <a:pt x="151" y="254"/>
                  </a:lnTo>
                  <a:lnTo>
                    <a:pt x="151" y="264"/>
                  </a:lnTo>
                  <a:lnTo>
                    <a:pt x="151" y="274"/>
                  </a:lnTo>
                  <a:lnTo>
                    <a:pt x="141" y="274"/>
                  </a:lnTo>
                  <a:lnTo>
                    <a:pt x="141" y="284"/>
                  </a:lnTo>
                  <a:lnTo>
                    <a:pt x="121" y="284"/>
                  </a:lnTo>
                  <a:lnTo>
                    <a:pt x="111" y="284"/>
                  </a:lnTo>
                  <a:lnTo>
                    <a:pt x="91" y="284"/>
                  </a:lnTo>
                  <a:lnTo>
                    <a:pt x="81" y="284"/>
                  </a:lnTo>
                  <a:lnTo>
                    <a:pt x="71" y="284"/>
                  </a:lnTo>
                  <a:lnTo>
                    <a:pt x="60" y="284"/>
                  </a:lnTo>
                  <a:lnTo>
                    <a:pt x="50" y="294"/>
                  </a:lnTo>
                  <a:lnTo>
                    <a:pt x="40" y="304"/>
                  </a:lnTo>
                  <a:lnTo>
                    <a:pt x="40" y="314"/>
                  </a:lnTo>
                  <a:lnTo>
                    <a:pt x="40" y="324"/>
                  </a:lnTo>
                  <a:lnTo>
                    <a:pt x="30" y="335"/>
                  </a:lnTo>
                  <a:lnTo>
                    <a:pt x="20" y="335"/>
                  </a:lnTo>
                  <a:lnTo>
                    <a:pt x="10" y="345"/>
                  </a:lnTo>
                  <a:lnTo>
                    <a:pt x="0" y="345"/>
                  </a:lnTo>
                  <a:lnTo>
                    <a:pt x="0" y="355"/>
                  </a:lnTo>
                  <a:lnTo>
                    <a:pt x="10" y="365"/>
                  </a:lnTo>
                  <a:lnTo>
                    <a:pt x="20" y="375"/>
                  </a:lnTo>
                  <a:lnTo>
                    <a:pt x="20" y="385"/>
                  </a:lnTo>
                  <a:lnTo>
                    <a:pt x="10" y="395"/>
                  </a:lnTo>
                  <a:lnTo>
                    <a:pt x="10" y="405"/>
                  </a:lnTo>
                  <a:lnTo>
                    <a:pt x="0" y="416"/>
                  </a:lnTo>
                  <a:lnTo>
                    <a:pt x="0" y="436"/>
                  </a:lnTo>
                  <a:lnTo>
                    <a:pt x="0" y="446"/>
                  </a:lnTo>
                  <a:lnTo>
                    <a:pt x="10" y="446"/>
                  </a:lnTo>
                  <a:lnTo>
                    <a:pt x="30" y="436"/>
                  </a:lnTo>
                  <a:lnTo>
                    <a:pt x="40" y="426"/>
                  </a:lnTo>
                  <a:lnTo>
                    <a:pt x="40" y="416"/>
                  </a:lnTo>
                  <a:lnTo>
                    <a:pt x="50" y="405"/>
                  </a:lnTo>
                  <a:lnTo>
                    <a:pt x="60" y="405"/>
                  </a:lnTo>
                  <a:lnTo>
                    <a:pt x="60" y="395"/>
                  </a:lnTo>
                  <a:lnTo>
                    <a:pt x="71" y="405"/>
                  </a:lnTo>
                  <a:lnTo>
                    <a:pt x="81" y="405"/>
                  </a:lnTo>
                  <a:lnTo>
                    <a:pt x="91" y="405"/>
                  </a:lnTo>
                  <a:lnTo>
                    <a:pt x="101" y="405"/>
                  </a:lnTo>
                  <a:lnTo>
                    <a:pt x="111" y="405"/>
                  </a:lnTo>
                  <a:lnTo>
                    <a:pt x="121" y="395"/>
                  </a:lnTo>
                  <a:lnTo>
                    <a:pt x="131" y="395"/>
                  </a:lnTo>
                  <a:lnTo>
                    <a:pt x="141" y="385"/>
                  </a:lnTo>
                  <a:lnTo>
                    <a:pt x="141" y="375"/>
                  </a:lnTo>
                  <a:lnTo>
                    <a:pt x="151" y="365"/>
                  </a:lnTo>
                  <a:lnTo>
                    <a:pt x="151" y="355"/>
                  </a:lnTo>
                  <a:lnTo>
                    <a:pt x="162" y="355"/>
                  </a:lnTo>
                  <a:lnTo>
                    <a:pt x="172" y="365"/>
                  </a:lnTo>
                  <a:lnTo>
                    <a:pt x="182" y="365"/>
                  </a:lnTo>
                  <a:lnTo>
                    <a:pt x="192" y="365"/>
                  </a:lnTo>
                  <a:lnTo>
                    <a:pt x="202" y="365"/>
                  </a:lnTo>
                  <a:lnTo>
                    <a:pt x="212" y="355"/>
                  </a:lnTo>
                  <a:lnTo>
                    <a:pt x="222" y="355"/>
                  </a:lnTo>
                  <a:lnTo>
                    <a:pt x="222" y="365"/>
                  </a:lnTo>
                  <a:lnTo>
                    <a:pt x="232" y="365"/>
                  </a:lnTo>
                  <a:lnTo>
                    <a:pt x="243" y="355"/>
                  </a:lnTo>
                  <a:lnTo>
                    <a:pt x="253" y="355"/>
                  </a:lnTo>
                  <a:lnTo>
                    <a:pt x="263" y="355"/>
                  </a:lnTo>
                  <a:lnTo>
                    <a:pt x="273" y="345"/>
                  </a:lnTo>
                  <a:lnTo>
                    <a:pt x="283" y="345"/>
                  </a:lnTo>
                  <a:lnTo>
                    <a:pt x="303" y="345"/>
                  </a:lnTo>
                  <a:lnTo>
                    <a:pt x="313" y="345"/>
                  </a:lnTo>
                  <a:lnTo>
                    <a:pt x="324" y="345"/>
                  </a:lnTo>
                  <a:lnTo>
                    <a:pt x="334" y="345"/>
                  </a:lnTo>
                  <a:lnTo>
                    <a:pt x="334" y="335"/>
                  </a:lnTo>
                  <a:lnTo>
                    <a:pt x="354" y="335"/>
                  </a:lnTo>
                  <a:lnTo>
                    <a:pt x="364" y="335"/>
                  </a:lnTo>
                  <a:lnTo>
                    <a:pt x="374" y="324"/>
                  </a:lnTo>
                  <a:lnTo>
                    <a:pt x="384" y="324"/>
                  </a:lnTo>
                  <a:lnTo>
                    <a:pt x="394" y="314"/>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427" name="Freeform 17">
              <a:extLst>
                <a:ext uri="{FF2B5EF4-FFF2-40B4-BE49-F238E27FC236}">
                  <a16:creationId xmlns:a16="http://schemas.microsoft.com/office/drawing/2014/main" id="{BFB24BE5-E852-41FB-9E25-8BA0A09B71D2}"/>
                </a:ext>
              </a:extLst>
            </p:cNvPr>
            <p:cNvSpPr>
              <a:spLocks noChangeAspect="1"/>
            </p:cNvSpPr>
            <p:nvPr/>
          </p:nvSpPr>
          <p:spPr bwMode="auto">
            <a:xfrm>
              <a:off x="3808414" y="5105415"/>
              <a:ext cx="1120775" cy="1133478"/>
            </a:xfrm>
            <a:custGeom>
              <a:avLst/>
              <a:gdLst>
                <a:gd name="T0" fmla="*/ 870 w 1082"/>
                <a:gd name="T1" fmla="*/ 921 h 1094"/>
                <a:gd name="T2" fmla="*/ 809 w 1082"/>
                <a:gd name="T3" fmla="*/ 952 h 1094"/>
                <a:gd name="T4" fmla="*/ 728 w 1082"/>
                <a:gd name="T5" fmla="*/ 1002 h 1094"/>
                <a:gd name="T6" fmla="*/ 678 w 1082"/>
                <a:gd name="T7" fmla="*/ 1053 h 1094"/>
                <a:gd name="T8" fmla="*/ 617 w 1082"/>
                <a:gd name="T9" fmla="*/ 1043 h 1094"/>
                <a:gd name="T10" fmla="*/ 607 w 1082"/>
                <a:gd name="T11" fmla="*/ 1084 h 1094"/>
                <a:gd name="T12" fmla="*/ 516 w 1082"/>
                <a:gd name="T13" fmla="*/ 1073 h 1094"/>
                <a:gd name="T14" fmla="*/ 465 w 1082"/>
                <a:gd name="T15" fmla="*/ 1094 h 1094"/>
                <a:gd name="T16" fmla="*/ 394 w 1082"/>
                <a:gd name="T17" fmla="*/ 1063 h 1094"/>
                <a:gd name="T18" fmla="*/ 344 w 1082"/>
                <a:gd name="T19" fmla="*/ 1063 h 1094"/>
                <a:gd name="T20" fmla="*/ 293 w 1082"/>
                <a:gd name="T21" fmla="*/ 1063 h 1094"/>
                <a:gd name="T22" fmla="*/ 253 w 1082"/>
                <a:gd name="T23" fmla="*/ 1023 h 1094"/>
                <a:gd name="T24" fmla="*/ 202 w 1082"/>
                <a:gd name="T25" fmla="*/ 972 h 1094"/>
                <a:gd name="T26" fmla="*/ 152 w 1082"/>
                <a:gd name="T27" fmla="*/ 952 h 1094"/>
                <a:gd name="T28" fmla="*/ 81 w 1082"/>
                <a:gd name="T29" fmla="*/ 881 h 1094"/>
                <a:gd name="T30" fmla="*/ 50 w 1082"/>
                <a:gd name="T31" fmla="*/ 851 h 1094"/>
                <a:gd name="T32" fmla="*/ 40 w 1082"/>
                <a:gd name="T33" fmla="*/ 800 h 1094"/>
                <a:gd name="T34" fmla="*/ 50 w 1082"/>
                <a:gd name="T35" fmla="*/ 719 h 1094"/>
                <a:gd name="T36" fmla="*/ 20 w 1082"/>
                <a:gd name="T37" fmla="*/ 658 h 1094"/>
                <a:gd name="T38" fmla="*/ 10 w 1082"/>
                <a:gd name="T39" fmla="*/ 567 h 1094"/>
                <a:gd name="T40" fmla="*/ 0 w 1082"/>
                <a:gd name="T41" fmla="*/ 506 h 1094"/>
                <a:gd name="T42" fmla="*/ 60 w 1082"/>
                <a:gd name="T43" fmla="*/ 445 h 1094"/>
                <a:gd name="T44" fmla="*/ 131 w 1082"/>
                <a:gd name="T45" fmla="*/ 395 h 1094"/>
                <a:gd name="T46" fmla="*/ 131 w 1082"/>
                <a:gd name="T47" fmla="*/ 334 h 1094"/>
                <a:gd name="T48" fmla="*/ 121 w 1082"/>
                <a:gd name="T49" fmla="*/ 263 h 1094"/>
                <a:gd name="T50" fmla="*/ 192 w 1082"/>
                <a:gd name="T51" fmla="*/ 233 h 1094"/>
                <a:gd name="T52" fmla="*/ 222 w 1082"/>
                <a:gd name="T53" fmla="*/ 182 h 1094"/>
                <a:gd name="T54" fmla="*/ 253 w 1082"/>
                <a:gd name="T55" fmla="*/ 162 h 1094"/>
                <a:gd name="T56" fmla="*/ 283 w 1082"/>
                <a:gd name="T57" fmla="*/ 121 h 1094"/>
                <a:gd name="T58" fmla="*/ 293 w 1082"/>
                <a:gd name="T59" fmla="*/ 70 h 1094"/>
                <a:gd name="T60" fmla="*/ 364 w 1082"/>
                <a:gd name="T61" fmla="*/ 20 h 1094"/>
                <a:gd name="T62" fmla="*/ 425 w 1082"/>
                <a:gd name="T63" fmla="*/ 20 h 1094"/>
                <a:gd name="T64" fmla="*/ 465 w 1082"/>
                <a:gd name="T65" fmla="*/ 0 h 1094"/>
                <a:gd name="T66" fmla="*/ 526 w 1082"/>
                <a:gd name="T67" fmla="*/ 40 h 1094"/>
                <a:gd name="T68" fmla="*/ 577 w 1082"/>
                <a:gd name="T69" fmla="*/ 50 h 1094"/>
                <a:gd name="T70" fmla="*/ 607 w 1082"/>
                <a:gd name="T71" fmla="*/ 91 h 1094"/>
                <a:gd name="T72" fmla="*/ 647 w 1082"/>
                <a:gd name="T73" fmla="*/ 111 h 1094"/>
                <a:gd name="T74" fmla="*/ 668 w 1082"/>
                <a:gd name="T75" fmla="*/ 121 h 1094"/>
                <a:gd name="T76" fmla="*/ 718 w 1082"/>
                <a:gd name="T77" fmla="*/ 121 h 1094"/>
                <a:gd name="T78" fmla="*/ 759 w 1082"/>
                <a:gd name="T79" fmla="*/ 162 h 1094"/>
                <a:gd name="T80" fmla="*/ 789 w 1082"/>
                <a:gd name="T81" fmla="*/ 192 h 1094"/>
                <a:gd name="T82" fmla="*/ 809 w 1082"/>
                <a:gd name="T83" fmla="*/ 253 h 1094"/>
                <a:gd name="T84" fmla="*/ 829 w 1082"/>
                <a:gd name="T85" fmla="*/ 273 h 1094"/>
                <a:gd name="T86" fmla="*/ 870 w 1082"/>
                <a:gd name="T87" fmla="*/ 324 h 1094"/>
                <a:gd name="T88" fmla="*/ 921 w 1082"/>
                <a:gd name="T89" fmla="*/ 364 h 1094"/>
                <a:gd name="T90" fmla="*/ 951 w 1082"/>
                <a:gd name="T91" fmla="*/ 405 h 1094"/>
                <a:gd name="T92" fmla="*/ 1001 w 1082"/>
                <a:gd name="T93" fmla="*/ 415 h 1094"/>
                <a:gd name="T94" fmla="*/ 1042 w 1082"/>
                <a:gd name="T95" fmla="*/ 476 h 1094"/>
                <a:gd name="T96" fmla="*/ 1082 w 1082"/>
                <a:gd name="T97" fmla="*/ 567 h 1094"/>
                <a:gd name="T98" fmla="*/ 1072 w 1082"/>
                <a:gd name="T99" fmla="*/ 648 h 1094"/>
                <a:gd name="T100" fmla="*/ 1052 w 1082"/>
                <a:gd name="T101" fmla="*/ 729 h 1094"/>
                <a:gd name="T102" fmla="*/ 1012 w 1082"/>
                <a:gd name="T103" fmla="*/ 810 h 1094"/>
                <a:gd name="T104" fmla="*/ 981 w 1082"/>
                <a:gd name="T105" fmla="*/ 830 h 1094"/>
                <a:gd name="T106" fmla="*/ 900 w 1082"/>
                <a:gd name="T107" fmla="*/ 871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2" h="1094">
                  <a:moveTo>
                    <a:pt x="890" y="881"/>
                  </a:moveTo>
                  <a:lnTo>
                    <a:pt x="880" y="891"/>
                  </a:lnTo>
                  <a:lnTo>
                    <a:pt x="880" y="901"/>
                  </a:lnTo>
                  <a:lnTo>
                    <a:pt x="880" y="911"/>
                  </a:lnTo>
                  <a:lnTo>
                    <a:pt x="870" y="921"/>
                  </a:lnTo>
                  <a:lnTo>
                    <a:pt x="860" y="932"/>
                  </a:lnTo>
                  <a:lnTo>
                    <a:pt x="850" y="942"/>
                  </a:lnTo>
                  <a:lnTo>
                    <a:pt x="840" y="942"/>
                  </a:lnTo>
                  <a:lnTo>
                    <a:pt x="829" y="942"/>
                  </a:lnTo>
                  <a:lnTo>
                    <a:pt x="809" y="952"/>
                  </a:lnTo>
                  <a:lnTo>
                    <a:pt x="799" y="952"/>
                  </a:lnTo>
                  <a:lnTo>
                    <a:pt x="789" y="962"/>
                  </a:lnTo>
                  <a:lnTo>
                    <a:pt x="779" y="972"/>
                  </a:lnTo>
                  <a:lnTo>
                    <a:pt x="769" y="982"/>
                  </a:lnTo>
                  <a:lnTo>
                    <a:pt x="759" y="992"/>
                  </a:lnTo>
                  <a:lnTo>
                    <a:pt x="728" y="1002"/>
                  </a:lnTo>
                  <a:lnTo>
                    <a:pt x="718" y="1013"/>
                  </a:lnTo>
                  <a:lnTo>
                    <a:pt x="708" y="1023"/>
                  </a:lnTo>
                  <a:lnTo>
                    <a:pt x="698" y="1023"/>
                  </a:lnTo>
                  <a:lnTo>
                    <a:pt x="688" y="1033"/>
                  </a:lnTo>
                  <a:lnTo>
                    <a:pt x="678" y="1053"/>
                  </a:lnTo>
                  <a:lnTo>
                    <a:pt x="668" y="1053"/>
                  </a:lnTo>
                  <a:lnTo>
                    <a:pt x="657" y="1053"/>
                  </a:lnTo>
                  <a:lnTo>
                    <a:pt x="647" y="1043"/>
                  </a:lnTo>
                  <a:lnTo>
                    <a:pt x="637" y="1043"/>
                  </a:lnTo>
                  <a:lnTo>
                    <a:pt x="617" y="1043"/>
                  </a:lnTo>
                  <a:lnTo>
                    <a:pt x="607" y="1043"/>
                  </a:lnTo>
                  <a:lnTo>
                    <a:pt x="607" y="1053"/>
                  </a:lnTo>
                  <a:lnTo>
                    <a:pt x="607" y="1063"/>
                  </a:lnTo>
                  <a:lnTo>
                    <a:pt x="607" y="1073"/>
                  </a:lnTo>
                  <a:lnTo>
                    <a:pt x="607" y="1084"/>
                  </a:lnTo>
                  <a:lnTo>
                    <a:pt x="597" y="1084"/>
                  </a:lnTo>
                  <a:lnTo>
                    <a:pt x="587" y="1084"/>
                  </a:lnTo>
                  <a:lnTo>
                    <a:pt x="566" y="1073"/>
                  </a:lnTo>
                  <a:lnTo>
                    <a:pt x="546" y="1073"/>
                  </a:lnTo>
                  <a:lnTo>
                    <a:pt x="526" y="1073"/>
                  </a:lnTo>
                  <a:lnTo>
                    <a:pt x="516" y="1073"/>
                  </a:lnTo>
                  <a:lnTo>
                    <a:pt x="506" y="1073"/>
                  </a:lnTo>
                  <a:lnTo>
                    <a:pt x="496" y="1073"/>
                  </a:lnTo>
                  <a:lnTo>
                    <a:pt x="485" y="1084"/>
                  </a:lnTo>
                  <a:lnTo>
                    <a:pt x="485" y="1094"/>
                  </a:lnTo>
                  <a:lnTo>
                    <a:pt x="475" y="1094"/>
                  </a:lnTo>
                  <a:lnTo>
                    <a:pt x="465" y="1094"/>
                  </a:lnTo>
                  <a:lnTo>
                    <a:pt x="455" y="1084"/>
                  </a:lnTo>
                  <a:lnTo>
                    <a:pt x="435" y="1073"/>
                  </a:lnTo>
                  <a:lnTo>
                    <a:pt x="425" y="1063"/>
                  </a:lnTo>
                  <a:lnTo>
                    <a:pt x="415" y="1063"/>
                  </a:lnTo>
                  <a:lnTo>
                    <a:pt x="404" y="1063"/>
                  </a:lnTo>
                  <a:lnTo>
                    <a:pt x="394" y="1063"/>
                  </a:lnTo>
                  <a:lnTo>
                    <a:pt x="384" y="1063"/>
                  </a:lnTo>
                  <a:lnTo>
                    <a:pt x="384" y="1073"/>
                  </a:lnTo>
                  <a:lnTo>
                    <a:pt x="364" y="1073"/>
                  </a:lnTo>
                  <a:lnTo>
                    <a:pt x="354" y="1073"/>
                  </a:lnTo>
                  <a:lnTo>
                    <a:pt x="354" y="1063"/>
                  </a:lnTo>
                  <a:lnTo>
                    <a:pt x="344" y="1063"/>
                  </a:lnTo>
                  <a:lnTo>
                    <a:pt x="334" y="1053"/>
                  </a:lnTo>
                  <a:lnTo>
                    <a:pt x="324" y="1053"/>
                  </a:lnTo>
                  <a:lnTo>
                    <a:pt x="313" y="1053"/>
                  </a:lnTo>
                  <a:lnTo>
                    <a:pt x="303" y="1063"/>
                  </a:lnTo>
                  <a:lnTo>
                    <a:pt x="293" y="1063"/>
                  </a:lnTo>
                  <a:lnTo>
                    <a:pt x="283" y="1063"/>
                  </a:lnTo>
                  <a:lnTo>
                    <a:pt x="273" y="1063"/>
                  </a:lnTo>
                  <a:lnTo>
                    <a:pt x="263" y="1043"/>
                  </a:lnTo>
                  <a:lnTo>
                    <a:pt x="253" y="1023"/>
                  </a:lnTo>
                  <a:lnTo>
                    <a:pt x="243" y="1013"/>
                  </a:lnTo>
                  <a:lnTo>
                    <a:pt x="232" y="1002"/>
                  </a:lnTo>
                  <a:lnTo>
                    <a:pt x="222" y="992"/>
                  </a:lnTo>
                  <a:lnTo>
                    <a:pt x="212" y="992"/>
                  </a:lnTo>
                  <a:lnTo>
                    <a:pt x="212" y="982"/>
                  </a:lnTo>
                  <a:lnTo>
                    <a:pt x="202" y="972"/>
                  </a:lnTo>
                  <a:lnTo>
                    <a:pt x="192" y="962"/>
                  </a:lnTo>
                  <a:lnTo>
                    <a:pt x="182" y="962"/>
                  </a:lnTo>
                  <a:lnTo>
                    <a:pt x="172" y="962"/>
                  </a:lnTo>
                  <a:lnTo>
                    <a:pt x="162" y="962"/>
                  </a:lnTo>
                  <a:lnTo>
                    <a:pt x="152" y="952"/>
                  </a:lnTo>
                  <a:lnTo>
                    <a:pt x="131" y="942"/>
                  </a:lnTo>
                  <a:lnTo>
                    <a:pt x="101" y="921"/>
                  </a:lnTo>
                  <a:lnTo>
                    <a:pt x="91" y="921"/>
                  </a:lnTo>
                  <a:lnTo>
                    <a:pt x="91" y="911"/>
                  </a:lnTo>
                  <a:lnTo>
                    <a:pt x="91" y="901"/>
                  </a:lnTo>
                  <a:lnTo>
                    <a:pt x="81" y="881"/>
                  </a:lnTo>
                  <a:lnTo>
                    <a:pt x="81" y="871"/>
                  </a:lnTo>
                  <a:lnTo>
                    <a:pt x="81" y="861"/>
                  </a:lnTo>
                  <a:lnTo>
                    <a:pt x="71" y="861"/>
                  </a:lnTo>
                  <a:lnTo>
                    <a:pt x="60" y="861"/>
                  </a:lnTo>
                  <a:lnTo>
                    <a:pt x="50" y="861"/>
                  </a:lnTo>
                  <a:lnTo>
                    <a:pt x="50" y="851"/>
                  </a:lnTo>
                  <a:lnTo>
                    <a:pt x="40" y="840"/>
                  </a:lnTo>
                  <a:lnTo>
                    <a:pt x="40" y="830"/>
                  </a:lnTo>
                  <a:lnTo>
                    <a:pt x="40" y="820"/>
                  </a:lnTo>
                  <a:lnTo>
                    <a:pt x="30" y="820"/>
                  </a:lnTo>
                  <a:lnTo>
                    <a:pt x="40" y="810"/>
                  </a:lnTo>
                  <a:lnTo>
                    <a:pt x="40" y="800"/>
                  </a:lnTo>
                  <a:lnTo>
                    <a:pt x="50" y="790"/>
                  </a:lnTo>
                  <a:lnTo>
                    <a:pt x="60" y="769"/>
                  </a:lnTo>
                  <a:lnTo>
                    <a:pt x="60" y="759"/>
                  </a:lnTo>
                  <a:lnTo>
                    <a:pt x="60" y="729"/>
                  </a:lnTo>
                  <a:lnTo>
                    <a:pt x="50" y="719"/>
                  </a:lnTo>
                  <a:lnTo>
                    <a:pt x="40" y="719"/>
                  </a:lnTo>
                  <a:lnTo>
                    <a:pt x="30" y="709"/>
                  </a:lnTo>
                  <a:lnTo>
                    <a:pt x="20" y="688"/>
                  </a:lnTo>
                  <a:lnTo>
                    <a:pt x="20" y="678"/>
                  </a:lnTo>
                  <a:lnTo>
                    <a:pt x="20" y="658"/>
                  </a:lnTo>
                  <a:lnTo>
                    <a:pt x="20" y="638"/>
                  </a:lnTo>
                  <a:lnTo>
                    <a:pt x="10" y="628"/>
                  </a:lnTo>
                  <a:lnTo>
                    <a:pt x="10" y="607"/>
                  </a:lnTo>
                  <a:lnTo>
                    <a:pt x="10" y="597"/>
                  </a:lnTo>
                  <a:lnTo>
                    <a:pt x="10" y="577"/>
                  </a:lnTo>
                  <a:lnTo>
                    <a:pt x="10" y="567"/>
                  </a:lnTo>
                  <a:lnTo>
                    <a:pt x="0" y="557"/>
                  </a:lnTo>
                  <a:lnTo>
                    <a:pt x="0" y="547"/>
                  </a:lnTo>
                  <a:lnTo>
                    <a:pt x="0" y="536"/>
                  </a:lnTo>
                  <a:lnTo>
                    <a:pt x="0" y="516"/>
                  </a:lnTo>
                  <a:lnTo>
                    <a:pt x="0" y="506"/>
                  </a:lnTo>
                  <a:lnTo>
                    <a:pt x="0" y="496"/>
                  </a:lnTo>
                  <a:lnTo>
                    <a:pt x="10" y="476"/>
                  </a:lnTo>
                  <a:lnTo>
                    <a:pt x="20" y="466"/>
                  </a:lnTo>
                  <a:lnTo>
                    <a:pt x="40" y="466"/>
                  </a:lnTo>
                  <a:lnTo>
                    <a:pt x="50" y="455"/>
                  </a:lnTo>
                  <a:lnTo>
                    <a:pt x="60" y="445"/>
                  </a:lnTo>
                  <a:lnTo>
                    <a:pt x="81" y="435"/>
                  </a:lnTo>
                  <a:lnTo>
                    <a:pt x="111" y="415"/>
                  </a:lnTo>
                  <a:lnTo>
                    <a:pt x="121" y="415"/>
                  </a:lnTo>
                  <a:lnTo>
                    <a:pt x="121" y="405"/>
                  </a:lnTo>
                  <a:lnTo>
                    <a:pt x="131" y="395"/>
                  </a:lnTo>
                  <a:lnTo>
                    <a:pt x="131" y="385"/>
                  </a:lnTo>
                  <a:lnTo>
                    <a:pt x="131" y="374"/>
                  </a:lnTo>
                  <a:lnTo>
                    <a:pt x="131" y="364"/>
                  </a:lnTo>
                  <a:lnTo>
                    <a:pt x="131" y="354"/>
                  </a:lnTo>
                  <a:lnTo>
                    <a:pt x="131" y="344"/>
                  </a:lnTo>
                  <a:lnTo>
                    <a:pt x="131" y="334"/>
                  </a:lnTo>
                  <a:lnTo>
                    <a:pt x="131" y="314"/>
                  </a:lnTo>
                  <a:lnTo>
                    <a:pt x="131" y="303"/>
                  </a:lnTo>
                  <a:lnTo>
                    <a:pt x="121" y="293"/>
                  </a:lnTo>
                  <a:lnTo>
                    <a:pt x="121" y="283"/>
                  </a:lnTo>
                  <a:lnTo>
                    <a:pt x="121" y="263"/>
                  </a:lnTo>
                  <a:lnTo>
                    <a:pt x="121" y="253"/>
                  </a:lnTo>
                  <a:lnTo>
                    <a:pt x="121" y="243"/>
                  </a:lnTo>
                  <a:lnTo>
                    <a:pt x="121" y="233"/>
                  </a:lnTo>
                  <a:lnTo>
                    <a:pt x="131" y="233"/>
                  </a:lnTo>
                  <a:lnTo>
                    <a:pt x="141" y="233"/>
                  </a:lnTo>
                  <a:lnTo>
                    <a:pt x="192" y="233"/>
                  </a:lnTo>
                  <a:lnTo>
                    <a:pt x="212" y="233"/>
                  </a:lnTo>
                  <a:lnTo>
                    <a:pt x="222" y="222"/>
                  </a:lnTo>
                  <a:lnTo>
                    <a:pt x="222" y="202"/>
                  </a:lnTo>
                  <a:lnTo>
                    <a:pt x="232" y="192"/>
                  </a:lnTo>
                  <a:lnTo>
                    <a:pt x="222" y="182"/>
                  </a:lnTo>
                  <a:lnTo>
                    <a:pt x="222" y="172"/>
                  </a:lnTo>
                  <a:lnTo>
                    <a:pt x="232" y="172"/>
                  </a:lnTo>
                  <a:lnTo>
                    <a:pt x="243" y="162"/>
                  </a:lnTo>
                  <a:lnTo>
                    <a:pt x="253" y="162"/>
                  </a:lnTo>
                  <a:lnTo>
                    <a:pt x="263" y="152"/>
                  </a:lnTo>
                  <a:lnTo>
                    <a:pt x="273" y="152"/>
                  </a:lnTo>
                  <a:lnTo>
                    <a:pt x="283" y="141"/>
                  </a:lnTo>
                  <a:lnTo>
                    <a:pt x="283" y="121"/>
                  </a:lnTo>
                  <a:lnTo>
                    <a:pt x="283" y="101"/>
                  </a:lnTo>
                  <a:lnTo>
                    <a:pt x="273" y="91"/>
                  </a:lnTo>
                  <a:lnTo>
                    <a:pt x="273" y="81"/>
                  </a:lnTo>
                  <a:lnTo>
                    <a:pt x="283" y="70"/>
                  </a:lnTo>
                  <a:lnTo>
                    <a:pt x="293" y="70"/>
                  </a:lnTo>
                  <a:lnTo>
                    <a:pt x="313" y="60"/>
                  </a:lnTo>
                  <a:lnTo>
                    <a:pt x="334" y="50"/>
                  </a:lnTo>
                  <a:lnTo>
                    <a:pt x="344" y="30"/>
                  </a:lnTo>
                  <a:lnTo>
                    <a:pt x="354" y="20"/>
                  </a:lnTo>
                  <a:lnTo>
                    <a:pt x="364" y="20"/>
                  </a:lnTo>
                  <a:lnTo>
                    <a:pt x="384" y="30"/>
                  </a:lnTo>
                  <a:lnTo>
                    <a:pt x="394" y="30"/>
                  </a:lnTo>
                  <a:lnTo>
                    <a:pt x="404" y="30"/>
                  </a:lnTo>
                  <a:lnTo>
                    <a:pt x="415" y="20"/>
                  </a:lnTo>
                  <a:lnTo>
                    <a:pt x="425" y="20"/>
                  </a:lnTo>
                  <a:lnTo>
                    <a:pt x="435" y="10"/>
                  </a:lnTo>
                  <a:lnTo>
                    <a:pt x="445" y="10"/>
                  </a:lnTo>
                  <a:lnTo>
                    <a:pt x="445" y="0"/>
                  </a:lnTo>
                  <a:lnTo>
                    <a:pt x="455" y="0"/>
                  </a:lnTo>
                  <a:lnTo>
                    <a:pt x="465" y="0"/>
                  </a:lnTo>
                  <a:lnTo>
                    <a:pt x="475" y="10"/>
                  </a:lnTo>
                  <a:lnTo>
                    <a:pt x="485" y="20"/>
                  </a:lnTo>
                  <a:lnTo>
                    <a:pt x="496" y="30"/>
                  </a:lnTo>
                  <a:lnTo>
                    <a:pt x="506" y="40"/>
                  </a:lnTo>
                  <a:lnTo>
                    <a:pt x="526" y="40"/>
                  </a:lnTo>
                  <a:lnTo>
                    <a:pt x="546" y="40"/>
                  </a:lnTo>
                  <a:lnTo>
                    <a:pt x="556" y="40"/>
                  </a:lnTo>
                  <a:lnTo>
                    <a:pt x="566" y="50"/>
                  </a:lnTo>
                  <a:lnTo>
                    <a:pt x="577" y="50"/>
                  </a:lnTo>
                  <a:lnTo>
                    <a:pt x="587" y="60"/>
                  </a:lnTo>
                  <a:lnTo>
                    <a:pt x="597" y="70"/>
                  </a:lnTo>
                  <a:lnTo>
                    <a:pt x="607" y="81"/>
                  </a:lnTo>
                  <a:lnTo>
                    <a:pt x="607" y="91"/>
                  </a:lnTo>
                  <a:lnTo>
                    <a:pt x="617" y="91"/>
                  </a:lnTo>
                  <a:lnTo>
                    <a:pt x="627" y="101"/>
                  </a:lnTo>
                  <a:lnTo>
                    <a:pt x="627" y="111"/>
                  </a:lnTo>
                  <a:lnTo>
                    <a:pt x="637" y="111"/>
                  </a:lnTo>
                  <a:lnTo>
                    <a:pt x="647" y="111"/>
                  </a:lnTo>
                  <a:lnTo>
                    <a:pt x="657" y="101"/>
                  </a:lnTo>
                  <a:lnTo>
                    <a:pt x="657" y="111"/>
                  </a:lnTo>
                  <a:lnTo>
                    <a:pt x="668" y="111"/>
                  </a:lnTo>
                  <a:lnTo>
                    <a:pt x="668" y="121"/>
                  </a:lnTo>
                  <a:lnTo>
                    <a:pt x="678" y="121"/>
                  </a:lnTo>
                  <a:lnTo>
                    <a:pt x="688" y="121"/>
                  </a:lnTo>
                  <a:lnTo>
                    <a:pt x="698" y="121"/>
                  </a:lnTo>
                  <a:lnTo>
                    <a:pt x="708" y="121"/>
                  </a:lnTo>
                  <a:lnTo>
                    <a:pt x="718" y="121"/>
                  </a:lnTo>
                  <a:lnTo>
                    <a:pt x="728" y="131"/>
                  </a:lnTo>
                  <a:lnTo>
                    <a:pt x="728" y="152"/>
                  </a:lnTo>
                  <a:lnTo>
                    <a:pt x="738" y="152"/>
                  </a:lnTo>
                  <a:lnTo>
                    <a:pt x="749" y="162"/>
                  </a:lnTo>
                  <a:lnTo>
                    <a:pt x="759" y="162"/>
                  </a:lnTo>
                  <a:lnTo>
                    <a:pt x="779" y="162"/>
                  </a:lnTo>
                  <a:lnTo>
                    <a:pt x="789" y="162"/>
                  </a:lnTo>
                  <a:lnTo>
                    <a:pt x="789" y="172"/>
                  </a:lnTo>
                  <a:lnTo>
                    <a:pt x="789" y="192"/>
                  </a:lnTo>
                  <a:lnTo>
                    <a:pt x="799" y="192"/>
                  </a:lnTo>
                  <a:lnTo>
                    <a:pt x="809" y="202"/>
                  </a:lnTo>
                  <a:lnTo>
                    <a:pt x="819" y="202"/>
                  </a:lnTo>
                  <a:lnTo>
                    <a:pt x="819" y="222"/>
                  </a:lnTo>
                  <a:lnTo>
                    <a:pt x="819" y="233"/>
                  </a:lnTo>
                  <a:lnTo>
                    <a:pt x="809" y="253"/>
                  </a:lnTo>
                  <a:lnTo>
                    <a:pt x="809" y="263"/>
                  </a:lnTo>
                  <a:lnTo>
                    <a:pt x="819" y="263"/>
                  </a:lnTo>
                  <a:lnTo>
                    <a:pt x="819" y="273"/>
                  </a:lnTo>
                  <a:lnTo>
                    <a:pt x="829" y="273"/>
                  </a:lnTo>
                  <a:lnTo>
                    <a:pt x="829" y="283"/>
                  </a:lnTo>
                  <a:lnTo>
                    <a:pt x="840" y="283"/>
                  </a:lnTo>
                  <a:lnTo>
                    <a:pt x="850" y="293"/>
                  </a:lnTo>
                  <a:lnTo>
                    <a:pt x="860" y="303"/>
                  </a:lnTo>
                  <a:lnTo>
                    <a:pt x="870" y="314"/>
                  </a:lnTo>
                  <a:lnTo>
                    <a:pt x="870" y="324"/>
                  </a:lnTo>
                  <a:lnTo>
                    <a:pt x="880" y="334"/>
                  </a:lnTo>
                  <a:lnTo>
                    <a:pt x="900" y="344"/>
                  </a:lnTo>
                  <a:lnTo>
                    <a:pt x="910" y="344"/>
                  </a:lnTo>
                  <a:lnTo>
                    <a:pt x="921" y="364"/>
                  </a:lnTo>
                  <a:lnTo>
                    <a:pt x="921" y="374"/>
                  </a:lnTo>
                  <a:lnTo>
                    <a:pt x="931" y="385"/>
                  </a:lnTo>
                  <a:lnTo>
                    <a:pt x="931" y="395"/>
                  </a:lnTo>
                  <a:lnTo>
                    <a:pt x="941" y="395"/>
                  </a:lnTo>
                  <a:lnTo>
                    <a:pt x="941" y="405"/>
                  </a:lnTo>
                  <a:lnTo>
                    <a:pt x="951" y="405"/>
                  </a:lnTo>
                  <a:lnTo>
                    <a:pt x="951" y="415"/>
                  </a:lnTo>
                  <a:lnTo>
                    <a:pt x="961" y="415"/>
                  </a:lnTo>
                  <a:lnTo>
                    <a:pt x="971" y="415"/>
                  </a:lnTo>
                  <a:lnTo>
                    <a:pt x="981" y="415"/>
                  </a:lnTo>
                  <a:lnTo>
                    <a:pt x="991" y="415"/>
                  </a:lnTo>
                  <a:lnTo>
                    <a:pt x="1001" y="415"/>
                  </a:lnTo>
                  <a:lnTo>
                    <a:pt x="1001" y="425"/>
                  </a:lnTo>
                  <a:lnTo>
                    <a:pt x="1012" y="435"/>
                  </a:lnTo>
                  <a:lnTo>
                    <a:pt x="1032" y="455"/>
                  </a:lnTo>
                  <a:lnTo>
                    <a:pt x="1032" y="466"/>
                  </a:lnTo>
                  <a:lnTo>
                    <a:pt x="1042" y="476"/>
                  </a:lnTo>
                  <a:lnTo>
                    <a:pt x="1042" y="496"/>
                  </a:lnTo>
                  <a:lnTo>
                    <a:pt x="1042" y="506"/>
                  </a:lnTo>
                  <a:lnTo>
                    <a:pt x="1052" y="526"/>
                  </a:lnTo>
                  <a:lnTo>
                    <a:pt x="1062" y="547"/>
                  </a:lnTo>
                  <a:lnTo>
                    <a:pt x="1072" y="557"/>
                  </a:lnTo>
                  <a:lnTo>
                    <a:pt x="1082" y="567"/>
                  </a:lnTo>
                  <a:lnTo>
                    <a:pt x="1082" y="587"/>
                  </a:lnTo>
                  <a:lnTo>
                    <a:pt x="1082" y="607"/>
                  </a:lnTo>
                  <a:lnTo>
                    <a:pt x="1082" y="618"/>
                  </a:lnTo>
                  <a:lnTo>
                    <a:pt x="1072" y="628"/>
                  </a:lnTo>
                  <a:lnTo>
                    <a:pt x="1072" y="638"/>
                  </a:lnTo>
                  <a:lnTo>
                    <a:pt x="1072" y="648"/>
                  </a:lnTo>
                  <a:lnTo>
                    <a:pt x="1072" y="658"/>
                  </a:lnTo>
                  <a:lnTo>
                    <a:pt x="1072" y="668"/>
                  </a:lnTo>
                  <a:lnTo>
                    <a:pt x="1072" y="688"/>
                  </a:lnTo>
                  <a:lnTo>
                    <a:pt x="1062" y="699"/>
                  </a:lnTo>
                  <a:lnTo>
                    <a:pt x="1052" y="729"/>
                  </a:lnTo>
                  <a:lnTo>
                    <a:pt x="1042" y="759"/>
                  </a:lnTo>
                  <a:lnTo>
                    <a:pt x="1042" y="769"/>
                  </a:lnTo>
                  <a:lnTo>
                    <a:pt x="1032" y="780"/>
                  </a:lnTo>
                  <a:lnTo>
                    <a:pt x="1022" y="790"/>
                  </a:lnTo>
                  <a:lnTo>
                    <a:pt x="1012" y="810"/>
                  </a:lnTo>
                  <a:lnTo>
                    <a:pt x="1001" y="820"/>
                  </a:lnTo>
                  <a:lnTo>
                    <a:pt x="981" y="830"/>
                  </a:lnTo>
                  <a:lnTo>
                    <a:pt x="951" y="851"/>
                  </a:lnTo>
                  <a:lnTo>
                    <a:pt x="931" y="851"/>
                  </a:lnTo>
                  <a:lnTo>
                    <a:pt x="921" y="861"/>
                  </a:lnTo>
                  <a:lnTo>
                    <a:pt x="910" y="861"/>
                  </a:lnTo>
                  <a:lnTo>
                    <a:pt x="910" y="871"/>
                  </a:lnTo>
                  <a:lnTo>
                    <a:pt x="900" y="871"/>
                  </a:lnTo>
                  <a:lnTo>
                    <a:pt x="890" y="881"/>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428" name="Freeform 16">
              <a:extLst>
                <a:ext uri="{FF2B5EF4-FFF2-40B4-BE49-F238E27FC236}">
                  <a16:creationId xmlns:a16="http://schemas.microsoft.com/office/drawing/2014/main" id="{A8AE55B3-EC8B-418C-9D65-AEBF0925404F}"/>
                </a:ext>
              </a:extLst>
            </p:cNvPr>
            <p:cNvSpPr>
              <a:spLocks noChangeAspect="1"/>
            </p:cNvSpPr>
            <p:nvPr/>
          </p:nvSpPr>
          <p:spPr bwMode="auto">
            <a:xfrm>
              <a:off x="1838325" y="2460632"/>
              <a:ext cx="136526" cy="114300"/>
            </a:xfrm>
            <a:custGeom>
              <a:avLst/>
              <a:gdLst>
                <a:gd name="T0" fmla="*/ 81 w 132"/>
                <a:gd name="T1" fmla="*/ 81 h 111"/>
                <a:gd name="T2" fmla="*/ 91 w 132"/>
                <a:gd name="T3" fmla="*/ 81 h 111"/>
                <a:gd name="T4" fmla="*/ 102 w 132"/>
                <a:gd name="T5" fmla="*/ 81 h 111"/>
                <a:gd name="T6" fmla="*/ 122 w 132"/>
                <a:gd name="T7" fmla="*/ 81 h 111"/>
                <a:gd name="T8" fmla="*/ 122 w 132"/>
                <a:gd name="T9" fmla="*/ 81 h 111"/>
                <a:gd name="T10" fmla="*/ 122 w 132"/>
                <a:gd name="T11" fmla="*/ 81 h 111"/>
                <a:gd name="T12" fmla="*/ 132 w 132"/>
                <a:gd name="T13" fmla="*/ 71 h 111"/>
                <a:gd name="T14" fmla="*/ 132 w 132"/>
                <a:gd name="T15" fmla="*/ 61 h 111"/>
                <a:gd name="T16" fmla="*/ 132 w 132"/>
                <a:gd name="T17" fmla="*/ 50 h 111"/>
                <a:gd name="T18" fmla="*/ 132 w 132"/>
                <a:gd name="T19" fmla="*/ 40 h 111"/>
                <a:gd name="T20" fmla="*/ 132 w 132"/>
                <a:gd name="T21" fmla="*/ 30 h 111"/>
                <a:gd name="T22" fmla="*/ 132 w 132"/>
                <a:gd name="T23" fmla="*/ 30 h 111"/>
                <a:gd name="T24" fmla="*/ 122 w 132"/>
                <a:gd name="T25" fmla="*/ 20 h 111"/>
                <a:gd name="T26" fmla="*/ 112 w 132"/>
                <a:gd name="T27" fmla="*/ 10 h 111"/>
                <a:gd name="T28" fmla="*/ 102 w 132"/>
                <a:gd name="T29" fmla="*/ 10 h 111"/>
                <a:gd name="T30" fmla="*/ 102 w 132"/>
                <a:gd name="T31" fmla="*/ 0 h 111"/>
                <a:gd name="T32" fmla="*/ 91 w 132"/>
                <a:gd name="T33" fmla="*/ 0 h 111"/>
                <a:gd name="T34" fmla="*/ 71 w 132"/>
                <a:gd name="T35" fmla="*/ 0 h 111"/>
                <a:gd name="T36" fmla="*/ 61 w 132"/>
                <a:gd name="T37" fmla="*/ 0 h 111"/>
                <a:gd name="T38" fmla="*/ 51 w 132"/>
                <a:gd name="T39" fmla="*/ 10 h 111"/>
                <a:gd name="T40" fmla="*/ 51 w 132"/>
                <a:gd name="T41" fmla="*/ 10 h 111"/>
                <a:gd name="T42" fmla="*/ 41 w 132"/>
                <a:gd name="T43" fmla="*/ 20 h 111"/>
                <a:gd name="T44" fmla="*/ 41 w 132"/>
                <a:gd name="T45" fmla="*/ 30 h 111"/>
                <a:gd name="T46" fmla="*/ 31 w 132"/>
                <a:gd name="T47" fmla="*/ 40 h 111"/>
                <a:gd name="T48" fmla="*/ 31 w 132"/>
                <a:gd name="T49" fmla="*/ 50 h 111"/>
                <a:gd name="T50" fmla="*/ 21 w 132"/>
                <a:gd name="T51" fmla="*/ 61 h 111"/>
                <a:gd name="T52" fmla="*/ 21 w 132"/>
                <a:gd name="T53" fmla="*/ 61 h 111"/>
                <a:gd name="T54" fmla="*/ 11 w 132"/>
                <a:gd name="T55" fmla="*/ 71 h 111"/>
                <a:gd name="T56" fmla="*/ 0 w 132"/>
                <a:gd name="T57" fmla="*/ 91 h 111"/>
                <a:gd name="T58" fmla="*/ 0 w 132"/>
                <a:gd name="T59" fmla="*/ 101 h 111"/>
                <a:gd name="T60" fmla="*/ 0 w 132"/>
                <a:gd name="T61" fmla="*/ 111 h 111"/>
                <a:gd name="T62" fmla="*/ 11 w 132"/>
                <a:gd name="T63" fmla="*/ 111 h 111"/>
                <a:gd name="T64" fmla="*/ 21 w 132"/>
                <a:gd name="T65" fmla="*/ 101 h 111"/>
                <a:gd name="T66" fmla="*/ 31 w 132"/>
                <a:gd name="T67" fmla="*/ 101 h 111"/>
                <a:gd name="T68" fmla="*/ 41 w 132"/>
                <a:gd name="T69" fmla="*/ 91 h 111"/>
                <a:gd name="T70" fmla="*/ 41 w 132"/>
                <a:gd name="T71" fmla="*/ 81 h 111"/>
                <a:gd name="T72" fmla="*/ 51 w 132"/>
                <a:gd name="T73" fmla="*/ 71 h 111"/>
                <a:gd name="T74" fmla="*/ 51 w 132"/>
                <a:gd name="T75" fmla="*/ 71 h 111"/>
                <a:gd name="T76" fmla="*/ 61 w 132"/>
                <a:gd name="T77" fmla="*/ 71 h 111"/>
                <a:gd name="T78" fmla="*/ 61 w 132"/>
                <a:gd name="T79" fmla="*/ 71 h 111"/>
                <a:gd name="T80" fmla="*/ 81 w 132"/>
                <a:gd name="T81" fmla="*/ 8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 h="111">
                  <a:moveTo>
                    <a:pt x="81" y="81"/>
                  </a:moveTo>
                  <a:lnTo>
                    <a:pt x="91" y="81"/>
                  </a:lnTo>
                  <a:lnTo>
                    <a:pt x="102" y="81"/>
                  </a:lnTo>
                  <a:lnTo>
                    <a:pt x="122" y="81"/>
                  </a:lnTo>
                  <a:lnTo>
                    <a:pt x="132" y="71"/>
                  </a:lnTo>
                  <a:lnTo>
                    <a:pt x="132" y="61"/>
                  </a:lnTo>
                  <a:lnTo>
                    <a:pt x="132" y="50"/>
                  </a:lnTo>
                  <a:lnTo>
                    <a:pt x="132" y="40"/>
                  </a:lnTo>
                  <a:lnTo>
                    <a:pt x="132" y="30"/>
                  </a:lnTo>
                  <a:lnTo>
                    <a:pt x="122" y="20"/>
                  </a:lnTo>
                  <a:lnTo>
                    <a:pt x="112" y="10"/>
                  </a:lnTo>
                  <a:lnTo>
                    <a:pt x="102" y="10"/>
                  </a:lnTo>
                  <a:lnTo>
                    <a:pt x="102" y="0"/>
                  </a:lnTo>
                  <a:lnTo>
                    <a:pt x="91" y="0"/>
                  </a:lnTo>
                  <a:lnTo>
                    <a:pt x="71" y="0"/>
                  </a:lnTo>
                  <a:lnTo>
                    <a:pt x="61" y="0"/>
                  </a:lnTo>
                  <a:lnTo>
                    <a:pt x="51" y="10"/>
                  </a:lnTo>
                  <a:lnTo>
                    <a:pt x="41" y="20"/>
                  </a:lnTo>
                  <a:lnTo>
                    <a:pt x="41" y="30"/>
                  </a:lnTo>
                  <a:lnTo>
                    <a:pt x="31" y="40"/>
                  </a:lnTo>
                  <a:lnTo>
                    <a:pt x="31" y="50"/>
                  </a:lnTo>
                  <a:lnTo>
                    <a:pt x="21" y="61"/>
                  </a:lnTo>
                  <a:lnTo>
                    <a:pt x="11" y="71"/>
                  </a:lnTo>
                  <a:lnTo>
                    <a:pt x="0" y="91"/>
                  </a:lnTo>
                  <a:lnTo>
                    <a:pt x="0" y="101"/>
                  </a:lnTo>
                  <a:lnTo>
                    <a:pt x="0" y="111"/>
                  </a:lnTo>
                  <a:lnTo>
                    <a:pt x="11" y="111"/>
                  </a:lnTo>
                  <a:lnTo>
                    <a:pt x="21" y="101"/>
                  </a:lnTo>
                  <a:lnTo>
                    <a:pt x="31" y="101"/>
                  </a:lnTo>
                  <a:lnTo>
                    <a:pt x="41" y="91"/>
                  </a:lnTo>
                  <a:lnTo>
                    <a:pt x="41" y="81"/>
                  </a:lnTo>
                  <a:lnTo>
                    <a:pt x="51" y="71"/>
                  </a:lnTo>
                  <a:lnTo>
                    <a:pt x="61" y="71"/>
                  </a:lnTo>
                  <a:lnTo>
                    <a:pt x="81" y="81"/>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429" name="Freeform 15">
              <a:extLst>
                <a:ext uri="{FF2B5EF4-FFF2-40B4-BE49-F238E27FC236}">
                  <a16:creationId xmlns:a16="http://schemas.microsoft.com/office/drawing/2014/main" id="{4B6A796D-4D1F-49A5-ABB8-6B0612292E0D}"/>
                </a:ext>
              </a:extLst>
            </p:cNvPr>
            <p:cNvSpPr>
              <a:spLocks noChangeAspect="1"/>
            </p:cNvSpPr>
            <p:nvPr/>
          </p:nvSpPr>
          <p:spPr bwMode="auto">
            <a:xfrm>
              <a:off x="381000" y="2271720"/>
              <a:ext cx="52388" cy="73025"/>
            </a:xfrm>
            <a:custGeom>
              <a:avLst/>
              <a:gdLst>
                <a:gd name="T0" fmla="*/ 0 w 50"/>
                <a:gd name="T1" fmla="*/ 31 h 71"/>
                <a:gd name="T2" fmla="*/ 0 w 50"/>
                <a:gd name="T3" fmla="*/ 41 h 71"/>
                <a:gd name="T4" fmla="*/ 0 w 50"/>
                <a:gd name="T5" fmla="*/ 51 h 71"/>
                <a:gd name="T6" fmla="*/ 0 w 50"/>
                <a:gd name="T7" fmla="*/ 51 h 71"/>
                <a:gd name="T8" fmla="*/ 0 w 50"/>
                <a:gd name="T9" fmla="*/ 61 h 71"/>
                <a:gd name="T10" fmla="*/ 0 w 50"/>
                <a:gd name="T11" fmla="*/ 71 h 71"/>
                <a:gd name="T12" fmla="*/ 10 w 50"/>
                <a:gd name="T13" fmla="*/ 71 h 71"/>
                <a:gd name="T14" fmla="*/ 10 w 50"/>
                <a:gd name="T15" fmla="*/ 71 h 71"/>
                <a:gd name="T16" fmla="*/ 20 w 50"/>
                <a:gd name="T17" fmla="*/ 71 h 71"/>
                <a:gd name="T18" fmla="*/ 20 w 50"/>
                <a:gd name="T19" fmla="*/ 71 h 71"/>
                <a:gd name="T20" fmla="*/ 30 w 50"/>
                <a:gd name="T21" fmla="*/ 71 h 71"/>
                <a:gd name="T22" fmla="*/ 30 w 50"/>
                <a:gd name="T23" fmla="*/ 71 h 71"/>
                <a:gd name="T24" fmla="*/ 40 w 50"/>
                <a:gd name="T25" fmla="*/ 71 h 71"/>
                <a:gd name="T26" fmla="*/ 40 w 50"/>
                <a:gd name="T27" fmla="*/ 61 h 71"/>
                <a:gd name="T28" fmla="*/ 40 w 50"/>
                <a:gd name="T29" fmla="*/ 61 h 71"/>
                <a:gd name="T30" fmla="*/ 40 w 50"/>
                <a:gd name="T31" fmla="*/ 61 h 71"/>
                <a:gd name="T32" fmla="*/ 50 w 50"/>
                <a:gd name="T33" fmla="*/ 51 h 71"/>
                <a:gd name="T34" fmla="*/ 50 w 50"/>
                <a:gd name="T35" fmla="*/ 51 h 71"/>
                <a:gd name="T36" fmla="*/ 50 w 50"/>
                <a:gd name="T37" fmla="*/ 41 h 71"/>
                <a:gd name="T38" fmla="*/ 50 w 50"/>
                <a:gd name="T39" fmla="*/ 41 h 71"/>
                <a:gd name="T40" fmla="*/ 50 w 50"/>
                <a:gd name="T41" fmla="*/ 21 h 71"/>
                <a:gd name="T42" fmla="*/ 50 w 50"/>
                <a:gd name="T43" fmla="*/ 21 h 71"/>
                <a:gd name="T44" fmla="*/ 40 w 50"/>
                <a:gd name="T45" fmla="*/ 11 h 71"/>
                <a:gd name="T46" fmla="*/ 30 w 50"/>
                <a:gd name="T47" fmla="*/ 11 h 71"/>
                <a:gd name="T48" fmla="*/ 20 w 50"/>
                <a:gd name="T49" fmla="*/ 0 h 71"/>
                <a:gd name="T50" fmla="*/ 20 w 50"/>
                <a:gd name="T51" fmla="*/ 0 h 71"/>
                <a:gd name="T52" fmla="*/ 10 w 50"/>
                <a:gd name="T53" fmla="*/ 11 h 71"/>
                <a:gd name="T54" fmla="*/ 10 w 50"/>
                <a:gd name="T55" fmla="*/ 11 h 71"/>
                <a:gd name="T56" fmla="*/ 10 w 50"/>
                <a:gd name="T57" fmla="*/ 21 h 71"/>
                <a:gd name="T58" fmla="*/ 0 w 50"/>
                <a:gd name="T59" fmla="*/ 3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71">
                  <a:moveTo>
                    <a:pt x="0" y="31"/>
                  </a:moveTo>
                  <a:lnTo>
                    <a:pt x="0" y="41"/>
                  </a:lnTo>
                  <a:lnTo>
                    <a:pt x="0" y="51"/>
                  </a:lnTo>
                  <a:lnTo>
                    <a:pt x="0" y="61"/>
                  </a:lnTo>
                  <a:lnTo>
                    <a:pt x="0" y="71"/>
                  </a:lnTo>
                  <a:lnTo>
                    <a:pt x="10" y="71"/>
                  </a:lnTo>
                  <a:lnTo>
                    <a:pt x="20" y="71"/>
                  </a:lnTo>
                  <a:lnTo>
                    <a:pt x="30" y="71"/>
                  </a:lnTo>
                  <a:lnTo>
                    <a:pt x="40" y="71"/>
                  </a:lnTo>
                  <a:lnTo>
                    <a:pt x="40" y="61"/>
                  </a:lnTo>
                  <a:lnTo>
                    <a:pt x="50" y="51"/>
                  </a:lnTo>
                  <a:lnTo>
                    <a:pt x="50" y="41"/>
                  </a:lnTo>
                  <a:lnTo>
                    <a:pt x="50" y="21"/>
                  </a:lnTo>
                  <a:lnTo>
                    <a:pt x="40" y="11"/>
                  </a:lnTo>
                  <a:lnTo>
                    <a:pt x="30" y="11"/>
                  </a:lnTo>
                  <a:lnTo>
                    <a:pt x="20" y="0"/>
                  </a:lnTo>
                  <a:lnTo>
                    <a:pt x="10" y="11"/>
                  </a:lnTo>
                  <a:lnTo>
                    <a:pt x="10" y="21"/>
                  </a:lnTo>
                  <a:lnTo>
                    <a:pt x="0" y="31"/>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430" name="Freeform 14">
              <a:extLst>
                <a:ext uri="{FF2B5EF4-FFF2-40B4-BE49-F238E27FC236}">
                  <a16:creationId xmlns:a16="http://schemas.microsoft.com/office/drawing/2014/main" id="{4892E473-7F03-4046-8234-085D425E48C1}"/>
                </a:ext>
              </a:extLst>
            </p:cNvPr>
            <p:cNvSpPr>
              <a:spLocks noChangeAspect="1"/>
            </p:cNvSpPr>
            <p:nvPr/>
          </p:nvSpPr>
          <p:spPr bwMode="auto">
            <a:xfrm>
              <a:off x="1460498" y="6194442"/>
              <a:ext cx="304800" cy="231776"/>
            </a:xfrm>
            <a:custGeom>
              <a:avLst/>
              <a:gdLst>
                <a:gd name="T0" fmla="*/ 20 w 294"/>
                <a:gd name="T1" fmla="*/ 122 h 223"/>
                <a:gd name="T2" fmla="*/ 10 w 294"/>
                <a:gd name="T3" fmla="*/ 142 h 223"/>
                <a:gd name="T4" fmla="*/ 10 w 294"/>
                <a:gd name="T5" fmla="*/ 152 h 223"/>
                <a:gd name="T6" fmla="*/ 0 w 294"/>
                <a:gd name="T7" fmla="*/ 172 h 223"/>
                <a:gd name="T8" fmla="*/ 10 w 294"/>
                <a:gd name="T9" fmla="*/ 182 h 223"/>
                <a:gd name="T10" fmla="*/ 20 w 294"/>
                <a:gd name="T11" fmla="*/ 172 h 223"/>
                <a:gd name="T12" fmla="*/ 30 w 294"/>
                <a:gd name="T13" fmla="*/ 172 h 223"/>
                <a:gd name="T14" fmla="*/ 51 w 294"/>
                <a:gd name="T15" fmla="*/ 172 h 223"/>
                <a:gd name="T16" fmla="*/ 61 w 294"/>
                <a:gd name="T17" fmla="*/ 182 h 223"/>
                <a:gd name="T18" fmla="*/ 71 w 294"/>
                <a:gd name="T19" fmla="*/ 203 h 223"/>
                <a:gd name="T20" fmla="*/ 81 w 294"/>
                <a:gd name="T21" fmla="*/ 213 h 223"/>
                <a:gd name="T22" fmla="*/ 91 w 294"/>
                <a:gd name="T23" fmla="*/ 213 h 223"/>
                <a:gd name="T24" fmla="*/ 142 w 294"/>
                <a:gd name="T25" fmla="*/ 213 h 223"/>
                <a:gd name="T26" fmla="*/ 152 w 294"/>
                <a:gd name="T27" fmla="*/ 223 h 223"/>
                <a:gd name="T28" fmla="*/ 162 w 294"/>
                <a:gd name="T29" fmla="*/ 223 h 223"/>
                <a:gd name="T30" fmla="*/ 172 w 294"/>
                <a:gd name="T31" fmla="*/ 213 h 223"/>
                <a:gd name="T32" fmla="*/ 172 w 294"/>
                <a:gd name="T33" fmla="*/ 193 h 223"/>
                <a:gd name="T34" fmla="*/ 172 w 294"/>
                <a:gd name="T35" fmla="*/ 182 h 223"/>
                <a:gd name="T36" fmla="*/ 182 w 294"/>
                <a:gd name="T37" fmla="*/ 172 h 223"/>
                <a:gd name="T38" fmla="*/ 202 w 294"/>
                <a:gd name="T39" fmla="*/ 172 h 223"/>
                <a:gd name="T40" fmla="*/ 213 w 294"/>
                <a:gd name="T41" fmla="*/ 162 h 223"/>
                <a:gd name="T42" fmla="*/ 213 w 294"/>
                <a:gd name="T43" fmla="*/ 152 h 223"/>
                <a:gd name="T44" fmla="*/ 213 w 294"/>
                <a:gd name="T45" fmla="*/ 142 h 223"/>
                <a:gd name="T46" fmla="*/ 213 w 294"/>
                <a:gd name="T47" fmla="*/ 122 h 223"/>
                <a:gd name="T48" fmla="*/ 223 w 294"/>
                <a:gd name="T49" fmla="*/ 122 h 223"/>
                <a:gd name="T50" fmla="*/ 233 w 294"/>
                <a:gd name="T51" fmla="*/ 122 h 223"/>
                <a:gd name="T52" fmla="*/ 243 w 294"/>
                <a:gd name="T53" fmla="*/ 122 h 223"/>
                <a:gd name="T54" fmla="*/ 253 w 294"/>
                <a:gd name="T55" fmla="*/ 132 h 223"/>
                <a:gd name="T56" fmla="*/ 263 w 294"/>
                <a:gd name="T57" fmla="*/ 132 h 223"/>
                <a:gd name="T58" fmla="*/ 283 w 294"/>
                <a:gd name="T59" fmla="*/ 122 h 223"/>
                <a:gd name="T60" fmla="*/ 294 w 294"/>
                <a:gd name="T61" fmla="*/ 112 h 223"/>
                <a:gd name="T62" fmla="*/ 283 w 294"/>
                <a:gd name="T63" fmla="*/ 101 h 223"/>
                <a:gd name="T64" fmla="*/ 273 w 294"/>
                <a:gd name="T65" fmla="*/ 91 h 223"/>
                <a:gd name="T66" fmla="*/ 273 w 294"/>
                <a:gd name="T67" fmla="*/ 81 h 223"/>
                <a:gd name="T68" fmla="*/ 263 w 294"/>
                <a:gd name="T69" fmla="*/ 81 h 223"/>
                <a:gd name="T70" fmla="*/ 243 w 294"/>
                <a:gd name="T71" fmla="*/ 81 h 223"/>
                <a:gd name="T72" fmla="*/ 223 w 294"/>
                <a:gd name="T73" fmla="*/ 81 h 223"/>
                <a:gd name="T74" fmla="*/ 202 w 294"/>
                <a:gd name="T75" fmla="*/ 81 h 223"/>
                <a:gd name="T76" fmla="*/ 202 w 294"/>
                <a:gd name="T77" fmla="*/ 71 h 223"/>
                <a:gd name="T78" fmla="*/ 202 w 294"/>
                <a:gd name="T79" fmla="*/ 61 h 223"/>
                <a:gd name="T80" fmla="*/ 202 w 294"/>
                <a:gd name="T81" fmla="*/ 51 h 223"/>
                <a:gd name="T82" fmla="*/ 213 w 294"/>
                <a:gd name="T83" fmla="*/ 41 h 223"/>
                <a:gd name="T84" fmla="*/ 213 w 294"/>
                <a:gd name="T85" fmla="*/ 31 h 223"/>
                <a:gd name="T86" fmla="*/ 202 w 294"/>
                <a:gd name="T87" fmla="*/ 20 h 223"/>
                <a:gd name="T88" fmla="*/ 192 w 294"/>
                <a:gd name="T89" fmla="*/ 10 h 223"/>
                <a:gd name="T90" fmla="*/ 172 w 294"/>
                <a:gd name="T91" fmla="*/ 10 h 223"/>
                <a:gd name="T92" fmla="*/ 152 w 294"/>
                <a:gd name="T93" fmla="*/ 10 h 223"/>
                <a:gd name="T94" fmla="*/ 142 w 294"/>
                <a:gd name="T95" fmla="*/ 0 h 223"/>
                <a:gd name="T96" fmla="*/ 132 w 294"/>
                <a:gd name="T97" fmla="*/ 10 h 223"/>
                <a:gd name="T98" fmla="*/ 101 w 294"/>
                <a:gd name="T99" fmla="*/ 31 h 223"/>
                <a:gd name="T100" fmla="*/ 91 w 294"/>
                <a:gd name="T101" fmla="*/ 41 h 223"/>
                <a:gd name="T102" fmla="*/ 81 w 294"/>
                <a:gd name="T103" fmla="*/ 61 h 223"/>
                <a:gd name="T104" fmla="*/ 61 w 294"/>
                <a:gd name="T105" fmla="*/ 61 h 223"/>
                <a:gd name="T106" fmla="*/ 51 w 294"/>
                <a:gd name="T107" fmla="*/ 61 h 223"/>
                <a:gd name="T108" fmla="*/ 41 w 294"/>
                <a:gd name="T109" fmla="*/ 61 h 223"/>
                <a:gd name="T110" fmla="*/ 30 w 294"/>
                <a:gd name="T111" fmla="*/ 71 h 223"/>
                <a:gd name="T112" fmla="*/ 30 w 294"/>
                <a:gd name="T113" fmla="*/ 91 h 223"/>
                <a:gd name="T114" fmla="*/ 30 w 294"/>
                <a:gd name="T115" fmla="*/ 101 h 223"/>
                <a:gd name="T116" fmla="*/ 20 w 294"/>
                <a:gd name="T117" fmla="*/ 12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4" h="223">
                  <a:moveTo>
                    <a:pt x="20" y="122"/>
                  </a:moveTo>
                  <a:lnTo>
                    <a:pt x="20" y="122"/>
                  </a:lnTo>
                  <a:lnTo>
                    <a:pt x="10" y="132"/>
                  </a:lnTo>
                  <a:lnTo>
                    <a:pt x="10" y="142"/>
                  </a:lnTo>
                  <a:lnTo>
                    <a:pt x="10" y="152"/>
                  </a:lnTo>
                  <a:lnTo>
                    <a:pt x="0" y="162"/>
                  </a:lnTo>
                  <a:lnTo>
                    <a:pt x="0" y="172"/>
                  </a:lnTo>
                  <a:lnTo>
                    <a:pt x="10" y="182"/>
                  </a:lnTo>
                  <a:lnTo>
                    <a:pt x="20" y="182"/>
                  </a:lnTo>
                  <a:lnTo>
                    <a:pt x="20" y="172"/>
                  </a:lnTo>
                  <a:lnTo>
                    <a:pt x="30" y="172"/>
                  </a:lnTo>
                  <a:lnTo>
                    <a:pt x="41" y="172"/>
                  </a:lnTo>
                  <a:lnTo>
                    <a:pt x="51" y="172"/>
                  </a:lnTo>
                  <a:lnTo>
                    <a:pt x="61" y="182"/>
                  </a:lnTo>
                  <a:lnTo>
                    <a:pt x="71" y="193"/>
                  </a:lnTo>
                  <a:lnTo>
                    <a:pt x="71" y="203"/>
                  </a:lnTo>
                  <a:lnTo>
                    <a:pt x="81" y="203"/>
                  </a:lnTo>
                  <a:lnTo>
                    <a:pt x="81" y="213"/>
                  </a:lnTo>
                  <a:lnTo>
                    <a:pt x="91" y="213"/>
                  </a:lnTo>
                  <a:lnTo>
                    <a:pt x="132" y="213"/>
                  </a:lnTo>
                  <a:lnTo>
                    <a:pt x="142" y="213"/>
                  </a:lnTo>
                  <a:lnTo>
                    <a:pt x="142" y="223"/>
                  </a:lnTo>
                  <a:lnTo>
                    <a:pt x="152" y="223"/>
                  </a:lnTo>
                  <a:lnTo>
                    <a:pt x="162" y="223"/>
                  </a:lnTo>
                  <a:lnTo>
                    <a:pt x="162" y="213"/>
                  </a:lnTo>
                  <a:lnTo>
                    <a:pt x="172" y="213"/>
                  </a:lnTo>
                  <a:lnTo>
                    <a:pt x="172" y="203"/>
                  </a:lnTo>
                  <a:lnTo>
                    <a:pt x="172" y="193"/>
                  </a:lnTo>
                  <a:lnTo>
                    <a:pt x="172" y="182"/>
                  </a:lnTo>
                  <a:lnTo>
                    <a:pt x="182" y="172"/>
                  </a:lnTo>
                  <a:lnTo>
                    <a:pt x="192" y="172"/>
                  </a:lnTo>
                  <a:lnTo>
                    <a:pt x="202" y="172"/>
                  </a:lnTo>
                  <a:lnTo>
                    <a:pt x="213" y="162"/>
                  </a:lnTo>
                  <a:lnTo>
                    <a:pt x="213" y="152"/>
                  </a:lnTo>
                  <a:lnTo>
                    <a:pt x="213" y="142"/>
                  </a:lnTo>
                  <a:lnTo>
                    <a:pt x="213" y="132"/>
                  </a:lnTo>
                  <a:lnTo>
                    <a:pt x="213" y="122"/>
                  </a:lnTo>
                  <a:lnTo>
                    <a:pt x="223" y="122"/>
                  </a:lnTo>
                  <a:lnTo>
                    <a:pt x="233" y="122"/>
                  </a:lnTo>
                  <a:lnTo>
                    <a:pt x="243" y="122"/>
                  </a:lnTo>
                  <a:lnTo>
                    <a:pt x="243" y="132"/>
                  </a:lnTo>
                  <a:lnTo>
                    <a:pt x="253" y="132"/>
                  </a:lnTo>
                  <a:lnTo>
                    <a:pt x="263" y="132"/>
                  </a:lnTo>
                  <a:lnTo>
                    <a:pt x="273" y="132"/>
                  </a:lnTo>
                  <a:lnTo>
                    <a:pt x="283" y="122"/>
                  </a:lnTo>
                  <a:lnTo>
                    <a:pt x="294" y="112"/>
                  </a:lnTo>
                  <a:lnTo>
                    <a:pt x="294" y="101"/>
                  </a:lnTo>
                  <a:lnTo>
                    <a:pt x="283" y="101"/>
                  </a:lnTo>
                  <a:lnTo>
                    <a:pt x="283" y="91"/>
                  </a:lnTo>
                  <a:lnTo>
                    <a:pt x="273" y="91"/>
                  </a:lnTo>
                  <a:lnTo>
                    <a:pt x="273" y="81"/>
                  </a:lnTo>
                  <a:lnTo>
                    <a:pt x="263" y="81"/>
                  </a:lnTo>
                  <a:lnTo>
                    <a:pt x="243" y="81"/>
                  </a:lnTo>
                  <a:lnTo>
                    <a:pt x="233" y="81"/>
                  </a:lnTo>
                  <a:lnTo>
                    <a:pt x="223" y="81"/>
                  </a:lnTo>
                  <a:lnTo>
                    <a:pt x="213" y="91"/>
                  </a:lnTo>
                  <a:lnTo>
                    <a:pt x="202" y="81"/>
                  </a:lnTo>
                  <a:lnTo>
                    <a:pt x="202" y="71"/>
                  </a:lnTo>
                  <a:lnTo>
                    <a:pt x="202" y="61"/>
                  </a:lnTo>
                  <a:lnTo>
                    <a:pt x="202" y="51"/>
                  </a:lnTo>
                  <a:lnTo>
                    <a:pt x="213" y="41"/>
                  </a:lnTo>
                  <a:lnTo>
                    <a:pt x="213" y="31"/>
                  </a:lnTo>
                  <a:lnTo>
                    <a:pt x="202" y="20"/>
                  </a:lnTo>
                  <a:lnTo>
                    <a:pt x="192" y="10"/>
                  </a:lnTo>
                  <a:lnTo>
                    <a:pt x="182" y="10"/>
                  </a:lnTo>
                  <a:lnTo>
                    <a:pt x="172" y="10"/>
                  </a:lnTo>
                  <a:lnTo>
                    <a:pt x="162" y="10"/>
                  </a:lnTo>
                  <a:lnTo>
                    <a:pt x="152" y="10"/>
                  </a:lnTo>
                  <a:lnTo>
                    <a:pt x="142" y="0"/>
                  </a:lnTo>
                  <a:lnTo>
                    <a:pt x="132" y="10"/>
                  </a:lnTo>
                  <a:lnTo>
                    <a:pt x="122" y="10"/>
                  </a:lnTo>
                  <a:lnTo>
                    <a:pt x="101" y="31"/>
                  </a:lnTo>
                  <a:lnTo>
                    <a:pt x="91" y="31"/>
                  </a:lnTo>
                  <a:lnTo>
                    <a:pt x="91" y="41"/>
                  </a:lnTo>
                  <a:lnTo>
                    <a:pt x="81" y="51"/>
                  </a:lnTo>
                  <a:lnTo>
                    <a:pt x="81" y="61"/>
                  </a:lnTo>
                  <a:lnTo>
                    <a:pt x="71" y="61"/>
                  </a:lnTo>
                  <a:lnTo>
                    <a:pt x="61" y="61"/>
                  </a:lnTo>
                  <a:lnTo>
                    <a:pt x="51" y="61"/>
                  </a:lnTo>
                  <a:lnTo>
                    <a:pt x="41" y="61"/>
                  </a:lnTo>
                  <a:lnTo>
                    <a:pt x="30" y="71"/>
                  </a:lnTo>
                  <a:lnTo>
                    <a:pt x="30" y="81"/>
                  </a:lnTo>
                  <a:lnTo>
                    <a:pt x="30" y="91"/>
                  </a:lnTo>
                  <a:lnTo>
                    <a:pt x="30" y="101"/>
                  </a:lnTo>
                  <a:lnTo>
                    <a:pt x="20" y="112"/>
                  </a:lnTo>
                  <a:lnTo>
                    <a:pt x="20" y="122"/>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431" name="Freeform 13">
              <a:extLst>
                <a:ext uri="{FF2B5EF4-FFF2-40B4-BE49-F238E27FC236}">
                  <a16:creationId xmlns:a16="http://schemas.microsoft.com/office/drawing/2014/main" id="{40DC7CF0-9DC4-4F11-9677-B1A4192386F0}"/>
                </a:ext>
              </a:extLst>
            </p:cNvPr>
            <p:cNvSpPr>
              <a:spLocks noChangeAspect="1"/>
            </p:cNvSpPr>
            <p:nvPr/>
          </p:nvSpPr>
          <p:spPr bwMode="auto">
            <a:xfrm>
              <a:off x="1870073" y="6416688"/>
              <a:ext cx="114300" cy="84138"/>
            </a:xfrm>
            <a:custGeom>
              <a:avLst/>
              <a:gdLst>
                <a:gd name="T0" fmla="*/ 30 w 111"/>
                <a:gd name="T1" fmla="*/ 20 h 81"/>
                <a:gd name="T2" fmla="*/ 20 w 111"/>
                <a:gd name="T3" fmla="*/ 20 h 81"/>
                <a:gd name="T4" fmla="*/ 10 w 111"/>
                <a:gd name="T5" fmla="*/ 20 h 81"/>
                <a:gd name="T6" fmla="*/ 10 w 111"/>
                <a:gd name="T7" fmla="*/ 30 h 81"/>
                <a:gd name="T8" fmla="*/ 10 w 111"/>
                <a:gd name="T9" fmla="*/ 30 h 81"/>
                <a:gd name="T10" fmla="*/ 10 w 111"/>
                <a:gd name="T11" fmla="*/ 40 h 81"/>
                <a:gd name="T12" fmla="*/ 10 w 111"/>
                <a:gd name="T13" fmla="*/ 51 h 81"/>
                <a:gd name="T14" fmla="*/ 0 w 111"/>
                <a:gd name="T15" fmla="*/ 51 h 81"/>
                <a:gd name="T16" fmla="*/ 0 w 111"/>
                <a:gd name="T17" fmla="*/ 61 h 81"/>
                <a:gd name="T18" fmla="*/ 0 w 111"/>
                <a:gd name="T19" fmla="*/ 61 h 81"/>
                <a:gd name="T20" fmla="*/ 0 w 111"/>
                <a:gd name="T21" fmla="*/ 71 h 81"/>
                <a:gd name="T22" fmla="*/ 10 w 111"/>
                <a:gd name="T23" fmla="*/ 71 h 81"/>
                <a:gd name="T24" fmla="*/ 20 w 111"/>
                <a:gd name="T25" fmla="*/ 61 h 81"/>
                <a:gd name="T26" fmla="*/ 30 w 111"/>
                <a:gd name="T27" fmla="*/ 61 h 81"/>
                <a:gd name="T28" fmla="*/ 40 w 111"/>
                <a:gd name="T29" fmla="*/ 61 h 81"/>
                <a:gd name="T30" fmla="*/ 40 w 111"/>
                <a:gd name="T31" fmla="*/ 61 h 81"/>
                <a:gd name="T32" fmla="*/ 50 w 111"/>
                <a:gd name="T33" fmla="*/ 61 h 81"/>
                <a:gd name="T34" fmla="*/ 50 w 111"/>
                <a:gd name="T35" fmla="*/ 61 h 81"/>
                <a:gd name="T36" fmla="*/ 50 w 111"/>
                <a:gd name="T37" fmla="*/ 61 h 81"/>
                <a:gd name="T38" fmla="*/ 50 w 111"/>
                <a:gd name="T39" fmla="*/ 61 h 81"/>
                <a:gd name="T40" fmla="*/ 60 w 111"/>
                <a:gd name="T41" fmla="*/ 71 h 81"/>
                <a:gd name="T42" fmla="*/ 60 w 111"/>
                <a:gd name="T43" fmla="*/ 71 h 81"/>
                <a:gd name="T44" fmla="*/ 71 w 111"/>
                <a:gd name="T45" fmla="*/ 81 h 81"/>
                <a:gd name="T46" fmla="*/ 71 w 111"/>
                <a:gd name="T47" fmla="*/ 81 h 81"/>
                <a:gd name="T48" fmla="*/ 81 w 111"/>
                <a:gd name="T49" fmla="*/ 81 h 81"/>
                <a:gd name="T50" fmla="*/ 81 w 111"/>
                <a:gd name="T51" fmla="*/ 81 h 81"/>
                <a:gd name="T52" fmla="*/ 91 w 111"/>
                <a:gd name="T53" fmla="*/ 81 h 81"/>
                <a:gd name="T54" fmla="*/ 91 w 111"/>
                <a:gd name="T55" fmla="*/ 71 h 81"/>
                <a:gd name="T56" fmla="*/ 101 w 111"/>
                <a:gd name="T57" fmla="*/ 71 h 81"/>
                <a:gd name="T58" fmla="*/ 111 w 111"/>
                <a:gd name="T59" fmla="*/ 61 h 81"/>
                <a:gd name="T60" fmla="*/ 111 w 111"/>
                <a:gd name="T61" fmla="*/ 51 h 81"/>
                <a:gd name="T62" fmla="*/ 111 w 111"/>
                <a:gd name="T63" fmla="*/ 51 h 81"/>
                <a:gd name="T64" fmla="*/ 111 w 111"/>
                <a:gd name="T65" fmla="*/ 40 h 81"/>
                <a:gd name="T66" fmla="*/ 111 w 111"/>
                <a:gd name="T67" fmla="*/ 40 h 81"/>
                <a:gd name="T68" fmla="*/ 101 w 111"/>
                <a:gd name="T69" fmla="*/ 30 h 81"/>
                <a:gd name="T70" fmla="*/ 101 w 111"/>
                <a:gd name="T71" fmla="*/ 30 h 81"/>
                <a:gd name="T72" fmla="*/ 101 w 111"/>
                <a:gd name="T73" fmla="*/ 20 h 81"/>
                <a:gd name="T74" fmla="*/ 91 w 111"/>
                <a:gd name="T75" fmla="*/ 20 h 81"/>
                <a:gd name="T76" fmla="*/ 91 w 111"/>
                <a:gd name="T77" fmla="*/ 20 h 81"/>
                <a:gd name="T78" fmla="*/ 91 w 111"/>
                <a:gd name="T79" fmla="*/ 10 h 81"/>
                <a:gd name="T80" fmla="*/ 91 w 111"/>
                <a:gd name="T81" fmla="*/ 10 h 81"/>
                <a:gd name="T82" fmla="*/ 81 w 111"/>
                <a:gd name="T83" fmla="*/ 10 h 81"/>
                <a:gd name="T84" fmla="*/ 81 w 111"/>
                <a:gd name="T85" fmla="*/ 0 h 81"/>
                <a:gd name="T86" fmla="*/ 71 w 111"/>
                <a:gd name="T87" fmla="*/ 0 h 81"/>
                <a:gd name="T88" fmla="*/ 71 w 111"/>
                <a:gd name="T89" fmla="*/ 0 h 81"/>
                <a:gd name="T90" fmla="*/ 60 w 111"/>
                <a:gd name="T91" fmla="*/ 0 h 81"/>
                <a:gd name="T92" fmla="*/ 60 w 111"/>
                <a:gd name="T93" fmla="*/ 0 h 81"/>
                <a:gd name="T94" fmla="*/ 60 w 111"/>
                <a:gd name="T95" fmla="*/ 0 h 81"/>
                <a:gd name="T96" fmla="*/ 50 w 111"/>
                <a:gd name="T97" fmla="*/ 0 h 81"/>
                <a:gd name="T98" fmla="*/ 50 w 111"/>
                <a:gd name="T99" fmla="*/ 10 h 81"/>
                <a:gd name="T100" fmla="*/ 50 w 111"/>
                <a:gd name="T101" fmla="*/ 10 h 81"/>
                <a:gd name="T102" fmla="*/ 50 w 111"/>
                <a:gd name="T103" fmla="*/ 20 h 81"/>
                <a:gd name="T104" fmla="*/ 30 w 111"/>
                <a:gd name="T105" fmla="*/ 2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1" h="81">
                  <a:moveTo>
                    <a:pt x="30" y="20"/>
                  </a:moveTo>
                  <a:lnTo>
                    <a:pt x="20" y="20"/>
                  </a:lnTo>
                  <a:lnTo>
                    <a:pt x="10" y="20"/>
                  </a:lnTo>
                  <a:lnTo>
                    <a:pt x="10" y="30"/>
                  </a:lnTo>
                  <a:lnTo>
                    <a:pt x="10" y="40"/>
                  </a:lnTo>
                  <a:lnTo>
                    <a:pt x="10" y="51"/>
                  </a:lnTo>
                  <a:lnTo>
                    <a:pt x="0" y="51"/>
                  </a:lnTo>
                  <a:lnTo>
                    <a:pt x="0" y="61"/>
                  </a:lnTo>
                  <a:lnTo>
                    <a:pt x="0" y="71"/>
                  </a:lnTo>
                  <a:lnTo>
                    <a:pt x="10" y="71"/>
                  </a:lnTo>
                  <a:lnTo>
                    <a:pt x="20" y="61"/>
                  </a:lnTo>
                  <a:lnTo>
                    <a:pt x="30" y="61"/>
                  </a:lnTo>
                  <a:lnTo>
                    <a:pt x="40" y="61"/>
                  </a:lnTo>
                  <a:lnTo>
                    <a:pt x="50" y="61"/>
                  </a:lnTo>
                  <a:lnTo>
                    <a:pt x="60" y="71"/>
                  </a:lnTo>
                  <a:lnTo>
                    <a:pt x="71" y="81"/>
                  </a:lnTo>
                  <a:lnTo>
                    <a:pt x="81" y="81"/>
                  </a:lnTo>
                  <a:lnTo>
                    <a:pt x="91" y="81"/>
                  </a:lnTo>
                  <a:lnTo>
                    <a:pt x="91" y="71"/>
                  </a:lnTo>
                  <a:lnTo>
                    <a:pt x="101" y="71"/>
                  </a:lnTo>
                  <a:lnTo>
                    <a:pt x="111" y="61"/>
                  </a:lnTo>
                  <a:lnTo>
                    <a:pt x="111" y="51"/>
                  </a:lnTo>
                  <a:lnTo>
                    <a:pt x="111" y="40"/>
                  </a:lnTo>
                  <a:lnTo>
                    <a:pt x="101" y="30"/>
                  </a:lnTo>
                  <a:lnTo>
                    <a:pt x="101" y="20"/>
                  </a:lnTo>
                  <a:lnTo>
                    <a:pt x="91" y="20"/>
                  </a:lnTo>
                  <a:lnTo>
                    <a:pt x="91" y="10"/>
                  </a:lnTo>
                  <a:lnTo>
                    <a:pt x="81" y="10"/>
                  </a:lnTo>
                  <a:lnTo>
                    <a:pt x="81" y="0"/>
                  </a:lnTo>
                  <a:lnTo>
                    <a:pt x="71" y="0"/>
                  </a:lnTo>
                  <a:lnTo>
                    <a:pt x="60" y="0"/>
                  </a:lnTo>
                  <a:lnTo>
                    <a:pt x="50" y="0"/>
                  </a:lnTo>
                  <a:lnTo>
                    <a:pt x="50" y="10"/>
                  </a:lnTo>
                  <a:lnTo>
                    <a:pt x="50" y="20"/>
                  </a:lnTo>
                  <a:lnTo>
                    <a:pt x="30" y="20"/>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432" name="Freeform 12">
              <a:extLst>
                <a:ext uri="{FF2B5EF4-FFF2-40B4-BE49-F238E27FC236}">
                  <a16:creationId xmlns:a16="http://schemas.microsoft.com/office/drawing/2014/main" id="{2AB3C2C5-C81B-403E-ACDB-DAFCFDF8E18B}"/>
                </a:ext>
              </a:extLst>
            </p:cNvPr>
            <p:cNvSpPr>
              <a:spLocks noChangeAspect="1"/>
            </p:cNvSpPr>
            <p:nvPr/>
          </p:nvSpPr>
          <p:spPr bwMode="auto">
            <a:xfrm>
              <a:off x="1849436" y="6132525"/>
              <a:ext cx="93662" cy="52387"/>
            </a:xfrm>
            <a:custGeom>
              <a:avLst/>
              <a:gdLst>
                <a:gd name="T0" fmla="*/ 50 w 91"/>
                <a:gd name="T1" fmla="*/ 41 h 51"/>
                <a:gd name="T2" fmla="*/ 50 w 91"/>
                <a:gd name="T3" fmla="*/ 41 h 51"/>
                <a:gd name="T4" fmla="*/ 50 w 91"/>
                <a:gd name="T5" fmla="*/ 51 h 51"/>
                <a:gd name="T6" fmla="*/ 60 w 91"/>
                <a:gd name="T7" fmla="*/ 51 h 51"/>
                <a:gd name="T8" fmla="*/ 60 w 91"/>
                <a:gd name="T9" fmla="*/ 51 h 51"/>
                <a:gd name="T10" fmla="*/ 70 w 91"/>
                <a:gd name="T11" fmla="*/ 41 h 51"/>
                <a:gd name="T12" fmla="*/ 70 w 91"/>
                <a:gd name="T13" fmla="*/ 41 h 51"/>
                <a:gd name="T14" fmla="*/ 80 w 91"/>
                <a:gd name="T15" fmla="*/ 31 h 51"/>
                <a:gd name="T16" fmla="*/ 80 w 91"/>
                <a:gd name="T17" fmla="*/ 31 h 51"/>
                <a:gd name="T18" fmla="*/ 80 w 91"/>
                <a:gd name="T19" fmla="*/ 21 h 51"/>
                <a:gd name="T20" fmla="*/ 80 w 91"/>
                <a:gd name="T21" fmla="*/ 21 h 51"/>
                <a:gd name="T22" fmla="*/ 91 w 91"/>
                <a:gd name="T23" fmla="*/ 21 h 51"/>
                <a:gd name="T24" fmla="*/ 91 w 91"/>
                <a:gd name="T25" fmla="*/ 10 h 51"/>
                <a:gd name="T26" fmla="*/ 80 w 91"/>
                <a:gd name="T27" fmla="*/ 10 h 51"/>
                <a:gd name="T28" fmla="*/ 70 w 91"/>
                <a:gd name="T29" fmla="*/ 0 h 51"/>
                <a:gd name="T30" fmla="*/ 70 w 91"/>
                <a:gd name="T31" fmla="*/ 0 h 51"/>
                <a:gd name="T32" fmla="*/ 60 w 91"/>
                <a:gd name="T33" fmla="*/ 0 h 51"/>
                <a:gd name="T34" fmla="*/ 50 w 91"/>
                <a:gd name="T35" fmla="*/ 0 h 51"/>
                <a:gd name="T36" fmla="*/ 40 w 91"/>
                <a:gd name="T37" fmla="*/ 0 h 51"/>
                <a:gd name="T38" fmla="*/ 30 w 91"/>
                <a:gd name="T39" fmla="*/ 0 h 51"/>
                <a:gd name="T40" fmla="*/ 20 w 91"/>
                <a:gd name="T41" fmla="*/ 0 h 51"/>
                <a:gd name="T42" fmla="*/ 20 w 91"/>
                <a:gd name="T43" fmla="*/ 0 h 51"/>
                <a:gd name="T44" fmla="*/ 10 w 91"/>
                <a:gd name="T45" fmla="*/ 0 h 51"/>
                <a:gd name="T46" fmla="*/ 10 w 91"/>
                <a:gd name="T47" fmla="*/ 0 h 51"/>
                <a:gd name="T48" fmla="*/ 0 w 91"/>
                <a:gd name="T49" fmla="*/ 0 h 51"/>
                <a:gd name="T50" fmla="*/ 10 w 91"/>
                <a:gd name="T51" fmla="*/ 10 h 51"/>
                <a:gd name="T52" fmla="*/ 10 w 91"/>
                <a:gd name="T53" fmla="*/ 21 h 51"/>
                <a:gd name="T54" fmla="*/ 10 w 91"/>
                <a:gd name="T55" fmla="*/ 21 h 51"/>
                <a:gd name="T56" fmla="*/ 20 w 91"/>
                <a:gd name="T57" fmla="*/ 21 h 51"/>
                <a:gd name="T58" fmla="*/ 30 w 91"/>
                <a:gd name="T59" fmla="*/ 21 h 51"/>
                <a:gd name="T60" fmla="*/ 30 w 91"/>
                <a:gd name="T61" fmla="*/ 21 h 51"/>
                <a:gd name="T62" fmla="*/ 40 w 91"/>
                <a:gd name="T63" fmla="*/ 31 h 51"/>
                <a:gd name="T64" fmla="*/ 40 w 91"/>
                <a:gd name="T65" fmla="*/ 31 h 51"/>
                <a:gd name="T66" fmla="*/ 40 w 91"/>
                <a:gd name="T67" fmla="*/ 31 h 51"/>
                <a:gd name="T68" fmla="*/ 50 w 91"/>
                <a:gd name="T69" fmla="*/ 4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51">
                  <a:moveTo>
                    <a:pt x="50" y="41"/>
                  </a:moveTo>
                  <a:lnTo>
                    <a:pt x="50" y="41"/>
                  </a:lnTo>
                  <a:lnTo>
                    <a:pt x="50" y="51"/>
                  </a:lnTo>
                  <a:lnTo>
                    <a:pt x="60" y="51"/>
                  </a:lnTo>
                  <a:lnTo>
                    <a:pt x="70" y="41"/>
                  </a:lnTo>
                  <a:lnTo>
                    <a:pt x="80" y="31"/>
                  </a:lnTo>
                  <a:lnTo>
                    <a:pt x="80" y="21"/>
                  </a:lnTo>
                  <a:lnTo>
                    <a:pt x="91" y="21"/>
                  </a:lnTo>
                  <a:lnTo>
                    <a:pt x="91" y="10"/>
                  </a:lnTo>
                  <a:lnTo>
                    <a:pt x="80" y="10"/>
                  </a:lnTo>
                  <a:lnTo>
                    <a:pt x="70" y="0"/>
                  </a:lnTo>
                  <a:lnTo>
                    <a:pt x="60" y="0"/>
                  </a:lnTo>
                  <a:lnTo>
                    <a:pt x="50" y="0"/>
                  </a:lnTo>
                  <a:lnTo>
                    <a:pt x="40" y="0"/>
                  </a:lnTo>
                  <a:lnTo>
                    <a:pt x="30" y="0"/>
                  </a:lnTo>
                  <a:lnTo>
                    <a:pt x="20" y="0"/>
                  </a:lnTo>
                  <a:lnTo>
                    <a:pt x="10" y="0"/>
                  </a:lnTo>
                  <a:lnTo>
                    <a:pt x="0" y="0"/>
                  </a:lnTo>
                  <a:lnTo>
                    <a:pt x="10" y="10"/>
                  </a:lnTo>
                  <a:lnTo>
                    <a:pt x="10" y="21"/>
                  </a:lnTo>
                  <a:lnTo>
                    <a:pt x="20" y="21"/>
                  </a:lnTo>
                  <a:lnTo>
                    <a:pt x="30" y="21"/>
                  </a:lnTo>
                  <a:lnTo>
                    <a:pt x="40" y="31"/>
                  </a:lnTo>
                  <a:lnTo>
                    <a:pt x="50" y="41"/>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433" name="Freeform 11">
              <a:extLst>
                <a:ext uri="{FF2B5EF4-FFF2-40B4-BE49-F238E27FC236}">
                  <a16:creationId xmlns:a16="http://schemas.microsoft.com/office/drawing/2014/main" id="{5242995C-BB22-4E85-A684-8B24EB8673E1}"/>
                </a:ext>
              </a:extLst>
            </p:cNvPr>
            <p:cNvSpPr>
              <a:spLocks noChangeAspect="1"/>
            </p:cNvSpPr>
            <p:nvPr/>
          </p:nvSpPr>
          <p:spPr bwMode="auto">
            <a:xfrm>
              <a:off x="1816097" y="6091258"/>
              <a:ext cx="314325" cy="250825"/>
            </a:xfrm>
            <a:custGeom>
              <a:avLst/>
              <a:gdLst>
                <a:gd name="T0" fmla="*/ 223 w 304"/>
                <a:gd name="T1" fmla="*/ 152 h 243"/>
                <a:gd name="T2" fmla="*/ 233 w 304"/>
                <a:gd name="T3" fmla="*/ 142 h 243"/>
                <a:gd name="T4" fmla="*/ 243 w 304"/>
                <a:gd name="T5" fmla="*/ 142 h 243"/>
                <a:gd name="T6" fmla="*/ 263 w 304"/>
                <a:gd name="T7" fmla="*/ 132 h 243"/>
                <a:gd name="T8" fmla="*/ 283 w 304"/>
                <a:gd name="T9" fmla="*/ 121 h 243"/>
                <a:gd name="T10" fmla="*/ 294 w 304"/>
                <a:gd name="T11" fmla="*/ 111 h 243"/>
                <a:gd name="T12" fmla="*/ 304 w 304"/>
                <a:gd name="T13" fmla="*/ 101 h 243"/>
                <a:gd name="T14" fmla="*/ 273 w 304"/>
                <a:gd name="T15" fmla="*/ 101 h 243"/>
                <a:gd name="T16" fmla="*/ 263 w 304"/>
                <a:gd name="T17" fmla="*/ 101 h 243"/>
                <a:gd name="T18" fmla="*/ 273 w 304"/>
                <a:gd name="T19" fmla="*/ 81 h 243"/>
                <a:gd name="T20" fmla="*/ 283 w 304"/>
                <a:gd name="T21" fmla="*/ 71 h 243"/>
                <a:gd name="T22" fmla="*/ 294 w 304"/>
                <a:gd name="T23" fmla="*/ 50 h 243"/>
                <a:gd name="T24" fmla="*/ 283 w 304"/>
                <a:gd name="T25" fmla="*/ 40 h 243"/>
                <a:gd name="T26" fmla="*/ 283 w 304"/>
                <a:gd name="T27" fmla="*/ 30 h 243"/>
                <a:gd name="T28" fmla="*/ 273 w 304"/>
                <a:gd name="T29" fmla="*/ 10 h 243"/>
                <a:gd name="T30" fmla="*/ 263 w 304"/>
                <a:gd name="T31" fmla="*/ 10 h 243"/>
                <a:gd name="T32" fmla="*/ 253 w 304"/>
                <a:gd name="T33" fmla="*/ 10 h 243"/>
                <a:gd name="T34" fmla="*/ 243 w 304"/>
                <a:gd name="T35" fmla="*/ 30 h 243"/>
                <a:gd name="T36" fmla="*/ 233 w 304"/>
                <a:gd name="T37" fmla="*/ 61 h 243"/>
                <a:gd name="T38" fmla="*/ 223 w 304"/>
                <a:gd name="T39" fmla="*/ 61 h 243"/>
                <a:gd name="T40" fmla="*/ 213 w 304"/>
                <a:gd name="T41" fmla="*/ 61 h 243"/>
                <a:gd name="T42" fmla="*/ 213 w 304"/>
                <a:gd name="T43" fmla="*/ 40 h 243"/>
                <a:gd name="T44" fmla="*/ 192 w 304"/>
                <a:gd name="T45" fmla="*/ 40 h 243"/>
                <a:gd name="T46" fmla="*/ 172 w 304"/>
                <a:gd name="T47" fmla="*/ 50 h 243"/>
                <a:gd name="T48" fmla="*/ 162 w 304"/>
                <a:gd name="T49" fmla="*/ 61 h 243"/>
                <a:gd name="T50" fmla="*/ 172 w 304"/>
                <a:gd name="T51" fmla="*/ 81 h 243"/>
                <a:gd name="T52" fmla="*/ 182 w 304"/>
                <a:gd name="T53" fmla="*/ 91 h 243"/>
                <a:gd name="T54" fmla="*/ 192 w 304"/>
                <a:gd name="T55" fmla="*/ 101 h 243"/>
                <a:gd name="T56" fmla="*/ 182 w 304"/>
                <a:gd name="T57" fmla="*/ 111 h 243"/>
                <a:gd name="T58" fmla="*/ 172 w 304"/>
                <a:gd name="T59" fmla="*/ 132 h 243"/>
                <a:gd name="T60" fmla="*/ 152 w 304"/>
                <a:gd name="T61" fmla="*/ 142 h 243"/>
                <a:gd name="T62" fmla="*/ 122 w 304"/>
                <a:gd name="T63" fmla="*/ 152 h 243"/>
                <a:gd name="T64" fmla="*/ 81 w 304"/>
                <a:gd name="T65" fmla="*/ 152 h 243"/>
                <a:gd name="T66" fmla="*/ 71 w 304"/>
                <a:gd name="T67" fmla="*/ 142 h 243"/>
                <a:gd name="T68" fmla="*/ 61 w 304"/>
                <a:gd name="T69" fmla="*/ 132 h 243"/>
                <a:gd name="T70" fmla="*/ 61 w 304"/>
                <a:gd name="T71" fmla="*/ 152 h 243"/>
                <a:gd name="T72" fmla="*/ 51 w 304"/>
                <a:gd name="T73" fmla="*/ 162 h 243"/>
                <a:gd name="T74" fmla="*/ 31 w 304"/>
                <a:gd name="T75" fmla="*/ 182 h 243"/>
                <a:gd name="T76" fmla="*/ 10 w 304"/>
                <a:gd name="T77" fmla="*/ 182 h 243"/>
                <a:gd name="T78" fmla="*/ 0 w 304"/>
                <a:gd name="T79" fmla="*/ 202 h 243"/>
                <a:gd name="T80" fmla="*/ 31 w 304"/>
                <a:gd name="T81" fmla="*/ 202 h 243"/>
                <a:gd name="T82" fmla="*/ 31 w 304"/>
                <a:gd name="T83" fmla="*/ 213 h 243"/>
                <a:gd name="T84" fmla="*/ 41 w 304"/>
                <a:gd name="T85" fmla="*/ 223 h 243"/>
                <a:gd name="T86" fmla="*/ 61 w 304"/>
                <a:gd name="T87" fmla="*/ 223 h 243"/>
                <a:gd name="T88" fmla="*/ 81 w 304"/>
                <a:gd name="T89" fmla="*/ 233 h 243"/>
                <a:gd name="T90" fmla="*/ 101 w 304"/>
                <a:gd name="T91" fmla="*/ 243 h 243"/>
                <a:gd name="T92" fmla="*/ 122 w 304"/>
                <a:gd name="T93" fmla="*/ 223 h 243"/>
                <a:gd name="T94" fmla="*/ 132 w 304"/>
                <a:gd name="T95" fmla="*/ 202 h 243"/>
                <a:gd name="T96" fmla="*/ 162 w 304"/>
                <a:gd name="T97" fmla="*/ 202 h 243"/>
                <a:gd name="T98" fmla="*/ 182 w 304"/>
                <a:gd name="T99" fmla="*/ 202 h 243"/>
                <a:gd name="T100" fmla="*/ 203 w 304"/>
                <a:gd name="T101" fmla="*/ 213 h 243"/>
                <a:gd name="T102" fmla="*/ 213 w 304"/>
                <a:gd name="T103" fmla="*/ 223 h 243"/>
                <a:gd name="T104" fmla="*/ 213 w 304"/>
                <a:gd name="T105" fmla="*/ 202 h 243"/>
                <a:gd name="T106" fmla="*/ 213 w 304"/>
                <a:gd name="T107" fmla="*/ 182 h 243"/>
                <a:gd name="T108" fmla="*/ 213 w 304"/>
                <a:gd name="T109" fmla="*/ 17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4" h="243">
                  <a:moveTo>
                    <a:pt x="213" y="172"/>
                  </a:moveTo>
                  <a:lnTo>
                    <a:pt x="223" y="162"/>
                  </a:lnTo>
                  <a:lnTo>
                    <a:pt x="223" y="152"/>
                  </a:lnTo>
                  <a:lnTo>
                    <a:pt x="223" y="142"/>
                  </a:lnTo>
                  <a:lnTo>
                    <a:pt x="233" y="142"/>
                  </a:lnTo>
                  <a:lnTo>
                    <a:pt x="243" y="142"/>
                  </a:lnTo>
                  <a:lnTo>
                    <a:pt x="253" y="142"/>
                  </a:lnTo>
                  <a:lnTo>
                    <a:pt x="263" y="132"/>
                  </a:lnTo>
                  <a:lnTo>
                    <a:pt x="273" y="121"/>
                  </a:lnTo>
                  <a:lnTo>
                    <a:pt x="283" y="121"/>
                  </a:lnTo>
                  <a:lnTo>
                    <a:pt x="283" y="111"/>
                  </a:lnTo>
                  <a:lnTo>
                    <a:pt x="294" y="111"/>
                  </a:lnTo>
                  <a:lnTo>
                    <a:pt x="304" y="111"/>
                  </a:lnTo>
                  <a:lnTo>
                    <a:pt x="304" y="101"/>
                  </a:lnTo>
                  <a:lnTo>
                    <a:pt x="294" y="101"/>
                  </a:lnTo>
                  <a:lnTo>
                    <a:pt x="283" y="101"/>
                  </a:lnTo>
                  <a:lnTo>
                    <a:pt x="273" y="101"/>
                  </a:lnTo>
                  <a:lnTo>
                    <a:pt x="263" y="101"/>
                  </a:lnTo>
                  <a:lnTo>
                    <a:pt x="273" y="91"/>
                  </a:lnTo>
                  <a:lnTo>
                    <a:pt x="273" y="81"/>
                  </a:lnTo>
                  <a:lnTo>
                    <a:pt x="273" y="71"/>
                  </a:lnTo>
                  <a:lnTo>
                    <a:pt x="283" y="71"/>
                  </a:lnTo>
                  <a:lnTo>
                    <a:pt x="294" y="61"/>
                  </a:lnTo>
                  <a:lnTo>
                    <a:pt x="294" y="50"/>
                  </a:lnTo>
                  <a:lnTo>
                    <a:pt x="283" y="40"/>
                  </a:lnTo>
                  <a:lnTo>
                    <a:pt x="283" y="30"/>
                  </a:lnTo>
                  <a:lnTo>
                    <a:pt x="273" y="30"/>
                  </a:lnTo>
                  <a:lnTo>
                    <a:pt x="273" y="20"/>
                  </a:lnTo>
                  <a:lnTo>
                    <a:pt x="273" y="10"/>
                  </a:lnTo>
                  <a:lnTo>
                    <a:pt x="263" y="10"/>
                  </a:lnTo>
                  <a:lnTo>
                    <a:pt x="253" y="0"/>
                  </a:lnTo>
                  <a:lnTo>
                    <a:pt x="253" y="10"/>
                  </a:lnTo>
                  <a:lnTo>
                    <a:pt x="253" y="20"/>
                  </a:lnTo>
                  <a:lnTo>
                    <a:pt x="243" y="30"/>
                  </a:lnTo>
                  <a:lnTo>
                    <a:pt x="243" y="50"/>
                  </a:lnTo>
                  <a:lnTo>
                    <a:pt x="233" y="50"/>
                  </a:lnTo>
                  <a:lnTo>
                    <a:pt x="233" y="61"/>
                  </a:lnTo>
                  <a:lnTo>
                    <a:pt x="223" y="71"/>
                  </a:lnTo>
                  <a:lnTo>
                    <a:pt x="223" y="61"/>
                  </a:lnTo>
                  <a:lnTo>
                    <a:pt x="213" y="61"/>
                  </a:lnTo>
                  <a:lnTo>
                    <a:pt x="213" y="50"/>
                  </a:lnTo>
                  <a:lnTo>
                    <a:pt x="213" y="40"/>
                  </a:lnTo>
                  <a:lnTo>
                    <a:pt x="203" y="40"/>
                  </a:lnTo>
                  <a:lnTo>
                    <a:pt x="192" y="40"/>
                  </a:lnTo>
                  <a:lnTo>
                    <a:pt x="182" y="50"/>
                  </a:lnTo>
                  <a:lnTo>
                    <a:pt x="172" y="50"/>
                  </a:lnTo>
                  <a:lnTo>
                    <a:pt x="162" y="61"/>
                  </a:lnTo>
                  <a:lnTo>
                    <a:pt x="162" y="71"/>
                  </a:lnTo>
                  <a:lnTo>
                    <a:pt x="172" y="81"/>
                  </a:lnTo>
                  <a:lnTo>
                    <a:pt x="182" y="91"/>
                  </a:lnTo>
                  <a:lnTo>
                    <a:pt x="192" y="91"/>
                  </a:lnTo>
                  <a:lnTo>
                    <a:pt x="192" y="101"/>
                  </a:lnTo>
                  <a:lnTo>
                    <a:pt x="182" y="111"/>
                  </a:lnTo>
                  <a:lnTo>
                    <a:pt x="172" y="121"/>
                  </a:lnTo>
                  <a:lnTo>
                    <a:pt x="172" y="132"/>
                  </a:lnTo>
                  <a:lnTo>
                    <a:pt x="152" y="142"/>
                  </a:lnTo>
                  <a:lnTo>
                    <a:pt x="152" y="152"/>
                  </a:lnTo>
                  <a:lnTo>
                    <a:pt x="132" y="152"/>
                  </a:lnTo>
                  <a:lnTo>
                    <a:pt x="122" y="152"/>
                  </a:lnTo>
                  <a:lnTo>
                    <a:pt x="101" y="152"/>
                  </a:lnTo>
                  <a:lnTo>
                    <a:pt x="81" y="152"/>
                  </a:lnTo>
                  <a:lnTo>
                    <a:pt x="71" y="142"/>
                  </a:lnTo>
                  <a:lnTo>
                    <a:pt x="61" y="132"/>
                  </a:lnTo>
                  <a:lnTo>
                    <a:pt x="61" y="142"/>
                  </a:lnTo>
                  <a:lnTo>
                    <a:pt x="61" y="152"/>
                  </a:lnTo>
                  <a:lnTo>
                    <a:pt x="51" y="152"/>
                  </a:lnTo>
                  <a:lnTo>
                    <a:pt x="51" y="162"/>
                  </a:lnTo>
                  <a:lnTo>
                    <a:pt x="51" y="172"/>
                  </a:lnTo>
                  <a:lnTo>
                    <a:pt x="41" y="172"/>
                  </a:lnTo>
                  <a:lnTo>
                    <a:pt x="31" y="182"/>
                  </a:lnTo>
                  <a:lnTo>
                    <a:pt x="20" y="182"/>
                  </a:lnTo>
                  <a:lnTo>
                    <a:pt x="10" y="182"/>
                  </a:lnTo>
                  <a:lnTo>
                    <a:pt x="0" y="192"/>
                  </a:lnTo>
                  <a:lnTo>
                    <a:pt x="0" y="202"/>
                  </a:lnTo>
                  <a:lnTo>
                    <a:pt x="10" y="202"/>
                  </a:lnTo>
                  <a:lnTo>
                    <a:pt x="20" y="202"/>
                  </a:lnTo>
                  <a:lnTo>
                    <a:pt x="31" y="202"/>
                  </a:lnTo>
                  <a:lnTo>
                    <a:pt x="31" y="213"/>
                  </a:lnTo>
                  <a:lnTo>
                    <a:pt x="31" y="223"/>
                  </a:lnTo>
                  <a:lnTo>
                    <a:pt x="41" y="223"/>
                  </a:lnTo>
                  <a:lnTo>
                    <a:pt x="51" y="223"/>
                  </a:lnTo>
                  <a:lnTo>
                    <a:pt x="61" y="223"/>
                  </a:lnTo>
                  <a:lnTo>
                    <a:pt x="71" y="233"/>
                  </a:lnTo>
                  <a:lnTo>
                    <a:pt x="81" y="233"/>
                  </a:lnTo>
                  <a:lnTo>
                    <a:pt x="91" y="243"/>
                  </a:lnTo>
                  <a:lnTo>
                    <a:pt x="101" y="243"/>
                  </a:lnTo>
                  <a:lnTo>
                    <a:pt x="101" y="233"/>
                  </a:lnTo>
                  <a:lnTo>
                    <a:pt x="111" y="233"/>
                  </a:lnTo>
                  <a:lnTo>
                    <a:pt x="122" y="223"/>
                  </a:lnTo>
                  <a:lnTo>
                    <a:pt x="122" y="213"/>
                  </a:lnTo>
                  <a:lnTo>
                    <a:pt x="132" y="202"/>
                  </a:lnTo>
                  <a:lnTo>
                    <a:pt x="142" y="202"/>
                  </a:lnTo>
                  <a:lnTo>
                    <a:pt x="152" y="202"/>
                  </a:lnTo>
                  <a:lnTo>
                    <a:pt x="162" y="202"/>
                  </a:lnTo>
                  <a:lnTo>
                    <a:pt x="172" y="202"/>
                  </a:lnTo>
                  <a:lnTo>
                    <a:pt x="182" y="202"/>
                  </a:lnTo>
                  <a:lnTo>
                    <a:pt x="192" y="202"/>
                  </a:lnTo>
                  <a:lnTo>
                    <a:pt x="192" y="213"/>
                  </a:lnTo>
                  <a:lnTo>
                    <a:pt x="203" y="213"/>
                  </a:lnTo>
                  <a:lnTo>
                    <a:pt x="203" y="223"/>
                  </a:lnTo>
                  <a:lnTo>
                    <a:pt x="213" y="223"/>
                  </a:lnTo>
                  <a:lnTo>
                    <a:pt x="213" y="213"/>
                  </a:lnTo>
                  <a:lnTo>
                    <a:pt x="213" y="202"/>
                  </a:lnTo>
                  <a:lnTo>
                    <a:pt x="213" y="192"/>
                  </a:lnTo>
                  <a:lnTo>
                    <a:pt x="213" y="182"/>
                  </a:lnTo>
                  <a:lnTo>
                    <a:pt x="213" y="172"/>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sp>
          <p:nvSpPr>
            <p:cNvPr id="434" name="Freeform 10">
              <a:extLst>
                <a:ext uri="{FF2B5EF4-FFF2-40B4-BE49-F238E27FC236}">
                  <a16:creationId xmlns:a16="http://schemas.microsoft.com/office/drawing/2014/main" id="{BF090491-9E21-4941-B9A6-52889FA097D9}"/>
                </a:ext>
              </a:extLst>
            </p:cNvPr>
            <p:cNvSpPr>
              <a:spLocks noChangeAspect="1"/>
            </p:cNvSpPr>
            <p:nvPr/>
          </p:nvSpPr>
          <p:spPr bwMode="auto">
            <a:xfrm>
              <a:off x="1754188" y="6426200"/>
              <a:ext cx="42862" cy="42863"/>
            </a:xfrm>
            <a:custGeom>
              <a:avLst/>
              <a:gdLst>
                <a:gd name="T0" fmla="*/ 31 w 41"/>
                <a:gd name="T1" fmla="*/ 20 h 41"/>
                <a:gd name="T2" fmla="*/ 31 w 41"/>
                <a:gd name="T3" fmla="*/ 20 h 41"/>
                <a:gd name="T4" fmla="*/ 41 w 41"/>
                <a:gd name="T5" fmla="*/ 30 h 41"/>
                <a:gd name="T6" fmla="*/ 41 w 41"/>
                <a:gd name="T7" fmla="*/ 41 h 41"/>
                <a:gd name="T8" fmla="*/ 31 w 41"/>
                <a:gd name="T9" fmla="*/ 41 h 41"/>
                <a:gd name="T10" fmla="*/ 31 w 41"/>
                <a:gd name="T11" fmla="*/ 41 h 41"/>
                <a:gd name="T12" fmla="*/ 21 w 41"/>
                <a:gd name="T13" fmla="*/ 41 h 41"/>
                <a:gd name="T14" fmla="*/ 11 w 41"/>
                <a:gd name="T15" fmla="*/ 30 h 41"/>
                <a:gd name="T16" fmla="*/ 11 w 41"/>
                <a:gd name="T17" fmla="*/ 30 h 41"/>
                <a:gd name="T18" fmla="*/ 0 w 41"/>
                <a:gd name="T19" fmla="*/ 30 h 41"/>
                <a:gd name="T20" fmla="*/ 0 w 41"/>
                <a:gd name="T21" fmla="*/ 20 h 41"/>
                <a:gd name="T22" fmla="*/ 0 w 41"/>
                <a:gd name="T23" fmla="*/ 20 h 41"/>
                <a:gd name="T24" fmla="*/ 0 w 41"/>
                <a:gd name="T25" fmla="*/ 20 h 41"/>
                <a:gd name="T26" fmla="*/ 11 w 41"/>
                <a:gd name="T27" fmla="*/ 10 h 41"/>
                <a:gd name="T28" fmla="*/ 11 w 41"/>
                <a:gd name="T29" fmla="*/ 10 h 41"/>
                <a:gd name="T30" fmla="*/ 11 w 41"/>
                <a:gd name="T31" fmla="*/ 0 h 41"/>
                <a:gd name="T32" fmla="*/ 21 w 41"/>
                <a:gd name="T33" fmla="*/ 0 h 41"/>
                <a:gd name="T34" fmla="*/ 21 w 41"/>
                <a:gd name="T35" fmla="*/ 10 h 41"/>
                <a:gd name="T36" fmla="*/ 31 w 41"/>
                <a:gd name="T37" fmla="*/ 10 h 41"/>
                <a:gd name="T38" fmla="*/ 31 w 41"/>
                <a:gd name="T39" fmla="*/ 10 h 41"/>
                <a:gd name="T40" fmla="*/ 31 w 41"/>
                <a:gd name="T41"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 h="41">
                  <a:moveTo>
                    <a:pt x="31" y="20"/>
                  </a:moveTo>
                  <a:lnTo>
                    <a:pt x="31" y="20"/>
                  </a:lnTo>
                  <a:lnTo>
                    <a:pt x="41" y="30"/>
                  </a:lnTo>
                  <a:lnTo>
                    <a:pt x="41" y="41"/>
                  </a:lnTo>
                  <a:lnTo>
                    <a:pt x="31" y="41"/>
                  </a:lnTo>
                  <a:lnTo>
                    <a:pt x="21" y="41"/>
                  </a:lnTo>
                  <a:lnTo>
                    <a:pt x="11" y="30"/>
                  </a:lnTo>
                  <a:lnTo>
                    <a:pt x="0" y="30"/>
                  </a:lnTo>
                  <a:lnTo>
                    <a:pt x="0" y="20"/>
                  </a:lnTo>
                  <a:lnTo>
                    <a:pt x="11" y="10"/>
                  </a:lnTo>
                  <a:lnTo>
                    <a:pt x="11" y="0"/>
                  </a:lnTo>
                  <a:lnTo>
                    <a:pt x="21" y="0"/>
                  </a:lnTo>
                  <a:lnTo>
                    <a:pt x="21" y="10"/>
                  </a:lnTo>
                  <a:lnTo>
                    <a:pt x="31" y="10"/>
                  </a:lnTo>
                  <a:lnTo>
                    <a:pt x="31" y="20"/>
                  </a:lnTo>
                </a:path>
              </a:pathLst>
            </a:custGeom>
            <a:grpFill/>
            <a:ln w="9525">
              <a:solidFill>
                <a:schemeClr val="accent2"/>
              </a:solidFill>
              <a:round/>
              <a:headEnd/>
              <a:tailEnd/>
            </a:ln>
          </p:spPr>
          <p:txBody>
            <a:bodyPr/>
            <a:lstStyle/>
            <a:p>
              <a:pPr fontAlgn="base">
                <a:spcBef>
                  <a:spcPct val="0"/>
                </a:spcBef>
                <a:spcAft>
                  <a:spcPct val="0"/>
                </a:spcAft>
              </a:pPr>
              <a:endParaRPr lang="fr-FR" sz="1200">
                <a:solidFill>
                  <a:srgbClr val="503078"/>
                </a:solidFill>
                <a:latin typeface="Tahoma"/>
                <a:cs typeface="Arial" pitchFamily="34" charset="0"/>
              </a:endParaRPr>
            </a:p>
          </p:txBody>
        </p:sp>
      </p:grpSp>
      <p:sp>
        <p:nvSpPr>
          <p:cNvPr id="435" name="ZoneTexte 434">
            <a:extLst>
              <a:ext uri="{FF2B5EF4-FFF2-40B4-BE49-F238E27FC236}">
                <a16:creationId xmlns:a16="http://schemas.microsoft.com/office/drawing/2014/main" id="{EA545F79-854C-4F43-A757-F3DC385CA087}"/>
              </a:ext>
            </a:extLst>
          </p:cNvPr>
          <p:cNvSpPr txBox="1"/>
          <p:nvPr/>
        </p:nvSpPr>
        <p:spPr>
          <a:xfrm>
            <a:off x="4430475" y="6078181"/>
            <a:ext cx="1026563" cy="507831"/>
          </a:xfrm>
          <a:prstGeom prst="rect">
            <a:avLst/>
          </a:prstGeom>
          <a:noFill/>
        </p:spPr>
        <p:txBody>
          <a:bodyPr wrap="square" lIns="108000" rIns="108000" rtlCol="0">
            <a:spAutoFit/>
          </a:bodyPr>
          <a:lstStyle/>
          <a:p>
            <a:endParaRPr lang="fr-FR" sz="900">
              <a:solidFill>
                <a:srgbClr val="5F5F5F"/>
              </a:solidFill>
              <a:latin typeface="Tahoma"/>
            </a:endParaRPr>
          </a:p>
          <a:p>
            <a:pPr algn="ctr"/>
            <a:r>
              <a:rPr lang="fr-FR" sz="900" b="1">
                <a:solidFill>
                  <a:srgbClr val="503078"/>
                </a:solidFill>
                <a:latin typeface="Tahoma"/>
              </a:rPr>
              <a:t>Guadeloupe</a:t>
            </a:r>
            <a:endParaRPr lang="fr-FR" sz="900">
              <a:solidFill>
                <a:srgbClr val="5F5F5F"/>
              </a:solidFill>
              <a:latin typeface="Tahoma"/>
            </a:endParaRPr>
          </a:p>
          <a:p>
            <a:endParaRPr lang="fr-FR" sz="900">
              <a:solidFill>
                <a:srgbClr val="5F5F5F"/>
              </a:solidFill>
              <a:latin typeface="Tahoma"/>
            </a:endParaRPr>
          </a:p>
        </p:txBody>
      </p:sp>
      <p:sp>
        <p:nvSpPr>
          <p:cNvPr id="436" name="ZoneTexte 435">
            <a:extLst>
              <a:ext uri="{FF2B5EF4-FFF2-40B4-BE49-F238E27FC236}">
                <a16:creationId xmlns:a16="http://schemas.microsoft.com/office/drawing/2014/main" id="{4227BDE3-81B2-458E-9C31-D37FD98A595A}"/>
              </a:ext>
            </a:extLst>
          </p:cNvPr>
          <p:cNvSpPr txBox="1"/>
          <p:nvPr/>
        </p:nvSpPr>
        <p:spPr>
          <a:xfrm>
            <a:off x="3691543" y="6077375"/>
            <a:ext cx="850317" cy="507831"/>
          </a:xfrm>
          <a:prstGeom prst="rect">
            <a:avLst/>
          </a:prstGeom>
          <a:noFill/>
        </p:spPr>
        <p:txBody>
          <a:bodyPr wrap="square" lIns="108000" rIns="108000" rtlCol="0">
            <a:spAutoFit/>
          </a:bodyPr>
          <a:lstStyle/>
          <a:p>
            <a:endParaRPr lang="fr-FR" sz="900">
              <a:solidFill>
                <a:srgbClr val="5F5F5F"/>
              </a:solidFill>
              <a:latin typeface="Tahoma"/>
            </a:endParaRPr>
          </a:p>
          <a:p>
            <a:pPr algn="ctr"/>
            <a:r>
              <a:rPr lang="fr-FR" sz="900" b="1">
                <a:solidFill>
                  <a:srgbClr val="503078"/>
                </a:solidFill>
                <a:latin typeface="Tahoma"/>
              </a:rPr>
              <a:t>Martinique</a:t>
            </a:r>
            <a:endParaRPr lang="fr-FR" sz="900">
              <a:solidFill>
                <a:srgbClr val="5F5F5F"/>
              </a:solidFill>
              <a:latin typeface="Tahoma"/>
            </a:endParaRPr>
          </a:p>
          <a:p>
            <a:endParaRPr lang="fr-FR" sz="900">
              <a:solidFill>
                <a:srgbClr val="5F5F5F"/>
              </a:solidFill>
              <a:latin typeface="Tahoma"/>
            </a:endParaRPr>
          </a:p>
        </p:txBody>
      </p:sp>
      <p:sp>
        <p:nvSpPr>
          <p:cNvPr id="437" name="Martinique">
            <a:extLst>
              <a:ext uri="{FF2B5EF4-FFF2-40B4-BE49-F238E27FC236}">
                <a16:creationId xmlns:a16="http://schemas.microsoft.com/office/drawing/2014/main" id="{2B44B295-55D4-4AFF-BCB2-7B044D61E2BA}"/>
              </a:ext>
            </a:extLst>
          </p:cNvPr>
          <p:cNvSpPr>
            <a:spLocks noChangeAspect="1"/>
          </p:cNvSpPr>
          <p:nvPr/>
        </p:nvSpPr>
        <p:spPr bwMode="auto">
          <a:xfrm>
            <a:off x="3971538" y="6455960"/>
            <a:ext cx="247476" cy="252447"/>
          </a:xfrm>
          <a:custGeom>
            <a:avLst/>
            <a:gdLst>
              <a:gd name="T0" fmla="*/ 2985 w 4645"/>
              <a:gd name="T1" fmla="*/ 1540 h 5278"/>
              <a:gd name="T2" fmla="*/ 3319 w 4645"/>
              <a:gd name="T3" fmla="*/ 1236 h 5278"/>
              <a:gd name="T4" fmla="*/ 3694 w 4645"/>
              <a:gd name="T5" fmla="*/ 1135 h 5278"/>
              <a:gd name="T6" fmla="*/ 3916 w 4645"/>
              <a:gd name="T7" fmla="*/ 1195 h 5278"/>
              <a:gd name="T8" fmla="*/ 3694 w 4645"/>
              <a:gd name="T9" fmla="*/ 1256 h 5278"/>
              <a:gd name="T10" fmla="*/ 3734 w 4645"/>
              <a:gd name="T11" fmla="*/ 1519 h 5278"/>
              <a:gd name="T12" fmla="*/ 3481 w 4645"/>
              <a:gd name="T13" fmla="*/ 1459 h 5278"/>
              <a:gd name="T14" fmla="*/ 3147 w 4645"/>
              <a:gd name="T15" fmla="*/ 1519 h 5278"/>
              <a:gd name="T16" fmla="*/ 3259 w 4645"/>
              <a:gd name="T17" fmla="*/ 1752 h 5278"/>
              <a:gd name="T18" fmla="*/ 3431 w 4645"/>
              <a:gd name="T19" fmla="*/ 1773 h 5278"/>
              <a:gd name="T20" fmla="*/ 3593 w 4645"/>
              <a:gd name="T21" fmla="*/ 1996 h 5278"/>
              <a:gd name="T22" fmla="*/ 3390 w 4645"/>
              <a:gd name="T23" fmla="*/ 2178 h 5278"/>
              <a:gd name="T24" fmla="*/ 3289 w 4645"/>
              <a:gd name="T25" fmla="*/ 2391 h 5278"/>
              <a:gd name="T26" fmla="*/ 3582 w 4645"/>
              <a:gd name="T27" fmla="*/ 2300 h 5278"/>
              <a:gd name="T28" fmla="*/ 3835 w 4645"/>
              <a:gd name="T29" fmla="*/ 2370 h 5278"/>
              <a:gd name="T30" fmla="*/ 3593 w 4645"/>
              <a:gd name="T31" fmla="*/ 2502 h 5278"/>
              <a:gd name="T32" fmla="*/ 3744 w 4645"/>
              <a:gd name="T33" fmla="*/ 2684 h 5278"/>
              <a:gd name="T34" fmla="*/ 3835 w 4645"/>
              <a:gd name="T35" fmla="*/ 2826 h 5278"/>
              <a:gd name="T36" fmla="*/ 3977 w 4645"/>
              <a:gd name="T37" fmla="*/ 3059 h 5278"/>
              <a:gd name="T38" fmla="*/ 4250 w 4645"/>
              <a:gd name="T39" fmla="*/ 3211 h 5278"/>
              <a:gd name="T40" fmla="*/ 4250 w 4645"/>
              <a:gd name="T41" fmla="*/ 3363 h 5278"/>
              <a:gd name="T42" fmla="*/ 4422 w 4645"/>
              <a:gd name="T43" fmla="*/ 3475 h 5278"/>
              <a:gd name="T44" fmla="*/ 4453 w 4645"/>
              <a:gd name="T45" fmla="*/ 3768 h 5278"/>
              <a:gd name="T46" fmla="*/ 4422 w 4645"/>
              <a:gd name="T47" fmla="*/ 4012 h 5278"/>
              <a:gd name="T48" fmla="*/ 4645 w 4645"/>
              <a:gd name="T49" fmla="*/ 4315 h 5278"/>
              <a:gd name="T50" fmla="*/ 4645 w 4645"/>
              <a:gd name="T51" fmla="*/ 4559 h 5278"/>
              <a:gd name="T52" fmla="*/ 4432 w 4645"/>
              <a:gd name="T53" fmla="*/ 4862 h 5278"/>
              <a:gd name="T54" fmla="*/ 4260 w 4645"/>
              <a:gd name="T55" fmla="*/ 4994 h 5278"/>
              <a:gd name="T56" fmla="*/ 4139 w 4645"/>
              <a:gd name="T57" fmla="*/ 5278 h 5278"/>
              <a:gd name="T58" fmla="*/ 3835 w 4645"/>
              <a:gd name="T59" fmla="*/ 5156 h 5278"/>
              <a:gd name="T60" fmla="*/ 3896 w 4645"/>
              <a:gd name="T61" fmla="*/ 4802 h 5278"/>
              <a:gd name="T62" fmla="*/ 4068 w 4645"/>
              <a:gd name="T63" fmla="*/ 4619 h 5278"/>
              <a:gd name="T64" fmla="*/ 3754 w 4645"/>
              <a:gd name="T65" fmla="*/ 4609 h 5278"/>
              <a:gd name="T66" fmla="*/ 3552 w 4645"/>
              <a:gd name="T67" fmla="*/ 4447 h 5278"/>
              <a:gd name="T68" fmla="*/ 3046 w 4645"/>
              <a:gd name="T69" fmla="*/ 4498 h 5278"/>
              <a:gd name="T70" fmla="*/ 2743 w 4645"/>
              <a:gd name="T71" fmla="*/ 4376 h 5278"/>
              <a:gd name="T72" fmla="*/ 2550 w 4645"/>
              <a:gd name="T73" fmla="*/ 4427 h 5278"/>
              <a:gd name="T74" fmla="*/ 2054 w 4645"/>
              <a:gd name="T75" fmla="*/ 4498 h 5278"/>
              <a:gd name="T76" fmla="*/ 1670 w 4645"/>
              <a:gd name="T77" fmla="*/ 4396 h 5278"/>
              <a:gd name="T78" fmla="*/ 1478 w 4645"/>
              <a:gd name="T79" fmla="*/ 4042 h 5278"/>
              <a:gd name="T80" fmla="*/ 1751 w 4645"/>
              <a:gd name="T81" fmla="*/ 3738 h 5278"/>
              <a:gd name="T82" fmla="*/ 2014 w 4645"/>
              <a:gd name="T83" fmla="*/ 3505 h 5278"/>
              <a:gd name="T84" fmla="*/ 2277 w 4645"/>
              <a:gd name="T85" fmla="*/ 3728 h 5278"/>
              <a:gd name="T86" fmla="*/ 2601 w 4645"/>
              <a:gd name="T87" fmla="*/ 3637 h 5278"/>
              <a:gd name="T88" fmla="*/ 2500 w 4645"/>
              <a:gd name="T89" fmla="*/ 3454 h 5278"/>
              <a:gd name="T90" fmla="*/ 2318 w 4645"/>
              <a:gd name="T91" fmla="*/ 3221 h 5278"/>
              <a:gd name="T92" fmla="*/ 2257 w 4645"/>
              <a:gd name="T93" fmla="*/ 2917 h 5278"/>
              <a:gd name="T94" fmla="*/ 1974 w 4645"/>
              <a:gd name="T95" fmla="*/ 3059 h 5278"/>
              <a:gd name="T96" fmla="*/ 1771 w 4645"/>
              <a:gd name="T97" fmla="*/ 3039 h 5278"/>
              <a:gd name="T98" fmla="*/ 1457 w 4645"/>
              <a:gd name="T99" fmla="*/ 2917 h 5278"/>
              <a:gd name="T100" fmla="*/ 1043 w 4645"/>
              <a:gd name="T101" fmla="*/ 2674 h 5278"/>
              <a:gd name="T102" fmla="*/ 638 w 4645"/>
              <a:gd name="T103" fmla="*/ 2148 h 5278"/>
              <a:gd name="T104" fmla="*/ 577 w 4645"/>
              <a:gd name="T105" fmla="*/ 1408 h 5278"/>
              <a:gd name="T106" fmla="*/ 375 w 4645"/>
              <a:gd name="T107" fmla="*/ 1216 h 5278"/>
              <a:gd name="T108" fmla="*/ 91 w 4645"/>
              <a:gd name="T109" fmla="*/ 902 h 5278"/>
              <a:gd name="T110" fmla="*/ 102 w 4645"/>
              <a:gd name="T111" fmla="*/ 415 h 5278"/>
              <a:gd name="T112" fmla="*/ 638 w 4645"/>
              <a:gd name="T113" fmla="*/ 30 h 5278"/>
              <a:gd name="T114" fmla="*/ 1205 w 4645"/>
              <a:gd name="T115" fmla="*/ 91 h 5278"/>
              <a:gd name="T116" fmla="*/ 1700 w 4645"/>
              <a:gd name="T117" fmla="*/ 334 h 5278"/>
              <a:gd name="T118" fmla="*/ 2054 w 4645"/>
              <a:gd name="T119" fmla="*/ 506 h 5278"/>
              <a:gd name="T120" fmla="*/ 2378 w 4645"/>
              <a:gd name="T121" fmla="*/ 760 h 5278"/>
              <a:gd name="T122" fmla="*/ 2571 w 4645"/>
              <a:gd name="T123" fmla="*/ 993 h 5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45" h="5278">
                <a:moveTo>
                  <a:pt x="2773" y="1165"/>
                </a:moveTo>
                <a:lnTo>
                  <a:pt x="2773" y="1165"/>
                </a:lnTo>
                <a:lnTo>
                  <a:pt x="2773" y="1175"/>
                </a:lnTo>
                <a:lnTo>
                  <a:pt x="2773" y="1175"/>
                </a:lnTo>
                <a:lnTo>
                  <a:pt x="2783" y="1185"/>
                </a:lnTo>
                <a:lnTo>
                  <a:pt x="2783" y="1185"/>
                </a:lnTo>
                <a:lnTo>
                  <a:pt x="2793" y="1185"/>
                </a:lnTo>
                <a:lnTo>
                  <a:pt x="2793" y="1185"/>
                </a:lnTo>
                <a:lnTo>
                  <a:pt x="2803" y="1195"/>
                </a:lnTo>
                <a:lnTo>
                  <a:pt x="2803" y="1195"/>
                </a:lnTo>
                <a:lnTo>
                  <a:pt x="2803" y="1205"/>
                </a:lnTo>
                <a:lnTo>
                  <a:pt x="2803" y="1216"/>
                </a:lnTo>
                <a:lnTo>
                  <a:pt x="2803" y="1226"/>
                </a:lnTo>
                <a:lnTo>
                  <a:pt x="2813" y="1236"/>
                </a:lnTo>
                <a:lnTo>
                  <a:pt x="2834" y="1236"/>
                </a:lnTo>
                <a:lnTo>
                  <a:pt x="2844" y="1246"/>
                </a:lnTo>
                <a:lnTo>
                  <a:pt x="2854" y="1256"/>
                </a:lnTo>
                <a:lnTo>
                  <a:pt x="2854" y="1266"/>
                </a:lnTo>
                <a:lnTo>
                  <a:pt x="2854" y="1276"/>
                </a:lnTo>
                <a:lnTo>
                  <a:pt x="2864" y="1276"/>
                </a:lnTo>
                <a:lnTo>
                  <a:pt x="2874" y="1276"/>
                </a:lnTo>
                <a:lnTo>
                  <a:pt x="2874" y="1286"/>
                </a:lnTo>
                <a:lnTo>
                  <a:pt x="2874" y="1286"/>
                </a:lnTo>
                <a:lnTo>
                  <a:pt x="2884" y="1317"/>
                </a:lnTo>
                <a:lnTo>
                  <a:pt x="2884" y="1327"/>
                </a:lnTo>
                <a:lnTo>
                  <a:pt x="2884" y="1347"/>
                </a:lnTo>
                <a:lnTo>
                  <a:pt x="2884" y="1368"/>
                </a:lnTo>
                <a:lnTo>
                  <a:pt x="2884" y="1388"/>
                </a:lnTo>
                <a:lnTo>
                  <a:pt x="2884" y="1398"/>
                </a:lnTo>
                <a:lnTo>
                  <a:pt x="2884" y="1408"/>
                </a:lnTo>
                <a:lnTo>
                  <a:pt x="2894" y="1408"/>
                </a:lnTo>
                <a:lnTo>
                  <a:pt x="2894" y="1408"/>
                </a:lnTo>
                <a:lnTo>
                  <a:pt x="2904" y="1418"/>
                </a:lnTo>
                <a:lnTo>
                  <a:pt x="2904" y="1428"/>
                </a:lnTo>
                <a:lnTo>
                  <a:pt x="2915" y="1428"/>
                </a:lnTo>
                <a:lnTo>
                  <a:pt x="2925" y="1438"/>
                </a:lnTo>
                <a:lnTo>
                  <a:pt x="2925" y="1459"/>
                </a:lnTo>
                <a:lnTo>
                  <a:pt x="2925" y="1479"/>
                </a:lnTo>
                <a:lnTo>
                  <a:pt x="2925" y="1489"/>
                </a:lnTo>
                <a:lnTo>
                  <a:pt x="2935" y="1499"/>
                </a:lnTo>
                <a:lnTo>
                  <a:pt x="2935" y="1499"/>
                </a:lnTo>
                <a:lnTo>
                  <a:pt x="2935" y="1509"/>
                </a:lnTo>
                <a:lnTo>
                  <a:pt x="2945" y="1519"/>
                </a:lnTo>
                <a:lnTo>
                  <a:pt x="2945" y="1519"/>
                </a:lnTo>
                <a:lnTo>
                  <a:pt x="2945" y="1519"/>
                </a:lnTo>
                <a:lnTo>
                  <a:pt x="2955" y="1519"/>
                </a:lnTo>
                <a:lnTo>
                  <a:pt x="2965" y="1519"/>
                </a:lnTo>
                <a:lnTo>
                  <a:pt x="2975" y="1530"/>
                </a:lnTo>
                <a:lnTo>
                  <a:pt x="2975" y="1540"/>
                </a:lnTo>
                <a:lnTo>
                  <a:pt x="2985" y="1540"/>
                </a:lnTo>
                <a:lnTo>
                  <a:pt x="2985" y="1540"/>
                </a:lnTo>
                <a:lnTo>
                  <a:pt x="2996" y="1540"/>
                </a:lnTo>
                <a:lnTo>
                  <a:pt x="3006" y="1540"/>
                </a:lnTo>
                <a:lnTo>
                  <a:pt x="3016" y="1530"/>
                </a:lnTo>
                <a:lnTo>
                  <a:pt x="3026" y="1519"/>
                </a:lnTo>
                <a:lnTo>
                  <a:pt x="3036" y="1519"/>
                </a:lnTo>
                <a:lnTo>
                  <a:pt x="3036" y="1509"/>
                </a:lnTo>
                <a:lnTo>
                  <a:pt x="3046" y="1499"/>
                </a:lnTo>
                <a:lnTo>
                  <a:pt x="3046" y="1499"/>
                </a:lnTo>
                <a:lnTo>
                  <a:pt x="3046" y="1489"/>
                </a:lnTo>
                <a:lnTo>
                  <a:pt x="3056" y="1479"/>
                </a:lnTo>
                <a:lnTo>
                  <a:pt x="3056" y="1469"/>
                </a:lnTo>
                <a:lnTo>
                  <a:pt x="3056" y="1459"/>
                </a:lnTo>
                <a:lnTo>
                  <a:pt x="3046" y="1449"/>
                </a:lnTo>
                <a:lnTo>
                  <a:pt x="3046" y="1428"/>
                </a:lnTo>
                <a:lnTo>
                  <a:pt x="3046" y="1428"/>
                </a:lnTo>
                <a:lnTo>
                  <a:pt x="3046" y="1408"/>
                </a:lnTo>
                <a:lnTo>
                  <a:pt x="3056" y="1408"/>
                </a:lnTo>
                <a:lnTo>
                  <a:pt x="3076" y="1388"/>
                </a:lnTo>
                <a:lnTo>
                  <a:pt x="3076" y="1378"/>
                </a:lnTo>
                <a:lnTo>
                  <a:pt x="3087" y="1368"/>
                </a:lnTo>
                <a:lnTo>
                  <a:pt x="3107" y="1347"/>
                </a:lnTo>
                <a:lnTo>
                  <a:pt x="3117" y="1337"/>
                </a:lnTo>
                <a:lnTo>
                  <a:pt x="3117" y="1327"/>
                </a:lnTo>
                <a:lnTo>
                  <a:pt x="3117" y="1317"/>
                </a:lnTo>
                <a:lnTo>
                  <a:pt x="3117" y="1307"/>
                </a:lnTo>
                <a:lnTo>
                  <a:pt x="3127" y="1297"/>
                </a:lnTo>
                <a:lnTo>
                  <a:pt x="3137" y="1297"/>
                </a:lnTo>
                <a:lnTo>
                  <a:pt x="3147" y="1297"/>
                </a:lnTo>
                <a:lnTo>
                  <a:pt x="3147" y="1307"/>
                </a:lnTo>
                <a:lnTo>
                  <a:pt x="3147" y="1317"/>
                </a:lnTo>
                <a:lnTo>
                  <a:pt x="3157" y="1317"/>
                </a:lnTo>
                <a:lnTo>
                  <a:pt x="3157" y="1317"/>
                </a:lnTo>
                <a:lnTo>
                  <a:pt x="3168" y="1317"/>
                </a:lnTo>
                <a:lnTo>
                  <a:pt x="3198" y="1307"/>
                </a:lnTo>
                <a:lnTo>
                  <a:pt x="3208" y="1297"/>
                </a:lnTo>
                <a:lnTo>
                  <a:pt x="3218" y="1297"/>
                </a:lnTo>
                <a:lnTo>
                  <a:pt x="3218" y="1276"/>
                </a:lnTo>
                <a:lnTo>
                  <a:pt x="3228" y="1276"/>
                </a:lnTo>
                <a:lnTo>
                  <a:pt x="3228" y="1276"/>
                </a:lnTo>
                <a:lnTo>
                  <a:pt x="3238" y="1266"/>
                </a:lnTo>
                <a:lnTo>
                  <a:pt x="3249" y="1256"/>
                </a:lnTo>
                <a:lnTo>
                  <a:pt x="3249" y="1246"/>
                </a:lnTo>
                <a:lnTo>
                  <a:pt x="3259" y="1246"/>
                </a:lnTo>
                <a:lnTo>
                  <a:pt x="3269" y="1246"/>
                </a:lnTo>
                <a:lnTo>
                  <a:pt x="3279" y="1246"/>
                </a:lnTo>
                <a:lnTo>
                  <a:pt x="3279" y="1246"/>
                </a:lnTo>
                <a:lnTo>
                  <a:pt x="3289" y="1246"/>
                </a:lnTo>
                <a:lnTo>
                  <a:pt x="3299" y="1246"/>
                </a:lnTo>
                <a:lnTo>
                  <a:pt x="3309" y="1236"/>
                </a:lnTo>
                <a:lnTo>
                  <a:pt x="3309" y="1236"/>
                </a:lnTo>
                <a:lnTo>
                  <a:pt x="3319" y="1236"/>
                </a:lnTo>
                <a:lnTo>
                  <a:pt x="3340" y="1236"/>
                </a:lnTo>
                <a:lnTo>
                  <a:pt x="3350" y="1236"/>
                </a:lnTo>
                <a:lnTo>
                  <a:pt x="3360" y="1236"/>
                </a:lnTo>
                <a:lnTo>
                  <a:pt x="3360" y="1236"/>
                </a:lnTo>
                <a:lnTo>
                  <a:pt x="3360" y="1236"/>
                </a:lnTo>
                <a:lnTo>
                  <a:pt x="3370" y="1256"/>
                </a:lnTo>
                <a:lnTo>
                  <a:pt x="3370" y="1276"/>
                </a:lnTo>
                <a:lnTo>
                  <a:pt x="3370" y="1286"/>
                </a:lnTo>
                <a:lnTo>
                  <a:pt x="3370" y="1286"/>
                </a:lnTo>
                <a:lnTo>
                  <a:pt x="3390" y="1297"/>
                </a:lnTo>
                <a:lnTo>
                  <a:pt x="3390" y="1307"/>
                </a:lnTo>
                <a:lnTo>
                  <a:pt x="3400" y="1307"/>
                </a:lnTo>
                <a:lnTo>
                  <a:pt x="3400" y="1307"/>
                </a:lnTo>
                <a:lnTo>
                  <a:pt x="3421" y="1297"/>
                </a:lnTo>
                <a:lnTo>
                  <a:pt x="3431" y="1297"/>
                </a:lnTo>
                <a:lnTo>
                  <a:pt x="3441" y="1276"/>
                </a:lnTo>
                <a:lnTo>
                  <a:pt x="3451" y="1266"/>
                </a:lnTo>
                <a:lnTo>
                  <a:pt x="3451" y="1256"/>
                </a:lnTo>
                <a:lnTo>
                  <a:pt x="3461" y="1256"/>
                </a:lnTo>
                <a:lnTo>
                  <a:pt x="3461" y="1256"/>
                </a:lnTo>
                <a:lnTo>
                  <a:pt x="3471" y="1256"/>
                </a:lnTo>
                <a:lnTo>
                  <a:pt x="3481" y="1256"/>
                </a:lnTo>
                <a:lnTo>
                  <a:pt x="3491" y="1266"/>
                </a:lnTo>
                <a:lnTo>
                  <a:pt x="3491" y="1256"/>
                </a:lnTo>
                <a:lnTo>
                  <a:pt x="3501" y="1256"/>
                </a:lnTo>
                <a:lnTo>
                  <a:pt x="3512" y="1256"/>
                </a:lnTo>
                <a:lnTo>
                  <a:pt x="3512" y="1236"/>
                </a:lnTo>
                <a:lnTo>
                  <a:pt x="3512" y="1236"/>
                </a:lnTo>
                <a:lnTo>
                  <a:pt x="3512" y="1216"/>
                </a:lnTo>
                <a:lnTo>
                  <a:pt x="3512" y="1216"/>
                </a:lnTo>
                <a:lnTo>
                  <a:pt x="3512" y="1205"/>
                </a:lnTo>
                <a:lnTo>
                  <a:pt x="3522" y="1195"/>
                </a:lnTo>
                <a:lnTo>
                  <a:pt x="3532" y="1195"/>
                </a:lnTo>
                <a:lnTo>
                  <a:pt x="3552" y="1195"/>
                </a:lnTo>
                <a:lnTo>
                  <a:pt x="3572" y="1195"/>
                </a:lnTo>
                <a:lnTo>
                  <a:pt x="3582" y="1205"/>
                </a:lnTo>
                <a:lnTo>
                  <a:pt x="3593" y="1205"/>
                </a:lnTo>
                <a:lnTo>
                  <a:pt x="3613" y="1205"/>
                </a:lnTo>
                <a:lnTo>
                  <a:pt x="3613" y="1195"/>
                </a:lnTo>
                <a:lnTo>
                  <a:pt x="3613" y="1195"/>
                </a:lnTo>
                <a:lnTo>
                  <a:pt x="3623" y="1185"/>
                </a:lnTo>
                <a:lnTo>
                  <a:pt x="3623" y="1175"/>
                </a:lnTo>
                <a:lnTo>
                  <a:pt x="3623" y="1165"/>
                </a:lnTo>
                <a:lnTo>
                  <a:pt x="3633" y="1165"/>
                </a:lnTo>
                <a:lnTo>
                  <a:pt x="3633" y="1165"/>
                </a:lnTo>
                <a:lnTo>
                  <a:pt x="3653" y="1165"/>
                </a:lnTo>
                <a:lnTo>
                  <a:pt x="3653" y="1165"/>
                </a:lnTo>
                <a:lnTo>
                  <a:pt x="3663" y="1165"/>
                </a:lnTo>
                <a:lnTo>
                  <a:pt x="3663" y="1155"/>
                </a:lnTo>
                <a:lnTo>
                  <a:pt x="3684" y="1145"/>
                </a:lnTo>
                <a:lnTo>
                  <a:pt x="3694" y="1135"/>
                </a:lnTo>
                <a:lnTo>
                  <a:pt x="3704" y="1124"/>
                </a:lnTo>
                <a:lnTo>
                  <a:pt x="3714" y="1124"/>
                </a:lnTo>
                <a:lnTo>
                  <a:pt x="3714" y="1124"/>
                </a:lnTo>
                <a:lnTo>
                  <a:pt x="3724" y="1124"/>
                </a:lnTo>
                <a:lnTo>
                  <a:pt x="3724" y="1124"/>
                </a:lnTo>
                <a:lnTo>
                  <a:pt x="3724" y="1114"/>
                </a:lnTo>
                <a:lnTo>
                  <a:pt x="3734" y="1094"/>
                </a:lnTo>
                <a:lnTo>
                  <a:pt x="3734" y="1084"/>
                </a:lnTo>
                <a:lnTo>
                  <a:pt x="3744" y="1074"/>
                </a:lnTo>
                <a:lnTo>
                  <a:pt x="3754" y="1064"/>
                </a:lnTo>
                <a:lnTo>
                  <a:pt x="3765" y="1053"/>
                </a:lnTo>
                <a:lnTo>
                  <a:pt x="3765" y="1053"/>
                </a:lnTo>
                <a:lnTo>
                  <a:pt x="3775" y="1043"/>
                </a:lnTo>
                <a:lnTo>
                  <a:pt x="3785" y="1043"/>
                </a:lnTo>
                <a:lnTo>
                  <a:pt x="3785" y="1053"/>
                </a:lnTo>
                <a:lnTo>
                  <a:pt x="3795" y="1053"/>
                </a:lnTo>
                <a:lnTo>
                  <a:pt x="3795" y="1064"/>
                </a:lnTo>
                <a:lnTo>
                  <a:pt x="3795" y="1074"/>
                </a:lnTo>
                <a:lnTo>
                  <a:pt x="3795" y="1084"/>
                </a:lnTo>
                <a:lnTo>
                  <a:pt x="3795" y="1094"/>
                </a:lnTo>
                <a:lnTo>
                  <a:pt x="3805" y="1094"/>
                </a:lnTo>
                <a:lnTo>
                  <a:pt x="3805" y="1094"/>
                </a:lnTo>
                <a:lnTo>
                  <a:pt x="3815" y="1084"/>
                </a:lnTo>
                <a:lnTo>
                  <a:pt x="3825" y="1074"/>
                </a:lnTo>
                <a:lnTo>
                  <a:pt x="3835" y="1084"/>
                </a:lnTo>
                <a:lnTo>
                  <a:pt x="3846" y="1094"/>
                </a:lnTo>
                <a:lnTo>
                  <a:pt x="3846" y="1094"/>
                </a:lnTo>
                <a:lnTo>
                  <a:pt x="3866" y="1084"/>
                </a:lnTo>
                <a:lnTo>
                  <a:pt x="3866" y="1084"/>
                </a:lnTo>
                <a:lnTo>
                  <a:pt x="3876" y="1094"/>
                </a:lnTo>
                <a:lnTo>
                  <a:pt x="3876" y="1104"/>
                </a:lnTo>
                <a:lnTo>
                  <a:pt x="3876" y="1114"/>
                </a:lnTo>
                <a:lnTo>
                  <a:pt x="3886" y="1124"/>
                </a:lnTo>
                <a:lnTo>
                  <a:pt x="3886" y="1124"/>
                </a:lnTo>
                <a:lnTo>
                  <a:pt x="3886" y="1124"/>
                </a:lnTo>
                <a:lnTo>
                  <a:pt x="3896" y="1124"/>
                </a:lnTo>
                <a:lnTo>
                  <a:pt x="3906" y="1124"/>
                </a:lnTo>
                <a:lnTo>
                  <a:pt x="3916" y="1124"/>
                </a:lnTo>
                <a:lnTo>
                  <a:pt x="3916" y="1124"/>
                </a:lnTo>
                <a:lnTo>
                  <a:pt x="3916" y="1145"/>
                </a:lnTo>
                <a:lnTo>
                  <a:pt x="3926" y="1145"/>
                </a:lnTo>
                <a:lnTo>
                  <a:pt x="3926" y="1145"/>
                </a:lnTo>
                <a:lnTo>
                  <a:pt x="3926" y="1145"/>
                </a:lnTo>
                <a:lnTo>
                  <a:pt x="3937" y="1155"/>
                </a:lnTo>
                <a:lnTo>
                  <a:pt x="3926" y="1155"/>
                </a:lnTo>
                <a:lnTo>
                  <a:pt x="3926" y="1165"/>
                </a:lnTo>
                <a:lnTo>
                  <a:pt x="3916" y="1165"/>
                </a:lnTo>
                <a:lnTo>
                  <a:pt x="3916" y="1185"/>
                </a:lnTo>
                <a:lnTo>
                  <a:pt x="3916" y="1185"/>
                </a:lnTo>
                <a:lnTo>
                  <a:pt x="3916" y="1195"/>
                </a:lnTo>
                <a:lnTo>
                  <a:pt x="3916" y="1195"/>
                </a:lnTo>
                <a:lnTo>
                  <a:pt x="3916" y="1195"/>
                </a:lnTo>
                <a:lnTo>
                  <a:pt x="3906" y="1205"/>
                </a:lnTo>
                <a:lnTo>
                  <a:pt x="3906" y="1216"/>
                </a:lnTo>
                <a:lnTo>
                  <a:pt x="3906" y="1236"/>
                </a:lnTo>
                <a:lnTo>
                  <a:pt x="3906" y="1236"/>
                </a:lnTo>
                <a:lnTo>
                  <a:pt x="3906" y="1246"/>
                </a:lnTo>
                <a:lnTo>
                  <a:pt x="3906" y="1256"/>
                </a:lnTo>
                <a:lnTo>
                  <a:pt x="3916" y="1256"/>
                </a:lnTo>
                <a:lnTo>
                  <a:pt x="3937" y="1256"/>
                </a:lnTo>
                <a:lnTo>
                  <a:pt x="3937" y="1256"/>
                </a:lnTo>
                <a:lnTo>
                  <a:pt x="3947" y="1266"/>
                </a:lnTo>
                <a:lnTo>
                  <a:pt x="3947" y="1276"/>
                </a:lnTo>
                <a:lnTo>
                  <a:pt x="3947" y="1276"/>
                </a:lnTo>
                <a:lnTo>
                  <a:pt x="3937" y="1276"/>
                </a:lnTo>
                <a:lnTo>
                  <a:pt x="3916" y="1286"/>
                </a:lnTo>
                <a:lnTo>
                  <a:pt x="3916" y="1286"/>
                </a:lnTo>
                <a:lnTo>
                  <a:pt x="3906" y="1276"/>
                </a:lnTo>
                <a:lnTo>
                  <a:pt x="3896" y="1276"/>
                </a:lnTo>
                <a:lnTo>
                  <a:pt x="3886" y="1276"/>
                </a:lnTo>
                <a:lnTo>
                  <a:pt x="3876" y="1276"/>
                </a:lnTo>
                <a:lnTo>
                  <a:pt x="3866" y="1276"/>
                </a:lnTo>
                <a:lnTo>
                  <a:pt x="3846" y="1276"/>
                </a:lnTo>
                <a:lnTo>
                  <a:pt x="3835" y="1266"/>
                </a:lnTo>
                <a:lnTo>
                  <a:pt x="3835" y="1256"/>
                </a:lnTo>
                <a:lnTo>
                  <a:pt x="3825" y="1246"/>
                </a:lnTo>
                <a:lnTo>
                  <a:pt x="3825" y="1236"/>
                </a:lnTo>
                <a:lnTo>
                  <a:pt x="3825" y="1236"/>
                </a:lnTo>
                <a:lnTo>
                  <a:pt x="3815" y="1236"/>
                </a:lnTo>
                <a:lnTo>
                  <a:pt x="3815" y="1236"/>
                </a:lnTo>
                <a:lnTo>
                  <a:pt x="3815" y="1226"/>
                </a:lnTo>
                <a:lnTo>
                  <a:pt x="3815" y="1216"/>
                </a:lnTo>
                <a:lnTo>
                  <a:pt x="3815" y="1195"/>
                </a:lnTo>
                <a:lnTo>
                  <a:pt x="3805" y="1195"/>
                </a:lnTo>
                <a:lnTo>
                  <a:pt x="3805" y="1195"/>
                </a:lnTo>
                <a:lnTo>
                  <a:pt x="3795" y="1195"/>
                </a:lnTo>
                <a:lnTo>
                  <a:pt x="3785" y="1205"/>
                </a:lnTo>
                <a:lnTo>
                  <a:pt x="3785" y="1205"/>
                </a:lnTo>
                <a:lnTo>
                  <a:pt x="3775" y="1205"/>
                </a:lnTo>
                <a:lnTo>
                  <a:pt x="3765" y="1205"/>
                </a:lnTo>
                <a:lnTo>
                  <a:pt x="3744" y="1205"/>
                </a:lnTo>
                <a:lnTo>
                  <a:pt x="3734" y="1205"/>
                </a:lnTo>
                <a:lnTo>
                  <a:pt x="3724" y="1216"/>
                </a:lnTo>
                <a:lnTo>
                  <a:pt x="3724" y="1216"/>
                </a:lnTo>
                <a:lnTo>
                  <a:pt x="3714" y="1226"/>
                </a:lnTo>
                <a:lnTo>
                  <a:pt x="3714" y="1236"/>
                </a:lnTo>
                <a:lnTo>
                  <a:pt x="3714" y="1256"/>
                </a:lnTo>
                <a:lnTo>
                  <a:pt x="3714" y="1256"/>
                </a:lnTo>
                <a:lnTo>
                  <a:pt x="3704" y="1256"/>
                </a:lnTo>
                <a:lnTo>
                  <a:pt x="3704" y="1256"/>
                </a:lnTo>
                <a:lnTo>
                  <a:pt x="3694" y="1256"/>
                </a:lnTo>
                <a:lnTo>
                  <a:pt x="3694" y="1256"/>
                </a:lnTo>
                <a:lnTo>
                  <a:pt x="3684" y="1266"/>
                </a:lnTo>
                <a:lnTo>
                  <a:pt x="3674" y="1276"/>
                </a:lnTo>
                <a:lnTo>
                  <a:pt x="3674" y="1276"/>
                </a:lnTo>
                <a:lnTo>
                  <a:pt x="3663" y="1286"/>
                </a:lnTo>
                <a:lnTo>
                  <a:pt x="3674" y="1297"/>
                </a:lnTo>
                <a:lnTo>
                  <a:pt x="3684" y="1297"/>
                </a:lnTo>
                <a:lnTo>
                  <a:pt x="3694" y="1297"/>
                </a:lnTo>
                <a:lnTo>
                  <a:pt x="3704" y="1307"/>
                </a:lnTo>
                <a:lnTo>
                  <a:pt x="3704" y="1317"/>
                </a:lnTo>
                <a:lnTo>
                  <a:pt x="3714" y="1317"/>
                </a:lnTo>
                <a:lnTo>
                  <a:pt x="3724" y="1317"/>
                </a:lnTo>
                <a:lnTo>
                  <a:pt x="3724" y="1327"/>
                </a:lnTo>
                <a:lnTo>
                  <a:pt x="3734" y="1327"/>
                </a:lnTo>
                <a:lnTo>
                  <a:pt x="3744" y="1347"/>
                </a:lnTo>
                <a:lnTo>
                  <a:pt x="3744" y="1357"/>
                </a:lnTo>
                <a:lnTo>
                  <a:pt x="3754" y="1368"/>
                </a:lnTo>
                <a:lnTo>
                  <a:pt x="3754" y="1368"/>
                </a:lnTo>
                <a:lnTo>
                  <a:pt x="3754" y="1368"/>
                </a:lnTo>
                <a:lnTo>
                  <a:pt x="3744" y="1378"/>
                </a:lnTo>
                <a:lnTo>
                  <a:pt x="3744" y="1388"/>
                </a:lnTo>
                <a:lnTo>
                  <a:pt x="3734" y="1398"/>
                </a:lnTo>
                <a:lnTo>
                  <a:pt x="3734" y="1398"/>
                </a:lnTo>
                <a:lnTo>
                  <a:pt x="3724" y="1408"/>
                </a:lnTo>
                <a:lnTo>
                  <a:pt x="3724" y="1408"/>
                </a:lnTo>
                <a:lnTo>
                  <a:pt x="3714" y="1408"/>
                </a:lnTo>
                <a:lnTo>
                  <a:pt x="3704" y="1408"/>
                </a:lnTo>
                <a:lnTo>
                  <a:pt x="3694" y="1408"/>
                </a:lnTo>
                <a:lnTo>
                  <a:pt x="3684" y="1408"/>
                </a:lnTo>
                <a:lnTo>
                  <a:pt x="3684" y="1418"/>
                </a:lnTo>
                <a:lnTo>
                  <a:pt x="3674" y="1438"/>
                </a:lnTo>
                <a:lnTo>
                  <a:pt x="3663" y="1449"/>
                </a:lnTo>
                <a:lnTo>
                  <a:pt x="3653" y="1449"/>
                </a:lnTo>
                <a:lnTo>
                  <a:pt x="3653" y="1459"/>
                </a:lnTo>
                <a:lnTo>
                  <a:pt x="3653" y="1469"/>
                </a:lnTo>
                <a:lnTo>
                  <a:pt x="3674" y="1469"/>
                </a:lnTo>
                <a:lnTo>
                  <a:pt x="3674" y="1469"/>
                </a:lnTo>
                <a:lnTo>
                  <a:pt x="3684" y="1469"/>
                </a:lnTo>
                <a:lnTo>
                  <a:pt x="3694" y="1469"/>
                </a:lnTo>
                <a:lnTo>
                  <a:pt x="3694" y="1479"/>
                </a:lnTo>
                <a:lnTo>
                  <a:pt x="3694" y="1479"/>
                </a:lnTo>
                <a:lnTo>
                  <a:pt x="3694" y="1479"/>
                </a:lnTo>
                <a:lnTo>
                  <a:pt x="3704" y="1479"/>
                </a:lnTo>
                <a:lnTo>
                  <a:pt x="3714" y="1479"/>
                </a:lnTo>
                <a:lnTo>
                  <a:pt x="3724" y="1479"/>
                </a:lnTo>
                <a:lnTo>
                  <a:pt x="3724" y="1489"/>
                </a:lnTo>
                <a:lnTo>
                  <a:pt x="3724" y="1499"/>
                </a:lnTo>
                <a:lnTo>
                  <a:pt x="3724" y="1499"/>
                </a:lnTo>
                <a:lnTo>
                  <a:pt x="3724" y="1509"/>
                </a:lnTo>
                <a:lnTo>
                  <a:pt x="3724" y="1519"/>
                </a:lnTo>
                <a:lnTo>
                  <a:pt x="3734" y="1519"/>
                </a:lnTo>
                <a:lnTo>
                  <a:pt x="3734" y="1519"/>
                </a:lnTo>
                <a:lnTo>
                  <a:pt x="3744" y="1519"/>
                </a:lnTo>
                <a:lnTo>
                  <a:pt x="3744" y="1530"/>
                </a:lnTo>
                <a:lnTo>
                  <a:pt x="3744" y="1540"/>
                </a:lnTo>
                <a:lnTo>
                  <a:pt x="3734" y="1540"/>
                </a:lnTo>
                <a:lnTo>
                  <a:pt x="3734" y="1540"/>
                </a:lnTo>
                <a:lnTo>
                  <a:pt x="3724" y="1540"/>
                </a:lnTo>
                <a:lnTo>
                  <a:pt x="3714" y="1540"/>
                </a:lnTo>
                <a:lnTo>
                  <a:pt x="3704" y="1540"/>
                </a:lnTo>
                <a:lnTo>
                  <a:pt x="3694" y="1540"/>
                </a:lnTo>
                <a:lnTo>
                  <a:pt x="3684" y="1540"/>
                </a:lnTo>
                <a:lnTo>
                  <a:pt x="3684" y="1540"/>
                </a:lnTo>
                <a:lnTo>
                  <a:pt x="3674" y="1530"/>
                </a:lnTo>
                <a:lnTo>
                  <a:pt x="3674" y="1519"/>
                </a:lnTo>
                <a:lnTo>
                  <a:pt x="3663" y="1519"/>
                </a:lnTo>
                <a:lnTo>
                  <a:pt x="3663" y="1530"/>
                </a:lnTo>
                <a:lnTo>
                  <a:pt x="3663" y="1540"/>
                </a:lnTo>
                <a:lnTo>
                  <a:pt x="3663" y="1550"/>
                </a:lnTo>
                <a:lnTo>
                  <a:pt x="3663" y="1560"/>
                </a:lnTo>
                <a:lnTo>
                  <a:pt x="3663" y="1560"/>
                </a:lnTo>
                <a:lnTo>
                  <a:pt x="3653" y="1570"/>
                </a:lnTo>
                <a:lnTo>
                  <a:pt x="3643" y="1560"/>
                </a:lnTo>
                <a:lnTo>
                  <a:pt x="3633" y="1560"/>
                </a:lnTo>
                <a:lnTo>
                  <a:pt x="3633" y="1550"/>
                </a:lnTo>
                <a:lnTo>
                  <a:pt x="3633" y="1540"/>
                </a:lnTo>
                <a:lnTo>
                  <a:pt x="3633" y="1540"/>
                </a:lnTo>
                <a:lnTo>
                  <a:pt x="3633" y="1540"/>
                </a:lnTo>
                <a:lnTo>
                  <a:pt x="3623" y="1540"/>
                </a:lnTo>
                <a:lnTo>
                  <a:pt x="3613" y="1540"/>
                </a:lnTo>
                <a:lnTo>
                  <a:pt x="3603" y="1519"/>
                </a:lnTo>
                <a:lnTo>
                  <a:pt x="3603" y="1519"/>
                </a:lnTo>
                <a:lnTo>
                  <a:pt x="3603" y="1519"/>
                </a:lnTo>
                <a:lnTo>
                  <a:pt x="3593" y="1519"/>
                </a:lnTo>
                <a:lnTo>
                  <a:pt x="3582" y="1519"/>
                </a:lnTo>
                <a:lnTo>
                  <a:pt x="3572" y="1530"/>
                </a:lnTo>
                <a:lnTo>
                  <a:pt x="3542" y="1550"/>
                </a:lnTo>
                <a:lnTo>
                  <a:pt x="3532" y="1560"/>
                </a:lnTo>
                <a:lnTo>
                  <a:pt x="3522" y="1560"/>
                </a:lnTo>
                <a:lnTo>
                  <a:pt x="3522" y="1550"/>
                </a:lnTo>
                <a:lnTo>
                  <a:pt x="3522" y="1550"/>
                </a:lnTo>
                <a:lnTo>
                  <a:pt x="3512" y="1540"/>
                </a:lnTo>
                <a:lnTo>
                  <a:pt x="3522" y="1519"/>
                </a:lnTo>
                <a:lnTo>
                  <a:pt x="3522" y="1519"/>
                </a:lnTo>
                <a:lnTo>
                  <a:pt x="3532" y="1499"/>
                </a:lnTo>
                <a:lnTo>
                  <a:pt x="3522" y="1489"/>
                </a:lnTo>
                <a:lnTo>
                  <a:pt x="3512" y="1479"/>
                </a:lnTo>
                <a:lnTo>
                  <a:pt x="3512" y="1479"/>
                </a:lnTo>
                <a:lnTo>
                  <a:pt x="3512" y="1469"/>
                </a:lnTo>
                <a:lnTo>
                  <a:pt x="3512" y="1469"/>
                </a:lnTo>
                <a:lnTo>
                  <a:pt x="3501" y="1469"/>
                </a:lnTo>
                <a:lnTo>
                  <a:pt x="3491" y="1469"/>
                </a:lnTo>
                <a:lnTo>
                  <a:pt x="3481" y="1459"/>
                </a:lnTo>
                <a:lnTo>
                  <a:pt x="3481" y="1459"/>
                </a:lnTo>
                <a:lnTo>
                  <a:pt x="3471" y="1449"/>
                </a:lnTo>
                <a:lnTo>
                  <a:pt x="3471" y="1438"/>
                </a:lnTo>
                <a:lnTo>
                  <a:pt x="3451" y="1438"/>
                </a:lnTo>
                <a:lnTo>
                  <a:pt x="3441" y="1428"/>
                </a:lnTo>
                <a:lnTo>
                  <a:pt x="3431" y="1428"/>
                </a:lnTo>
                <a:lnTo>
                  <a:pt x="3431" y="1428"/>
                </a:lnTo>
                <a:lnTo>
                  <a:pt x="3421" y="1428"/>
                </a:lnTo>
                <a:lnTo>
                  <a:pt x="3421" y="1428"/>
                </a:lnTo>
                <a:lnTo>
                  <a:pt x="3421" y="1438"/>
                </a:lnTo>
                <a:lnTo>
                  <a:pt x="3410" y="1438"/>
                </a:lnTo>
                <a:lnTo>
                  <a:pt x="3400" y="1438"/>
                </a:lnTo>
                <a:lnTo>
                  <a:pt x="3390" y="1438"/>
                </a:lnTo>
                <a:lnTo>
                  <a:pt x="3380" y="1428"/>
                </a:lnTo>
                <a:lnTo>
                  <a:pt x="3370" y="1428"/>
                </a:lnTo>
                <a:lnTo>
                  <a:pt x="3370" y="1418"/>
                </a:lnTo>
                <a:lnTo>
                  <a:pt x="3370" y="1408"/>
                </a:lnTo>
                <a:lnTo>
                  <a:pt x="3370" y="1408"/>
                </a:lnTo>
                <a:lnTo>
                  <a:pt x="3370" y="1398"/>
                </a:lnTo>
                <a:lnTo>
                  <a:pt x="3360" y="1398"/>
                </a:lnTo>
                <a:lnTo>
                  <a:pt x="3350" y="1398"/>
                </a:lnTo>
                <a:lnTo>
                  <a:pt x="3340" y="1398"/>
                </a:lnTo>
                <a:lnTo>
                  <a:pt x="3329" y="1398"/>
                </a:lnTo>
                <a:lnTo>
                  <a:pt x="3319" y="1398"/>
                </a:lnTo>
                <a:lnTo>
                  <a:pt x="3309" y="1408"/>
                </a:lnTo>
                <a:lnTo>
                  <a:pt x="3289" y="1398"/>
                </a:lnTo>
                <a:lnTo>
                  <a:pt x="3279" y="1398"/>
                </a:lnTo>
                <a:lnTo>
                  <a:pt x="3269" y="1398"/>
                </a:lnTo>
                <a:lnTo>
                  <a:pt x="3259" y="1398"/>
                </a:lnTo>
                <a:lnTo>
                  <a:pt x="3259" y="1388"/>
                </a:lnTo>
                <a:lnTo>
                  <a:pt x="3249" y="1388"/>
                </a:lnTo>
                <a:lnTo>
                  <a:pt x="3249" y="1388"/>
                </a:lnTo>
                <a:lnTo>
                  <a:pt x="3238" y="1388"/>
                </a:lnTo>
                <a:lnTo>
                  <a:pt x="3228" y="1388"/>
                </a:lnTo>
                <a:lnTo>
                  <a:pt x="3218" y="1388"/>
                </a:lnTo>
                <a:lnTo>
                  <a:pt x="3208" y="1398"/>
                </a:lnTo>
                <a:lnTo>
                  <a:pt x="3208" y="1408"/>
                </a:lnTo>
                <a:lnTo>
                  <a:pt x="3208" y="1408"/>
                </a:lnTo>
                <a:lnTo>
                  <a:pt x="3208" y="1428"/>
                </a:lnTo>
                <a:lnTo>
                  <a:pt x="3208" y="1438"/>
                </a:lnTo>
                <a:lnTo>
                  <a:pt x="3208" y="1449"/>
                </a:lnTo>
                <a:lnTo>
                  <a:pt x="3188" y="1459"/>
                </a:lnTo>
                <a:lnTo>
                  <a:pt x="3188" y="1459"/>
                </a:lnTo>
                <a:lnTo>
                  <a:pt x="3178" y="1459"/>
                </a:lnTo>
                <a:lnTo>
                  <a:pt x="3157" y="1459"/>
                </a:lnTo>
                <a:lnTo>
                  <a:pt x="3157" y="1469"/>
                </a:lnTo>
                <a:lnTo>
                  <a:pt x="3147" y="1479"/>
                </a:lnTo>
                <a:lnTo>
                  <a:pt x="3147" y="1489"/>
                </a:lnTo>
                <a:lnTo>
                  <a:pt x="3147" y="1499"/>
                </a:lnTo>
                <a:lnTo>
                  <a:pt x="3147" y="1509"/>
                </a:lnTo>
                <a:lnTo>
                  <a:pt x="3147" y="1519"/>
                </a:lnTo>
                <a:lnTo>
                  <a:pt x="3157" y="1530"/>
                </a:lnTo>
                <a:lnTo>
                  <a:pt x="3157" y="1540"/>
                </a:lnTo>
                <a:lnTo>
                  <a:pt x="3157" y="1540"/>
                </a:lnTo>
                <a:lnTo>
                  <a:pt x="3168" y="1540"/>
                </a:lnTo>
                <a:lnTo>
                  <a:pt x="3178" y="1540"/>
                </a:lnTo>
                <a:lnTo>
                  <a:pt x="3188" y="1540"/>
                </a:lnTo>
                <a:lnTo>
                  <a:pt x="3188" y="1540"/>
                </a:lnTo>
                <a:lnTo>
                  <a:pt x="3198" y="1540"/>
                </a:lnTo>
                <a:lnTo>
                  <a:pt x="3198" y="1540"/>
                </a:lnTo>
                <a:lnTo>
                  <a:pt x="3198" y="1540"/>
                </a:lnTo>
                <a:lnTo>
                  <a:pt x="3208" y="1540"/>
                </a:lnTo>
                <a:lnTo>
                  <a:pt x="3218" y="1560"/>
                </a:lnTo>
                <a:lnTo>
                  <a:pt x="3228" y="1560"/>
                </a:lnTo>
                <a:lnTo>
                  <a:pt x="3228" y="1580"/>
                </a:lnTo>
                <a:lnTo>
                  <a:pt x="3228" y="1590"/>
                </a:lnTo>
                <a:lnTo>
                  <a:pt x="3218" y="1590"/>
                </a:lnTo>
                <a:lnTo>
                  <a:pt x="3208" y="1601"/>
                </a:lnTo>
                <a:lnTo>
                  <a:pt x="3208" y="1590"/>
                </a:lnTo>
                <a:lnTo>
                  <a:pt x="3198" y="1590"/>
                </a:lnTo>
                <a:lnTo>
                  <a:pt x="3198" y="1590"/>
                </a:lnTo>
                <a:lnTo>
                  <a:pt x="3188" y="1590"/>
                </a:lnTo>
                <a:lnTo>
                  <a:pt x="3157" y="1601"/>
                </a:lnTo>
                <a:lnTo>
                  <a:pt x="3147" y="1611"/>
                </a:lnTo>
                <a:lnTo>
                  <a:pt x="3147" y="1621"/>
                </a:lnTo>
                <a:lnTo>
                  <a:pt x="3147" y="1641"/>
                </a:lnTo>
                <a:lnTo>
                  <a:pt x="3147" y="1651"/>
                </a:lnTo>
                <a:lnTo>
                  <a:pt x="3147" y="1651"/>
                </a:lnTo>
                <a:lnTo>
                  <a:pt x="3157" y="1671"/>
                </a:lnTo>
                <a:lnTo>
                  <a:pt x="3168" y="1682"/>
                </a:lnTo>
                <a:lnTo>
                  <a:pt x="3168" y="1692"/>
                </a:lnTo>
                <a:lnTo>
                  <a:pt x="3168" y="1702"/>
                </a:lnTo>
                <a:lnTo>
                  <a:pt x="3168" y="1712"/>
                </a:lnTo>
                <a:lnTo>
                  <a:pt x="3188" y="1712"/>
                </a:lnTo>
                <a:lnTo>
                  <a:pt x="3198" y="1712"/>
                </a:lnTo>
                <a:lnTo>
                  <a:pt x="3198" y="1712"/>
                </a:lnTo>
                <a:lnTo>
                  <a:pt x="3198" y="1722"/>
                </a:lnTo>
                <a:lnTo>
                  <a:pt x="3208" y="1732"/>
                </a:lnTo>
                <a:lnTo>
                  <a:pt x="3208" y="1742"/>
                </a:lnTo>
                <a:lnTo>
                  <a:pt x="3218" y="1742"/>
                </a:lnTo>
                <a:lnTo>
                  <a:pt x="3218" y="1742"/>
                </a:lnTo>
                <a:lnTo>
                  <a:pt x="3218" y="1742"/>
                </a:lnTo>
                <a:lnTo>
                  <a:pt x="3218" y="1752"/>
                </a:lnTo>
                <a:lnTo>
                  <a:pt x="3218" y="1763"/>
                </a:lnTo>
                <a:lnTo>
                  <a:pt x="3228" y="1763"/>
                </a:lnTo>
                <a:lnTo>
                  <a:pt x="3238" y="1773"/>
                </a:lnTo>
                <a:lnTo>
                  <a:pt x="3238" y="1773"/>
                </a:lnTo>
                <a:lnTo>
                  <a:pt x="3249" y="1773"/>
                </a:lnTo>
                <a:lnTo>
                  <a:pt x="3259" y="1773"/>
                </a:lnTo>
                <a:lnTo>
                  <a:pt x="3259" y="1763"/>
                </a:lnTo>
                <a:lnTo>
                  <a:pt x="3259" y="1752"/>
                </a:lnTo>
                <a:lnTo>
                  <a:pt x="3259" y="1752"/>
                </a:lnTo>
                <a:lnTo>
                  <a:pt x="3259" y="1742"/>
                </a:lnTo>
                <a:lnTo>
                  <a:pt x="3259" y="1732"/>
                </a:lnTo>
                <a:lnTo>
                  <a:pt x="3259" y="1722"/>
                </a:lnTo>
                <a:lnTo>
                  <a:pt x="3269" y="1722"/>
                </a:lnTo>
                <a:lnTo>
                  <a:pt x="3269" y="1712"/>
                </a:lnTo>
                <a:lnTo>
                  <a:pt x="3279" y="1702"/>
                </a:lnTo>
                <a:lnTo>
                  <a:pt x="3279" y="1692"/>
                </a:lnTo>
                <a:lnTo>
                  <a:pt x="3279" y="1692"/>
                </a:lnTo>
                <a:lnTo>
                  <a:pt x="3289" y="1682"/>
                </a:lnTo>
                <a:lnTo>
                  <a:pt x="3299" y="1682"/>
                </a:lnTo>
                <a:lnTo>
                  <a:pt x="3299" y="1682"/>
                </a:lnTo>
                <a:lnTo>
                  <a:pt x="3309" y="1692"/>
                </a:lnTo>
                <a:lnTo>
                  <a:pt x="3319" y="1692"/>
                </a:lnTo>
                <a:lnTo>
                  <a:pt x="3340" y="1692"/>
                </a:lnTo>
                <a:lnTo>
                  <a:pt x="3340" y="1692"/>
                </a:lnTo>
                <a:lnTo>
                  <a:pt x="3340" y="1702"/>
                </a:lnTo>
                <a:lnTo>
                  <a:pt x="3340" y="1702"/>
                </a:lnTo>
                <a:lnTo>
                  <a:pt x="3350" y="1702"/>
                </a:lnTo>
                <a:lnTo>
                  <a:pt x="3340" y="1712"/>
                </a:lnTo>
                <a:lnTo>
                  <a:pt x="3340" y="1712"/>
                </a:lnTo>
                <a:lnTo>
                  <a:pt x="3329" y="1722"/>
                </a:lnTo>
                <a:lnTo>
                  <a:pt x="3319" y="1732"/>
                </a:lnTo>
                <a:lnTo>
                  <a:pt x="3319" y="1742"/>
                </a:lnTo>
                <a:lnTo>
                  <a:pt x="3309" y="1742"/>
                </a:lnTo>
                <a:lnTo>
                  <a:pt x="3309" y="1752"/>
                </a:lnTo>
                <a:lnTo>
                  <a:pt x="3309" y="1752"/>
                </a:lnTo>
                <a:lnTo>
                  <a:pt x="3309" y="1763"/>
                </a:lnTo>
                <a:lnTo>
                  <a:pt x="3309" y="1773"/>
                </a:lnTo>
                <a:lnTo>
                  <a:pt x="3309" y="1783"/>
                </a:lnTo>
                <a:lnTo>
                  <a:pt x="3299" y="1793"/>
                </a:lnTo>
                <a:lnTo>
                  <a:pt x="3289" y="1793"/>
                </a:lnTo>
                <a:lnTo>
                  <a:pt x="3279" y="1803"/>
                </a:lnTo>
                <a:lnTo>
                  <a:pt x="3269" y="1803"/>
                </a:lnTo>
                <a:lnTo>
                  <a:pt x="3259" y="1823"/>
                </a:lnTo>
                <a:lnTo>
                  <a:pt x="3259" y="1834"/>
                </a:lnTo>
                <a:lnTo>
                  <a:pt x="3279" y="1844"/>
                </a:lnTo>
                <a:lnTo>
                  <a:pt x="3299" y="1854"/>
                </a:lnTo>
                <a:lnTo>
                  <a:pt x="3319" y="1854"/>
                </a:lnTo>
                <a:lnTo>
                  <a:pt x="3329" y="1854"/>
                </a:lnTo>
                <a:lnTo>
                  <a:pt x="3340" y="1854"/>
                </a:lnTo>
                <a:lnTo>
                  <a:pt x="3340" y="1844"/>
                </a:lnTo>
                <a:lnTo>
                  <a:pt x="3360" y="1844"/>
                </a:lnTo>
                <a:lnTo>
                  <a:pt x="3360" y="1823"/>
                </a:lnTo>
                <a:lnTo>
                  <a:pt x="3370" y="1823"/>
                </a:lnTo>
                <a:lnTo>
                  <a:pt x="3380" y="1823"/>
                </a:lnTo>
                <a:lnTo>
                  <a:pt x="3390" y="1813"/>
                </a:lnTo>
                <a:lnTo>
                  <a:pt x="3400" y="1813"/>
                </a:lnTo>
                <a:lnTo>
                  <a:pt x="3400" y="1803"/>
                </a:lnTo>
                <a:lnTo>
                  <a:pt x="3421" y="1793"/>
                </a:lnTo>
                <a:lnTo>
                  <a:pt x="3421" y="1783"/>
                </a:lnTo>
                <a:lnTo>
                  <a:pt x="3431" y="1773"/>
                </a:lnTo>
                <a:lnTo>
                  <a:pt x="3431" y="1763"/>
                </a:lnTo>
                <a:lnTo>
                  <a:pt x="3441" y="1763"/>
                </a:lnTo>
                <a:lnTo>
                  <a:pt x="3451" y="1763"/>
                </a:lnTo>
                <a:lnTo>
                  <a:pt x="3461" y="1763"/>
                </a:lnTo>
                <a:lnTo>
                  <a:pt x="3471" y="1752"/>
                </a:lnTo>
                <a:lnTo>
                  <a:pt x="3481" y="1752"/>
                </a:lnTo>
                <a:lnTo>
                  <a:pt x="3481" y="1752"/>
                </a:lnTo>
                <a:lnTo>
                  <a:pt x="3481" y="1763"/>
                </a:lnTo>
                <a:lnTo>
                  <a:pt x="3481" y="1773"/>
                </a:lnTo>
                <a:lnTo>
                  <a:pt x="3481" y="1793"/>
                </a:lnTo>
                <a:lnTo>
                  <a:pt x="3481" y="1813"/>
                </a:lnTo>
                <a:lnTo>
                  <a:pt x="3481" y="1823"/>
                </a:lnTo>
                <a:lnTo>
                  <a:pt x="3481" y="1834"/>
                </a:lnTo>
                <a:lnTo>
                  <a:pt x="3481" y="1834"/>
                </a:lnTo>
                <a:lnTo>
                  <a:pt x="3491" y="1844"/>
                </a:lnTo>
                <a:lnTo>
                  <a:pt x="3501" y="1854"/>
                </a:lnTo>
                <a:lnTo>
                  <a:pt x="3501" y="1854"/>
                </a:lnTo>
                <a:lnTo>
                  <a:pt x="3501" y="1864"/>
                </a:lnTo>
                <a:lnTo>
                  <a:pt x="3491" y="1864"/>
                </a:lnTo>
                <a:lnTo>
                  <a:pt x="3481" y="1874"/>
                </a:lnTo>
                <a:lnTo>
                  <a:pt x="3481" y="1884"/>
                </a:lnTo>
                <a:lnTo>
                  <a:pt x="3481" y="1894"/>
                </a:lnTo>
                <a:lnTo>
                  <a:pt x="3481" y="1904"/>
                </a:lnTo>
                <a:lnTo>
                  <a:pt x="3491" y="1915"/>
                </a:lnTo>
                <a:lnTo>
                  <a:pt x="3491" y="1915"/>
                </a:lnTo>
                <a:lnTo>
                  <a:pt x="3501" y="1925"/>
                </a:lnTo>
                <a:lnTo>
                  <a:pt x="3512" y="1925"/>
                </a:lnTo>
                <a:lnTo>
                  <a:pt x="3522" y="1925"/>
                </a:lnTo>
                <a:lnTo>
                  <a:pt x="3542" y="1925"/>
                </a:lnTo>
                <a:lnTo>
                  <a:pt x="3552" y="1925"/>
                </a:lnTo>
                <a:lnTo>
                  <a:pt x="3562" y="1915"/>
                </a:lnTo>
                <a:lnTo>
                  <a:pt x="3572" y="1904"/>
                </a:lnTo>
                <a:lnTo>
                  <a:pt x="3593" y="1904"/>
                </a:lnTo>
                <a:lnTo>
                  <a:pt x="3603" y="1894"/>
                </a:lnTo>
                <a:lnTo>
                  <a:pt x="3603" y="1894"/>
                </a:lnTo>
                <a:lnTo>
                  <a:pt x="3613" y="1894"/>
                </a:lnTo>
                <a:lnTo>
                  <a:pt x="3623" y="1894"/>
                </a:lnTo>
                <a:lnTo>
                  <a:pt x="3623" y="1904"/>
                </a:lnTo>
                <a:lnTo>
                  <a:pt x="3623" y="1915"/>
                </a:lnTo>
                <a:lnTo>
                  <a:pt x="3623" y="1935"/>
                </a:lnTo>
                <a:lnTo>
                  <a:pt x="3613" y="1935"/>
                </a:lnTo>
                <a:lnTo>
                  <a:pt x="3613" y="1945"/>
                </a:lnTo>
                <a:lnTo>
                  <a:pt x="3623" y="1945"/>
                </a:lnTo>
                <a:lnTo>
                  <a:pt x="3623" y="1955"/>
                </a:lnTo>
                <a:lnTo>
                  <a:pt x="3623" y="1965"/>
                </a:lnTo>
                <a:lnTo>
                  <a:pt x="3613" y="1965"/>
                </a:lnTo>
                <a:lnTo>
                  <a:pt x="3613" y="1975"/>
                </a:lnTo>
                <a:lnTo>
                  <a:pt x="3613" y="1985"/>
                </a:lnTo>
                <a:lnTo>
                  <a:pt x="3613" y="1985"/>
                </a:lnTo>
                <a:lnTo>
                  <a:pt x="3603" y="1996"/>
                </a:lnTo>
                <a:lnTo>
                  <a:pt x="3593" y="1996"/>
                </a:lnTo>
                <a:lnTo>
                  <a:pt x="3582" y="1996"/>
                </a:lnTo>
                <a:lnTo>
                  <a:pt x="3572" y="1985"/>
                </a:lnTo>
                <a:lnTo>
                  <a:pt x="3562" y="1996"/>
                </a:lnTo>
                <a:lnTo>
                  <a:pt x="3562" y="1996"/>
                </a:lnTo>
                <a:lnTo>
                  <a:pt x="3552" y="1996"/>
                </a:lnTo>
                <a:lnTo>
                  <a:pt x="3552" y="2006"/>
                </a:lnTo>
                <a:lnTo>
                  <a:pt x="3552" y="2016"/>
                </a:lnTo>
                <a:lnTo>
                  <a:pt x="3552" y="2016"/>
                </a:lnTo>
                <a:lnTo>
                  <a:pt x="3542" y="2026"/>
                </a:lnTo>
                <a:lnTo>
                  <a:pt x="3532" y="2036"/>
                </a:lnTo>
                <a:lnTo>
                  <a:pt x="3532" y="2046"/>
                </a:lnTo>
                <a:lnTo>
                  <a:pt x="3522" y="2056"/>
                </a:lnTo>
                <a:lnTo>
                  <a:pt x="3512" y="2067"/>
                </a:lnTo>
                <a:lnTo>
                  <a:pt x="3512" y="2067"/>
                </a:lnTo>
                <a:lnTo>
                  <a:pt x="3501" y="2067"/>
                </a:lnTo>
                <a:lnTo>
                  <a:pt x="3501" y="2056"/>
                </a:lnTo>
                <a:lnTo>
                  <a:pt x="3501" y="2046"/>
                </a:lnTo>
                <a:lnTo>
                  <a:pt x="3501" y="2036"/>
                </a:lnTo>
                <a:lnTo>
                  <a:pt x="3501" y="2036"/>
                </a:lnTo>
                <a:lnTo>
                  <a:pt x="3491" y="2036"/>
                </a:lnTo>
                <a:lnTo>
                  <a:pt x="3481" y="2036"/>
                </a:lnTo>
                <a:lnTo>
                  <a:pt x="3471" y="2036"/>
                </a:lnTo>
                <a:lnTo>
                  <a:pt x="3461" y="2036"/>
                </a:lnTo>
                <a:lnTo>
                  <a:pt x="3451" y="2046"/>
                </a:lnTo>
                <a:lnTo>
                  <a:pt x="3441" y="2046"/>
                </a:lnTo>
                <a:lnTo>
                  <a:pt x="3431" y="2056"/>
                </a:lnTo>
                <a:lnTo>
                  <a:pt x="3431" y="2067"/>
                </a:lnTo>
                <a:lnTo>
                  <a:pt x="3410" y="2077"/>
                </a:lnTo>
                <a:lnTo>
                  <a:pt x="3400" y="2077"/>
                </a:lnTo>
                <a:lnTo>
                  <a:pt x="3390" y="2077"/>
                </a:lnTo>
                <a:lnTo>
                  <a:pt x="3380" y="2077"/>
                </a:lnTo>
                <a:lnTo>
                  <a:pt x="3380" y="2077"/>
                </a:lnTo>
                <a:lnTo>
                  <a:pt x="3370" y="2067"/>
                </a:lnTo>
                <a:lnTo>
                  <a:pt x="3370" y="2067"/>
                </a:lnTo>
                <a:lnTo>
                  <a:pt x="3360" y="2067"/>
                </a:lnTo>
                <a:lnTo>
                  <a:pt x="3350" y="2077"/>
                </a:lnTo>
                <a:lnTo>
                  <a:pt x="3340" y="2077"/>
                </a:lnTo>
                <a:lnTo>
                  <a:pt x="3329" y="2087"/>
                </a:lnTo>
                <a:lnTo>
                  <a:pt x="3319" y="2097"/>
                </a:lnTo>
                <a:lnTo>
                  <a:pt x="3319" y="2107"/>
                </a:lnTo>
                <a:lnTo>
                  <a:pt x="3329" y="2117"/>
                </a:lnTo>
                <a:lnTo>
                  <a:pt x="3329" y="2127"/>
                </a:lnTo>
                <a:lnTo>
                  <a:pt x="3340" y="2137"/>
                </a:lnTo>
                <a:lnTo>
                  <a:pt x="3340" y="2148"/>
                </a:lnTo>
                <a:lnTo>
                  <a:pt x="3350" y="2148"/>
                </a:lnTo>
                <a:lnTo>
                  <a:pt x="3360" y="2158"/>
                </a:lnTo>
                <a:lnTo>
                  <a:pt x="3360" y="2168"/>
                </a:lnTo>
                <a:lnTo>
                  <a:pt x="3370" y="2178"/>
                </a:lnTo>
                <a:lnTo>
                  <a:pt x="3380" y="2178"/>
                </a:lnTo>
                <a:lnTo>
                  <a:pt x="3380" y="2178"/>
                </a:lnTo>
                <a:lnTo>
                  <a:pt x="3390" y="2178"/>
                </a:lnTo>
                <a:lnTo>
                  <a:pt x="3380" y="2188"/>
                </a:lnTo>
                <a:lnTo>
                  <a:pt x="3370" y="2188"/>
                </a:lnTo>
                <a:lnTo>
                  <a:pt x="3360" y="2188"/>
                </a:lnTo>
                <a:lnTo>
                  <a:pt x="3360" y="2188"/>
                </a:lnTo>
                <a:lnTo>
                  <a:pt x="3350" y="2178"/>
                </a:lnTo>
                <a:lnTo>
                  <a:pt x="3340" y="2178"/>
                </a:lnTo>
                <a:lnTo>
                  <a:pt x="3329" y="2168"/>
                </a:lnTo>
                <a:lnTo>
                  <a:pt x="3309" y="2168"/>
                </a:lnTo>
                <a:lnTo>
                  <a:pt x="3279" y="2168"/>
                </a:lnTo>
                <a:lnTo>
                  <a:pt x="3269" y="2168"/>
                </a:lnTo>
                <a:lnTo>
                  <a:pt x="3269" y="2158"/>
                </a:lnTo>
                <a:lnTo>
                  <a:pt x="3259" y="2148"/>
                </a:lnTo>
                <a:lnTo>
                  <a:pt x="3259" y="2137"/>
                </a:lnTo>
                <a:lnTo>
                  <a:pt x="3249" y="2127"/>
                </a:lnTo>
                <a:lnTo>
                  <a:pt x="3249" y="2127"/>
                </a:lnTo>
                <a:lnTo>
                  <a:pt x="3238" y="2127"/>
                </a:lnTo>
                <a:lnTo>
                  <a:pt x="3238" y="2137"/>
                </a:lnTo>
                <a:lnTo>
                  <a:pt x="3228" y="2148"/>
                </a:lnTo>
                <a:lnTo>
                  <a:pt x="3218" y="2148"/>
                </a:lnTo>
                <a:lnTo>
                  <a:pt x="3218" y="2158"/>
                </a:lnTo>
                <a:lnTo>
                  <a:pt x="3198" y="2168"/>
                </a:lnTo>
                <a:lnTo>
                  <a:pt x="3198" y="2178"/>
                </a:lnTo>
                <a:lnTo>
                  <a:pt x="3198" y="2188"/>
                </a:lnTo>
                <a:lnTo>
                  <a:pt x="3198" y="2188"/>
                </a:lnTo>
                <a:lnTo>
                  <a:pt x="3188" y="2198"/>
                </a:lnTo>
                <a:lnTo>
                  <a:pt x="3188" y="2198"/>
                </a:lnTo>
                <a:lnTo>
                  <a:pt x="3178" y="2208"/>
                </a:lnTo>
                <a:lnTo>
                  <a:pt x="3178" y="2208"/>
                </a:lnTo>
                <a:lnTo>
                  <a:pt x="3178" y="2218"/>
                </a:lnTo>
                <a:lnTo>
                  <a:pt x="3178" y="2239"/>
                </a:lnTo>
                <a:lnTo>
                  <a:pt x="3188" y="2259"/>
                </a:lnTo>
                <a:lnTo>
                  <a:pt x="3188" y="2269"/>
                </a:lnTo>
                <a:lnTo>
                  <a:pt x="3188" y="2279"/>
                </a:lnTo>
                <a:lnTo>
                  <a:pt x="3198" y="2289"/>
                </a:lnTo>
                <a:lnTo>
                  <a:pt x="3198" y="2300"/>
                </a:lnTo>
                <a:lnTo>
                  <a:pt x="3208" y="2310"/>
                </a:lnTo>
                <a:lnTo>
                  <a:pt x="3208" y="2320"/>
                </a:lnTo>
                <a:lnTo>
                  <a:pt x="3208" y="2320"/>
                </a:lnTo>
                <a:lnTo>
                  <a:pt x="3218" y="2320"/>
                </a:lnTo>
                <a:lnTo>
                  <a:pt x="3218" y="2330"/>
                </a:lnTo>
                <a:lnTo>
                  <a:pt x="3238" y="2330"/>
                </a:lnTo>
                <a:lnTo>
                  <a:pt x="3249" y="2330"/>
                </a:lnTo>
                <a:lnTo>
                  <a:pt x="3259" y="2340"/>
                </a:lnTo>
                <a:lnTo>
                  <a:pt x="3259" y="2340"/>
                </a:lnTo>
                <a:lnTo>
                  <a:pt x="3259" y="2350"/>
                </a:lnTo>
                <a:lnTo>
                  <a:pt x="3259" y="2360"/>
                </a:lnTo>
                <a:lnTo>
                  <a:pt x="3269" y="2370"/>
                </a:lnTo>
                <a:lnTo>
                  <a:pt x="3269" y="2370"/>
                </a:lnTo>
                <a:lnTo>
                  <a:pt x="3279" y="2381"/>
                </a:lnTo>
                <a:lnTo>
                  <a:pt x="3289" y="2381"/>
                </a:lnTo>
                <a:lnTo>
                  <a:pt x="3289" y="2391"/>
                </a:lnTo>
                <a:lnTo>
                  <a:pt x="3289" y="2391"/>
                </a:lnTo>
                <a:lnTo>
                  <a:pt x="3289" y="2411"/>
                </a:lnTo>
                <a:lnTo>
                  <a:pt x="3289" y="2411"/>
                </a:lnTo>
                <a:lnTo>
                  <a:pt x="3289" y="2421"/>
                </a:lnTo>
                <a:lnTo>
                  <a:pt x="3289" y="2431"/>
                </a:lnTo>
                <a:lnTo>
                  <a:pt x="3289" y="2441"/>
                </a:lnTo>
                <a:lnTo>
                  <a:pt x="3299" y="2451"/>
                </a:lnTo>
                <a:lnTo>
                  <a:pt x="3319" y="2451"/>
                </a:lnTo>
                <a:lnTo>
                  <a:pt x="3340" y="2451"/>
                </a:lnTo>
                <a:lnTo>
                  <a:pt x="3360" y="2451"/>
                </a:lnTo>
                <a:lnTo>
                  <a:pt x="3370" y="2451"/>
                </a:lnTo>
                <a:lnTo>
                  <a:pt x="3380" y="2441"/>
                </a:lnTo>
                <a:lnTo>
                  <a:pt x="3390" y="2441"/>
                </a:lnTo>
                <a:lnTo>
                  <a:pt x="3400" y="2441"/>
                </a:lnTo>
                <a:lnTo>
                  <a:pt x="3410" y="2441"/>
                </a:lnTo>
                <a:lnTo>
                  <a:pt x="3421" y="2431"/>
                </a:lnTo>
                <a:lnTo>
                  <a:pt x="3421" y="2411"/>
                </a:lnTo>
                <a:lnTo>
                  <a:pt x="3431" y="2401"/>
                </a:lnTo>
                <a:lnTo>
                  <a:pt x="3431" y="2391"/>
                </a:lnTo>
                <a:lnTo>
                  <a:pt x="3431" y="2381"/>
                </a:lnTo>
                <a:lnTo>
                  <a:pt x="3441" y="2370"/>
                </a:lnTo>
                <a:lnTo>
                  <a:pt x="3441" y="2360"/>
                </a:lnTo>
                <a:lnTo>
                  <a:pt x="3451" y="2360"/>
                </a:lnTo>
                <a:lnTo>
                  <a:pt x="3451" y="2350"/>
                </a:lnTo>
                <a:lnTo>
                  <a:pt x="3451" y="2340"/>
                </a:lnTo>
                <a:lnTo>
                  <a:pt x="3451" y="2330"/>
                </a:lnTo>
                <a:lnTo>
                  <a:pt x="3451" y="2330"/>
                </a:lnTo>
                <a:lnTo>
                  <a:pt x="3451" y="2320"/>
                </a:lnTo>
                <a:lnTo>
                  <a:pt x="3461" y="2310"/>
                </a:lnTo>
                <a:lnTo>
                  <a:pt x="3471" y="2310"/>
                </a:lnTo>
                <a:lnTo>
                  <a:pt x="3481" y="2310"/>
                </a:lnTo>
                <a:lnTo>
                  <a:pt x="3481" y="2320"/>
                </a:lnTo>
                <a:lnTo>
                  <a:pt x="3491" y="2320"/>
                </a:lnTo>
                <a:lnTo>
                  <a:pt x="3501" y="2320"/>
                </a:lnTo>
                <a:lnTo>
                  <a:pt x="3512" y="2330"/>
                </a:lnTo>
                <a:lnTo>
                  <a:pt x="3522" y="2330"/>
                </a:lnTo>
                <a:lnTo>
                  <a:pt x="3532" y="2340"/>
                </a:lnTo>
                <a:lnTo>
                  <a:pt x="3532" y="2350"/>
                </a:lnTo>
                <a:lnTo>
                  <a:pt x="3542" y="2360"/>
                </a:lnTo>
                <a:lnTo>
                  <a:pt x="3552" y="2360"/>
                </a:lnTo>
                <a:lnTo>
                  <a:pt x="3552" y="2350"/>
                </a:lnTo>
                <a:lnTo>
                  <a:pt x="3562" y="2340"/>
                </a:lnTo>
                <a:lnTo>
                  <a:pt x="3562" y="2340"/>
                </a:lnTo>
                <a:lnTo>
                  <a:pt x="3562" y="2330"/>
                </a:lnTo>
                <a:lnTo>
                  <a:pt x="3562" y="2330"/>
                </a:lnTo>
                <a:lnTo>
                  <a:pt x="3552" y="2330"/>
                </a:lnTo>
                <a:lnTo>
                  <a:pt x="3552" y="2320"/>
                </a:lnTo>
                <a:lnTo>
                  <a:pt x="3552" y="2310"/>
                </a:lnTo>
                <a:lnTo>
                  <a:pt x="3562" y="2300"/>
                </a:lnTo>
                <a:lnTo>
                  <a:pt x="3562" y="2300"/>
                </a:lnTo>
                <a:lnTo>
                  <a:pt x="3582" y="2300"/>
                </a:lnTo>
                <a:lnTo>
                  <a:pt x="3593" y="2300"/>
                </a:lnTo>
                <a:lnTo>
                  <a:pt x="3593" y="2310"/>
                </a:lnTo>
                <a:lnTo>
                  <a:pt x="3593" y="2310"/>
                </a:lnTo>
                <a:lnTo>
                  <a:pt x="3603" y="2310"/>
                </a:lnTo>
                <a:lnTo>
                  <a:pt x="3613" y="2320"/>
                </a:lnTo>
                <a:lnTo>
                  <a:pt x="3613" y="2320"/>
                </a:lnTo>
                <a:lnTo>
                  <a:pt x="3613" y="2330"/>
                </a:lnTo>
                <a:lnTo>
                  <a:pt x="3613" y="2340"/>
                </a:lnTo>
                <a:lnTo>
                  <a:pt x="3623" y="2350"/>
                </a:lnTo>
                <a:lnTo>
                  <a:pt x="3623" y="2360"/>
                </a:lnTo>
                <a:lnTo>
                  <a:pt x="3633" y="2360"/>
                </a:lnTo>
                <a:lnTo>
                  <a:pt x="3633" y="2360"/>
                </a:lnTo>
                <a:lnTo>
                  <a:pt x="3643" y="2350"/>
                </a:lnTo>
                <a:lnTo>
                  <a:pt x="3643" y="2340"/>
                </a:lnTo>
                <a:lnTo>
                  <a:pt x="3653" y="2330"/>
                </a:lnTo>
                <a:lnTo>
                  <a:pt x="3653" y="2330"/>
                </a:lnTo>
                <a:lnTo>
                  <a:pt x="3663" y="2320"/>
                </a:lnTo>
                <a:lnTo>
                  <a:pt x="3663" y="2330"/>
                </a:lnTo>
                <a:lnTo>
                  <a:pt x="3674" y="2330"/>
                </a:lnTo>
                <a:lnTo>
                  <a:pt x="3674" y="2340"/>
                </a:lnTo>
                <a:lnTo>
                  <a:pt x="3684" y="2340"/>
                </a:lnTo>
                <a:lnTo>
                  <a:pt x="3674" y="2350"/>
                </a:lnTo>
                <a:lnTo>
                  <a:pt x="3674" y="2360"/>
                </a:lnTo>
                <a:lnTo>
                  <a:pt x="3674" y="2360"/>
                </a:lnTo>
                <a:lnTo>
                  <a:pt x="3663" y="2370"/>
                </a:lnTo>
                <a:lnTo>
                  <a:pt x="3674" y="2381"/>
                </a:lnTo>
                <a:lnTo>
                  <a:pt x="3674" y="2381"/>
                </a:lnTo>
                <a:lnTo>
                  <a:pt x="3684" y="2381"/>
                </a:lnTo>
                <a:lnTo>
                  <a:pt x="3694" y="2381"/>
                </a:lnTo>
                <a:lnTo>
                  <a:pt x="3704" y="2381"/>
                </a:lnTo>
                <a:lnTo>
                  <a:pt x="3714" y="2391"/>
                </a:lnTo>
                <a:lnTo>
                  <a:pt x="3724" y="2381"/>
                </a:lnTo>
                <a:lnTo>
                  <a:pt x="3724" y="2381"/>
                </a:lnTo>
                <a:lnTo>
                  <a:pt x="3734" y="2370"/>
                </a:lnTo>
                <a:lnTo>
                  <a:pt x="3744" y="2350"/>
                </a:lnTo>
                <a:lnTo>
                  <a:pt x="3744" y="2330"/>
                </a:lnTo>
                <a:lnTo>
                  <a:pt x="3744" y="2330"/>
                </a:lnTo>
                <a:lnTo>
                  <a:pt x="3744" y="2320"/>
                </a:lnTo>
                <a:lnTo>
                  <a:pt x="3765" y="2310"/>
                </a:lnTo>
                <a:lnTo>
                  <a:pt x="3765" y="2310"/>
                </a:lnTo>
                <a:lnTo>
                  <a:pt x="3775" y="2320"/>
                </a:lnTo>
                <a:lnTo>
                  <a:pt x="3795" y="2320"/>
                </a:lnTo>
                <a:lnTo>
                  <a:pt x="3815" y="2320"/>
                </a:lnTo>
                <a:lnTo>
                  <a:pt x="3825" y="2320"/>
                </a:lnTo>
                <a:lnTo>
                  <a:pt x="3825" y="2330"/>
                </a:lnTo>
                <a:lnTo>
                  <a:pt x="3835" y="2330"/>
                </a:lnTo>
                <a:lnTo>
                  <a:pt x="3835" y="2330"/>
                </a:lnTo>
                <a:lnTo>
                  <a:pt x="3835" y="2340"/>
                </a:lnTo>
                <a:lnTo>
                  <a:pt x="3835" y="2360"/>
                </a:lnTo>
                <a:lnTo>
                  <a:pt x="3835" y="2370"/>
                </a:lnTo>
                <a:lnTo>
                  <a:pt x="3835" y="2370"/>
                </a:lnTo>
                <a:lnTo>
                  <a:pt x="3835" y="2381"/>
                </a:lnTo>
                <a:lnTo>
                  <a:pt x="3835" y="2391"/>
                </a:lnTo>
                <a:lnTo>
                  <a:pt x="3835" y="2391"/>
                </a:lnTo>
                <a:lnTo>
                  <a:pt x="3825" y="2391"/>
                </a:lnTo>
                <a:lnTo>
                  <a:pt x="3815" y="2401"/>
                </a:lnTo>
                <a:lnTo>
                  <a:pt x="3815" y="2411"/>
                </a:lnTo>
                <a:lnTo>
                  <a:pt x="3805" y="2421"/>
                </a:lnTo>
                <a:lnTo>
                  <a:pt x="3805" y="2431"/>
                </a:lnTo>
                <a:lnTo>
                  <a:pt x="3805" y="2451"/>
                </a:lnTo>
                <a:lnTo>
                  <a:pt x="3805" y="2462"/>
                </a:lnTo>
                <a:lnTo>
                  <a:pt x="3805" y="2472"/>
                </a:lnTo>
                <a:lnTo>
                  <a:pt x="3795" y="2472"/>
                </a:lnTo>
                <a:lnTo>
                  <a:pt x="3795" y="2472"/>
                </a:lnTo>
                <a:lnTo>
                  <a:pt x="3785" y="2462"/>
                </a:lnTo>
                <a:lnTo>
                  <a:pt x="3785" y="2451"/>
                </a:lnTo>
                <a:lnTo>
                  <a:pt x="3765" y="2411"/>
                </a:lnTo>
                <a:lnTo>
                  <a:pt x="3765" y="2411"/>
                </a:lnTo>
                <a:lnTo>
                  <a:pt x="3754" y="2421"/>
                </a:lnTo>
                <a:lnTo>
                  <a:pt x="3754" y="2431"/>
                </a:lnTo>
                <a:lnTo>
                  <a:pt x="3754" y="2451"/>
                </a:lnTo>
                <a:lnTo>
                  <a:pt x="3744" y="2462"/>
                </a:lnTo>
                <a:lnTo>
                  <a:pt x="3744" y="2462"/>
                </a:lnTo>
                <a:lnTo>
                  <a:pt x="3734" y="2482"/>
                </a:lnTo>
                <a:lnTo>
                  <a:pt x="3724" y="2482"/>
                </a:lnTo>
                <a:lnTo>
                  <a:pt x="3714" y="2492"/>
                </a:lnTo>
                <a:lnTo>
                  <a:pt x="3714" y="2502"/>
                </a:lnTo>
                <a:lnTo>
                  <a:pt x="3704" y="2512"/>
                </a:lnTo>
                <a:lnTo>
                  <a:pt x="3694" y="2512"/>
                </a:lnTo>
                <a:lnTo>
                  <a:pt x="3694" y="2512"/>
                </a:lnTo>
                <a:lnTo>
                  <a:pt x="3684" y="2502"/>
                </a:lnTo>
                <a:lnTo>
                  <a:pt x="3684" y="2502"/>
                </a:lnTo>
                <a:lnTo>
                  <a:pt x="3674" y="2492"/>
                </a:lnTo>
                <a:lnTo>
                  <a:pt x="3663" y="2482"/>
                </a:lnTo>
                <a:lnTo>
                  <a:pt x="3653" y="2482"/>
                </a:lnTo>
                <a:lnTo>
                  <a:pt x="3653" y="2472"/>
                </a:lnTo>
                <a:lnTo>
                  <a:pt x="3653" y="2462"/>
                </a:lnTo>
                <a:lnTo>
                  <a:pt x="3653" y="2462"/>
                </a:lnTo>
                <a:lnTo>
                  <a:pt x="3643" y="2451"/>
                </a:lnTo>
                <a:lnTo>
                  <a:pt x="3643" y="2451"/>
                </a:lnTo>
                <a:lnTo>
                  <a:pt x="3633" y="2451"/>
                </a:lnTo>
                <a:lnTo>
                  <a:pt x="3633" y="2451"/>
                </a:lnTo>
                <a:lnTo>
                  <a:pt x="3633" y="2441"/>
                </a:lnTo>
                <a:lnTo>
                  <a:pt x="3623" y="2441"/>
                </a:lnTo>
                <a:lnTo>
                  <a:pt x="3623" y="2441"/>
                </a:lnTo>
                <a:lnTo>
                  <a:pt x="3613" y="2441"/>
                </a:lnTo>
                <a:lnTo>
                  <a:pt x="3613" y="2451"/>
                </a:lnTo>
                <a:lnTo>
                  <a:pt x="3603" y="2462"/>
                </a:lnTo>
                <a:lnTo>
                  <a:pt x="3603" y="2482"/>
                </a:lnTo>
                <a:lnTo>
                  <a:pt x="3603" y="2482"/>
                </a:lnTo>
                <a:lnTo>
                  <a:pt x="3603" y="2492"/>
                </a:lnTo>
                <a:lnTo>
                  <a:pt x="3593" y="2502"/>
                </a:lnTo>
                <a:lnTo>
                  <a:pt x="3572" y="2512"/>
                </a:lnTo>
                <a:lnTo>
                  <a:pt x="3562" y="2512"/>
                </a:lnTo>
                <a:lnTo>
                  <a:pt x="3552" y="2522"/>
                </a:lnTo>
                <a:lnTo>
                  <a:pt x="3552" y="2522"/>
                </a:lnTo>
                <a:lnTo>
                  <a:pt x="3552" y="2522"/>
                </a:lnTo>
                <a:lnTo>
                  <a:pt x="3552" y="2533"/>
                </a:lnTo>
                <a:lnTo>
                  <a:pt x="3562" y="2533"/>
                </a:lnTo>
                <a:lnTo>
                  <a:pt x="3572" y="2533"/>
                </a:lnTo>
                <a:lnTo>
                  <a:pt x="3582" y="2543"/>
                </a:lnTo>
                <a:lnTo>
                  <a:pt x="3613" y="2543"/>
                </a:lnTo>
                <a:lnTo>
                  <a:pt x="3633" y="2543"/>
                </a:lnTo>
                <a:lnTo>
                  <a:pt x="3633" y="2543"/>
                </a:lnTo>
                <a:lnTo>
                  <a:pt x="3643" y="2543"/>
                </a:lnTo>
                <a:lnTo>
                  <a:pt x="3653" y="2553"/>
                </a:lnTo>
                <a:lnTo>
                  <a:pt x="3653" y="2553"/>
                </a:lnTo>
                <a:lnTo>
                  <a:pt x="3663" y="2553"/>
                </a:lnTo>
                <a:lnTo>
                  <a:pt x="3674" y="2553"/>
                </a:lnTo>
                <a:lnTo>
                  <a:pt x="3674" y="2563"/>
                </a:lnTo>
                <a:lnTo>
                  <a:pt x="3684" y="2573"/>
                </a:lnTo>
                <a:lnTo>
                  <a:pt x="3694" y="2573"/>
                </a:lnTo>
                <a:lnTo>
                  <a:pt x="3704" y="2583"/>
                </a:lnTo>
                <a:lnTo>
                  <a:pt x="3714" y="2583"/>
                </a:lnTo>
                <a:lnTo>
                  <a:pt x="3714" y="2573"/>
                </a:lnTo>
                <a:lnTo>
                  <a:pt x="3734" y="2563"/>
                </a:lnTo>
                <a:lnTo>
                  <a:pt x="3744" y="2563"/>
                </a:lnTo>
                <a:lnTo>
                  <a:pt x="3754" y="2563"/>
                </a:lnTo>
                <a:lnTo>
                  <a:pt x="3765" y="2563"/>
                </a:lnTo>
                <a:lnTo>
                  <a:pt x="3775" y="2563"/>
                </a:lnTo>
                <a:lnTo>
                  <a:pt x="3775" y="2573"/>
                </a:lnTo>
                <a:lnTo>
                  <a:pt x="3785" y="2573"/>
                </a:lnTo>
                <a:lnTo>
                  <a:pt x="3775" y="2583"/>
                </a:lnTo>
                <a:lnTo>
                  <a:pt x="3754" y="2583"/>
                </a:lnTo>
                <a:lnTo>
                  <a:pt x="3734" y="2593"/>
                </a:lnTo>
                <a:lnTo>
                  <a:pt x="3734" y="2593"/>
                </a:lnTo>
                <a:lnTo>
                  <a:pt x="3724" y="2603"/>
                </a:lnTo>
                <a:lnTo>
                  <a:pt x="3704" y="2614"/>
                </a:lnTo>
                <a:lnTo>
                  <a:pt x="3704" y="2634"/>
                </a:lnTo>
                <a:lnTo>
                  <a:pt x="3704" y="2644"/>
                </a:lnTo>
                <a:lnTo>
                  <a:pt x="3724" y="2644"/>
                </a:lnTo>
                <a:lnTo>
                  <a:pt x="3734" y="2644"/>
                </a:lnTo>
                <a:lnTo>
                  <a:pt x="3734" y="2644"/>
                </a:lnTo>
                <a:lnTo>
                  <a:pt x="3734" y="2644"/>
                </a:lnTo>
                <a:lnTo>
                  <a:pt x="3744" y="2644"/>
                </a:lnTo>
                <a:lnTo>
                  <a:pt x="3744" y="2654"/>
                </a:lnTo>
                <a:lnTo>
                  <a:pt x="3744" y="2664"/>
                </a:lnTo>
                <a:lnTo>
                  <a:pt x="3754" y="2664"/>
                </a:lnTo>
                <a:lnTo>
                  <a:pt x="3754" y="2674"/>
                </a:lnTo>
                <a:lnTo>
                  <a:pt x="3754" y="2674"/>
                </a:lnTo>
                <a:lnTo>
                  <a:pt x="3754" y="2684"/>
                </a:lnTo>
                <a:lnTo>
                  <a:pt x="3754" y="2684"/>
                </a:lnTo>
                <a:lnTo>
                  <a:pt x="3744" y="2684"/>
                </a:lnTo>
                <a:lnTo>
                  <a:pt x="3734" y="2695"/>
                </a:lnTo>
                <a:lnTo>
                  <a:pt x="3724" y="2695"/>
                </a:lnTo>
                <a:lnTo>
                  <a:pt x="3714" y="2705"/>
                </a:lnTo>
                <a:lnTo>
                  <a:pt x="3704" y="2715"/>
                </a:lnTo>
                <a:lnTo>
                  <a:pt x="3694" y="2715"/>
                </a:lnTo>
                <a:lnTo>
                  <a:pt x="3684" y="2715"/>
                </a:lnTo>
                <a:lnTo>
                  <a:pt x="3684" y="2715"/>
                </a:lnTo>
                <a:lnTo>
                  <a:pt x="3674" y="2725"/>
                </a:lnTo>
                <a:lnTo>
                  <a:pt x="3674" y="2735"/>
                </a:lnTo>
                <a:lnTo>
                  <a:pt x="3684" y="2745"/>
                </a:lnTo>
                <a:lnTo>
                  <a:pt x="3684" y="2755"/>
                </a:lnTo>
                <a:lnTo>
                  <a:pt x="3694" y="2755"/>
                </a:lnTo>
                <a:lnTo>
                  <a:pt x="3684" y="2766"/>
                </a:lnTo>
                <a:lnTo>
                  <a:pt x="3684" y="2766"/>
                </a:lnTo>
                <a:lnTo>
                  <a:pt x="3674" y="2776"/>
                </a:lnTo>
                <a:lnTo>
                  <a:pt x="3663" y="2776"/>
                </a:lnTo>
                <a:lnTo>
                  <a:pt x="3663" y="2786"/>
                </a:lnTo>
                <a:lnTo>
                  <a:pt x="3663" y="2786"/>
                </a:lnTo>
                <a:lnTo>
                  <a:pt x="3663" y="2796"/>
                </a:lnTo>
                <a:lnTo>
                  <a:pt x="3674" y="2806"/>
                </a:lnTo>
                <a:lnTo>
                  <a:pt x="3684" y="2816"/>
                </a:lnTo>
                <a:lnTo>
                  <a:pt x="3684" y="2816"/>
                </a:lnTo>
                <a:lnTo>
                  <a:pt x="3694" y="2816"/>
                </a:lnTo>
                <a:lnTo>
                  <a:pt x="3704" y="2816"/>
                </a:lnTo>
                <a:lnTo>
                  <a:pt x="3714" y="2816"/>
                </a:lnTo>
                <a:lnTo>
                  <a:pt x="3724" y="2816"/>
                </a:lnTo>
                <a:lnTo>
                  <a:pt x="3734" y="2826"/>
                </a:lnTo>
                <a:lnTo>
                  <a:pt x="3734" y="2826"/>
                </a:lnTo>
                <a:lnTo>
                  <a:pt x="3744" y="2836"/>
                </a:lnTo>
                <a:lnTo>
                  <a:pt x="3744" y="2826"/>
                </a:lnTo>
                <a:lnTo>
                  <a:pt x="3754" y="2826"/>
                </a:lnTo>
                <a:lnTo>
                  <a:pt x="3754" y="2816"/>
                </a:lnTo>
                <a:lnTo>
                  <a:pt x="3754" y="2806"/>
                </a:lnTo>
                <a:lnTo>
                  <a:pt x="3754" y="2796"/>
                </a:lnTo>
                <a:lnTo>
                  <a:pt x="3765" y="2786"/>
                </a:lnTo>
                <a:lnTo>
                  <a:pt x="3765" y="2786"/>
                </a:lnTo>
                <a:lnTo>
                  <a:pt x="3775" y="2796"/>
                </a:lnTo>
                <a:lnTo>
                  <a:pt x="3785" y="2796"/>
                </a:lnTo>
                <a:lnTo>
                  <a:pt x="3785" y="2796"/>
                </a:lnTo>
                <a:lnTo>
                  <a:pt x="3785" y="2806"/>
                </a:lnTo>
                <a:lnTo>
                  <a:pt x="3795" y="2806"/>
                </a:lnTo>
                <a:lnTo>
                  <a:pt x="3795" y="2826"/>
                </a:lnTo>
                <a:lnTo>
                  <a:pt x="3795" y="2826"/>
                </a:lnTo>
                <a:lnTo>
                  <a:pt x="3795" y="2836"/>
                </a:lnTo>
                <a:lnTo>
                  <a:pt x="3795" y="2836"/>
                </a:lnTo>
                <a:lnTo>
                  <a:pt x="3805" y="2836"/>
                </a:lnTo>
                <a:lnTo>
                  <a:pt x="3815" y="2826"/>
                </a:lnTo>
                <a:lnTo>
                  <a:pt x="3815" y="2826"/>
                </a:lnTo>
                <a:lnTo>
                  <a:pt x="3825" y="2826"/>
                </a:lnTo>
                <a:lnTo>
                  <a:pt x="3835" y="2826"/>
                </a:lnTo>
                <a:lnTo>
                  <a:pt x="3835" y="2826"/>
                </a:lnTo>
                <a:lnTo>
                  <a:pt x="3846" y="2836"/>
                </a:lnTo>
                <a:lnTo>
                  <a:pt x="3856" y="2836"/>
                </a:lnTo>
                <a:lnTo>
                  <a:pt x="3866" y="2836"/>
                </a:lnTo>
                <a:lnTo>
                  <a:pt x="3866" y="2836"/>
                </a:lnTo>
                <a:lnTo>
                  <a:pt x="3876" y="2826"/>
                </a:lnTo>
                <a:lnTo>
                  <a:pt x="3876" y="2816"/>
                </a:lnTo>
                <a:lnTo>
                  <a:pt x="3876" y="2806"/>
                </a:lnTo>
                <a:lnTo>
                  <a:pt x="3886" y="2796"/>
                </a:lnTo>
                <a:lnTo>
                  <a:pt x="3886" y="2796"/>
                </a:lnTo>
                <a:lnTo>
                  <a:pt x="3886" y="2796"/>
                </a:lnTo>
                <a:lnTo>
                  <a:pt x="3896" y="2796"/>
                </a:lnTo>
                <a:lnTo>
                  <a:pt x="3906" y="2806"/>
                </a:lnTo>
                <a:lnTo>
                  <a:pt x="3916" y="2806"/>
                </a:lnTo>
                <a:lnTo>
                  <a:pt x="3926" y="2816"/>
                </a:lnTo>
                <a:lnTo>
                  <a:pt x="3926" y="2816"/>
                </a:lnTo>
                <a:lnTo>
                  <a:pt x="3937" y="2816"/>
                </a:lnTo>
                <a:lnTo>
                  <a:pt x="3947" y="2816"/>
                </a:lnTo>
                <a:lnTo>
                  <a:pt x="3957" y="2816"/>
                </a:lnTo>
                <a:lnTo>
                  <a:pt x="3967" y="2816"/>
                </a:lnTo>
                <a:lnTo>
                  <a:pt x="3977" y="2816"/>
                </a:lnTo>
                <a:lnTo>
                  <a:pt x="3977" y="2826"/>
                </a:lnTo>
                <a:lnTo>
                  <a:pt x="3987" y="2826"/>
                </a:lnTo>
                <a:lnTo>
                  <a:pt x="3977" y="2836"/>
                </a:lnTo>
                <a:lnTo>
                  <a:pt x="3977" y="2836"/>
                </a:lnTo>
                <a:lnTo>
                  <a:pt x="3967" y="2847"/>
                </a:lnTo>
                <a:lnTo>
                  <a:pt x="3957" y="2847"/>
                </a:lnTo>
                <a:lnTo>
                  <a:pt x="3937" y="2857"/>
                </a:lnTo>
                <a:lnTo>
                  <a:pt x="3926" y="2867"/>
                </a:lnTo>
                <a:lnTo>
                  <a:pt x="3916" y="2897"/>
                </a:lnTo>
                <a:lnTo>
                  <a:pt x="3916" y="2928"/>
                </a:lnTo>
                <a:lnTo>
                  <a:pt x="3916" y="2938"/>
                </a:lnTo>
                <a:lnTo>
                  <a:pt x="3926" y="2948"/>
                </a:lnTo>
                <a:lnTo>
                  <a:pt x="3926" y="2948"/>
                </a:lnTo>
                <a:lnTo>
                  <a:pt x="3937" y="2948"/>
                </a:lnTo>
                <a:lnTo>
                  <a:pt x="3947" y="2958"/>
                </a:lnTo>
                <a:lnTo>
                  <a:pt x="3957" y="2958"/>
                </a:lnTo>
                <a:lnTo>
                  <a:pt x="3957" y="2968"/>
                </a:lnTo>
                <a:lnTo>
                  <a:pt x="3967" y="2978"/>
                </a:lnTo>
                <a:lnTo>
                  <a:pt x="3967" y="2978"/>
                </a:lnTo>
                <a:lnTo>
                  <a:pt x="3977" y="2978"/>
                </a:lnTo>
                <a:lnTo>
                  <a:pt x="3987" y="2988"/>
                </a:lnTo>
                <a:lnTo>
                  <a:pt x="3987" y="2999"/>
                </a:lnTo>
                <a:lnTo>
                  <a:pt x="3997" y="2999"/>
                </a:lnTo>
                <a:lnTo>
                  <a:pt x="3997" y="3009"/>
                </a:lnTo>
                <a:lnTo>
                  <a:pt x="3987" y="3019"/>
                </a:lnTo>
                <a:lnTo>
                  <a:pt x="3977" y="3019"/>
                </a:lnTo>
                <a:lnTo>
                  <a:pt x="3967" y="3029"/>
                </a:lnTo>
                <a:lnTo>
                  <a:pt x="3957" y="3029"/>
                </a:lnTo>
                <a:lnTo>
                  <a:pt x="3967" y="3039"/>
                </a:lnTo>
                <a:lnTo>
                  <a:pt x="3967" y="3049"/>
                </a:lnTo>
                <a:lnTo>
                  <a:pt x="3977" y="3059"/>
                </a:lnTo>
                <a:lnTo>
                  <a:pt x="3977" y="3069"/>
                </a:lnTo>
                <a:lnTo>
                  <a:pt x="3977" y="3090"/>
                </a:lnTo>
                <a:lnTo>
                  <a:pt x="3977" y="3090"/>
                </a:lnTo>
                <a:lnTo>
                  <a:pt x="3987" y="3100"/>
                </a:lnTo>
                <a:lnTo>
                  <a:pt x="3987" y="3100"/>
                </a:lnTo>
                <a:lnTo>
                  <a:pt x="3997" y="3110"/>
                </a:lnTo>
                <a:lnTo>
                  <a:pt x="3997" y="3120"/>
                </a:lnTo>
                <a:lnTo>
                  <a:pt x="3997" y="3130"/>
                </a:lnTo>
                <a:lnTo>
                  <a:pt x="3997" y="3140"/>
                </a:lnTo>
                <a:lnTo>
                  <a:pt x="3997" y="3140"/>
                </a:lnTo>
                <a:lnTo>
                  <a:pt x="3997" y="3140"/>
                </a:lnTo>
                <a:lnTo>
                  <a:pt x="4007" y="3140"/>
                </a:lnTo>
                <a:lnTo>
                  <a:pt x="4018" y="3140"/>
                </a:lnTo>
                <a:lnTo>
                  <a:pt x="4038" y="3150"/>
                </a:lnTo>
                <a:lnTo>
                  <a:pt x="4068" y="3150"/>
                </a:lnTo>
                <a:lnTo>
                  <a:pt x="4088" y="3150"/>
                </a:lnTo>
                <a:lnTo>
                  <a:pt x="4098" y="3150"/>
                </a:lnTo>
                <a:lnTo>
                  <a:pt x="4098" y="3150"/>
                </a:lnTo>
                <a:lnTo>
                  <a:pt x="4109" y="3140"/>
                </a:lnTo>
                <a:lnTo>
                  <a:pt x="4119" y="3140"/>
                </a:lnTo>
                <a:lnTo>
                  <a:pt x="4139" y="3130"/>
                </a:lnTo>
                <a:lnTo>
                  <a:pt x="4149" y="3120"/>
                </a:lnTo>
                <a:lnTo>
                  <a:pt x="4149" y="3110"/>
                </a:lnTo>
                <a:lnTo>
                  <a:pt x="4149" y="3090"/>
                </a:lnTo>
                <a:lnTo>
                  <a:pt x="4159" y="3080"/>
                </a:lnTo>
                <a:lnTo>
                  <a:pt x="4169" y="3069"/>
                </a:lnTo>
                <a:lnTo>
                  <a:pt x="4169" y="3069"/>
                </a:lnTo>
                <a:lnTo>
                  <a:pt x="4169" y="3069"/>
                </a:lnTo>
                <a:lnTo>
                  <a:pt x="4179" y="3080"/>
                </a:lnTo>
                <a:lnTo>
                  <a:pt x="4179" y="3100"/>
                </a:lnTo>
                <a:lnTo>
                  <a:pt x="4179" y="3110"/>
                </a:lnTo>
                <a:lnTo>
                  <a:pt x="4179" y="3120"/>
                </a:lnTo>
                <a:lnTo>
                  <a:pt x="4179" y="3140"/>
                </a:lnTo>
                <a:lnTo>
                  <a:pt x="4190" y="3140"/>
                </a:lnTo>
                <a:lnTo>
                  <a:pt x="4190" y="3150"/>
                </a:lnTo>
                <a:lnTo>
                  <a:pt x="4200" y="3150"/>
                </a:lnTo>
                <a:lnTo>
                  <a:pt x="4200" y="3161"/>
                </a:lnTo>
                <a:lnTo>
                  <a:pt x="4200" y="3161"/>
                </a:lnTo>
                <a:lnTo>
                  <a:pt x="4200" y="3171"/>
                </a:lnTo>
                <a:lnTo>
                  <a:pt x="4200" y="3181"/>
                </a:lnTo>
                <a:lnTo>
                  <a:pt x="4200" y="3181"/>
                </a:lnTo>
                <a:lnTo>
                  <a:pt x="4200" y="3201"/>
                </a:lnTo>
                <a:lnTo>
                  <a:pt x="4200" y="3201"/>
                </a:lnTo>
                <a:lnTo>
                  <a:pt x="4210" y="3201"/>
                </a:lnTo>
                <a:lnTo>
                  <a:pt x="4210" y="3211"/>
                </a:lnTo>
                <a:lnTo>
                  <a:pt x="4220" y="3201"/>
                </a:lnTo>
                <a:lnTo>
                  <a:pt x="4240" y="3201"/>
                </a:lnTo>
                <a:lnTo>
                  <a:pt x="4240" y="3201"/>
                </a:lnTo>
                <a:lnTo>
                  <a:pt x="4250" y="3201"/>
                </a:lnTo>
                <a:lnTo>
                  <a:pt x="4250" y="3201"/>
                </a:lnTo>
                <a:lnTo>
                  <a:pt x="4250" y="3211"/>
                </a:lnTo>
                <a:lnTo>
                  <a:pt x="4250" y="3211"/>
                </a:lnTo>
                <a:lnTo>
                  <a:pt x="4250" y="3221"/>
                </a:lnTo>
                <a:lnTo>
                  <a:pt x="4240" y="3221"/>
                </a:lnTo>
                <a:lnTo>
                  <a:pt x="4210" y="3231"/>
                </a:lnTo>
                <a:lnTo>
                  <a:pt x="4200" y="3242"/>
                </a:lnTo>
                <a:lnTo>
                  <a:pt x="4200" y="3242"/>
                </a:lnTo>
                <a:lnTo>
                  <a:pt x="4200" y="3252"/>
                </a:lnTo>
                <a:lnTo>
                  <a:pt x="4200" y="3252"/>
                </a:lnTo>
                <a:lnTo>
                  <a:pt x="4200" y="3252"/>
                </a:lnTo>
                <a:lnTo>
                  <a:pt x="4210" y="3252"/>
                </a:lnTo>
                <a:lnTo>
                  <a:pt x="4220" y="3262"/>
                </a:lnTo>
                <a:lnTo>
                  <a:pt x="4230" y="3262"/>
                </a:lnTo>
                <a:lnTo>
                  <a:pt x="4240" y="3262"/>
                </a:lnTo>
                <a:lnTo>
                  <a:pt x="4250" y="3272"/>
                </a:lnTo>
                <a:lnTo>
                  <a:pt x="4250" y="3272"/>
                </a:lnTo>
                <a:lnTo>
                  <a:pt x="4260" y="3272"/>
                </a:lnTo>
                <a:lnTo>
                  <a:pt x="4271" y="3272"/>
                </a:lnTo>
                <a:lnTo>
                  <a:pt x="4281" y="3272"/>
                </a:lnTo>
                <a:lnTo>
                  <a:pt x="4281" y="3282"/>
                </a:lnTo>
                <a:lnTo>
                  <a:pt x="4281" y="3282"/>
                </a:lnTo>
                <a:lnTo>
                  <a:pt x="4281" y="3292"/>
                </a:lnTo>
                <a:lnTo>
                  <a:pt x="4271" y="3292"/>
                </a:lnTo>
                <a:lnTo>
                  <a:pt x="4240" y="3292"/>
                </a:lnTo>
                <a:lnTo>
                  <a:pt x="4210" y="3292"/>
                </a:lnTo>
                <a:lnTo>
                  <a:pt x="4200" y="3302"/>
                </a:lnTo>
                <a:lnTo>
                  <a:pt x="4190" y="3302"/>
                </a:lnTo>
                <a:lnTo>
                  <a:pt x="4169" y="3302"/>
                </a:lnTo>
                <a:lnTo>
                  <a:pt x="4169" y="3302"/>
                </a:lnTo>
                <a:lnTo>
                  <a:pt x="4159" y="3302"/>
                </a:lnTo>
                <a:lnTo>
                  <a:pt x="4159" y="3313"/>
                </a:lnTo>
                <a:lnTo>
                  <a:pt x="4149" y="3333"/>
                </a:lnTo>
                <a:lnTo>
                  <a:pt x="4159" y="3343"/>
                </a:lnTo>
                <a:lnTo>
                  <a:pt x="4159" y="3343"/>
                </a:lnTo>
                <a:lnTo>
                  <a:pt x="4159" y="3353"/>
                </a:lnTo>
                <a:lnTo>
                  <a:pt x="4159" y="3363"/>
                </a:lnTo>
                <a:lnTo>
                  <a:pt x="4159" y="3363"/>
                </a:lnTo>
                <a:lnTo>
                  <a:pt x="4169" y="3363"/>
                </a:lnTo>
                <a:lnTo>
                  <a:pt x="4169" y="3363"/>
                </a:lnTo>
                <a:lnTo>
                  <a:pt x="4179" y="3363"/>
                </a:lnTo>
                <a:lnTo>
                  <a:pt x="4190" y="3353"/>
                </a:lnTo>
                <a:lnTo>
                  <a:pt x="4200" y="3353"/>
                </a:lnTo>
                <a:lnTo>
                  <a:pt x="4200" y="3343"/>
                </a:lnTo>
                <a:lnTo>
                  <a:pt x="4210" y="3353"/>
                </a:lnTo>
                <a:lnTo>
                  <a:pt x="4220" y="3353"/>
                </a:lnTo>
                <a:lnTo>
                  <a:pt x="4230" y="3353"/>
                </a:lnTo>
                <a:lnTo>
                  <a:pt x="4230" y="3343"/>
                </a:lnTo>
                <a:lnTo>
                  <a:pt x="4240" y="3343"/>
                </a:lnTo>
                <a:lnTo>
                  <a:pt x="4250" y="3343"/>
                </a:lnTo>
                <a:lnTo>
                  <a:pt x="4250" y="3343"/>
                </a:lnTo>
                <a:lnTo>
                  <a:pt x="4250" y="3353"/>
                </a:lnTo>
                <a:lnTo>
                  <a:pt x="4250" y="3363"/>
                </a:lnTo>
                <a:lnTo>
                  <a:pt x="4250" y="3363"/>
                </a:lnTo>
                <a:lnTo>
                  <a:pt x="4240" y="3373"/>
                </a:lnTo>
                <a:lnTo>
                  <a:pt x="4230" y="3373"/>
                </a:lnTo>
                <a:lnTo>
                  <a:pt x="4230" y="3383"/>
                </a:lnTo>
                <a:lnTo>
                  <a:pt x="4220" y="3394"/>
                </a:lnTo>
                <a:lnTo>
                  <a:pt x="4220" y="3394"/>
                </a:lnTo>
                <a:lnTo>
                  <a:pt x="4220" y="3404"/>
                </a:lnTo>
                <a:lnTo>
                  <a:pt x="4210" y="3414"/>
                </a:lnTo>
                <a:lnTo>
                  <a:pt x="4220" y="3414"/>
                </a:lnTo>
                <a:lnTo>
                  <a:pt x="4220" y="3414"/>
                </a:lnTo>
                <a:lnTo>
                  <a:pt x="4230" y="3414"/>
                </a:lnTo>
                <a:lnTo>
                  <a:pt x="4260" y="3404"/>
                </a:lnTo>
                <a:lnTo>
                  <a:pt x="4271" y="3394"/>
                </a:lnTo>
                <a:lnTo>
                  <a:pt x="4271" y="3394"/>
                </a:lnTo>
                <a:lnTo>
                  <a:pt x="4281" y="3404"/>
                </a:lnTo>
                <a:lnTo>
                  <a:pt x="4281" y="3414"/>
                </a:lnTo>
                <a:lnTo>
                  <a:pt x="4281" y="3424"/>
                </a:lnTo>
                <a:lnTo>
                  <a:pt x="4281" y="3434"/>
                </a:lnTo>
                <a:lnTo>
                  <a:pt x="4271" y="3444"/>
                </a:lnTo>
                <a:lnTo>
                  <a:pt x="4271" y="3454"/>
                </a:lnTo>
                <a:lnTo>
                  <a:pt x="4271" y="3454"/>
                </a:lnTo>
                <a:lnTo>
                  <a:pt x="4271" y="3464"/>
                </a:lnTo>
                <a:lnTo>
                  <a:pt x="4281" y="3464"/>
                </a:lnTo>
                <a:lnTo>
                  <a:pt x="4291" y="3464"/>
                </a:lnTo>
                <a:lnTo>
                  <a:pt x="4301" y="3464"/>
                </a:lnTo>
                <a:lnTo>
                  <a:pt x="4311" y="3464"/>
                </a:lnTo>
                <a:lnTo>
                  <a:pt x="4331" y="3444"/>
                </a:lnTo>
                <a:lnTo>
                  <a:pt x="4351" y="3434"/>
                </a:lnTo>
                <a:lnTo>
                  <a:pt x="4362" y="3414"/>
                </a:lnTo>
                <a:lnTo>
                  <a:pt x="4372" y="3414"/>
                </a:lnTo>
                <a:lnTo>
                  <a:pt x="4382" y="3404"/>
                </a:lnTo>
                <a:lnTo>
                  <a:pt x="4392" y="3394"/>
                </a:lnTo>
                <a:lnTo>
                  <a:pt x="4402" y="3383"/>
                </a:lnTo>
                <a:lnTo>
                  <a:pt x="4402" y="3373"/>
                </a:lnTo>
                <a:lnTo>
                  <a:pt x="4412" y="3373"/>
                </a:lnTo>
                <a:lnTo>
                  <a:pt x="4422" y="3373"/>
                </a:lnTo>
                <a:lnTo>
                  <a:pt x="4422" y="3373"/>
                </a:lnTo>
                <a:lnTo>
                  <a:pt x="4432" y="3373"/>
                </a:lnTo>
                <a:lnTo>
                  <a:pt x="4443" y="3373"/>
                </a:lnTo>
                <a:lnTo>
                  <a:pt x="4443" y="3383"/>
                </a:lnTo>
                <a:lnTo>
                  <a:pt x="4443" y="3394"/>
                </a:lnTo>
                <a:lnTo>
                  <a:pt x="4443" y="3394"/>
                </a:lnTo>
                <a:lnTo>
                  <a:pt x="4432" y="3404"/>
                </a:lnTo>
                <a:lnTo>
                  <a:pt x="4432" y="3414"/>
                </a:lnTo>
                <a:lnTo>
                  <a:pt x="4422" y="3414"/>
                </a:lnTo>
                <a:lnTo>
                  <a:pt x="4422" y="3424"/>
                </a:lnTo>
                <a:lnTo>
                  <a:pt x="4412" y="3444"/>
                </a:lnTo>
                <a:lnTo>
                  <a:pt x="4412" y="3454"/>
                </a:lnTo>
                <a:lnTo>
                  <a:pt x="4412" y="3464"/>
                </a:lnTo>
                <a:lnTo>
                  <a:pt x="4422" y="3475"/>
                </a:lnTo>
                <a:lnTo>
                  <a:pt x="4422" y="3475"/>
                </a:lnTo>
                <a:lnTo>
                  <a:pt x="4422" y="3485"/>
                </a:lnTo>
                <a:lnTo>
                  <a:pt x="4412" y="3485"/>
                </a:lnTo>
                <a:lnTo>
                  <a:pt x="4402" y="3495"/>
                </a:lnTo>
                <a:lnTo>
                  <a:pt x="4382" y="3505"/>
                </a:lnTo>
                <a:lnTo>
                  <a:pt x="4372" y="3515"/>
                </a:lnTo>
                <a:lnTo>
                  <a:pt x="4372" y="3525"/>
                </a:lnTo>
                <a:lnTo>
                  <a:pt x="4372" y="3535"/>
                </a:lnTo>
                <a:lnTo>
                  <a:pt x="4372" y="3546"/>
                </a:lnTo>
                <a:lnTo>
                  <a:pt x="4372" y="3546"/>
                </a:lnTo>
                <a:lnTo>
                  <a:pt x="4362" y="3556"/>
                </a:lnTo>
                <a:lnTo>
                  <a:pt x="4362" y="3556"/>
                </a:lnTo>
                <a:lnTo>
                  <a:pt x="4362" y="3566"/>
                </a:lnTo>
                <a:lnTo>
                  <a:pt x="4351" y="3576"/>
                </a:lnTo>
                <a:lnTo>
                  <a:pt x="4341" y="3576"/>
                </a:lnTo>
                <a:lnTo>
                  <a:pt x="4331" y="3586"/>
                </a:lnTo>
                <a:lnTo>
                  <a:pt x="4331" y="3596"/>
                </a:lnTo>
                <a:lnTo>
                  <a:pt x="4331" y="3596"/>
                </a:lnTo>
                <a:lnTo>
                  <a:pt x="4331" y="3596"/>
                </a:lnTo>
                <a:lnTo>
                  <a:pt x="4341" y="3606"/>
                </a:lnTo>
                <a:lnTo>
                  <a:pt x="4362" y="3627"/>
                </a:lnTo>
                <a:lnTo>
                  <a:pt x="4382" y="3637"/>
                </a:lnTo>
                <a:lnTo>
                  <a:pt x="4392" y="3637"/>
                </a:lnTo>
                <a:lnTo>
                  <a:pt x="4402" y="3647"/>
                </a:lnTo>
                <a:lnTo>
                  <a:pt x="4402" y="3657"/>
                </a:lnTo>
                <a:lnTo>
                  <a:pt x="4412" y="3667"/>
                </a:lnTo>
                <a:lnTo>
                  <a:pt x="4422" y="3667"/>
                </a:lnTo>
                <a:lnTo>
                  <a:pt x="4432" y="3677"/>
                </a:lnTo>
                <a:lnTo>
                  <a:pt x="4432" y="3677"/>
                </a:lnTo>
                <a:lnTo>
                  <a:pt x="4443" y="3687"/>
                </a:lnTo>
                <a:lnTo>
                  <a:pt x="4453" y="3708"/>
                </a:lnTo>
                <a:lnTo>
                  <a:pt x="4463" y="3718"/>
                </a:lnTo>
                <a:lnTo>
                  <a:pt x="4463" y="3728"/>
                </a:lnTo>
                <a:lnTo>
                  <a:pt x="4453" y="3728"/>
                </a:lnTo>
                <a:lnTo>
                  <a:pt x="4453" y="3738"/>
                </a:lnTo>
                <a:lnTo>
                  <a:pt x="4422" y="3728"/>
                </a:lnTo>
                <a:lnTo>
                  <a:pt x="4412" y="3728"/>
                </a:lnTo>
                <a:lnTo>
                  <a:pt x="4402" y="3738"/>
                </a:lnTo>
                <a:lnTo>
                  <a:pt x="4392" y="3738"/>
                </a:lnTo>
                <a:lnTo>
                  <a:pt x="4382" y="3738"/>
                </a:lnTo>
                <a:lnTo>
                  <a:pt x="4372" y="3748"/>
                </a:lnTo>
                <a:lnTo>
                  <a:pt x="4372" y="3748"/>
                </a:lnTo>
                <a:lnTo>
                  <a:pt x="4372" y="3758"/>
                </a:lnTo>
                <a:lnTo>
                  <a:pt x="4362" y="3758"/>
                </a:lnTo>
                <a:lnTo>
                  <a:pt x="4372" y="3768"/>
                </a:lnTo>
                <a:lnTo>
                  <a:pt x="4372" y="3768"/>
                </a:lnTo>
                <a:lnTo>
                  <a:pt x="4382" y="3789"/>
                </a:lnTo>
                <a:lnTo>
                  <a:pt x="4382" y="3799"/>
                </a:lnTo>
                <a:lnTo>
                  <a:pt x="4382" y="3799"/>
                </a:lnTo>
                <a:lnTo>
                  <a:pt x="4402" y="3799"/>
                </a:lnTo>
                <a:lnTo>
                  <a:pt x="4432" y="3789"/>
                </a:lnTo>
                <a:lnTo>
                  <a:pt x="4453" y="3768"/>
                </a:lnTo>
                <a:lnTo>
                  <a:pt x="4463" y="3768"/>
                </a:lnTo>
                <a:lnTo>
                  <a:pt x="4473" y="3768"/>
                </a:lnTo>
                <a:lnTo>
                  <a:pt x="4473" y="3768"/>
                </a:lnTo>
                <a:lnTo>
                  <a:pt x="4483" y="3779"/>
                </a:lnTo>
                <a:lnTo>
                  <a:pt x="4483" y="3779"/>
                </a:lnTo>
                <a:lnTo>
                  <a:pt x="4483" y="3799"/>
                </a:lnTo>
                <a:lnTo>
                  <a:pt x="4483" y="3799"/>
                </a:lnTo>
                <a:lnTo>
                  <a:pt x="4483" y="3809"/>
                </a:lnTo>
                <a:lnTo>
                  <a:pt x="4483" y="3809"/>
                </a:lnTo>
                <a:lnTo>
                  <a:pt x="4473" y="3819"/>
                </a:lnTo>
                <a:lnTo>
                  <a:pt x="4473" y="3839"/>
                </a:lnTo>
                <a:lnTo>
                  <a:pt x="4473" y="3860"/>
                </a:lnTo>
                <a:lnTo>
                  <a:pt x="4473" y="3880"/>
                </a:lnTo>
                <a:lnTo>
                  <a:pt x="4473" y="3880"/>
                </a:lnTo>
                <a:lnTo>
                  <a:pt x="4463" y="3880"/>
                </a:lnTo>
                <a:lnTo>
                  <a:pt x="4453" y="3880"/>
                </a:lnTo>
                <a:lnTo>
                  <a:pt x="4432" y="3880"/>
                </a:lnTo>
                <a:lnTo>
                  <a:pt x="4432" y="3870"/>
                </a:lnTo>
                <a:lnTo>
                  <a:pt x="4422" y="3870"/>
                </a:lnTo>
                <a:lnTo>
                  <a:pt x="4422" y="3860"/>
                </a:lnTo>
                <a:lnTo>
                  <a:pt x="4412" y="3870"/>
                </a:lnTo>
                <a:lnTo>
                  <a:pt x="4402" y="3870"/>
                </a:lnTo>
                <a:lnTo>
                  <a:pt x="4392" y="3880"/>
                </a:lnTo>
                <a:lnTo>
                  <a:pt x="4382" y="3880"/>
                </a:lnTo>
                <a:lnTo>
                  <a:pt x="4382" y="3890"/>
                </a:lnTo>
                <a:lnTo>
                  <a:pt x="4382" y="3890"/>
                </a:lnTo>
                <a:lnTo>
                  <a:pt x="4382" y="3900"/>
                </a:lnTo>
                <a:lnTo>
                  <a:pt x="4392" y="3910"/>
                </a:lnTo>
                <a:lnTo>
                  <a:pt x="4392" y="3920"/>
                </a:lnTo>
                <a:lnTo>
                  <a:pt x="4392" y="3920"/>
                </a:lnTo>
                <a:lnTo>
                  <a:pt x="4392" y="3930"/>
                </a:lnTo>
                <a:lnTo>
                  <a:pt x="4382" y="3930"/>
                </a:lnTo>
                <a:lnTo>
                  <a:pt x="4382" y="3941"/>
                </a:lnTo>
                <a:lnTo>
                  <a:pt x="4382" y="3951"/>
                </a:lnTo>
                <a:lnTo>
                  <a:pt x="4362" y="3961"/>
                </a:lnTo>
                <a:lnTo>
                  <a:pt x="4362" y="3961"/>
                </a:lnTo>
                <a:lnTo>
                  <a:pt x="4351" y="3971"/>
                </a:lnTo>
                <a:lnTo>
                  <a:pt x="4351" y="3981"/>
                </a:lnTo>
                <a:lnTo>
                  <a:pt x="4351" y="3981"/>
                </a:lnTo>
                <a:lnTo>
                  <a:pt x="4341" y="3991"/>
                </a:lnTo>
                <a:lnTo>
                  <a:pt x="4341" y="4001"/>
                </a:lnTo>
                <a:lnTo>
                  <a:pt x="4351" y="4001"/>
                </a:lnTo>
                <a:lnTo>
                  <a:pt x="4372" y="4012"/>
                </a:lnTo>
                <a:lnTo>
                  <a:pt x="4382" y="4012"/>
                </a:lnTo>
                <a:lnTo>
                  <a:pt x="4392" y="4012"/>
                </a:lnTo>
                <a:lnTo>
                  <a:pt x="4392" y="4022"/>
                </a:lnTo>
                <a:lnTo>
                  <a:pt x="4402" y="4022"/>
                </a:lnTo>
                <a:lnTo>
                  <a:pt x="4402" y="4022"/>
                </a:lnTo>
                <a:lnTo>
                  <a:pt x="4412" y="4022"/>
                </a:lnTo>
                <a:lnTo>
                  <a:pt x="4422" y="4022"/>
                </a:lnTo>
                <a:lnTo>
                  <a:pt x="4422" y="4012"/>
                </a:lnTo>
                <a:lnTo>
                  <a:pt x="4422" y="4001"/>
                </a:lnTo>
                <a:lnTo>
                  <a:pt x="4422" y="3991"/>
                </a:lnTo>
                <a:lnTo>
                  <a:pt x="4422" y="3981"/>
                </a:lnTo>
                <a:lnTo>
                  <a:pt x="4432" y="3981"/>
                </a:lnTo>
                <a:lnTo>
                  <a:pt x="4443" y="3971"/>
                </a:lnTo>
                <a:lnTo>
                  <a:pt x="4463" y="3961"/>
                </a:lnTo>
                <a:lnTo>
                  <a:pt x="4463" y="3971"/>
                </a:lnTo>
                <a:lnTo>
                  <a:pt x="4473" y="3971"/>
                </a:lnTo>
                <a:lnTo>
                  <a:pt x="4473" y="3971"/>
                </a:lnTo>
                <a:lnTo>
                  <a:pt x="4483" y="3971"/>
                </a:lnTo>
                <a:lnTo>
                  <a:pt x="4483" y="3981"/>
                </a:lnTo>
                <a:lnTo>
                  <a:pt x="4493" y="3991"/>
                </a:lnTo>
                <a:lnTo>
                  <a:pt x="4493" y="4001"/>
                </a:lnTo>
                <a:lnTo>
                  <a:pt x="4493" y="4022"/>
                </a:lnTo>
                <a:lnTo>
                  <a:pt x="4503" y="4032"/>
                </a:lnTo>
                <a:lnTo>
                  <a:pt x="4503" y="4052"/>
                </a:lnTo>
                <a:lnTo>
                  <a:pt x="4503" y="4062"/>
                </a:lnTo>
                <a:lnTo>
                  <a:pt x="4503" y="4072"/>
                </a:lnTo>
                <a:lnTo>
                  <a:pt x="4503" y="4093"/>
                </a:lnTo>
                <a:lnTo>
                  <a:pt x="4503" y="4103"/>
                </a:lnTo>
                <a:lnTo>
                  <a:pt x="4503" y="4113"/>
                </a:lnTo>
                <a:lnTo>
                  <a:pt x="4503" y="4123"/>
                </a:lnTo>
                <a:lnTo>
                  <a:pt x="4513" y="4133"/>
                </a:lnTo>
                <a:lnTo>
                  <a:pt x="4513" y="4153"/>
                </a:lnTo>
                <a:lnTo>
                  <a:pt x="4513" y="4184"/>
                </a:lnTo>
                <a:lnTo>
                  <a:pt x="4513" y="4184"/>
                </a:lnTo>
                <a:lnTo>
                  <a:pt x="4523" y="4194"/>
                </a:lnTo>
                <a:lnTo>
                  <a:pt x="4534" y="4194"/>
                </a:lnTo>
                <a:lnTo>
                  <a:pt x="4534" y="4204"/>
                </a:lnTo>
                <a:lnTo>
                  <a:pt x="4544" y="4204"/>
                </a:lnTo>
                <a:lnTo>
                  <a:pt x="4554" y="4204"/>
                </a:lnTo>
                <a:lnTo>
                  <a:pt x="4564" y="4204"/>
                </a:lnTo>
                <a:lnTo>
                  <a:pt x="4564" y="4204"/>
                </a:lnTo>
                <a:lnTo>
                  <a:pt x="4564" y="4204"/>
                </a:lnTo>
                <a:lnTo>
                  <a:pt x="4574" y="4194"/>
                </a:lnTo>
                <a:lnTo>
                  <a:pt x="4574" y="4194"/>
                </a:lnTo>
                <a:lnTo>
                  <a:pt x="4584" y="4194"/>
                </a:lnTo>
                <a:lnTo>
                  <a:pt x="4584" y="4194"/>
                </a:lnTo>
                <a:lnTo>
                  <a:pt x="4584" y="4204"/>
                </a:lnTo>
                <a:lnTo>
                  <a:pt x="4584" y="4214"/>
                </a:lnTo>
                <a:lnTo>
                  <a:pt x="4594" y="4224"/>
                </a:lnTo>
                <a:lnTo>
                  <a:pt x="4604" y="4234"/>
                </a:lnTo>
                <a:lnTo>
                  <a:pt x="4604" y="4234"/>
                </a:lnTo>
                <a:lnTo>
                  <a:pt x="4604" y="4245"/>
                </a:lnTo>
                <a:lnTo>
                  <a:pt x="4604" y="4255"/>
                </a:lnTo>
                <a:lnTo>
                  <a:pt x="4625" y="4285"/>
                </a:lnTo>
                <a:lnTo>
                  <a:pt x="4625" y="4295"/>
                </a:lnTo>
                <a:lnTo>
                  <a:pt x="4625" y="4295"/>
                </a:lnTo>
                <a:lnTo>
                  <a:pt x="4635" y="4305"/>
                </a:lnTo>
                <a:lnTo>
                  <a:pt x="4645" y="4315"/>
                </a:lnTo>
                <a:lnTo>
                  <a:pt x="4645" y="4315"/>
                </a:lnTo>
                <a:lnTo>
                  <a:pt x="4645" y="4326"/>
                </a:lnTo>
                <a:lnTo>
                  <a:pt x="4635" y="4336"/>
                </a:lnTo>
                <a:lnTo>
                  <a:pt x="4635" y="4346"/>
                </a:lnTo>
                <a:lnTo>
                  <a:pt x="4625" y="4346"/>
                </a:lnTo>
                <a:lnTo>
                  <a:pt x="4625" y="4356"/>
                </a:lnTo>
                <a:lnTo>
                  <a:pt x="4635" y="4366"/>
                </a:lnTo>
                <a:lnTo>
                  <a:pt x="4625" y="4376"/>
                </a:lnTo>
                <a:lnTo>
                  <a:pt x="4625" y="4386"/>
                </a:lnTo>
                <a:lnTo>
                  <a:pt x="4625" y="4396"/>
                </a:lnTo>
                <a:lnTo>
                  <a:pt x="4615" y="4396"/>
                </a:lnTo>
                <a:lnTo>
                  <a:pt x="4604" y="4407"/>
                </a:lnTo>
                <a:lnTo>
                  <a:pt x="4594" y="4417"/>
                </a:lnTo>
                <a:lnTo>
                  <a:pt x="4594" y="4417"/>
                </a:lnTo>
                <a:lnTo>
                  <a:pt x="4584" y="4427"/>
                </a:lnTo>
                <a:lnTo>
                  <a:pt x="4584" y="4417"/>
                </a:lnTo>
                <a:lnTo>
                  <a:pt x="4574" y="4417"/>
                </a:lnTo>
                <a:lnTo>
                  <a:pt x="4564" y="4396"/>
                </a:lnTo>
                <a:lnTo>
                  <a:pt x="4564" y="4396"/>
                </a:lnTo>
                <a:lnTo>
                  <a:pt x="4554" y="4386"/>
                </a:lnTo>
                <a:lnTo>
                  <a:pt x="4554" y="4386"/>
                </a:lnTo>
                <a:lnTo>
                  <a:pt x="4544" y="4386"/>
                </a:lnTo>
                <a:lnTo>
                  <a:pt x="4534" y="4396"/>
                </a:lnTo>
                <a:lnTo>
                  <a:pt x="4513" y="4407"/>
                </a:lnTo>
                <a:lnTo>
                  <a:pt x="4503" y="4417"/>
                </a:lnTo>
                <a:lnTo>
                  <a:pt x="4493" y="4417"/>
                </a:lnTo>
                <a:lnTo>
                  <a:pt x="4493" y="4427"/>
                </a:lnTo>
                <a:lnTo>
                  <a:pt x="4493" y="4427"/>
                </a:lnTo>
                <a:lnTo>
                  <a:pt x="4493" y="4437"/>
                </a:lnTo>
                <a:lnTo>
                  <a:pt x="4503" y="4437"/>
                </a:lnTo>
                <a:lnTo>
                  <a:pt x="4523" y="4427"/>
                </a:lnTo>
                <a:lnTo>
                  <a:pt x="4534" y="4437"/>
                </a:lnTo>
                <a:lnTo>
                  <a:pt x="4534" y="4437"/>
                </a:lnTo>
                <a:lnTo>
                  <a:pt x="4544" y="4447"/>
                </a:lnTo>
                <a:lnTo>
                  <a:pt x="4554" y="4457"/>
                </a:lnTo>
                <a:lnTo>
                  <a:pt x="4554" y="4467"/>
                </a:lnTo>
                <a:lnTo>
                  <a:pt x="4554" y="4488"/>
                </a:lnTo>
                <a:lnTo>
                  <a:pt x="4554" y="4508"/>
                </a:lnTo>
                <a:lnTo>
                  <a:pt x="4554" y="4518"/>
                </a:lnTo>
                <a:lnTo>
                  <a:pt x="4564" y="4518"/>
                </a:lnTo>
                <a:lnTo>
                  <a:pt x="4564" y="4528"/>
                </a:lnTo>
                <a:lnTo>
                  <a:pt x="4564" y="4528"/>
                </a:lnTo>
                <a:lnTo>
                  <a:pt x="4574" y="4538"/>
                </a:lnTo>
                <a:lnTo>
                  <a:pt x="4584" y="4548"/>
                </a:lnTo>
                <a:lnTo>
                  <a:pt x="4584" y="4548"/>
                </a:lnTo>
                <a:lnTo>
                  <a:pt x="4594" y="4548"/>
                </a:lnTo>
                <a:lnTo>
                  <a:pt x="4604" y="4548"/>
                </a:lnTo>
                <a:lnTo>
                  <a:pt x="4615" y="4548"/>
                </a:lnTo>
                <a:lnTo>
                  <a:pt x="4615" y="4548"/>
                </a:lnTo>
                <a:lnTo>
                  <a:pt x="4625" y="4548"/>
                </a:lnTo>
                <a:lnTo>
                  <a:pt x="4635" y="4559"/>
                </a:lnTo>
                <a:lnTo>
                  <a:pt x="4645" y="4559"/>
                </a:lnTo>
                <a:lnTo>
                  <a:pt x="4645" y="4569"/>
                </a:lnTo>
                <a:lnTo>
                  <a:pt x="4635" y="4569"/>
                </a:lnTo>
                <a:lnTo>
                  <a:pt x="4615" y="4569"/>
                </a:lnTo>
                <a:lnTo>
                  <a:pt x="4604" y="4569"/>
                </a:lnTo>
                <a:lnTo>
                  <a:pt x="4594" y="4579"/>
                </a:lnTo>
                <a:lnTo>
                  <a:pt x="4584" y="4579"/>
                </a:lnTo>
                <a:lnTo>
                  <a:pt x="4574" y="4579"/>
                </a:lnTo>
                <a:lnTo>
                  <a:pt x="4554" y="4579"/>
                </a:lnTo>
                <a:lnTo>
                  <a:pt x="4554" y="4579"/>
                </a:lnTo>
                <a:lnTo>
                  <a:pt x="4544" y="4589"/>
                </a:lnTo>
                <a:lnTo>
                  <a:pt x="4544" y="4599"/>
                </a:lnTo>
                <a:lnTo>
                  <a:pt x="4544" y="4599"/>
                </a:lnTo>
                <a:lnTo>
                  <a:pt x="4544" y="4609"/>
                </a:lnTo>
                <a:lnTo>
                  <a:pt x="4544" y="4619"/>
                </a:lnTo>
                <a:lnTo>
                  <a:pt x="4544" y="4619"/>
                </a:lnTo>
                <a:lnTo>
                  <a:pt x="4534" y="4629"/>
                </a:lnTo>
                <a:lnTo>
                  <a:pt x="4534" y="4629"/>
                </a:lnTo>
                <a:lnTo>
                  <a:pt x="4534" y="4640"/>
                </a:lnTo>
                <a:lnTo>
                  <a:pt x="4534" y="4650"/>
                </a:lnTo>
                <a:lnTo>
                  <a:pt x="4523" y="4650"/>
                </a:lnTo>
                <a:lnTo>
                  <a:pt x="4513" y="4660"/>
                </a:lnTo>
                <a:lnTo>
                  <a:pt x="4503" y="4660"/>
                </a:lnTo>
                <a:lnTo>
                  <a:pt x="4503" y="4670"/>
                </a:lnTo>
                <a:lnTo>
                  <a:pt x="4503" y="4670"/>
                </a:lnTo>
                <a:lnTo>
                  <a:pt x="4503" y="4680"/>
                </a:lnTo>
                <a:lnTo>
                  <a:pt x="4503" y="4690"/>
                </a:lnTo>
                <a:lnTo>
                  <a:pt x="4513" y="4690"/>
                </a:lnTo>
                <a:lnTo>
                  <a:pt x="4523" y="4721"/>
                </a:lnTo>
                <a:lnTo>
                  <a:pt x="4523" y="4731"/>
                </a:lnTo>
                <a:lnTo>
                  <a:pt x="4523" y="4731"/>
                </a:lnTo>
                <a:lnTo>
                  <a:pt x="4523" y="4741"/>
                </a:lnTo>
                <a:lnTo>
                  <a:pt x="4523" y="4751"/>
                </a:lnTo>
                <a:lnTo>
                  <a:pt x="4523" y="4761"/>
                </a:lnTo>
                <a:lnTo>
                  <a:pt x="4513" y="4771"/>
                </a:lnTo>
                <a:lnTo>
                  <a:pt x="4503" y="4771"/>
                </a:lnTo>
                <a:lnTo>
                  <a:pt x="4493" y="4781"/>
                </a:lnTo>
                <a:lnTo>
                  <a:pt x="4493" y="4792"/>
                </a:lnTo>
                <a:lnTo>
                  <a:pt x="4493" y="4802"/>
                </a:lnTo>
                <a:lnTo>
                  <a:pt x="4493" y="4802"/>
                </a:lnTo>
                <a:lnTo>
                  <a:pt x="4483" y="4802"/>
                </a:lnTo>
                <a:lnTo>
                  <a:pt x="4483" y="4812"/>
                </a:lnTo>
                <a:lnTo>
                  <a:pt x="4483" y="4822"/>
                </a:lnTo>
                <a:lnTo>
                  <a:pt x="4483" y="4832"/>
                </a:lnTo>
                <a:lnTo>
                  <a:pt x="4473" y="4842"/>
                </a:lnTo>
                <a:lnTo>
                  <a:pt x="4463" y="4852"/>
                </a:lnTo>
                <a:lnTo>
                  <a:pt x="4463" y="4852"/>
                </a:lnTo>
                <a:lnTo>
                  <a:pt x="4453" y="4852"/>
                </a:lnTo>
                <a:lnTo>
                  <a:pt x="4443" y="4852"/>
                </a:lnTo>
                <a:lnTo>
                  <a:pt x="4432" y="4852"/>
                </a:lnTo>
                <a:lnTo>
                  <a:pt x="4432" y="4862"/>
                </a:lnTo>
                <a:lnTo>
                  <a:pt x="4432" y="4862"/>
                </a:lnTo>
                <a:lnTo>
                  <a:pt x="4422" y="4862"/>
                </a:lnTo>
                <a:lnTo>
                  <a:pt x="4422" y="4852"/>
                </a:lnTo>
                <a:lnTo>
                  <a:pt x="4412" y="4852"/>
                </a:lnTo>
                <a:lnTo>
                  <a:pt x="4412" y="4852"/>
                </a:lnTo>
                <a:lnTo>
                  <a:pt x="4402" y="4852"/>
                </a:lnTo>
                <a:lnTo>
                  <a:pt x="4402" y="4852"/>
                </a:lnTo>
                <a:lnTo>
                  <a:pt x="4392" y="4862"/>
                </a:lnTo>
                <a:lnTo>
                  <a:pt x="4392" y="4873"/>
                </a:lnTo>
                <a:lnTo>
                  <a:pt x="4402" y="4883"/>
                </a:lnTo>
                <a:lnTo>
                  <a:pt x="4402" y="4893"/>
                </a:lnTo>
                <a:lnTo>
                  <a:pt x="4402" y="4893"/>
                </a:lnTo>
                <a:lnTo>
                  <a:pt x="4412" y="4903"/>
                </a:lnTo>
                <a:lnTo>
                  <a:pt x="4412" y="4903"/>
                </a:lnTo>
                <a:lnTo>
                  <a:pt x="4412" y="4913"/>
                </a:lnTo>
                <a:lnTo>
                  <a:pt x="4402" y="4923"/>
                </a:lnTo>
                <a:lnTo>
                  <a:pt x="4392" y="4923"/>
                </a:lnTo>
                <a:lnTo>
                  <a:pt x="4392" y="4933"/>
                </a:lnTo>
                <a:lnTo>
                  <a:pt x="4392" y="4933"/>
                </a:lnTo>
                <a:lnTo>
                  <a:pt x="4392" y="4944"/>
                </a:lnTo>
                <a:lnTo>
                  <a:pt x="4392" y="4944"/>
                </a:lnTo>
                <a:lnTo>
                  <a:pt x="4402" y="4954"/>
                </a:lnTo>
                <a:lnTo>
                  <a:pt x="4392" y="4954"/>
                </a:lnTo>
                <a:lnTo>
                  <a:pt x="4392" y="4964"/>
                </a:lnTo>
                <a:lnTo>
                  <a:pt x="4382" y="4964"/>
                </a:lnTo>
                <a:lnTo>
                  <a:pt x="4372" y="4974"/>
                </a:lnTo>
                <a:lnTo>
                  <a:pt x="4362" y="4974"/>
                </a:lnTo>
                <a:lnTo>
                  <a:pt x="4351" y="4984"/>
                </a:lnTo>
                <a:lnTo>
                  <a:pt x="4341" y="4984"/>
                </a:lnTo>
                <a:lnTo>
                  <a:pt x="4341" y="4974"/>
                </a:lnTo>
                <a:lnTo>
                  <a:pt x="4341" y="4974"/>
                </a:lnTo>
                <a:lnTo>
                  <a:pt x="4341" y="4964"/>
                </a:lnTo>
                <a:lnTo>
                  <a:pt x="4331" y="4954"/>
                </a:lnTo>
                <a:lnTo>
                  <a:pt x="4321" y="4944"/>
                </a:lnTo>
                <a:lnTo>
                  <a:pt x="4321" y="4944"/>
                </a:lnTo>
                <a:lnTo>
                  <a:pt x="4301" y="4933"/>
                </a:lnTo>
                <a:lnTo>
                  <a:pt x="4291" y="4923"/>
                </a:lnTo>
                <a:lnTo>
                  <a:pt x="4281" y="4923"/>
                </a:lnTo>
                <a:lnTo>
                  <a:pt x="4271" y="4923"/>
                </a:lnTo>
                <a:lnTo>
                  <a:pt x="4271" y="4923"/>
                </a:lnTo>
                <a:lnTo>
                  <a:pt x="4260" y="4923"/>
                </a:lnTo>
                <a:lnTo>
                  <a:pt x="4260" y="4923"/>
                </a:lnTo>
                <a:lnTo>
                  <a:pt x="4260" y="4923"/>
                </a:lnTo>
                <a:lnTo>
                  <a:pt x="4250" y="4913"/>
                </a:lnTo>
                <a:lnTo>
                  <a:pt x="4250" y="4923"/>
                </a:lnTo>
                <a:lnTo>
                  <a:pt x="4240" y="4923"/>
                </a:lnTo>
                <a:lnTo>
                  <a:pt x="4240" y="4933"/>
                </a:lnTo>
                <a:lnTo>
                  <a:pt x="4240" y="4944"/>
                </a:lnTo>
                <a:lnTo>
                  <a:pt x="4240" y="4954"/>
                </a:lnTo>
                <a:lnTo>
                  <a:pt x="4250" y="4964"/>
                </a:lnTo>
                <a:lnTo>
                  <a:pt x="4260" y="4984"/>
                </a:lnTo>
                <a:lnTo>
                  <a:pt x="4260" y="4994"/>
                </a:lnTo>
                <a:lnTo>
                  <a:pt x="4260" y="5014"/>
                </a:lnTo>
                <a:lnTo>
                  <a:pt x="4260" y="5014"/>
                </a:lnTo>
                <a:lnTo>
                  <a:pt x="4260" y="5014"/>
                </a:lnTo>
                <a:lnTo>
                  <a:pt x="4271" y="5014"/>
                </a:lnTo>
                <a:lnTo>
                  <a:pt x="4291" y="5014"/>
                </a:lnTo>
                <a:lnTo>
                  <a:pt x="4301" y="5014"/>
                </a:lnTo>
                <a:lnTo>
                  <a:pt x="4301" y="5025"/>
                </a:lnTo>
                <a:lnTo>
                  <a:pt x="4301" y="5035"/>
                </a:lnTo>
                <a:lnTo>
                  <a:pt x="4291" y="5035"/>
                </a:lnTo>
                <a:lnTo>
                  <a:pt x="4291" y="5045"/>
                </a:lnTo>
                <a:lnTo>
                  <a:pt x="4291" y="5055"/>
                </a:lnTo>
                <a:lnTo>
                  <a:pt x="4291" y="5065"/>
                </a:lnTo>
                <a:lnTo>
                  <a:pt x="4301" y="5065"/>
                </a:lnTo>
                <a:lnTo>
                  <a:pt x="4311" y="5065"/>
                </a:lnTo>
                <a:lnTo>
                  <a:pt x="4331" y="5075"/>
                </a:lnTo>
                <a:lnTo>
                  <a:pt x="4341" y="5075"/>
                </a:lnTo>
                <a:lnTo>
                  <a:pt x="4351" y="5075"/>
                </a:lnTo>
                <a:lnTo>
                  <a:pt x="4351" y="5085"/>
                </a:lnTo>
                <a:lnTo>
                  <a:pt x="4351" y="5095"/>
                </a:lnTo>
                <a:lnTo>
                  <a:pt x="4351" y="5106"/>
                </a:lnTo>
                <a:lnTo>
                  <a:pt x="4341" y="5106"/>
                </a:lnTo>
                <a:lnTo>
                  <a:pt x="4331" y="5106"/>
                </a:lnTo>
                <a:lnTo>
                  <a:pt x="4331" y="5106"/>
                </a:lnTo>
                <a:lnTo>
                  <a:pt x="4321" y="5095"/>
                </a:lnTo>
                <a:lnTo>
                  <a:pt x="4321" y="5095"/>
                </a:lnTo>
                <a:lnTo>
                  <a:pt x="4311" y="5085"/>
                </a:lnTo>
                <a:lnTo>
                  <a:pt x="4301" y="5085"/>
                </a:lnTo>
                <a:lnTo>
                  <a:pt x="4281" y="5075"/>
                </a:lnTo>
                <a:lnTo>
                  <a:pt x="4260" y="5075"/>
                </a:lnTo>
                <a:lnTo>
                  <a:pt x="4260" y="5075"/>
                </a:lnTo>
                <a:lnTo>
                  <a:pt x="4240" y="5095"/>
                </a:lnTo>
                <a:lnTo>
                  <a:pt x="4230" y="5106"/>
                </a:lnTo>
                <a:lnTo>
                  <a:pt x="4220" y="5106"/>
                </a:lnTo>
                <a:lnTo>
                  <a:pt x="4210" y="5116"/>
                </a:lnTo>
                <a:lnTo>
                  <a:pt x="4210" y="5126"/>
                </a:lnTo>
                <a:lnTo>
                  <a:pt x="4200" y="5136"/>
                </a:lnTo>
                <a:lnTo>
                  <a:pt x="4190" y="5146"/>
                </a:lnTo>
                <a:lnTo>
                  <a:pt x="4179" y="5146"/>
                </a:lnTo>
                <a:lnTo>
                  <a:pt x="4179" y="5156"/>
                </a:lnTo>
                <a:lnTo>
                  <a:pt x="4169" y="5166"/>
                </a:lnTo>
                <a:lnTo>
                  <a:pt x="4179" y="5187"/>
                </a:lnTo>
                <a:lnTo>
                  <a:pt x="4179" y="5197"/>
                </a:lnTo>
                <a:lnTo>
                  <a:pt x="4169" y="5207"/>
                </a:lnTo>
                <a:lnTo>
                  <a:pt x="4169" y="5217"/>
                </a:lnTo>
                <a:lnTo>
                  <a:pt x="4169" y="5217"/>
                </a:lnTo>
                <a:lnTo>
                  <a:pt x="4169" y="5237"/>
                </a:lnTo>
                <a:lnTo>
                  <a:pt x="4169" y="5247"/>
                </a:lnTo>
                <a:lnTo>
                  <a:pt x="4169" y="5258"/>
                </a:lnTo>
                <a:lnTo>
                  <a:pt x="4159" y="5268"/>
                </a:lnTo>
                <a:lnTo>
                  <a:pt x="4149" y="5278"/>
                </a:lnTo>
                <a:lnTo>
                  <a:pt x="4139" y="5278"/>
                </a:lnTo>
                <a:lnTo>
                  <a:pt x="4139" y="5268"/>
                </a:lnTo>
                <a:lnTo>
                  <a:pt x="4129" y="5268"/>
                </a:lnTo>
                <a:lnTo>
                  <a:pt x="4119" y="5258"/>
                </a:lnTo>
                <a:lnTo>
                  <a:pt x="4119" y="5258"/>
                </a:lnTo>
                <a:lnTo>
                  <a:pt x="4109" y="5258"/>
                </a:lnTo>
                <a:lnTo>
                  <a:pt x="4109" y="5258"/>
                </a:lnTo>
                <a:lnTo>
                  <a:pt x="4098" y="5258"/>
                </a:lnTo>
                <a:lnTo>
                  <a:pt x="4088" y="5258"/>
                </a:lnTo>
                <a:lnTo>
                  <a:pt x="4088" y="5268"/>
                </a:lnTo>
                <a:lnTo>
                  <a:pt x="4078" y="5268"/>
                </a:lnTo>
                <a:lnTo>
                  <a:pt x="4078" y="5258"/>
                </a:lnTo>
                <a:lnTo>
                  <a:pt x="4068" y="5258"/>
                </a:lnTo>
                <a:lnTo>
                  <a:pt x="4068" y="5258"/>
                </a:lnTo>
                <a:lnTo>
                  <a:pt x="4058" y="5258"/>
                </a:lnTo>
                <a:lnTo>
                  <a:pt x="4058" y="5258"/>
                </a:lnTo>
                <a:lnTo>
                  <a:pt x="4048" y="5258"/>
                </a:lnTo>
                <a:lnTo>
                  <a:pt x="4048" y="5268"/>
                </a:lnTo>
                <a:lnTo>
                  <a:pt x="4038" y="5278"/>
                </a:lnTo>
                <a:lnTo>
                  <a:pt x="4038" y="5278"/>
                </a:lnTo>
                <a:lnTo>
                  <a:pt x="4028" y="5278"/>
                </a:lnTo>
                <a:lnTo>
                  <a:pt x="4018" y="5278"/>
                </a:lnTo>
                <a:lnTo>
                  <a:pt x="4007" y="5278"/>
                </a:lnTo>
                <a:lnTo>
                  <a:pt x="3997" y="5278"/>
                </a:lnTo>
                <a:lnTo>
                  <a:pt x="3987" y="5278"/>
                </a:lnTo>
                <a:lnTo>
                  <a:pt x="3977" y="5268"/>
                </a:lnTo>
                <a:lnTo>
                  <a:pt x="3977" y="5268"/>
                </a:lnTo>
                <a:lnTo>
                  <a:pt x="3957" y="5268"/>
                </a:lnTo>
                <a:lnTo>
                  <a:pt x="3947" y="5258"/>
                </a:lnTo>
                <a:lnTo>
                  <a:pt x="3937" y="5258"/>
                </a:lnTo>
                <a:lnTo>
                  <a:pt x="3937" y="5247"/>
                </a:lnTo>
                <a:lnTo>
                  <a:pt x="3947" y="5237"/>
                </a:lnTo>
                <a:lnTo>
                  <a:pt x="3947" y="5237"/>
                </a:lnTo>
                <a:lnTo>
                  <a:pt x="3947" y="5237"/>
                </a:lnTo>
                <a:lnTo>
                  <a:pt x="3947" y="5227"/>
                </a:lnTo>
                <a:lnTo>
                  <a:pt x="3947" y="5227"/>
                </a:lnTo>
                <a:lnTo>
                  <a:pt x="3937" y="5217"/>
                </a:lnTo>
                <a:lnTo>
                  <a:pt x="3937" y="5207"/>
                </a:lnTo>
                <a:lnTo>
                  <a:pt x="3926" y="5207"/>
                </a:lnTo>
                <a:lnTo>
                  <a:pt x="3916" y="5207"/>
                </a:lnTo>
                <a:lnTo>
                  <a:pt x="3916" y="5207"/>
                </a:lnTo>
                <a:lnTo>
                  <a:pt x="3906" y="5197"/>
                </a:lnTo>
                <a:lnTo>
                  <a:pt x="3896" y="5187"/>
                </a:lnTo>
                <a:lnTo>
                  <a:pt x="3886" y="5187"/>
                </a:lnTo>
                <a:lnTo>
                  <a:pt x="3866" y="5187"/>
                </a:lnTo>
                <a:lnTo>
                  <a:pt x="3866" y="5187"/>
                </a:lnTo>
                <a:lnTo>
                  <a:pt x="3856" y="5187"/>
                </a:lnTo>
                <a:lnTo>
                  <a:pt x="3856" y="5177"/>
                </a:lnTo>
                <a:lnTo>
                  <a:pt x="3846" y="5177"/>
                </a:lnTo>
                <a:lnTo>
                  <a:pt x="3846" y="5166"/>
                </a:lnTo>
                <a:lnTo>
                  <a:pt x="3835" y="5166"/>
                </a:lnTo>
                <a:lnTo>
                  <a:pt x="3835" y="5156"/>
                </a:lnTo>
                <a:lnTo>
                  <a:pt x="3835" y="5146"/>
                </a:lnTo>
                <a:lnTo>
                  <a:pt x="3846" y="5136"/>
                </a:lnTo>
                <a:lnTo>
                  <a:pt x="3835" y="5126"/>
                </a:lnTo>
                <a:lnTo>
                  <a:pt x="3835" y="5126"/>
                </a:lnTo>
                <a:lnTo>
                  <a:pt x="3825" y="5126"/>
                </a:lnTo>
                <a:lnTo>
                  <a:pt x="3825" y="5116"/>
                </a:lnTo>
                <a:lnTo>
                  <a:pt x="3825" y="5116"/>
                </a:lnTo>
                <a:lnTo>
                  <a:pt x="3835" y="5106"/>
                </a:lnTo>
                <a:lnTo>
                  <a:pt x="3846" y="5106"/>
                </a:lnTo>
                <a:lnTo>
                  <a:pt x="3856" y="5106"/>
                </a:lnTo>
                <a:lnTo>
                  <a:pt x="3856" y="5095"/>
                </a:lnTo>
                <a:lnTo>
                  <a:pt x="3856" y="5085"/>
                </a:lnTo>
                <a:lnTo>
                  <a:pt x="3846" y="5075"/>
                </a:lnTo>
                <a:lnTo>
                  <a:pt x="3846" y="5075"/>
                </a:lnTo>
                <a:lnTo>
                  <a:pt x="3835" y="5065"/>
                </a:lnTo>
                <a:lnTo>
                  <a:pt x="3835" y="5055"/>
                </a:lnTo>
                <a:lnTo>
                  <a:pt x="3825" y="5055"/>
                </a:lnTo>
                <a:lnTo>
                  <a:pt x="3825" y="5055"/>
                </a:lnTo>
                <a:lnTo>
                  <a:pt x="3815" y="5055"/>
                </a:lnTo>
                <a:lnTo>
                  <a:pt x="3805" y="5055"/>
                </a:lnTo>
                <a:lnTo>
                  <a:pt x="3805" y="5045"/>
                </a:lnTo>
                <a:lnTo>
                  <a:pt x="3795" y="5035"/>
                </a:lnTo>
                <a:lnTo>
                  <a:pt x="3795" y="5035"/>
                </a:lnTo>
                <a:lnTo>
                  <a:pt x="3785" y="5035"/>
                </a:lnTo>
                <a:lnTo>
                  <a:pt x="3765" y="5025"/>
                </a:lnTo>
                <a:lnTo>
                  <a:pt x="3765" y="5014"/>
                </a:lnTo>
                <a:lnTo>
                  <a:pt x="3765" y="5014"/>
                </a:lnTo>
                <a:lnTo>
                  <a:pt x="3765" y="5014"/>
                </a:lnTo>
                <a:lnTo>
                  <a:pt x="3765" y="5014"/>
                </a:lnTo>
                <a:lnTo>
                  <a:pt x="3775" y="5004"/>
                </a:lnTo>
                <a:lnTo>
                  <a:pt x="3785" y="4994"/>
                </a:lnTo>
                <a:lnTo>
                  <a:pt x="3795" y="4994"/>
                </a:lnTo>
                <a:lnTo>
                  <a:pt x="3805" y="4984"/>
                </a:lnTo>
                <a:lnTo>
                  <a:pt x="3805" y="4974"/>
                </a:lnTo>
                <a:lnTo>
                  <a:pt x="3815" y="4964"/>
                </a:lnTo>
                <a:lnTo>
                  <a:pt x="3815" y="4954"/>
                </a:lnTo>
                <a:lnTo>
                  <a:pt x="3825" y="4944"/>
                </a:lnTo>
                <a:lnTo>
                  <a:pt x="3835" y="4933"/>
                </a:lnTo>
                <a:lnTo>
                  <a:pt x="3835" y="4923"/>
                </a:lnTo>
                <a:lnTo>
                  <a:pt x="3846" y="4913"/>
                </a:lnTo>
                <a:lnTo>
                  <a:pt x="3846" y="4913"/>
                </a:lnTo>
                <a:lnTo>
                  <a:pt x="3846" y="4883"/>
                </a:lnTo>
                <a:lnTo>
                  <a:pt x="3846" y="4873"/>
                </a:lnTo>
                <a:lnTo>
                  <a:pt x="3856" y="4862"/>
                </a:lnTo>
                <a:lnTo>
                  <a:pt x="3876" y="4852"/>
                </a:lnTo>
                <a:lnTo>
                  <a:pt x="3876" y="4842"/>
                </a:lnTo>
                <a:lnTo>
                  <a:pt x="3876" y="4832"/>
                </a:lnTo>
                <a:lnTo>
                  <a:pt x="3886" y="4832"/>
                </a:lnTo>
                <a:lnTo>
                  <a:pt x="3886" y="4822"/>
                </a:lnTo>
                <a:lnTo>
                  <a:pt x="3896" y="4812"/>
                </a:lnTo>
                <a:lnTo>
                  <a:pt x="3896" y="4802"/>
                </a:lnTo>
                <a:lnTo>
                  <a:pt x="3886" y="4792"/>
                </a:lnTo>
                <a:lnTo>
                  <a:pt x="3886" y="4781"/>
                </a:lnTo>
                <a:lnTo>
                  <a:pt x="3876" y="4771"/>
                </a:lnTo>
                <a:lnTo>
                  <a:pt x="3866" y="4761"/>
                </a:lnTo>
                <a:lnTo>
                  <a:pt x="3866" y="4751"/>
                </a:lnTo>
                <a:lnTo>
                  <a:pt x="3856" y="4741"/>
                </a:lnTo>
                <a:lnTo>
                  <a:pt x="3846" y="4731"/>
                </a:lnTo>
                <a:lnTo>
                  <a:pt x="3846" y="4680"/>
                </a:lnTo>
                <a:lnTo>
                  <a:pt x="3846" y="4670"/>
                </a:lnTo>
                <a:lnTo>
                  <a:pt x="3856" y="4670"/>
                </a:lnTo>
                <a:lnTo>
                  <a:pt x="3856" y="4660"/>
                </a:lnTo>
                <a:lnTo>
                  <a:pt x="3866" y="4650"/>
                </a:lnTo>
                <a:lnTo>
                  <a:pt x="3876" y="4660"/>
                </a:lnTo>
                <a:lnTo>
                  <a:pt x="3876" y="4670"/>
                </a:lnTo>
                <a:lnTo>
                  <a:pt x="3886" y="4680"/>
                </a:lnTo>
                <a:lnTo>
                  <a:pt x="3886" y="4680"/>
                </a:lnTo>
                <a:lnTo>
                  <a:pt x="3896" y="4690"/>
                </a:lnTo>
                <a:lnTo>
                  <a:pt x="3906" y="4700"/>
                </a:lnTo>
                <a:lnTo>
                  <a:pt x="3906" y="4711"/>
                </a:lnTo>
                <a:lnTo>
                  <a:pt x="3916" y="4721"/>
                </a:lnTo>
                <a:lnTo>
                  <a:pt x="3926" y="4721"/>
                </a:lnTo>
                <a:lnTo>
                  <a:pt x="3937" y="4711"/>
                </a:lnTo>
                <a:lnTo>
                  <a:pt x="3937" y="4711"/>
                </a:lnTo>
                <a:lnTo>
                  <a:pt x="3947" y="4700"/>
                </a:lnTo>
                <a:lnTo>
                  <a:pt x="3957" y="4711"/>
                </a:lnTo>
                <a:lnTo>
                  <a:pt x="3957" y="4711"/>
                </a:lnTo>
                <a:lnTo>
                  <a:pt x="3967" y="4711"/>
                </a:lnTo>
                <a:lnTo>
                  <a:pt x="3977" y="4700"/>
                </a:lnTo>
                <a:lnTo>
                  <a:pt x="3987" y="4700"/>
                </a:lnTo>
                <a:lnTo>
                  <a:pt x="3987" y="4690"/>
                </a:lnTo>
                <a:lnTo>
                  <a:pt x="3987" y="4680"/>
                </a:lnTo>
                <a:lnTo>
                  <a:pt x="3987" y="4670"/>
                </a:lnTo>
                <a:lnTo>
                  <a:pt x="3977" y="4660"/>
                </a:lnTo>
                <a:lnTo>
                  <a:pt x="3977" y="4650"/>
                </a:lnTo>
                <a:lnTo>
                  <a:pt x="3977" y="4629"/>
                </a:lnTo>
                <a:lnTo>
                  <a:pt x="3977" y="4619"/>
                </a:lnTo>
                <a:lnTo>
                  <a:pt x="3987" y="4609"/>
                </a:lnTo>
                <a:lnTo>
                  <a:pt x="3987" y="4609"/>
                </a:lnTo>
                <a:lnTo>
                  <a:pt x="3997" y="4609"/>
                </a:lnTo>
                <a:lnTo>
                  <a:pt x="3997" y="4609"/>
                </a:lnTo>
                <a:lnTo>
                  <a:pt x="4007" y="4619"/>
                </a:lnTo>
                <a:lnTo>
                  <a:pt x="4007" y="4629"/>
                </a:lnTo>
                <a:lnTo>
                  <a:pt x="4018" y="4629"/>
                </a:lnTo>
                <a:lnTo>
                  <a:pt x="4028" y="4629"/>
                </a:lnTo>
                <a:lnTo>
                  <a:pt x="4038" y="4629"/>
                </a:lnTo>
                <a:lnTo>
                  <a:pt x="4048" y="4629"/>
                </a:lnTo>
                <a:lnTo>
                  <a:pt x="4048" y="4629"/>
                </a:lnTo>
                <a:lnTo>
                  <a:pt x="4058" y="4629"/>
                </a:lnTo>
                <a:lnTo>
                  <a:pt x="4058" y="4629"/>
                </a:lnTo>
                <a:lnTo>
                  <a:pt x="4068" y="4629"/>
                </a:lnTo>
                <a:lnTo>
                  <a:pt x="4068" y="4619"/>
                </a:lnTo>
                <a:lnTo>
                  <a:pt x="4068" y="4619"/>
                </a:lnTo>
                <a:lnTo>
                  <a:pt x="4058" y="4609"/>
                </a:lnTo>
                <a:lnTo>
                  <a:pt x="4048" y="4599"/>
                </a:lnTo>
                <a:lnTo>
                  <a:pt x="4048" y="4599"/>
                </a:lnTo>
                <a:lnTo>
                  <a:pt x="4038" y="4599"/>
                </a:lnTo>
                <a:lnTo>
                  <a:pt x="4038" y="4589"/>
                </a:lnTo>
                <a:lnTo>
                  <a:pt x="4048" y="4579"/>
                </a:lnTo>
                <a:lnTo>
                  <a:pt x="4058" y="4569"/>
                </a:lnTo>
                <a:lnTo>
                  <a:pt x="4068" y="4559"/>
                </a:lnTo>
                <a:lnTo>
                  <a:pt x="4078" y="4559"/>
                </a:lnTo>
                <a:lnTo>
                  <a:pt x="4088" y="4548"/>
                </a:lnTo>
                <a:lnTo>
                  <a:pt x="4088" y="4538"/>
                </a:lnTo>
                <a:lnTo>
                  <a:pt x="4078" y="4538"/>
                </a:lnTo>
                <a:lnTo>
                  <a:pt x="4068" y="4538"/>
                </a:lnTo>
                <a:lnTo>
                  <a:pt x="4058" y="4528"/>
                </a:lnTo>
                <a:lnTo>
                  <a:pt x="4058" y="4518"/>
                </a:lnTo>
                <a:lnTo>
                  <a:pt x="4048" y="4508"/>
                </a:lnTo>
                <a:lnTo>
                  <a:pt x="4038" y="4498"/>
                </a:lnTo>
                <a:lnTo>
                  <a:pt x="4038" y="4488"/>
                </a:lnTo>
                <a:lnTo>
                  <a:pt x="4038" y="4478"/>
                </a:lnTo>
                <a:lnTo>
                  <a:pt x="4038" y="4467"/>
                </a:lnTo>
                <a:lnTo>
                  <a:pt x="4038" y="4457"/>
                </a:lnTo>
                <a:lnTo>
                  <a:pt x="4028" y="4457"/>
                </a:lnTo>
                <a:lnTo>
                  <a:pt x="4028" y="4447"/>
                </a:lnTo>
                <a:lnTo>
                  <a:pt x="4007" y="4447"/>
                </a:lnTo>
                <a:lnTo>
                  <a:pt x="3997" y="4447"/>
                </a:lnTo>
                <a:lnTo>
                  <a:pt x="3987" y="4447"/>
                </a:lnTo>
                <a:lnTo>
                  <a:pt x="3977" y="4447"/>
                </a:lnTo>
                <a:lnTo>
                  <a:pt x="3967" y="4457"/>
                </a:lnTo>
                <a:lnTo>
                  <a:pt x="3957" y="4457"/>
                </a:lnTo>
                <a:lnTo>
                  <a:pt x="3947" y="4447"/>
                </a:lnTo>
                <a:lnTo>
                  <a:pt x="3937" y="4447"/>
                </a:lnTo>
                <a:lnTo>
                  <a:pt x="3926" y="4447"/>
                </a:lnTo>
                <a:lnTo>
                  <a:pt x="3916" y="4457"/>
                </a:lnTo>
                <a:lnTo>
                  <a:pt x="3896" y="4478"/>
                </a:lnTo>
                <a:lnTo>
                  <a:pt x="3866" y="4498"/>
                </a:lnTo>
                <a:lnTo>
                  <a:pt x="3846" y="4518"/>
                </a:lnTo>
                <a:lnTo>
                  <a:pt x="3835" y="4528"/>
                </a:lnTo>
                <a:lnTo>
                  <a:pt x="3825" y="4538"/>
                </a:lnTo>
                <a:lnTo>
                  <a:pt x="3815" y="4538"/>
                </a:lnTo>
                <a:lnTo>
                  <a:pt x="3815" y="4548"/>
                </a:lnTo>
                <a:lnTo>
                  <a:pt x="3805" y="4559"/>
                </a:lnTo>
                <a:lnTo>
                  <a:pt x="3805" y="4569"/>
                </a:lnTo>
                <a:lnTo>
                  <a:pt x="3805" y="4579"/>
                </a:lnTo>
                <a:lnTo>
                  <a:pt x="3805" y="4579"/>
                </a:lnTo>
                <a:lnTo>
                  <a:pt x="3795" y="4579"/>
                </a:lnTo>
                <a:lnTo>
                  <a:pt x="3785" y="4589"/>
                </a:lnTo>
                <a:lnTo>
                  <a:pt x="3785" y="4599"/>
                </a:lnTo>
                <a:lnTo>
                  <a:pt x="3765" y="4599"/>
                </a:lnTo>
                <a:lnTo>
                  <a:pt x="3765" y="4609"/>
                </a:lnTo>
                <a:lnTo>
                  <a:pt x="3754" y="4609"/>
                </a:lnTo>
                <a:lnTo>
                  <a:pt x="3754" y="4619"/>
                </a:lnTo>
                <a:lnTo>
                  <a:pt x="3754" y="4629"/>
                </a:lnTo>
                <a:lnTo>
                  <a:pt x="3754" y="4640"/>
                </a:lnTo>
                <a:lnTo>
                  <a:pt x="3754" y="4650"/>
                </a:lnTo>
                <a:lnTo>
                  <a:pt x="3744" y="4660"/>
                </a:lnTo>
                <a:lnTo>
                  <a:pt x="3744" y="4660"/>
                </a:lnTo>
                <a:lnTo>
                  <a:pt x="3744" y="4670"/>
                </a:lnTo>
                <a:lnTo>
                  <a:pt x="3734" y="4700"/>
                </a:lnTo>
                <a:lnTo>
                  <a:pt x="3734" y="4700"/>
                </a:lnTo>
                <a:lnTo>
                  <a:pt x="3724" y="4711"/>
                </a:lnTo>
                <a:lnTo>
                  <a:pt x="3724" y="4721"/>
                </a:lnTo>
                <a:lnTo>
                  <a:pt x="3714" y="4721"/>
                </a:lnTo>
                <a:lnTo>
                  <a:pt x="3704" y="4721"/>
                </a:lnTo>
                <a:lnTo>
                  <a:pt x="3694" y="4721"/>
                </a:lnTo>
                <a:lnTo>
                  <a:pt x="3694" y="4711"/>
                </a:lnTo>
                <a:lnTo>
                  <a:pt x="3694" y="4711"/>
                </a:lnTo>
                <a:lnTo>
                  <a:pt x="3694" y="4700"/>
                </a:lnTo>
                <a:lnTo>
                  <a:pt x="3694" y="4700"/>
                </a:lnTo>
                <a:lnTo>
                  <a:pt x="3684" y="4700"/>
                </a:lnTo>
                <a:lnTo>
                  <a:pt x="3674" y="4690"/>
                </a:lnTo>
                <a:lnTo>
                  <a:pt x="3663" y="4690"/>
                </a:lnTo>
                <a:lnTo>
                  <a:pt x="3663" y="4680"/>
                </a:lnTo>
                <a:lnTo>
                  <a:pt x="3663" y="4660"/>
                </a:lnTo>
                <a:lnTo>
                  <a:pt x="3653" y="4650"/>
                </a:lnTo>
                <a:lnTo>
                  <a:pt x="3653" y="4650"/>
                </a:lnTo>
                <a:lnTo>
                  <a:pt x="3643" y="4650"/>
                </a:lnTo>
                <a:lnTo>
                  <a:pt x="3643" y="4650"/>
                </a:lnTo>
                <a:lnTo>
                  <a:pt x="3633" y="4650"/>
                </a:lnTo>
                <a:lnTo>
                  <a:pt x="3633" y="4650"/>
                </a:lnTo>
                <a:lnTo>
                  <a:pt x="3623" y="4629"/>
                </a:lnTo>
                <a:lnTo>
                  <a:pt x="3623" y="4619"/>
                </a:lnTo>
                <a:lnTo>
                  <a:pt x="3613" y="4619"/>
                </a:lnTo>
                <a:lnTo>
                  <a:pt x="3613" y="4609"/>
                </a:lnTo>
                <a:lnTo>
                  <a:pt x="3613" y="4609"/>
                </a:lnTo>
                <a:lnTo>
                  <a:pt x="3613" y="4599"/>
                </a:lnTo>
                <a:lnTo>
                  <a:pt x="3603" y="4599"/>
                </a:lnTo>
                <a:lnTo>
                  <a:pt x="3603" y="4599"/>
                </a:lnTo>
                <a:lnTo>
                  <a:pt x="3593" y="4599"/>
                </a:lnTo>
                <a:lnTo>
                  <a:pt x="3582" y="4599"/>
                </a:lnTo>
                <a:lnTo>
                  <a:pt x="3562" y="4599"/>
                </a:lnTo>
                <a:lnTo>
                  <a:pt x="3562" y="4589"/>
                </a:lnTo>
                <a:lnTo>
                  <a:pt x="3562" y="4559"/>
                </a:lnTo>
                <a:lnTo>
                  <a:pt x="3552" y="4538"/>
                </a:lnTo>
                <a:lnTo>
                  <a:pt x="3552" y="4518"/>
                </a:lnTo>
                <a:lnTo>
                  <a:pt x="3552" y="4508"/>
                </a:lnTo>
                <a:lnTo>
                  <a:pt x="3552" y="4498"/>
                </a:lnTo>
                <a:lnTo>
                  <a:pt x="3552" y="4478"/>
                </a:lnTo>
                <a:lnTo>
                  <a:pt x="3562" y="4457"/>
                </a:lnTo>
                <a:lnTo>
                  <a:pt x="3552" y="4457"/>
                </a:lnTo>
                <a:lnTo>
                  <a:pt x="3552" y="4447"/>
                </a:lnTo>
                <a:lnTo>
                  <a:pt x="3552" y="4447"/>
                </a:lnTo>
                <a:lnTo>
                  <a:pt x="3542" y="4457"/>
                </a:lnTo>
                <a:lnTo>
                  <a:pt x="3542" y="4457"/>
                </a:lnTo>
                <a:lnTo>
                  <a:pt x="3532" y="4467"/>
                </a:lnTo>
                <a:lnTo>
                  <a:pt x="3522" y="4478"/>
                </a:lnTo>
                <a:lnTo>
                  <a:pt x="3512" y="4478"/>
                </a:lnTo>
                <a:lnTo>
                  <a:pt x="3501" y="4478"/>
                </a:lnTo>
                <a:lnTo>
                  <a:pt x="3501" y="4478"/>
                </a:lnTo>
                <a:lnTo>
                  <a:pt x="3491" y="4478"/>
                </a:lnTo>
                <a:lnTo>
                  <a:pt x="3491" y="4467"/>
                </a:lnTo>
                <a:lnTo>
                  <a:pt x="3481" y="4457"/>
                </a:lnTo>
                <a:lnTo>
                  <a:pt x="3481" y="4437"/>
                </a:lnTo>
                <a:lnTo>
                  <a:pt x="3471" y="4447"/>
                </a:lnTo>
                <a:lnTo>
                  <a:pt x="3471" y="4447"/>
                </a:lnTo>
                <a:lnTo>
                  <a:pt x="3471" y="4457"/>
                </a:lnTo>
                <a:lnTo>
                  <a:pt x="3471" y="4478"/>
                </a:lnTo>
                <a:lnTo>
                  <a:pt x="3471" y="4488"/>
                </a:lnTo>
                <a:lnTo>
                  <a:pt x="3461" y="4498"/>
                </a:lnTo>
                <a:lnTo>
                  <a:pt x="3461" y="4498"/>
                </a:lnTo>
                <a:lnTo>
                  <a:pt x="3451" y="4498"/>
                </a:lnTo>
                <a:lnTo>
                  <a:pt x="3431" y="4498"/>
                </a:lnTo>
                <a:lnTo>
                  <a:pt x="3421" y="4498"/>
                </a:lnTo>
                <a:lnTo>
                  <a:pt x="3410" y="4498"/>
                </a:lnTo>
                <a:lnTo>
                  <a:pt x="3380" y="4508"/>
                </a:lnTo>
                <a:lnTo>
                  <a:pt x="3360" y="4528"/>
                </a:lnTo>
                <a:lnTo>
                  <a:pt x="3340" y="4538"/>
                </a:lnTo>
                <a:lnTo>
                  <a:pt x="3340" y="4548"/>
                </a:lnTo>
                <a:lnTo>
                  <a:pt x="3319" y="4559"/>
                </a:lnTo>
                <a:lnTo>
                  <a:pt x="3309" y="4559"/>
                </a:lnTo>
                <a:lnTo>
                  <a:pt x="3299" y="4559"/>
                </a:lnTo>
                <a:lnTo>
                  <a:pt x="3289" y="4559"/>
                </a:lnTo>
                <a:lnTo>
                  <a:pt x="3289" y="4548"/>
                </a:lnTo>
                <a:lnTo>
                  <a:pt x="3289" y="4538"/>
                </a:lnTo>
                <a:lnTo>
                  <a:pt x="3279" y="4538"/>
                </a:lnTo>
                <a:lnTo>
                  <a:pt x="3269" y="4538"/>
                </a:lnTo>
                <a:lnTo>
                  <a:pt x="3249" y="4538"/>
                </a:lnTo>
                <a:lnTo>
                  <a:pt x="3238" y="4538"/>
                </a:lnTo>
                <a:lnTo>
                  <a:pt x="3218" y="4528"/>
                </a:lnTo>
                <a:lnTo>
                  <a:pt x="3198" y="4528"/>
                </a:lnTo>
                <a:lnTo>
                  <a:pt x="3168" y="4518"/>
                </a:lnTo>
                <a:lnTo>
                  <a:pt x="3147" y="4518"/>
                </a:lnTo>
                <a:lnTo>
                  <a:pt x="3137" y="4518"/>
                </a:lnTo>
                <a:lnTo>
                  <a:pt x="3127" y="4518"/>
                </a:lnTo>
                <a:lnTo>
                  <a:pt x="3097" y="4528"/>
                </a:lnTo>
                <a:lnTo>
                  <a:pt x="3076" y="4528"/>
                </a:lnTo>
                <a:lnTo>
                  <a:pt x="3066" y="4528"/>
                </a:lnTo>
                <a:lnTo>
                  <a:pt x="3056" y="4528"/>
                </a:lnTo>
                <a:lnTo>
                  <a:pt x="3046" y="4528"/>
                </a:lnTo>
                <a:lnTo>
                  <a:pt x="3046" y="4518"/>
                </a:lnTo>
                <a:lnTo>
                  <a:pt x="3046" y="4508"/>
                </a:lnTo>
                <a:lnTo>
                  <a:pt x="3046" y="4508"/>
                </a:lnTo>
                <a:lnTo>
                  <a:pt x="3046" y="4498"/>
                </a:lnTo>
                <a:lnTo>
                  <a:pt x="3036" y="4498"/>
                </a:lnTo>
                <a:lnTo>
                  <a:pt x="2996" y="4498"/>
                </a:lnTo>
                <a:lnTo>
                  <a:pt x="2996" y="4498"/>
                </a:lnTo>
                <a:lnTo>
                  <a:pt x="2985" y="4498"/>
                </a:lnTo>
                <a:lnTo>
                  <a:pt x="2975" y="4488"/>
                </a:lnTo>
                <a:lnTo>
                  <a:pt x="2975" y="4478"/>
                </a:lnTo>
                <a:lnTo>
                  <a:pt x="2975" y="4457"/>
                </a:lnTo>
                <a:lnTo>
                  <a:pt x="2975" y="4457"/>
                </a:lnTo>
                <a:lnTo>
                  <a:pt x="2965" y="4447"/>
                </a:lnTo>
                <a:lnTo>
                  <a:pt x="2955" y="4437"/>
                </a:lnTo>
                <a:lnTo>
                  <a:pt x="2945" y="4437"/>
                </a:lnTo>
                <a:lnTo>
                  <a:pt x="2925" y="4437"/>
                </a:lnTo>
                <a:lnTo>
                  <a:pt x="2915" y="4447"/>
                </a:lnTo>
                <a:lnTo>
                  <a:pt x="2904" y="4467"/>
                </a:lnTo>
                <a:lnTo>
                  <a:pt x="2894" y="4478"/>
                </a:lnTo>
                <a:lnTo>
                  <a:pt x="2894" y="4488"/>
                </a:lnTo>
                <a:lnTo>
                  <a:pt x="2884" y="4488"/>
                </a:lnTo>
                <a:lnTo>
                  <a:pt x="2864" y="4488"/>
                </a:lnTo>
                <a:lnTo>
                  <a:pt x="2854" y="4488"/>
                </a:lnTo>
                <a:lnTo>
                  <a:pt x="2844" y="4488"/>
                </a:lnTo>
                <a:lnTo>
                  <a:pt x="2844" y="4478"/>
                </a:lnTo>
                <a:lnTo>
                  <a:pt x="2834" y="4478"/>
                </a:lnTo>
                <a:lnTo>
                  <a:pt x="2824" y="4478"/>
                </a:lnTo>
                <a:lnTo>
                  <a:pt x="2813" y="4478"/>
                </a:lnTo>
                <a:lnTo>
                  <a:pt x="2813" y="4478"/>
                </a:lnTo>
                <a:lnTo>
                  <a:pt x="2803" y="4467"/>
                </a:lnTo>
                <a:lnTo>
                  <a:pt x="2803" y="4467"/>
                </a:lnTo>
                <a:lnTo>
                  <a:pt x="2813" y="4457"/>
                </a:lnTo>
                <a:lnTo>
                  <a:pt x="2824" y="4437"/>
                </a:lnTo>
                <a:lnTo>
                  <a:pt x="2824" y="4437"/>
                </a:lnTo>
                <a:lnTo>
                  <a:pt x="2824" y="4427"/>
                </a:lnTo>
                <a:lnTo>
                  <a:pt x="2813" y="4417"/>
                </a:lnTo>
                <a:lnTo>
                  <a:pt x="2813" y="4407"/>
                </a:lnTo>
                <a:lnTo>
                  <a:pt x="2824" y="4396"/>
                </a:lnTo>
                <a:lnTo>
                  <a:pt x="2813" y="4386"/>
                </a:lnTo>
                <a:lnTo>
                  <a:pt x="2813" y="4386"/>
                </a:lnTo>
                <a:lnTo>
                  <a:pt x="2813" y="4376"/>
                </a:lnTo>
                <a:lnTo>
                  <a:pt x="2813" y="4376"/>
                </a:lnTo>
                <a:lnTo>
                  <a:pt x="2803" y="4366"/>
                </a:lnTo>
                <a:lnTo>
                  <a:pt x="2793" y="4366"/>
                </a:lnTo>
                <a:lnTo>
                  <a:pt x="2783" y="4346"/>
                </a:lnTo>
                <a:lnTo>
                  <a:pt x="2783" y="4346"/>
                </a:lnTo>
                <a:lnTo>
                  <a:pt x="2773" y="4336"/>
                </a:lnTo>
                <a:lnTo>
                  <a:pt x="2773" y="4336"/>
                </a:lnTo>
                <a:lnTo>
                  <a:pt x="2763" y="4346"/>
                </a:lnTo>
                <a:lnTo>
                  <a:pt x="2753" y="4356"/>
                </a:lnTo>
                <a:lnTo>
                  <a:pt x="2743" y="4356"/>
                </a:lnTo>
                <a:lnTo>
                  <a:pt x="2743" y="4356"/>
                </a:lnTo>
                <a:lnTo>
                  <a:pt x="2743" y="4366"/>
                </a:lnTo>
                <a:lnTo>
                  <a:pt x="2743" y="4366"/>
                </a:lnTo>
                <a:lnTo>
                  <a:pt x="2743" y="4376"/>
                </a:lnTo>
                <a:lnTo>
                  <a:pt x="2753" y="4376"/>
                </a:lnTo>
                <a:lnTo>
                  <a:pt x="2753" y="4386"/>
                </a:lnTo>
                <a:lnTo>
                  <a:pt x="2753" y="4396"/>
                </a:lnTo>
                <a:lnTo>
                  <a:pt x="2743" y="4417"/>
                </a:lnTo>
                <a:lnTo>
                  <a:pt x="2732" y="4417"/>
                </a:lnTo>
                <a:lnTo>
                  <a:pt x="2732" y="4417"/>
                </a:lnTo>
                <a:lnTo>
                  <a:pt x="2732" y="4427"/>
                </a:lnTo>
                <a:lnTo>
                  <a:pt x="2732" y="4437"/>
                </a:lnTo>
                <a:lnTo>
                  <a:pt x="2732" y="4447"/>
                </a:lnTo>
                <a:lnTo>
                  <a:pt x="2722" y="4467"/>
                </a:lnTo>
                <a:lnTo>
                  <a:pt x="2722" y="4467"/>
                </a:lnTo>
                <a:lnTo>
                  <a:pt x="2712" y="4467"/>
                </a:lnTo>
                <a:lnTo>
                  <a:pt x="2712" y="4457"/>
                </a:lnTo>
                <a:lnTo>
                  <a:pt x="2712" y="4457"/>
                </a:lnTo>
                <a:lnTo>
                  <a:pt x="2702" y="4437"/>
                </a:lnTo>
                <a:lnTo>
                  <a:pt x="2692" y="4417"/>
                </a:lnTo>
                <a:lnTo>
                  <a:pt x="2682" y="4396"/>
                </a:lnTo>
                <a:lnTo>
                  <a:pt x="2682" y="4386"/>
                </a:lnTo>
                <a:lnTo>
                  <a:pt x="2672" y="4386"/>
                </a:lnTo>
                <a:lnTo>
                  <a:pt x="2672" y="4386"/>
                </a:lnTo>
                <a:lnTo>
                  <a:pt x="2672" y="4386"/>
                </a:lnTo>
                <a:lnTo>
                  <a:pt x="2662" y="4396"/>
                </a:lnTo>
                <a:lnTo>
                  <a:pt x="2672" y="4407"/>
                </a:lnTo>
                <a:lnTo>
                  <a:pt x="2682" y="4427"/>
                </a:lnTo>
                <a:lnTo>
                  <a:pt x="2682" y="4447"/>
                </a:lnTo>
                <a:lnTo>
                  <a:pt x="2682" y="4457"/>
                </a:lnTo>
                <a:lnTo>
                  <a:pt x="2682" y="4488"/>
                </a:lnTo>
                <a:lnTo>
                  <a:pt x="2682" y="4498"/>
                </a:lnTo>
                <a:lnTo>
                  <a:pt x="2672" y="4498"/>
                </a:lnTo>
                <a:lnTo>
                  <a:pt x="2672" y="4508"/>
                </a:lnTo>
                <a:lnTo>
                  <a:pt x="2662" y="4518"/>
                </a:lnTo>
                <a:lnTo>
                  <a:pt x="2651" y="4518"/>
                </a:lnTo>
                <a:lnTo>
                  <a:pt x="2651" y="4518"/>
                </a:lnTo>
                <a:lnTo>
                  <a:pt x="2641" y="4518"/>
                </a:lnTo>
                <a:lnTo>
                  <a:pt x="2641" y="4508"/>
                </a:lnTo>
                <a:lnTo>
                  <a:pt x="2631" y="4508"/>
                </a:lnTo>
                <a:lnTo>
                  <a:pt x="2621" y="4498"/>
                </a:lnTo>
                <a:lnTo>
                  <a:pt x="2611" y="4498"/>
                </a:lnTo>
                <a:lnTo>
                  <a:pt x="2601" y="4498"/>
                </a:lnTo>
                <a:lnTo>
                  <a:pt x="2591" y="4498"/>
                </a:lnTo>
                <a:lnTo>
                  <a:pt x="2581" y="4498"/>
                </a:lnTo>
                <a:lnTo>
                  <a:pt x="2581" y="4498"/>
                </a:lnTo>
                <a:lnTo>
                  <a:pt x="2571" y="4488"/>
                </a:lnTo>
                <a:lnTo>
                  <a:pt x="2560" y="4478"/>
                </a:lnTo>
                <a:lnTo>
                  <a:pt x="2560" y="4467"/>
                </a:lnTo>
                <a:lnTo>
                  <a:pt x="2560" y="4457"/>
                </a:lnTo>
                <a:lnTo>
                  <a:pt x="2560" y="4447"/>
                </a:lnTo>
                <a:lnTo>
                  <a:pt x="2550" y="4447"/>
                </a:lnTo>
                <a:lnTo>
                  <a:pt x="2550" y="4437"/>
                </a:lnTo>
                <a:lnTo>
                  <a:pt x="2550" y="4427"/>
                </a:lnTo>
                <a:lnTo>
                  <a:pt x="2550" y="4427"/>
                </a:lnTo>
                <a:lnTo>
                  <a:pt x="2550" y="4417"/>
                </a:lnTo>
                <a:lnTo>
                  <a:pt x="2540" y="4417"/>
                </a:lnTo>
                <a:lnTo>
                  <a:pt x="2540" y="4417"/>
                </a:lnTo>
                <a:lnTo>
                  <a:pt x="2530" y="4417"/>
                </a:lnTo>
                <a:lnTo>
                  <a:pt x="2520" y="4407"/>
                </a:lnTo>
                <a:lnTo>
                  <a:pt x="2510" y="4396"/>
                </a:lnTo>
                <a:lnTo>
                  <a:pt x="2500" y="4396"/>
                </a:lnTo>
                <a:lnTo>
                  <a:pt x="2490" y="4396"/>
                </a:lnTo>
                <a:lnTo>
                  <a:pt x="2490" y="4396"/>
                </a:lnTo>
                <a:lnTo>
                  <a:pt x="2490" y="4407"/>
                </a:lnTo>
                <a:lnTo>
                  <a:pt x="2490" y="4407"/>
                </a:lnTo>
                <a:lnTo>
                  <a:pt x="2479" y="4417"/>
                </a:lnTo>
                <a:lnTo>
                  <a:pt x="2479" y="4427"/>
                </a:lnTo>
                <a:lnTo>
                  <a:pt x="2479" y="4437"/>
                </a:lnTo>
                <a:lnTo>
                  <a:pt x="2490" y="4447"/>
                </a:lnTo>
                <a:lnTo>
                  <a:pt x="2490" y="4457"/>
                </a:lnTo>
                <a:lnTo>
                  <a:pt x="2479" y="4457"/>
                </a:lnTo>
                <a:lnTo>
                  <a:pt x="2479" y="4467"/>
                </a:lnTo>
                <a:lnTo>
                  <a:pt x="2479" y="4467"/>
                </a:lnTo>
                <a:lnTo>
                  <a:pt x="2469" y="4467"/>
                </a:lnTo>
                <a:lnTo>
                  <a:pt x="2459" y="4457"/>
                </a:lnTo>
                <a:lnTo>
                  <a:pt x="2449" y="4457"/>
                </a:lnTo>
                <a:lnTo>
                  <a:pt x="2429" y="4447"/>
                </a:lnTo>
                <a:lnTo>
                  <a:pt x="2419" y="4437"/>
                </a:lnTo>
                <a:lnTo>
                  <a:pt x="2419" y="4437"/>
                </a:lnTo>
                <a:lnTo>
                  <a:pt x="2409" y="4407"/>
                </a:lnTo>
                <a:lnTo>
                  <a:pt x="2388" y="4386"/>
                </a:lnTo>
                <a:lnTo>
                  <a:pt x="2388" y="4376"/>
                </a:lnTo>
                <a:lnTo>
                  <a:pt x="2378" y="4376"/>
                </a:lnTo>
                <a:lnTo>
                  <a:pt x="2368" y="4376"/>
                </a:lnTo>
                <a:lnTo>
                  <a:pt x="2358" y="4376"/>
                </a:lnTo>
                <a:lnTo>
                  <a:pt x="2338" y="4376"/>
                </a:lnTo>
                <a:lnTo>
                  <a:pt x="2328" y="4376"/>
                </a:lnTo>
                <a:lnTo>
                  <a:pt x="2307" y="4386"/>
                </a:lnTo>
                <a:lnTo>
                  <a:pt x="2277" y="4396"/>
                </a:lnTo>
                <a:lnTo>
                  <a:pt x="2247" y="4407"/>
                </a:lnTo>
                <a:lnTo>
                  <a:pt x="2237" y="4407"/>
                </a:lnTo>
                <a:lnTo>
                  <a:pt x="2227" y="4407"/>
                </a:lnTo>
                <a:lnTo>
                  <a:pt x="2196" y="4417"/>
                </a:lnTo>
                <a:lnTo>
                  <a:pt x="2186" y="4417"/>
                </a:lnTo>
                <a:lnTo>
                  <a:pt x="2176" y="4417"/>
                </a:lnTo>
                <a:lnTo>
                  <a:pt x="2166" y="4427"/>
                </a:lnTo>
                <a:lnTo>
                  <a:pt x="2146" y="4427"/>
                </a:lnTo>
                <a:lnTo>
                  <a:pt x="2125" y="4437"/>
                </a:lnTo>
                <a:lnTo>
                  <a:pt x="2105" y="4447"/>
                </a:lnTo>
                <a:lnTo>
                  <a:pt x="2095" y="4457"/>
                </a:lnTo>
                <a:lnTo>
                  <a:pt x="2085" y="4467"/>
                </a:lnTo>
                <a:lnTo>
                  <a:pt x="2085" y="4478"/>
                </a:lnTo>
                <a:lnTo>
                  <a:pt x="2075" y="4478"/>
                </a:lnTo>
                <a:lnTo>
                  <a:pt x="2065" y="4488"/>
                </a:lnTo>
                <a:lnTo>
                  <a:pt x="2054" y="4498"/>
                </a:lnTo>
                <a:lnTo>
                  <a:pt x="2054" y="4518"/>
                </a:lnTo>
                <a:lnTo>
                  <a:pt x="2054" y="4528"/>
                </a:lnTo>
                <a:lnTo>
                  <a:pt x="2054" y="4538"/>
                </a:lnTo>
                <a:lnTo>
                  <a:pt x="2054" y="4548"/>
                </a:lnTo>
                <a:lnTo>
                  <a:pt x="2044" y="4548"/>
                </a:lnTo>
                <a:lnTo>
                  <a:pt x="2044" y="4559"/>
                </a:lnTo>
                <a:lnTo>
                  <a:pt x="2034" y="4569"/>
                </a:lnTo>
                <a:lnTo>
                  <a:pt x="2034" y="4579"/>
                </a:lnTo>
                <a:lnTo>
                  <a:pt x="2034" y="4589"/>
                </a:lnTo>
                <a:lnTo>
                  <a:pt x="2034" y="4599"/>
                </a:lnTo>
                <a:lnTo>
                  <a:pt x="2034" y="4609"/>
                </a:lnTo>
                <a:lnTo>
                  <a:pt x="2024" y="4619"/>
                </a:lnTo>
                <a:lnTo>
                  <a:pt x="2014" y="4629"/>
                </a:lnTo>
                <a:lnTo>
                  <a:pt x="2004" y="4629"/>
                </a:lnTo>
                <a:lnTo>
                  <a:pt x="1994" y="4640"/>
                </a:lnTo>
                <a:lnTo>
                  <a:pt x="1984" y="4650"/>
                </a:lnTo>
                <a:lnTo>
                  <a:pt x="1974" y="4660"/>
                </a:lnTo>
                <a:lnTo>
                  <a:pt x="1963" y="4660"/>
                </a:lnTo>
                <a:lnTo>
                  <a:pt x="1943" y="4660"/>
                </a:lnTo>
                <a:lnTo>
                  <a:pt x="1923" y="4650"/>
                </a:lnTo>
                <a:lnTo>
                  <a:pt x="1913" y="4640"/>
                </a:lnTo>
                <a:lnTo>
                  <a:pt x="1893" y="4629"/>
                </a:lnTo>
                <a:lnTo>
                  <a:pt x="1872" y="4619"/>
                </a:lnTo>
                <a:lnTo>
                  <a:pt x="1862" y="4609"/>
                </a:lnTo>
                <a:lnTo>
                  <a:pt x="1852" y="4609"/>
                </a:lnTo>
                <a:lnTo>
                  <a:pt x="1842" y="4599"/>
                </a:lnTo>
                <a:lnTo>
                  <a:pt x="1842" y="4589"/>
                </a:lnTo>
                <a:lnTo>
                  <a:pt x="1832" y="4579"/>
                </a:lnTo>
                <a:lnTo>
                  <a:pt x="1832" y="4559"/>
                </a:lnTo>
                <a:lnTo>
                  <a:pt x="1832" y="4548"/>
                </a:lnTo>
                <a:lnTo>
                  <a:pt x="1812" y="4518"/>
                </a:lnTo>
                <a:lnTo>
                  <a:pt x="1802" y="4498"/>
                </a:lnTo>
                <a:lnTo>
                  <a:pt x="1802" y="4498"/>
                </a:lnTo>
                <a:lnTo>
                  <a:pt x="1791" y="4488"/>
                </a:lnTo>
                <a:lnTo>
                  <a:pt x="1771" y="4488"/>
                </a:lnTo>
                <a:lnTo>
                  <a:pt x="1761" y="4488"/>
                </a:lnTo>
                <a:lnTo>
                  <a:pt x="1741" y="4488"/>
                </a:lnTo>
                <a:lnTo>
                  <a:pt x="1741" y="4488"/>
                </a:lnTo>
                <a:lnTo>
                  <a:pt x="1731" y="4498"/>
                </a:lnTo>
                <a:lnTo>
                  <a:pt x="1721" y="4498"/>
                </a:lnTo>
                <a:lnTo>
                  <a:pt x="1710" y="4498"/>
                </a:lnTo>
                <a:lnTo>
                  <a:pt x="1710" y="4498"/>
                </a:lnTo>
                <a:lnTo>
                  <a:pt x="1700" y="4488"/>
                </a:lnTo>
                <a:lnTo>
                  <a:pt x="1690" y="4478"/>
                </a:lnTo>
                <a:lnTo>
                  <a:pt x="1690" y="4467"/>
                </a:lnTo>
                <a:lnTo>
                  <a:pt x="1680" y="4457"/>
                </a:lnTo>
                <a:lnTo>
                  <a:pt x="1680" y="4447"/>
                </a:lnTo>
                <a:lnTo>
                  <a:pt x="1670" y="4427"/>
                </a:lnTo>
                <a:lnTo>
                  <a:pt x="1670" y="4417"/>
                </a:lnTo>
                <a:lnTo>
                  <a:pt x="1670" y="4407"/>
                </a:lnTo>
                <a:lnTo>
                  <a:pt x="1670" y="4396"/>
                </a:lnTo>
                <a:lnTo>
                  <a:pt x="1680" y="4396"/>
                </a:lnTo>
                <a:lnTo>
                  <a:pt x="1680" y="4386"/>
                </a:lnTo>
                <a:lnTo>
                  <a:pt x="1690" y="4376"/>
                </a:lnTo>
                <a:lnTo>
                  <a:pt x="1700" y="4366"/>
                </a:lnTo>
                <a:lnTo>
                  <a:pt x="1690" y="4356"/>
                </a:lnTo>
                <a:lnTo>
                  <a:pt x="1690" y="4346"/>
                </a:lnTo>
                <a:lnTo>
                  <a:pt x="1690" y="4336"/>
                </a:lnTo>
                <a:lnTo>
                  <a:pt x="1680" y="4315"/>
                </a:lnTo>
                <a:lnTo>
                  <a:pt x="1680" y="4305"/>
                </a:lnTo>
                <a:lnTo>
                  <a:pt x="1690" y="4295"/>
                </a:lnTo>
                <a:lnTo>
                  <a:pt x="1690" y="4275"/>
                </a:lnTo>
                <a:lnTo>
                  <a:pt x="1690" y="4265"/>
                </a:lnTo>
                <a:lnTo>
                  <a:pt x="1680" y="4255"/>
                </a:lnTo>
                <a:lnTo>
                  <a:pt x="1670" y="4245"/>
                </a:lnTo>
                <a:lnTo>
                  <a:pt x="1670" y="4245"/>
                </a:lnTo>
                <a:lnTo>
                  <a:pt x="1660" y="4234"/>
                </a:lnTo>
                <a:lnTo>
                  <a:pt x="1650" y="4234"/>
                </a:lnTo>
                <a:lnTo>
                  <a:pt x="1640" y="4245"/>
                </a:lnTo>
                <a:lnTo>
                  <a:pt x="1629" y="4245"/>
                </a:lnTo>
                <a:lnTo>
                  <a:pt x="1619" y="4245"/>
                </a:lnTo>
                <a:lnTo>
                  <a:pt x="1609" y="4234"/>
                </a:lnTo>
                <a:lnTo>
                  <a:pt x="1589" y="4224"/>
                </a:lnTo>
                <a:lnTo>
                  <a:pt x="1589" y="4204"/>
                </a:lnTo>
                <a:lnTo>
                  <a:pt x="1589" y="4184"/>
                </a:lnTo>
                <a:lnTo>
                  <a:pt x="1589" y="4174"/>
                </a:lnTo>
                <a:lnTo>
                  <a:pt x="1589" y="4163"/>
                </a:lnTo>
                <a:lnTo>
                  <a:pt x="1599" y="4163"/>
                </a:lnTo>
                <a:lnTo>
                  <a:pt x="1599" y="4153"/>
                </a:lnTo>
                <a:lnTo>
                  <a:pt x="1609" y="4133"/>
                </a:lnTo>
                <a:lnTo>
                  <a:pt x="1619" y="4133"/>
                </a:lnTo>
                <a:lnTo>
                  <a:pt x="1619" y="4123"/>
                </a:lnTo>
                <a:lnTo>
                  <a:pt x="1619" y="4113"/>
                </a:lnTo>
                <a:lnTo>
                  <a:pt x="1619" y="4103"/>
                </a:lnTo>
                <a:lnTo>
                  <a:pt x="1619" y="4103"/>
                </a:lnTo>
                <a:lnTo>
                  <a:pt x="1619" y="4093"/>
                </a:lnTo>
                <a:lnTo>
                  <a:pt x="1599" y="4093"/>
                </a:lnTo>
                <a:lnTo>
                  <a:pt x="1589" y="4082"/>
                </a:lnTo>
                <a:lnTo>
                  <a:pt x="1579" y="4072"/>
                </a:lnTo>
                <a:lnTo>
                  <a:pt x="1579" y="4062"/>
                </a:lnTo>
                <a:lnTo>
                  <a:pt x="1569" y="4052"/>
                </a:lnTo>
                <a:lnTo>
                  <a:pt x="1549" y="4052"/>
                </a:lnTo>
                <a:lnTo>
                  <a:pt x="1538" y="4042"/>
                </a:lnTo>
                <a:lnTo>
                  <a:pt x="1518" y="4052"/>
                </a:lnTo>
                <a:lnTo>
                  <a:pt x="1508" y="4062"/>
                </a:lnTo>
                <a:lnTo>
                  <a:pt x="1508" y="4062"/>
                </a:lnTo>
                <a:lnTo>
                  <a:pt x="1498" y="4072"/>
                </a:lnTo>
                <a:lnTo>
                  <a:pt x="1488" y="4072"/>
                </a:lnTo>
                <a:lnTo>
                  <a:pt x="1457" y="4072"/>
                </a:lnTo>
                <a:lnTo>
                  <a:pt x="1457" y="4062"/>
                </a:lnTo>
                <a:lnTo>
                  <a:pt x="1468" y="4052"/>
                </a:lnTo>
                <a:lnTo>
                  <a:pt x="1478" y="4042"/>
                </a:lnTo>
                <a:lnTo>
                  <a:pt x="1488" y="4032"/>
                </a:lnTo>
                <a:lnTo>
                  <a:pt x="1498" y="4022"/>
                </a:lnTo>
                <a:lnTo>
                  <a:pt x="1498" y="4022"/>
                </a:lnTo>
                <a:lnTo>
                  <a:pt x="1498" y="4001"/>
                </a:lnTo>
                <a:lnTo>
                  <a:pt x="1498" y="3981"/>
                </a:lnTo>
                <a:lnTo>
                  <a:pt x="1488" y="3971"/>
                </a:lnTo>
                <a:lnTo>
                  <a:pt x="1498" y="3961"/>
                </a:lnTo>
                <a:lnTo>
                  <a:pt x="1498" y="3941"/>
                </a:lnTo>
                <a:lnTo>
                  <a:pt x="1498" y="3930"/>
                </a:lnTo>
                <a:lnTo>
                  <a:pt x="1498" y="3930"/>
                </a:lnTo>
                <a:lnTo>
                  <a:pt x="1508" y="3920"/>
                </a:lnTo>
                <a:lnTo>
                  <a:pt x="1528" y="3910"/>
                </a:lnTo>
                <a:lnTo>
                  <a:pt x="1528" y="3910"/>
                </a:lnTo>
                <a:lnTo>
                  <a:pt x="1538" y="3900"/>
                </a:lnTo>
                <a:lnTo>
                  <a:pt x="1528" y="3880"/>
                </a:lnTo>
                <a:lnTo>
                  <a:pt x="1528" y="3880"/>
                </a:lnTo>
                <a:lnTo>
                  <a:pt x="1538" y="3870"/>
                </a:lnTo>
                <a:lnTo>
                  <a:pt x="1549" y="3870"/>
                </a:lnTo>
                <a:lnTo>
                  <a:pt x="1549" y="3870"/>
                </a:lnTo>
                <a:lnTo>
                  <a:pt x="1559" y="3870"/>
                </a:lnTo>
                <a:lnTo>
                  <a:pt x="1569" y="3870"/>
                </a:lnTo>
                <a:lnTo>
                  <a:pt x="1569" y="3860"/>
                </a:lnTo>
                <a:lnTo>
                  <a:pt x="1579" y="3860"/>
                </a:lnTo>
                <a:lnTo>
                  <a:pt x="1589" y="3849"/>
                </a:lnTo>
                <a:lnTo>
                  <a:pt x="1589" y="3839"/>
                </a:lnTo>
                <a:lnTo>
                  <a:pt x="1599" y="3839"/>
                </a:lnTo>
                <a:lnTo>
                  <a:pt x="1599" y="3829"/>
                </a:lnTo>
                <a:lnTo>
                  <a:pt x="1599" y="3819"/>
                </a:lnTo>
                <a:lnTo>
                  <a:pt x="1589" y="3809"/>
                </a:lnTo>
                <a:lnTo>
                  <a:pt x="1589" y="3799"/>
                </a:lnTo>
                <a:lnTo>
                  <a:pt x="1579" y="3799"/>
                </a:lnTo>
                <a:lnTo>
                  <a:pt x="1579" y="3789"/>
                </a:lnTo>
                <a:lnTo>
                  <a:pt x="1589" y="3779"/>
                </a:lnTo>
                <a:lnTo>
                  <a:pt x="1589" y="3779"/>
                </a:lnTo>
                <a:lnTo>
                  <a:pt x="1609" y="3779"/>
                </a:lnTo>
                <a:lnTo>
                  <a:pt x="1629" y="3779"/>
                </a:lnTo>
                <a:lnTo>
                  <a:pt x="1629" y="3768"/>
                </a:lnTo>
                <a:lnTo>
                  <a:pt x="1640" y="3768"/>
                </a:lnTo>
                <a:lnTo>
                  <a:pt x="1650" y="3758"/>
                </a:lnTo>
                <a:lnTo>
                  <a:pt x="1660" y="3748"/>
                </a:lnTo>
                <a:lnTo>
                  <a:pt x="1680" y="3738"/>
                </a:lnTo>
                <a:lnTo>
                  <a:pt x="1690" y="3738"/>
                </a:lnTo>
                <a:lnTo>
                  <a:pt x="1690" y="3728"/>
                </a:lnTo>
                <a:lnTo>
                  <a:pt x="1700" y="3718"/>
                </a:lnTo>
                <a:lnTo>
                  <a:pt x="1710" y="3708"/>
                </a:lnTo>
                <a:lnTo>
                  <a:pt x="1710" y="3697"/>
                </a:lnTo>
                <a:lnTo>
                  <a:pt x="1721" y="3697"/>
                </a:lnTo>
                <a:lnTo>
                  <a:pt x="1731" y="3697"/>
                </a:lnTo>
                <a:lnTo>
                  <a:pt x="1741" y="3708"/>
                </a:lnTo>
                <a:lnTo>
                  <a:pt x="1751" y="3718"/>
                </a:lnTo>
                <a:lnTo>
                  <a:pt x="1751" y="3738"/>
                </a:lnTo>
                <a:lnTo>
                  <a:pt x="1761" y="3728"/>
                </a:lnTo>
                <a:lnTo>
                  <a:pt x="1761" y="3728"/>
                </a:lnTo>
                <a:lnTo>
                  <a:pt x="1761" y="3718"/>
                </a:lnTo>
                <a:lnTo>
                  <a:pt x="1771" y="3708"/>
                </a:lnTo>
                <a:lnTo>
                  <a:pt x="1771" y="3708"/>
                </a:lnTo>
                <a:lnTo>
                  <a:pt x="1781" y="3708"/>
                </a:lnTo>
                <a:lnTo>
                  <a:pt x="1791" y="3718"/>
                </a:lnTo>
                <a:lnTo>
                  <a:pt x="1832" y="3708"/>
                </a:lnTo>
                <a:lnTo>
                  <a:pt x="1842" y="3697"/>
                </a:lnTo>
                <a:lnTo>
                  <a:pt x="1842" y="3687"/>
                </a:lnTo>
                <a:lnTo>
                  <a:pt x="1842" y="3677"/>
                </a:lnTo>
                <a:lnTo>
                  <a:pt x="1842" y="3667"/>
                </a:lnTo>
                <a:lnTo>
                  <a:pt x="1842" y="3657"/>
                </a:lnTo>
                <a:lnTo>
                  <a:pt x="1842" y="3647"/>
                </a:lnTo>
                <a:lnTo>
                  <a:pt x="1852" y="3637"/>
                </a:lnTo>
                <a:lnTo>
                  <a:pt x="1862" y="3627"/>
                </a:lnTo>
                <a:lnTo>
                  <a:pt x="1872" y="3616"/>
                </a:lnTo>
                <a:lnTo>
                  <a:pt x="1872" y="3606"/>
                </a:lnTo>
                <a:lnTo>
                  <a:pt x="1872" y="3596"/>
                </a:lnTo>
                <a:lnTo>
                  <a:pt x="1872" y="3586"/>
                </a:lnTo>
                <a:lnTo>
                  <a:pt x="1882" y="3576"/>
                </a:lnTo>
                <a:lnTo>
                  <a:pt x="1893" y="3576"/>
                </a:lnTo>
                <a:lnTo>
                  <a:pt x="1903" y="3576"/>
                </a:lnTo>
                <a:lnTo>
                  <a:pt x="1933" y="3586"/>
                </a:lnTo>
                <a:lnTo>
                  <a:pt x="1943" y="3586"/>
                </a:lnTo>
                <a:lnTo>
                  <a:pt x="1943" y="3586"/>
                </a:lnTo>
                <a:lnTo>
                  <a:pt x="1953" y="3576"/>
                </a:lnTo>
                <a:lnTo>
                  <a:pt x="1953" y="3566"/>
                </a:lnTo>
                <a:lnTo>
                  <a:pt x="1943" y="3546"/>
                </a:lnTo>
                <a:lnTo>
                  <a:pt x="1943" y="3546"/>
                </a:lnTo>
                <a:lnTo>
                  <a:pt x="1933" y="3535"/>
                </a:lnTo>
                <a:lnTo>
                  <a:pt x="1943" y="3535"/>
                </a:lnTo>
                <a:lnTo>
                  <a:pt x="1943" y="3525"/>
                </a:lnTo>
                <a:lnTo>
                  <a:pt x="1953" y="3515"/>
                </a:lnTo>
                <a:lnTo>
                  <a:pt x="1953" y="3505"/>
                </a:lnTo>
                <a:lnTo>
                  <a:pt x="1963" y="3495"/>
                </a:lnTo>
                <a:lnTo>
                  <a:pt x="1963" y="3475"/>
                </a:lnTo>
                <a:lnTo>
                  <a:pt x="1963" y="3475"/>
                </a:lnTo>
                <a:lnTo>
                  <a:pt x="1974" y="3475"/>
                </a:lnTo>
                <a:lnTo>
                  <a:pt x="1974" y="3475"/>
                </a:lnTo>
                <a:lnTo>
                  <a:pt x="1974" y="3475"/>
                </a:lnTo>
                <a:lnTo>
                  <a:pt x="1974" y="3485"/>
                </a:lnTo>
                <a:lnTo>
                  <a:pt x="1984" y="3485"/>
                </a:lnTo>
                <a:lnTo>
                  <a:pt x="1984" y="3495"/>
                </a:lnTo>
                <a:lnTo>
                  <a:pt x="1984" y="3495"/>
                </a:lnTo>
                <a:lnTo>
                  <a:pt x="1984" y="3505"/>
                </a:lnTo>
                <a:lnTo>
                  <a:pt x="1994" y="3505"/>
                </a:lnTo>
                <a:lnTo>
                  <a:pt x="1994" y="3495"/>
                </a:lnTo>
                <a:lnTo>
                  <a:pt x="2004" y="3495"/>
                </a:lnTo>
                <a:lnTo>
                  <a:pt x="2014" y="3495"/>
                </a:lnTo>
                <a:lnTo>
                  <a:pt x="2014" y="3505"/>
                </a:lnTo>
                <a:lnTo>
                  <a:pt x="2014" y="3505"/>
                </a:lnTo>
                <a:lnTo>
                  <a:pt x="2004" y="3525"/>
                </a:lnTo>
                <a:lnTo>
                  <a:pt x="2004" y="3535"/>
                </a:lnTo>
                <a:lnTo>
                  <a:pt x="1994" y="3546"/>
                </a:lnTo>
                <a:lnTo>
                  <a:pt x="1994" y="3556"/>
                </a:lnTo>
                <a:lnTo>
                  <a:pt x="1994" y="3566"/>
                </a:lnTo>
                <a:lnTo>
                  <a:pt x="2014" y="3566"/>
                </a:lnTo>
                <a:lnTo>
                  <a:pt x="2024" y="3566"/>
                </a:lnTo>
                <a:lnTo>
                  <a:pt x="2024" y="3566"/>
                </a:lnTo>
                <a:lnTo>
                  <a:pt x="2065" y="3556"/>
                </a:lnTo>
                <a:lnTo>
                  <a:pt x="2075" y="3556"/>
                </a:lnTo>
                <a:lnTo>
                  <a:pt x="2085" y="3556"/>
                </a:lnTo>
                <a:lnTo>
                  <a:pt x="2095" y="3546"/>
                </a:lnTo>
                <a:lnTo>
                  <a:pt x="2105" y="3535"/>
                </a:lnTo>
                <a:lnTo>
                  <a:pt x="2115" y="3535"/>
                </a:lnTo>
                <a:lnTo>
                  <a:pt x="2125" y="3525"/>
                </a:lnTo>
                <a:lnTo>
                  <a:pt x="2135" y="3525"/>
                </a:lnTo>
                <a:lnTo>
                  <a:pt x="2135" y="3535"/>
                </a:lnTo>
                <a:lnTo>
                  <a:pt x="2135" y="3535"/>
                </a:lnTo>
                <a:lnTo>
                  <a:pt x="2146" y="3566"/>
                </a:lnTo>
                <a:lnTo>
                  <a:pt x="2146" y="3576"/>
                </a:lnTo>
                <a:lnTo>
                  <a:pt x="2146" y="3586"/>
                </a:lnTo>
                <a:lnTo>
                  <a:pt x="2135" y="3596"/>
                </a:lnTo>
                <a:lnTo>
                  <a:pt x="2125" y="3596"/>
                </a:lnTo>
                <a:lnTo>
                  <a:pt x="2105" y="3606"/>
                </a:lnTo>
                <a:lnTo>
                  <a:pt x="2085" y="3616"/>
                </a:lnTo>
                <a:lnTo>
                  <a:pt x="2075" y="3627"/>
                </a:lnTo>
                <a:lnTo>
                  <a:pt x="2075" y="3637"/>
                </a:lnTo>
                <a:lnTo>
                  <a:pt x="2075" y="3637"/>
                </a:lnTo>
                <a:lnTo>
                  <a:pt x="2075" y="3647"/>
                </a:lnTo>
                <a:lnTo>
                  <a:pt x="2085" y="3647"/>
                </a:lnTo>
                <a:lnTo>
                  <a:pt x="2095" y="3667"/>
                </a:lnTo>
                <a:lnTo>
                  <a:pt x="2115" y="3677"/>
                </a:lnTo>
                <a:lnTo>
                  <a:pt x="2125" y="3687"/>
                </a:lnTo>
                <a:lnTo>
                  <a:pt x="2135" y="3687"/>
                </a:lnTo>
                <a:lnTo>
                  <a:pt x="2146" y="3677"/>
                </a:lnTo>
                <a:lnTo>
                  <a:pt x="2156" y="3677"/>
                </a:lnTo>
                <a:lnTo>
                  <a:pt x="2156" y="3677"/>
                </a:lnTo>
                <a:lnTo>
                  <a:pt x="2166" y="3687"/>
                </a:lnTo>
                <a:lnTo>
                  <a:pt x="2186" y="3687"/>
                </a:lnTo>
                <a:lnTo>
                  <a:pt x="2216" y="3687"/>
                </a:lnTo>
                <a:lnTo>
                  <a:pt x="2216" y="3708"/>
                </a:lnTo>
                <a:lnTo>
                  <a:pt x="2216" y="3728"/>
                </a:lnTo>
                <a:lnTo>
                  <a:pt x="2216" y="3728"/>
                </a:lnTo>
                <a:lnTo>
                  <a:pt x="2227" y="3728"/>
                </a:lnTo>
                <a:lnTo>
                  <a:pt x="2247" y="3738"/>
                </a:lnTo>
                <a:lnTo>
                  <a:pt x="2257" y="3748"/>
                </a:lnTo>
                <a:lnTo>
                  <a:pt x="2267" y="3748"/>
                </a:lnTo>
                <a:lnTo>
                  <a:pt x="2267" y="3748"/>
                </a:lnTo>
                <a:lnTo>
                  <a:pt x="2277" y="3738"/>
                </a:lnTo>
                <a:lnTo>
                  <a:pt x="2277" y="3728"/>
                </a:lnTo>
                <a:lnTo>
                  <a:pt x="2287" y="3718"/>
                </a:lnTo>
                <a:lnTo>
                  <a:pt x="2307" y="3708"/>
                </a:lnTo>
                <a:lnTo>
                  <a:pt x="2307" y="3708"/>
                </a:lnTo>
                <a:lnTo>
                  <a:pt x="2318" y="3708"/>
                </a:lnTo>
                <a:lnTo>
                  <a:pt x="2328" y="3718"/>
                </a:lnTo>
                <a:lnTo>
                  <a:pt x="2338" y="3718"/>
                </a:lnTo>
                <a:lnTo>
                  <a:pt x="2348" y="3718"/>
                </a:lnTo>
                <a:lnTo>
                  <a:pt x="2358" y="3728"/>
                </a:lnTo>
                <a:lnTo>
                  <a:pt x="2368" y="3738"/>
                </a:lnTo>
                <a:lnTo>
                  <a:pt x="2378" y="3748"/>
                </a:lnTo>
                <a:lnTo>
                  <a:pt x="2378" y="3758"/>
                </a:lnTo>
                <a:lnTo>
                  <a:pt x="2378" y="3768"/>
                </a:lnTo>
                <a:lnTo>
                  <a:pt x="2378" y="3768"/>
                </a:lnTo>
                <a:lnTo>
                  <a:pt x="2378" y="3779"/>
                </a:lnTo>
                <a:lnTo>
                  <a:pt x="2399" y="3768"/>
                </a:lnTo>
                <a:lnTo>
                  <a:pt x="2409" y="3768"/>
                </a:lnTo>
                <a:lnTo>
                  <a:pt x="2419" y="3758"/>
                </a:lnTo>
                <a:lnTo>
                  <a:pt x="2419" y="3758"/>
                </a:lnTo>
                <a:lnTo>
                  <a:pt x="2419" y="3748"/>
                </a:lnTo>
                <a:lnTo>
                  <a:pt x="2419" y="3738"/>
                </a:lnTo>
                <a:lnTo>
                  <a:pt x="2419" y="3718"/>
                </a:lnTo>
                <a:lnTo>
                  <a:pt x="2419" y="3718"/>
                </a:lnTo>
                <a:lnTo>
                  <a:pt x="2419" y="3708"/>
                </a:lnTo>
                <a:lnTo>
                  <a:pt x="2429" y="3697"/>
                </a:lnTo>
                <a:lnTo>
                  <a:pt x="2429" y="3687"/>
                </a:lnTo>
                <a:lnTo>
                  <a:pt x="2439" y="3687"/>
                </a:lnTo>
                <a:lnTo>
                  <a:pt x="2449" y="3677"/>
                </a:lnTo>
                <a:lnTo>
                  <a:pt x="2469" y="3677"/>
                </a:lnTo>
                <a:lnTo>
                  <a:pt x="2479" y="3677"/>
                </a:lnTo>
                <a:lnTo>
                  <a:pt x="2479" y="3687"/>
                </a:lnTo>
                <a:lnTo>
                  <a:pt x="2479" y="3687"/>
                </a:lnTo>
                <a:lnTo>
                  <a:pt x="2479" y="3697"/>
                </a:lnTo>
                <a:lnTo>
                  <a:pt x="2479" y="3718"/>
                </a:lnTo>
                <a:lnTo>
                  <a:pt x="2490" y="3738"/>
                </a:lnTo>
                <a:lnTo>
                  <a:pt x="2490" y="3748"/>
                </a:lnTo>
                <a:lnTo>
                  <a:pt x="2490" y="3758"/>
                </a:lnTo>
                <a:lnTo>
                  <a:pt x="2500" y="3758"/>
                </a:lnTo>
                <a:lnTo>
                  <a:pt x="2510" y="3748"/>
                </a:lnTo>
                <a:lnTo>
                  <a:pt x="2510" y="3738"/>
                </a:lnTo>
                <a:lnTo>
                  <a:pt x="2510" y="3708"/>
                </a:lnTo>
                <a:lnTo>
                  <a:pt x="2510" y="3697"/>
                </a:lnTo>
                <a:lnTo>
                  <a:pt x="2510" y="3687"/>
                </a:lnTo>
                <a:lnTo>
                  <a:pt x="2520" y="3677"/>
                </a:lnTo>
                <a:lnTo>
                  <a:pt x="2530" y="3667"/>
                </a:lnTo>
                <a:lnTo>
                  <a:pt x="2540" y="3667"/>
                </a:lnTo>
                <a:lnTo>
                  <a:pt x="2550" y="3657"/>
                </a:lnTo>
                <a:lnTo>
                  <a:pt x="2550" y="3657"/>
                </a:lnTo>
                <a:lnTo>
                  <a:pt x="2560" y="3647"/>
                </a:lnTo>
                <a:lnTo>
                  <a:pt x="2571" y="3637"/>
                </a:lnTo>
                <a:lnTo>
                  <a:pt x="2591" y="3637"/>
                </a:lnTo>
                <a:lnTo>
                  <a:pt x="2601" y="3637"/>
                </a:lnTo>
                <a:lnTo>
                  <a:pt x="2611" y="3627"/>
                </a:lnTo>
                <a:lnTo>
                  <a:pt x="2611" y="3627"/>
                </a:lnTo>
                <a:lnTo>
                  <a:pt x="2611" y="3616"/>
                </a:lnTo>
                <a:lnTo>
                  <a:pt x="2611" y="3616"/>
                </a:lnTo>
                <a:lnTo>
                  <a:pt x="2611" y="3616"/>
                </a:lnTo>
                <a:lnTo>
                  <a:pt x="2601" y="3606"/>
                </a:lnTo>
                <a:lnTo>
                  <a:pt x="2601" y="3606"/>
                </a:lnTo>
                <a:lnTo>
                  <a:pt x="2591" y="3596"/>
                </a:lnTo>
                <a:lnTo>
                  <a:pt x="2581" y="3596"/>
                </a:lnTo>
                <a:lnTo>
                  <a:pt x="2571" y="3596"/>
                </a:lnTo>
                <a:lnTo>
                  <a:pt x="2571" y="3596"/>
                </a:lnTo>
                <a:lnTo>
                  <a:pt x="2571" y="3586"/>
                </a:lnTo>
                <a:lnTo>
                  <a:pt x="2571" y="3586"/>
                </a:lnTo>
                <a:lnTo>
                  <a:pt x="2581" y="3576"/>
                </a:lnTo>
                <a:lnTo>
                  <a:pt x="2591" y="3576"/>
                </a:lnTo>
                <a:lnTo>
                  <a:pt x="2611" y="3576"/>
                </a:lnTo>
                <a:lnTo>
                  <a:pt x="2621" y="3576"/>
                </a:lnTo>
                <a:lnTo>
                  <a:pt x="2621" y="3576"/>
                </a:lnTo>
                <a:lnTo>
                  <a:pt x="2631" y="3596"/>
                </a:lnTo>
                <a:lnTo>
                  <a:pt x="2641" y="3606"/>
                </a:lnTo>
                <a:lnTo>
                  <a:pt x="2641" y="3606"/>
                </a:lnTo>
                <a:lnTo>
                  <a:pt x="2651" y="3616"/>
                </a:lnTo>
                <a:lnTo>
                  <a:pt x="2662" y="3616"/>
                </a:lnTo>
                <a:lnTo>
                  <a:pt x="2662" y="3606"/>
                </a:lnTo>
                <a:lnTo>
                  <a:pt x="2662" y="3586"/>
                </a:lnTo>
                <a:lnTo>
                  <a:pt x="2662" y="3576"/>
                </a:lnTo>
                <a:lnTo>
                  <a:pt x="2651" y="3576"/>
                </a:lnTo>
                <a:lnTo>
                  <a:pt x="2641" y="3566"/>
                </a:lnTo>
                <a:lnTo>
                  <a:pt x="2631" y="3556"/>
                </a:lnTo>
                <a:lnTo>
                  <a:pt x="2631" y="3556"/>
                </a:lnTo>
                <a:lnTo>
                  <a:pt x="2621" y="3535"/>
                </a:lnTo>
                <a:lnTo>
                  <a:pt x="2611" y="3535"/>
                </a:lnTo>
                <a:lnTo>
                  <a:pt x="2601" y="3535"/>
                </a:lnTo>
                <a:lnTo>
                  <a:pt x="2601" y="3525"/>
                </a:lnTo>
                <a:lnTo>
                  <a:pt x="2591" y="3515"/>
                </a:lnTo>
                <a:lnTo>
                  <a:pt x="2591" y="3505"/>
                </a:lnTo>
                <a:lnTo>
                  <a:pt x="2601" y="3495"/>
                </a:lnTo>
                <a:lnTo>
                  <a:pt x="2601" y="3485"/>
                </a:lnTo>
                <a:lnTo>
                  <a:pt x="2601" y="3485"/>
                </a:lnTo>
                <a:lnTo>
                  <a:pt x="2601" y="3475"/>
                </a:lnTo>
                <a:lnTo>
                  <a:pt x="2591" y="3475"/>
                </a:lnTo>
                <a:lnTo>
                  <a:pt x="2581" y="3464"/>
                </a:lnTo>
                <a:lnTo>
                  <a:pt x="2571" y="3475"/>
                </a:lnTo>
                <a:lnTo>
                  <a:pt x="2550" y="3485"/>
                </a:lnTo>
                <a:lnTo>
                  <a:pt x="2540" y="3485"/>
                </a:lnTo>
                <a:lnTo>
                  <a:pt x="2530" y="3485"/>
                </a:lnTo>
                <a:lnTo>
                  <a:pt x="2530" y="3485"/>
                </a:lnTo>
                <a:lnTo>
                  <a:pt x="2520" y="3475"/>
                </a:lnTo>
                <a:lnTo>
                  <a:pt x="2510" y="3464"/>
                </a:lnTo>
                <a:lnTo>
                  <a:pt x="2500" y="3464"/>
                </a:lnTo>
                <a:lnTo>
                  <a:pt x="2500" y="3454"/>
                </a:lnTo>
                <a:lnTo>
                  <a:pt x="2490" y="3454"/>
                </a:lnTo>
                <a:lnTo>
                  <a:pt x="2490" y="3454"/>
                </a:lnTo>
                <a:lnTo>
                  <a:pt x="2479" y="3454"/>
                </a:lnTo>
                <a:lnTo>
                  <a:pt x="2479" y="3464"/>
                </a:lnTo>
                <a:lnTo>
                  <a:pt x="2479" y="3475"/>
                </a:lnTo>
                <a:lnTo>
                  <a:pt x="2469" y="3475"/>
                </a:lnTo>
                <a:lnTo>
                  <a:pt x="2459" y="3485"/>
                </a:lnTo>
                <a:lnTo>
                  <a:pt x="2449" y="3495"/>
                </a:lnTo>
                <a:lnTo>
                  <a:pt x="2439" y="3495"/>
                </a:lnTo>
                <a:lnTo>
                  <a:pt x="2439" y="3495"/>
                </a:lnTo>
                <a:lnTo>
                  <a:pt x="2439" y="3485"/>
                </a:lnTo>
                <a:lnTo>
                  <a:pt x="2439" y="3464"/>
                </a:lnTo>
                <a:lnTo>
                  <a:pt x="2429" y="3444"/>
                </a:lnTo>
                <a:lnTo>
                  <a:pt x="2429" y="3434"/>
                </a:lnTo>
                <a:lnTo>
                  <a:pt x="2419" y="3424"/>
                </a:lnTo>
                <a:lnTo>
                  <a:pt x="2419" y="3414"/>
                </a:lnTo>
                <a:lnTo>
                  <a:pt x="2419" y="3414"/>
                </a:lnTo>
                <a:lnTo>
                  <a:pt x="2419" y="3404"/>
                </a:lnTo>
                <a:lnTo>
                  <a:pt x="2409" y="3394"/>
                </a:lnTo>
                <a:lnTo>
                  <a:pt x="2399" y="3394"/>
                </a:lnTo>
                <a:lnTo>
                  <a:pt x="2399" y="3383"/>
                </a:lnTo>
                <a:lnTo>
                  <a:pt x="2399" y="3363"/>
                </a:lnTo>
                <a:lnTo>
                  <a:pt x="2409" y="3353"/>
                </a:lnTo>
                <a:lnTo>
                  <a:pt x="2419" y="3333"/>
                </a:lnTo>
                <a:lnTo>
                  <a:pt x="2419" y="3323"/>
                </a:lnTo>
                <a:lnTo>
                  <a:pt x="2419" y="3323"/>
                </a:lnTo>
                <a:lnTo>
                  <a:pt x="2429" y="3313"/>
                </a:lnTo>
                <a:lnTo>
                  <a:pt x="2429" y="3313"/>
                </a:lnTo>
                <a:lnTo>
                  <a:pt x="2439" y="3302"/>
                </a:lnTo>
                <a:lnTo>
                  <a:pt x="2439" y="3292"/>
                </a:lnTo>
                <a:lnTo>
                  <a:pt x="2439" y="3282"/>
                </a:lnTo>
                <a:lnTo>
                  <a:pt x="2429" y="3282"/>
                </a:lnTo>
                <a:lnTo>
                  <a:pt x="2429" y="3282"/>
                </a:lnTo>
                <a:lnTo>
                  <a:pt x="2419" y="3292"/>
                </a:lnTo>
                <a:lnTo>
                  <a:pt x="2409" y="3292"/>
                </a:lnTo>
                <a:lnTo>
                  <a:pt x="2399" y="3292"/>
                </a:lnTo>
                <a:lnTo>
                  <a:pt x="2399" y="3282"/>
                </a:lnTo>
                <a:lnTo>
                  <a:pt x="2399" y="3272"/>
                </a:lnTo>
                <a:lnTo>
                  <a:pt x="2388" y="3262"/>
                </a:lnTo>
                <a:lnTo>
                  <a:pt x="2378" y="3252"/>
                </a:lnTo>
                <a:lnTo>
                  <a:pt x="2368" y="3242"/>
                </a:lnTo>
                <a:lnTo>
                  <a:pt x="2358" y="3242"/>
                </a:lnTo>
                <a:lnTo>
                  <a:pt x="2358" y="3231"/>
                </a:lnTo>
                <a:lnTo>
                  <a:pt x="2348" y="3231"/>
                </a:lnTo>
                <a:lnTo>
                  <a:pt x="2348" y="3221"/>
                </a:lnTo>
                <a:lnTo>
                  <a:pt x="2348" y="3211"/>
                </a:lnTo>
                <a:lnTo>
                  <a:pt x="2338" y="3211"/>
                </a:lnTo>
                <a:lnTo>
                  <a:pt x="2338" y="3201"/>
                </a:lnTo>
                <a:lnTo>
                  <a:pt x="2328" y="3211"/>
                </a:lnTo>
                <a:lnTo>
                  <a:pt x="2318" y="3211"/>
                </a:lnTo>
                <a:lnTo>
                  <a:pt x="2318" y="3221"/>
                </a:lnTo>
                <a:lnTo>
                  <a:pt x="2318" y="3221"/>
                </a:lnTo>
                <a:lnTo>
                  <a:pt x="2307" y="3231"/>
                </a:lnTo>
                <a:lnTo>
                  <a:pt x="2297" y="3221"/>
                </a:lnTo>
                <a:lnTo>
                  <a:pt x="2297" y="3221"/>
                </a:lnTo>
                <a:lnTo>
                  <a:pt x="2297" y="3211"/>
                </a:lnTo>
                <a:lnTo>
                  <a:pt x="2287" y="3201"/>
                </a:lnTo>
                <a:lnTo>
                  <a:pt x="2287" y="3191"/>
                </a:lnTo>
                <a:lnTo>
                  <a:pt x="2287" y="3161"/>
                </a:lnTo>
                <a:lnTo>
                  <a:pt x="2287" y="3150"/>
                </a:lnTo>
                <a:lnTo>
                  <a:pt x="2287" y="3140"/>
                </a:lnTo>
                <a:lnTo>
                  <a:pt x="2297" y="3140"/>
                </a:lnTo>
                <a:lnTo>
                  <a:pt x="2297" y="3140"/>
                </a:lnTo>
                <a:lnTo>
                  <a:pt x="2318" y="3130"/>
                </a:lnTo>
                <a:lnTo>
                  <a:pt x="2328" y="3120"/>
                </a:lnTo>
                <a:lnTo>
                  <a:pt x="2338" y="3110"/>
                </a:lnTo>
                <a:lnTo>
                  <a:pt x="2348" y="3110"/>
                </a:lnTo>
                <a:lnTo>
                  <a:pt x="2348" y="3100"/>
                </a:lnTo>
                <a:lnTo>
                  <a:pt x="2348" y="3090"/>
                </a:lnTo>
                <a:lnTo>
                  <a:pt x="2348" y="3080"/>
                </a:lnTo>
                <a:lnTo>
                  <a:pt x="2348" y="3069"/>
                </a:lnTo>
                <a:lnTo>
                  <a:pt x="2338" y="3059"/>
                </a:lnTo>
                <a:lnTo>
                  <a:pt x="2338" y="3059"/>
                </a:lnTo>
                <a:lnTo>
                  <a:pt x="2328" y="3049"/>
                </a:lnTo>
                <a:lnTo>
                  <a:pt x="2328" y="3039"/>
                </a:lnTo>
                <a:lnTo>
                  <a:pt x="2338" y="3029"/>
                </a:lnTo>
                <a:lnTo>
                  <a:pt x="2328" y="3019"/>
                </a:lnTo>
                <a:lnTo>
                  <a:pt x="2328" y="3019"/>
                </a:lnTo>
                <a:lnTo>
                  <a:pt x="2318" y="3019"/>
                </a:lnTo>
                <a:lnTo>
                  <a:pt x="2318" y="3009"/>
                </a:lnTo>
                <a:lnTo>
                  <a:pt x="2307" y="3009"/>
                </a:lnTo>
                <a:lnTo>
                  <a:pt x="2307" y="2999"/>
                </a:lnTo>
                <a:lnTo>
                  <a:pt x="2318" y="2999"/>
                </a:lnTo>
                <a:lnTo>
                  <a:pt x="2307" y="2988"/>
                </a:lnTo>
                <a:lnTo>
                  <a:pt x="2307" y="2978"/>
                </a:lnTo>
                <a:lnTo>
                  <a:pt x="2307" y="2968"/>
                </a:lnTo>
                <a:lnTo>
                  <a:pt x="2318" y="2968"/>
                </a:lnTo>
                <a:lnTo>
                  <a:pt x="2318" y="2958"/>
                </a:lnTo>
                <a:lnTo>
                  <a:pt x="2318" y="2958"/>
                </a:lnTo>
                <a:lnTo>
                  <a:pt x="2328" y="2948"/>
                </a:lnTo>
                <a:lnTo>
                  <a:pt x="2328" y="2938"/>
                </a:lnTo>
                <a:lnTo>
                  <a:pt x="2328" y="2917"/>
                </a:lnTo>
                <a:lnTo>
                  <a:pt x="2318" y="2928"/>
                </a:lnTo>
                <a:lnTo>
                  <a:pt x="2307" y="2928"/>
                </a:lnTo>
                <a:lnTo>
                  <a:pt x="2287" y="2928"/>
                </a:lnTo>
                <a:lnTo>
                  <a:pt x="2267" y="2928"/>
                </a:lnTo>
                <a:lnTo>
                  <a:pt x="2267" y="2907"/>
                </a:lnTo>
                <a:lnTo>
                  <a:pt x="2267" y="2907"/>
                </a:lnTo>
                <a:lnTo>
                  <a:pt x="2267" y="2907"/>
                </a:lnTo>
                <a:lnTo>
                  <a:pt x="2257" y="2907"/>
                </a:lnTo>
                <a:lnTo>
                  <a:pt x="2257" y="2907"/>
                </a:lnTo>
                <a:lnTo>
                  <a:pt x="2257" y="2917"/>
                </a:lnTo>
                <a:lnTo>
                  <a:pt x="2247" y="2928"/>
                </a:lnTo>
                <a:lnTo>
                  <a:pt x="2247" y="2928"/>
                </a:lnTo>
                <a:lnTo>
                  <a:pt x="2227" y="2948"/>
                </a:lnTo>
                <a:lnTo>
                  <a:pt x="2216" y="2958"/>
                </a:lnTo>
                <a:lnTo>
                  <a:pt x="2206" y="2968"/>
                </a:lnTo>
                <a:lnTo>
                  <a:pt x="2196" y="2968"/>
                </a:lnTo>
                <a:lnTo>
                  <a:pt x="2176" y="2978"/>
                </a:lnTo>
                <a:lnTo>
                  <a:pt x="2166" y="2978"/>
                </a:lnTo>
                <a:lnTo>
                  <a:pt x="2146" y="2988"/>
                </a:lnTo>
                <a:lnTo>
                  <a:pt x="2135" y="2988"/>
                </a:lnTo>
                <a:lnTo>
                  <a:pt x="2125" y="2988"/>
                </a:lnTo>
                <a:lnTo>
                  <a:pt x="2115" y="2988"/>
                </a:lnTo>
                <a:lnTo>
                  <a:pt x="2115" y="2988"/>
                </a:lnTo>
                <a:lnTo>
                  <a:pt x="2105" y="2988"/>
                </a:lnTo>
                <a:lnTo>
                  <a:pt x="2105" y="2988"/>
                </a:lnTo>
                <a:lnTo>
                  <a:pt x="2095" y="2988"/>
                </a:lnTo>
                <a:lnTo>
                  <a:pt x="2095" y="2988"/>
                </a:lnTo>
                <a:lnTo>
                  <a:pt x="2085" y="2988"/>
                </a:lnTo>
                <a:lnTo>
                  <a:pt x="2085" y="2999"/>
                </a:lnTo>
                <a:lnTo>
                  <a:pt x="2095" y="3009"/>
                </a:lnTo>
                <a:lnTo>
                  <a:pt x="2105" y="3029"/>
                </a:lnTo>
                <a:lnTo>
                  <a:pt x="2115" y="3039"/>
                </a:lnTo>
                <a:lnTo>
                  <a:pt x="2125" y="3059"/>
                </a:lnTo>
                <a:lnTo>
                  <a:pt x="2135" y="3069"/>
                </a:lnTo>
                <a:lnTo>
                  <a:pt x="2135" y="3080"/>
                </a:lnTo>
                <a:lnTo>
                  <a:pt x="2146" y="3080"/>
                </a:lnTo>
                <a:lnTo>
                  <a:pt x="2146" y="3090"/>
                </a:lnTo>
                <a:lnTo>
                  <a:pt x="2146" y="3090"/>
                </a:lnTo>
                <a:lnTo>
                  <a:pt x="2146" y="3110"/>
                </a:lnTo>
                <a:lnTo>
                  <a:pt x="2146" y="3120"/>
                </a:lnTo>
                <a:lnTo>
                  <a:pt x="2146" y="3120"/>
                </a:lnTo>
                <a:lnTo>
                  <a:pt x="2135" y="3120"/>
                </a:lnTo>
                <a:lnTo>
                  <a:pt x="2115" y="3120"/>
                </a:lnTo>
                <a:lnTo>
                  <a:pt x="2105" y="3110"/>
                </a:lnTo>
                <a:lnTo>
                  <a:pt x="2095" y="3110"/>
                </a:lnTo>
                <a:lnTo>
                  <a:pt x="2085" y="3100"/>
                </a:lnTo>
                <a:lnTo>
                  <a:pt x="2085" y="3100"/>
                </a:lnTo>
                <a:lnTo>
                  <a:pt x="2065" y="3110"/>
                </a:lnTo>
                <a:lnTo>
                  <a:pt x="2054" y="3110"/>
                </a:lnTo>
                <a:lnTo>
                  <a:pt x="2044" y="3110"/>
                </a:lnTo>
                <a:lnTo>
                  <a:pt x="2044" y="3110"/>
                </a:lnTo>
                <a:lnTo>
                  <a:pt x="2044" y="3100"/>
                </a:lnTo>
                <a:lnTo>
                  <a:pt x="2044" y="3090"/>
                </a:lnTo>
                <a:lnTo>
                  <a:pt x="2034" y="3090"/>
                </a:lnTo>
                <a:lnTo>
                  <a:pt x="2034" y="3080"/>
                </a:lnTo>
                <a:lnTo>
                  <a:pt x="2024" y="3080"/>
                </a:lnTo>
                <a:lnTo>
                  <a:pt x="2004" y="3080"/>
                </a:lnTo>
                <a:lnTo>
                  <a:pt x="2004" y="3080"/>
                </a:lnTo>
                <a:lnTo>
                  <a:pt x="1994" y="3069"/>
                </a:lnTo>
                <a:lnTo>
                  <a:pt x="1984" y="3059"/>
                </a:lnTo>
                <a:lnTo>
                  <a:pt x="1974" y="3059"/>
                </a:lnTo>
                <a:lnTo>
                  <a:pt x="1963" y="3069"/>
                </a:lnTo>
                <a:lnTo>
                  <a:pt x="1963" y="3080"/>
                </a:lnTo>
                <a:lnTo>
                  <a:pt x="1963" y="3080"/>
                </a:lnTo>
                <a:lnTo>
                  <a:pt x="1953" y="3090"/>
                </a:lnTo>
                <a:lnTo>
                  <a:pt x="1943" y="3100"/>
                </a:lnTo>
                <a:lnTo>
                  <a:pt x="1933" y="3110"/>
                </a:lnTo>
                <a:lnTo>
                  <a:pt x="1923" y="3110"/>
                </a:lnTo>
                <a:lnTo>
                  <a:pt x="1923" y="3100"/>
                </a:lnTo>
                <a:lnTo>
                  <a:pt x="1903" y="3090"/>
                </a:lnTo>
                <a:lnTo>
                  <a:pt x="1903" y="3090"/>
                </a:lnTo>
                <a:lnTo>
                  <a:pt x="1903" y="3080"/>
                </a:lnTo>
                <a:lnTo>
                  <a:pt x="1893" y="3069"/>
                </a:lnTo>
                <a:lnTo>
                  <a:pt x="1893" y="3059"/>
                </a:lnTo>
                <a:lnTo>
                  <a:pt x="1893" y="3049"/>
                </a:lnTo>
                <a:lnTo>
                  <a:pt x="1893" y="3039"/>
                </a:lnTo>
                <a:lnTo>
                  <a:pt x="1893" y="3029"/>
                </a:lnTo>
                <a:lnTo>
                  <a:pt x="1903" y="3019"/>
                </a:lnTo>
                <a:lnTo>
                  <a:pt x="1903" y="2999"/>
                </a:lnTo>
                <a:lnTo>
                  <a:pt x="1903" y="2988"/>
                </a:lnTo>
                <a:lnTo>
                  <a:pt x="1903" y="2988"/>
                </a:lnTo>
                <a:lnTo>
                  <a:pt x="1903" y="2978"/>
                </a:lnTo>
                <a:lnTo>
                  <a:pt x="1893" y="2978"/>
                </a:lnTo>
                <a:lnTo>
                  <a:pt x="1893" y="2988"/>
                </a:lnTo>
                <a:lnTo>
                  <a:pt x="1893" y="2999"/>
                </a:lnTo>
                <a:lnTo>
                  <a:pt x="1882" y="3009"/>
                </a:lnTo>
                <a:lnTo>
                  <a:pt x="1872" y="3009"/>
                </a:lnTo>
                <a:lnTo>
                  <a:pt x="1872" y="3019"/>
                </a:lnTo>
                <a:lnTo>
                  <a:pt x="1862" y="3029"/>
                </a:lnTo>
                <a:lnTo>
                  <a:pt x="1862" y="3039"/>
                </a:lnTo>
                <a:lnTo>
                  <a:pt x="1862" y="3049"/>
                </a:lnTo>
                <a:lnTo>
                  <a:pt x="1862" y="3049"/>
                </a:lnTo>
                <a:lnTo>
                  <a:pt x="1852" y="3049"/>
                </a:lnTo>
                <a:lnTo>
                  <a:pt x="1842" y="3049"/>
                </a:lnTo>
                <a:lnTo>
                  <a:pt x="1832" y="3049"/>
                </a:lnTo>
                <a:lnTo>
                  <a:pt x="1832" y="3039"/>
                </a:lnTo>
                <a:lnTo>
                  <a:pt x="1822" y="3029"/>
                </a:lnTo>
                <a:lnTo>
                  <a:pt x="1822" y="3029"/>
                </a:lnTo>
                <a:lnTo>
                  <a:pt x="1822" y="3039"/>
                </a:lnTo>
                <a:lnTo>
                  <a:pt x="1822" y="3059"/>
                </a:lnTo>
                <a:lnTo>
                  <a:pt x="1822" y="3069"/>
                </a:lnTo>
                <a:lnTo>
                  <a:pt x="1812" y="3080"/>
                </a:lnTo>
                <a:lnTo>
                  <a:pt x="1812" y="3090"/>
                </a:lnTo>
                <a:lnTo>
                  <a:pt x="1802" y="3090"/>
                </a:lnTo>
                <a:lnTo>
                  <a:pt x="1791" y="3090"/>
                </a:lnTo>
                <a:lnTo>
                  <a:pt x="1791" y="3090"/>
                </a:lnTo>
                <a:lnTo>
                  <a:pt x="1781" y="3069"/>
                </a:lnTo>
                <a:lnTo>
                  <a:pt x="1781" y="3059"/>
                </a:lnTo>
                <a:lnTo>
                  <a:pt x="1781" y="3049"/>
                </a:lnTo>
                <a:lnTo>
                  <a:pt x="1781" y="3039"/>
                </a:lnTo>
                <a:lnTo>
                  <a:pt x="1781" y="3039"/>
                </a:lnTo>
                <a:lnTo>
                  <a:pt x="1771" y="3039"/>
                </a:lnTo>
                <a:lnTo>
                  <a:pt x="1761" y="3039"/>
                </a:lnTo>
                <a:lnTo>
                  <a:pt x="1751" y="3039"/>
                </a:lnTo>
                <a:lnTo>
                  <a:pt x="1731" y="3029"/>
                </a:lnTo>
                <a:lnTo>
                  <a:pt x="1721" y="3029"/>
                </a:lnTo>
                <a:lnTo>
                  <a:pt x="1721" y="3019"/>
                </a:lnTo>
                <a:lnTo>
                  <a:pt x="1710" y="3019"/>
                </a:lnTo>
                <a:lnTo>
                  <a:pt x="1700" y="3019"/>
                </a:lnTo>
                <a:lnTo>
                  <a:pt x="1700" y="3019"/>
                </a:lnTo>
                <a:lnTo>
                  <a:pt x="1690" y="3029"/>
                </a:lnTo>
                <a:lnTo>
                  <a:pt x="1680" y="3039"/>
                </a:lnTo>
                <a:lnTo>
                  <a:pt x="1670" y="3049"/>
                </a:lnTo>
                <a:lnTo>
                  <a:pt x="1670" y="3049"/>
                </a:lnTo>
                <a:lnTo>
                  <a:pt x="1660" y="3049"/>
                </a:lnTo>
                <a:lnTo>
                  <a:pt x="1650" y="3049"/>
                </a:lnTo>
                <a:lnTo>
                  <a:pt x="1640" y="3059"/>
                </a:lnTo>
                <a:lnTo>
                  <a:pt x="1619" y="3059"/>
                </a:lnTo>
                <a:lnTo>
                  <a:pt x="1619" y="3069"/>
                </a:lnTo>
                <a:lnTo>
                  <a:pt x="1609" y="3059"/>
                </a:lnTo>
                <a:lnTo>
                  <a:pt x="1609" y="3059"/>
                </a:lnTo>
                <a:lnTo>
                  <a:pt x="1609" y="3049"/>
                </a:lnTo>
                <a:lnTo>
                  <a:pt x="1599" y="3049"/>
                </a:lnTo>
                <a:lnTo>
                  <a:pt x="1589" y="3049"/>
                </a:lnTo>
                <a:lnTo>
                  <a:pt x="1589" y="3049"/>
                </a:lnTo>
                <a:lnTo>
                  <a:pt x="1579" y="3049"/>
                </a:lnTo>
                <a:lnTo>
                  <a:pt x="1579" y="3059"/>
                </a:lnTo>
                <a:lnTo>
                  <a:pt x="1559" y="3069"/>
                </a:lnTo>
                <a:lnTo>
                  <a:pt x="1559" y="3069"/>
                </a:lnTo>
                <a:lnTo>
                  <a:pt x="1549" y="3069"/>
                </a:lnTo>
                <a:lnTo>
                  <a:pt x="1538" y="3069"/>
                </a:lnTo>
                <a:lnTo>
                  <a:pt x="1538" y="3059"/>
                </a:lnTo>
                <a:lnTo>
                  <a:pt x="1538" y="3059"/>
                </a:lnTo>
                <a:lnTo>
                  <a:pt x="1528" y="3049"/>
                </a:lnTo>
                <a:lnTo>
                  <a:pt x="1528" y="3049"/>
                </a:lnTo>
                <a:lnTo>
                  <a:pt x="1518" y="3039"/>
                </a:lnTo>
                <a:lnTo>
                  <a:pt x="1508" y="3019"/>
                </a:lnTo>
                <a:lnTo>
                  <a:pt x="1508" y="3019"/>
                </a:lnTo>
                <a:lnTo>
                  <a:pt x="1498" y="3009"/>
                </a:lnTo>
                <a:lnTo>
                  <a:pt x="1488" y="3009"/>
                </a:lnTo>
                <a:lnTo>
                  <a:pt x="1488" y="3009"/>
                </a:lnTo>
                <a:lnTo>
                  <a:pt x="1488" y="3009"/>
                </a:lnTo>
                <a:lnTo>
                  <a:pt x="1488" y="2999"/>
                </a:lnTo>
                <a:lnTo>
                  <a:pt x="1488" y="2988"/>
                </a:lnTo>
                <a:lnTo>
                  <a:pt x="1488" y="2978"/>
                </a:lnTo>
                <a:lnTo>
                  <a:pt x="1478" y="2968"/>
                </a:lnTo>
                <a:lnTo>
                  <a:pt x="1468" y="2958"/>
                </a:lnTo>
                <a:lnTo>
                  <a:pt x="1468" y="2948"/>
                </a:lnTo>
                <a:lnTo>
                  <a:pt x="1468" y="2948"/>
                </a:lnTo>
                <a:lnTo>
                  <a:pt x="1468" y="2938"/>
                </a:lnTo>
                <a:lnTo>
                  <a:pt x="1468" y="2928"/>
                </a:lnTo>
                <a:lnTo>
                  <a:pt x="1468" y="2928"/>
                </a:lnTo>
                <a:lnTo>
                  <a:pt x="1457" y="2917"/>
                </a:lnTo>
                <a:lnTo>
                  <a:pt x="1457" y="2907"/>
                </a:lnTo>
                <a:lnTo>
                  <a:pt x="1447" y="2897"/>
                </a:lnTo>
                <a:lnTo>
                  <a:pt x="1447" y="2897"/>
                </a:lnTo>
                <a:lnTo>
                  <a:pt x="1447" y="2887"/>
                </a:lnTo>
                <a:lnTo>
                  <a:pt x="1437" y="2877"/>
                </a:lnTo>
                <a:lnTo>
                  <a:pt x="1427" y="2867"/>
                </a:lnTo>
                <a:lnTo>
                  <a:pt x="1427" y="2867"/>
                </a:lnTo>
                <a:lnTo>
                  <a:pt x="1427" y="2857"/>
                </a:lnTo>
                <a:lnTo>
                  <a:pt x="1417" y="2857"/>
                </a:lnTo>
                <a:lnTo>
                  <a:pt x="1407" y="2857"/>
                </a:lnTo>
                <a:lnTo>
                  <a:pt x="1407" y="2836"/>
                </a:lnTo>
                <a:lnTo>
                  <a:pt x="1397" y="2826"/>
                </a:lnTo>
                <a:lnTo>
                  <a:pt x="1397" y="2816"/>
                </a:lnTo>
                <a:lnTo>
                  <a:pt x="1356" y="2796"/>
                </a:lnTo>
                <a:lnTo>
                  <a:pt x="1356" y="2796"/>
                </a:lnTo>
                <a:lnTo>
                  <a:pt x="1346" y="2786"/>
                </a:lnTo>
                <a:lnTo>
                  <a:pt x="1346" y="2786"/>
                </a:lnTo>
                <a:lnTo>
                  <a:pt x="1336" y="2776"/>
                </a:lnTo>
                <a:lnTo>
                  <a:pt x="1316" y="2766"/>
                </a:lnTo>
                <a:lnTo>
                  <a:pt x="1306" y="2755"/>
                </a:lnTo>
                <a:lnTo>
                  <a:pt x="1306" y="2745"/>
                </a:lnTo>
                <a:lnTo>
                  <a:pt x="1285" y="2735"/>
                </a:lnTo>
                <a:lnTo>
                  <a:pt x="1275" y="2735"/>
                </a:lnTo>
                <a:lnTo>
                  <a:pt x="1265" y="2725"/>
                </a:lnTo>
                <a:lnTo>
                  <a:pt x="1245" y="2715"/>
                </a:lnTo>
                <a:lnTo>
                  <a:pt x="1245" y="2715"/>
                </a:lnTo>
                <a:lnTo>
                  <a:pt x="1235" y="2705"/>
                </a:lnTo>
                <a:lnTo>
                  <a:pt x="1225" y="2705"/>
                </a:lnTo>
                <a:lnTo>
                  <a:pt x="1215" y="2715"/>
                </a:lnTo>
                <a:lnTo>
                  <a:pt x="1205" y="2725"/>
                </a:lnTo>
                <a:lnTo>
                  <a:pt x="1194" y="2725"/>
                </a:lnTo>
                <a:lnTo>
                  <a:pt x="1184" y="2735"/>
                </a:lnTo>
                <a:lnTo>
                  <a:pt x="1184" y="2735"/>
                </a:lnTo>
                <a:lnTo>
                  <a:pt x="1174" y="2725"/>
                </a:lnTo>
                <a:lnTo>
                  <a:pt x="1174" y="2725"/>
                </a:lnTo>
                <a:lnTo>
                  <a:pt x="1164" y="2715"/>
                </a:lnTo>
                <a:lnTo>
                  <a:pt x="1164" y="2715"/>
                </a:lnTo>
                <a:lnTo>
                  <a:pt x="1154" y="2705"/>
                </a:lnTo>
                <a:lnTo>
                  <a:pt x="1144" y="2705"/>
                </a:lnTo>
                <a:lnTo>
                  <a:pt x="1134" y="2705"/>
                </a:lnTo>
                <a:lnTo>
                  <a:pt x="1124" y="2695"/>
                </a:lnTo>
                <a:lnTo>
                  <a:pt x="1124" y="2695"/>
                </a:lnTo>
                <a:lnTo>
                  <a:pt x="1103" y="2684"/>
                </a:lnTo>
                <a:lnTo>
                  <a:pt x="1093" y="2674"/>
                </a:lnTo>
                <a:lnTo>
                  <a:pt x="1093" y="2674"/>
                </a:lnTo>
                <a:lnTo>
                  <a:pt x="1093" y="2674"/>
                </a:lnTo>
                <a:lnTo>
                  <a:pt x="1083" y="2674"/>
                </a:lnTo>
                <a:lnTo>
                  <a:pt x="1073" y="2674"/>
                </a:lnTo>
                <a:lnTo>
                  <a:pt x="1053" y="2674"/>
                </a:lnTo>
                <a:lnTo>
                  <a:pt x="1043" y="2674"/>
                </a:lnTo>
                <a:lnTo>
                  <a:pt x="1043" y="2674"/>
                </a:lnTo>
                <a:lnTo>
                  <a:pt x="1032" y="2664"/>
                </a:lnTo>
                <a:lnTo>
                  <a:pt x="1022" y="2644"/>
                </a:lnTo>
                <a:lnTo>
                  <a:pt x="1002" y="2614"/>
                </a:lnTo>
                <a:lnTo>
                  <a:pt x="992" y="2573"/>
                </a:lnTo>
                <a:lnTo>
                  <a:pt x="982" y="2573"/>
                </a:lnTo>
                <a:lnTo>
                  <a:pt x="982" y="2563"/>
                </a:lnTo>
                <a:lnTo>
                  <a:pt x="972" y="2563"/>
                </a:lnTo>
                <a:lnTo>
                  <a:pt x="962" y="2563"/>
                </a:lnTo>
                <a:lnTo>
                  <a:pt x="962" y="2553"/>
                </a:lnTo>
                <a:lnTo>
                  <a:pt x="962" y="2543"/>
                </a:lnTo>
                <a:lnTo>
                  <a:pt x="952" y="2543"/>
                </a:lnTo>
                <a:lnTo>
                  <a:pt x="941" y="2533"/>
                </a:lnTo>
                <a:lnTo>
                  <a:pt x="931" y="2533"/>
                </a:lnTo>
                <a:lnTo>
                  <a:pt x="911" y="2533"/>
                </a:lnTo>
                <a:lnTo>
                  <a:pt x="901" y="2533"/>
                </a:lnTo>
                <a:lnTo>
                  <a:pt x="881" y="2522"/>
                </a:lnTo>
                <a:lnTo>
                  <a:pt x="871" y="2512"/>
                </a:lnTo>
                <a:lnTo>
                  <a:pt x="871" y="2512"/>
                </a:lnTo>
                <a:lnTo>
                  <a:pt x="860" y="2492"/>
                </a:lnTo>
                <a:lnTo>
                  <a:pt x="860" y="2482"/>
                </a:lnTo>
                <a:lnTo>
                  <a:pt x="860" y="2472"/>
                </a:lnTo>
                <a:lnTo>
                  <a:pt x="840" y="2451"/>
                </a:lnTo>
                <a:lnTo>
                  <a:pt x="840" y="2441"/>
                </a:lnTo>
                <a:lnTo>
                  <a:pt x="840" y="2431"/>
                </a:lnTo>
                <a:lnTo>
                  <a:pt x="840" y="2431"/>
                </a:lnTo>
                <a:lnTo>
                  <a:pt x="830" y="2421"/>
                </a:lnTo>
                <a:lnTo>
                  <a:pt x="820" y="2421"/>
                </a:lnTo>
                <a:lnTo>
                  <a:pt x="810" y="2421"/>
                </a:lnTo>
                <a:lnTo>
                  <a:pt x="810" y="2421"/>
                </a:lnTo>
                <a:lnTo>
                  <a:pt x="800" y="2411"/>
                </a:lnTo>
                <a:lnTo>
                  <a:pt x="800" y="2411"/>
                </a:lnTo>
                <a:lnTo>
                  <a:pt x="790" y="2381"/>
                </a:lnTo>
                <a:lnTo>
                  <a:pt x="780" y="2370"/>
                </a:lnTo>
                <a:lnTo>
                  <a:pt x="780" y="2360"/>
                </a:lnTo>
                <a:lnTo>
                  <a:pt x="780" y="2350"/>
                </a:lnTo>
                <a:lnTo>
                  <a:pt x="780" y="2330"/>
                </a:lnTo>
                <a:lnTo>
                  <a:pt x="769" y="2320"/>
                </a:lnTo>
                <a:lnTo>
                  <a:pt x="769" y="2310"/>
                </a:lnTo>
                <a:lnTo>
                  <a:pt x="759" y="2300"/>
                </a:lnTo>
                <a:lnTo>
                  <a:pt x="749" y="2300"/>
                </a:lnTo>
                <a:lnTo>
                  <a:pt x="739" y="2289"/>
                </a:lnTo>
                <a:lnTo>
                  <a:pt x="739" y="2279"/>
                </a:lnTo>
                <a:lnTo>
                  <a:pt x="729" y="2259"/>
                </a:lnTo>
                <a:lnTo>
                  <a:pt x="729" y="2249"/>
                </a:lnTo>
                <a:lnTo>
                  <a:pt x="709" y="2229"/>
                </a:lnTo>
                <a:lnTo>
                  <a:pt x="688" y="2208"/>
                </a:lnTo>
                <a:lnTo>
                  <a:pt x="688" y="2198"/>
                </a:lnTo>
                <a:lnTo>
                  <a:pt x="688" y="2178"/>
                </a:lnTo>
                <a:lnTo>
                  <a:pt x="668" y="2168"/>
                </a:lnTo>
                <a:lnTo>
                  <a:pt x="658" y="2148"/>
                </a:lnTo>
                <a:lnTo>
                  <a:pt x="638" y="2148"/>
                </a:lnTo>
                <a:lnTo>
                  <a:pt x="628" y="2137"/>
                </a:lnTo>
                <a:lnTo>
                  <a:pt x="618" y="2127"/>
                </a:lnTo>
                <a:lnTo>
                  <a:pt x="607" y="2097"/>
                </a:lnTo>
                <a:lnTo>
                  <a:pt x="597" y="2087"/>
                </a:lnTo>
                <a:lnTo>
                  <a:pt x="587" y="2067"/>
                </a:lnTo>
                <a:lnTo>
                  <a:pt x="587" y="2056"/>
                </a:lnTo>
                <a:lnTo>
                  <a:pt x="577" y="2046"/>
                </a:lnTo>
                <a:lnTo>
                  <a:pt x="577" y="2026"/>
                </a:lnTo>
                <a:lnTo>
                  <a:pt x="577" y="2006"/>
                </a:lnTo>
                <a:lnTo>
                  <a:pt x="567" y="1996"/>
                </a:lnTo>
                <a:lnTo>
                  <a:pt x="557" y="1975"/>
                </a:lnTo>
                <a:lnTo>
                  <a:pt x="557" y="1965"/>
                </a:lnTo>
                <a:lnTo>
                  <a:pt x="547" y="1945"/>
                </a:lnTo>
                <a:lnTo>
                  <a:pt x="547" y="1945"/>
                </a:lnTo>
                <a:lnTo>
                  <a:pt x="547" y="1935"/>
                </a:lnTo>
                <a:lnTo>
                  <a:pt x="537" y="1925"/>
                </a:lnTo>
                <a:lnTo>
                  <a:pt x="527" y="1915"/>
                </a:lnTo>
                <a:lnTo>
                  <a:pt x="516" y="1894"/>
                </a:lnTo>
                <a:lnTo>
                  <a:pt x="516" y="1884"/>
                </a:lnTo>
                <a:lnTo>
                  <a:pt x="516" y="1874"/>
                </a:lnTo>
                <a:lnTo>
                  <a:pt x="516" y="1864"/>
                </a:lnTo>
                <a:lnTo>
                  <a:pt x="506" y="1864"/>
                </a:lnTo>
                <a:lnTo>
                  <a:pt x="506" y="1854"/>
                </a:lnTo>
                <a:lnTo>
                  <a:pt x="506" y="1823"/>
                </a:lnTo>
                <a:lnTo>
                  <a:pt x="506" y="1803"/>
                </a:lnTo>
                <a:lnTo>
                  <a:pt x="516" y="1783"/>
                </a:lnTo>
                <a:lnTo>
                  <a:pt x="516" y="1773"/>
                </a:lnTo>
                <a:lnTo>
                  <a:pt x="516" y="1763"/>
                </a:lnTo>
                <a:lnTo>
                  <a:pt x="516" y="1742"/>
                </a:lnTo>
                <a:lnTo>
                  <a:pt x="527" y="1712"/>
                </a:lnTo>
                <a:lnTo>
                  <a:pt x="537" y="1682"/>
                </a:lnTo>
                <a:lnTo>
                  <a:pt x="537" y="1661"/>
                </a:lnTo>
                <a:lnTo>
                  <a:pt x="537" y="1651"/>
                </a:lnTo>
                <a:lnTo>
                  <a:pt x="537" y="1641"/>
                </a:lnTo>
                <a:lnTo>
                  <a:pt x="557" y="1611"/>
                </a:lnTo>
                <a:lnTo>
                  <a:pt x="557" y="1590"/>
                </a:lnTo>
                <a:lnTo>
                  <a:pt x="557" y="1580"/>
                </a:lnTo>
                <a:lnTo>
                  <a:pt x="577" y="1540"/>
                </a:lnTo>
                <a:lnTo>
                  <a:pt x="587" y="1519"/>
                </a:lnTo>
                <a:lnTo>
                  <a:pt x="597" y="1509"/>
                </a:lnTo>
                <a:lnTo>
                  <a:pt x="597" y="1499"/>
                </a:lnTo>
                <a:lnTo>
                  <a:pt x="597" y="1499"/>
                </a:lnTo>
                <a:lnTo>
                  <a:pt x="607" y="1479"/>
                </a:lnTo>
                <a:lnTo>
                  <a:pt x="618" y="1469"/>
                </a:lnTo>
                <a:lnTo>
                  <a:pt x="618" y="1459"/>
                </a:lnTo>
                <a:lnTo>
                  <a:pt x="618" y="1449"/>
                </a:lnTo>
                <a:lnTo>
                  <a:pt x="618" y="1438"/>
                </a:lnTo>
                <a:lnTo>
                  <a:pt x="607" y="1428"/>
                </a:lnTo>
                <a:lnTo>
                  <a:pt x="597" y="1428"/>
                </a:lnTo>
                <a:lnTo>
                  <a:pt x="587" y="1408"/>
                </a:lnTo>
                <a:lnTo>
                  <a:pt x="577" y="1408"/>
                </a:lnTo>
                <a:lnTo>
                  <a:pt x="577" y="1408"/>
                </a:lnTo>
                <a:lnTo>
                  <a:pt x="567" y="1398"/>
                </a:lnTo>
                <a:lnTo>
                  <a:pt x="557" y="1388"/>
                </a:lnTo>
                <a:lnTo>
                  <a:pt x="557" y="1388"/>
                </a:lnTo>
                <a:lnTo>
                  <a:pt x="547" y="1388"/>
                </a:lnTo>
                <a:lnTo>
                  <a:pt x="537" y="1388"/>
                </a:lnTo>
                <a:lnTo>
                  <a:pt x="537" y="1378"/>
                </a:lnTo>
                <a:lnTo>
                  <a:pt x="537" y="1368"/>
                </a:lnTo>
                <a:lnTo>
                  <a:pt x="537" y="1357"/>
                </a:lnTo>
                <a:lnTo>
                  <a:pt x="547" y="1357"/>
                </a:lnTo>
                <a:lnTo>
                  <a:pt x="557" y="1347"/>
                </a:lnTo>
                <a:lnTo>
                  <a:pt x="587" y="1327"/>
                </a:lnTo>
                <a:lnTo>
                  <a:pt x="597" y="1317"/>
                </a:lnTo>
                <a:lnTo>
                  <a:pt x="607" y="1307"/>
                </a:lnTo>
                <a:lnTo>
                  <a:pt x="607" y="1297"/>
                </a:lnTo>
                <a:lnTo>
                  <a:pt x="607" y="1297"/>
                </a:lnTo>
                <a:lnTo>
                  <a:pt x="587" y="1297"/>
                </a:lnTo>
                <a:lnTo>
                  <a:pt x="577" y="1307"/>
                </a:lnTo>
                <a:lnTo>
                  <a:pt x="547" y="1317"/>
                </a:lnTo>
                <a:lnTo>
                  <a:pt x="527" y="1327"/>
                </a:lnTo>
                <a:lnTo>
                  <a:pt x="516" y="1337"/>
                </a:lnTo>
                <a:lnTo>
                  <a:pt x="516" y="1337"/>
                </a:lnTo>
                <a:lnTo>
                  <a:pt x="506" y="1337"/>
                </a:lnTo>
                <a:lnTo>
                  <a:pt x="496" y="1327"/>
                </a:lnTo>
                <a:lnTo>
                  <a:pt x="486" y="1317"/>
                </a:lnTo>
                <a:lnTo>
                  <a:pt x="486" y="1307"/>
                </a:lnTo>
                <a:lnTo>
                  <a:pt x="486" y="1297"/>
                </a:lnTo>
                <a:lnTo>
                  <a:pt x="466" y="1286"/>
                </a:lnTo>
                <a:lnTo>
                  <a:pt x="446" y="1276"/>
                </a:lnTo>
                <a:lnTo>
                  <a:pt x="446" y="1266"/>
                </a:lnTo>
                <a:lnTo>
                  <a:pt x="435" y="1256"/>
                </a:lnTo>
                <a:lnTo>
                  <a:pt x="425" y="1256"/>
                </a:lnTo>
                <a:lnTo>
                  <a:pt x="435" y="1246"/>
                </a:lnTo>
                <a:lnTo>
                  <a:pt x="435" y="1236"/>
                </a:lnTo>
                <a:lnTo>
                  <a:pt x="446" y="1216"/>
                </a:lnTo>
                <a:lnTo>
                  <a:pt x="456" y="1195"/>
                </a:lnTo>
                <a:lnTo>
                  <a:pt x="456" y="1195"/>
                </a:lnTo>
                <a:lnTo>
                  <a:pt x="466" y="1195"/>
                </a:lnTo>
                <a:lnTo>
                  <a:pt x="466" y="1185"/>
                </a:lnTo>
                <a:lnTo>
                  <a:pt x="466" y="1175"/>
                </a:lnTo>
                <a:lnTo>
                  <a:pt x="446" y="1175"/>
                </a:lnTo>
                <a:lnTo>
                  <a:pt x="425" y="1185"/>
                </a:lnTo>
                <a:lnTo>
                  <a:pt x="415" y="1195"/>
                </a:lnTo>
                <a:lnTo>
                  <a:pt x="405" y="1195"/>
                </a:lnTo>
                <a:lnTo>
                  <a:pt x="405" y="1216"/>
                </a:lnTo>
                <a:lnTo>
                  <a:pt x="405" y="1216"/>
                </a:lnTo>
                <a:lnTo>
                  <a:pt x="405" y="1216"/>
                </a:lnTo>
                <a:lnTo>
                  <a:pt x="395" y="1216"/>
                </a:lnTo>
                <a:lnTo>
                  <a:pt x="385" y="1216"/>
                </a:lnTo>
                <a:lnTo>
                  <a:pt x="375" y="1216"/>
                </a:lnTo>
                <a:lnTo>
                  <a:pt x="375" y="1216"/>
                </a:lnTo>
                <a:lnTo>
                  <a:pt x="365" y="1205"/>
                </a:lnTo>
                <a:lnTo>
                  <a:pt x="365" y="1195"/>
                </a:lnTo>
                <a:lnTo>
                  <a:pt x="344" y="1195"/>
                </a:lnTo>
                <a:lnTo>
                  <a:pt x="334" y="1185"/>
                </a:lnTo>
                <a:lnTo>
                  <a:pt x="334" y="1175"/>
                </a:lnTo>
                <a:lnTo>
                  <a:pt x="324" y="1165"/>
                </a:lnTo>
                <a:lnTo>
                  <a:pt x="324" y="1155"/>
                </a:lnTo>
                <a:lnTo>
                  <a:pt x="334" y="1155"/>
                </a:lnTo>
                <a:lnTo>
                  <a:pt x="334" y="1145"/>
                </a:lnTo>
                <a:lnTo>
                  <a:pt x="334" y="1124"/>
                </a:lnTo>
                <a:lnTo>
                  <a:pt x="334" y="1114"/>
                </a:lnTo>
                <a:lnTo>
                  <a:pt x="334" y="1104"/>
                </a:lnTo>
                <a:lnTo>
                  <a:pt x="334" y="1104"/>
                </a:lnTo>
                <a:lnTo>
                  <a:pt x="334" y="1104"/>
                </a:lnTo>
                <a:lnTo>
                  <a:pt x="324" y="1104"/>
                </a:lnTo>
                <a:lnTo>
                  <a:pt x="324" y="1114"/>
                </a:lnTo>
                <a:lnTo>
                  <a:pt x="304" y="1135"/>
                </a:lnTo>
                <a:lnTo>
                  <a:pt x="294" y="1145"/>
                </a:lnTo>
                <a:lnTo>
                  <a:pt x="294" y="1145"/>
                </a:lnTo>
                <a:lnTo>
                  <a:pt x="284" y="1145"/>
                </a:lnTo>
                <a:lnTo>
                  <a:pt x="284" y="1135"/>
                </a:lnTo>
                <a:lnTo>
                  <a:pt x="284" y="1124"/>
                </a:lnTo>
                <a:lnTo>
                  <a:pt x="284" y="1114"/>
                </a:lnTo>
                <a:lnTo>
                  <a:pt x="274" y="1104"/>
                </a:lnTo>
                <a:lnTo>
                  <a:pt x="274" y="1094"/>
                </a:lnTo>
                <a:lnTo>
                  <a:pt x="274" y="1084"/>
                </a:lnTo>
                <a:lnTo>
                  <a:pt x="263" y="1064"/>
                </a:lnTo>
                <a:lnTo>
                  <a:pt x="263" y="1053"/>
                </a:lnTo>
                <a:lnTo>
                  <a:pt x="263" y="1043"/>
                </a:lnTo>
                <a:lnTo>
                  <a:pt x="253" y="1033"/>
                </a:lnTo>
                <a:lnTo>
                  <a:pt x="243" y="1033"/>
                </a:lnTo>
                <a:lnTo>
                  <a:pt x="223" y="1023"/>
                </a:lnTo>
                <a:lnTo>
                  <a:pt x="213" y="1013"/>
                </a:lnTo>
                <a:lnTo>
                  <a:pt x="193" y="1023"/>
                </a:lnTo>
                <a:lnTo>
                  <a:pt x="193" y="1023"/>
                </a:lnTo>
                <a:lnTo>
                  <a:pt x="183" y="1023"/>
                </a:lnTo>
                <a:lnTo>
                  <a:pt x="172" y="1023"/>
                </a:lnTo>
                <a:lnTo>
                  <a:pt x="162" y="1023"/>
                </a:lnTo>
                <a:lnTo>
                  <a:pt x="152" y="1023"/>
                </a:lnTo>
                <a:lnTo>
                  <a:pt x="142" y="1013"/>
                </a:lnTo>
                <a:lnTo>
                  <a:pt x="132" y="993"/>
                </a:lnTo>
                <a:lnTo>
                  <a:pt x="132" y="983"/>
                </a:lnTo>
                <a:lnTo>
                  <a:pt x="122" y="983"/>
                </a:lnTo>
                <a:lnTo>
                  <a:pt x="122" y="983"/>
                </a:lnTo>
                <a:lnTo>
                  <a:pt x="122" y="972"/>
                </a:lnTo>
                <a:lnTo>
                  <a:pt x="122" y="962"/>
                </a:lnTo>
                <a:lnTo>
                  <a:pt x="122" y="962"/>
                </a:lnTo>
                <a:lnTo>
                  <a:pt x="122" y="962"/>
                </a:lnTo>
                <a:lnTo>
                  <a:pt x="112" y="932"/>
                </a:lnTo>
                <a:lnTo>
                  <a:pt x="102" y="912"/>
                </a:lnTo>
                <a:lnTo>
                  <a:pt x="91" y="902"/>
                </a:lnTo>
                <a:lnTo>
                  <a:pt x="91" y="891"/>
                </a:lnTo>
                <a:lnTo>
                  <a:pt x="91" y="881"/>
                </a:lnTo>
                <a:lnTo>
                  <a:pt x="81" y="871"/>
                </a:lnTo>
                <a:lnTo>
                  <a:pt x="81" y="851"/>
                </a:lnTo>
                <a:lnTo>
                  <a:pt x="81" y="851"/>
                </a:lnTo>
                <a:lnTo>
                  <a:pt x="81" y="841"/>
                </a:lnTo>
                <a:lnTo>
                  <a:pt x="61" y="841"/>
                </a:lnTo>
                <a:lnTo>
                  <a:pt x="41" y="841"/>
                </a:lnTo>
                <a:lnTo>
                  <a:pt x="41" y="831"/>
                </a:lnTo>
                <a:lnTo>
                  <a:pt x="41" y="831"/>
                </a:lnTo>
                <a:lnTo>
                  <a:pt x="31" y="810"/>
                </a:lnTo>
                <a:lnTo>
                  <a:pt x="31" y="800"/>
                </a:lnTo>
                <a:lnTo>
                  <a:pt x="41" y="790"/>
                </a:lnTo>
                <a:lnTo>
                  <a:pt x="41" y="780"/>
                </a:lnTo>
                <a:lnTo>
                  <a:pt x="31" y="770"/>
                </a:lnTo>
                <a:lnTo>
                  <a:pt x="31" y="760"/>
                </a:lnTo>
                <a:lnTo>
                  <a:pt x="31" y="760"/>
                </a:lnTo>
                <a:lnTo>
                  <a:pt x="21" y="750"/>
                </a:lnTo>
                <a:lnTo>
                  <a:pt x="21" y="739"/>
                </a:lnTo>
                <a:lnTo>
                  <a:pt x="21" y="729"/>
                </a:lnTo>
                <a:lnTo>
                  <a:pt x="21" y="729"/>
                </a:lnTo>
                <a:lnTo>
                  <a:pt x="21" y="719"/>
                </a:lnTo>
                <a:lnTo>
                  <a:pt x="0" y="699"/>
                </a:lnTo>
                <a:lnTo>
                  <a:pt x="0" y="689"/>
                </a:lnTo>
                <a:lnTo>
                  <a:pt x="0" y="679"/>
                </a:lnTo>
                <a:lnTo>
                  <a:pt x="0" y="669"/>
                </a:lnTo>
                <a:lnTo>
                  <a:pt x="0" y="648"/>
                </a:lnTo>
                <a:lnTo>
                  <a:pt x="10" y="638"/>
                </a:lnTo>
                <a:lnTo>
                  <a:pt x="10" y="618"/>
                </a:lnTo>
                <a:lnTo>
                  <a:pt x="0" y="608"/>
                </a:lnTo>
                <a:lnTo>
                  <a:pt x="10" y="587"/>
                </a:lnTo>
                <a:lnTo>
                  <a:pt x="10" y="577"/>
                </a:lnTo>
                <a:lnTo>
                  <a:pt x="21" y="577"/>
                </a:lnTo>
                <a:lnTo>
                  <a:pt x="31" y="567"/>
                </a:lnTo>
                <a:lnTo>
                  <a:pt x="31" y="557"/>
                </a:lnTo>
                <a:lnTo>
                  <a:pt x="31" y="537"/>
                </a:lnTo>
                <a:lnTo>
                  <a:pt x="31" y="527"/>
                </a:lnTo>
                <a:lnTo>
                  <a:pt x="31" y="506"/>
                </a:lnTo>
                <a:lnTo>
                  <a:pt x="41" y="496"/>
                </a:lnTo>
                <a:lnTo>
                  <a:pt x="41" y="496"/>
                </a:lnTo>
                <a:lnTo>
                  <a:pt x="51" y="486"/>
                </a:lnTo>
                <a:lnTo>
                  <a:pt x="61" y="486"/>
                </a:lnTo>
                <a:lnTo>
                  <a:pt x="61" y="476"/>
                </a:lnTo>
                <a:lnTo>
                  <a:pt x="61" y="466"/>
                </a:lnTo>
                <a:lnTo>
                  <a:pt x="61" y="456"/>
                </a:lnTo>
                <a:lnTo>
                  <a:pt x="61" y="446"/>
                </a:lnTo>
                <a:lnTo>
                  <a:pt x="61" y="436"/>
                </a:lnTo>
                <a:lnTo>
                  <a:pt x="71" y="425"/>
                </a:lnTo>
                <a:lnTo>
                  <a:pt x="81" y="425"/>
                </a:lnTo>
                <a:lnTo>
                  <a:pt x="91" y="425"/>
                </a:lnTo>
                <a:lnTo>
                  <a:pt x="102" y="415"/>
                </a:lnTo>
                <a:lnTo>
                  <a:pt x="112" y="415"/>
                </a:lnTo>
                <a:lnTo>
                  <a:pt x="112" y="405"/>
                </a:lnTo>
                <a:lnTo>
                  <a:pt x="112" y="395"/>
                </a:lnTo>
                <a:lnTo>
                  <a:pt x="112" y="375"/>
                </a:lnTo>
                <a:lnTo>
                  <a:pt x="112" y="354"/>
                </a:lnTo>
                <a:lnTo>
                  <a:pt x="122" y="344"/>
                </a:lnTo>
                <a:lnTo>
                  <a:pt x="132" y="334"/>
                </a:lnTo>
                <a:lnTo>
                  <a:pt x="142" y="334"/>
                </a:lnTo>
                <a:lnTo>
                  <a:pt x="152" y="324"/>
                </a:lnTo>
                <a:lnTo>
                  <a:pt x="162" y="324"/>
                </a:lnTo>
                <a:lnTo>
                  <a:pt x="162" y="314"/>
                </a:lnTo>
                <a:lnTo>
                  <a:pt x="162" y="314"/>
                </a:lnTo>
                <a:lnTo>
                  <a:pt x="162" y="304"/>
                </a:lnTo>
                <a:lnTo>
                  <a:pt x="172" y="294"/>
                </a:lnTo>
                <a:lnTo>
                  <a:pt x="172" y="284"/>
                </a:lnTo>
                <a:lnTo>
                  <a:pt x="183" y="273"/>
                </a:lnTo>
                <a:lnTo>
                  <a:pt x="183" y="253"/>
                </a:lnTo>
                <a:lnTo>
                  <a:pt x="193" y="243"/>
                </a:lnTo>
                <a:lnTo>
                  <a:pt x="193" y="223"/>
                </a:lnTo>
                <a:lnTo>
                  <a:pt x="193" y="213"/>
                </a:lnTo>
                <a:lnTo>
                  <a:pt x="203" y="213"/>
                </a:lnTo>
                <a:lnTo>
                  <a:pt x="203" y="203"/>
                </a:lnTo>
                <a:lnTo>
                  <a:pt x="213" y="203"/>
                </a:lnTo>
                <a:lnTo>
                  <a:pt x="223" y="192"/>
                </a:lnTo>
                <a:lnTo>
                  <a:pt x="233" y="182"/>
                </a:lnTo>
                <a:lnTo>
                  <a:pt x="243" y="182"/>
                </a:lnTo>
                <a:lnTo>
                  <a:pt x="253" y="172"/>
                </a:lnTo>
                <a:lnTo>
                  <a:pt x="274" y="172"/>
                </a:lnTo>
                <a:lnTo>
                  <a:pt x="294" y="162"/>
                </a:lnTo>
                <a:lnTo>
                  <a:pt x="304" y="162"/>
                </a:lnTo>
                <a:lnTo>
                  <a:pt x="314" y="162"/>
                </a:lnTo>
                <a:lnTo>
                  <a:pt x="324" y="152"/>
                </a:lnTo>
                <a:lnTo>
                  <a:pt x="355" y="132"/>
                </a:lnTo>
                <a:lnTo>
                  <a:pt x="385" y="121"/>
                </a:lnTo>
                <a:lnTo>
                  <a:pt x="425" y="111"/>
                </a:lnTo>
                <a:lnTo>
                  <a:pt x="425" y="111"/>
                </a:lnTo>
                <a:lnTo>
                  <a:pt x="435" y="101"/>
                </a:lnTo>
                <a:lnTo>
                  <a:pt x="456" y="91"/>
                </a:lnTo>
                <a:lnTo>
                  <a:pt x="486" y="71"/>
                </a:lnTo>
                <a:lnTo>
                  <a:pt x="496" y="51"/>
                </a:lnTo>
                <a:lnTo>
                  <a:pt x="506" y="40"/>
                </a:lnTo>
                <a:lnTo>
                  <a:pt x="527" y="30"/>
                </a:lnTo>
                <a:lnTo>
                  <a:pt x="527" y="20"/>
                </a:lnTo>
                <a:lnTo>
                  <a:pt x="537" y="20"/>
                </a:lnTo>
                <a:lnTo>
                  <a:pt x="547" y="30"/>
                </a:lnTo>
                <a:lnTo>
                  <a:pt x="557" y="30"/>
                </a:lnTo>
                <a:lnTo>
                  <a:pt x="557" y="30"/>
                </a:lnTo>
                <a:lnTo>
                  <a:pt x="567" y="30"/>
                </a:lnTo>
                <a:lnTo>
                  <a:pt x="597" y="30"/>
                </a:lnTo>
                <a:lnTo>
                  <a:pt x="628" y="30"/>
                </a:lnTo>
                <a:lnTo>
                  <a:pt x="638" y="30"/>
                </a:lnTo>
                <a:lnTo>
                  <a:pt x="668" y="20"/>
                </a:lnTo>
                <a:lnTo>
                  <a:pt x="688" y="20"/>
                </a:lnTo>
                <a:lnTo>
                  <a:pt x="688" y="10"/>
                </a:lnTo>
                <a:lnTo>
                  <a:pt x="729" y="10"/>
                </a:lnTo>
                <a:lnTo>
                  <a:pt x="749" y="10"/>
                </a:lnTo>
                <a:lnTo>
                  <a:pt x="759" y="10"/>
                </a:lnTo>
                <a:lnTo>
                  <a:pt x="769" y="10"/>
                </a:lnTo>
                <a:lnTo>
                  <a:pt x="780" y="10"/>
                </a:lnTo>
                <a:lnTo>
                  <a:pt x="800" y="0"/>
                </a:lnTo>
                <a:lnTo>
                  <a:pt x="820" y="10"/>
                </a:lnTo>
                <a:lnTo>
                  <a:pt x="840" y="10"/>
                </a:lnTo>
                <a:lnTo>
                  <a:pt x="850" y="10"/>
                </a:lnTo>
                <a:lnTo>
                  <a:pt x="860" y="10"/>
                </a:lnTo>
                <a:lnTo>
                  <a:pt x="881" y="20"/>
                </a:lnTo>
                <a:lnTo>
                  <a:pt x="891" y="20"/>
                </a:lnTo>
                <a:lnTo>
                  <a:pt x="901" y="30"/>
                </a:lnTo>
                <a:lnTo>
                  <a:pt x="911" y="30"/>
                </a:lnTo>
                <a:lnTo>
                  <a:pt x="921" y="20"/>
                </a:lnTo>
                <a:lnTo>
                  <a:pt x="941" y="10"/>
                </a:lnTo>
                <a:lnTo>
                  <a:pt x="952" y="0"/>
                </a:lnTo>
                <a:lnTo>
                  <a:pt x="962" y="0"/>
                </a:lnTo>
                <a:lnTo>
                  <a:pt x="962" y="0"/>
                </a:lnTo>
                <a:lnTo>
                  <a:pt x="972" y="10"/>
                </a:lnTo>
                <a:lnTo>
                  <a:pt x="982" y="10"/>
                </a:lnTo>
                <a:lnTo>
                  <a:pt x="992" y="10"/>
                </a:lnTo>
                <a:lnTo>
                  <a:pt x="992" y="10"/>
                </a:lnTo>
                <a:lnTo>
                  <a:pt x="1002" y="10"/>
                </a:lnTo>
                <a:lnTo>
                  <a:pt x="1002" y="20"/>
                </a:lnTo>
                <a:lnTo>
                  <a:pt x="1012" y="20"/>
                </a:lnTo>
                <a:lnTo>
                  <a:pt x="1032" y="30"/>
                </a:lnTo>
                <a:lnTo>
                  <a:pt x="1053" y="30"/>
                </a:lnTo>
                <a:lnTo>
                  <a:pt x="1073" y="30"/>
                </a:lnTo>
                <a:lnTo>
                  <a:pt x="1083" y="30"/>
                </a:lnTo>
                <a:lnTo>
                  <a:pt x="1093" y="30"/>
                </a:lnTo>
                <a:lnTo>
                  <a:pt x="1093" y="30"/>
                </a:lnTo>
                <a:lnTo>
                  <a:pt x="1103" y="30"/>
                </a:lnTo>
                <a:lnTo>
                  <a:pt x="1113" y="30"/>
                </a:lnTo>
                <a:lnTo>
                  <a:pt x="1113" y="30"/>
                </a:lnTo>
                <a:lnTo>
                  <a:pt x="1124" y="30"/>
                </a:lnTo>
                <a:lnTo>
                  <a:pt x="1134" y="40"/>
                </a:lnTo>
                <a:lnTo>
                  <a:pt x="1134" y="51"/>
                </a:lnTo>
                <a:lnTo>
                  <a:pt x="1144" y="61"/>
                </a:lnTo>
                <a:lnTo>
                  <a:pt x="1154" y="61"/>
                </a:lnTo>
                <a:lnTo>
                  <a:pt x="1164" y="61"/>
                </a:lnTo>
                <a:lnTo>
                  <a:pt x="1164" y="71"/>
                </a:lnTo>
                <a:lnTo>
                  <a:pt x="1174" y="81"/>
                </a:lnTo>
                <a:lnTo>
                  <a:pt x="1184" y="81"/>
                </a:lnTo>
                <a:lnTo>
                  <a:pt x="1194" y="81"/>
                </a:lnTo>
                <a:lnTo>
                  <a:pt x="1194" y="91"/>
                </a:lnTo>
                <a:lnTo>
                  <a:pt x="1205" y="91"/>
                </a:lnTo>
                <a:lnTo>
                  <a:pt x="1205" y="91"/>
                </a:lnTo>
                <a:lnTo>
                  <a:pt x="1215" y="91"/>
                </a:lnTo>
                <a:lnTo>
                  <a:pt x="1225" y="91"/>
                </a:lnTo>
                <a:lnTo>
                  <a:pt x="1235" y="81"/>
                </a:lnTo>
                <a:lnTo>
                  <a:pt x="1235" y="71"/>
                </a:lnTo>
                <a:lnTo>
                  <a:pt x="1255" y="81"/>
                </a:lnTo>
                <a:lnTo>
                  <a:pt x="1265" y="91"/>
                </a:lnTo>
                <a:lnTo>
                  <a:pt x="1275" y="101"/>
                </a:lnTo>
                <a:lnTo>
                  <a:pt x="1285" y="111"/>
                </a:lnTo>
                <a:lnTo>
                  <a:pt x="1296" y="111"/>
                </a:lnTo>
                <a:lnTo>
                  <a:pt x="1316" y="111"/>
                </a:lnTo>
                <a:lnTo>
                  <a:pt x="1326" y="121"/>
                </a:lnTo>
                <a:lnTo>
                  <a:pt x="1336" y="121"/>
                </a:lnTo>
                <a:lnTo>
                  <a:pt x="1346" y="121"/>
                </a:lnTo>
                <a:lnTo>
                  <a:pt x="1356" y="121"/>
                </a:lnTo>
                <a:lnTo>
                  <a:pt x="1366" y="121"/>
                </a:lnTo>
                <a:lnTo>
                  <a:pt x="1366" y="142"/>
                </a:lnTo>
                <a:lnTo>
                  <a:pt x="1377" y="152"/>
                </a:lnTo>
                <a:lnTo>
                  <a:pt x="1387" y="152"/>
                </a:lnTo>
                <a:lnTo>
                  <a:pt x="1397" y="152"/>
                </a:lnTo>
                <a:lnTo>
                  <a:pt x="1407" y="152"/>
                </a:lnTo>
                <a:lnTo>
                  <a:pt x="1417" y="152"/>
                </a:lnTo>
                <a:lnTo>
                  <a:pt x="1427" y="162"/>
                </a:lnTo>
                <a:lnTo>
                  <a:pt x="1437" y="162"/>
                </a:lnTo>
                <a:lnTo>
                  <a:pt x="1437" y="172"/>
                </a:lnTo>
                <a:lnTo>
                  <a:pt x="1447" y="182"/>
                </a:lnTo>
                <a:lnTo>
                  <a:pt x="1447" y="192"/>
                </a:lnTo>
                <a:lnTo>
                  <a:pt x="1447" y="203"/>
                </a:lnTo>
                <a:lnTo>
                  <a:pt x="1457" y="203"/>
                </a:lnTo>
                <a:lnTo>
                  <a:pt x="1457" y="213"/>
                </a:lnTo>
                <a:lnTo>
                  <a:pt x="1468" y="223"/>
                </a:lnTo>
                <a:lnTo>
                  <a:pt x="1468" y="233"/>
                </a:lnTo>
                <a:lnTo>
                  <a:pt x="1478" y="233"/>
                </a:lnTo>
                <a:lnTo>
                  <a:pt x="1478" y="233"/>
                </a:lnTo>
                <a:lnTo>
                  <a:pt x="1498" y="243"/>
                </a:lnTo>
                <a:lnTo>
                  <a:pt x="1518" y="253"/>
                </a:lnTo>
                <a:lnTo>
                  <a:pt x="1559" y="253"/>
                </a:lnTo>
                <a:lnTo>
                  <a:pt x="1569" y="263"/>
                </a:lnTo>
                <a:lnTo>
                  <a:pt x="1579" y="273"/>
                </a:lnTo>
                <a:lnTo>
                  <a:pt x="1599" y="273"/>
                </a:lnTo>
                <a:lnTo>
                  <a:pt x="1609" y="273"/>
                </a:lnTo>
                <a:lnTo>
                  <a:pt x="1609" y="273"/>
                </a:lnTo>
                <a:lnTo>
                  <a:pt x="1619" y="284"/>
                </a:lnTo>
                <a:lnTo>
                  <a:pt x="1619" y="294"/>
                </a:lnTo>
                <a:lnTo>
                  <a:pt x="1619" y="294"/>
                </a:lnTo>
                <a:lnTo>
                  <a:pt x="1629" y="304"/>
                </a:lnTo>
                <a:lnTo>
                  <a:pt x="1629" y="304"/>
                </a:lnTo>
                <a:lnTo>
                  <a:pt x="1650" y="314"/>
                </a:lnTo>
                <a:lnTo>
                  <a:pt x="1660" y="324"/>
                </a:lnTo>
                <a:lnTo>
                  <a:pt x="1700" y="334"/>
                </a:lnTo>
                <a:lnTo>
                  <a:pt x="1700" y="334"/>
                </a:lnTo>
                <a:lnTo>
                  <a:pt x="1700" y="334"/>
                </a:lnTo>
                <a:lnTo>
                  <a:pt x="1710" y="344"/>
                </a:lnTo>
                <a:lnTo>
                  <a:pt x="1710" y="344"/>
                </a:lnTo>
                <a:lnTo>
                  <a:pt x="1731" y="354"/>
                </a:lnTo>
                <a:lnTo>
                  <a:pt x="1741" y="354"/>
                </a:lnTo>
                <a:lnTo>
                  <a:pt x="1751" y="354"/>
                </a:lnTo>
                <a:lnTo>
                  <a:pt x="1761" y="354"/>
                </a:lnTo>
                <a:lnTo>
                  <a:pt x="1771" y="365"/>
                </a:lnTo>
                <a:lnTo>
                  <a:pt x="1771" y="365"/>
                </a:lnTo>
                <a:lnTo>
                  <a:pt x="1781" y="375"/>
                </a:lnTo>
                <a:lnTo>
                  <a:pt x="1791" y="375"/>
                </a:lnTo>
                <a:lnTo>
                  <a:pt x="1802" y="375"/>
                </a:lnTo>
                <a:lnTo>
                  <a:pt x="1812" y="375"/>
                </a:lnTo>
                <a:lnTo>
                  <a:pt x="1822" y="375"/>
                </a:lnTo>
                <a:lnTo>
                  <a:pt x="1822" y="375"/>
                </a:lnTo>
                <a:lnTo>
                  <a:pt x="1822" y="375"/>
                </a:lnTo>
                <a:lnTo>
                  <a:pt x="1822" y="385"/>
                </a:lnTo>
                <a:lnTo>
                  <a:pt x="1822" y="395"/>
                </a:lnTo>
                <a:lnTo>
                  <a:pt x="1822" y="405"/>
                </a:lnTo>
                <a:lnTo>
                  <a:pt x="1832" y="415"/>
                </a:lnTo>
                <a:lnTo>
                  <a:pt x="1842" y="436"/>
                </a:lnTo>
                <a:lnTo>
                  <a:pt x="1852" y="446"/>
                </a:lnTo>
                <a:lnTo>
                  <a:pt x="1852" y="456"/>
                </a:lnTo>
                <a:lnTo>
                  <a:pt x="1872" y="466"/>
                </a:lnTo>
                <a:lnTo>
                  <a:pt x="1872" y="476"/>
                </a:lnTo>
                <a:lnTo>
                  <a:pt x="1882" y="476"/>
                </a:lnTo>
                <a:lnTo>
                  <a:pt x="1903" y="476"/>
                </a:lnTo>
                <a:lnTo>
                  <a:pt x="1903" y="476"/>
                </a:lnTo>
                <a:lnTo>
                  <a:pt x="1913" y="476"/>
                </a:lnTo>
                <a:lnTo>
                  <a:pt x="1913" y="486"/>
                </a:lnTo>
                <a:lnTo>
                  <a:pt x="1923" y="486"/>
                </a:lnTo>
                <a:lnTo>
                  <a:pt x="1933" y="486"/>
                </a:lnTo>
                <a:lnTo>
                  <a:pt x="1953" y="486"/>
                </a:lnTo>
                <a:lnTo>
                  <a:pt x="1963" y="486"/>
                </a:lnTo>
                <a:lnTo>
                  <a:pt x="1963" y="486"/>
                </a:lnTo>
                <a:lnTo>
                  <a:pt x="1994" y="466"/>
                </a:lnTo>
                <a:lnTo>
                  <a:pt x="2014" y="456"/>
                </a:lnTo>
                <a:lnTo>
                  <a:pt x="2024" y="446"/>
                </a:lnTo>
                <a:lnTo>
                  <a:pt x="2034" y="446"/>
                </a:lnTo>
                <a:lnTo>
                  <a:pt x="2034" y="446"/>
                </a:lnTo>
                <a:lnTo>
                  <a:pt x="2034" y="446"/>
                </a:lnTo>
                <a:lnTo>
                  <a:pt x="2044" y="456"/>
                </a:lnTo>
                <a:lnTo>
                  <a:pt x="2044" y="456"/>
                </a:lnTo>
                <a:lnTo>
                  <a:pt x="2054" y="456"/>
                </a:lnTo>
                <a:lnTo>
                  <a:pt x="2065" y="456"/>
                </a:lnTo>
                <a:lnTo>
                  <a:pt x="2065" y="456"/>
                </a:lnTo>
                <a:lnTo>
                  <a:pt x="2075" y="466"/>
                </a:lnTo>
                <a:lnTo>
                  <a:pt x="2075" y="476"/>
                </a:lnTo>
                <a:lnTo>
                  <a:pt x="2075" y="476"/>
                </a:lnTo>
                <a:lnTo>
                  <a:pt x="2075" y="486"/>
                </a:lnTo>
                <a:lnTo>
                  <a:pt x="2054" y="506"/>
                </a:lnTo>
                <a:lnTo>
                  <a:pt x="2054" y="506"/>
                </a:lnTo>
                <a:lnTo>
                  <a:pt x="2054" y="517"/>
                </a:lnTo>
                <a:lnTo>
                  <a:pt x="2065" y="517"/>
                </a:lnTo>
                <a:lnTo>
                  <a:pt x="2065" y="517"/>
                </a:lnTo>
                <a:lnTo>
                  <a:pt x="2065" y="517"/>
                </a:lnTo>
                <a:lnTo>
                  <a:pt x="2075" y="517"/>
                </a:lnTo>
                <a:lnTo>
                  <a:pt x="2085" y="506"/>
                </a:lnTo>
                <a:lnTo>
                  <a:pt x="2085" y="496"/>
                </a:lnTo>
                <a:lnTo>
                  <a:pt x="2095" y="496"/>
                </a:lnTo>
                <a:lnTo>
                  <a:pt x="2115" y="496"/>
                </a:lnTo>
                <a:lnTo>
                  <a:pt x="2135" y="496"/>
                </a:lnTo>
                <a:lnTo>
                  <a:pt x="2156" y="506"/>
                </a:lnTo>
                <a:lnTo>
                  <a:pt x="2176" y="506"/>
                </a:lnTo>
                <a:lnTo>
                  <a:pt x="2196" y="506"/>
                </a:lnTo>
                <a:lnTo>
                  <a:pt x="2196" y="517"/>
                </a:lnTo>
                <a:lnTo>
                  <a:pt x="2206" y="527"/>
                </a:lnTo>
                <a:lnTo>
                  <a:pt x="2196" y="537"/>
                </a:lnTo>
                <a:lnTo>
                  <a:pt x="2196" y="537"/>
                </a:lnTo>
                <a:lnTo>
                  <a:pt x="2186" y="547"/>
                </a:lnTo>
                <a:lnTo>
                  <a:pt x="2186" y="547"/>
                </a:lnTo>
                <a:lnTo>
                  <a:pt x="2186" y="557"/>
                </a:lnTo>
                <a:lnTo>
                  <a:pt x="2176" y="577"/>
                </a:lnTo>
                <a:lnTo>
                  <a:pt x="2166" y="587"/>
                </a:lnTo>
                <a:lnTo>
                  <a:pt x="2166" y="598"/>
                </a:lnTo>
                <a:lnTo>
                  <a:pt x="2176" y="608"/>
                </a:lnTo>
                <a:lnTo>
                  <a:pt x="2186" y="608"/>
                </a:lnTo>
                <a:lnTo>
                  <a:pt x="2196" y="608"/>
                </a:lnTo>
                <a:lnTo>
                  <a:pt x="2206" y="598"/>
                </a:lnTo>
                <a:lnTo>
                  <a:pt x="2216" y="598"/>
                </a:lnTo>
                <a:lnTo>
                  <a:pt x="2227" y="598"/>
                </a:lnTo>
                <a:lnTo>
                  <a:pt x="2237" y="598"/>
                </a:lnTo>
                <a:lnTo>
                  <a:pt x="2257" y="598"/>
                </a:lnTo>
                <a:lnTo>
                  <a:pt x="2267" y="608"/>
                </a:lnTo>
                <a:lnTo>
                  <a:pt x="2267" y="608"/>
                </a:lnTo>
                <a:lnTo>
                  <a:pt x="2267" y="618"/>
                </a:lnTo>
                <a:lnTo>
                  <a:pt x="2277" y="628"/>
                </a:lnTo>
                <a:lnTo>
                  <a:pt x="2277" y="628"/>
                </a:lnTo>
                <a:lnTo>
                  <a:pt x="2297" y="628"/>
                </a:lnTo>
                <a:lnTo>
                  <a:pt x="2297" y="648"/>
                </a:lnTo>
                <a:lnTo>
                  <a:pt x="2307" y="658"/>
                </a:lnTo>
                <a:lnTo>
                  <a:pt x="2297" y="669"/>
                </a:lnTo>
                <a:lnTo>
                  <a:pt x="2297" y="679"/>
                </a:lnTo>
                <a:lnTo>
                  <a:pt x="2297" y="689"/>
                </a:lnTo>
                <a:lnTo>
                  <a:pt x="2297" y="689"/>
                </a:lnTo>
                <a:lnTo>
                  <a:pt x="2307" y="689"/>
                </a:lnTo>
                <a:lnTo>
                  <a:pt x="2307" y="699"/>
                </a:lnTo>
                <a:lnTo>
                  <a:pt x="2307" y="719"/>
                </a:lnTo>
                <a:lnTo>
                  <a:pt x="2318" y="729"/>
                </a:lnTo>
                <a:lnTo>
                  <a:pt x="2338" y="739"/>
                </a:lnTo>
                <a:lnTo>
                  <a:pt x="2348" y="739"/>
                </a:lnTo>
                <a:lnTo>
                  <a:pt x="2368" y="750"/>
                </a:lnTo>
                <a:lnTo>
                  <a:pt x="2378" y="760"/>
                </a:lnTo>
                <a:lnTo>
                  <a:pt x="2388" y="760"/>
                </a:lnTo>
                <a:lnTo>
                  <a:pt x="2388" y="770"/>
                </a:lnTo>
                <a:lnTo>
                  <a:pt x="2399" y="770"/>
                </a:lnTo>
                <a:lnTo>
                  <a:pt x="2409" y="770"/>
                </a:lnTo>
                <a:lnTo>
                  <a:pt x="2409" y="760"/>
                </a:lnTo>
                <a:lnTo>
                  <a:pt x="2419" y="750"/>
                </a:lnTo>
                <a:lnTo>
                  <a:pt x="2419" y="739"/>
                </a:lnTo>
                <a:lnTo>
                  <a:pt x="2419" y="739"/>
                </a:lnTo>
                <a:lnTo>
                  <a:pt x="2429" y="729"/>
                </a:lnTo>
                <a:lnTo>
                  <a:pt x="2439" y="729"/>
                </a:lnTo>
                <a:lnTo>
                  <a:pt x="2449" y="719"/>
                </a:lnTo>
                <a:lnTo>
                  <a:pt x="2459" y="709"/>
                </a:lnTo>
                <a:lnTo>
                  <a:pt x="2459" y="719"/>
                </a:lnTo>
                <a:lnTo>
                  <a:pt x="2459" y="719"/>
                </a:lnTo>
                <a:lnTo>
                  <a:pt x="2459" y="739"/>
                </a:lnTo>
                <a:lnTo>
                  <a:pt x="2459" y="750"/>
                </a:lnTo>
                <a:lnTo>
                  <a:pt x="2459" y="760"/>
                </a:lnTo>
                <a:lnTo>
                  <a:pt x="2469" y="760"/>
                </a:lnTo>
                <a:lnTo>
                  <a:pt x="2469" y="760"/>
                </a:lnTo>
                <a:lnTo>
                  <a:pt x="2479" y="750"/>
                </a:lnTo>
                <a:lnTo>
                  <a:pt x="2490" y="750"/>
                </a:lnTo>
                <a:lnTo>
                  <a:pt x="2490" y="750"/>
                </a:lnTo>
                <a:lnTo>
                  <a:pt x="2490" y="750"/>
                </a:lnTo>
                <a:lnTo>
                  <a:pt x="2490" y="770"/>
                </a:lnTo>
                <a:lnTo>
                  <a:pt x="2490" y="780"/>
                </a:lnTo>
                <a:lnTo>
                  <a:pt x="2479" y="790"/>
                </a:lnTo>
                <a:lnTo>
                  <a:pt x="2479" y="800"/>
                </a:lnTo>
                <a:lnTo>
                  <a:pt x="2479" y="810"/>
                </a:lnTo>
                <a:lnTo>
                  <a:pt x="2469" y="810"/>
                </a:lnTo>
                <a:lnTo>
                  <a:pt x="2469" y="820"/>
                </a:lnTo>
                <a:lnTo>
                  <a:pt x="2469" y="831"/>
                </a:lnTo>
                <a:lnTo>
                  <a:pt x="2469" y="841"/>
                </a:lnTo>
                <a:lnTo>
                  <a:pt x="2479" y="841"/>
                </a:lnTo>
                <a:lnTo>
                  <a:pt x="2479" y="851"/>
                </a:lnTo>
                <a:lnTo>
                  <a:pt x="2479" y="861"/>
                </a:lnTo>
                <a:lnTo>
                  <a:pt x="2490" y="871"/>
                </a:lnTo>
                <a:lnTo>
                  <a:pt x="2490" y="871"/>
                </a:lnTo>
                <a:lnTo>
                  <a:pt x="2510" y="881"/>
                </a:lnTo>
                <a:lnTo>
                  <a:pt x="2510" y="881"/>
                </a:lnTo>
                <a:lnTo>
                  <a:pt x="2510" y="891"/>
                </a:lnTo>
                <a:lnTo>
                  <a:pt x="2520" y="902"/>
                </a:lnTo>
                <a:lnTo>
                  <a:pt x="2530" y="912"/>
                </a:lnTo>
                <a:lnTo>
                  <a:pt x="2530" y="922"/>
                </a:lnTo>
                <a:lnTo>
                  <a:pt x="2530" y="932"/>
                </a:lnTo>
                <a:lnTo>
                  <a:pt x="2540" y="952"/>
                </a:lnTo>
                <a:lnTo>
                  <a:pt x="2540" y="962"/>
                </a:lnTo>
                <a:lnTo>
                  <a:pt x="2540" y="962"/>
                </a:lnTo>
                <a:lnTo>
                  <a:pt x="2550" y="972"/>
                </a:lnTo>
                <a:lnTo>
                  <a:pt x="2550" y="983"/>
                </a:lnTo>
                <a:lnTo>
                  <a:pt x="2560" y="983"/>
                </a:lnTo>
                <a:lnTo>
                  <a:pt x="2571" y="993"/>
                </a:lnTo>
                <a:lnTo>
                  <a:pt x="2571" y="993"/>
                </a:lnTo>
                <a:lnTo>
                  <a:pt x="2571" y="993"/>
                </a:lnTo>
                <a:lnTo>
                  <a:pt x="2571" y="1003"/>
                </a:lnTo>
                <a:lnTo>
                  <a:pt x="2581" y="1003"/>
                </a:lnTo>
                <a:lnTo>
                  <a:pt x="2581" y="1003"/>
                </a:lnTo>
                <a:lnTo>
                  <a:pt x="2591" y="1003"/>
                </a:lnTo>
                <a:lnTo>
                  <a:pt x="2601" y="1003"/>
                </a:lnTo>
                <a:lnTo>
                  <a:pt x="2601" y="993"/>
                </a:lnTo>
                <a:lnTo>
                  <a:pt x="2601" y="983"/>
                </a:lnTo>
                <a:lnTo>
                  <a:pt x="2601" y="983"/>
                </a:lnTo>
                <a:lnTo>
                  <a:pt x="2611" y="972"/>
                </a:lnTo>
                <a:lnTo>
                  <a:pt x="2621" y="962"/>
                </a:lnTo>
                <a:lnTo>
                  <a:pt x="2631" y="962"/>
                </a:lnTo>
                <a:lnTo>
                  <a:pt x="2641" y="962"/>
                </a:lnTo>
                <a:lnTo>
                  <a:pt x="2641" y="972"/>
                </a:lnTo>
                <a:lnTo>
                  <a:pt x="2631" y="983"/>
                </a:lnTo>
                <a:lnTo>
                  <a:pt x="2631" y="983"/>
                </a:lnTo>
                <a:lnTo>
                  <a:pt x="2631" y="983"/>
                </a:lnTo>
                <a:lnTo>
                  <a:pt x="2631" y="993"/>
                </a:lnTo>
                <a:lnTo>
                  <a:pt x="2631" y="1013"/>
                </a:lnTo>
                <a:lnTo>
                  <a:pt x="2631" y="1033"/>
                </a:lnTo>
                <a:lnTo>
                  <a:pt x="2631" y="1043"/>
                </a:lnTo>
                <a:lnTo>
                  <a:pt x="2631" y="1043"/>
                </a:lnTo>
                <a:lnTo>
                  <a:pt x="2651" y="1064"/>
                </a:lnTo>
                <a:lnTo>
                  <a:pt x="2651" y="1074"/>
                </a:lnTo>
                <a:lnTo>
                  <a:pt x="2651" y="1084"/>
                </a:lnTo>
                <a:lnTo>
                  <a:pt x="2672" y="1084"/>
                </a:lnTo>
                <a:lnTo>
                  <a:pt x="2682" y="1074"/>
                </a:lnTo>
                <a:lnTo>
                  <a:pt x="2702" y="1074"/>
                </a:lnTo>
                <a:lnTo>
                  <a:pt x="2712" y="1074"/>
                </a:lnTo>
                <a:lnTo>
                  <a:pt x="2732" y="1074"/>
                </a:lnTo>
                <a:lnTo>
                  <a:pt x="2743" y="1084"/>
                </a:lnTo>
                <a:lnTo>
                  <a:pt x="2753" y="1084"/>
                </a:lnTo>
                <a:lnTo>
                  <a:pt x="2753" y="1084"/>
                </a:lnTo>
                <a:lnTo>
                  <a:pt x="2753" y="1104"/>
                </a:lnTo>
                <a:lnTo>
                  <a:pt x="2743" y="1104"/>
                </a:lnTo>
                <a:lnTo>
                  <a:pt x="2743" y="1104"/>
                </a:lnTo>
                <a:lnTo>
                  <a:pt x="2722" y="1114"/>
                </a:lnTo>
                <a:lnTo>
                  <a:pt x="2712" y="1124"/>
                </a:lnTo>
                <a:lnTo>
                  <a:pt x="2712" y="1135"/>
                </a:lnTo>
                <a:lnTo>
                  <a:pt x="2712" y="1145"/>
                </a:lnTo>
                <a:lnTo>
                  <a:pt x="2712" y="1145"/>
                </a:lnTo>
                <a:lnTo>
                  <a:pt x="2722" y="1145"/>
                </a:lnTo>
                <a:lnTo>
                  <a:pt x="2743" y="1155"/>
                </a:lnTo>
                <a:lnTo>
                  <a:pt x="2743" y="1155"/>
                </a:lnTo>
                <a:lnTo>
                  <a:pt x="2753" y="1155"/>
                </a:lnTo>
                <a:lnTo>
                  <a:pt x="2773" y="1165"/>
                </a:lnTo>
              </a:path>
            </a:pathLst>
          </a:custGeom>
          <a:solidFill>
            <a:schemeClr val="bg2">
              <a:lumMod val="75000"/>
            </a:schemeClr>
          </a:solid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38" name="Guyane">
            <a:extLst>
              <a:ext uri="{FF2B5EF4-FFF2-40B4-BE49-F238E27FC236}">
                <a16:creationId xmlns:a16="http://schemas.microsoft.com/office/drawing/2014/main" id="{F619DAE6-879E-4952-B66D-2C34A23B06D2}"/>
              </a:ext>
            </a:extLst>
          </p:cNvPr>
          <p:cNvSpPr>
            <a:spLocks noChangeAspect="1"/>
          </p:cNvSpPr>
          <p:nvPr/>
        </p:nvSpPr>
        <p:spPr bwMode="auto">
          <a:xfrm>
            <a:off x="3268364" y="6474696"/>
            <a:ext cx="360625" cy="183081"/>
          </a:xfrm>
          <a:custGeom>
            <a:avLst/>
            <a:gdLst>
              <a:gd name="T0" fmla="*/ 4371 w 4462"/>
              <a:gd name="T1" fmla="*/ 2532 h 5349"/>
              <a:gd name="T2" fmla="*/ 4442 w 4462"/>
              <a:gd name="T3" fmla="*/ 2239 h 5349"/>
              <a:gd name="T4" fmla="*/ 4351 w 4462"/>
              <a:gd name="T5" fmla="*/ 1965 h 5349"/>
              <a:gd name="T6" fmla="*/ 4179 w 4462"/>
              <a:gd name="T7" fmla="*/ 1702 h 5349"/>
              <a:gd name="T8" fmla="*/ 4047 w 4462"/>
              <a:gd name="T9" fmla="*/ 1661 h 5349"/>
              <a:gd name="T10" fmla="*/ 3987 w 4462"/>
              <a:gd name="T11" fmla="*/ 1975 h 5349"/>
              <a:gd name="T12" fmla="*/ 3966 w 4462"/>
              <a:gd name="T13" fmla="*/ 1793 h 5349"/>
              <a:gd name="T14" fmla="*/ 3835 w 4462"/>
              <a:gd name="T15" fmla="*/ 1621 h 5349"/>
              <a:gd name="T16" fmla="*/ 3643 w 4462"/>
              <a:gd name="T17" fmla="*/ 1438 h 5349"/>
              <a:gd name="T18" fmla="*/ 3430 w 4462"/>
              <a:gd name="T19" fmla="*/ 1276 h 5349"/>
              <a:gd name="T20" fmla="*/ 3299 w 4462"/>
              <a:gd name="T21" fmla="*/ 1226 h 5349"/>
              <a:gd name="T22" fmla="*/ 3126 w 4462"/>
              <a:gd name="T23" fmla="*/ 1084 h 5349"/>
              <a:gd name="T24" fmla="*/ 2985 w 4462"/>
              <a:gd name="T25" fmla="*/ 993 h 5349"/>
              <a:gd name="T26" fmla="*/ 2884 w 4462"/>
              <a:gd name="T27" fmla="*/ 841 h 5349"/>
              <a:gd name="T28" fmla="*/ 2661 w 4462"/>
              <a:gd name="T29" fmla="*/ 668 h 5349"/>
              <a:gd name="T30" fmla="*/ 2408 w 4462"/>
              <a:gd name="T31" fmla="*/ 527 h 5349"/>
              <a:gd name="T32" fmla="*/ 2175 w 4462"/>
              <a:gd name="T33" fmla="*/ 486 h 5349"/>
              <a:gd name="T34" fmla="*/ 1821 w 4462"/>
              <a:gd name="T35" fmla="*/ 425 h 5349"/>
              <a:gd name="T36" fmla="*/ 1518 w 4462"/>
              <a:gd name="T37" fmla="*/ 304 h 5349"/>
              <a:gd name="T38" fmla="*/ 1275 w 4462"/>
              <a:gd name="T39" fmla="*/ 212 h 5349"/>
              <a:gd name="T40" fmla="*/ 991 w 4462"/>
              <a:gd name="T41" fmla="*/ 71 h 5349"/>
              <a:gd name="T42" fmla="*/ 870 w 4462"/>
              <a:gd name="T43" fmla="*/ 61 h 5349"/>
              <a:gd name="T44" fmla="*/ 941 w 4462"/>
              <a:gd name="T45" fmla="*/ 152 h 5349"/>
              <a:gd name="T46" fmla="*/ 840 w 4462"/>
              <a:gd name="T47" fmla="*/ 304 h 5349"/>
              <a:gd name="T48" fmla="*/ 647 w 4462"/>
              <a:gd name="T49" fmla="*/ 658 h 5349"/>
              <a:gd name="T50" fmla="*/ 354 w 4462"/>
              <a:gd name="T51" fmla="*/ 932 h 5349"/>
              <a:gd name="T52" fmla="*/ 141 w 4462"/>
              <a:gd name="T53" fmla="*/ 1195 h 5349"/>
              <a:gd name="T54" fmla="*/ 131 w 4462"/>
              <a:gd name="T55" fmla="*/ 1580 h 5349"/>
              <a:gd name="T56" fmla="*/ 121 w 4462"/>
              <a:gd name="T57" fmla="*/ 1904 h 5349"/>
              <a:gd name="T58" fmla="*/ 202 w 4462"/>
              <a:gd name="T59" fmla="*/ 2269 h 5349"/>
              <a:gd name="T60" fmla="*/ 313 w 4462"/>
              <a:gd name="T61" fmla="*/ 2492 h 5349"/>
              <a:gd name="T62" fmla="*/ 445 w 4462"/>
              <a:gd name="T63" fmla="*/ 2806 h 5349"/>
              <a:gd name="T64" fmla="*/ 627 w 4462"/>
              <a:gd name="T65" fmla="*/ 2968 h 5349"/>
              <a:gd name="T66" fmla="*/ 779 w 4462"/>
              <a:gd name="T67" fmla="*/ 3100 h 5349"/>
              <a:gd name="T68" fmla="*/ 830 w 4462"/>
              <a:gd name="T69" fmla="*/ 3302 h 5349"/>
              <a:gd name="T70" fmla="*/ 799 w 4462"/>
              <a:gd name="T71" fmla="*/ 3474 h 5349"/>
              <a:gd name="T72" fmla="*/ 718 w 4462"/>
              <a:gd name="T73" fmla="*/ 3637 h 5349"/>
              <a:gd name="T74" fmla="*/ 566 w 4462"/>
              <a:gd name="T75" fmla="*/ 3809 h 5349"/>
              <a:gd name="T76" fmla="*/ 566 w 4462"/>
              <a:gd name="T77" fmla="*/ 3951 h 5349"/>
              <a:gd name="T78" fmla="*/ 597 w 4462"/>
              <a:gd name="T79" fmla="*/ 4113 h 5349"/>
              <a:gd name="T80" fmla="*/ 546 w 4462"/>
              <a:gd name="T81" fmla="*/ 4336 h 5349"/>
              <a:gd name="T82" fmla="*/ 354 w 4462"/>
              <a:gd name="T83" fmla="*/ 4720 h 5349"/>
              <a:gd name="T84" fmla="*/ 182 w 4462"/>
              <a:gd name="T85" fmla="*/ 4953 h 5349"/>
              <a:gd name="T86" fmla="*/ 0 w 4462"/>
              <a:gd name="T87" fmla="*/ 5136 h 5349"/>
              <a:gd name="T88" fmla="*/ 293 w 4462"/>
              <a:gd name="T89" fmla="*/ 5197 h 5349"/>
              <a:gd name="T90" fmla="*/ 556 w 4462"/>
              <a:gd name="T91" fmla="*/ 5278 h 5349"/>
              <a:gd name="T92" fmla="*/ 749 w 4462"/>
              <a:gd name="T93" fmla="*/ 5318 h 5349"/>
              <a:gd name="T94" fmla="*/ 941 w 4462"/>
              <a:gd name="T95" fmla="*/ 5197 h 5349"/>
              <a:gd name="T96" fmla="*/ 1133 w 4462"/>
              <a:gd name="T97" fmla="*/ 5035 h 5349"/>
              <a:gd name="T98" fmla="*/ 1295 w 4462"/>
              <a:gd name="T99" fmla="*/ 5055 h 5349"/>
              <a:gd name="T100" fmla="*/ 1538 w 4462"/>
              <a:gd name="T101" fmla="*/ 5105 h 5349"/>
              <a:gd name="T102" fmla="*/ 1811 w 4462"/>
              <a:gd name="T103" fmla="*/ 5075 h 5349"/>
              <a:gd name="T104" fmla="*/ 2074 w 4462"/>
              <a:gd name="T105" fmla="*/ 5095 h 5349"/>
              <a:gd name="T106" fmla="*/ 2226 w 4462"/>
              <a:gd name="T107" fmla="*/ 5166 h 5349"/>
              <a:gd name="T108" fmla="*/ 2529 w 4462"/>
              <a:gd name="T109" fmla="*/ 5247 h 5349"/>
              <a:gd name="T110" fmla="*/ 2803 w 4462"/>
              <a:gd name="T111" fmla="*/ 5045 h 5349"/>
              <a:gd name="T112" fmla="*/ 3035 w 4462"/>
              <a:gd name="T113" fmla="*/ 4832 h 5349"/>
              <a:gd name="T114" fmla="*/ 3137 w 4462"/>
              <a:gd name="T115" fmla="*/ 4558 h 5349"/>
              <a:gd name="T116" fmla="*/ 3369 w 4462"/>
              <a:gd name="T117" fmla="*/ 4082 h 5349"/>
              <a:gd name="T118" fmla="*/ 3460 w 4462"/>
              <a:gd name="T119" fmla="*/ 3738 h 5349"/>
              <a:gd name="T120" fmla="*/ 3784 w 4462"/>
              <a:gd name="T121" fmla="*/ 3312 h 5349"/>
              <a:gd name="T122" fmla="*/ 4007 w 4462"/>
              <a:gd name="T123" fmla="*/ 2998 h 5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62" h="5349">
                <a:moveTo>
                  <a:pt x="4098" y="2836"/>
                </a:moveTo>
                <a:lnTo>
                  <a:pt x="4098" y="2826"/>
                </a:lnTo>
                <a:lnTo>
                  <a:pt x="4108" y="2816"/>
                </a:lnTo>
                <a:lnTo>
                  <a:pt x="4118" y="2806"/>
                </a:lnTo>
                <a:lnTo>
                  <a:pt x="4128" y="2796"/>
                </a:lnTo>
                <a:lnTo>
                  <a:pt x="4148" y="2775"/>
                </a:lnTo>
                <a:lnTo>
                  <a:pt x="4169" y="2755"/>
                </a:lnTo>
                <a:lnTo>
                  <a:pt x="4199" y="2725"/>
                </a:lnTo>
                <a:lnTo>
                  <a:pt x="4229" y="2694"/>
                </a:lnTo>
                <a:lnTo>
                  <a:pt x="4240" y="2674"/>
                </a:lnTo>
                <a:lnTo>
                  <a:pt x="4240" y="2664"/>
                </a:lnTo>
                <a:lnTo>
                  <a:pt x="4260" y="2634"/>
                </a:lnTo>
                <a:lnTo>
                  <a:pt x="4270" y="2613"/>
                </a:lnTo>
                <a:lnTo>
                  <a:pt x="4280" y="2603"/>
                </a:lnTo>
                <a:lnTo>
                  <a:pt x="4290" y="2593"/>
                </a:lnTo>
                <a:lnTo>
                  <a:pt x="4310" y="2583"/>
                </a:lnTo>
                <a:lnTo>
                  <a:pt x="4341" y="2563"/>
                </a:lnTo>
                <a:lnTo>
                  <a:pt x="4371" y="2532"/>
                </a:lnTo>
                <a:lnTo>
                  <a:pt x="4401" y="2512"/>
                </a:lnTo>
                <a:lnTo>
                  <a:pt x="4412" y="2492"/>
                </a:lnTo>
                <a:lnTo>
                  <a:pt x="4412" y="2482"/>
                </a:lnTo>
                <a:lnTo>
                  <a:pt x="4422" y="2461"/>
                </a:lnTo>
                <a:lnTo>
                  <a:pt x="4432" y="2441"/>
                </a:lnTo>
                <a:lnTo>
                  <a:pt x="4432" y="2421"/>
                </a:lnTo>
                <a:lnTo>
                  <a:pt x="4432" y="2391"/>
                </a:lnTo>
                <a:lnTo>
                  <a:pt x="4432" y="2370"/>
                </a:lnTo>
                <a:lnTo>
                  <a:pt x="4442" y="2360"/>
                </a:lnTo>
                <a:lnTo>
                  <a:pt x="4452" y="2350"/>
                </a:lnTo>
                <a:lnTo>
                  <a:pt x="4452" y="2340"/>
                </a:lnTo>
                <a:lnTo>
                  <a:pt x="4462" y="2309"/>
                </a:lnTo>
                <a:lnTo>
                  <a:pt x="4462" y="2289"/>
                </a:lnTo>
                <a:lnTo>
                  <a:pt x="4462" y="2279"/>
                </a:lnTo>
                <a:lnTo>
                  <a:pt x="4462" y="2259"/>
                </a:lnTo>
                <a:lnTo>
                  <a:pt x="4462" y="2249"/>
                </a:lnTo>
                <a:lnTo>
                  <a:pt x="4452" y="2239"/>
                </a:lnTo>
                <a:lnTo>
                  <a:pt x="4442" y="2239"/>
                </a:lnTo>
                <a:lnTo>
                  <a:pt x="4422" y="2228"/>
                </a:lnTo>
                <a:lnTo>
                  <a:pt x="4422" y="2218"/>
                </a:lnTo>
                <a:lnTo>
                  <a:pt x="4412" y="2218"/>
                </a:lnTo>
                <a:lnTo>
                  <a:pt x="4401" y="2198"/>
                </a:lnTo>
                <a:lnTo>
                  <a:pt x="4391" y="2178"/>
                </a:lnTo>
                <a:lnTo>
                  <a:pt x="4381" y="2158"/>
                </a:lnTo>
                <a:lnTo>
                  <a:pt x="4381" y="2147"/>
                </a:lnTo>
                <a:lnTo>
                  <a:pt x="4371" y="2137"/>
                </a:lnTo>
                <a:lnTo>
                  <a:pt x="4371" y="2127"/>
                </a:lnTo>
                <a:lnTo>
                  <a:pt x="4371" y="2117"/>
                </a:lnTo>
                <a:lnTo>
                  <a:pt x="4361" y="2107"/>
                </a:lnTo>
                <a:lnTo>
                  <a:pt x="4361" y="2097"/>
                </a:lnTo>
                <a:lnTo>
                  <a:pt x="4361" y="2087"/>
                </a:lnTo>
                <a:lnTo>
                  <a:pt x="4361" y="2066"/>
                </a:lnTo>
                <a:lnTo>
                  <a:pt x="4361" y="2066"/>
                </a:lnTo>
                <a:lnTo>
                  <a:pt x="4351" y="2026"/>
                </a:lnTo>
                <a:lnTo>
                  <a:pt x="4351" y="1975"/>
                </a:lnTo>
                <a:lnTo>
                  <a:pt x="4351" y="1965"/>
                </a:lnTo>
                <a:lnTo>
                  <a:pt x="4351" y="1955"/>
                </a:lnTo>
                <a:lnTo>
                  <a:pt x="4341" y="1935"/>
                </a:lnTo>
                <a:lnTo>
                  <a:pt x="4341" y="1925"/>
                </a:lnTo>
                <a:lnTo>
                  <a:pt x="4341" y="1914"/>
                </a:lnTo>
                <a:lnTo>
                  <a:pt x="4331" y="1904"/>
                </a:lnTo>
                <a:lnTo>
                  <a:pt x="4321" y="1904"/>
                </a:lnTo>
                <a:lnTo>
                  <a:pt x="4310" y="1904"/>
                </a:lnTo>
                <a:lnTo>
                  <a:pt x="4310" y="1894"/>
                </a:lnTo>
                <a:lnTo>
                  <a:pt x="4300" y="1884"/>
                </a:lnTo>
                <a:lnTo>
                  <a:pt x="4290" y="1864"/>
                </a:lnTo>
                <a:lnTo>
                  <a:pt x="4280" y="1843"/>
                </a:lnTo>
                <a:lnTo>
                  <a:pt x="4270" y="1813"/>
                </a:lnTo>
                <a:lnTo>
                  <a:pt x="4250" y="1793"/>
                </a:lnTo>
                <a:lnTo>
                  <a:pt x="4229" y="1752"/>
                </a:lnTo>
                <a:lnTo>
                  <a:pt x="4209" y="1732"/>
                </a:lnTo>
                <a:lnTo>
                  <a:pt x="4199" y="1722"/>
                </a:lnTo>
                <a:lnTo>
                  <a:pt x="4189" y="1712"/>
                </a:lnTo>
                <a:lnTo>
                  <a:pt x="4179" y="1702"/>
                </a:lnTo>
                <a:lnTo>
                  <a:pt x="4169" y="1692"/>
                </a:lnTo>
                <a:lnTo>
                  <a:pt x="4169" y="1681"/>
                </a:lnTo>
                <a:lnTo>
                  <a:pt x="4159" y="1681"/>
                </a:lnTo>
                <a:lnTo>
                  <a:pt x="4138" y="1671"/>
                </a:lnTo>
                <a:lnTo>
                  <a:pt x="4128" y="1651"/>
                </a:lnTo>
                <a:lnTo>
                  <a:pt x="4118" y="1651"/>
                </a:lnTo>
                <a:lnTo>
                  <a:pt x="4108" y="1641"/>
                </a:lnTo>
                <a:lnTo>
                  <a:pt x="4098" y="1641"/>
                </a:lnTo>
                <a:lnTo>
                  <a:pt x="4088" y="1641"/>
                </a:lnTo>
                <a:lnTo>
                  <a:pt x="4088" y="1641"/>
                </a:lnTo>
                <a:lnTo>
                  <a:pt x="4068" y="1631"/>
                </a:lnTo>
                <a:lnTo>
                  <a:pt x="4057" y="1621"/>
                </a:lnTo>
                <a:lnTo>
                  <a:pt x="4057" y="1621"/>
                </a:lnTo>
                <a:lnTo>
                  <a:pt x="4047" y="1621"/>
                </a:lnTo>
                <a:lnTo>
                  <a:pt x="4047" y="1631"/>
                </a:lnTo>
                <a:lnTo>
                  <a:pt x="4047" y="1641"/>
                </a:lnTo>
                <a:lnTo>
                  <a:pt x="4047" y="1651"/>
                </a:lnTo>
                <a:lnTo>
                  <a:pt x="4047" y="1661"/>
                </a:lnTo>
                <a:lnTo>
                  <a:pt x="4037" y="1671"/>
                </a:lnTo>
                <a:lnTo>
                  <a:pt x="4037" y="1671"/>
                </a:lnTo>
                <a:lnTo>
                  <a:pt x="4027" y="1681"/>
                </a:lnTo>
                <a:lnTo>
                  <a:pt x="4027" y="1692"/>
                </a:lnTo>
                <a:lnTo>
                  <a:pt x="4027" y="1712"/>
                </a:lnTo>
                <a:lnTo>
                  <a:pt x="4027" y="1742"/>
                </a:lnTo>
                <a:lnTo>
                  <a:pt x="4027" y="1762"/>
                </a:lnTo>
                <a:lnTo>
                  <a:pt x="4027" y="1773"/>
                </a:lnTo>
                <a:lnTo>
                  <a:pt x="4027" y="1793"/>
                </a:lnTo>
                <a:lnTo>
                  <a:pt x="4017" y="1803"/>
                </a:lnTo>
                <a:lnTo>
                  <a:pt x="4017" y="1813"/>
                </a:lnTo>
                <a:lnTo>
                  <a:pt x="4027" y="1843"/>
                </a:lnTo>
                <a:lnTo>
                  <a:pt x="4027" y="1904"/>
                </a:lnTo>
                <a:lnTo>
                  <a:pt x="4017" y="1925"/>
                </a:lnTo>
                <a:lnTo>
                  <a:pt x="4017" y="1935"/>
                </a:lnTo>
                <a:lnTo>
                  <a:pt x="3997" y="1955"/>
                </a:lnTo>
                <a:lnTo>
                  <a:pt x="3987" y="1965"/>
                </a:lnTo>
                <a:lnTo>
                  <a:pt x="3987" y="1975"/>
                </a:lnTo>
                <a:lnTo>
                  <a:pt x="3976" y="1995"/>
                </a:lnTo>
                <a:lnTo>
                  <a:pt x="3966" y="1995"/>
                </a:lnTo>
                <a:lnTo>
                  <a:pt x="3956" y="2006"/>
                </a:lnTo>
                <a:lnTo>
                  <a:pt x="3946" y="2006"/>
                </a:lnTo>
                <a:lnTo>
                  <a:pt x="3946" y="1995"/>
                </a:lnTo>
                <a:lnTo>
                  <a:pt x="3946" y="1985"/>
                </a:lnTo>
                <a:lnTo>
                  <a:pt x="3956" y="1985"/>
                </a:lnTo>
                <a:lnTo>
                  <a:pt x="3956" y="1975"/>
                </a:lnTo>
                <a:lnTo>
                  <a:pt x="3966" y="1965"/>
                </a:lnTo>
                <a:lnTo>
                  <a:pt x="3966" y="1945"/>
                </a:lnTo>
                <a:lnTo>
                  <a:pt x="3976" y="1935"/>
                </a:lnTo>
                <a:lnTo>
                  <a:pt x="3976" y="1914"/>
                </a:lnTo>
                <a:lnTo>
                  <a:pt x="3976" y="1894"/>
                </a:lnTo>
                <a:lnTo>
                  <a:pt x="3966" y="1884"/>
                </a:lnTo>
                <a:lnTo>
                  <a:pt x="3966" y="1874"/>
                </a:lnTo>
                <a:lnTo>
                  <a:pt x="3966" y="1864"/>
                </a:lnTo>
                <a:lnTo>
                  <a:pt x="3966" y="1803"/>
                </a:lnTo>
                <a:lnTo>
                  <a:pt x="3966" y="1793"/>
                </a:lnTo>
                <a:lnTo>
                  <a:pt x="3956" y="1783"/>
                </a:lnTo>
                <a:lnTo>
                  <a:pt x="3956" y="1773"/>
                </a:lnTo>
                <a:lnTo>
                  <a:pt x="3946" y="1762"/>
                </a:lnTo>
                <a:lnTo>
                  <a:pt x="3936" y="1752"/>
                </a:lnTo>
                <a:lnTo>
                  <a:pt x="3926" y="1742"/>
                </a:lnTo>
                <a:lnTo>
                  <a:pt x="3916" y="1742"/>
                </a:lnTo>
                <a:lnTo>
                  <a:pt x="3916" y="1742"/>
                </a:lnTo>
                <a:lnTo>
                  <a:pt x="3906" y="1722"/>
                </a:lnTo>
                <a:lnTo>
                  <a:pt x="3896" y="1712"/>
                </a:lnTo>
                <a:lnTo>
                  <a:pt x="3885" y="1692"/>
                </a:lnTo>
                <a:lnTo>
                  <a:pt x="3875" y="1692"/>
                </a:lnTo>
                <a:lnTo>
                  <a:pt x="3875" y="1681"/>
                </a:lnTo>
                <a:lnTo>
                  <a:pt x="3865" y="1671"/>
                </a:lnTo>
                <a:lnTo>
                  <a:pt x="3855" y="1661"/>
                </a:lnTo>
                <a:lnTo>
                  <a:pt x="3855" y="1641"/>
                </a:lnTo>
                <a:lnTo>
                  <a:pt x="3845" y="1631"/>
                </a:lnTo>
                <a:lnTo>
                  <a:pt x="3845" y="1621"/>
                </a:lnTo>
                <a:lnTo>
                  <a:pt x="3835" y="1621"/>
                </a:lnTo>
                <a:lnTo>
                  <a:pt x="3825" y="1610"/>
                </a:lnTo>
                <a:lnTo>
                  <a:pt x="3825" y="1600"/>
                </a:lnTo>
                <a:lnTo>
                  <a:pt x="3825" y="1590"/>
                </a:lnTo>
                <a:lnTo>
                  <a:pt x="3825" y="1580"/>
                </a:lnTo>
                <a:lnTo>
                  <a:pt x="3815" y="1560"/>
                </a:lnTo>
                <a:lnTo>
                  <a:pt x="3804" y="1550"/>
                </a:lnTo>
                <a:lnTo>
                  <a:pt x="3794" y="1540"/>
                </a:lnTo>
                <a:lnTo>
                  <a:pt x="3784" y="1540"/>
                </a:lnTo>
                <a:lnTo>
                  <a:pt x="3754" y="1519"/>
                </a:lnTo>
                <a:lnTo>
                  <a:pt x="3744" y="1509"/>
                </a:lnTo>
                <a:lnTo>
                  <a:pt x="3734" y="1509"/>
                </a:lnTo>
                <a:lnTo>
                  <a:pt x="3734" y="1499"/>
                </a:lnTo>
                <a:lnTo>
                  <a:pt x="3713" y="1499"/>
                </a:lnTo>
                <a:lnTo>
                  <a:pt x="3703" y="1489"/>
                </a:lnTo>
                <a:lnTo>
                  <a:pt x="3693" y="1489"/>
                </a:lnTo>
                <a:lnTo>
                  <a:pt x="3683" y="1479"/>
                </a:lnTo>
                <a:lnTo>
                  <a:pt x="3673" y="1459"/>
                </a:lnTo>
                <a:lnTo>
                  <a:pt x="3643" y="1438"/>
                </a:lnTo>
                <a:lnTo>
                  <a:pt x="3632" y="1428"/>
                </a:lnTo>
                <a:lnTo>
                  <a:pt x="3612" y="1408"/>
                </a:lnTo>
                <a:lnTo>
                  <a:pt x="3602" y="1398"/>
                </a:lnTo>
                <a:lnTo>
                  <a:pt x="3602" y="1388"/>
                </a:lnTo>
                <a:lnTo>
                  <a:pt x="3592" y="1367"/>
                </a:lnTo>
                <a:lnTo>
                  <a:pt x="3582" y="1337"/>
                </a:lnTo>
                <a:lnTo>
                  <a:pt x="3572" y="1317"/>
                </a:lnTo>
                <a:lnTo>
                  <a:pt x="3551" y="1296"/>
                </a:lnTo>
                <a:lnTo>
                  <a:pt x="3531" y="1286"/>
                </a:lnTo>
                <a:lnTo>
                  <a:pt x="3521" y="1276"/>
                </a:lnTo>
                <a:lnTo>
                  <a:pt x="3511" y="1276"/>
                </a:lnTo>
                <a:lnTo>
                  <a:pt x="3491" y="1276"/>
                </a:lnTo>
                <a:lnTo>
                  <a:pt x="3481" y="1286"/>
                </a:lnTo>
                <a:lnTo>
                  <a:pt x="3471" y="1286"/>
                </a:lnTo>
                <a:lnTo>
                  <a:pt x="3460" y="1286"/>
                </a:lnTo>
                <a:lnTo>
                  <a:pt x="3460" y="1276"/>
                </a:lnTo>
                <a:lnTo>
                  <a:pt x="3440" y="1276"/>
                </a:lnTo>
                <a:lnTo>
                  <a:pt x="3430" y="1276"/>
                </a:lnTo>
                <a:lnTo>
                  <a:pt x="3420" y="1276"/>
                </a:lnTo>
                <a:lnTo>
                  <a:pt x="3410" y="1286"/>
                </a:lnTo>
                <a:lnTo>
                  <a:pt x="3390" y="1296"/>
                </a:lnTo>
                <a:lnTo>
                  <a:pt x="3379" y="1307"/>
                </a:lnTo>
                <a:lnTo>
                  <a:pt x="3369" y="1317"/>
                </a:lnTo>
                <a:lnTo>
                  <a:pt x="3359" y="1337"/>
                </a:lnTo>
                <a:lnTo>
                  <a:pt x="3349" y="1347"/>
                </a:lnTo>
                <a:lnTo>
                  <a:pt x="3339" y="1347"/>
                </a:lnTo>
                <a:lnTo>
                  <a:pt x="3339" y="1337"/>
                </a:lnTo>
                <a:lnTo>
                  <a:pt x="3329" y="1337"/>
                </a:lnTo>
                <a:lnTo>
                  <a:pt x="3339" y="1317"/>
                </a:lnTo>
                <a:lnTo>
                  <a:pt x="3339" y="1307"/>
                </a:lnTo>
                <a:lnTo>
                  <a:pt x="3329" y="1286"/>
                </a:lnTo>
                <a:lnTo>
                  <a:pt x="3319" y="1276"/>
                </a:lnTo>
                <a:lnTo>
                  <a:pt x="3319" y="1256"/>
                </a:lnTo>
                <a:lnTo>
                  <a:pt x="3309" y="1246"/>
                </a:lnTo>
                <a:lnTo>
                  <a:pt x="3299" y="1236"/>
                </a:lnTo>
                <a:lnTo>
                  <a:pt x="3299" y="1226"/>
                </a:lnTo>
                <a:lnTo>
                  <a:pt x="3299" y="1195"/>
                </a:lnTo>
                <a:lnTo>
                  <a:pt x="3299" y="1185"/>
                </a:lnTo>
                <a:lnTo>
                  <a:pt x="3299" y="1175"/>
                </a:lnTo>
                <a:lnTo>
                  <a:pt x="3278" y="1165"/>
                </a:lnTo>
                <a:lnTo>
                  <a:pt x="3268" y="1165"/>
                </a:lnTo>
                <a:lnTo>
                  <a:pt x="3258" y="1165"/>
                </a:lnTo>
                <a:lnTo>
                  <a:pt x="3248" y="1165"/>
                </a:lnTo>
                <a:lnTo>
                  <a:pt x="3238" y="1165"/>
                </a:lnTo>
                <a:lnTo>
                  <a:pt x="3238" y="1155"/>
                </a:lnTo>
                <a:lnTo>
                  <a:pt x="3228" y="1155"/>
                </a:lnTo>
                <a:lnTo>
                  <a:pt x="3218" y="1144"/>
                </a:lnTo>
                <a:lnTo>
                  <a:pt x="3207" y="1124"/>
                </a:lnTo>
                <a:lnTo>
                  <a:pt x="3197" y="1104"/>
                </a:lnTo>
                <a:lnTo>
                  <a:pt x="3187" y="1094"/>
                </a:lnTo>
                <a:lnTo>
                  <a:pt x="3177" y="1084"/>
                </a:lnTo>
                <a:lnTo>
                  <a:pt x="3157" y="1084"/>
                </a:lnTo>
                <a:lnTo>
                  <a:pt x="3137" y="1084"/>
                </a:lnTo>
                <a:lnTo>
                  <a:pt x="3126" y="1084"/>
                </a:lnTo>
                <a:lnTo>
                  <a:pt x="3126" y="1084"/>
                </a:lnTo>
                <a:lnTo>
                  <a:pt x="3116" y="1074"/>
                </a:lnTo>
                <a:lnTo>
                  <a:pt x="3116" y="1063"/>
                </a:lnTo>
                <a:lnTo>
                  <a:pt x="3096" y="1053"/>
                </a:lnTo>
                <a:lnTo>
                  <a:pt x="3096" y="1053"/>
                </a:lnTo>
                <a:lnTo>
                  <a:pt x="3086" y="1043"/>
                </a:lnTo>
                <a:lnTo>
                  <a:pt x="3086" y="1033"/>
                </a:lnTo>
                <a:lnTo>
                  <a:pt x="3076" y="1023"/>
                </a:lnTo>
                <a:lnTo>
                  <a:pt x="3076" y="1013"/>
                </a:lnTo>
                <a:lnTo>
                  <a:pt x="3056" y="1003"/>
                </a:lnTo>
                <a:lnTo>
                  <a:pt x="3056" y="993"/>
                </a:lnTo>
                <a:lnTo>
                  <a:pt x="3046" y="993"/>
                </a:lnTo>
                <a:lnTo>
                  <a:pt x="3046" y="982"/>
                </a:lnTo>
                <a:lnTo>
                  <a:pt x="3046" y="982"/>
                </a:lnTo>
                <a:lnTo>
                  <a:pt x="3035" y="982"/>
                </a:lnTo>
                <a:lnTo>
                  <a:pt x="3025" y="982"/>
                </a:lnTo>
                <a:lnTo>
                  <a:pt x="2995" y="982"/>
                </a:lnTo>
                <a:lnTo>
                  <a:pt x="2985" y="993"/>
                </a:lnTo>
                <a:lnTo>
                  <a:pt x="2975" y="993"/>
                </a:lnTo>
                <a:lnTo>
                  <a:pt x="2965" y="1003"/>
                </a:lnTo>
                <a:lnTo>
                  <a:pt x="2954" y="1003"/>
                </a:lnTo>
                <a:lnTo>
                  <a:pt x="2954" y="1003"/>
                </a:lnTo>
                <a:lnTo>
                  <a:pt x="2944" y="1003"/>
                </a:lnTo>
                <a:lnTo>
                  <a:pt x="2944" y="993"/>
                </a:lnTo>
                <a:lnTo>
                  <a:pt x="2954" y="982"/>
                </a:lnTo>
                <a:lnTo>
                  <a:pt x="2965" y="952"/>
                </a:lnTo>
                <a:lnTo>
                  <a:pt x="2975" y="942"/>
                </a:lnTo>
                <a:lnTo>
                  <a:pt x="2975" y="922"/>
                </a:lnTo>
                <a:lnTo>
                  <a:pt x="2975" y="922"/>
                </a:lnTo>
                <a:lnTo>
                  <a:pt x="2975" y="911"/>
                </a:lnTo>
                <a:lnTo>
                  <a:pt x="2954" y="901"/>
                </a:lnTo>
                <a:lnTo>
                  <a:pt x="2944" y="901"/>
                </a:lnTo>
                <a:lnTo>
                  <a:pt x="2934" y="891"/>
                </a:lnTo>
                <a:lnTo>
                  <a:pt x="2914" y="871"/>
                </a:lnTo>
                <a:lnTo>
                  <a:pt x="2894" y="851"/>
                </a:lnTo>
                <a:lnTo>
                  <a:pt x="2884" y="841"/>
                </a:lnTo>
                <a:lnTo>
                  <a:pt x="2863" y="841"/>
                </a:lnTo>
                <a:lnTo>
                  <a:pt x="2853" y="830"/>
                </a:lnTo>
                <a:lnTo>
                  <a:pt x="2843" y="820"/>
                </a:lnTo>
                <a:lnTo>
                  <a:pt x="2813" y="800"/>
                </a:lnTo>
                <a:lnTo>
                  <a:pt x="2793" y="780"/>
                </a:lnTo>
                <a:lnTo>
                  <a:pt x="2782" y="770"/>
                </a:lnTo>
                <a:lnTo>
                  <a:pt x="2772" y="770"/>
                </a:lnTo>
                <a:lnTo>
                  <a:pt x="2762" y="760"/>
                </a:lnTo>
                <a:lnTo>
                  <a:pt x="2752" y="749"/>
                </a:lnTo>
                <a:lnTo>
                  <a:pt x="2742" y="739"/>
                </a:lnTo>
                <a:lnTo>
                  <a:pt x="2732" y="729"/>
                </a:lnTo>
                <a:lnTo>
                  <a:pt x="2712" y="719"/>
                </a:lnTo>
                <a:lnTo>
                  <a:pt x="2702" y="709"/>
                </a:lnTo>
                <a:lnTo>
                  <a:pt x="2702" y="699"/>
                </a:lnTo>
                <a:lnTo>
                  <a:pt x="2691" y="689"/>
                </a:lnTo>
                <a:lnTo>
                  <a:pt x="2681" y="678"/>
                </a:lnTo>
                <a:lnTo>
                  <a:pt x="2671" y="678"/>
                </a:lnTo>
                <a:lnTo>
                  <a:pt x="2661" y="668"/>
                </a:lnTo>
                <a:lnTo>
                  <a:pt x="2641" y="658"/>
                </a:lnTo>
                <a:lnTo>
                  <a:pt x="2631" y="658"/>
                </a:lnTo>
                <a:lnTo>
                  <a:pt x="2621" y="648"/>
                </a:lnTo>
                <a:lnTo>
                  <a:pt x="2610" y="628"/>
                </a:lnTo>
                <a:lnTo>
                  <a:pt x="2600" y="618"/>
                </a:lnTo>
                <a:lnTo>
                  <a:pt x="2570" y="597"/>
                </a:lnTo>
                <a:lnTo>
                  <a:pt x="2560" y="587"/>
                </a:lnTo>
                <a:lnTo>
                  <a:pt x="2540" y="567"/>
                </a:lnTo>
                <a:lnTo>
                  <a:pt x="2529" y="557"/>
                </a:lnTo>
                <a:lnTo>
                  <a:pt x="2519" y="547"/>
                </a:lnTo>
                <a:lnTo>
                  <a:pt x="2509" y="537"/>
                </a:lnTo>
                <a:lnTo>
                  <a:pt x="2489" y="527"/>
                </a:lnTo>
                <a:lnTo>
                  <a:pt x="2479" y="516"/>
                </a:lnTo>
                <a:lnTo>
                  <a:pt x="2469" y="516"/>
                </a:lnTo>
                <a:lnTo>
                  <a:pt x="2449" y="516"/>
                </a:lnTo>
                <a:lnTo>
                  <a:pt x="2438" y="516"/>
                </a:lnTo>
                <a:lnTo>
                  <a:pt x="2418" y="516"/>
                </a:lnTo>
                <a:lnTo>
                  <a:pt x="2408" y="527"/>
                </a:lnTo>
                <a:lnTo>
                  <a:pt x="2398" y="527"/>
                </a:lnTo>
                <a:lnTo>
                  <a:pt x="2388" y="537"/>
                </a:lnTo>
                <a:lnTo>
                  <a:pt x="2378" y="537"/>
                </a:lnTo>
                <a:lnTo>
                  <a:pt x="2357" y="537"/>
                </a:lnTo>
                <a:lnTo>
                  <a:pt x="2357" y="537"/>
                </a:lnTo>
                <a:lnTo>
                  <a:pt x="2347" y="537"/>
                </a:lnTo>
                <a:lnTo>
                  <a:pt x="2337" y="527"/>
                </a:lnTo>
                <a:lnTo>
                  <a:pt x="2317" y="516"/>
                </a:lnTo>
                <a:lnTo>
                  <a:pt x="2307" y="516"/>
                </a:lnTo>
                <a:lnTo>
                  <a:pt x="2307" y="506"/>
                </a:lnTo>
                <a:lnTo>
                  <a:pt x="2297" y="506"/>
                </a:lnTo>
                <a:lnTo>
                  <a:pt x="2297" y="506"/>
                </a:lnTo>
                <a:lnTo>
                  <a:pt x="2287" y="506"/>
                </a:lnTo>
                <a:lnTo>
                  <a:pt x="2277" y="506"/>
                </a:lnTo>
                <a:lnTo>
                  <a:pt x="2256" y="496"/>
                </a:lnTo>
                <a:lnTo>
                  <a:pt x="2236" y="486"/>
                </a:lnTo>
                <a:lnTo>
                  <a:pt x="2206" y="486"/>
                </a:lnTo>
                <a:lnTo>
                  <a:pt x="2175" y="486"/>
                </a:lnTo>
                <a:lnTo>
                  <a:pt x="2135" y="486"/>
                </a:lnTo>
                <a:lnTo>
                  <a:pt x="2104" y="496"/>
                </a:lnTo>
                <a:lnTo>
                  <a:pt x="2084" y="496"/>
                </a:lnTo>
                <a:lnTo>
                  <a:pt x="2074" y="486"/>
                </a:lnTo>
                <a:lnTo>
                  <a:pt x="2034" y="476"/>
                </a:lnTo>
                <a:lnTo>
                  <a:pt x="2024" y="466"/>
                </a:lnTo>
                <a:lnTo>
                  <a:pt x="2003" y="456"/>
                </a:lnTo>
                <a:lnTo>
                  <a:pt x="1983" y="456"/>
                </a:lnTo>
                <a:lnTo>
                  <a:pt x="1973" y="456"/>
                </a:lnTo>
                <a:lnTo>
                  <a:pt x="1953" y="456"/>
                </a:lnTo>
                <a:lnTo>
                  <a:pt x="1943" y="445"/>
                </a:lnTo>
                <a:lnTo>
                  <a:pt x="1932" y="445"/>
                </a:lnTo>
                <a:lnTo>
                  <a:pt x="1912" y="435"/>
                </a:lnTo>
                <a:lnTo>
                  <a:pt x="1902" y="435"/>
                </a:lnTo>
                <a:lnTo>
                  <a:pt x="1882" y="435"/>
                </a:lnTo>
                <a:lnTo>
                  <a:pt x="1862" y="435"/>
                </a:lnTo>
                <a:lnTo>
                  <a:pt x="1841" y="435"/>
                </a:lnTo>
                <a:lnTo>
                  <a:pt x="1821" y="425"/>
                </a:lnTo>
                <a:lnTo>
                  <a:pt x="1801" y="425"/>
                </a:lnTo>
                <a:lnTo>
                  <a:pt x="1781" y="415"/>
                </a:lnTo>
                <a:lnTo>
                  <a:pt x="1760" y="405"/>
                </a:lnTo>
                <a:lnTo>
                  <a:pt x="1740" y="405"/>
                </a:lnTo>
                <a:lnTo>
                  <a:pt x="1720" y="395"/>
                </a:lnTo>
                <a:lnTo>
                  <a:pt x="1690" y="395"/>
                </a:lnTo>
                <a:lnTo>
                  <a:pt x="1679" y="385"/>
                </a:lnTo>
                <a:lnTo>
                  <a:pt x="1659" y="385"/>
                </a:lnTo>
                <a:lnTo>
                  <a:pt x="1639" y="364"/>
                </a:lnTo>
                <a:lnTo>
                  <a:pt x="1619" y="354"/>
                </a:lnTo>
                <a:lnTo>
                  <a:pt x="1599" y="334"/>
                </a:lnTo>
                <a:lnTo>
                  <a:pt x="1578" y="324"/>
                </a:lnTo>
                <a:lnTo>
                  <a:pt x="1558" y="314"/>
                </a:lnTo>
                <a:lnTo>
                  <a:pt x="1558" y="304"/>
                </a:lnTo>
                <a:lnTo>
                  <a:pt x="1548" y="304"/>
                </a:lnTo>
                <a:lnTo>
                  <a:pt x="1538" y="304"/>
                </a:lnTo>
                <a:lnTo>
                  <a:pt x="1528" y="304"/>
                </a:lnTo>
                <a:lnTo>
                  <a:pt x="1518" y="304"/>
                </a:lnTo>
                <a:lnTo>
                  <a:pt x="1507" y="304"/>
                </a:lnTo>
                <a:lnTo>
                  <a:pt x="1487" y="294"/>
                </a:lnTo>
                <a:lnTo>
                  <a:pt x="1477" y="283"/>
                </a:lnTo>
                <a:lnTo>
                  <a:pt x="1457" y="283"/>
                </a:lnTo>
                <a:lnTo>
                  <a:pt x="1447" y="283"/>
                </a:lnTo>
                <a:lnTo>
                  <a:pt x="1437" y="283"/>
                </a:lnTo>
                <a:lnTo>
                  <a:pt x="1427" y="283"/>
                </a:lnTo>
                <a:lnTo>
                  <a:pt x="1427" y="273"/>
                </a:lnTo>
                <a:lnTo>
                  <a:pt x="1416" y="273"/>
                </a:lnTo>
                <a:lnTo>
                  <a:pt x="1406" y="273"/>
                </a:lnTo>
                <a:lnTo>
                  <a:pt x="1386" y="263"/>
                </a:lnTo>
                <a:lnTo>
                  <a:pt x="1386" y="263"/>
                </a:lnTo>
                <a:lnTo>
                  <a:pt x="1376" y="263"/>
                </a:lnTo>
                <a:lnTo>
                  <a:pt x="1356" y="253"/>
                </a:lnTo>
                <a:lnTo>
                  <a:pt x="1346" y="243"/>
                </a:lnTo>
                <a:lnTo>
                  <a:pt x="1315" y="233"/>
                </a:lnTo>
                <a:lnTo>
                  <a:pt x="1295" y="223"/>
                </a:lnTo>
                <a:lnTo>
                  <a:pt x="1275" y="212"/>
                </a:lnTo>
                <a:lnTo>
                  <a:pt x="1265" y="202"/>
                </a:lnTo>
                <a:lnTo>
                  <a:pt x="1255" y="202"/>
                </a:lnTo>
                <a:lnTo>
                  <a:pt x="1224" y="192"/>
                </a:lnTo>
                <a:lnTo>
                  <a:pt x="1214" y="192"/>
                </a:lnTo>
                <a:lnTo>
                  <a:pt x="1204" y="182"/>
                </a:lnTo>
                <a:lnTo>
                  <a:pt x="1184" y="172"/>
                </a:lnTo>
                <a:lnTo>
                  <a:pt x="1163" y="162"/>
                </a:lnTo>
                <a:lnTo>
                  <a:pt x="1153" y="152"/>
                </a:lnTo>
                <a:lnTo>
                  <a:pt x="1143" y="142"/>
                </a:lnTo>
                <a:lnTo>
                  <a:pt x="1123" y="142"/>
                </a:lnTo>
                <a:lnTo>
                  <a:pt x="1103" y="131"/>
                </a:lnTo>
                <a:lnTo>
                  <a:pt x="1082" y="121"/>
                </a:lnTo>
                <a:lnTo>
                  <a:pt x="1062" y="101"/>
                </a:lnTo>
                <a:lnTo>
                  <a:pt x="1052" y="91"/>
                </a:lnTo>
                <a:lnTo>
                  <a:pt x="1042" y="91"/>
                </a:lnTo>
                <a:lnTo>
                  <a:pt x="1032" y="91"/>
                </a:lnTo>
                <a:lnTo>
                  <a:pt x="1012" y="81"/>
                </a:lnTo>
                <a:lnTo>
                  <a:pt x="991" y="71"/>
                </a:lnTo>
                <a:lnTo>
                  <a:pt x="971" y="61"/>
                </a:lnTo>
                <a:lnTo>
                  <a:pt x="961" y="61"/>
                </a:lnTo>
                <a:lnTo>
                  <a:pt x="941" y="50"/>
                </a:lnTo>
                <a:lnTo>
                  <a:pt x="921" y="30"/>
                </a:lnTo>
                <a:lnTo>
                  <a:pt x="910" y="30"/>
                </a:lnTo>
                <a:lnTo>
                  <a:pt x="910" y="20"/>
                </a:lnTo>
                <a:lnTo>
                  <a:pt x="900" y="10"/>
                </a:lnTo>
                <a:lnTo>
                  <a:pt x="880" y="10"/>
                </a:lnTo>
                <a:lnTo>
                  <a:pt x="870" y="0"/>
                </a:lnTo>
                <a:lnTo>
                  <a:pt x="860" y="10"/>
                </a:lnTo>
                <a:lnTo>
                  <a:pt x="850" y="10"/>
                </a:lnTo>
                <a:lnTo>
                  <a:pt x="850" y="20"/>
                </a:lnTo>
                <a:lnTo>
                  <a:pt x="850" y="30"/>
                </a:lnTo>
                <a:lnTo>
                  <a:pt x="860" y="40"/>
                </a:lnTo>
                <a:lnTo>
                  <a:pt x="870" y="40"/>
                </a:lnTo>
                <a:lnTo>
                  <a:pt x="870" y="50"/>
                </a:lnTo>
                <a:lnTo>
                  <a:pt x="870" y="61"/>
                </a:lnTo>
                <a:lnTo>
                  <a:pt x="870" y="61"/>
                </a:lnTo>
                <a:lnTo>
                  <a:pt x="860" y="71"/>
                </a:lnTo>
                <a:lnTo>
                  <a:pt x="860" y="81"/>
                </a:lnTo>
                <a:lnTo>
                  <a:pt x="850" y="81"/>
                </a:lnTo>
                <a:lnTo>
                  <a:pt x="850" y="91"/>
                </a:lnTo>
                <a:lnTo>
                  <a:pt x="850" y="101"/>
                </a:lnTo>
                <a:lnTo>
                  <a:pt x="850" y="121"/>
                </a:lnTo>
                <a:lnTo>
                  <a:pt x="850" y="131"/>
                </a:lnTo>
                <a:lnTo>
                  <a:pt x="860" y="131"/>
                </a:lnTo>
                <a:lnTo>
                  <a:pt x="860" y="131"/>
                </a:lnTo>
                <a:lnTo>
                  <a:pt x="870" y="142"/>
                </a:lnTo>
                <a:lnTo>
                  <a:pt x="880" y="142"/>
                </a:lnTo>
                <a:lnTo>
                  <a:pt x="880" y="142"/>
                </a:lnTo>
                <a:lnTo>
                  <a:pt x="890" y="142"/>
                </a:lnTo>
                <a:lnTo>
                  <a:pt x="900" y="152"/>
                </a:lnTo>
                <a:lnTo>
                  <a:pt x="900" y="152"/>
                </a:lnTo>
                <a:lnTo>
                  <a:pt x="910" y="152"/>
                </a:lnTo>
                <a:lnTo>
                  <a:pt x="921" y="152"/>
                </a:lnTo>
                <a:lnTo>
                  <a:pt x="941" y="152"/>
                </a:lnTo>
                <a:lnTo>
                  <a:pt x="951" y="152"/>
                </a:lnTo>
                <a:lnTo>
                  <a:pt x="961" y="152"/>
                </a:lnTo>
                <a:lnTo>
                  <a:pt x="961" y="162"/>
                </a:lnTo>
                <a:lnTo>
                  <a:pt x="961" y="162"/>
                </a:lnTo>
                <a:lnTo>
                  <a:pt x="961" y="172"/>
                </a:lnTo>
                <a:lnTo>
                  <a:pt x="951" y="172"/>
                </a:lnTo>
                <a:lnTo>
                  <a:pt x="941" y="172"/>
                </a:lnTo>
                <a:lnTo>
                  <a:pt x="931" y="172"/>
                </a:lnTo>
                <a:lnTo>
                  <a:pt x="910" y="172"/>
                </a:lnTo>
                <a:lnTo>
                  <a:pt x="900" y="182"/>
                </a:lnTo>
                <a:lnTo>
                  <a:pt x="880" y="192"/>
                </a:lnTo>
                <a:lnTo>
                  <a:pt x="870" y="202"/>
                </a:lnTo>
                <a:lnTo>
                  <a:pt x="850" y="223"/>
                </a:lnTo>
                <a:lnTo>
                  <a:pt x="850" y="243"/>
                </a:lnTo>
                <a:lnTo>
                  <a:pt x="840" y="263"/>
                </a:lnTo>
                <a:lnTo>
                  <a:pt x="840" y="283"/>
                </a:lnTo>
                <a:lnTo>
                  <a:pt x="840" y="294"/>
                </a:lnTo>
                <a:lnTo>
                  <a:pt x="840" y="304"/>
                </a:lnTo>
                <a:lnTo>
                  <a:pt x="830" y="324"/>
                </a:lnTo>
                <a:lnTo>
                  <a:pt x="819" y="344"/>
                </a:lnTo>
                <a:lnTo>
                  <a:pt x="819" y="364"/>
                </a:lnTo>
                <a:lnTo>
                  <a:pt x="830" y="385"/>
                </a:lnTo>
                <a:lnTo>
                  <a:pt x="830" y="425"/>
                </a:lnTo>
                <a:lnTo>
                  <a:pt x="830" y="435"/>
                </a:lnTo>
                <a:lnTo>
                  <a:pt x="830" y="445"/>
                </a:lnTo>
                <a:lnTo>
                  <a:pt x="809" y="466"/>
                </a:lnTo>
                <a:lnTo>
                  <a:pt x="789" y="506"/>
                </a:lnTo>
                <a:lnTo>
                  <a:pt x="779" y="527"/>
                </a:lnTo>
                <a:lnTo>
                  <a:pt x="769" y="537"/>
                </a:lnTo>
                <a:lnTo>
                  <a:pt x="749" y="557"/>
                </a:lnTo>
                <a:lnTo>
                  <a:pt x="718" y="587"/>
                </a:lnTo>
                <a:lnTo>
                  <a:pt x="708" y="597"/>
                </a:lnTo>
                <a:lnTo>
                  <a:pt x="698" y="608"/>
                </a:lnTo>
                <a:lnTo>
                  <a:pt x="688" y="638"/>
                </a:lnTo>
                <a:lnTo>
                  <a:pt x="657" y="658"/>
                </a:lnTo>
                <a:lnTo>
                  <a:pt x="647" y="658"/>
                </a:lnTo>
                <a:lnTo>
                  <a:pt x="647" y="668"/>
                </a:lnTo>
                <a:lnTo>
                  <a:pt x="637" y="668"/>
                </a:lnTo>
                <a:lnTo>
                  <a:pt x="617" y="689"/>
                </a:lnTo>
                <a:lnTo>
                  <a:pt x="607" y="699"/>
                </a:lnTo>
                <a:lnTo>
                  <a:pt x="597" y="709"/>
                </a:lnTo>
                <a:lnTo>
                  <a:pt x="556" y="729"/>
                </a:lnTo>
                <a:lnTo>
                  <a:pt x="536" y="739"/>
                </a:lnTo>
                <a:lnTo>
                  <a:pt x="506" y="770"/>
                </a:lnTo>
                <a:lnTo>
                  <a:pt x="485" y="790"/>
                </a:lnTo>
                <a:lnTo>
                  <a:pt x="465" y="800"/>
                </a:lnTo>
                <a:lnTo>
                  <a:pt x="455" y="820"/>
                </a:lnTo>
                <a:lnTo>
                  <a:pt x="445" y="841"/>
                </a:lnTo>
                <a:lnTo>
                  <a:pt x="425" y="861"/>
                </a:lnTo>
                <a:lnTo>
                  <a:pt x="384" y="891"/>
                </a:lnTo>
                <a:lnTo>
                  <a:pt x="374" y="901"/>
                </a:lnTo>
                <a:lnTo>
                  <a:pt x="364" y="911"/>
                </a:lnTo>
                <a:lnTo>
                  <a:pt x="354" y="922"/>
                </a:lnTo>
                <a:lnTo>
                  <a:pt x="354" y="932"/>
                </a:lnTo>
                <a:lnTo>
                  <a:pt x="334" y="942"/>
                </a:lnTo>
                <a:lnTo>
                  <a:pt x="313" y="962"/>
                </a:lnTo>
                <a:lnTo>
                  <a:pt x="303" y="972"/>
                </a:lnTo>
                <a:lnTo>
                  <a:pt x="293" y="993"/>
                </a:lnTo>
                <a:lnTo>
                  <a:pt x="273" y="1003"/>
                </a:lnTo>
                <a:lnTo>
                  <a:pt x="263" y="1023"/>
                </a:lnTo>
                <a:lnTo>
                  <a:pt x="243" y="1053"/>
                </a:lnTo>
                <a:lnTo>
                  <a:pt x="243" y="1063"/>
                </a:lnTo>
                <a:lnTo>
                  <a:pt x="243" y="1074"/>
                </a:lnTo>
                <a:lnTo>
                  <a:pt x="222" y="1084"/>
                </a:lnTo>
                <a:lnTo>
                  <a:pt x="202" y="1104"/>
                </a:lnTo>
                <a:lnTo>
                  <a:pt x="192" y="1114"/>
                </a:lnTo>
                <a:lnTo>
                  <a:pt x="182" y="1134"/>
                </a:lnTo>
                <a:lnTo>
                  <a:pt x="182" y="1144"/>
                </a:lnTo>
                <a:lnTo>
                  <a:pt x="172" y="1165"/>
                </a:lnTo>
                <a:lnTo>
                  <a:pt x="162" y="1185"/>
                </a:lnTo>
                <a:lnTo>
                  <a:pt x="152" y="1185"/>
                </a:lnTo>
                <a:lnTo>
                  <a:pt x="141" y="1195"/>
                </a:lnTo>
                <a:lnTo>
                  <a:pt x="141" y="1215"/>
                </a:lnTo>
                <a:lnTo>
                  <a:pt x="141" y="1226"/>
                </a:lnTo>
                <a:lnTo>
                  <a:pt x="141" y="1256"/>
                </a:lnTo>
                <a:lnTo>
                  <a:pt x="141" y="1266"/>
                </a:lnTo>
                <a:lnTo>
                  <a:pt x="141" y="1276"/>
                </a:lnTo>
                <a:lnTo>
                  <a:pt x="121" y="1286"/>
                </a:lnTo>
                <a:lnTo>
                  <a:pt x="111" y="1307"/>
                </a:lnTo>
                <a:lnTo>
                  <a:pt x="111" y="1317"/>
                </a:lnTo>
                <a:lnTo>
                  <a:pt x="101" y="1357"/>
                </a:lnTo>
                <a:lnTo>
                  <a:pt x="91" y="1398"/>
                </a:lnTo>
                <a:lnTo>
                  <a:pt x="91" y="1418"/>
                </a:lnTo>
                <a:lnTo>
                  <a:pt x="101" y="1428"/>
                </a:lnTo>
                <a:lnTo>
                  <a:pt x="101" y="1459"/>
                </a:lnTo>
                <a:lnTo>
                  <a:pt x="111" y="1479"/>
                </a:lnTo>
                <a:lnTo>
                  <a:pt x="121" y="1499"/>
                </a:lnTo>
                <a:lnTo>
                  <a:pt x="121" y="1519"/>
                </a:lnTo>
                <a:lnTo>
                  <a:pt x="131" y="1560"/>
                </a:lnTo>
                <a:lnTo>
                  <a:pt x="131" y="1580"/>
                </a:lnTo>
                <a:lnTo>
                  <a:pt x="131" y="1590"/>
                </a:lnTo>
                <a:lnTo>
                  <a:pt x="141" y="1600"/>
                </a:lnTo>
                <a:lnTo>
                  <a:pt x="141" y="1621"/>
                </a:lnTo>
                <a:lnTo>
                  <a:pt x="141" y="1631"/>
                </a:lnTo>
                <a:lnTo>
                  <a:pt x="152" y="1651"/>
                </a:lnTo>
                <a:lnTo>
                  <a:pt x="152" y="1661"/>
                </a:lnTo>
                <a:lnTo>
                  <a:pt x="162" y="1661"/>
                </a:lnTo>
                <a:lnTo>
                  <a:pt x="162" y="1671"/>
                </a:lnTo>
                <a:lnTo>
                  <a:pt x="162" y="1692"/>
                </a:lnTo>
                <a:lnTo>
                  <a:pt x="162" y="1712"/>
                </a:lnTo>
                <a:lnTo>
                  <a:pt x="162" y="1762"/>
                </a:lnTo>
                <a:lnTo>
                  <a:pt x="162" y="1783"/>
                </a:lnTo>
                <a:lnTo>
                  <a:pt x="162" y="1793"/>
                </a:lnTo>
                <a:lnTo>
                  <a:pt x="162" y="1803"/>
                </a:lnTo>
                <a:lnTo>
                  <a:pt x="141" y="1854"/>
                </a:lnTo>
                <a:lnTo>
                  <a:pt x="141" y="1874"/>
                </a:lnTo>
                <a:lnTo>
                  <a:pt x="131" y="1884"/>
                </a:lnTo>
                <a:lnTo>
                  <a:pt x="121" y="1904"/>
                </a:lnTo>
                <a:lnTo>
                  <a:pt x="131" y="1925"/>
                </a:lnTo>
                <a:lnTo>
                  <a:pt x="141" y="1945"/>
                </a:lnTo>
                <a:lnTo>
                  <a:pt x="141" y="1965"/>
                </a:lnTo>
                <a:lnTo>
                  <a:pt x="152" y="1985"/>
                </a:lnTo>
                <a:lnTo>
                  <a:pt x="152" y="2046"/>
                </a:lnTo>
                <a:lnTo>
                  <a:pt x="152" y="2066"/>
                </a:lnTo>
                <a:lnTo>
                  <a:pt x="152" y="2097"/>
                </a:lnTo>
                <a:lnTo>
                  <a:pt x="152" y="2107"/>
                </a:lnTo>
                <a:lnTo>
                  <a:pt x="162" y="2127"/>
                </a:lnTo>
                <a:lnTo>
                  <a:pt x="172" y="2147"/>
                </a:lnTo>
                <a:lnTo>
                  <a:pt x="182" y="2168"/>
                </a:lnTo>
                <a:lnTo>
                  <a:pt x="182" y="2178"/>
                </a:lnTo>
                <a:lnTo>
                  <a:pt x="182" y="2188"/>
                </a:lnTo>
                <a:lnTo>
                  <a:pt x="192" y="2198"/>
                </a:lnTo>
                <a:lnTo>
                  <a:pt x="192" y="2208"/>
                </a:lnTo>
                <a:lnTo>
                  <a:pt x="202" y="2239"/>
                </a:lnTo>
                <a:lnTo>
                  <a:pt x="202" y="2259"/>
                </a:lnTo>
                <a:lnTo>
                  <a:pt x="202" y="2269"/>
                </a:lnTo>
                <a:lnTo>
                  <a:pt x="202" y="2279"/>
                </a:lnTo>
                <a:lnTo>
                  <a:pt x="202" y="2289"/>
                </a:lnTo>
                <a:lnTo>
                  <a:pt x="222" y="2299"/>
                </a:lnTo>
                <a:lnTo>
                  <a:pt x="222" y="2309"/>
                </a:lnTo>
                <a:lnTo>
                  <a:pt x="233" y="2330"/>
                </a:lnTo>
                <a:lnTo>
                  <a:pt x="233" y="2350"/>
                </a:lnTo>
                <a:lnTo>
                  <a:pt x="243" y="2360"/>
                </a:lnTo>
                <a:lnTo>
                  <a:pt x="243" y="2370"/>
                </a:lnTo>
                <a:lnTo>
                  <a:pt x="263" y="2380"/>
                </a:lnTo>
                <a:lnTo>
                  <a:pt x="283" y="2391"/>
                </a:lnTo>
                <a:lnTo>
                  <a:pt x="293" y="2401"/>
                </a:lnTo>
                <a:lnTo>
                  <a:pt x="293" y="2411"/>
                </a:lnTo>
                <a:lnTo>
                  <a:pt x="293" y="2431"/>
                </a:lnTo>
                <a:lnTo>
                  <a:pt x="293" y="2441"/>
                </a:lnTo>
                <a:lnTo>
                  <a:pt x="293" y="2441"/>
                </a:lnTo>
                <a:lnTo>
                  <a:pt x="313" y="2472"/>
                </a:lnTo>
                <a:lnTo>
                  <a:pt x="313" y="2482"/>
                </a:lnTo>
                <a:lnTo>
                  <a:pt x="313" y="2492"/>
                </a:lnTo>
                <a:lnTo>
                  <a:pt x="313" y="2512"/>
                </a:lnTo>
                <a:lnTo>
                  <a:pt x="313" y="2532"/>
                </a:lnTo>
                <a:lnTo>
                  <a:pt x="313" y="2553"/>
                </a:lnTo>
                <a:lnTo>
                  <a:pt x="313" y="2563"/>
                </a:lnTo>
                <a:lnTo>
                  <a:pt x="313" y="2573"/>
                </a:lnTo>
                <a:lnTo>
                  <a:pt x="313" y="2573"/>
                </a:lnTo>
                <a:lnTo>
                  <a:pt x="324" y="2583"/>
                </a:lnTo>
                <a:lnTo>
                  <a:pt x="334" y="2583"/>
                </a:lnTo>
                <a:lnTo>
                  <a:pt x="334" y="2593"/>
                </a:lnTo>
                <a:lnTo>
                  <a:pt x="334" y="2603"/>
                </a:lnTo>
                <a:lnTo>
                  <a:pt x="344" y="2634"/>
                </a:lnTo>
                <a:lnTo>
                  <a:pt x="344" y="2654"/>
                </a:lnTo>
                <a:lnTo>
                  <a:pt x="354" y="2674"/>
                </a:lnTo>
                <a:lnTo>
                  <a:pt x="364" y="2684"/>
                </a:lnTo>
                <a:lnTo>
                  <a:pt x="384" y="2725"/>
                </a:lnTo>
                <a:lnTo>
                  <a:pt x="415" y="2755"/>
                </a:lnTo>
                <a:lnTo>
                  <a:pt x="435" y="2796"/>
                </a:lnTo>
                <a:lnTo>
                  <a:pt x="445" y="2806"/>
                </a:lnTo>
                <a:lnTo>
                  <a:pt x="455" y="2816"/>
                </a:lnTo>
                <a:lnTo>
                  <a:pt x="465" y="2826"/>
                </a:lnTo>
                <a:lnTo>
                  <a:pt x="475" y="2836"/>
                </a:lnTo>
                <a:lnTo>
                  <a:pt x="475" y="2846"/>
                </a:lnTo>
                <a:lnTo>
                  <a:pt x="475" y="2857"/>
                </a:lnTo>
                <a:lnTo>
                  <a:pt x="485" y="2857"/>
                </a:lnTo>
                <a:lnTo>
                  <a:pt x="496" y="2867"/>
                </a:lnTo>
                <a:lnTo>
                  <a:pt x="506" y="2867"/>
                </a:lnTo>
                <a:lnTo>
                  <a:pt x="526" y="2877"/>
                </a:lnTo>
                <a:lnTo>
                  <a:pt x="546" y="2887"/>
                </a:lnTo>
                <a:lnTo>
                  <a:pt x="556" y="2897"/>
                </a:lnTo>
                <a:lnTo>
                  <a:pt x="566" y="2897"/>
                </a:lnTo>
                <a:lnTo>
                  <a:pt x="577" y="2907"/>
                </a:lnTo>
                <a:lnTo>
                  <a:pt x="597" y="2917"/>
                </a:lnTo>
                <a:lnTo>
                  <a:pt x="607" y="2917"/>
                </a:lnTo>
                <a:lnTo>
                  <a:pt x="607" y="2927"/>
                </a:lnTo>
                <a:lnTo>
                  <a:pt x="627" y="2958"/>
                </a:lnTo>
                <a:lnTo>
                  <a:pt x="627" y="2968"/>
                </a:lnTo>
                <a:lnTo>
                  <a:pt x="627" y="2968"/>
                </a:lnTo>
                <a:lnTo>
                  <a:pt x="627" y="2968"/>
                </a:lnTo>
                <a:lnTo>
                  <a:pt x="637" y="2968"/>
                </a:lnTo>
                <a:lnTo>
                  <a:pt x="647" y="2968"/>
                </a:lnTo>
                <a:lnTo>
                  <a:pt x="647" y="2978"/>
                </a:lnTo>
                <a:lnTo>
                  <a:pt x="657" y="2978"/>
                </a:lnTo>
                <a:lnTo>
                  <a:pt x="657" y="2988"/>
                </a:lnTo>
                <a:lnTo>
                  <a:pt x="678" y="3039"/>
                </a:lnTo>
                <a:lnTo>
                  <a:pt x="688" y="3049"/>
                </a:lnTo>
                <a:lnTo>
                  <a:pt x="698" y="3069"/>
                </a:lnTo>
                <a:lnTo>
                  <a:pt x="708" y="3069"/>
                </a:lnTo>
                <a:lnTo>
                  <a:pt x="718" y="3069"/>
                </a:lnTo>
                <a:lnTo>
                  <a:pt x="728" y="3079"/>
                </a:lnTo>
                <a:lnTo>
                  <a:pt x="728" y="3079"/>
                </a:lnTo>
                <a:lnTo>
                  <a:pt x="749" y="3090"/>
                </a:lnTo>
                <a:lnTo>
                  <a:pt x="759" y="3090"/>
                </a:lnTo>
                <a:lnTo>
                  <a:pt x="769" y="3100"/>
                </a:lnTo>
                <a:lnTo>
                  <a:pt x="779" y="3100"/>
                </a:lnTo>
                <a:lnTo>
                  <a:pt x="789" y="3100"/>
                </a:lnTo>
                <a:lnTo>
                  <a:pt x="799" y="3100"/>
                </a:lnTo>
                <a:lnTo>
                  <a:pt x="809" y="3120"/>
                </a:lnTo>
                <a:lnTo>
                  <a:pt x="819" y="3130"/>
                </a:lnTo>
                <a:lnTo>
                  <a:pt x="830" y="3150"/>
                </a:lnTo>
                <a:lnTo>
                  <a:pt x="840" y="3150"/>
                </a:lnTo>
                <a:lnTo>
                  <a:pt x="840" y="3160"/>
                </a:lnTo>
                <a:lnTo>
                  <a:pt x="850" y="3171"/>
                </a:lnTo>
                <a:lnTo>
                  <a:pt x="860" y="3171"/>
                </a:lnTo>
                <a:lnTo>
                  <a:pt x="860" y="3191"/>
                </a:lnTo>
                <a:lnTo>
                  <a:pt x="860" y="3201"/>
                </a:lnTo>
                <a:lnTo>
                  <a:pt x="860" y="3211"/>
                </a:lnTo>
                <a:lnTo>
                  <a:pt x="850" y="3231"/>
                </a:lnTo>
                <a:lnTo>
                  <a:pt x="840" y="3252"/>
                </a:lnTo>
                <a:lnTo>
                  <a:pt x="830" y="3262"/>
                </a:lnTo>
                <a:lnTo>
                  <a:pt x="830" y="3272"/>
                </a:lnTo>
                <a:lnTo>
                  <a:pt x="830" y="3292"/>
                </a:lnTo>
                <a:lnTo>
                  <a:pt x="830" y="3302"/>
                </a:lnTo>
                <a:lnTo>
                  <a:pt x="830" y="3322"/>
                </a:lnTo>
                <a:lnTo>
                  <a:pt x="819" y="3322"/>
                </a:lnTo>
                <a:lnTo>
                  <a:pt x="819" y="3333"/>
                </a:lnTo>
                <a:lnTo>
                  <a:pt x="830" y="3343"/>
                </a:lnTo>
                <a:lnTo>
                  <a:pt x="830" y="3353"/>
                </a:lnTo>
                <a:lnTo>
                  <a:pt x="830" y="3363"/>
                </a:lnTo>
                <a:lnTo>
                  <a:pt x="830" y="3373"/>
                </a:lnTo>
                <a:lnTo>
                  <a:pt x="819" y="3383"/>
                </a:lnTo>
                <a:lnTo>
                  <a:pt x="809" y="3393"/>
                </a:lnTo>
                <a:lnTo>
                  <a:pt x="809" y="3404"/>
                </a:lnTo>
                <a:lnTo>
                  <a:pt x="809" y="3414"/>
                </a:lnTo>
                <a:lnTo>
                  <a:pt x="809" y="3424"/>
                </a:lnTo>
                <a:lnTo>
                  <a:pt x="819" y="3434"/>
                </a:lnTo>
                <a:lnTo>
                  <a:pt x="819" y="3434"/>
                </a:lnTo>
                <a:lnTo>
                  <a:pt x="809" y="3444"/>
                </a:lnTo>
                <a:lnTo>
                  <a:pt x="809" y="3454"/>
                </a:lnTo>
                <a:lnTo>
                  <a:pt x="799" y="3464"/>
                </a:lnTo>
                <a:lnTo>
                  <a:pt x="799" y="3474"/>
                </a:lnTo>
                <a:lnTo>
                  <a:pt x="799" y="3495"/>
                </a:lnTo>
                <a:lnTo>
                  <a:pt x="799" y="3495"/>
                </a:lnTo>
                <a:lnTo>
                  <a:pt x="789" y="3505"/>
                </a:lnTo>
                <a:lnTo>
                  <a:pt x="789" y="3505"/>
                </a:lnTo>
                <a:lnTo>
                  <a:pt x="779" y="3515"/>
                </a:lnTo>
                <a:lnTo>
                  <a:pt x="769" y="3515"/>
                </a:lnTo>
                <a:lnTo>
                  <a:pt x="759" y="3515"/>
                </a:lnTo>
                <a:lnTo>
                  <a:pt x="759" y="3525"/>
                </a:lnTo>
                <a:lnTo>
                  <a:pt x="759" y="3535"/>
                </a:lnTo>
                <a:lnTo>
                  <a:pt x="749" y="3545"/>
                </a:lnTo>
                <a:lnTo>
                  <a:pt x="749" y="3566"/>
                </a:lnTo>
                <a:lnTo>
                  <a:pt x="749" y="3576"/>
                </a:lnTo>
                <a:lnTo>
                  <a:pt x="738" y="3596"/>
                </a:lnTo>
                <a:lnTo>
                  <a:pt x="738" y="3606"/>
                </a:lnTo>
                <a:lnTo>
                  <a:pt x="738" y="3616"/>
                </a:lnTo>
                <a:lnTo>
                  <a:pt x="738" y="3626"/>
                </a:lnTo>
                <a:lnTo>
                  <a:pt x="728" y="3637"/>
                </a:lnTo>
                <a:lnTo>
                  <a:pt x="718" y="3637"/>
                </a:lnTo>
                <a:lnTo>
                  <a:pt x="708" y="3647"/>
                </a:lnTo>
                <a:lnTo>
                  <a:pt x="688" y="3657"/>
                </a:lnTo>
                <a:lnTo>
                  <a:pt x="678" y="3657"/>
                </a:lnTo>
                <a:lnTo>
                  <a:pt x="678" y="3667"/>
                </a:lnTo>
                <a:lnTo>
                  <a:pt x="678" y="3677"/>
                </a:lnTo>
                <a:lnTo>
                  <a:pt x="678" y="3697"/>
                </a:lnTo>
                <a:lnTo>
                  <a:pt x="678" y="3707"/>
                </a:lnTo>
                <a:lnTo>
                  <a:pt x="668" y="3718"/>
                </a:lnTo>
                <a:lnTo>
                  <a:pt x="657" y="3718"/>
                </a:lnTo>
                <a:lnTo>
                  <a:pt x="657" y="3718"/>
                </a:lnTo>
                <a:lnTo>
                  <a:pt x="647" y="3728"/>
                </a:lnTo>
                <a:lnTo>
                  <a:pt x="617" y="3748"/>
                </a:lnTo>
                <a:lnTo>
                  <a:pt x="607" y="3758"/>
                </a:lnTo>
                <a:lnTo>
                  <a:pt x="607" y="3768"/>
                </a:lnTo>
                <a:lnTo>
                  <a:pt x="577" y="3788"/>
                </a:lnTo>
                <a:lnTo>
                  <a:pt x="566" y="3788"/>
                </a:lnTo>
                <a:lnTo>
                  <a:pt x="566" y="3799"/>
                </a:lnTo>
                <a:lnTo>
                  <a:pt x="566" y="3809"/>
                </a:lnTo>
                <a:lnTo>
                  <a:pt x="566" y="3829"/>
                </a:lnTo>
                <a:lnTo>
                  <a:pt x="566" y="3839"/>
                </a:lnTo>
                <a:lnTo>
                  <a:pt x="556" y="3839"/>
                </a:lnTo>
                <a:lnTo>
                  <a:pt x="546" y="3849"/>
                </a:lnTo>
                <a:lnTo>
                  <a:pt x="546" y="3859"/>
                </a:lnTo>
                <a:lnTo>
                  <a:pt x="546" y="3870"/>
                </a:lnTo>
                <a:lnTo>
                  <a:pt x="546" y="3870"/>
                </a:lnTo>
                <a:lnTo>
                  <a:pt x="546" y="3880"/>
                </a:lnTo>
                <a:lnTo>
                  <a:pt x="546" y="3880"/>
                </a:lnTo>
                <a:lnTo>
                  <a:pt x="546" y="3890"/>
                </a:lnTo>
                <a:lnTo>
                  <a:pt x="546" y="3890"/>
                </a:lnTo>
                <a:lnTo>
                  <a:pt x="546" y="3900"/>
                </a:lnTo>
                <a:lnTo>
                  <a:pt x="546" y="3910"/>
                </a:lnTo>
                <a:lnTo>
                  <a:pt x="556" y="3920"/>
                </a:lnTo>
                <a:lnTo>
                  <a:pt x="566" y="3930"/>
                </a:lnTo>
                <a:lnTo>
                  <a:pt x="566" y="3940"/>
                </a:lnTo>
                <a:lnTo>
                  <a:pt x="577" y="3951"/>
                </a:lnTo>
                <a:lnTo>
                  <a:pt x="566" y="3951"/>
                </a:lnTo>
                <a:lnTo>
                  <a:pt x="566" y="3951"/>
                </a:lnTo>
                <a:lnTo>
                  <a:pt x="556" y="3961"/>
                </a:lnTo>
                <a:lnTo>
                  <a:pt x="546" y="3971"/>
                </a:lnTo>
                <a:lnTo>
                  <a:pt x="546" y="3971"/>
                </a:lnTo>
                <a:lnTo>
                  <a:pt x="556" y="3971"/>
                </a:lnTo>
                <a:lnTo>
                  <a:pt x="556" y="4001"/>
                </a:lnTo>
                <a:lnTo>
                  <a:pt x="556" y="4021"/>
                </a:lnTo>
                <a:lnTo>
                  <a:pt x="566" y="4032"/>
                </a:lnTo>
                <a:lnTo>
                  <a:pt x="577" y="4042"/>
                </a:lnTo>
                <a:lnTo>
                  <a:pt x="587" y="4052"/>
                </a:lnTo>
                <a:lnTo>
                  <a:pt x="587" y="4062"/>
                </a:lnTo>
                <a:lnTo>
                  <a:pt x="587" y="4072"/>
                </a:lnTo>
                <a:lnTo>
                  <a:pt x="587" y="4072"/>
                </a:lnTo>
                <a:lnTo>
                  <a:pt x="587" y="4082"/>
                </a:lnTo>
                <a:lnTo>
                  <a:pt x="597" y="4092"/>
                </a:lnTo>
                <a:lnTo>
                  <a:pt x="597" y="4103"/>
                </a:lnTo>
                <a:lnTo>
                  <a:pt x="597" y="4103"/>
                </a:lnTo>
                <a:lnTo>
                  <a:pt x="597" y="4113"/>
                </a:lnTo>
                <a:lnTo>
                  <a:pt x="597" y="4123"/>
                </a:lnTo>
                <a:lnTo>
                  <a:pt x="597" y="4123"/>
                </a:lnTo>
                <a:lnTo>
                  <a:pt x="587" y="4133"/>
                </a:lnTo>
                <a:lnTo>
                  <a:pt x="577" y="4143"/>
                </a:lnTo>
                <a:lnTo>
                  <a:pt x="587" y="4153"/>
                </a:lnTo>
                <a:lnTo>
                  <a:pt x="587" y="4163"/>
                </a:lnTo>
                <a:lnTo>
                  <a:pt x="597" y="4173"/>
                </a:lnTo>
                <a:lnTo>
                  <a:pt x="597" y="4184"/>
                </a:lnTo>
                <a:lnTo>
                  <a:pt x="597" y="4184"/>
                </a:lnTo>
                <a:lnTo>
                  <a:pt x="587" y="4194"/>
                </a:lnTo>
                <a:lnTo>
                  <a:pt x="577" y="4204"/>
                </a:lnTo>
                <a:lnTo>
                  <a:pt x="577" y="4224"/>
                </a:lnTo>
                <a:lnTo>
                  <a:pt x="577" y="4244"/>
                </a:lnTo>
                <a:lnTo>
                  <a:pt x="577" y="4275"/>
                </a:lnTo>
                <a:lnTo>
                  <a:pt x="577" y="4285"/>
                </a:lnTo>
                <a:lnTo>
                  <a:pt x="566" y="4305"/>
                </a:lnTo>
                <a:lnTo>
                  <a:pt x="556" y="4325"/>
                </a:lnTo>
                <a:lnTo>
                  <a:pt x="546" y="4336"/>
                </a:lnTo>
                <a:lnTo>
                  <a:pt x="546" y="4346"/>
                </a:lnTo>
                <a:lnTo>
                  <a:pt x="546" y="4356"/>
                </a:lnTo>
                <a:lnTo>
                  <a:pt x="536" y="4376"/>
                </a:lnTo>
                <a:lnTo>
                  <a:pt x="526" y="4396"/>
                </a:lnTo>
                <a:lnTo>
                  <a:pt x="506" y="4406"/>
                </a:lnTo>
                <a:lnTo>
                  <a:pt x="485" y="4447"/>
                </a:lnTo>
                <a:lnTo>
                  <a:pt x="465" y="4477"/>
                </a:lnTo>
                <a:lnTo>
                  <a:pt x="445" y="4518"/>
                </a:lnTo>
                <a:lnTo>
                  <a:pt x="415" y="4548"/>
                </a:lnTo>
                <a:lnTo>
                  <a:pt x="415" y="4558"/>
                </a:lnTo>
                <a:lnTo>
                  <a:pt x="405" y="4569"/>
                </a:lnTo>
                <a:lnTo>
                  <a:pt x="405" y="4579"/>
                </a:lnTo>
                <a:lnTo>
                  <a:pt x="405" y="4589"/>
                </a:lnTo>
                <a:lnTo>
                  <a:pt x="394" y="4619"/>
                </a:lnTo>
                <a:lnTo>
                  <a:pt x="384" y="4660"/>
                </a:lnTo>
                <a:lnTo>
                  <a:pt x="374" y="4690"/>
                </a:lnTo>
                <a:lnTo>
                  <a:pt x="364" y="4710"/>
                </a:lnTo>
                <a:lnTo>
                  <a:pt x="354" y="4720"/>
                </a:lnTo>
                <a:lnTo>
                  <a:pt x="354" y="4731"/>
                </a:lnTo>
                <a:lnTo>
                  <a:pt x="354" y="4751"/>
                </a:lnTo>
                <a:lnTo>
                  <a:pt x="354" y="4771"/>
                </a:lnTo>
                <a:lnTo>
                  <a:pt x="344" y="4791"/>
                </a:lnTo>
                <a:lnTo>
                  <a:pt x="334" y="4802"/>
                </a:lnTo>
                <a:lnTo>
                  <a:pt x="313" y="4812"/>
                </a:lnTo>
                <a:lnTo>
                  <a:pt x="303" y="4822"/>
                </a:lnTo>
                <a:lnTo>
                  <a:pt x="293" y="4842"/>
                </a:lnTo>
                <a:lnTo>
                  <a:pt x="293" y="4842"/>
                </a:lnTo>
                <a:lnTo>
                  <a:pt x="283" y="4852"/>
                </a:lnTo>
                <a:lnTo>
                  <a:pt x="263" y="4862"/>
                </a:lnTo>
                <a:lnTo>
                  <a:pt x="243" y="4872"/>
                </a:lnTo>
                <a:lnTo>
                  <a:pt x="233" y="4883"/>
                </a:lnTo>
                <a:lnTo>
                  <a:pt x="222" y="4893"/>
                </a:lnTo>
                <a:lnTo>
                  <a:pt x="212" y="4903"/>
                </a:lnTo>
                <a:lnTo>
                  <a:pt x="202" y="4913"/>
                </a:lnTo>
                <a:lnTo>
                  <a:pt x="192" y="4933"/>
                </a:lnTo>
                <a:lnTo>
                  <a:pt x="182" y="4953"/>
                </a:lnTo>
                <a:lnTo>
                  <a:pt x="162" y="4964"/>
                </a:lnTo>
                <a:lnTo>
                  <a:pt x="162" y="4964"/>
                </a:lnTo>
                <a:lnTo>
                  <a:pt x="141" y="4994"/>
                </a:lnTo>
                <a:lnTo>
                  <a:pt x="141" y="5004"/>
                </a:lnTo>
                <a:lnTo>
                  <a:pt x="141" y="5014"/>
                </a:lnTo>
                <a:lnTo>
                  <a:pt x="141" y="5014"/>
                </a:lnTo>
                <a:lnTo>
                  <a:pt x="131" y="5024"/>
                </a:lnTo>
                <a:lnTo>
                  <a:pt x="101" y="5035"/>
                </a:lnTo>
                <a:lnTo>
                  <a:pt x="81" y="5045"/>
                </a:lnTo>
                <a:lnTo>
                  <a:pt x="71" y="5055"/>
                </a:lnTo>
                <a:lnTo>
                  <a:pt x="60" y="5065"/>
                </a:lnTo>
                <a:lnTo>
                  <a:pt x="50" y="5075"/>
                </a:lnTo>
                <a:lnTo>
                  <a:pt x="50" y="5085"/>
                </a:lnTo>
                <a:lnTo>
                  <a:pt x="30" y="5095"/>
                </a:lnTo>
                <a:lnTo>
                  <a:pt x="10" y="5105"/>
                </a:lnTo>
                <a:lnTo>
                  <a:pt x="0" y="5116"/>
                </a:lnTo>
                <a:lnTo>
                  <a:pt x="0" y="5126"/>
                </a:lnTo>
                <a:lnTo>
                  <a:pt x="0" y="5136"/>
                </a:lnTo>
                <a:lnTo>
                  <a:pt x="0" y="5146"/>
                </a:lnTo>
                <a:lnTo>
                  <a:pt x="0" y="5156"/>
                </a:lnTo>
                <a:lnTo>
                  <a:pt x="0" y="5156"/>
                </a:lnTo>
                <a:lnTo>
                  <a:pt x="0" y="5166"/>
                </a:lnTo>
                <a:lnTo>
                  <a:pt x="0" y="5176"/>
                </a:lnTo>
                <a:lnTo>
                  <a:pt x="20" y="5186"/>
                </a:lnTo>
                <a:lnTo>
                  <a:pt x="30" y="5197"/>
                </a:lnTo>
                <a:lnTo>
                  <a:pt x="50" y="5197"/>
                </a:lnTo>
                <a:lnTo>
                  <a:pt x="91" y="5197"/>
                </a:lnTo>
                <a:lnTo>
                  <a:pt x="121" y="5207"/>
                </a:lnTo>
                <a:lnTo>
                  <a:pt x="121" y="5207"/>
                </a:lnTo>
                <a:lnTo>
                  <a:pt x="121" y="5207"/>
                </a:lnTo>
                <a:lnTo>
                  <a:pt x="141" y="5217"/>
                </a:lnTo>
                <a:lnTo>
                  <a:pt x="152" y="5217"/>
                </a:lnTo>
                <a:lnTo>
                  <a:pt x="182" y="5217"/>
                </a:lnTo>
                <a:lnTo>
                  <a:pt x="233" y="5207"/>
                </a:lnTo>
                <a:lnTo>
                  <a:pt x="263" y="5197"/>
                </a:lnTo>
                <a:lnTo>
                  <a:pt x="293" y="5197"/>
                </a:lnTo>
                <a:lnTo>
                  <a:pt x="313" y="5197"/>
                </a:lnTo>
                <a:lnTo>
                  <a:pt x="313" y="5207"/>
                </a:lnTo>
                <a:lnTo>
                  <a:pt x="334" y="5217"/>
                </a:lnTo>
                <a:lnTo>
                  <a:pt x="344" y="5217"/>
                </a:lnTo>
                <a:lnTo>
                  <a:pt x="354" y="5227"/>
                </a:lnTo>
                <a:lnTo>
                  <a:pt x="374" y="5237"/>
                </a:lnTo>
                <a:lnTo>
                  <a:pt x="374" y="5247"/>
                </a:lnTo>
                <a:lnTo>
                  <a:pt x="384" y="5268"/>
                </a:lnTo>
                <a:lnTo>
                  <a:pt x="394" y="5278"/>
                </a:lnTo>
                <a:lnTo>
                  <a:pt x="405" y="5278"/>
                </a:lnTo>
                <a:lnTo>
                  <a:pt x="415" y="5278"/>
                </a:lnTo>
                <a:lnTo>
                  <a:pt x="435" y="5278"/>
                </a:lnTo>
                <a:lnTo>
                  <a:pt x="445" y="5278"/>
                </a:lnTo>
                <a:lnTo>
                  <a:pt x="455" y="5268"/>
                </a:lnTo>
                <a:lnTo>
                  <a:pt x="506" y="5268"/>
                </a:lnTo>
                <a:lnTo>
                  <a:pt x="526" y="5268"/>
                </a:lnTo>
                <a:lnTo>
                  <a:pt x="536" y="5278"/>
                </a:lnTo>
                <a:lnTo>
                  <a:pt x="556" y="5278"/>
                </a:lnTo>
                <a:lnTo>
                  <a:pt x="566" y="5278"/>
                </a:lnTo>
                <a:lnTo>
                  <a:pt x="577" y="5278"/>
                </a:lnTo>
                <a:lnTo>
                  <a:pt x="587" y="5278"/>
                </a:lnTo>
                <a:lnTo>
                  <a:pt x="587" y="5288"/>
                </a:lnTo>
                <a:lnTo>
                  <a:pt x="597" y="5288"/>
                </a:lnTo>
                <a:lnTo>
                  <a:pt x="607" y="5298"/>
                </a:lnTo>
                <a:lnTo>
                  <a:pt x="637" y="5298"/>
                </a:lnTo>
                <a:lnTo>
                  <a:pt x="647" y="5308"/>
                </a:lnTo>
                <a:lnTo>
                  <a:pt x="668" y="5318"/>
                </a:lnTo>
                <a:lnTo>
                  <a:pt x="678" y="5338"/>
                </a:lnTo>
                <a:lnTo>
                  <a:pt x="688" y="5338"/>
                </a:lnTo>
                <a:lnTo>
                  <a:pt x="698" y="5349"/>
                </a:lnTo>
                <a:lnTo>
                  <a:pt x="708" y="5349"/>
                </a:lnTo>
                <a:lnTo>
                  <a:pt x="718" y="5349"/>
                </a:lnTo>
                <a:lnTo>
                  <a:pt x="738" y="5338"/>
                </a:lnTo>
                <a:lnTo>
                  <a:pt x="738" y="5338"/>
                </a:lnTo>
                <a:lnTo>
                  <a:pt x="749" y="5328"/>
                </a:lnTo>
                <a:lnTo>
                  <a:pt x="749" y="5318"/>
                </a:lnTo>
                <a:lnTo>
                  <a:pt x="749" y="5318"/>
                </a:lnTo>
                <a:lnTo>
                  <a:pt x="759" y="5308"/>
                </a:lnTo>
                <a:lnTo>
                  <a:pt x="769" y="5308"/>
                </a:lnTo>
                <a:lnTo>
                  <a:pt x="769" y="5298"/>
                </a:lnTo>
                <a:lnTo>
                  <a:pt x="779" y="5288"/>
                </a:lnTo>
                <a:lnTo>
                  <a:pt x="789" y="5288"/>
                </a:lnTo>
                <a:lnTo>
                  <a:pt x="799" y="5278"/>
                </a:lnTo>
                <a:lnTo>
                  <a:pt x="809" y="5268"/>
                </a:lnTo>
                <a:lnTo>
                  <a:pt x="819" y="5268"/>
                </a:lnTo>
                <a:lnTo>
                  <a:pt x="819" y="5257"/>
                </a:lnTo>
                <a:lnTo>
                  <a:pt x="840" y="5237"/>
                </a:lnTo>
                <a:lnTo>
                  <a:pt x="850" y="5227"/>
                </a:lnTo>
                <a:lnTo>
                  <a:pt x="860" y="5227"/>
                </a:lnTo>
                <a:lnTo>
                  <a:pt x="870" y="5217"/>
                </a:lnTo>
                <a:lnTo>
                  <a:pt x="890" y="5207"/>
                </a:lnTo>
                <a:lnTo>
                  <a:pt x="900" y="5207"/>
                </a:lnTo>
                <a:lnTo>
                  <a:pt x="921" y="5207"/>
                </a:lnTo>
                <a:lnTo>
                  <a:pt x="941" y="5197"/>
                </a:lnTo>
                <a:lnTo>
                  <a:pt x="961" y="5186"/>
                </a:lnTo>
                <a:lnTo>
                  <a:pt x="971" y="5186"/>
                </a:lnTo>
                <a:lnTo>
                  <a:pt x="971" y="5176"/>
                </a:lnTo>
                <a:lnTo>
                  <a:pt x="991" y="5166"/>
                </a:lnTo>
                <a:lnTo>
                  <a:pt x="991" y="5166"/>
                </a:lnTo>
                <a:lnTo>
                  <a:pt x="991" y="5156"/>
                </a:lnTo>
                <a:lnTo>
                  <a:pt x="1002" y="5126"/>
                </a:lnTo>
                <a:lnTo>
                  <a:pt x="1002" y="5116"/>
                </a:lnTo>
                <a:lnTo>
                  <a:pt x="1012" y="5105"/>
                </a:lnTo>
                <a:lnTo>
                  <a:pt x="1032" y="5095"/>
                </a:lnTo>
                <a:lnTo>
                  <a:pt x="1052" y="5085"/>
                </a:lnTo>
                <a:lnTo>
                  <a:pt x="1072" y="5075"/>
                </a:lnTo>
                <a:lnTo>
                  <a:pt x="1093" y="5065"/>
                </a:lnTo>
                <a:lnTo>
                  <a:pt x="1113" y="5065"/>
                </a:lnTo>
                <a:lnTo>
                  <a:pt x="1113" y="5055"/>
                </a:lnTo>
                <a:lnTo>
                  <a:pt x="1123" y="5045"/>
                </a:lnTo>
                <a:lnTo>
                  <a:pt x="1123" y="5035"/>
                </a:lnTo>
                <a:lnTo>
                  <a:pt x="1133" y="5035"/>
                </a:lnTo>
                <a:lnTo>
                  <a:pt x="1143" y="5024"/>
                </a:lnTo>
                <a:lnTo>
                  <a:pt x="1143" y="5024"/>
                </a:lnTo>
                <a:lnTo>
                  <a:pt x="1153" y="5024"/>
                </a:lnTo>
                <a:lnTo>
                  <a:pt x="1163" y="5024"/>
                </a:lnTo>
                <a:lnTo>
                  <a:pt x="1163" y="5024"/>
                </a:lnTo>
                <a:lnTo>
                  <a:pt x="1174" y="5014"/>
                </a:lnTo>
                <a:lnTo>
                  <a:pt x="1184" y="5004"/>
                </a:lnTo>
                <a:lnTo>
                  <a:pt x="1194" y="5004"/>
                </a:lnTo>
                <a:lnTo>
                  <a:pt x="1204" y="5004"/>
                </a:lnTo>
                <a:lnTo>
                  <a:pt x="1224" y="5004"/>
                </a:lnTo>
                <a:lnTo>
                  <a:pt x="1234" y="5004"/>
                </a:lnTo>
                <a:lnTo>
                  <a:pt x="1234" y="5004"/>
                </a:lnTo>
                <a:lnTo>
                  <a:pt x="1244" y="5014"/>
                </a:lnTo>
                <a:lnTo>
                  <a:pt x="1255" y="5014"/>
                </a:lnTo>
                <a:lnTo>
                  <a:pt x="1265" y="5035"/>
                </a:lnTo>
                <a:lnTo>
                  <a:pt x="1275" y="5045"/>
                </a:lnTo>
                <a:lnTo>
                  <a:pt x="1295" y="5045"/>
                </a:lnTo>
                <a:lnTo>
                  <a:pt x="1295" y="5055"/>
                </a:lnTo>
                <a:lnTo>
                  <a:pt x="1305" y="5055"/>
                </a:lnTo>
                <a:lnTo>
                  <a:pt x="1305" y="5065"/>
                </a:lnTo>
                <a:lnTo>
                  <a:pt x="1305" y="5075"/>
                </a:lnTo>
                <a:lnTo>
                  <a:pt x="1315" y="5075"/>
                </a:lnTo>
                <a:lnTo>
                  <a:pt x="1315" y="5075"/>
                </a:lnTo>
                <a:lnTo>
                  <a:pt x="1325" y="5075"/>
                </a:lnTo>
                <a:lnTo>
                  <a:pt x="1346" y="5075"/>
                </a:lnTo>
                <a:lnTo>
                  <a:pt x="1376" y="5075"/>
                </a:lnTo>
                <a:lnTo>
                  <a:pt x="1396" y="5075"/>
                </a:lnTo>
                <a:lnTo>
                  <a:pt x="1406" y="5075"/>
                </a:lnTo>
                <a:lnTo>
                  <a:pt x="1427" y="5075"/>
                </a:lnTo>
                <a:lnTo>
                  <a:pt x="1437" y="5085"/>
                </a:lnTo>
                <a:lnTo>
                  <a:pt x="1457" y="5085"/>
                </a:lnTo>
                <a:lnTo>
                  <a:pt x="1477" y="5085"/>
                </a:lnTo>
                <a:lnTo>
                  <a:pt x="1497" y="5095"/>
                </a:lnTo>
                <a:lnTo>
                  <a:pt x="1507" y="5095"/>
                </a:lnTo>
                <a:lnTo>
                  <a:pt x="1518" y="5105"/>
                </a:lnTo>
                <a:lnTo>
                  <a:pt x="1538" y="5105"/>
                </a:lnTo>
                <a:lnTo>
                  <a:pt x="1558" y="5105"/>
                </a:lnTo>
                <a:lnTo>
                  <a:pt x="1578" y="5105"/>
                </a:lnTo>
                <a:lnTo>
                  <a:pt x="1588" y="5105"/>
                </a:lnTo>
                <a:lnTo>
                  <a:pt x="1599" y="5105"/>
                </a:lnTo>
                <a:lnTo>
                  <a:pt x="1609" y="5095"/>
                </a:lnTo>
                <a:lnTo>
                  <a:pt x="1619" y="5095"/>
                </a:lnTo>
                <a:lnTo>
                  <a:pt x="1629" y="5095"/>
                </a:lnTo>
                <a:lnTo>
                  <a:pt x="1629" y="5095"/>
                </a:lnTo>
                <a:lnTo>
                  <a:pt x="1649" y="5105"/>
                </a:lnTo>
                <a:lnTo>
                  <a:pt x="1659" y="5116"/>
                </a:lnTo>
                <a:lnTo>
                  <a:pt x="1669" y="5116"/>
                </a:lnTo>
                <a:lnTo>
                  <a:pt x="1690" y="5116"/>
                </a:lnTo>
                <a:lnTo>
                  <a:pt x="1720" y="5105"/>
                </a:lnTo>
                <a:lnTo>
                  <a:pt x="1740" y="5105"/>
                </a:lnTo>
                <a:lnTo>
                  <a:pt x="1760" y="5095"/>
                </a:lnTo>
                <a:lnTo>
                  <a:pt x="1781" y="5085"/>
                </a:lnTo>
                <a:lnTo>
                  <a:pt x="1801" y="5075"/>
                </a:lnTo>
                <a:lnTo>
                  <a:pt x="1811" y="5075"/>
                </a:lnTo>
                <a:lnTo>
                  <a:pt x="1831" y="5065"/>
                </a:lnTo>
                <a:lnTo>
                  <a:pt x="1841" y="5065"/>
                </a:lnTo>
                <a:lnTo>
                  <a:pt x="1872" y="5045"/>
                </a:lnTo>
                <a:lnTo>
                  <a:pt x="1902" y="5035"/>
                </a:lnTo>
                <a:lnTo>
                  <a:pt x="1922" y="5024"/>
                </a:lnTo>
                <a:lnTo>
                  <a:pt x="1932" y="5024"/>
                </a:lnTo>
                <a:lnTo>
                  <a:pt x="1943" y="5024"/>
                </a:lnTo>
                <a:lnTo>
                  <a:pt x="1963" y="5035"/>
                </a:lnTo>
                <a:lnTo>
                  <a:pt x="1973" y="5035"/>
                </a:lnTo>
                <a:lnTo>
                  <a:pt x="1993" y="5045"/>
                </a:lnTo>
                <a:lnTo>
                  <a:pt x="2013" y="5055"/>
                </a:lnTo>
                <a:lnTo>
                  <a:pt x="2034" y="5055"/>
                </a:lnTo>
                <a:lnTo>
                  <a:pt x="2044" y="5045"/>
                </a:lnTo>
                <a:lnTo>
                  <a:pt x="2054" y="5055"/>
                </a:lnTo>
                <a:lnTo>
                  <a:pt x="2054" y="5055"/>
                </a:lnTo>
                <a:lnTo>
                  <a:pt x="2074" y="5065"/>
                </a:lnTo>
                <a:lnTo>
                  <a:pt x="2074" y="5075"/>
                </a:lnTo>
                <a:lnTo>
                  <a:pt x="2074" y="5095"/>
                </a:lnTo>
                <a:lnTo>
                  <a:pt x="2074" y="5105"/>
                </a:lnTo>
                <a:lnTo>
                  <a:pt x="2064" y="5116"/>
                </a:lnTo>
                <a:lnTo>
                  <a:pt x="2044" y="5136"/>
                </a:lnTo>
                <a:lnTo>
                  <a:pt x="2044" y="5146"/>
                </a:lnTo>
                <a:lnTo>
                  <a:pt x="2044" y="5156"/>
                </a:lnTo>
                <a:lnTo>
                  <a:pt x="2044" y="5166"/>
                </a:lnTo>
                <a:lnTo>
                  <a:pt x="2054" y="5176"/>
                </a:lnTo>
                <a:lnTo>
                  <a:pt x="2054" y="5186"/>
                </a:lnTo>
                <a:lnTo>
                  <a:pt x="2054" y="5197"/>
                </a:lnTo>
                <a:lnTo>
                  <a:pt x="2054" y="5197"/>
                </a:lnTo>
                <a:lnTo>
                  <a:pt x="2064" y="5207"/>
                </a:lnTo>
                <a:lnTo>
                  <a:pt x="2074" y="5207"/>
                </a:lnTo>
                <a:lnTo>
                  <a:pt x="2084" y="5197"/>
                </a:lnTo>
                <a:lnTo>
                  <a:pt x="2094" y="5197"/>
                </a:lnTo>
                <a:lnTo>
                  <a:pt x="2125" y="5186"/>
                </a:lnTo>
                <a:lnTo>
                  <a:pt x="2175" y="5176"/>
                </a:lnTo>
                <a:lnTo>
                  <a:pt x="2196" y="5166"/>
                </a:lnTo>
                <a:lnTo>
                  <a:pt x="2226" y="5166"/>
                </a:lnTo>
                <a:lnTo>
                  <a:pt x="2256" y="5176"/>
                </a:lnTo>
                <a:lnTo>
                  <a:pt x="2277" y="5166"/>
                </a:lnTo>
                <a:lnTo>
                  <a:pt x="2287" y="5166"/>
                </a:lnTo>
                <a:lnTo>
                  <a:pt x="2297" y="5176"/>
                </a:lnTo>
                <a:lnTo>
                  <a:pt x="2307" y="5176"/>
                </a:lnTo>
                <a:lnTo>
                  <a:pt x="2327" y="5186"/>
                </a:lnTo>
                <a:lnTo>
                  <a:pt x="2337" y="5197"/>
                </a:lnTo>
                <a:lnTo>
                  <a:pt x="2357" y="5197"/>
                </a:lnTo>
                <a:lnTo>
                  <a:pt x="2378" y="5207"/>
                </a:lnTo>
                <a:lnTo>
                  <a:pt x="2398" y="5207"/>
                </a:lnTo>
                <a:lnTo>
                  <a:pt x="2408" y="5217"/>
                </a:lnTo>
                <a:lnTo>
                  <a:pt x="2418" y="5217"/>
                </a:lnTo>
                <a:lnTo>
                  <a:pt x="2428" y="5227"/>
                </a:lnTo>
                <a:lnTo>
                  <a:pt x="2449" y="5227"/>
                </a:lnTo>
                <a:lnTo>
                  <a:pt x="2459" y="5227"/>
                </a:lnTo>
                <a:lnTo>
                  <a:pt x="2479" y="5227"/>
                </a:lnTo>
                <a:lnTo>
                  <a:pt x="2519" y="5237"/>
                </a:lnTo>
                <a:lnTo>
                  <a:pt x="2529" y="5247"/>
                </a:lnTo>
                <a:lnTo>
                  <a:pt x="2540" y="5247"/>
                </a:lnTo>
                <a:lnTo>
                  <a:pt x="2560" y="5237"/>
                </a:lnTo>
                <a:lnTo>
                  <a:pt x="2580" y="5227"/>
                </a:lnTo>
                <a:lnTo>
                  <a:pt x="2590" y="5217"/>
                </a:lnTo>
                <a:lnTo>
                  <a:pt x="2600" y="5207"/>
                </a:lnTo>
                <a:lnTo>
                  <a:pt x="2610" y="5197"/>
                </a:lnTo>
                <a:lnTo>
                  <a:pt x="2621" y="5176"/>
                </a:lnTo>
                <a:lnTo>
                  <a:pt x="2631" y="5146"/>
                </a:lnTo>
                <a:lnTo>
                  <a:pt x="2641" y="5136"/>
                </a:lnTo>
                <a:lnTo>
                  <a:pt x="2651" y="5126"/>
                </a:lnTo>
                <a:lnTo>
                  <a:pt x="2651" y="5116"/>
                </a:lnTo>
                <a:lnTo>
                  <a:pt x="2671" y="5105"/>
                </a:lnTo>
                <a:lnTo>
                  <a:pt x="2691" y="5095"/>
                </a:lnTo>
                <a:lnTo>
                  <a:pt x="2712" y="5085"/>
                </a:lnTo>
                <a:lnTo>
                  <a:pt x="2732" y="5075"/>
                </a:lnTo>
                <a:lnTo>
                  <a:pt x="2752" y="5065"/>
                </a:lnTo>
                <a:lnTo>
                  <a:pt x="2793" y="5055"/>
                </a:lnTo>
                <a:lnTo>
                  <a:pt x="2803" y="5045"/>
                </a:lnTo>
                <a:lnTo>
                  <a:pt x="2823" y="5045"/>
                </a:lnTo>
                <a:lnTo>
                  <a:pt x="2833" y="5024"/>
                </a:lnTo>
                <a:lnTo>
                  <a:pt x="2853" y="5004"/>
                </a:lnTo>
                <a:lnTo>
                  <a:pt x="2853" y="4994"/>
                </a:lnTo>
                <a:lnTo>
                  <a:pt x="2863" y="4994"/>
                </a:lnTo>
                <a:lnTo>
                  <a:pt x="2874" y="4984"/>
                </a:lnTo>
                <a:lnTo>
                  <a:pt x="2894" y="4964"/>
                </a:lnTo>
                <a:lnTo>
                  <a:pt x="2914" y="4943"/>
                </a:lnTo>
                <a:lnTo>
                  <a:pt x="2944" y="4933"/>
                </a:lnTo>
                <a:lnTo>
                  <a:pt x="2965" y="4913"/>
                </a:lnTo>
                <a:lnTo>
                  <a:pt x="2995" y="4883"/>
                </a:lnTo>
                <a:lnTo>
                  <a:pt x="2995" y="4883"/>
                </a:lnTo>
                <a:lnTo>
                  <a:pt x="3005" y="4872"/>
                </a:lnTo>
                <a:lnTo>
                  <a:pt x="3015" y="4862"/>
                </a:lnTo>
                <a:lnTo>
                  <a:pt x="3015" y="4862"/>
                </a:lnTo>
                <a:lnTo>
                  <a:pt x="3025" y="4842"/>
                </a:lnTo>
                <a:lnTo>
                  <a:pt x="3025" y="4832"/>
                </a:lnTo>
                <a:lnTo>
                  <a:pt x="3035" y="4832"/>
                </a:lnTo>
                <a:lnTo>
                  <a:pt x="3046" y="4812"/>
                </a:lnTo>
                <a:lnTo>
                  <a:pt x="3056" y="4781"/>
                </a:lnTo>
                <a:lnTo>
                  <a:pt x="3066" y="4771"/>
                </a:lnTo>
                <a:lnTo>
                  <a:pt x="3076" y="4761"/>
                </a:lnTo>
                <a:lnTo>
                  <a:pt x="3086" y="4751"/>
                </a:lnTo>
                <a:lnTo>
                  <a:pt x="3086" y="4741"/>
                </a:lnTo>
                <a:lnTo>
                  <a:pt x="3096" y="4720"/>
                </a:lnTo>
                <a:lnTo>
                  <a:pt x="3116" y="4700"/>
                </a:lnTo>
                <a:lnTo>
                  <a:pt x="3116" y="4690"/>
                </a:lnTo>
                <a:lnTo>
                  <a:pt x="3116" y="4680"/>
                </a:lnTo>
                <a:lnTo>
                  <a:pt x="3126" y="4670"/>
                </a:lnTo>
                <a:lnTo>
                  <a:pt x="3126" y="4660"/>
                </a:lnTo>
                <a:lnTo>
                  <a:pt x="3137" y="4650"/>
                </a:lnTo>
                <a:lnTo>
                  <a:pt x="3137" y="4639"/>
                </a:lnTo>
                <a:lnTo>
                  <a:pt x="3126" y="4589"/>
                </a:lnTo>
                <a:lnTo>
                  <a:pt x="3126" y="4569"/>
                </a:lnTo>
                <a:lnTo>
                  <a:pt x="3137" y="4558"/>
                </a:lnTo>
                <a:lnTo>
                  <a:pt x="3137" y="4558"/>
                </a:lnTo>
                <a:lnTo>
                  <a:pt x="3157" y="4538"/>
                </a:lnTo>
                <a:lnTo>
                  <a:pt x="3167" y="4528"/>
                </a:lnTo>
                <a:lnTo>
                  <a:pt x="3177" y="4508"/>
                </a:lnTo>
                <a:lnTo>
                  <a:pt x="3187" y="4487"/>
                </a:lnTo>
                <a:lnTo>
                  <a:pt x="3207" y="4447"/>
                </a:lnTo>
                <a:lnTo>
                  <a:pt x="3238" y="4346"/>
                </a:lnTo>
                <a:lnTo>
                  <a:pt x="3258" y="4295"/>
                </a:lnTo>
                <a:lnTo>
                  <a:pt x="3258" y="4275"/>
                </a:lnTo>
                <a:lnTo>
                  <a:pt x="3268" y="4254"/>
                </a:lnTo>
                <a:lnTo>
                  <a:pt x="3278" y="4234"/>
                </a:lnTo>
                <a:lnTo>
                  <a:pt x="3288" y="4224"/>
                </a:lnTo>
                <a:lnTo>
                  <a:pt x="3299" y="4204"/>
                </a:lnTo>
                <a:lnTo>
                  <a:pt x="3309" y="4173"/>
                </a:lnTo>
                <a:lnTo>
                  <a:pt x="3319" y="4153"/>
                </a:lnTo>
                <a:lnTo>
                  <a:pt x="3339" y="4133"/>
                </a:lnTo>
                <a:lnTo>
                  <a:pt x="3349" y="4123"/>
                </a:lnTo>
                <a:lnTo>
                  <a:pt x="3359" y="4103"/>
                </a:lnTo>
                <a:lnTo>
                  <a:pt x="3369" y="4082"/>
                </a:lnTo>
                <a:lnTo>
                  <a:pt x="3379" y="4052"/>
                </a:lnTo>
                <a:lnTo>
                  <a:pt x="3400" y="4021"/>
                </a:lnTo>
                <a:lnTo>
                  <a:pt x="3410" y="4011"/>
                </a:lnTo>
                <a:lnTo>
                  <a:pt x="3410" y="3991"/>
                </a:lnTo>
                <a:lnTo>
                  <a:pt x="3420" y="3951"/>
                </a:lnTo>
                <a:lnTo>
                  <a:pt x="3420" y="3930"/>
                </a:lnTo>
                <a:lnTo>
                  <a:pt x="3420" y="3910"/>
                </a:lnTo>
                <a:lnTo>
                  <a:pt x="3420" y="3880"/>
                </a:lnTo>
                <a:lnTo>
                  <a:pt x="3420" y="3870"/>
                </a:lnTo>
                <a:lnTo>
                  <a:pt x="3420" y="3859"/>
                </a:lnTo>
                <a:lnTo>
                  <a:pt x="3430" y="3849"/>
                </a:lnTo>
                <a:lnTo>
                  <a:pt x="3430" y="3839"/>
                </a:lnTo>
                <a:lnTo>
                  <a:pt x="3430" y="3819"/>
                </a:lnTo>
                <a:lnTo>
                  <a:pt x="3430" y="3809"/>
                </a:lnTo>
                <a:lnTo>
                  <a:pt x="3430" y="3788"/>
                </a:lnTo>
                <a:lnTo>
                  <a:pt x="3440" y="3768"/>
                </a:lnTo>
                <a:lnTo>
                  <a:pt x="3450" y="3748"/>
                </a:lnTo>
                <a:lnTo>
                  <a:pt x="3460" y="3738"/>
                </a:lnTo>
                <a:lnTo>
                  <a:pt x="3481" y="3718"/>
                </a:lnTo>
                <a:lnTo>
                  <a:pt x="3501" y="3687"/>
                </a:lnTo>
                <a:lnTo>
                  <a:pt x="3511" y="3677"/>
                </a:lnTo>
                <a:lnTo>
                  <a:pt x="3521" y="3667"/>
                </a:lnTo>
                <a:lnTo>
                  <a:pt x="3541" y="3647"/>
                </a:lnTo>
                <a:lnTo>
                  <a:pt x="3562" y="3637"/>
                </a:lnTo>
                <a:lnTo>
                  <a:pt x="3592" y="3596"/>
                </a:lnTo>
                <a:lnTo>
                  <a:pt x="3602" y="3576"/>
                </a:lnTo>
                <a:lnTo>
                  <a:pt x="3612" y="3566"/>
                </a:lnTo>
                <a:lnTo>
                  <a:pt x="3622" y="3525"/>
                </a:lnTo>
                <a:lnTo>
                  <a:pt x="3673" y="3444"/>
                </a:lnTo>
                <a:lnTo>
                  <a:pt x="3673" y="3434"/>
                </a:lnTo>
                <a:lnTo>
                  <a:pt x="3683" y="3414"/>
                </a:lnTo>
                <a:lnTo>
                  <a:pt x="3713" y="3393"/>
                </a:lnTo>
                <a:lnTo>
                  <a:pt x="3724" y="3383"/>
                </a:lnTo>
                <a:lnTo>
                  <a:pt x="3734" y="3363"/>
                </a:lnTo>
                <a:lnTo>
                  <a:pt x="3764" y="3333"/>
                </a:lnTo>
                <a:lnTo>
                  <a:pt x="3784" y="3312"/>
                </a:lnTo>
                <a:lnTo>
                  <a:pt x="3794" y="3302"/>
                </a:lnTo>
                <a:lnTo>
                  <a:pt x="3804" y="3292"/>
                </a:lnTo>
                <a:lnTo>
                  <a:pt x="3825" y="3252"/>
                </a:lnTo>
                <a:lnTo>
                  <a:pt x="3855" y="3211"/>
                </a:lnTo>
                <a:lnTo>
                  <a:pt x="3865" y="3191"/>
                </a:lnTo>
                <a:lnTo>
                  <a:pt x="3885" y="3181"/>
                </a:lnTo>
                <a:lnTo>
                  <a:pt x="3896" y="3160"/>
                </a:lnTo>
                <a:lnTo>
                  <a:pt x="3916" y="3130"/>
                </a:lnTo>
                <a:lnTo>
                  <a:pt x="3926" y="3110"/>
                </a:lnTo>
                <a:lnTo>
                  <a:pt x="3926" y="3100"/>
                </a:lnTo>
                <a:lnTo>
                  <a:pt x="3936" y="3090"/>
                </a:lnTo>
                <a:lnTo>
                  <a:pt x="3946" y="3079"/>
                </a:lnTo>
                <a:lnTo>
                  <a:pt x="3956" y="3069"/>
                </a:lnTo>
                <a:lnTo>
                  <a:pt x="3966" y="3059"/>
                </a:lnTo>
                <a:lnTo>
                  <a:pt x="3976" y="3049"/>
                </a:lnTo>
                <a:lnTo>
                  <a:pt x="3987" y="3039"/>
                </a:lnTo>
                <a:lnTo>
                  <a:pt x="3997" y="3008"/>
                </a:lnTo>
                <a:lnTo>
                  <a:pt x="4007" y="2998"/>
                </a:lnTo>
                <a:lnTo>
                  <a:pt x="4017" y="2978"/>
                </a:lnTo>
                <a:lnTo>
                  <a:pt x="4017" y="2968"/>
                </a:lnTo>
                <a:lnTo>
                  <a:pt x="4017" y="2958"/>
                </a:lnTo>
                <a:lnTo>
                  <a:pt x="4027" y="2938"/>
                </a:lnTo>
                <a:lnTo>
                  <a:pt x="4037" y="2917"/>
                </a:lnTo>
                <a:lnTo>
                  <a:pt x="4078" y="2857"/>
                </a:lnTo>
                <a:lnTo>
                  <a:pt x="4088" y="2846"/>
                </a:lnTo>
                <a:lnTo>
                  <a:pt x="4098" y="2836"/>
                </a:lnTo>
                <a:lnTo>
                  <a:pt x="4098" y="2826"/>
                </a:lnTo>
                <a:lnTo>
                  <a:pt x="4098" y="2836"/>
                </a:lnTo>
              </a:path>
            </a:pathLst>
          </a:custGeom>
          <a:solidFill>
            <a:srgbClr val="EBE4F4"/>
          </a:solid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39" name="Réunion">
            <a:extLst>
              <a:ext uri="{FF2B5EF4-FFF2-40B4-BE49-F238E27FC236}">
                <a16:creationId xmlns:a16="http://schemas.microsoft.com/office/drawing/2014/main" id="{A6606BD9-3F49-4486-B88E-E9E82A794972}"/>
              </a:ext>
            </a:extLst>
          </p:cNvPr>
          <p:cNvSpPr>
            <a:spLocks noChangeAspect="1"/>
          </p:cNvSpPr>
          <p:nvPr/>
        </p:nvSpPr>
        <p:spPr bwMode="auto">
          <a:xfrm>
            <a:off x="2775609" y="6462486"/>
            <a:ext cx="284501" cy="226388"/>
          </a:xfrm>
          <a:custGeom>
            <a:avLst/>
            <a:gdLst>
              <a:gd name="T0" fmla="*/ 2216 w 5889"/>
              <a:gd name="T1" fmla="*/ 10 h 5217"/>
              <a:gd name="T2" fmla="*/ 2378 w 5889"/>
              <a:gd name="T3" fmla="*/ 91 h 5217"/>
              <a:gd name="T4" fmla="*/ 2702 w 5889"/>
              <a:gd name="T5" fmla="*/ 182 h 5217"/>
              <a:gd name="T6" fmla="*/ 3086 w 5889"/>
              <a:gd name="T7" fmla="*/ 233 h 5217"/>
              <a:gd name="T8" fmla="*/ 3531 w 5889"/>
              <a:gd name="T9" fmla="*/ 263 h 5217"/>
              <a:gd name="T10" fmla="*/ 3815 w 5889"/>
              <a:gd name="T11" fmla="*/ 365 h 5217"/>
              <a:gd name="T12" fmla="*/ 4058 w 5889"/>
              <a:gd name="T13" fmla="*/ 446 h 5217"/>
              <a:gd name="T14" fmla="*/ 4310 w 5889"/>
              <a:gd name="T15" fmla="*/ 608 h 5217"/>
              <a:gd name="T16" fmla="*/ 4472 w 5889"/>
              <a:gd name="T17" fmla="*/ 780 h 5217"/>
              <a:gd name="T18" fmla="*/ 4563 w 5889"/>
              <a:gd name="T19" fmla="*/ 993 h 5217"/>
              <a:gd name="T20" fmla="*/ 4624 w 5889"/>
              <a:gd name="T21" fmla="*/ 1246 h 5217"/>
              <a:gd name="T22" fmla="*/ 4685 w 5889"/>
              <a:gd name="T23" fmla="*/ 1530 h 5217"/>
              <a:gd name="T24" fmla="*/ 4827 w 5889"/>
              <a:gd name="T25" fmla="*/ 1732 h 5217"/>
              <a:gd name="T26" fmla="*/ 4978 w 5889"/>
              <a:gd name="T27" fmla="*/ 1985 h 5217"/>
              <a:gd name="T28" fmla="*/ 5090 w 5889"/>
              <a:gd name="T29" fmla="*/ 2198 h 5217"/>
              <a:gd name="T30" fmla="*/ 5312 w 5889"/>
              <a:gd name="T31" fmla="*/ 2512 h 5217"/>
              <a:gd name="T32" fmla="*/ 5636 w 5889"/>
              <a:gd name="T33" fmla="*/ 2694 h 5217"/>
              <a:gd name="T34" fmla="*/ 5828 w 5889"/>
              <a:gd name="T35" fmla="*/ 2857 h 5217"/>
              <a:gd name="T36" fmla="*/ 5889 w 5889"/>
              <a:gd name="T37" fmla="*/ 3069 h 5217"/>
              <a:gd name="T38" fmla="*/ 5818 w 5889"/>
              <a:gd name="T39" fmla="*/ 3282 h 5217"/>
              <a:gd name="T40" fmla="*/ 5768 w 5889"/>
              <a:gd name="T41" fmla="*/ 3485 h 5217"/>
              <a:gd name="T42" fmla="*/ 5646 w 5889"/>
              <a:gd name="T43" fmla="*/ 3768 h 5217"/>
              <a:gd name="T44" fmla="*/ 5596 w 5889"/>
              <a:gd name="T45" fmla="*/ 4133 h 5217"/>
              <a:gd name="T46" fmla="*/ 5596 w 5889"/>
              <a:gd name="T47" fmla="*/ 4366 h 5217"/>
              <a:gd name="T48" fmla="*/ 5646 w 5889"/>
              <a:gd name="T49" fmla="*/ 4690 h 5217"/>
              <a:gd name="T50" fmla="*/ 5535 w 5889"/>
              <a:gd name="T51" fmla="*/ 4903 h 5217"/>
              <a:gd name="T52" fmla="*/ 5272 w 5889"/>
              <a:gd name="T53" fmla="*/ 5014 h 5217"/>
              <a:gd name="T54" fmla="*/ 4968 w 5889"/>
              <a:gd name="T55" fmla="*/ 5065 h 5217"/>
              <a:gd name="T56" fmla="*/ 4685 w 5889"/>
              <a:gd name="T57" fmla="*/ 5156 h 5217"/>
              <a:gd name="T58" fmla="*/ 4361 w 5889"/>
              <a:gd name="T59" fmla="*/ 5186 h 5217"/>
              <a:gd name="T60" fmla="*/ 3987 w 5889"/>
              <a:gd name="T61" fmla="*/ 5217 h 5217"/>
              <a:gd name="T62" fmla="*/ 3703 w 5889"/>
              <a:gd name="T63" fmla="*/ 5217 h 5217"/>
              <a:gd name="T64" fmla="*/ 3491 w 5889"/>
              <a:gd name="T65" fmla="*/ 5105 h 5217"/>
              <a:gd name="T66" fmla="*/ 3137 w 5889"/>
              <a:gd name="T67" fmla="*/ 5075 h 5217"/>
              <a:gd name="T68" fmla="*/ 2823 w 5889"/>
              <a:gd name="T69" fmla="*/ 4953 h 5217"/>
              <a:gd name="T70" fmla="*/ 2509 w 5889"/>
              <a:gd name="T71" fmla="*/ 4842 h 5217"/>
              <a:gd name="T72" fmla="*/ 2287 w 5889"/>
              <a:gd name="T73" fmla="*/ 4751 h 5217"/>
              <a:gd name="T74" fmla="*/ 2054 w 5889"/>
              <a:gd name="T75" fmla="*/ 4639 h 5217"/>
              <a:gd name="T76" fmla="*/ 1831 w 5889"/>
              <a:gd name="T77" fmla="*/ 4457 h 5217"/>
              <a:gd name="T78" fmla="*/ 1528 w 5889"/>
              <a:gd name="T79" fmla="*/ 4255 h 5217"/>
              <a:gd name="T80" fmla="*/ 1244 w 5889"/>
              <a:gd name="T81" fmla="*/ 4184 h 5217"/>
              <a:gd name="T82" fmla="*/ 1093 w 5889"/>
              <a:gd name="T83" fmla="*/ 4032 h 5217"/>
              <a:gd name="T84" fmla="*/ 931 w 5889"/>
              <a:gd name="T85" fmla="*/ 3839 h 5217"/>
              <a:gd name="T86" fmla="*/ 708 w 5889"/>
              <a:gd name="T87" fmla="*/ 3545 h 5217"/>
              <a:gd name="T88" fmla="*/ 658 w 5889"/>
              <a:gd name="T89" fmla="*/ 3241 h 5217"/>
              <a:gd name="T90" fmla="*/ 627 w 5889"/>
              <a:gd name="T91" fmla="*/ 2958 h 5217"/>
              <a:gd name="T92" fmla="*/ 415 w 5889"/>
              <a:gd name="T93" fmla="*/ 2512 h 5217"/>
              <a:gd name="T94" fmla="*/ 233 w 5889"/>
              <a:gd name="T95" fmla="*/ 2330 h 5217"/>
              <a:gd name="T96" fmla="*/ 91 w 5889"/>
              <a:gd name="T97" fmla="*/ 2066 h 5217"/>
              <a:gd name="T98" fmla="*/ 30 w 5889"/>
              <a:gd name="T99" fmla="*/ 1833 h 5217"/>
              <a:gd name="T100" fmla="*/ 101 w 5889"/>
              <a:gd name="T101" fmla="*/ 1631 h 5217"/>
              <a:gd name="T102" fmla="*/ 344 w 5889"/>
              <a:gd name="T103" fmla="*/ 1489 h 5217"/>
              <a:gd name="T104" fmla="*/ 577 w 5889"/>
              <a:gd name="T105" fmla="*/ 1317 h 5217"/>
              <a:gd name="T106" fmla="*/ 708 w 5889"/>
              <a:gd name="T107" fmla="*/ 1246 h 5217"/>
              <a:gd name="T108" fmla="*/ 880 w 5889"/>
              <a:gd name="T109" fmla="*/ 1246 h 5217"/>
              <a:gd name="T110" fmla="*/ 658 w 5889"/>
              <a:gd name="T111" fmla="*/ 1145 h 5217"/>
              <a:gd name="T112" fmla="*/ 627 w 5889"/>
              <a:gd name="T113" fmla="*/ 861 h 5217"/>
              <a:gd name="T114" fmla="*/ 698 w 5889"/>
              <a:gd name="T115" fmla="*/ 567 h 5217"/>
              <a:gd name="T116" fmla="*/ 1032 w 5889"/>
              <a:gd name="T117" fmla="*/ 577 h 5217"/>
              <a:gd name="T118" fmla="*/ 1295 w 5889"/>
              <a:gd name="T119" fmla="*/ 395 h 5217"/>
              <a:gd name="T120" fmla="*/ 1487 w 5889"/>
              <a:gd name="T121" fmla="*/ 253 h 5217"/>
              <a:gd name="T122" fmla="*/ 1700 w 5889"/>
              <a:gd name="T123" fmla="*/ 111 h 5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89" h="5217">
                <a:moveTo>
                  <a:pt x="2044" y="61"/>
                </a:moveTo>
                <a:lnTo>
                  <a:pt x="2054" y="61"/>
                </a:lnTo>
                <a:lnTo>
                  <a:pt x="2064" y="61"/>
                </a:lnTo>
                <a:lnTo>
                  <a:pt x="2074" y="61"/>
                </a:lnTo>
                <a:lnTo>
                  <a:pt x="2084" y="61"/>
                </a:lnTo>
                <a:lnTo>
                  <a:pt x="2105" y="61"/>
                </a:lnTo>
                <a:lnTo>
                  <a:pt x="2125" y="61"/>
                </a:lnTo>
                <a:lnTo>
                  <a:pt x="2125" y="61"/>
                </a:lnTo>
                <a:lnTo>
                  <a:pt x="2135" y="61"/>
                </a:lnTo>
                <a:lnTo>
                  <a:pt x="2135" y="51"/>
                </a:lnTo>
                <a:lnTo>
                  <a:pt x="2145" y="51"/>
                </a:lnTo>
                <a:lnTo>
                  <a:pt x="2155" y="51"/>
                </a:lnTo>
                <a:lnTo>
                  <a:pt x="2165" y="40"/>
                </a:lnTo>
                <a:lnTo>
                  <a:pt x="2165" y="40"/>
                </a:lnTo>
                <a:lnTo>
                  <a:pt x="2175" y="30"/>
                </a:lnTo>
                <a:lnTo>
                  <a:pt x="2186" y="20"/>
                </a:lnTo>
                <a:lnTo>
                  <a:pt x="2186" y="10"/>
                </a:lnTo>
                <a:lnTo>
                  <a:pt x="2196" y="10"/>
                </a:lnTo>
                <a:lnTo>
                  <a:pt x="2196" y="10"/>
                </a:lnTo>
                <a:lnTo>
                  <a:pt x="2206" y="0"/>
                </a:lnTo>
                <a:lnTo>
                  <a:pt x="2206" y="0"/>
                </a:lnTo>
                <a:lnTo>
                  <a:pt x="2216" y="10"/>
                </a:lnTo>
                <a:lnTo>
                  <a:pt x="2216" y="10"/>
                </a:lnTo>
                <a:lnTo>
                  <a:pt x="2226" y="20"/>
                </a:lnTo>
                <a:lnTo>
                  <a:pt x="2226" y="20"/>
                </a:lnTo>
                <a:lnTo>
                  <a:pt x="2236" y="20"/>
                </a:lnTo>
                <a:lnTo>
                  <a:pt x="2236" y="20"/>
                </a:lnTo>
                <a:lnTo>
                  <a:pt x="2246" y="20"/>
                </a:lnTo>
                <a:lnTo>
                  <a:pt x="2256" y="30"/>
                </a:lnTo>
                <a:lnTo>
                  <a:pt x="2266" y="30"/>
                </a:lnTo>
                <a:lnTo>
                  <a:pt x="2277" y="51"/>
                </a:lnTo>
                <a:lnTo>
                  <a:pt x="2277" y="51"/>
                </a:lnTo>
                <a:lnTo>
                  <a:pt x="2287" y="51"/>
                </a:lnTo>
                <a:lnTo>
                  <a:pt x="2297" y="51"/>
                </a:lnTo>
                <a:lnTo>
                  <a:pt x="2307" y="51"/>
                </a:lnTo>
                <a:lnTo>
                  <a:pt x="2307" y="51"/>
                </a:lnTo>
                <a:lnTo>
                  <a:pt x="2307" y="61"/>
                </a:lnTo>
                <a:lnTo>
                  <a:pt x="2317" y="71"/>
                </a:lnTo>
                <a:lnTo>
                  <a:pt x="2317" y="71"/>
                </a:lnTo>
                <a:lnTo>
                  <a:pt x="2327" y="81"/>
                </a:lnTo>
                <a:lnTo>
                  <a:pt x="2347" y="81"/>
                </a:lnTo>
                <a:lnTo>
                  <a:pt x="2358" y="91"/>
                </a:lnTo>
                <a:lnTo>
                  <a:pt x="2368" y="91"/>
                </a:lnTo>
                <a:lnTo>
                  <a:pt x="2378" y="91"/>
                </a:lnTo>
                <a:lnTo>
                  <a:pt x="2388" y="101"/>
                </a:lnTo>
                <a:lnTo>
                  <a:pt x="2408" y="101"/>
                </a:lnTo>
                <a:lnTo>
                  <a:pt x="2418" y="101"/>
                </a:lnTo>
                <a:lnTo>
                  <a:pt x="2428" y="111"/>
                </a:lnTo>
                <a:lnTo>
                  <a:pt x="2449" y="111"/>
                </a:lnTo>
                <a:lnTo>
                  <a:pt x="2459" y="111"/>
                </a:lnTo>
                <a:lnTo>
                  <a:pt x="2479" y="121"/>
                </a:lnTo>
                <a:lnTo>
                  <a:pt x="2489" y="132"/>
                </a:lnTo>
                <a:lnTo>
                  <a:pt x="2499" y="142"/>
                </a:lnTo>
                <a:lnTo>
                  <a:pt x="2509" y="152"/>
                </a:lnTo>
                <a:lnTo>
                  <a:pt x="2519" y="152"/>
                </a:lnTo>
                <a:lnTo>
                  <a:pt x="2530" y="152"/>
                </a:lnTo>
                <a:lnTo>
                  <a:pt x="2540" y="162"/>
                </a:lnTo>
                <a:lnTo>
                  <a:pt x="2550" y="162"/>
                </a:lnTo>
                <a:lnTo>
                  <a:pt x="2570" y="172"/>
                </a:lnTo>
                <a:lnTo>
                  <a:pt x="2590" y="172"/>
                </a:lnTo>
                <a:lnTo>
                  <a:pt x="2611" y="172"/>
                </a:lnTo>
                <a:lnTo>
                  <a:pt x="2621" y="172"/>
                </a:lnTo>
                <a:lnTo>
                  <a:pt x="2661" y="172"/>
                </a:lnTo>
                <a:lnTo>
                  <a:pt x="2671" y="182"/>
                </a:lnTo>
                <a:lnTo>
                  <a:pt x="2691" y="182"/>
                </a:lnTo>
                <a:lnTo>
                  <a:pt x="2702" y="182"/>
                </a:lnTo>
                <a:lnTo>
                  <a:pt x="2722" y="182"/>
                </a:lnTo>
                <a:lnTo>
                  <a:pt x="2742" y="182"/>
                </a:lnTo>
                <a:lnTo>
                  <a:pt x="2752" y="172"/>
                </a:lnTo>
                <a:lnTo>
                  <a:pt x="2772" y="172"/>
                </a:lnTo>
                <a:lnTo>
                  <a:pt x="2783" y="172"/>
                </a:lnTo>
                <a:lnTo>
                  <a:pt x="2793" y="162"/>
                </a:lnTo>
                <a:lnTo>
                  <a:pt x="2803" y="162"/>
                </a:lnTo>
                <a:lnTo>
                  <a:pt x="2823" y="162"/>
                </a:lnTo>
                <a:lnTo>
                  <a:pt x="2833" y="162"/>
                </a:lnTo>
                <a:lnTo>
                  <a:pt x="2853" y="172"/>
                </a:lnTo>
                <a:lnTo>
                  <a:pt x="2884" y="182"/>
                </a:lnTo>
                <a:lnTo>
                  <a:pt x="2924" y="192"/>
                </a:lnTo>
                <a:lnTo>
                  <a:pt x="2955" y="202"/>
                </a:lnTo>
                <a:lnTo>
                  <a:pt x="2965" y="202"/>
                </a:lnTo>
                <a:lnTo>
                  <a:pt x="2985" y="202"/>
                </a:lnTo>
                <a:lnTo>
                  <a:pt x="2995" y="213"/>
                </a:lnTo>
                <a:lnTo>
                  <a:pt x="3005" y="213"/>
                </a:lnTo>
                <a:lnTo>
                  <a:pt x="3025" y="213"/>
                </a:lnTo>
                <a:lnTo>
                  <a:pt x="3035" y="223"/>
                </a:lnTo>
                <a:lnTo>
                  <a:pt x="3066" y="223"/>
                </a:lnTo>
                <a:lnTo>
                  <a:pt x="3076" y="233"/>
                </a:lnTo>
                <a:lnTo>
                  <a:pt x="3086" y="233"/>
                </a:lnTo>
                <a:lnTo>
                  <a:pt x="3106" y="233"/>
                </a:lnTo>
                <a:lnTo>
                  <a:pt x="3116" y="233"/>
                </a:lnTo>
                <a:lnTo>
                  <a:pt x="3137" y="243"/>
                </a:lnTo>
                <a:lnTo>
                  <a:pt x="3167" y="233"/>
                </a:lnTo>
                <a:lnTo>
                  <a:pt x="3197" y="233"/>
                </a:lnTo>
                <a:lnTo>
                  <a:pt x="3228" y="233"/>
                </a:lnTo>
                <a:lnTo>
                  <a:pt x="3248" y="233"/>
                </a:lnTo>
                <a:lnTo>
                  <a:pt x="3258" y="233"/>
                </a:lnTo>
                <a:lnTo>
                  <a:pt x="3268" y="233"/>
                </a:lnTo>
                <a:lnTo>
                  <a:pt x="3278" y="243"/>
                </a:lnTo>
                <a:lnTo>
                  <a:pt x="3288" y="243"/>
                </a:lnTo>
                <a:lnTo>
                  <a:pt x="3309" y="243"/>
                </a:lnTo>
                <a:lnTo>
                  <a:pt x="3339" y="243"/>
                </a:lnTo>
                <a:lnTo>
                  <a:pt x="3359" y="243"/>
                </a:lnTo>
                <a:lnTo>
                  <a:pt x="3369" y="243"/>
                </a:lnTo>
                <a:lnTo>
                  <a:pt x="3400" y="253"/>
                </a:lnTo>
                <a:lnTo>
                  <a:pt x="3410" y="253"/>
                </a:lnTo>
                <a:lnTo>
                  <a:pt x="3430" y="253"/>
                </a:lnTo>
                <a:lnTo>
                  <a:pt x="3460" y="263"/>
                </a:lnTo>
                <a:lnTo>
                  <a:pt x="3491" y="263"/>
                </a:lnTo>
                <a:lnTo>
                  <a:pt x="3521" y="263"/>
                </a:lnTo>
                <a:lnTo>
                  <a:pt x="3531" y="263"/>
                </a:lnTo>
                <a:lnTo>
                  <a:pt x="3552" y="263"/>
                </a:lnTo>
                <a:lnTo>
                  <a:pt x="3562" y="273"/>
                </a:lnTo>
                <a:lnTo>
                  <a:pt x="3572" y="273"/>
                </a:lnTo>
                <a:lnTo>
                  <a:pt x="3592" y="273"/>
                </a:lnTo>
                <a:lnTo>
                  <a:pt x="3602" y="273"/>
                </a:lnTo>
                <a:lnTo>
                  <a:pt x="3612" y="273"/>
                </a:lnTo>
                <a:lnTo>
                  <a:pt x="3622" y="283"/>
                </a:lnTo>
                <a:lnTo>
                  <a:pt x="3633" y="283"/>
                </a:lnTo>
                <a:lnTo>
                  <a:pt x="3643" y="283"/>
                </a:lnTo>
                <a:lnTo>
                  <a:pt x="3663" y="304"/>
                </a:lnTo>
                <a:lnTo>
                  <a:pt x="3683" y="314"/>
                </a:lnTo>
                <a:lnTo>
                  <a:pt x="3693" y="314"/>
                </a:lnTo>
                <a:lnTo>
                  <a:pt x="3713" y="324"/>
                </a:lnTo>
                <a:lnTo>
                  <a:pt x="3734" y="334"/>
                </a:lnTo>
                <a:lnTo>
                  <a:pt x="3744" y="344"/>
                </a:lnTo>
                <a:lnTo>
                  <a:pt x="3754" y="344"/>
                </a:lnTo>
                <a:lnTo>
                  <a:pt x="3764" y="344"/>
                </a:lnTo>
                <a:lnTo>
                  <a:pt x="3774" y="354"/>
                </a:lnTo>
                <a:lnTo>
                  <a:pt x="3774" y="354"/>
                </a:lnTo>
                <a:lnTo>
                  <a:pt x="3784" y="365"/>
                </a:lnTo>
                <a:lnTo>
                  <a:pt x="3794" y="365"/>
                </a:lnTo>
                <a:lnTo>
                  <a:pt x="3815" y="365"/>
                </a:lnTo>
                <a:lnTo>
                  <a:pt x="3815" y="375"/>
                </a:lnTo>
                <a:lnTo>
                  <a:pt x="3835" y="385"/>
                </a:lnTo>
                <a:lnTo>
                  <a:pt x="3845" y="385"/>
                </a:lnTo>
                <a:lnTo>
                  <a:pt x="3855" y="385"/>
                </a:lnTo>
                <a:lnTo>
                  <a:pt x="3855" y="395"/>
                </a:lnTo>
                <a:lnTo>
                  <a:pt x="3865" y="395"/>
                </a:lnTo>
                <a:lnTo>
                  <a:pt x="3875" y="395"/>
                </a:lnTo>
                <a:lnTo>
                  <a:pt x="3875" y="405"/>
                </a:lnTo>
                <a:lnTo>
                  <a:pt x="3896" y="405"/>
                </a:lnTo>
                <a:lnTo>
                  <a:pt x="3896" y="405"/>
                </a:lnTo>
                <a:lnTo>
                  <a:pt x="3906" y="405"/>
                </a:lnTo>
                <a:lnTo>
                  <a:pt x="3916" y="405"/>
                </a:lnTo>
                <a:lnTo>
                  <a:pt x="3936" y="415"/>
                </a:lnTo>
                <a:lnTo>
                  <a:pt x="3946" y="415"/>
                </a:lnTo>
                <a:lnTo>
                  <a:pt x="3966" y="425"/>
                </a:lnTo>
                <a:lnTo>
                  <a:pt x="3966" y="425"/>
                </a:lnTo>
                <a:lnTo>
                  <a:pt x="3977" y="425"/>
                </a:lnTo>
                <a:lnTo>
                  <a:pt x="3997" y="425"/>
                </a:lnTo>
                <a:lnTo>
                  <a:pt x="4017" y="425"/>
                </a:lnTo>
                <a:lnTo>
                  <a:pt x="4017" y="435"/>
                </a:lnTo>
                <a:lnTo>
                  <a:pt x="4027" y="435"/>
                </a:lnTo>
                <a:lnTo>
                  <a:pt x="4058" y="446"/>
                </a:lnTo>
                <a:lnTo>
                  <a:pt x="4078" y="456"/>
                </a:lnTo>
                <a:lnTo>
                  <a:pt x="4098" y="466"/>
                </a:lnTo>
                <a:lnTo>
                  <a:pt x="4108" y="466"/>
                </a:lnTo>
                <a:lnTo>
                  <a:pt x="4118" y="476"/>
                </a:lnTo>
                <a:lnTo>
                  <a:pt x="4128" y="476"/>
                </a:lnTo>
                <a:lnTo>
                  <a:pt x="4149" y="486"/>
                </a:lnTo>
                <a:lnTo>
                  <a:pt x="4149" y="496"/>
                </a:lnTo>
                <a:lnTo>
                  <a:pt x="4159" y="496"/>
                </a:lnTo>
                <a:lnTo>
                  <a:pt x="4189" y="506"/>
                </a:lnTo>
                <a:lnTo>
                  <a:pt x="4199" y="506"/>
                </a:lnTo>
                <a:lnTo>
                  <a:pt x="4219" y="516"/>
                </a:lnTo>
                <a:lnTo>
                  <a:pt x="4230" y="516"/>
                </a:lnTo>
                <a:lnTo>
                  <a:pt x="4240" y="527"/>
                </a:lnTo>
                <a:lnTo>
                  <a:pt x="4260" y="537"/>
                </a:lnTo>
                <a:lnTo>
                  <a:pt x="4280" y="547"/>
                </a:lnTo>
                <a:lnTo>
                  <a:pt x="4290" y="557"/>
                </a:lnTo>
                <a:lnTo>
                  <a:pt x="4290" y="557"/>
                </a:lnTo>
                <a:lnTo>
                  <a:pt x="4300" y="577"/>
                </a:lnTo>
                <a:lnTo>
                  <a:pt x="4300" y="587"/>
                </a:lnTo>
                <a:lnTo>
                  <a:pt x="4300" y="598"/>
                </a:lnTo>
                <a:lnTo>
                  <a:pt x="4300" y="598"/>
                </a:lnTo>
                <a:lnTo>
                  <a:pt x="4310" y="608"/>
                </a:lnTo>
                <a:lnTo>
                  <a:pt x="4321" y="608"/>
                </a:lnTo>
                <a:lnTo>
                  <a:pt x="4341" y="618"/>
                </a:lnTo>
                <a:lnTo>
                  <a:pt x="4341" y="618"/>
                </a:lnTo>
                <a:lnTo>
                  <a:pt x="4351" y="628"/>
                </a:lnTo>
                <a:lnTo>
                  <a:pt x="4361" y="648"/>
                </a:lnTo>
                <a:lnTo>
                  <a:pt x="4371" y="658"/>
                </a:lnTo>
                <a:lnTo>
                  <a:pt x="4381" y="668"/>
                </a:lnTo>
                <a:lnTo>
                  <a:pt x="4391" y="679"/>
                </a:lnTo>
                <a:lnTo>
                  <a:pt x="4412" y="689"/>
                </a:lnTo>
                <a:lnTo>
                  <a:pt x="4422" y="699"/>
                </a:lnTo>
                <a:lnTo>
                  <a:pt x="4422" y="709"/>
                </a:lnTo>
                <a:lnTo>
                  <a:pt x="4422" y="709"/>
                </a:lnTo>
                <a:lnTo>
                  <a:pt x="4422" y="719"/>
                </a:lnTo>
                <a:lnTo>
                  <a:pt x="4422" y="719"/>
                </a:lnTo>
                <a:lnTo>
                  <a:pt x="4432" y="729"/>
                </a:lnTo>
                <a:lnTo>
                  <a:pt x="4432" y="729"/>
                </a:lnTo>
                <a:lnTo>
                  <a:pt x="4442" y="739"/>
                </a:lnTo>
                <a:lnTo>
                  <a:pt x="4452" y="739"/>
                </a:lnTo>
                <a:lnTo>
                  <a:pt x="4462" y="749"/>
                </a:lnTo>
                <a:lnTo>
                  <a:pt x="4462" y="760"/>
                </a:lnTo>
                <a:lnTo>
                  <a:pt x="4462" y="770"/>
                </a:lnTo>
                <a:lnTo>
                  <a:pt x="4472" y="780"/>
                </a:lnTo>
                <a:lnTo>
                  <a:pt x="4472" y="800"/>
                </a:lnTo>
                <a:lnTo>
                  <a:pt x="4482" y="810"/>
                </a:lnTo>
                <a:lnTo>
                  <a:pt x="4482" y="831"/>
                </a:lnTo>
                <a:lnTo>
                  <a:pt x="4482" y="831"/>
                </a:lnTo>
                <a:lnTo>
                  <a:pt x="4493" y="841"/>
                </a:lnTo>
                <a:lnTo>
                  <a:pt x="4503" y="841"/>
                </a:lnTo>
                <a:lnTo>
                  <a:pt x="4503" y="851"/>
                </a:lnTo>
                <a:lnTo>
                  <a:pt x="4503" y="851"/>
                </a:lnTo>
                <a:lnTo>
                  <a:pt x="4503" y="871"/>
                </a:lnTo>
                <a:lnTo>
                  <a:pt x="4503" y="881"/>
                </a:lnTo>
                <a:lnTo>
                  <a:pt x="4513" y="891"/>
                </a:lnTo>
                <a:lnTo>
                  <a:pt x="4523" y="891"/>
                </a:lnTo>
                <a:lnTo>
                  <a:pt x="4533" y="912"/>
                </a:lnTo>
                <a:lnTo>
                  <a:pt x="4533" y="922"/>
                </a:lnTo>
                <a:lnTo>
                  <a:pt x="4533" y="922"/>
                </a:lnTo>
                <a:lnTo>
                  <a:pt x="4533" y="932"/>
                </a:lnTo>
                <a:lnTo>
                  <a:pt x="4533" y="942"/>
                </a:lnTo>
                <a:lnTo>
                  <a:pt x="4533" y="952"/>
                </a:lnTo>
                <a:lnTo>
                  <a:pt x="4543" y="962"/>
                </a:lnTo>
                <a:lnTo>
                  <a:pt x="4553" y="972"/>
                </a:lnTo>
                <a:lnTo>
                  <a:pt x="4563" y="982"/>
                </a:lnTo>
                <a:lnTo>
                  <a:pt x="4563" y="993"/>
                </a:lnTo>
                <a:lnTo>
                  <a:pt x="4574" y="1013"/>
                </a:lnTo>
                <a:lnTo>
                  <a:pt x="4584" y="1023"/>
                </a:lnTo>
                <a:lnTo>
                  <a:pt x="4584" y="1033"/>
                </a:lnTo>
                <a:lnTo>
                  <a:pt x="4594" y="1043"/>
                </a:lnTo>
                <a:lnTo>
                  <a:pt x="4594" y="1053"/>
                </a:lnTo>
                <a:lnTo>
                  <a:pt x="4594" y="1064"/>
                </a:lnTo>
                <a:lnTo>
                  <a:pt x="4604" y="1074"/>
                </a:lnTo>
                <a:lnTo>
                  <a:pt x="4604" y="1084"/>
                </a:lnTo>
                <a:lnTo>
                  <a:pt x="4604" y="1084"/>
                </a:lnTo>
                <a:lnTo>
                  <a:pt x="4614" y="1094"/>
                </a:lnTo>
                <a:lnTo>
                  <a:pt x="4614" y="1104"/>
                </a:lnTo>
                <a:lnTo>
                  <a:pt x="4614" y="1114"/>
                </a:lnTo>
                <a:lnTo>
                  <a:pt x="4614" y="1124"/>
                </a:lnTo>
                <a:lnTo>
                  <a:pt x="4614" y="1124"/>
                </a:lnTo>
                <a:lnTo>
                  <a:pt x="4614" y="1145"/>
                </a:lnTo>
                <a:lnTo>
                  <a:pt x="4614" y="1155"/>
                </a:lnTo>
                <a:lnTo>
                  <a:pt x="4614" y="1175"/>
                </a:lnTo>
                <a:lnTo>
                  <a:pt x="4614" y="1195"/>
                </a:lnTo>
                <a:lnTo>
                  <a:pt x="4624" y="1205"/>
                </a:lnTo>
                <a:lnTo>
                  <a:pt x="4624" y="1215"/>
                </a:lnTo>
                <a:lnTo>
                  <a:pt x="4624" y="1236"/>
                </a:lnTo>
                <a:lnTo>
                  <a:pt x="4624" y="1246"/>
                </a:lnTo>
                <a:lnTo>
                  <a:pt x="4624" y="1256"/>
                </a:lnTo>
                <a:lnTo>
                  <a:pt x="4624" y="1266"/>
                </a:lnTo>
                <a:lnTo>
                  <a:pt x="4634" y="1286"/>
                </a:lnTo>
                <a:lnTo>
                  <a:pt x="4634" y="1297"/>
                </a:lnTo>
                <a:lnTo>
                  <a:pt x="4634" y="1307"/>
                </a:lnTo>
                <a:lnTo>
                  <a:pt x="4634" y="1317"/>
                </a:lnTo>
                <a:lnTo>
                  <a:pt x="4634" y="1337"/>
                </a:lnTo>
                <a:lnTo>
                  <a:pt x="4644" y="1347"/>
                </a:lnTo>
                <a:lnTo>
                  <a:pt x="4644" y="1347"/>
                </a:lnTo>
                <a:lnTo>
                  <a:pt x="4644" y="1378"/>
                </a:lnTo>
                <a:lnTo>
                  <a:pt x="4644" y="1408"/>
                </a:lnTo>
                <a:lnTo>
                  <a:pt x="4644" y="1418"/>
                </a:lnTo>
                <a:lnTo>
                  <a:pt x="4644" y="1428"/>
                </a:lnTo>
                <a:lnTo>
                  <a:pt x="4644" y="1438"/>
                </a:lnTo>
                <a:lnTo>
                  <a:pt x="4655" y="1438"/>
                </a:lnTo>
                <a:lnTo>
                  <a:pt x="4655" y="1448"/>
                </a:lnTo>
                <a:lnTo>
                  <a:pt x="4665" y="1459"/>
                </a:lnTo>
                <a:lnTo>
                  <a:pt x="4675" y="1469"/>
                </a:lnTo>
                <a:lnTo>
                  <a:pt x="4685" y="1489"/>
                </a:lnTo>
                <a:lnTo>
                  <a:pt x="4685" y="1499"/>
                </a:lnTo>
                <a:lnTo>
                  <a:pt x="4685" y="1519"/>
                </a:lnTo>
                <a:lnTo>
                  <a:pt x="4685" y="1530"/>
                </a:lnTo>
                <a:lnTo>
                  <a:pt x="4695" y="1540"/>
                </a:lnTo>
                <a:lnTo>
                  <a:pt x="4715" y="1550"/>
                </a:lnTo>
                <a:lnTo>
                  <a:pt x="4725" y="1560"/>
                </a:lnTo>
                <a:lnTo>
                  <a:pt x="4735" y="1570"/>
                </a:lnTo>
                <a:lnTo>
                  <a:pt x="4746" y="1580"/>
                </a:lnTo>
                <a:lnTo>
                  <a:pt x="4746" y="1590"/>
                </a:lnTo>
                <a:lnTo>
                  <a:pt x="4756" y="1600"/>
                </a:lnTo>
                <a:lnTo>
                  <a:pt x="4766" y="1611"/>
                </a:lnTo>
                <a:lnTo>
                  <a:pt x="4776" y="1621"/>
                </a:lnTo>
                <a:lnTo>
                  <a:pt x="4786" y="1631"/>
                </a:lnTo>
                <a:lnTo>
                  <a:pt x="4786" y="1641"/>
                </a:lnTo>
                <a:lnTo>
                  <a:pt x="4796" y="1651"/>
                </a:lnTo>
                <a:lnTo>
                  <a:pt x="4796" y="1661"/>
                </a:lnTo>
                <a:lnTo>
                  <a:pt x="4806" y="1671"/>
                </a:lnTo>
                <a:lnTo>
                  <a:pt x="4806" y="1671"/>
                </a:lnTo>
                <a:lnTo>
                  <a:pt x="4806" y="1681"/>
                </a:lnTo>
                <a:lnTo>
                  <a:pt x="4806" y="1692"/>
                </a:lnTo>
                <a:lnTo>
                  <a:pt x="4806" y="1702"/>
                </a:lnTo>
                <a:lnTo>
                  <a:pt x="4806" y="1712"/>
                </a:lnTo>
                <a:lnTo>
                  <a:pt x="4816" y="1722"/>
                </a:lnTo>
                <a:lnTo>
                  <a:pt x="4816" y="1722"/>
                </a:lnTo>
                <a:lnTo>
                  <a:pt x="4827" y="1732"/>
                </a:lnTo>
                <a:lnTo>
                  <a:pt x="4837" y="1732"/>
                </a:lnTo>
                <a:lnTo>
                  <a:pt x="4837" y="1732"/>
                </a:lnTo>
                <a:lnTo>
                  <a:pt x="4837" y="1742"/>
                </a:lnTo>
                <a:lnTo>
                  <a:pt x="4847" y="1752"/>
                </a:lnTo>
                <a:lnTo>
                  <a:pt x="4847" y="1762"/>
                </a:lnTo>
                <a:lnTo>
                  <a:pt x="4847" y="1773"/>
                </a:lnTo>
                <a:lnTo>
                  <a:pt x="4857" y="1783"/>
                </a:lnTo>
                <a:lnTo>
                  <a:pt x="4867" y="1803"/>
                </a:lnTo>
                <a:lnTo>
                  <a:pt x="4877" y="1823"/>
                </a:lnTo>
                <a:lnTo>
                  <a:pt x="4877" y="1833"/>
                </a:lnTo>
                <a:lnTo>
                  <a:pt x="4887" y="1844"/>
                </a:lnTo>
                <a:lnTo>
                  <a:pt x="4897" y="1854"/>
                </a:lnTo>
                <a:lnTo>
                  <a:pt x="4918" y="1884"/>
                </a:lnTo>
                <a:lnTo>
                  <a:pt x="4928" y="1904"/>
                </a:lnTo>
                <a:lnTo>
                  <a:pt x="4928" y="1914"/>
                </a:lnTo>
                <a:lnTo>
                  <a:pt x="4928" y="1914"/>
                </a:lnTo>
                <a:lnTo>
                  <a:pt x="4938" y="1935"/>
                </a:lnTo>
                <a:lnTo>
                  <a:pt x="4948" y="1945"/>
                </a:lnTo>
                <a:lnTo>
                  <a:pt x="4958" y="1955"/>
                </a:lnTo>
                <a:lnTo>
                  <a:pt x="4978" y="1975"/>
                </a:lnTo>
                <a:lnTo>
                  <a:pt x="4978" y="1985"/>
                </a:lnTo>
                <a:lnTo>
                  <a:pt x="4978" y="1985"/>
                </a:lnTo>
                <a:lnTo>
                  <a:pt x="4978" y="1995"/>
                </a:lnTo>
                <a:lnTo>
                  <a:pt x="4978" y="2006"/>
                </a:lnTo>
                <a:lnTo>
                  <a:pt x="4988" y="2006"/>
                </a:lnTo>
                <a:lnTo>
                  <a:pt x="4999" y="2016"/>
                </a:lnTo>
                <a:lnTo>
                  <a:pt x="4999" y="2026"/>
                </a:lnTo>
                <a:lnTo>
                  <a:pt x="5009" y="2036"/>
                </a:lnTo>
                <a:lnTo>
                  <a:pt x="5009" y="2046"/>
                </a:lnTo>
                <a:lnTo>
                  <a:pt x="5019" y="2056"/>
                </a:lnTo>
                <a:lnTo>
                  <a:pt x="5029" y="2066"/>
                </a:lnTo>
                <a:lnTo>
                  <a:pt x="5029" y="2077"/>
                </a:lnTo>
                <a:lnTo>
                  <a:pt x="5029" y="2087"/>
                </a:lnTo>
                <a:lnTo>
                  <a:pt x="5039" y="2097"/>
                </a:lnTo>
                <a:lnTo>
                  <a:pt x="5039" y="2107"/>
                </a:lnTo>
                <a:lnTo>
                  <a:pt x="5049" y="2127"/>
                </a:lnTo>
                <a:lnTo>
                  <a:pt x="5049" y="2137"/>
                </a:lnTo>
                <a:lnTo>
                  <a:pt x="5059" y="2137"/>
                </a:lnTo>
                <a:lnTo>
                  <a:pt x="5059" y="2147"/>
                </a:lnTo>
                <a:lnTo>
                  <a:pt x="5059" y="2158"/>
                </a:lnTo>
                <a:lnTo>
                  <a:pt x="5069" y="2168"/>
                </a:lnTo>
                <a:lnTo>
                  <a:pt x="5069" y="2178"/>
                </a:lnTo>
                <a:lnTo>
                  <a:pt x="5090" y="2188"/>
                </a:lnTo>
                <a:lnTo>
                  <a:pt x="5090" y="2198"/>
                </a:lnTo>
                <a:lnTo>
                  <a:pt x="5090" y="2198"/>
                </a:lnTo>
                <a:lnTo>
                  <a:pt x="5100" y="2208"/>
                </a:lnTo>
                <a:lnTo>
                  <a:pt x="5100" y="2228"/>
                </a:lnTo>
                <a:lnTo>
                  <a:pt x="5100" y="2239"/>
                </a:lnTo>
                <a:lnTo>
                  <a:pt x="5110" y="2249"/>
                </a:lnTo>
                <a:lnTo>
                  <a:pt x="5120" y="2269"/>
                </a:lnTo>
                <a:lnTo>
                  <a:pt x="5140" y="2289"/>
                </a:lnTo>
                <a:lnTo>
                  <a:pt x="5150" y="2299"/>
                </a:lnTo>
                <a:lnTo>
                  <a:pt x="5160" y="2310"/>
                </a:lnTo>
                <a:lnTo>
                  <a:pt x="5171" y="2320"/>
                </a:lnTo>
                <a:lnTo>
                  <a:pt x="5181" y="2330"/>
                </a:lnTo>
                <a:lnTo>
                  <a:pt x="5201" y="2350"/>
                </a:lnTo>
                <a:lnTo>
                  <a:pt x="5211" y="2370"/>
                </a:lnTo>
                <a:lnTo>
                  <a:pt x="5231" y="2380"/>
                </a:lnTo>
                <a:lnTo>
                  <a:pt x="5252" y="2411"/>
                </a:lnTo>
                <a:lnTo>
                  <a:pt x="5262" y="2421"/>
                </a:lnTo>
                <a:lnTo>
                  <a:pt x="5262" y="2441"/>
                </a:lnTo>
                <a:lnTo>
                  <a:pt x="5272" y="2461"/>
                </a:lnTo>
                <a:lnTo>
                  <a:pt x="5282" y="2472"/>
                </a:lnTo>
                <a:lnTo>
                  <a:pt x="5282" y="2482"/>
                </a:lnTo>
                <a:lnTo>
                  <a:pt x="5302" y="2502"/>
                </a:lnTo>
                <a:lnTo>
                  <a:pt x="5312" y="2512"/>
                </a:lnTo>
                <a:lnTo>
                  <a:pt x="5332" y="2522"/>
                </a:lnTo>
                <a:lnTo>
                  <a:pt x="5343" y="2532"/>
                </a:lnTo>
                <a:lnTo>
                  <a:pt x="5353" y="2553"/>
                </a:lnTo>
                <a:lnTo>
                  <a:pt x="5363" y="2563"/>
                </a:lnTo>
                <a:lnTo>
                  <a:pt x="5383" y="2583"/>
                </a:lnTo>
                <a:lnTo>
                  <a:pt x="5393" y="2593"/>
                </a:lnTo>
                <a:lnTo>
                  <a:pt x="5413" y="2593"/>
                </a:lnTo>
                <a:lnTo>
                  <a:pt x="5434" y="2603"/>
                </a:lnTo>
                <a:lnTo>
                  <a:pt x="5464" y="2613"/>
                </a:lnTo>
                <a:lnTo>
                  <a:pt x="5474" y="2613"/>
                </a:lnTo>
                <a:lnTo>
                  <a:pt x="5484" y="2613"/>
                </a:lnTo>
                <a:lnTo>
                  <a:pt x="5504" y="2624"/>
                </a:lnTo>
                <a:lnTo>
                  <a:pt x="5515" y="2624"/>
                </a:lnTo>
                <a:lnTo>
                  <a:pt x="5525" y="2624"/>
                </a:lnTo>
                <a:lnTo>
                  <a:pt x="5535" y="2624"/>
                </a:lnTo>
                <a:lnTo>
                  <a:pt x="5535" y="2634"/>
                </a:lnTo>
                <a:lnTo>
                  <a:pt x="5545" y="2634"/>
                </a:lnTo>
                <a:lnTo>
                  <a:pt x="5555" y="2644"/>
                </a:lnTo>
                <a:lnTo>
                  <a:pt x="5575" y="2654"/>
                </a:lnTo>
                <a:lnTo>
                  <a:pt x="5596" y="2674"/>
                </a:lnTo>
                <a:lnTo>
                  <a:pt x="5616" y="2684"/>
                </a:lnTo>
                <a:lnTo>
                  <a:pt x="5636" y="2694"/>
                </a:lnTo>
                <a:lnTo>
                  <a:pt x="5646" y="2705"/>
                </a:lnTo>
                <a:lnTo>
                  <a:pt x="5656" y="2705"/>
                </a:lnTo>
                <a:lnTo>
                  <a:pt x="5666" y="2715"/>
                </a:lnTo>
                <a:lnTo>
                  <a:pt x="5687" y="2725"/>
                </a:lnTo>
                <a:lnTo>
                  <a:pt x="5697" y="2735"/>
                </a:lnTo>
                <a:lnTo>
                  <a:pt x="5707" y="2735"/>
                </a:lnTo>
                <a:lnTo>
                  <a:pt x="5717" y="2745"/>
                </a:lnTo>
                <a:lnTo>
                  <a:pt x="5727" y="2755"/>
                </a:lnTo>
                <a:lnTo>
                  <a:pt x="5747" y="2755"/>
                </a:lnTo>
                <a:lnTo>
                  <a:pt x="5757" y="2765"/>
                </a:lnTo>
                <a:lnTo>
                  <a:pt x="5768" y="2765"/>
                </a:lnTo>
                <a:lnTo>
                  <a:pt x="5778" y="2765"/>
                </a:lnTo>
                <a:lnTo>
                  <a:pt x="5788" y="2765"/>
                </a:lnTo>
                <a:lnTo>
                  <a:pt x="5788" y="2776"/>
                </a:lnTo>
                <a:lnTo>
                  <a:pt x="5798" y="2776"/>
                </a:lnTo>
                <a:lnTo>
                  <a:pt x="5808" y="2786"/>
                </a:lnTo>
                <a:lnTo>
                  <a:pt x="5818" y="2806"/>
                </a:lnTo>
                <a:lnTo>
                  <a:pt x="5818" y="2806"/>
                </a:lnTo>
                <a:lnTo>
                  <a:pt x="5828" y="2816"/>
                </a:lnTo>
                <a:lnTo>
                  <a:pt x="5828" y="2836"/>
                </a:lnTo>
                <a:lnTo>
                  <a:pt x="5828" y="2846"/>
                </a:lnTo>
                <a:lnTo>
                  <a:pt x="5828" y="2857"/>
                </a:lnTo>
                <a:lnTo>
                  <a:pt x="5838" y="2867"/>
                </a:lnTo>
                <a:lnTo>
                  <a:pt x="5838" y="2877"/>
                </a:lnTo>
                <a:lnTo>
                  <a:pt x="5838" y="2887"/>
                </a:lnTo>
                <a:lnTo>
                  <a:pt x="5838" y="2897"/>
                </a:lnTo>
                <a:lnTo>
                  <a:pt x="5838" y="2917"/>
                </a:lnTo>
                <a:lnTo>
                  <a:pt x="5849" y="2927"/>
                </a:lnTo>
                <a:lnTo>
                  <a:pt x="5849" y="2938"/>
                </a:lnTo>
                <a:lnTo>
                  <a:pt x="5859" y="2958"/>
                </a:lnTo>
                <a:lnTo>
                  <a:pt x="5869" y="2958"/>
                </a:lnTo>
                <a:lnTo>
                  <a:pt x="5879" y="2968"/>
                </a:lnTo>
                <a:lnTo>
                  <a:pt x="5879" y="2978"/>
                </a:lnTo>
                <a:lnTo>
                  <a:pt x="5879" y="2988"/>
                </a:lnTo>
                <a:lnTo>
                  <a:pt x="5879" y="2998"/>
                </a:lnTo>
                <a:lnTo>
                  <a:pt x="5869" y="2998"/>
                </a:lnTo>
                <a:lnTo>
                  <a:pt x="5869" y="3009"/>
                </a:lnTo>
                <a:lnTo>
                  <a:pt x="5869" y="3019"/>
                </a:lnTo>
                <a:lnTo>
                  <a:pt x="5869" y="3029"/>
                </a:lnTo>
                <a:lnTo>
                  <a:pt x="5879" y="3039"/>
                </a:lnTo>
                <a:lnTo>
                  <a:pt x="5879" y="3039"/>
                </a:lnTo>
                <a:lnTo>
                  <a:pt x="5889" y="3049"/>
                </a:lnTo>
                <a:lnTo>
                  <a:pt x="5889" y="3059"/>
                </a:lnTo>
                <a:lnTo>
                  <a:pt x="5889" y="3069"/>
                </a:lnTo>
                <a:lnTo>
                  <a:pt x="5889" y="3090"/>
                </a:lnTo>
                <a:lnTo>
                  <a:pt x="5889" y="3110"/>
                </a:lnTo>
                <a:lnTo>
                  <a:pt x="5889" y="3120"/>
                </a:lnTo>
                <a:lnTo>
                  <a:pt x="5889" y="3130"/>
                </a:lnTo>
                <a:lnTo>
                  <a:pt x="5889" y="3140"/>
                </a:lnTo>
                <a:lnTo>
                  <a:pt x="5889" y="3160"/>
                </a:lnTo>
                <a:lnTo>
                  <a:pt x="5889" y="3160"/>
                </a:lnTo>
                <a:lnTo>
                  <a:pt x="5879" y="3171"/>
                </a:lnTo>
                <a:lnTo>
                  <a:pt x="5879" y="3171"/>
                </a:lnTo>
                <a:lnTo>
                  <a:pt x="5869" y="3181"/>
                </a:lnTo>
                <a:lnTo>
                  <a:pt x="5849" y="3181"/>
                </a:lnTo>
                <a:lnTo>
                  <a:pt x="5838" y="3191"/>
                </a:lnTo>
                <a:lnTo>
                  <a:pt x="5838" y="3191"/>
                </a:lnTo>
                <a:lnTo>
                  <a:pt x="5828" y="3201"/>
                </a:lnTo>
                <a:lnTo>
                  <a:pt x="5828" y="3211"/>
                </a:lnTo>
                <a:lnTo>
                  <a:pt x="5828" y="3221"/>
                </a:lnTo>
                <a:lnTo>
                  <a:pt x="5828" y="3231"/>
                </a:lnTo>
                <a:lnTo>
                  <a:pt x="5818" y="3241"/>
                </a:lnTo>
                <a:lnTo>
                  <a:pt x="5818" y="3252"/>
                </a:lnTo>
                <a:lnTo>
                  <a:pt x="5818" y="3262"/>
                </a:lnTo>
                <a:lnTo>
                  <a:pt x="5818" y="3272"/>
                </a:lnTo>
                <a:lnTo>
                  <a:pt x="5818" y="3282"/>
                </a:lnTo>
                <a:lnTo>
                  <a:pt x="5818" y="3292"/>
                </a:lnTo>
                <a:lnTo>
                  <a:pt x="5828" y="3302"/>
                </a:lnTo>
                <a:lnTo>
                  <a:pt x="5828" y="3302"/>
                </a:lnTo>
                <a:lnTo>
                  <a:pt x="5828" y="3312"/>
                </a:lnTo>
                <a:lnTo>
                  <a:pt x="5828" y="3323"/>
                </a:lnTo>
                <a:lnTo>
                  <a:pt x="5828" y="3333"/>
                </a:lnTo>
                <a:lnTo>
                  <a:pt x="5828" y="3343"/>
                </a:lnTo>
                <a:lnTo>
                  <a:pt x="5828" y="3343"/>
                </a:lnTo>
                <a:lnTo>
                  <a:pt x="5818" y="3353"/>
                </a:lnTo>
                <a:lnTo>
                  <a:pt x="5818" y="3363"/>
                </a:lnTo>
                <a:lnTo>
                  <a:pt x="5808" y="3373"/>
                </a:lnTo>
                <a:lnTo>
                  <a:pt x="5798" y="3383"/>
                </a:lnTo>
                <a:lnTo>
                  <a:pt x="5788" y="3393"/>
                </a:lnTo>
                <a:lnTo>
                  <a:pt x="5778" y="3404"/>
                </a:lnTo>
                <a:lnTo>
                  <a:pt x="5778" y="3414"/>
                </a:lnTo>
                <a:lnTo>
                  <a:pt x="5778" y="3424"/>
                </a:lnTo>
                <a:lnTo>
                  <a:pt x="5778" y="3434"/>
                </a:lnTo>
                <a:lnTo>
                  <a:pt x="5768" y="3444"/>
                </a:lnTo>
                <a:lnTo>
                  <a:pt x="5768" y="3464"/>
                </a:lnTo>
                <a:lnTo>
                  <a:pt x="5768" y="3464"/>
                </a:lnTo>
                <a:lnTo>
                  <a:pt x="5768" y="3474"/>
                </a:lnTo>
                <a:lnTo>
                  <a:pt x="5768" y="3485"/>
                </a:lnTo>
                <a:lnTo>
                  <a:pt x="5757" y="3505"/>
                </a:lnTo>
                <a:lnTo>
                  <a:pt x="5757" y="3515"/>
                </a:lnTo>
                <a:lnTo>
                  <a:pt x="5737" y="3545"/>
                </a:lnTo>
                <a:lnTo>
                  <a:pt x="5717" y="3566"/>
                </a:lnTo>
                <a:lnTo>
                  <a:pt x="5717" y="3576"/>
                </a:lnTo>
                <a:lnTo>
                  <a:pt x="5707" y="3596"/>
                </a:lnTo>
                <a:lnTo>
                  <a:pt x="5707" y="3606"/>
                </a:lnTo>
                <a:lnTo>
                  <a:pt x="5697" y="3616"/>
                </a:lnTo>
                <a:lnTo>
                  <a:pt x="5697" y="3626"/>
                </a:lnTo>
                <a:lnTo>
                  <a:pt x="5687" y="3637"/>
                </a:lnTo>
                <a:lnTo>
                  <a:pt x="5687" y="3637"/>
                </a:lnTo>
                <a:lnTo>
                  <a:pt x="5677" y="3647"/>
                </a:lnTo>
                <a:lnTo>
                  <a:pt x="5666" y="3667"/>
                </a:lnTo>
                <a:lnTo>
                  <a:pt x="5656" y="3677"/>
                </a:lnTo>
                <a:lnTo>
                  <a:pt x="5656" y="3697"/>
                </a:lnTo>
                <a:lnTo>
                  <a:pt x="5656" y="3718"/>
                </a:lnTo>
                <a:lnTo>
                  <a:pt x="5656" y="3728"/>
                </a:lnTo>
                <a:lnTo>
                  <a:pt x="5656" y="3728"/>
                </a:lnTo>
                <a:lnTo>
                  <a:pt x="5656" y="3738"/>
                </a:lnTo>
                <a:lnTo>
                  <a:pt x="5646" y="3738"/>
                </a:lnTo>
                <a:lnTo>
                  <a:pt x="5646" y="3758"/>
                </a:lnTo>
                <a:lnTo>
                  <a:pt x="5646" y="3768"/>
                </a:lnTo>
                <a:lnTo>
                  <a:pt x="5636" y="3778"/>
                </a:lnTo>
                <a:lnTo>
                  <a:pt x="5636" y="3799"/>
                </a:lnTo>
                <a:lnTo>
                  <a:pt x="5626" y="3819"/>
                </a:lnTo>
                <a:lnTo>
                  <a:pt x="5626" y="3839"/>
                </a:lnTo>
                <a:lnTo>
                  <a:pt x="5616" y="3859"/>
                </a:lnTo>
                <a:lnTo>
                  <a:pt x="5616" y="3870"/>
                </a:lnTo>
                <a:lnTo>
                  <a:pt x="5616" y="3890"/>
                </a:lnTo>
                <a:lnTo>
                  <a:pt x="5606" y="3910"/>
                </a:lnTo>
                <a:lnTo>
                  <a:pt x="5606" y="3930"/>
                </a:lnTo>
                <a:lnTo>
                  <a:pt x="5606" y="3951"/>
                </a:lnTo>
                <a:lnTo>
                  <a:pt x="5606" y="3971"/>
                </a:lnTo>
                <a:lnTo>
                  <a:pt x="5606" y="3971"/>
                </a:lnTo>
                <a:lnTo>
                  <a:pt x="5606" y="3991"/>
                </a:lnTo>
                <a:lnTo>
                  <a:pt x="5606" y="4011"/>
                </a:lnTo>
                <a:lnTo>
                  <a:pt x="5606" y="4032"/>
                </a:lnTo>
                <a:lnTo>
                  <a:pt x="5606" y="4062"/>
                </a:lnTo>
                <a:lnTo>
                  <a:pt x="5606" y="4082"/>
                </a:lnTo>
                <a:lnTo>
                  <a:pt x="5606" y="4082"/>
                </a:lnTo>
                <a:lnTo>
                  <a:pt x="5596" y="4092"/>
                </a:lnTo>
                <a:lnTo>
                  <a:pt x="5596" y="4113"/>
                </a:lnTo>
                <a:lnTo>
                  <a:pt x="5596" y="4113"/>
                </a:lnTo>
                <a:lnTo>
                  <a:pt x="5596" y="4133"/>
                </a:lnTo>
                <a:lnTo>
                  <a:pt x="5596" y="4143"/>
                </a:lnTo>
                <a:lnTo>
                  <a:pt x="5606" y="4143"/>
                </a:lnTo>
                <a:lnTo>
                  <a:pt x="5606" y="4153"/>
                </a:lnTo>
                <a:lnTo>
                  <a:pt x="5616" y="4153"/>
                </a:lnTo>
                <a:lnTo>
                  <a:pt x="5606" y="4153"/>
                </a:lnTo>
                <a:lnTo>
                  <a:pt x="5606" y="4163"/>
                </a:lnTo>
                <a:lnTo>
                  <a:pt x="5606" y="4163"/>
                </a:lnTo>
                <a:lnTo>
                  <a:pt x="5596" y="4173"/>
                </a:lnTo>
                <a:lnTo>
                  <a:pt x="5596" y="4184"/>
                </a:lnTo>
                <a:lnTo>
                  <a:pt x="5606" y="4194"/>
                </a:lnTo>
                <a:lnTo>
                  <a:pt x="5606" y="4214"/>
                </a:lnTo>
                <a:lnTo>
                  <a:pt x="5606" y="4224"/>
                </a:lnTo>
                <a:lnTo>
                  <a:pt x="5606" y="4234"/>
                </a:lnTo>
                <a:lnTo>
                  <a:pt x="5606" y="4244"/>
                </a:lnTo>
                <a:lnTo>
                  <a:pt x="5606" y="4255"/>
                </a:lnTo>
                <a:lnTo>
                  <a:pt x="5596" y="4275"/>
                </a:lnTo>
                <a:lnTo>
                  <a:pt x="5596" y="4295"/>
                </a:lnTo>
                <a:lnTo>
                  <a:pt x="5596" y="4305"/>
                </a:lnTo>
                <a:lnTo>
                  <a:pt x="5596" y="4315"/>
                </a:lnTo>
                <a:lnTo>
                  <a:pt x="5596" y="4325"/>
                </a:lnTo>
                <a:lnTo>
                  <a:pt x="5596" y="4336"/>
                </a:lnTo>
                <a:lnTo>
                  <a:pt x="5596" y="4366"/>
                </a:lnTo>
                <a:lnTo>
                  <a:pt x="5596" y="4386"/>
                </a:lnTo>
                <a:lnTo>
                  <a:pt x="5596" y="4406"/>
                </a:lnTo>
                <a:lnTo>
                  <a:pt x="5596" y="4417"/>
                </a:lnTo>
                <a:lnTo>
                  <a:pt x="5596" y="4437"/>
                </a:lnTo>
                <a:lnTo>
                  <a:pt x="5606" y="4447"/>
                </a:lnTo>
                <a:lnTo>
                  <a:pt x="5606" y="4467"/>
                </a:lnTo>
                <a:lnTo>
                  <a:pt x="5616" y="4477"/>
                </a:lnTo>
                <a:lnTo>
                  <a:pt x="5616" y="4498"/>
                </a:lnTo>
                <a:lnTo>
                  <a:pt x="5616" y="4498"/>
                </a:lnTo>
                <a:lnTo>
                  <a:pt x="5616" y="4508"/>
                </a:lnTo>
                <a:lnTo>
                  <a:pt x="5616" y="4528"/>
                </a:lnTo>
                <a:lnTo>
                  <a:pt x="5616" y="4528"/>
                </a:lnTo>
                <a:lnTo>
                  <a:pt x="5616" y="4548"/>
                </a:lnTo>
                <a:lnTo>
                  <a:pt x="5616" y="4558"/>
                </a:lnTo>
                <a:lnTo>
                  <a:pt x="5626" y="4579"/>
                </a:lnTo>
                <a:lnTo>
                  <a:pt x="5636" y="4599"/>
                </a:lnTo>
                <a:lnTo>
                  <a:pt x="5636" y="4619"/>
                </a:lnTo>
                <a:lnTo>
                  <a:pt x="5636" y="4639"/>
                </a:lnTo>
                <a:lnTo>
                  <a:pt x="5636" y="4660"/>
                </a:lnTo>
                <a:lnTo>
                  <a:pt x="5646" y="4670"/>
                </a:lnTo>
                <a:lnTo>
                  <a:pt x="5646" y="4680"/>
                </a:lnTo>
                <a:lnTo>
                  <a:pt x="5646" y="4690"/>
                </a:lnTo>
                <a:lnTo>
                  <a:pt x="5646" y="4700"/>
                </a:lnTo>
                <a:lnTo>
                  <a:pt x="5646" y="4710"/>
                </a:lnTo>
                <a:lnTo>
                  <a:pt x="5636" y="4720"/>
                </a:lnTo>
                <a:lnTo>
                  <a:pt x="5636" y="4731"/>
                </a:lnTo>
                <a:lnTo>
                  <a:pt x="5626" y="4731"/>
                </a:lnTo>
                <a:lnTo>
                  <a:pt x="5626" y="4751"/>
                </a:lnTo>
                <a:lnTo>
                  <a:pt x="5626" y="4771"/>
                </a:lnTo>
                <a:lnTo>
                  <a:pt x="5616" y="4781"/>
                </a:lnTo>
                <a:lnTo>
                  <a:pt x="5616" y="4781"/>
                </a:lnTo>
                <a:lnTo>
                  <a:pt x="5616" y="4802"/>
                </a:lnTo>
                <a:lnTo>
                  <a:pt x="5616" y="4822"/>
                </a:lnTo>
                <a:lnTo>
                  <a:pt x="5616" y="4842"/>
                </a:lnTo>
                <a:lnTo>
                  <a:pt x="5616" y="4842"/>
                </a:lnTo>
                <a:lnTo>
                  <a:pt x="5616" y="4852"/>
                </a:lnTo>
                <a:lnTo>
                  <a:pt x="5606" y="4872"/>
                </a:lnTo>
                <a:lnTo>
                  <a:pt x="5596" y="4872"/>
                </a:lnTo>
                <a:lnTo>
                  <a:pt x="5596" y="4872"/>
                </a:lnTo>
                <a:lnTo>
                  <a:pt x="5575" y="4872"/>
                </a:lnTo>
                <a:lnTo>
                  <a:pt x="5565" y="4883"/>
                </a:lnTo>
                <a:lnTo>
                  <a:pt x="5555" y="4883"/>
                </a:lnTo>
                <a:lnTo>
                  <a:pt x="5545" y="4903"/>
                </a:lnTo>
                <a:lnTo>
                  <a:pt x="5535" y="4903"/>
                </a:lnTo>
                <a:lnTo>
                  <a:pt x="5525" y="4913"/>
                </a:lnTo>
                <a:lnTo>
                  <a:pt x="5515" y="4933"/>
                </a:lnTo>
                <a:lnTo>
                  <a:pt x="5494" y="4953"/>
                </a:lnTo>
                <a:lnTo>
                  <a:pt x="5484" y="4964"/>
                </a:lnTo>
                <a:lnTo>
                  <a:pt x="5484" y="4974"/>
                </a:lnTo>
                <a:lnTo>
                  <a:pt x="5474" y="4974"/>
                </a:lnTo>
                <a:lnTo>
                  <a:pt x="5464" y="4974"/>
                </a:lnTo>
                <a:lnTo>
                  <a:pt x="5444" y="4974"/>
                </a:lnTo>
                <a:lnTo>
                  <a:pt x="5434" y="4974"/>
                </a:lnTo>
                <a:lnTo>
                  <a:pt x="5424" y="4984"/>
                </a:lnTo>
                <a:lnTo>
                  <a:pt x="5413" y="4984"/>
                </a:lnTo>
                <a:lnTo>
                  <a:pt x="5403" y="4984"/>
                </a:lnTo>
                <a:lnTo>
                  <a:pt x="5393" y="4994"/>
                </a:lnTo>
                <a:lnTo>
                  <a:pt x="5373" y="5004"/>
                </a:lnTo>
                <a:lnTo>
                  <a:pt x="5353" y="5004"/>
                </a:lnTo>
                <a:lnTo>
                  <a:pt x="5343" y="5004"/>
                </a:lnTo>
                <a:lnTo>
                  <a:pt x="5322" y="5004"/>
                </a:lnTo>
                <a:lnTo>
                  <a:pt x="5312" y="5014"/>
                </a:lnTo>
                <a:lnTo>
                  <a:pt x="5302" y="5014"/>
                </a:lnTo>
                <a:lnTo>
                  <a:pt x="5292" y="5014"/>
                </a:lnTo>
                <a:lnTo>
                  <a:pt x="5282" y="5014"/>
                </a:lnTo>
                <a:lnTo>
                  <a:pt x="5272" y="5014"/>
                </a:lnTo>
                <a:lnTo>
                  <a:pt x="5262" y="5024"/>
                </a:lnTo>
                <a:lnTo>
                  <a:pt x="5252" y="5024"/>
                </a:lnTo>
                <a:lnTo>
                  <a:pt x="5252" y="5035"/>
                </a:lnTo>
                <a:lnTo>
                  <a:pt x="5231" y="5035"/>
                </a:lnTo>
                <a:lnTo>
                  <a:pt x="5221" y="5045"/>
                </a:lnTo>
                <a:lnTo>
                  <a:pt x="5201" y="5045"/>
                </a:lnTo>
                <a:lnTo>
                  <a:pt x="5191" y="5045"/>
                </a:lnTo>
                <a:lnTo>
                  <a:pt x="5191" y="5055"/>
                </a:lnTo>
                <a:lnTo>
                  <a:pt x="5171" y="5055"/>
                </a:lnTo>
                <a:lnTo>
                  <a:pt x="5160" y="5055"/>
                </a:lnTo>
                <a:lnTo>
                  <a:pt x="5140" y="5045"/>
                </a:lnTo>
                <a:lnTo>
                  <a:pt x="5120" y="5035"/>
                </a:lnTo>
                <a:lnTo>
                  <a:pt x="5100" y="5035"/>
                </a:lnTo>
                <a:lnTo>
                  <a:pt x="5080" y="5035"/>
                </a:lnTo>
                <a:lnTo>
                  <a:pt x="5059" y="5045"/>
                </a:lnTo>
                <a:lnTo>
                  <a:pt x="5039" y="5045"/>
                </a:lnTo>
                <a:lnTo>
                  <a:pt x="5029" y="5045"/>
                </a:lnTo>
                <a:lnTo>
                  <a:pt x="5019" y="5045"/>
                </a:lnTo>
                <a:lnTo>
                  <a:pt x="5009" y="5045"/>
                </a:lnTo>
                <a:lnTo>
                  <a:pt x="4999" y="5055"/>
                </a:lnTo>
                <a:lnTo>
                  <a:pt x="4978" y="5065"/>
                </a:lnTo>
                <a:lnTo>
                  <a:pt x="4968" y="5065"/>
                </a:lnTo>
                <a:lnTo>
                  <a:pt x="4958" y="5065"/>
                </a:lnTo>
                <a:lnTo>
                  <a:pt x="4948" y="5075"/>
                </a:lnTo>
                <a:lnTo>
                  <a:pt x="4938" y="5075"/>
                </a:lnTo>
                <a:lnTo>
                  <a:pt x="4928" y="5075"/>
                </a:lnTo>
                <a:lnTo>
                  <a:pt x="4918" y="5075"/>
                </a:lnTo>
                <a:lnTo>
                  <a:pt x="4907" y="5085"/>
                </a:lnTo>
                <a:lnTo>
                  <a:pt x="4897" y="5085"/>
                </a:lnTo>
                <a:lnTo>
                  <a:pt x="4887" y="5095"/>
                </a:lnTo>
                <a:lnTo>
                  <a:pt x="4867" y="5095"/>
                </a:lnTo>
                <a:lnTo>
                  <a:pt x="4847" y="5105"/>
                </a:lnTo>
                <a:lnTo>
                  <a:pt x="4837" y="5105"/>
                </a:lnTo>
                <a:lnTo>
                  <a:pt x="4827" y="5105"/>
                </a:lnTo>
                <a:lnTo>
                  <a:pt x="4816" y="5116"/>
                </a:lnTo>
                <a:lnTo>
                  <a:pt x="4806" y="5116"/>
                </a:lnTo>
                <a:lnTo>
                  <a:pt x="4786" y="5126"/>
                </a:lnTo>
                <a:lnTo>
                  <a:pt x="4776" y="5126"/>
                </a:lnTo>
                <a:lnTo>
                  <a:pt x="4766" y="5136"/>
                </a:lnTo>
                <a:lnTo>
                  <a:pt x="4756" y="5136"/>
                </a:lnTo>
                <a:lnTo>
                  <a:pt x="4735" y="5136"/>
                </a:lnTo>
                <a:lnTo>
                  <a:pt x="4705" y="5146"/>
                </a:lnTo>
                <a:lnTo>
                  <a:pt x="4695" y="5146"/>
                </a:lnTo>
                <a:lnTo>
                  <a:pt x="4685" y="5156"/>
                </a:lnTo>
                <a:lnTo>
                  <a:pt x="4675" y="5156"/>
                </a:lnTo>
                <a:lnTo>
                  <a:pt x="4675" y="5156"/>
                </a:lnTo>
                <a:lnTo>
                  <a:pt x="4655" y="5156"/>
                </a:lnTo>
                <a:lnTo>
                  <a:pt x="4634" y="5156"/>
                </a:lnTo>
                <a:lnTo>
                  <a:pt x="4614" y="5156"/>
                </a:lnTo>
                <a:lnTo>
                  <a:pt x="4594" y="5156"/>
                </a:lnTo>
                <a:lnTo>
                  <a:pt x="4574" y="5156"/>
                </a:lnTo>
                <a:lnTo>
                  <a:pt x="4553" y="5146"/>
                </a:lnTo>
                <a:lnTo>
                  <a:pt x="4543" y="5146"/>
                </a:lnTo>
                <a:lnTo>
                  <a:pt x="4523" y="5146"/>
                </a:lnTo>
                <a:lnTo>
                  <a:pt x="4513" y="5156"/>
                </a:lnTo>
                <a:lnTo>
                  <a:pt x="4503" y="5156"/>
                </a:lnTo>
                <a:lnTo>
                  <a:pt x="4493" y="5156"/>
                </a:lnTo>
                <a:lnTo>
                  <a:pt x="4482" y="5156"/>
                </a:lnTo>
                <a:lnTo>
                  <a:pt x="4462" y="5156"/>
                </a:lnTo>
                <a:lnTo>
                  <a:pt x="4452" y="5166"/>
                </a:lnTo>
                <a:lnTo>
                  <a:pt x="4442" y="5166"/>
                </a:lnTo>
                <a:lnTo>
                  <a:pt x="4412" y="5166"/>
                </a:lnTo>
                <a:lnTo>
                  <a:pt x="4402" y="5166"/>
                </a:lnTo>
                <a:lnTo>
                  <a:pt x="4381" y="5166"/>
                </a:lnTo>
                <a:lnTo>
                  <a:pt x="4371" y="5176"/>
                </a:lnTo>
                <a:lnTo>
                  <a:pt x="4361" y="5186"/>
                </a:lnTo>
                <a:lnTo>
                  <a:pt x="4351" y="5197"/>
                </a:lnTo>
                <a:lnTo>
                  <a:pt x="4341" y="5197"/>
                </a:lnTo>
                <a:lnTo>
                  <a:pt x="4331" y="5207"/>
                </a:lnTo>
                <a:lnTo>
                  <a:pt x="4310" y="5207"/>
                </a:lnTo>
                <a:lnTo>
                  <a:pt x="4280" y="5207"/>
                </a:lnTo>
                <a:lnTo>
                  <a:pt x="4270" y="5197"/>
                </a:lnTo>
                <a:lnTo>
                  <a:pt x="4260" y="5197"/>
                </a:lnTo>
                <a:lnTo>
                  <a:pt x="4250" y="5197"/>
                </a:lnTo>
                <a:lnTo>
                  <a:pt x="4230" y="5207"/>
                </a:lnTo>
                <a:lnTo>
                  <a:pt x="4209" y="5217"/>
                </a:lnTo>
                <a:lnTo>
                  <a:pt x="4199" y="5217"/>
                </a:lnTo>
                <a:lnTo>
                  <a:pt x="4189" y="5217"/>
                </a:lnTo>
                <a:lnTo>
                  <a:pt x="4169" y="5217"/>
                </a:lnTo>
                <a:lnTo>
                  <a:pt x="4138" y="5217"/>
                </a:lnTo>
                <a:lnTo>
                  <a:pt x="4128" y="5217"/>
                </a:lnTo>
                <a:lnTo>
                  <a:pt x="4118" y="5217"/>
                </a:lnTo>
                <a:lnTo>
                  <a:pt x="4088" y="5217"/>
                </a:lnTo>
                <a:lnTo>
                  <a:pt x="4068" y="5217"/>
                </a:lnTo>
                <a:lnTo>
                  <a:pt x="4037" y="5217"/>
                </a:lnTo>
                <a:lnTo>
                  <a:pt x="4027" y="5217"/>
                </a:lnTo>
                <a:lnTo>
                  <a:pt x="4017" y="5217"/>
                </a:lnTo>
                <a:lnTo>
                  <a:pt x="3987" y="5217"/>
                </a:lnTo>
                <a:lnTo>
                  <a:pt x="3977" y="5217"/>
                </a:lnTo>
                <a:lnTo>
                  <a:pt x="3966" y="5217"/>
                </a:lnTo>
                <a:lnTo>
                  <a:pt x="3946" y="5217"/>
                </a:lnTo>
                <a:lnTo>
                  <a:pt x="3926" y="5217"/>
                </a:lnTo>
                <a:lnTo>
                  <a:pt x="3916" y="5207"/>
                </a:lnTo>
                <a:lnTo>
                  <a:pt x="3906" y="5197"/>
                </a:lnTo>
                <a:lnTo>
                  <a:pt x="3896" y="5197"/>
                </a:lnTo>
                <a:lnTo>
                  <a:pt x="3875" y="5197"/>
                </a:lnTo>
                <a:lnTo>
                  <a:pt x="3865" y="5197"/>
                </a:lnTo>
                <a:lnTo>
                  <a:pt x="3855" y="5197"/>
                </a:lnTo>
                <a:lnTo>
                  <a:pt x="3835" y="5186"/>
                </a:lnTo>
                <a:lnTo>
                  <a:pt x="3815" y="5186"/>
                </a:lnTo>
                <a:lnTo>
                  <a:pt x="3774" y="5186"/>
                </a:lnTo>
                <a:lnTo>
                  <a:pt x="3764" y="5186"/>
                </a:lnTo>
                <a:lnTo>
                  <a:pt x="3754" y="5186"/>
                </a:lnTo>
                <a:lnTo>
                  <a:pt x="3754" y="5197"/>
                </a:lnTo>
                <a:lnTo>
                  <a:pt x="3744" y="5207"/>
                </a:lnTo>
                <a:lnTo>
                  <a:pt x="3734" y="5207"/>
                </a:lnTo>
                <a:lnTo>
                  <a:pt x="3734" y="5217"/>
                </a:lnTo>
                <a:lnTo>
                  <a:pt x="3734" y="5217"/>
                </a:lnTo>
                <a:lnTo>
                  <a:pt x="3713" y="5217"/>
                </a:lnTo>
                <a:lnTo>
                  <a:pt x="3703" y="5217"/>
                </a:lnTo>
                <a:lnTo>
                  <a:pt x="3703" y="5217"/>
                </a:lnTo>
                <a:lnTo>
                  <a:pt x="3693" y="5207"/>
                </a:lnTo>
                <a:lnTo>
                  <a:pt x="3683" y="5197"/>
                </a:lnTo>
                <a:lnTo>
                  <a:pt x="3683" y="5197"/>
                </a:lnTo>
                <a:lnTo>
                  <a:pt x="3673" y="5186"/>
                </a:lnTo>
                <a:lnTo>
                  <a:pt x="3673" y="5176"/>
                </a:lnTo>
                <a:lnTo>
                  <a:pt x="3663" y="5176"/>
                </a:lnTo>
                <a:lnTo>
                  <a:pt x="3653" y="5176"/>
                </a:lnTo>
                <a:lnTo>
                  <a:pt x="3643" y="5176"/>
                </a:lnTo>
                <a:lnTo>
                  <a:pt x="3633" y="5166"/>
                </a:lnTo>
                <a:lnTo>
                  <a:pt x="3622" y="5166"/>
                </a:lnTo>
                <a:lnTo>
                  <a:pt x="3612" y="5156"/>
                </a:lnTo>
                <a:lnTo>
                  <a:pt x="3602" y="5146"/>
                </a:lnTo>
                <a:lnTo>
                  <a:pt x="3582" y="5136"/>
                </a:lnTo>
                <a:lnTo>
                  <a:pt x="3572" y="5126"/>
                </a:lnTo>
                <a:lnTo>
                  <a:pt x="3562" y="5126"/>
                </a:lnTo>
                <a:lnTo>
                  <a:pt x="3562" y="5126"/>
                </a:lnTo>
                <a:lnTo>
                  <a:pt x="3541" y="5116"/>
                </a:lnTo>
                <a:lnTo>
                  <a:pt x="3531" y="5116"/>
                </a:lnTo>
                <a:lnTo>
                  <a:pt x="3501" y="5105"/>
                </a:lnTo>
                <a:lnTo>
                  <a:pt x="3491" y="5105"/>
                </a:lnTo>
                <a:lnTo>
                  <a:pt x="3491" y="5105"/>
                </a:lnTo>
                <a:lnTo>
                  <a:pt x="3481" y="5105"/>
                </a:lnTo>
                <a:lnTo>
                  <a:pt x="3471" y="5095"/>
                </a:lnTo>
                <a:lnTo>
                  <a:pt x="3450" y="5085"/>
                </a:lnTo>
                <a:lnTo>
                  <a:pt x="3440" y="5085"/>
                </a:lnTo>
                <a:lnTo>
                  <a:pt x="3420" y="5085"/>
                </a:lnTo>
                <a:lnTo>
                  <a:pt x="3410" y="5075"/>
                </a:lnTo>
                <a:lnTo>
                  <a:pt x="3390" y="5085"/>
                </a:lnTo>
                <a:lnTo>
                  <a:pt x="3359" y="5085"/>
                </a:lnTo>
                <a:lnTo>
                  <a:pt x="3339" y="5075"/>
                </a:lnTo>
                <a:lnTo>
                  <a:pt x="3319" y="5075"/>
                </a:lnTo>
                <a:lnTo>
                  <a:pt x="3309" y="5075"/>
                </a:lnTo>
                <a:lnTo>
                  <a:pt x="3288" y="5075"/>
                </a:lnTo>
                <a:lnTo>
                  <a:pt x="3278" y="5075"/>
                </a:lnTo>
                <a:lnTo>
                  <a:pt x="3268" y="5075"/>
                </a:lnTo>
                <a:lnTo>
                  <a:pt x="3258" y="5085"/>
                </a:lnTo>
                <a:lnTo>
                  <a:pt x="3248" y="5095"/>
                </a:lnTo>
                <a:lnTo>
                  <a:pt x="3238" y="5095"/>
                </a:lnTo>
                <a:lnTo>
                  <a:pt x="3218" y="5095"/>
                </a:lnTo>
                <a:lnTo>
                  <a:pt x="3197" y="5095"/>
                </a:lnTo>
                <a:lnTo>
                  <a:pt x="3187" y="5095"/>
                </a:lnTo>
                <a:lnTo>
                  <a:pt x="3147" y="5085"/>
                </a:lnTo>
                <a:lnTo>
                  <a:pt x="3137" y="5075"/>
                </a:lnTo>
                <a:lnTo>
                  <a:pt x="3127" y="5065"/>
                </a:lnTo>
                <a:lnTo>
                  <a:pt x="3116" y="5055"/>
                </a:lnTo>
                <a:lnTo>
                  <a:pt x="3096" y="5055"/>
                </a:lnTo>
                <a:lnTo>
                  <a:pt x="3056" y="5045"/>
                </a:lnTo>
                <a:lnTo>
                  <a:pt x="3025" y="5035"/>
                </a:lnTo>
                <a:lnTo>
                  <a:pt x="3015" y="5035"/>
                </a:lnTo>
                <a:lnTo>
                  <a:pt x="3015" y="5024"/>
                </a:lnTo>
                <a:lnTo>
                  <a:pt x="3005" y="5024"/>
                </a:lnTo>
                <a:lnTo>
                  <a:pt x="2995" y="5014"/>
                </a:lnTo>
                <a:lnTo>
                  <a:pt x="2985" y="5014"/>
                </a:lnTo>
                <a:lnTo>
                  <a:pt x="2955" y="5004"/>
                </a:lnTo>
                <a:lnTo>
                  <a:pt x="2934" y="5004"/>
                </a:lnTo>
                <a:lnTo>
                  <a:pt x="2924" y="5004"/>
                </a:lnTo>
                <a:lnTo>
                  <a:pt x="2914" y="5004"/>
                </a:lnTo>
                <a:lnTo>
                  <a:pt x="2914" y="4994"/>
                </a:lnTo>
                <a:lnTo>
                  <a:pt x="2904" y="4994"/>
                </a:lnTo>
                <a:lnTo>
                  <a:pt x="2894" y="4984"/>
                </a:lnTo>
                <a:lnTo>
                  <a:pt x="2884" y="4974"/>
                </a:lnTo>
                <a:lnTo>
                  <a:pt x="2874" y="4974"/>
                </a:lnTo>
                <a:lnTo>
                  <a:pt x="2863" y="4964"/>
                </a:lnTo>
                <a:lnTo>
                  <a:pt x="2843" y="4953"/>
                </a:lnTo>
                <a:lnTo>
                  <a:pt x="2823" y="4953"/>
                </a:lnTo>
                <a:lnTo>
                  <a:pt x="2813" y="4953"/>
                </a:lnTo>
                <a:lnTo>
                  <a:pt x="2803" y="4953"/>
                </a:lnTo>
                <a:lnTo>
                  <a:pt x="2803" y="4953"/>
                </a:lnTo>
                <a:lnTo>
                  <a:pt x="2793" y="4943"/>
                </a:lnTo>
                <a:lnTo>
                  <a:pt x="2783" y="4933"/>
                </a:lnTo>
                <a:lnTo>
                  <a:pt x="2772" y="4923"/>
                </a:lnTo>
                <a:lnTo>
                  <a:pt x="2742" y="4903"/>
                </a:lnTo>
                <a:lnTo>
                  <a:pt x="2732" y="4893"/>
                </a:lnTo>
                <a:lnTo>
                  <a:pt x="2722" y="4893"/>
                </a:lnTo>
                <a:lnTo>
                  <a:pt x="2702" y="4883"/>
                </a:lnTo>
                <a:lnTo>
                  <a:pt x="2691" y="4872"/>
                </a:lnTo>
                <a:lnTo>
                  <a:pt x="2681" y="4872"/>
                </a:lnTo>
                <a:lnTo>
                  <a:pt x="2671" y="4872"/>
                </a:lnTo>
                <a:lnTo>
                  <a:pt x="2641" y="4883"/>
                </a:lnTo>
                <a:lnTo>
                  <a:pt x="2621" y="4883"/>
                </a:lnTo>
                <a:lnTo>
                  <a:pt x="2590" y="4893"/>
                </a:lnTo>
                <a:lnTo>
                  <a:pt x="2580" y="4893"/>
                </a:lnTo>
                <a:lnTo>
                  <a:pt x="2570" y="4893"/>
                </a:lnTo>
                <a:lnTo>
                  <a:pt x="2560" y="4883"/>
                </a:lnTo>
                <a:lnTo>
                  <a:pt x="2540" y="4862"/>
                </a:lnTo>
                <a:lnTo>
                  <a:pt x="2519" y="4852"/>
                </a:lnTo>
                <a:lnTo>
                  <a:pt x="2509" y="4842"/>
                </a:lnTo>
                <a:lnTo>
                  <a:pt x="2499" y="4842"/>
                </a:lnTo>
                <a:lnTo>
                  <a:pt x="2489" y="4832"/>
                </a:lnTo>
                <a:lnTo>
                  <a:pt x="2479" y="4832"/>
                </a:lnTo>
                <a:lnTo>
                  <a:pt x="2469" y="4822"/>
                </a:lnTo>
                <a:lnTo>
                  <a:pt x="2469" y="4812"/>
                </a:lnTo>
                <a:lnTo>
                  <a:pt x="2459" y="4802"/>
                </a:lnTo>
                <a:lnTo>
                  <a:pt x="2438" y="4791"/>
                </a:lnTo>
                <a:lnTo>
                  <a:pt x="2428" y="4791"/>
                </a:lnTo>
                <a:lnTo>
                  <a:pt x="2418" y="4781"/>
                </a:lnTo>
                <a:lnTo>
                  <a:pt x="2388" y="4781"/>
                </a:lnTo>
                <a:lnTo>
                  <a:pt x="2378" y="4781"/>
                </a:lnTo>
                <a:lnTo>
                  <a:pt x="2358" y="4781"/>
                </a:lnTo>
                <a:lnTo>
                  <a:pt x="2347" y="4771"/>
                </a:lnTo>
                <a:lnTo>
                  <a:pt x="2337" y="4771"/>
                </a:lnTo>
                <a:lnTo>
                  <a:pt x="2327" y="4771"/>
                </a:lnTo>
                <a:lnTo>
                  <a:pt x="2327" y="4771"/>
                </a:lnTo>
                <a:lnTo>
                  <a:pt x="2317" y="4771"/>
                </a:lnTo>
                <a:lnTo>
                  <a:pt x="2317" y="4771"/>
                </a:lnTo>
                <a:lnTo>
                  <a:pt x="2307" y="4771"/>
                </a:lnTo>
                <a:lnTo>
                  <a:pt x="2297" y="4771"/>
                </a:lnTo>
                <a:lnTo>
                  <a:pt x="2297" y="4761"/>
                </a:lnTo>
                <a:lnTo>
                  <a:pt x="2287" y="4751"/>
                </a:lnTo>
                <a:lnTo>
                  <a:pt x="2287" y="4751"/>
                </a:lnTo>
                <a:lnTo>
                  <a:pt x="2266" y="4741"/>
                </a:lnTo>
                <a:lnTo>
                  <a:pt x="2256" y="4731"/>
                </a:lnTo>
                <a:lnTo>
                  <a:pt x="2246" y="4731"/>
                </a:lnTo>
                <a:lnTo>
                  <a:pt x="2236" y="4731"/>
                </a:lnTo>
                <a:lnTo>
                  <a:pt x="2236" y="4720"/>
                </a:lnTo>
                <a:lnTo>
                  <a:pt x="2226" y="4710"/>
                </a:lnTo>
                <a:lnTo>
                  <a:pt x="2226" y="4700"/>
                </a:lnTo>
                <a:lnTo>
                  <a:pt x="2226" y="4690"/>
                </a:lnTo>
                <a:lnTo>
                  <a:pt x="2196" y="4670"/>
                </a:lnTo>
                <a:lnTo>
                  <a:pt x="2196" y="4660"/>
                </a:lnTo>
                <a:lnTo>
                  <a:pt x="2175" y="4650"/>
                </a:lnTo>
                <a:lnTo>
                  <a:pt x="2175" y="4650"/>
                </a:lnTo>
                <a:lnTo>
                  <a:pt x="2165" y="4639"/>
                </a:lnTo>
                <a:lnTo>
                  <a:pt x="2155" y="4639"/>
                </a:lnTo>
                <a:lnTo>
                  <a:pt x="2145" y="4639"/>
                </a:lnTo>
                <a:lnTo>
                  <a:pt x="2135" y="4639"/>
                </a:lnTo>
                <a:lnTo>
                  <a:pt x="2115" y="4639"/>
                </a:lnTo>
                <a:lnTo>
                  <a:pt x="2105" y="4639"/>
                </a:lnTo>
                <a:lnTo>
                  <a:pt x="2084" y="4639"/>
                </a:lnTo>
                <a:lnTo>
                  <a:pt x="2074" y="4639"/>
                </a:lnTo>
                <a:lnTo>
                  <a:pt x="2054" y="4639"/>
                </a:lnTo>
                <a:lnTo>
                  <a:pt x="2044" y="4629"/>
                </a:lnTo>
                <a:lnTo>
                  <a:pt x="2034" y="4629"/>
                </a:lnTo>
                <a:lnTo>
                  <a:pt x="2003" y="4619"/>
                </a:lnTo>
                <a:lnTo>
                  <a:pt x="1983" y="4619"/>
                </a:lnTo>
                <a:lnTo>
                  <a:pt x="1973" y="4619"/>
                </a:lnTo>
                <a:lnTo>
                  <a:pt x="1973" y="4619"/>
                </a:lnTo>
                <a:lnTo>
                  <a:pt x="1963" y="4609"/>
                </a:lnTo>
                <a:lnTo>
                  <a:pt x="1953" y="4599"/>
                </a:lnTo>
                <a:lnTo>
                  <a:pt x="1953" y="4589"/>
                </a:lnTo>
                <a:lnTo>
                  <a:pt x="1943" y="4579"/>
                </a:lnTo>
                <a:lnTo>
                  <a:pt x="1933" y="4579"/>
                </a:lnTo>
                <a:lnTo>
                  <a:pt x="1922" y="4569"/>
                </a:lnTo>
                <a:lnTo>
                  <a:pt x="1912" y="4558"/>
                </a:lnTo>
                <a:lnTo>
                  <a:pt x="1902" y="4548"/>
                </a:lnTo>
                <a:lnTo>
                  <a:pt x="1892" y="4528"/>
                </a:lnTo>
                <a:lnTo>
                  <a:pt x="1882" y="4518"/>
                </a:lnTo>
                <a:lnTo>
                  <a:pt x="1882" y="4518"/>
                </a:lnTo>
                <a:lnTo>
                  <a:pt x="1872" y="4508"/>
                </a:lnTo>
                <a:lnTo>
                  <a:pt x="1862" y="4498"/>
                </a:lnTo>
                <a:lnTo>
                  <a:pt x="1852" y="4487"/>
                </a:lnTo>
                <a:lnTo>
                  <a:pt x="1841" y="4467"/>
                </a:lnTo>
                <a:lnTo>
                  <a:pt x="1831" y="4457"/>
                </a:lnTo>
                <a:lnTo>
                  <a:pt x="1821" y="4447"/>
                </a:lnTo>
                <a:lnTo>
                  <a:pt x="1811" y="4437"/>
                </a:lnTo>
                <a:lnTo>
                  <a:pt x="1801" y="4417"/>
                </a:lnTo>
                <a:lnTo>
                  <a:pt x="1781" y="4406"/>
                </a:lnTo>
                <a:lnTo>
                  <a:pt x="1771" y="4396"/>
                </a:lnTo>
                <a:lnTo>
                  <a:pt x="1771" y="4386"/>
                </a:lnTo>
                <a:lnTo>
                  <a:pt x="1750" y="4376"/>
                </a:lnTo>
                <a:lnTo>
                  <a:pt x="1740" y="4376"/>
                </a:lnTo>
                <a:lnTo>
                  <a:pt x="1710" y="4356"/>
                </a:lnTo>
                <a:lnTo>
                  <a:pt x="1700" y="4356"/>
                </a:lnTo>
                <a:lnTo>
                  <a:pt x="1690" y="4346"/>
                </a:lnTo>
                <a:lnTo>
                  <a:pt x="1680" y="4325"/>
                </a:lnTo>
                <a:lnTo>
                  <a:pt x="1659" y="4325"/>
                </a:lnTo>
                <a:lnTo>
                  <a:pt x="1639" y="4315"/>
                </a:lnTo>
                <a:lnTo>
                  <a:pt x="1629" y="4305"/>
                </a:lnTo>
                <a:lnTo>
                  <a:pt x="1609" y="4305"/>
                </a:lnTo>
                <a:lnTo>
                  <a:pt x="1578" y="4285"/>
                </a:lnTo>
                <a:lnTo>
                  <a:pt x="1568" y="4275"/>
                </a:lnTo>
                <a:lnTo>
                  <a:pt x="1548" y="4275"/>
                </a:lnTo>
                <a:lnTo>
                  <a:pt x="1548" y="4265"/>
                </a:lnTo>
                <a:lnTo>
                  <a:pt x="1538" y="4265"/>
                </a:lnTo>
                <a:lnTo>
                  <a:pt x="1528" y="4255"/>
                </a:lnTo>
                <a:lnTo>
                  <a:pt x="1518" y="4255"/>
                </a:lnTo>
                <a:lnTo>
                  <a:pt x="1497" y="4244"/>
                </a:lnTo>
                <a:lnTo>
                  <a:pt x="1487" y="4234"/>
                </a:lnTo>
                <a:lnTo>
                  <a:pt x="1467" y="4224"/>
                </a:lnTo>
                <a:lnTo>
                  <a:pt x="1467" y="4224"/>
                </a:lnTo>
                <a:lnTo>
                  <a:pt x="1457" y="4214"/>
                </a:lnTo>
                <a:lnTo>
                  <a:pt x="1437" y="4214"/>
                </a:lnTo>
                <a:lnTo>
                  <a:pt x="1427" y="4214"/>
                </a:lnTo>
                <a:lnTo>
                  <a:pt x="1416" y="4214"/>
                </a:lnTo>
                <a:lnTo>
                  <a:pt x="1396" y="4214"/>
                </a:lnTo>
                <a:lnTo>
                  <a:pt x="1386" y="4214"/>
                </a:lnTo>
                <a:lnTo>
                  <a:pt x="1366" y="4214"/>
                </a:lnTo>
                <a:lnTo>
                  <a:pt x="1346" y="4224"/>
                </a:lnTo>
                <a:lnTo>
                  <a:pt x="1336" y="4214"/>
                </a:lnTo>
                <a:lnTo>
                  <a:pt x="1325" y="4214"/>
                </a:lnTo>
                <a:lnTo>
                  <a:pt x="1315" y="4204"/>
                </a:lnTo>
                <a:lnTo>
                  <a:pt x="1295" y="4204"/>
                </a:lnTo>
                <a:lnTo>
                  <a:pt x="1285" y="4204"/>
                </a:lnTo>
                <a:lnTo>
                  <a:pt x="1275" y="4204"/>
                </a:lnTo>
                <a:lnTo>
                  <a:pt x="1255" y="4194"/>
                </a:lnTo>
                <a:lnTo>
                  <a:pt x="1255" y="4194"/>
                </a:lnTo>
                <a:lnTo>
                  <a:pt x="1244" y="4184"/>
                </a:lnTo>
                <a:lnTo>
                  <a:pt x="1234" y="4184"/>
                </a:lnTo>
                <a:lnTo>
                  <a:pt x="1204" y="4173"/>
                </a:lnTo>
                <a:lnTo>
                  <a:pt x="1194" y="4163"/>
                </a:lnTo>
                <a:lnTo>
                  <a:pt x="1184" y="4163"/>
                </a:lnTo>
                <a:lnTo>
                  <a:pt x="1174" y="4153"/>
                </a:lnTo>
                <a:lnTo>
                  <a:pt x="1153" y="4143"/>
                </a:lnTo>
                <a:lnTo>
                  <a:pt x="1143" y="4143"/>
                </a:lnTo>
                <a:lnTo>
                  <a:pt x="1133" y="4143"/>
                </a:lnTo>
                <a:lnTo>
                  <a:pt x="1123" y="4133"/>
                </a:lnTo>
                <a:lnTo>
                  <a:pt x="1113" y="4133"/>
                </a:lnTo>
                <a:lnTo>
                  <a:pt x="1103" y="4133"/>
                </a:lnTo>
                <a:lnTo>
                  <a:pt x="1093" y="4123"/>
                </a:lnTo>
                <a:lnTo>
                  <a:pt x="1093" y="4103"/>
                </a:lnTo>
                <a:lnTo>
                  <a:pt x="1083" y="4092"/>
                </a:lnTo>
                <a:lnTo>
                  <a:pt x="1083" y="4082"/>
                </a:lnTo>
                <a:lnTo>
                  <a:pt x="1083" y="4072"/>
                </a:lnTo>
                <a:lnTo>
                  <a:pt x="1083" y="4072"/>
                </a:lnTo>
                <a:lnTo>
                  <a:pt x="1083" y="4072"/>
                </a:lnTo>
                <a:lnTo>
                  <a:pt x="1093" y="4052"/>
                </a:lnTo>
                <a:lnTo>
                  <a:pt x="1093" y="4042"/>
                </a:lnTo>
                <a:lnTo>
                  <a:pt x="1093" y="4042"/>
                </a:lnTo>
                <a:lnTo>
                  <a:pt x="1093" y="4032"/>
                </a:lnTo>
                <a:lnTo>
                  <a:pt x="1093" y="4022"/>
                </a:lnTo>
                <a:lnTo>
                  <a:pt x="1093" y="4022"/>
                </a:lnTo>
                <a:lnTo>
                  <a:pt x="1083" y="4011"/>
                </a:lnTo>
                <a:lnTo>
                  <a:pt x="1083" y="4001"/>
                </a:lnTo>
                <a:lnTo>
                  <a:pt x="1083" y="3991"/>
                </a:lnTo>
                <a:lnTo>
                  <a:pt x="1072" y="3981"/>
                </a:lnTo>
                <a:lnTo>
                  <a:pt x="1062" y="3981"/>
                </a:lnTo>
                <a:lnTo>
                  <a:pt x="1052" y="3971"/>
                </a:lnTo>
                <a:lnTo>
                  <a:pt x="1052" y="3971"/>
                </a:lnTo>
                <a:lnTo>
                  <a:pt x="1042" y="3961"/>
                </a:lnTo>
                <a:lnTo>
                  <a:pt x="1042" y="3951"/>
                </a:lnTo>
                <a:lnTo>
                  <a:pt x="1032" y="3940"/>
                </a:lnTo>
                <a:lnTo>
                  <a:pt x="1022" y="3930"/>
                </a:lnTo>
                <a:lnTo>
                  <a:pt x="1002" y="3920"/>
                </a:lnTo>
                <a:lnTo>
                  <a:pt x="991" y="3910"/>
                </a:lnTo>
                <a:lnTo>
                  <a:pt x="981" y="3900"/>
                </a:lnTo>
                <a:lnTo>
                  <a:pt x="971" y="3890"/>
                </a:lnTo>
                <a:lnTo>
                  <a:pt x="961" y="3880"/>
                </a:lnTo>
                <a:lnTo>
                  <a:pt x="951" y="3880"/>
                </a:lnTo>
                <a:lnTo>
                  <a:pt x="941" y="3870"/>
                </a:lnTo>
                <a:lnTo>
                  <a:pt x="941" y="3849"/>
                </a:lnTo>
                <a:lnTo>
                  <a:pt x="931" y="3839"/>
                </a:lnTo>
                <a:lnTo>
                  <a:pt x="911" y="3819"/>
                </a:lnTo>
                <a:lnTo>
                  <a:pt x="900" y="3809"/>
                </a:lnTo>
                <a:lnTo>
                  <a:pt x="890" y="3789"/>
                </a:lnTo>
                <a:lnTo>
                  <a:pt x="880" y="3778"/>
                </a:lnTo>
                <a:lnTo>
                  <a:pt x="870" y="3768"/>
                </a:lnTo>
                <a:lnTo>
                  <a:pt x="860" y="3758"/>
                </a:lnTo>
                <a:lnTo>
                  <a:pt x="850" y="3748"/>
                </a:lnTo>
                <a:lnTo>
                  <a:pt x="840" y="3738"/>
                </a:lnTo>
                <a:lnTo>
                  <a:pt x="819" y="3728"/>
                </a:lnTo>
                <a:lnTo>
                  <a:pt x="799" y="3718"/>
                </a:lnTo>
                <a:lnTo>
                  <a:pt x="779" y="3707"/>
                </a:lnTo>
                <a:lnTo>
                  <a:pt x="759" y="3697"/>
                </a:lnTo>
                <a:lnTo>
                  <a:pt x="749" y="3687"/>
                </a:lnTo>
                <a:lnTo>
                  <a:pt x="739" y="3677"/>
                </a:lnTo>
                <a:lnTo>
                  <a:pt x="728" y="3667"/>
                </a:lnTo>
                <a:lnTo>
                  <a:pt x="728" y="3657"/>
                </a:lnTo>
                <a:lnTo>
                  <a:pt x="718" y="3647"/>
                </a:lnTo>
                <a:lnTo>
                  <a:pt x="718" y="3637"/>
                </a:lnTo>
                <a:lnTo>
                  <a:pt x="718" y="3606"/>
                </a:lnTo>
                <a:lnTo>
                  <a:pt x="718" y="3596"/>
                </a:lnTo>
                <a:lnTo>
                  <a:pt x="718" y="3576"/>
                </a:lnTo>
                <a:lnTo>
                  <a:pt x="708" y="3545"/>
                </a:lnTo>
                <a:lnTo>
                  <a:pt x="698" y="3535"/>
                </a:lnTo>
                <a:lnTo>
                  <a:pt x="688" y="3525"/>
                </a:lnTo>
                <a:lnTo>
                  <a:pt x="678" y="3515"/>
                </a:lnTo>
                <a:lnTo>
                  <a:pt x="678" y="3495"/>
                </a:lnTo>
                <a:lnTo>
                  <a:pt x="668" y="3485"/>
                </a:lnTo>
                <a:lnTo>
                  <a:pt x="658" y="3464"/>
                </a:lnTo>
                <a:lnTo>
                  <a:pt x="658" y="3454"/>
                </a:lnTo>
                <a:lnTo>
                  <a:pt x="647" y="3434"/>
                </a:lnTo>
                <a:lnTo>
                  <a:pt x="647" y="3414"/>
                </a:lnTo>
                <a:lnTo>
                  <a:pt x="637" y="3393"/>
                </a:lnTo>
                <a:lnTo>
                  <a:pt x="647" y="3383"/>
                </a:lnTo>
                <a:lnTo>
                  <a:pt x="647" y="3363"/>
                </a:lnTo>
                <a:lnTo>
                  <a:pt x="647" y="3343"/>
                </a:lnTo>
                <a:lnTo>
                  <a:pt x="647" y="3343"/>
                </a:lnTo>
                <a:lnTo>
                  <a:pt x="647" y="3333"/>
                </a:lnTo>
                <a:lnTo>
                  <a:pt x="647" y="3323"/>
                </a:lnTo>
                <a:lnTo>
                  <a:pt x="647" y="3312"/>
                </a:lnTo>
                <a:lnTo>
                  <a:pt x="647" y="3292"/>
                </a:lnTo>
                <a:lnTo>
                  <a:pt x="647" y="3282"/>
                </a:lnTo>
                <a:lnTo>
                  <a:pt x="647" y="3272"/>
                </a:lnTo>
                <a:lnTo>
                  <a:pt x="647" y="3262"/>
                </a:lnTo>
                <a:lnTo>
                  <a:pt x="658" y="3241"/>
                </a:lnTo>
                <a:lnTo>
                  <a:pt x="658" y="3231"/>
                </a:lnTo>
                <a:lnTo>
                  <a:pt x="658" y="3221"/>
                </a:lnTo>
                <a:lnTo>
                  <a:pt x="658" y="3211"/>
                </a:lnTo>
                <a:lnTo>
                  <a:pt x="658" y="3211"/>
                </a:lnTo>
                <a:lnTo>
                  <a:pt x="668" y="3191"/>
                </a:lnTo>
                <a:lnTo>
                  <a:pt x="678" y="3181"/>
                </a:lnTo>
                <a:lnTo>
                  <a:pt x="678" y="3181"/>
                </a:lnTo>
                <a:lnTo>
                  <a:pt x="678" y="3171"/>
                </a:lnTo>
                <a:lnTo>
                  <a:pt x="678" y="3160"/>
                </a:lnTo>
                <a:lnTo>
                  <a:pt x="678" y="3150"/>
                </a:lnTo>
                <a:lnTo>
                  <a:pt x="668" y="3140"/>
                </a:lnTo>
                <a:lnTo>
                  <a:pt x="668" y="3130"/>
                </a:lnTo>
                <a:lnTo>
                  <a:pt x="668" y="3120"/>
                </a:lnTo>
                <a:lnTo>
                  <a:pt x="678" y="3110"/>
                </a:lnTo>
                <a:lnTo>
                  <a:pt x="668" y="3100"/>
                </a:lnTo>
                <a:lnTo>
                  <a:pt x="668" y="3059"/>
                </a:lnTo>
                <a:lnTo>
                  <a:pt x="668" y="3049"/>
                </a:lnTo>
                <a:lnTo>
                  <a:pt x="668" y="3039"/>
                </a:lnTo>
                <a:lnTo>
                  <a:pt x="658" y="3009"/>
                </a:lnTo>
                <a:lnTo>
                  <a:pt x="637" y="2968"/>
                </a:lnTo>
                <a:lnTo>
                  <a:pt x="627" y="2968"/>
                </a:lnTo>
                <a:lnTo>
                  <a:pt x="627" y="2958"/>
                </a:lnTo>
                <a:lnTo>
                  <a:pt x="617" y="2948"/>
                </a:lnTo>
                <a:lnTo>
                  <a:pt x="597" y="2917"/>
                </a:lnTo>
                <a:lnTo>
                  <a:pt x="577" y="2887"/>
                </a:lnTo>
                <a:lnTo>
                  <a:pt x="556" y="2857"/>
                </a:lnTo>
                <a:lnTo>
                  <a:pt x="536" y="2826"/>
                </a:lnTo>
                <a:lnTo>
                  <a:pt x="536" y="2816"/>
                </a:lnTo>
                <a:lnTo>
                  <a:pt x="526" y="2796"/>
                </a:lnTo>
                <a:lnTo>
                  <a:pt x="516" y="2776"/>
                </a:lnTo>
                <a:lnTo>
                  <a:pt x="506" y="2745"/>
                </a:lnTo>
                <a:lnTo>
                  <a:pt x="496" y="2715"/>
                </a:lnTo>
                <a:lnTo>
                  <a:pt x="486" y="2694"/>
                </a:lnTo>
                <a:lnTo>
                  <a:pt x="486" y="2684"/>
                </a:lnTo>
                <a:lnTo>
                  <a:pt x="475" y="2664"/>
                </a:lnTo>
                <a:lnTo>
                  <a:pt x="475" y="2654"/>
                </a:lnTo>
                <a:lnTo>
                  <a:pt x="465" y="2624"/>
                </a:lnTo>
                <a:lnTo>
                  <a:pt x="455" y="2593"/>
                </a:lnTo>
                <a:lnTo>
                  <a:pt x="445" y="2583"/>
                </a:lnTo>
                <a:lnTo>
                  <a:pt x="445" y="2573"/>
                </a:lnTo>
                <a:lnTo>
                  <a:pt x="425" y="2543"/>
                </a:lnTo>
                <a:lnTo>
                  <a:pt x="425" y="2532"/>
                </a:lnTo>
                <a:lnTo>
                  <a:pt x="415" y="2522"/>
                </a:lnTo>
                <a:lnTo>
                  <a:pt x="415" y="2512"/>
                </a:lnTo>
                <a:lnTo>
                  <a:pt x="415" y="2502"/>
                </a:lnTo>
                <a:lnTo>
                  <a:pt x="405" y="2492"/>
                </a:lnTo>
                <a:lnTo>
                  <a:pt x="394" y="2492"/>
                </a:lnTo>
                <a:lnTo>
                  <a:pt x="394" y="2482"/>
                </a:lnTo>
                <a:lnTo>
                  <a:pt x="394" y="2472"/>
                </a:lnTo>
                <a:lnTo>
                  <a:pt x="394" y="2472"/>
                </a:lnTo>
                <a:lnTo>
                  <a:pt x="384" y="2461"/>
                </a:lnTo>
                <a:lnTo>
                  <a:pt x="374" y="2461"/>
                </a:lnTo>
                <a:lnTo>
                  <a:pt x="374" y="2451"/>
                </a:lnTo>
                <a:lnTo>
                  <a:pt x="364" y="2441"/>
                </a:lnTo>
                <a:lnTo>
                  <a:pt x="364" y="2431"/>
                </a:lnTo>
                <a:lnTo>
                  <a:pt x="354" y="2431"/>
                </a:lnTo>
                <a:lnTo>
                  <a:pt x="354" y="2421"/>
                </a:lnTo>
                <a:lnTo>
                  <a:pt x="344" y="2421"/>
                </a:lnTo>
                <a:lnTo>
                  <a:pt x="344" y="2421"/>
                </a:lnTo>
                <a:lnTo>
                  <a:pt x="314" y="2401"/>
                </a:lnTo>
                <a:lnTo>
                  <a:pt x="303" y="2401"/>
                </a:lnTo>
                <a:lnTo>
                  <a:pt x="303" y="2391"/>
                </a:lnTo>
                <a:lnTo>
                  <a:pt x="283" y="2380"/>
                </a:lnTo>
                <a:lnTo>
                  <a:pt x="283" y="2370"/>
                </a:lnTo>
                <a:lnTo>
                  <a:pt x="263" y="2360"/>
                </a:lnTo>
                <a:lnTo>
                  <a:pt x="233" y="2330"/>
                </a:lnTo>
                <a:lnTo>
                  <a:pt x="222" y="2320"/>
                </a:lnTo>
                <a:lnTo>
                  <a:pt x="202" y="2310"/>
                </a:lnTo>
                <a:lnTo>
                  <a:pt x="192" y="2310"/>
                </a:lnTo>
                <a:lnTo>
                  <a:pt x="192" y="2299"/>
                </a:lnTo>
                <a:lnTo>
                  <a:pt x="172" y="2289"/>
                </a:lnTo>
                <a:lnTo>
                  <a:pt x="172" y="2279"/>
                </a:lnTo>
                <a:lnTo>
                  <a:pt x="172" y="2269"/>
                </a:lnTo>
                <a:lnTo>
                  <a:pt x="162" y="2269"/>
                </a:lnTo>
                <a:lnTo>
                  <a:pt x="152" y="2259"/>
                </a:lnTo>
                <a:lnTo>
                  <a:pt x="152" y="2249"/>
                </a:lnTo>
                <a:lnTo>
                  <a:pt x="142" y="2239"/>
                </a:lnTo>
                <a:lnTo>
                  <a:pt x="131" y="2218"/>
                </a:lnTo>
                <a:lnTo>
                  <a:pt x="131" y="2208"/>
                </a:lnTo>
                <a:lnTo>
                  <a:pt x="121" y="2198"/>
                </a:lnTo>
                <a:lnTo>
                  <a:pt x="111" y="2188"/>
                </a:lnTo>
                <a:lnTo>
                  <a:pt x="111" y="2178"/>
                </a:lnTo>
                <a:lnTo>
                  <a:pt x="91" y="2137"/>
                </a:lnTo>
                <a:lnTo>
                  <a:pt x="91" y="2117"/>
                </a:lnTo>
                <a:lnTo>
                  <a:pt x="81" y="2107"/>
                </a:lnTo>
                <a:lnTo>
                  <a:pt x="81" y="2087"/>
                </a:lnTo>
                <a:lnTo>
                  <a:pt x="91" y="2077"/>
                </a:lnTo>
                <a:lnTo>
                  <a:pt x="91" y="2066"/>
                </a:lnTo>
                <a:lnTo>
                  <a:pt x="81" y="2056"/>
                </a:lnTo>
                <a:lnTo>
                  <a:pt x="81" y="2036"/>
                </a:lnTo>
                <a:lnTo>
                  <a:pt x="81" y="2026"/>
                </a:lnTo>
                <a:lnTo>
                  <a:pt x="81" y="2026"/>
                </a:lnTo>
                <a:lnTo>
                  <a:pt x="71" y="2026"/>
                </a:lnTo>
                <a:lnTo>
                  <a:pt x="81" y="2016"/>
                </a:lnTo>
                <a:lnTo>
                  <a:pt x="81" y="2006"/>
                </a:lnTo>
                <a:lnTo>
                  <a:pt x="81" y="1985"/>
                </a:lnTo>
                <a:lnTo>
                  <a:pt x="81" y="1965"/>
                </a:lnTo>
                <a:lnTo>
                  <a:pt x="81" y="1945"/>
                </a:lnTo>
                <a:lnTo>
                  <a:pt x="81" y="1925"/>
                </a:lnTo>
                <a:lnTo>
                  <a:pt x="81" y="1914"/>
                </a:lnTo>
                <a:lnTo>
                  <a:pt x="81" y="1904"/>
                </a:lnTo>
                <a:lnTo>
                  <a:pt x="91" y="1894"/>
                </a:lnTo>
                <a:lnTo>
                  <a:pt x="91" y="1894"/>
                </a:lnTo>
                <a:lnTo>
                  <a:pt x="91" y="1884"/>
                </a:lnTo>
                <a:lnTo>
                  <a:pt x="81" y="1874"/>
                </a:lnTo>
                <a:lnTo>
                  <a:pt x="71" y="1864"/>
                </a:lnTo>
                <a:lnTo>
                  <a:pt x="61" y="1854"/>
                </a:lnTo>
                <a:lnTo>
                  <a:pt x="50" y="1844"/>
                </a:lnTo>
                <a:lnTo>
                  <a:pt x="40" y="1844"/>
                </a:lnTo>
                <a:lnTo>
                  <a:pt x="30" y="1833"/>
                </a:lnTo>
                <a:lnTo>
                  <a:pt x="20" y="1813"/>
                </a:lnTo>
                <a:lnTo>
                  <a:pt x="20" y="1803"/>
                </a:lnTo>
                <a:lnTo>
                  <a:pt x="10" y="1793"/>
                </a:lnTo>
                <a:lnTo>
                  <a:pt x="0" y="1783"/>
                </a:lnTo>
                <a:lnTo>
                  <a:pt x="0" y="1773"/>
                </a:lnTo>
                <a:lnTo>
                  <a:pt x="0" y="1762"/>
                </a:lnTo>
                <a:lnTo>
                  <a:pt x="0" y="1752"/>
                </a:lnTo>
                <a:lnTo>
                  <a:pt x="0" y="1742"/>
                </a:lnTo>
                <a:lnTo>
                  <a:pt x="10" y="1732"/>
                </a:lnTo>
                <a:lnTo>
                  <a:pt x="10" y="1732"/>
                </a:lnTo>
                <a:lnTo>
                  <a:pt x="10" y="1722"/>
                </a:lnTo>
                <a:lnTo>
                  <a:pt x="20" y="1712"/>
                </a:lnTo>
                <a:lnTo>
                  <a:pt x="20" y="1712"/>
                </a:lnTo>
                <a:lnTo>
                  <a:pt x="30" y="1702"/>
                </a:lnTo>
                <a:lnTo>
                  <a:pt x="40" y="1702"/>
                </a:lnTo>
                <a:lnTo>
                  <a:pt x="40" y="1692"/>
                </a:lnTo>
                <a:lnTo>
                  <a:pt x="50" y="1692"/>
                </a:lnTo>
                <a:lnTo>
                  <a:pt x="61" y="1681"/>
                </a:lnTo>
                <a:lnTo>
                  <a:pt x="71" y="1671"/>
                </a:lnTo>
                <a:lnTo>
                  <a:pt x="81" y="1661"/>
                </a:lnTo>
                <a:lnTo>
                  <a:pt x="91" y="1651"/>
                </a:lnTo>
                <a:lnTo>
                  <a:pt x="101" y="1631"/>
                </a:lnTo>
                <a:lnTo>
                  <a:pt x="111" y="1621"/>
                </a:lnTo>
                <a:lnTo>
                  <a:pt x="121" y="1611"/>
                </a:lnTo>
                <a:lnTo>
                  <a:pt x="131" y="1600"/>
                </a:lnTo>
                <a:lnTo>
                  <a:pt x="131" y="1600"/>
                </a:lnTo>
                <a:lnTo>
                  <a:pt x="142" y="1600"/>
                </a:lnTo>
                <a:lnTo>
                  <a:pt x="152" y="1590"/>
                </a:lnTo>
                <a:lnTo>
                  <a:pt x="172" y="1590"/>
                </a:lnTo>
                <a:lnTo>
                  <a:pt x="192" y="1570"/>
                </a:lnTo>
                <a:lnTo>
                  <a:pt x="202" y="1560"/>
                </a:lnTo>
                <a:lnTo>
                  <a:pt x="212" y="1550"/>
                </a:lnTo>
                <a:lnTo>
                  <a:pt x="212" y="1550"/>
                </a:lnTo>
                <a:lnTo>
                  <a:pt x="222" y="1540"/>
                </a:lnTo>
                <a:lnTo>
                  <a:pt x="233" y="1540"/>
                </a:lnTo>
                <a:lnTo>
                  <a:pt x="233" y="1530"/>
                </a:lnTo>
                <a:lnTo>
                  <a:pt x="243" y="1519"/>
                </a:lnTo>
                <a:lnTo>
                  <a:pt x="253" y="1519"/>
                </a:lnTo>
                <a:lnTo>
                  <a:pt x="263" y="1509"/>
                </a:lnTo>
                <a:lnTo>
                  <a:pt x="273" y="1509"/>
                </a:lnTo>
                <a:lnTo>
                  <a:pt x="293" y="1509"/>
                </a:lnTo>
                <a:lnTo>
                  <a:pt x="314" y="1499"/>
                </a:lnTo>
                <a:lnTo>
                  <a:pt x="334" y="1489"/>
                </a:lnTo>
                <a:lnTo>
                  <a:pt x="344" y="1489"/>
                </a:lnTo>
                <a:lnTo>
                  <a:pt x="354" y="1489"/>
                </a:lnTo>
                <a:lnTo>
                  <a:pt x="374" y="1479"/>
                </a:lnTo>
                <a:lnTo>
                  <a:pt x="384" y="1479"/>
                </a:lnTo>
                <a:lnTo>
                  <a:pt x="394" y="1469"/>
                </a:lnTo>
                <a:lnTo>
                  <a:pt x="405" y="1459"/>
                </a:lnTo>
                <a:lnTo>
                  <a:pt x="415" y="1448"/>
                </a:lnTo>
                <a:lnTo>
                  <a:pt x="415" y="1448"/>
                </a:lnTo>
                <a:lnTo>
                  <a:pt x="425" y="1438"/>
                </a:lnTo>
                <a:lnTo>
                  <a:pt x="435" y="1438"/>
                </a:lnTo>
                <a:lnTo>
                  <a:pt x="445" y="1428"/>
                </a:lnTo>
                <a:lnTo>
                  <a:pt x="455" y="1428"/>
                </a:lnTo>
                <a:lnTo>
                  <a:pt x="465" y="1418"/>
                </a:lnTo>
                <a:lnTo>
                  <a:pt x="486" y="1398"/>
                </a:lnTo>
                <a:lnTo>
                  <a:pt x="506" y="1388"/>
                </a:lnTo>
                <a:lnTo>
                  <a:pt x="516" y="1367"/>
                </a:lnTo>
                <a:lnTo>
                  <a:pt x="526" y="1357"/>
                </a:lnTo>
                <a:lnTo>
                  <a:pt x="536" y="1357"/>
                </a:lnTo>
                <a:lnTo>
                  <a:pt x="536" y="1347"/>
                </a:lnTo>
                <a:lnTo>
                  <a:pt x="546" y="1337"/>
                </a:lnTo>
                <a:lnTo>
                  <a:pt x="556" y="1337"/>
                </a:lnTo>
                <a:lnTo>
                  <a:pt x="577" y="1317"/>
                </a:lnTo>
                <a:lnTo>
                  <a:pt x="577" y="1317"/>
                </a:lnTo>
                <a:lnTo>
                  <a:pt x="587" y="1307"/>
                </a:lnTo>
                <a:lnTo>
                  <a:pt x="597" y="1286"/>
                </a:lnTo>
                <a:lnTo>
                  <a:pt x="597" y="1276"/>
                </a:lnTo>
                <a:lnTo>
                  <a:pt x="597" y="1266"/>
                </a:lnTo>
                <a:lnTo>
                  <a:pt x="597" y="1256"/>
                </a:lnTo>
                <a:lnTo>
                  <a:pt x="597" y="1246"/>
                </a:lnTo>
                <a:lnTo>
                  <a:pt x="607" y="1236"/>
                </a:lnTo>
                <a:lnTo>
                  <a:pt x="617" y="1226"/>
                </a:lnTo>
                <a:lnTo>
                  <a:pt x="617" y="1215"/>
                </a:lnTo>
                <a:lnTo>
                  <a:pt x="617" y="1215"/>
                </a:lnTo>
                <a:lnTo>
                  <a:pt x="627" y="1205"/>
                </a:lnTo>
                <a:lnTo>
                  <a:pt x="647" y="1205"/>
                </a:lnTo>
                <a:lnTo>
                  <a:pt x="658" y="1205"/>
                </a:lnTo>
                <a:lnTo>
                  <a:pt x="658" y="1205"/>
                </a:lnTo>
                <a:lnTo>
                  <a:pt x="658" y="1205"/>
                </a:lnTo>
                <a:lnTo>
                  <a:pt x="678" y="1205"/>
                </a:lnTo>
                <a:lnTo>
                  <a:pt x="688" y="1205"/>
                </a:lnTo>
                <a:lnTo>
                  <a:pt x="698" y="1215"/>
                </a:lnTo>
                <a:lnTo>
                  <a:pt x="698" y="1215"/>
                </a:lnTo>
                <a:lnTo>
                  <a:pt x="708" y="1226"/>
                </a:lnTo>
                <a:lnTo>
                  <a:pt x="708" y="1236"/>
                </a:lnTo>
                <a:lnTo>
                  <a:pt x="708" y="1246"/>
                </a:lnTo>
                <a:lnTo>
                  <a:pt x="708" y="1256"/>
                </a:lnTo>
                <a:lnTo>
                  <a:pt x="708" y="1266"/>
                </a:lnTo>
                <a:lnTo>
                  <a:pt x="718" y="1286"/>
                </a:lnTo>
                <a:lnTo>
                  <a:pt x="728" y="1297"/>
                </a:lnTo>
                <a:lnTo>
                  <a:pt x="728" y="1307"/>
                </a:lnTo>
                <a:lnTo>
                  <a:pt x="739" y="1317"/>
                </a:lnTo>
                <a:lnTo>
                  <a:pt x="749" y="1317"/>
                </a:lnTo>
                <a:lnTo>
                  <a:pt x="749" y="1307"/>
                </a:lnTo>
                <a:lnTo>
                  <a:pt x="759" y="1307"/>
                </a:lnTo>
                <a:lnTo>
                  <a:pt x="759" y="1297"/>
                </a:lnTo>
                <a:lnTo>
                  <a:pt x="769" y="1297"/>
                </a:lnTo>
                <a:lnTo>
                  <a:pt x="779" y="1297"/>
                </a:lnTo>
                <a:lnTo>
                  <a:pt x="789" y="1286"/>
                </a:lnTo>
                <a:lnTo>
                  <a:pt x="809" y="1276"/>
                </a:lnTo>
                <a:lnTo>
                  <a:pt x="830" y="1276"/>
                </a:lnTo>
                <a:lnTo>
                  <a:pt x="860" y="1276"/>
                </a:lnTo>
                <a:lnTo>
                  <a:pt x="890" y="1276"/>
                </a:lnTo>
                <a:lnTo>
                  <a:pt x="900" y="1276"/>
                </a:lnTo>
                <a:lnTo>
                  <a:pt x="911" y="1266"/>
                </a:lnTo>
                <a:lnTo>
                  <a:pt x="911" y="1256"/>
                </a:lnTo>
                <a:lnTo>
                  <a:pt x="900" y="1246"/>
                </a:lnTo>
                <a:lnTo>
                  <a:pt x="880" y="1246"/>
                </a:lnTo>
                <a:lnTo>
                  <a:pt x="870" y="1236"/>
                </a:lnTo>
                <a:lnTo>
                  <a:pt x="860" y="1226"/>
                </a:lnTo>
                <a:lnTo>
                  <a:pt x="850" y="1215"/>
                </a:lnTo>
                <a:lnTo>
                  <a:pt x="850" y="1205"/>
                </a:lnTo>
                <a:lnTo>
                  <a:pt x="840" y="1195"/>
                </a:lnTo>
                <a:lnTo>
                  <a:pt x="830" y="1185"/>
                </a:lnTo>
                <a:lnTo>
                  <a:pt x="819" y="1185"/>
                </a:lnTo>
                <a:lnTo>
                  <a:pt x="809" y="1175"/>
                </a:lnTo>
                <a:lnTo>
                  <a:pt x="799" y="1165"/>
                </a:lnTo>
                <a:lnTo>
                  <a:pt x="789" y="1165"/>
                </a:lnTo>
                <a:lnTo>
                  <a:pt x="769" y="1155"/>
                </a:lnTo>
                <a:lnTo>
                  <a:pt x="759" y="1145"/>
                </a:lnTo>
                <a:lnTo>
                  <a:pt x="749" y="1145"/>
                </a:lnTo>
                <a:lnTo>
                  <a:pt x="739" y="1145"/>
                </a:lnTo>
                <a:lnTo>
                  <a:pt x="708" y="1145"/>
                </a:lnTo>
                <a:lnTo>
                  <a:pt x="698" y="1145"/>
                </a:lnTo>
                <a:lnTo>
                  <a:pt x="688" y="1145"/>
                </a:lnTo>
                <a:lnTo>
                  <a:pt x="678" y="1145"/>
                </a:lnTo>
                <a:lnTo>
                  <a:pt x="678" y="1155"/>
                </a:lnTo>
                <a:lnTo>
                  <a:pt x="668" y="1145"/>
                </a:lnTo>
                <a:lnTo>
                  <a:pt x="668" y="1145"/>
                </a:lnTo>
                <a:lnTo>
                  <a:pt x="658" y="1145"/>
                </a:lnTo>
                <a:lnTo>
                  <a:pt x="658" y="1134"/>
                </a:lnTo>
                <a:lnTo>
                  <a:pt x="668" y="1124"/>
                </a:lnTo>
                <a:lnTo>
                  <a:pt x="658" y="1114"/>
                </a:lnTo>
                <a:lnTo>
                  <a:pt x="658" y="1084"/>
                </a:lnTo>
                <a:lnTo>
                  <a:pt x="647" y="1064"/>
                </a:lnTo>
                <a:lnTo>
                  <a:pt x="647" y="1053"/>
                </a:lnTo>
                <a:lnTo>
                  <a:pt x="647" y="1043"/>
                </a:lnTo>
                <a:lnTo>
                  <a:pt x="647" y="1033"/>
                </a:lnTo>
                <a:lnTo>
                  <a:pt x="647" y="1033"/>
                </a:lnTo>
                <a:lnTo>
                  <a:pt x="647" y="1023"/>
                </a:lnTo>
                <a:lnTo>
                  <a:pt x="637" y="993"/>
                </a:lnTo>
                <a:lnTo>
                  <a:pt x="637" y="972"/>
                </a:lnTo>
                <a:lnTo>
                  <a:pt x="637" y="962"/>
                </a:lnTo>
                <a:lnTo>
                  <a:pt x="637" y="962"/>
                </a:lnTo>
                <a:lnTo>
                  <a:pt x="647" y="952"/>
                </a:lnTo>
                <a:lnTo>
                  <a:pt x="637" y="942"/>
                </a:lnTo>
                <a:lnTo>
                  <a:pt x="637" y="942"/>
                </a:lnTo>
                <a:lnTo>
                  <a:pt x="627" y="932"/>
                </a:lnTo>
                <a:lnTo>
                  <a:pt x="627" y="912"/>
                </a:lnTo>
                <a:lnTo>
                  <a:pt x="617" y="891"/>
                </a:lnTo>
                <a:lnTo>
                  <a:pt x="617" y="871"/>
                </a:lnTo>
                <a:lnTo>
                  <a:pt x="627" y="861"/>
                </a:lnTo>
                <a:lnTo>
                  <a:pt x="627" y="841"/>
                </a:lnTo>
                <a:lnTo>
                  <a:pt x="637" y="820"/>
                </a:lnTo>
                <a:lnTo>
                  <a:pt x="637" y="810"/>
                </a:lnTo>
                <a:lnTo>
                  <a:pt x="637" y="790"/>
                </a:lnTo>
                <a:lnTo>
                  <a:pt x="637" y="790"/>
                </a:lnTo>
                <a:lnTo>
                  <a:pt x="647" y="780"/>
                </a:lnTo>
                <a:lnTo>
                  <a:pt x="647" y="760"/>
                </a:lnTo>
                <a:lnTo>
                  <a:pt x="658" y="729"/>
                </a:lnTo>
                <a:lnTo>
                  <a:pt x="658" y="719"/>
                </a:lnTo>
                <a:lnTo>
                  <a:pt x="658" y="709"/>
                </a:lnTo>
                <a:lnTo>
                  <a:pt x="668" y="699"/>
                </a:lnTo>
                <a:lnTo>
                  <a:pt x="668" y="689"/>
                </a:lnTo>
                <a:lnTo>
                  <a:pt x="668" y="679"/>
                </a:lnTo>
                <a:lnTo>
                  <a:pt x="668" y="658"/>
                </a:lnTo>
                <a:lnTo>
                  <a:pt x="668" y="648"/>
                </a:lnTo>
                <a:lnTo>
                  <a:pt x="668" y="628"/>
                </a:lnTo>
                <a:lnTo>
                  <a:pt x="668" y="618"/>
                </a:lnTo>
                <a:lnTo>
                  <a:pt x="678" y="587"/>
                </a:lnTo>
                <a:lnTo>
                  <a:pt x="678" y="577"/>
                </a:lnTo>
                <a:lnTo>
                  <a:pt x="678" y="577"/>
                </a:lnTo>
                <a:lnTo>
                  <a:pt x="688" y="567"/>
                </a:lnTo>
                <a:lnTo>
                  <a:pt x="698" y="567"/>
                </a:lnTo>
                <a:lnTo>
                  <a:pt x="708" y="557"/>
                </a:lnTo>
                <a:lnTo>
                  <a:pt x="728" y="557"/>
                </a:lnTo>
                <a:lnTo>
                  <a:pt x="749" y="557"/>
                </a:lnTo>
                <a:lnTo>
                  <a:pt x="779" y="557"/>
                </a:lnTo>
                <a:lnTo>
                  <a:pt x="789" y="557"/>
                </a:lnTo>
                <a:lnTo>
                  <a:pt x="799" y="557"/>
                </a:lnTo>
                <a:lnTo>
                  <a:pt x="819" y="567"/>
                </a:lnTo>
                <a:lnTo>
                  <a:pt x="830" y="577"/>
                </a:lnTo>
                <a:lnTo>
                  <a:pt x="840" y="587"/>
                </a:lnTo>
                <a:lnTo>
                  <a:pt x="870" y="598"/>
                </a:lnTo>
                <a:lnTo>
                  <a:pt x="880" y="598"/>
                </a:lnTo>
                <a:lnTo>
                  <a:pt x="900" y="598"/>
                </a:lnTo>
                <a:lnTo>
                  <a:pt x="911" y="598"/>
                </a:lnTo>
                <a:lnTo>
                  <a:pt x="931" y="608"/>
                </a:lnTo>
                <a:lnTo>
                  <a:pt x="941" y="598"/>
                </a:lnTo>
                <a:lnTo>
                  <a:pt x="961" y="598"/>
                </a:lnTo>
                <a:lnTo>
                  <a:pt x="981" y="587"/>
                </a:lnTo>
                <a:lnTo>
                  <a:pt x="991" y="587"/>
                </a:lnTo>
                <a:lnTo>
                  <a:pt x="1002" y="577"/>
                </a:lnTo>
                <a:lnTo>
                  <a:pt x="1012" y="577"/>
                </a:lnTo>
                <a:lnTo>
                  <a:pt x="1022" y="577"/>
                </a:lnTo>
                <a:lnTo>
                  <a:pt x="1032" y="577"/>
                </a:lnTo>
                <a:lnTo>
                  <a:pt x="1052" y="577"/>
                </a:lnTo>
                <a:lnTo>
                  <a:pt x="1072" y="567"/>
                </a:lnTo>
                <a:lnTo>
                  <a:pt x="1083" y="567"/>
                </a:lnTo>
                <a:lnTo>
                  <a:pt x="1103" y="567"/>
                </a:lnTo>
                <a:lnTo>
                  <a:pt x="1123" y="557"/>
                </a:lnTo>
                <a:lnTo>
                  <a:pt x="1133" y="557"/>
                </a:lnTo>
                <a:lnTo>
                  <a:pt x="1164" y="547"/>
                </a:lnTo>
                <a:lnTo>
                  <a:pt x="1174" y="537"/>
                </a:lnTo>
                <a:lnTo>
                  <a:pt x="1184" y="527"/>
                </a:lnTo>
                <a:lnTo>
                  <a:pt x="1194" y="516"/>
                </a:lnTo>
                <a:lnTo>
                  <a:pt x="1204" y="516"/>
                </a:lnTo>
                <a:lnTo>
                  <a:pt x="1214" y="506"/>
                </a:lnTo>
                <a:lnTo>
                  <a:pt x="1234" y="496"/>
                </a:lnTo>
                <a:lnTo>
                  <a:pt x="1234" y="486"/>
                </a:lnTo>
                <a:lnTo>
                  <a:pt x="1234" y="476"/>
                </a:lnTo>
                <a:lnTo>
                  <a:pt x="1244" y="466"/>
                </a:lnTo>
                <a:lnTo>
                  <a:pt x="1244" y="456"/>
                </a:lnTo>
                <a:lnTo>
                  <a:pt x="1265" y="446"/>
                </a:lnTo>
                <a:lnTo>
                  <a:pt x="1275" y="435"/>
                </a:lnTo>
                <a:lnTo>
                  <a:pt x="1285" y="425"/>
                </a:lnTo>
                <a:lnTo>
                  <a:pt x="1285" y="415"/>
                </a:lnTo>
                <a:lnTo>
                  <a:pt x="1295" y="395"/>
                </a:lnTo>
                <a:lnTo>
                  <a:pt x="1295" y="385"/>
                </a:lnTo>
                <a:lnTo>
                  <a:pt x="1305" y="375"/>
                </a:lnTo>
                <a:lnTo>
                  <a:pt x="1315" y="375"/>
                </a:lnTo>
                <a:lnTo>
                  <a:pt x="1325" y="365"/>
                </a:lnTo>
                <a:lnTo>
                  <a:pt x="1336" y="365"/>
                </a:lnTo>
                <a:lnTo>
                  <a:pt x="1356" y="354"/>
                </a:lnTo>
                <a:lnTo>
                  <a:pt x="1376" y="354"/>
                </a:lnTo>
                <a:lnTo>
                  <a:pt x="1386" y="344"/>
                </a:lnTo>
                <a:lnTo>
                  <a:pt x="1386" y="334"/>
                </a:lnTo>
                <a:lnTo>
                  <a:pt x="1396" y="324"/>
                </a:lnTo>
                <a:lnTo>
                  <a:pt x="1406" y="324"/>
                </a:lnTo>
                <a:lnTo>
                  <a:pt x="1416" y="314"/>
                </a:lnTo>
                <a:lnTo>
                  <a:pt x="1427" y="314"/>
                </a:lnTo>
                <a:lnTo>
                  <a:pt x="1427" y="314"/>
                </a:lnTo>
                <a:lnTo>
                  <a:pt x="1437" y="304"/>
                </a:lnTo>
                <a:lnTo>
                  <a:pt x="1437" y="294"/>
                </a:lnTo>
                <a:lnTo>
                  <a:pt x="1437" y="283"/>
                </a:lnTo>
                <a:lnTo>
                  <a:pt x="1447" y="283"/>
                </a:lnTo>
                <a:lnTo>
                  <a:pt x="1467" y="273"/>
                </a:lnTo>
                <a:lnTo>
                  <a:pt x="1477" y="263"/>
                </a:lnTo>
                <a:lnTo>
                  <a:pt x="1487" y="253"/>
                </a:lnTo>
                <a:lnTo>
                  <a:pt x="1487" y="253"/>
                </a:lnTo>
                <a:lnTo>
                  <a:pt x="1497" y="253"/>
                </a:lnTo>
                <a:lnTo>
                  <a:pt x="1508" y="253"/>
                </a:lnTo>
                <a:lnTo>
                  <a:pt x="1528" y="253"/>
                </a:lnTo>
                <a:lnTo>
                  <a:pt x="1538" y="243"/>
                </a:lnTo>
                <a:lnTo>
                  <a:pt x="1548" y="243"/>
                </a:lnTo>
                <a:lnTo>
                  <a:pt x="1568" y="233"/>
                </a:lnTo>
                <a:lnTo>
                  <a:pt x="1568" y="233"/>
                </a:lnTo>
                <a:lnTo>
                  <a:pt x="1578" y="223"/>
                </a:lnTo>
                <a:lnTo>
                  <a:pt x="1578" y="223"/>
                </a:lnTo>
                <a:lnTo>
                  <a:pt x="1599" y="202"/>
                </a:lnTo>
                <a:lnTo>
                  <a:pt x="1619" y="192"/>
                </a:lnTo>
                <a:lnTo>
                  <a:pt x="1629" y="182"/>
                </a:lnTo>
                <a:lnTo>
                  <a:pt x="1639" y="172"/>
                </a:lnTo>
                <a:lnTo>
                  <a:pt x="1639" y="162"/>
                </a:lnTo>
                <a:lnTo>
                  <a:pt x="1649" y="152"/>
                </a:lnTo>
                <a:lnTo>
                  <a:pt x="1649" y="142"/>
                </a:lnTo>
                <a:lnTo>
                  <a:pt x="1659" y="132"/>
                </a:lnTo>
                <a:lnTo>
                  <a:pt x="1669" y="132"/>
                </a:lnTo>
                <a:lnTo>
                  <a:pt x="1680" y="121"/>
                </a:lnTo>
                <a:lnTo>
                  <a:pt x="1680" y="111"/>
                </a:lnTo>
                <a:lnTo>
                  <a:pt x="1690" y="111"/>
                </a:lnTo>
                <a:lnTo>
                  <a:pt x="1700" y="111"/>
                </a:lnTo>
                <a:lnTo>
                  <a:pt x="1710" y="101"/>
                </a:lnTo>
                <a:lnTo>
                  <a:pt x="1720" y="91"/>
                </a:lnTo>
                <a:lnTo>
                  <a:pt x="1720" y="91"/>
                </a:lnTo>
                <a:lnTo>
                  <a:pt x="1730" y="91"/>
                </a:lnTo>
                <a:lnTo>
                  <a:pt x="1740" y="91"/>
                </a:lnTo>
                <a:lnTo>
                  <a:pt x="1750" y="91"/>
                </a:lnTo>
                <a:lnTo>
                  <a:pt x="1771" y="91"/>
                </a:lnTo>
                <a:lnTo>
                  <a:pt x="1781" y="91"/>
                </a:lnTo>
                <a:lnTo>
                  <a:pt x="1791" y="81"/>
                </a:lnTo>
                <a:lnTo>
                  <a:pt x="1811" y="81"/>
                </a:lnTo>
                <a:lnTo>
                  <a:pt x="1821" y="81"/>
                </a:lnTo>
                <a:lnTo>
                  <a:pt x="1852" y="71"/>
                </a:lnTo>
                <a:lnTo>
                  <a:pt x="1862" y="71"/>
                </a:lnTo>
                <a:lnTo>
                  <a:pt x="1882" y="71"/>
                </a:lnTo>
                <a:lnTo>
                  <a:pt x="1892" y="71"/>
                </a:lnTo>
                <a:lnTo>
                  <a:pt x="1912" y="71"/>
                </a:lnTo>
                <a:lnTo>
                  <a:pt x="1933" y="71"/>
                </a:lnTo>
                <a:lnTo>
                  <a:pt x="1943" y="71"/>
                </a:lnTo>
                <a:lnTo>
                  <a:pt x="1973" y="61"/>
                </a:lnTo>
                <a:lnTo>
                  <a:pt x="2003" y="51"/>
                </a:lnTo>
                <a:lnTo>
                  <a:pt x="2044" y="61"/>
                </a:lnTo>
              </a:path>
            </a:pathLst>
          </a:custGeom>
          <a:solidFill>
            <a:srgbClr val="7030A0"/>
          </a:solid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nvGrpSpPr>
          <p:cNvPr id="440" name="Groupe 439">
            <a:extLst>
              <a:ext uri="{FF2B5EF4-FFF2-40B4-BE49-F238E27FC236}">
                <a16:creationId xmlns:a16="http://schemas.microsoft.com/office/drawing/2014/main" id="{F4C5335A-2AA2-47FA-B47D-1757AAFB100F}"/>
              </a:ext>
            </a:extLst>
          </p:cNvPr>
          <p:cNvGrpSpPr/>
          <p:nvPr/>
        </p:nvGrpSpPr>
        <p:grpSpPr>
          <a:xfrm>
            <a:off x="1513631" y="6000640"/>
            <a:ext cx="1470752" cy="679017"/>
            <a:chOff x="4489747" y="5944939"/>
            <a:chExt cx="1613992" cy="925711"/>
          </a:xfrm>
        </p:grpSpPr>
        <p:grpSp>
          <p:nvGrpSpPr>
            <p:cNvPr id="441" name="Groupe 440">
              <a:extLst>
                <a:ext uri="{FF2B5EF4-FFF2-40B4-BE49-F238E27FC236}">
                  <a16:creationId xmlns:a16="http://schemas.microsoft.com/office/drawing/2014/main" id="{2C94AF26-CD97-4EDB-B397-3335C2FECA8D}"/>
                </a:ext>
              </a:extLst>
            </p:cNvPr>
            <p:cNvGrpSpPr/>
            <p:nvPr/>
          </p:nvGrpSpPr>
          <p:grpSpPr>
            <a:xfrm>
              <a:off x="4489747" y="5944939"/>
              <a:ext cx="383779" cy="843146"/>
              <a:chOff x="4489747" y="5826034"/>
              <a:chExt cx="383779" cy="843146"/>
            </a:xfrm>
          </p:grpSpPr>
          <p:sp>
            <p:nvSpPr>
              <p:cNvPr id="453" name="Rectangle 452">
                <a:extLst>
                  <a:ext uri="{FF2B5EF4-FFF2-40B4-BE49-F238E27FC236}">
                    <a16:creationId xmlns:a16="http://schemas.microsoft.com/office/drawing/2014/main" id="{F0B7570D-6BE4-4B71-B4F1-550C50E095D8}"/>
                  </a:ext>
                </a:extLst>
              </p:cNvPr>
              <p:cNvSpPr>
                <a:spLocks/>
              </p:cNvSpPr>
              <p:nvPr/>
            </p:nvSpPr>
            <p:spPr>
              <a:xfrm>
                <a:off x="4492025" y="5826034"/>
                <a:ext cx="381501" cy="211152"/>
              </a:xfrm>
              <a:prstGeom prst="rect">
                <a:avLst/>
              </a:prstGeom>
              <a:solidFill>
                <a:srgbClr val="EBE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454" name="Rectangle 453">
                <a:extLst>
                  <a:ext uri="{FF2B5EF4-FFF2-40B4-BE49-F238E27FC236}">
                    <a16:creationId xmlns:a16="http://schemas.microsoft.com/office/drawing/2014/main" id="{B0510EA1-F176-4612-B5D4-B2671D3BB2E2}"/>
                  </a:ext>
                </a:extLst>
              </p:cNvPr>
              <p:cNvSpPr>
                <a:spLocks/>
              </p:cNvSpPr>
              <p:nvPr/>
            </p:nvSpPr>
            <p:spPr>
              <a:xfrm>
                <a:off x="4492025" y="6040416"/>
                <a:ext cx="381501" cy="211152"/>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455" name="Rectangle 454">
                <a:extLst>
                  <a:ext uri="{FF2B5EF4-FFF2-40B4-BE49-F238E27FC236}">
                    <a16:creationId xmlns:a16="http://schemas.microsoft.com/office/drawing/2014/main" id="{8F87C462-20D9-4209-8EEB-213FF79E51C7}"/>
                  </a:ext>
                </a:extLst>
              </p:cNvPr>
              <p:cNvSpPr>
                <a:spLocks/>
              </p:cNvSpPr>
              <p:nvPr/>
            </p:nvSpPr>
            <p:spPr>
              <a:xfrm>
                <a:off x="4492025" y="6252495"/>
                <a:ext cx="381501" cy="21115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456" name="Rectangle 455">
                <a:extLst>
                  <a:ext uri="{FF2B5EF4-FFF2-40B4-BE49-F238E27FC236}">
                    <a16:creationId xmlns:a16="http://schemas.microsoft.com/office/drawing/2014/main" id="{CAA071B1-95C2-4115-ACCF-C6A5F5719ABE}"/>
                  </a:ext>
                </a:extLst>
              </p:cNvPr>
              <p:cNvSpPr>
                <a:spLocks/>
              </p:cNvSpPr>
              <p:nvPr/>
            </p:nvSpPr>
            <p:spPr>
              <a:xfrm>
                <a:off x="4489747" y="6458028"/>
                <a:ext cx="383779" cy="211152"/>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grpSp>
        <p:sp>
          <p:nvSpPr>
            <p:cNvPr id="442" name="ZoneTexte 441">
              <a:extLst>
                <a:ext uri="{FF2B5EF4-FFF2-40B4-BE49-F238E27FC236}">
                  <a16:creationId xmlns:a16="http://schemas.microsoft.com/office/drawing/2014/main" id="{3E83CF71-90E6-4BCE-B728-86985E990ACC}"/>
                </a:ext>
              </a:extLst>
            </p:cNvPr>
            <p:cNvSpPr txBox="1">
              <a:spLocks/>
            </p:cNvSpPr>
            <p:nvPr/>
          </p:nvSpPr>
          <p:spPr>
            <a:xfrm>
              <a:off x="4900775" y="5951891"/>
              <a:ext cx="1202964" cy="293717"/>
            </a:xfrm>
            <a:prstGeom prst="rect">
              <a:avLst/>
            </a:prstGeom>
            <a:noFill/>
          </p:spPr>
          <p:txBody>
            <a:bodyPr wrap="square">
              <a:spAutoFit/>
            </a:bodyPr>
            <a:lstStyle/>
            <a:p>
              <a:pPr>
                <a:defRPr/>
              </a:pPr>
              <a:r>
                <a:rPr lang="fr-FR" sz="800">
                  <a:solidFill>
                    <a:srgbClr val="5F5F5F">
                      <a:lumMod val="60000"/>
                      <a:lumOff val="40000"/>
                    </a:srgbClr>
                  </a:solidFill>
                  <a:latin typeface="Tahoma"/>
                </a:rPr>
                <a:t>0 – 2,5%</a:t>
              </a:r>
            </a:p>
          </p:txBody>
        </p:sp>
        <p:sp>
          <p:nvSpPr>
            <p:cNvPr id="443" name="ZoneTexte 442">
              <a:extLst>
                <a:ext uri="{FF2B5EF4-FFF2-40B4-BE49-F238E27FC236}">
                  <a16:creationId xmlns:a16="http://schemas.microsoft.com/office/drawing/2014/main" id="{D8A28DBE-28F2-405E-AC97-DB5DC6B06633}"/>
                </a:ext>
              </a:extLst>
            </p:cNvPr>
            <p:cNvSpPr txBox="1">
              <a:spLocks/>
            </p:cNvSpPr>
            <p:nvPr/>
          </p:nvSpPr>
          <p:spPr>
            <a:xfrm>
              <a:off x="4900775" y="6172759"/>
              <a:ext cx="1202964" cy="293717"/>
            </a:xfrm>
            <a:prstGeom prst="rect">
              <a:avLst/>
            </a:prstGeom>
            <a:noFill/>
          </p:spPr>
          <p:txBody>
            <a:bodyPr wrap="square">
              <a:spAutoFit/>
            </a:bodyPr>
            <a:lstStyle/>
            <a:p>
              <a:pPr>
                <a:defRPr/>
              </a:pPr>
              <a:r>
                <a:rPr lang="fr-FR" sz="800">
                  <a:solidFill>
                    <a:srgbClr val="5F5F5F">
                      <a:lumMod val="60000"/>
                      <a:lumOff val="40000"/>
                    </a:srgbClr>
                  </a:solidFill>
                  <a:latin typeface="Tahoma"/>
                </a:rPr>
                <a:t>2,5 – 3,5%</a:t>
              </a:r>
            </a:p>
          </p:txBody>
        </p:sp>
        <p:sp>
          <p:nvSpPr>
            <p:cNvPr id="444" name="ZoneTexte 443">
              <a:extLst>
                <a:ext uri="{FF2B5EF4-FFF2-40B4-BE49-F238E27FC236}">
                  <a16:creationId xmlns:a16="http://schemas.microsoft.com/office/drawing/2014/main" id="{63240C3F-790B-435E-9BC7-26704FD4B780}"/>
                </a:ext>
              </a:extLst>
            </p:cNvPr>
            <p:cNvSpPr txBox="1">
              <a:spLocks/>
            </p:cNvSpPr>
            <p:nvPr/>
          </p:nvSpPr>
          <p:spPr>
            <a:xfrm>
              <a:off x="4900775" y="6380727"/>
              <a:ext cx="1202964" cy="293717"/>
            </a:xfrm>
            <a:prstGeom prst="rect">
              <a:avLst/>
            </a:prstGeom>
            <a:noFill/>
          </p:spPr>
          <p:txBody>
            <a:bodyPr wrap="square">
              <a:spAutoFit/>
            </a:bodyPr>
            <a:lstStyle/>
            <a:p>
              <a:pPr>
                <a:defRPr/>
              </a:pPr>
              <a:r>
                <a:rPr lang="fr-FR" sz="800">
                  <a:solidFill>
                    <a:srgbClr val="5F5F5F">
                      <a:lumMod val="60000"/>
                      <a:lumOff val="40000"/>
                    </a:srgbClr>
                  </a:solidFill>
                  <a:latin typeface="Tahoma"/>
                </a:rPr>
                <a:t>3,5 – 4,5%</a:t>
              </a:r>
            </a:p>
          </p:txBody>
        </p:sp>
        <p:sp>
          <p:nvSpPr>
            <p:cNvPr id="445" name="ZoneTexte 444">
              <a:extLst>
                <a:ext uri="{FF2B5EF4-FFF2-40B4-BE49-F238E27FC236}">
                  <a16:creationId xmlns:a16="http://schemas.microsoft.com/office/drawing/2014/main" id="{7C603FCB-7680-4546-88B9-A8696F4D425B}"/>
                </a:ext>
              </a:extLst>
            </p:cNvPr>
            <p:cNvSpPr txBox="1">
              <a:spLocks/>
            </p:cNvSpPr>
            <p:nvPr/>
          </p:nvSpPr>
          <p:spPr>
            <a:xfrm>
              <a:off x="4900775" y="6576933"/>
              <a:ext cx="1202964" cy="293717"/>
            </a:xfrm>
            <a:prstGeom prst="rect">
              <a:avLst/>
            </a:prstGeom>
            <a:noFill/>
          </p:spPr>
          <p:txBody>
            <a:bodyPr wrap="square">
              <a:spAutoFit/>
            </a:bodyPr>
            <a:lstStyle/>
            <a:p>
              <a:pPr>
                <a:defRPr/>
              </a:pPr>
              <a:r>
                <a:rPr lang="fr-FR" sz="800">
                  <a:solidFill>
                    <a:srgbClr val="5F5F5F">
                      <a:lumMod val="60000"/>
                      <a:lumOff val="40000"/>
                    </a:srgbClr>
                  </a:solidFill>
                  <a:latin typeface="Tahoma"/>
                </a:rPr>
                <a:t>&gt; 4,5%</a:t>
              </a:r>
            </a:p>
          </p:txBody>
        </p:sp>
        <p:grpSp>
          <p:nvGrpSpPr>
            <p:cNvPr id="446" name="Groupe 445">
              <a:extLst>
                <a:ext uri="{FF2B5EF4-FFF2-40B4-BE49-F238E27FC236}">
                  <a16:creationId xmlns:a16="http://schemas.microsoft.com/office/drawing/2014/main" id="{32412B87-A637-4350-919B-77389F8E8E0C}"/>
                </a:ext>
              </a:extLst>
            </p:cNvPr>
            <p:cNvGrpSpPr/>
            <p:nvPr/>
          </p:nvGrpSpPr>
          <p:grpSpPr>
            <a:xfrm>
              <a:off x="4489898" y="5947051"/>
              <a:ext cx="381501" cy="841019"/>
              <a:chOff x="4492025" y="5828161"/>
              <a:chExt cx="381501" cy="841019"/>
            </a:xfrm>
          </p:grpSpPr>
          <p:sp>
            <p:nvSpPr>
              <p:cNvPr id="448" name="Rectangle 447">
                <a:extLst>
                  <a:ext uri="{FF2B5EF4-FFF2-40B4-BE49-F238E27FC236}">
                    <a16:creationId xmlns:a16="http://schemas.microsoft.com/office/drawing/2014/main" id="{321C461F-3FFB-48CD-BDA8-BF04708C5966}"/>
                  </a:ext>
                </a:extLst>
              </p:cNvPr>
              <p:cNvSpPr>
                <a:spLocks/>
              </p:cNvSpPr>
              <p:nvPr/>
            </p:nvSpPr>
            <p:spPr>
              <a:xfrm>
                <a:off x="4492025" y="5828161"/>
                <a:ext cx="381501" cy="211152"/>
              </a:xfrm>
              <a:prstGeom prst="rect">
                <a:avLst/>
              </a:prstGeom>
              <a:solidFill>
                <a:srgbClr val="EBE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449" name="Rectangle 448">
                <a:extLst>
                  <a:ext uri="{FF2B5EF4-FFF2-40B4-BE49-F238E27FC236}">
                    <a16:creationId xmlns:a16="http://schemas.microsoft.com/office/drawing/2014/main" id="{B92143DF-3437-402D-A269-46C34A7AAF9A}"/>
                  </a:ext>
                </a:extLst>
              </p:cNvPr>
              <p:cNvSpPr>
                <a:spLocks/>
              </p:cNvSpPr>
              <p:nvPr/>
            </p:nvSpPr>
            <p:spPr>
              <a:xfrm>
                <a:off x="4492025" y="6040416"/>
                <a:ext cx="381501" cy="211152"/>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450" name="Rectangle 449">
                <a:extLst>
                  <a:ext uri="{FF2B5EF4-FFF2-40B4-BE49-F238E27FC236}">
                    <a16:creationId xmlns:a16="http://schemas.microsoft.com/office/drawing/2014/main" id="{9B9D751C-4ACA-43D4-A228-EDA5B4F40D52}"/>
                  </a:ext>
                </a:extLst>
              </p:cNvPr>
              <p:cNvSpPr>
                <a:spLocks/>
              </p:cNvSpPr>
              <p:nvPr/>
            </p:nvSpPr>
            <p:spPr>
              <a:xfrm>
                <a:off x="4492025" y="6252495"/>
                <a:ext cx="381501" cy="21115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451" name="Rectangle 450">
                <a:extLst>
                  <a:ext uri="{FF2B5EF4-FFF2-40B4-BE49-F238E27FC236}">
                    <a16:creationId xmlns:a16="http://schemas.microsoft.com/office/drawing/2014/main" id="{0442D655-E832-4291-9939-DD24633B6ED4}"/>
                  </a:ext>
                </a:extLst>
              </p:cNvPr>
              <p:cNvSpPr>
                <a:spLocks/>
              </p:cNvSpPr>
              <p:nvPr/>
            </p:nvSpPr>
            <p:spPr>
              <a:xfrm>
                <a:off x="4496727" y="6458028"/>
                <a:ext cx="376799" cy="211152"/>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grpSp>
      </p:grpSp>
      <p:sp>
        <p:nvSpPr>
          <p:cNvPr id="457" name="ZoneTexte 456">
            <a:extLst>
              <a:ext uri="{FF2B5EF4-FFF2-40B4-BE49-F238E27FC236}">
                <a16:creationId xmlns:a16="http://schemas.microsoft.com/office/drawing/2014/main" id="{5F6D371C-C1A5-4009-8115-9267892B35EF}"/>
              </a:ext>
            </a:extLst>
          </p:cNvPr>
          <p:cNvSpPr txBox="1"/>
          <p:nvPr/>
        </p:nvSpPr>
        <p:spPr>
          <a:xfrm>
            <a:off x="1194128" y="2010379"/>
            <a:ext cx="5033174" cy="338554"/>
          </a:xfrm>
          <a:prstGeom prst="rect">
            <a:avLst/>
          </a:prstGeom>
          <a:noFill/>
        </p:spPr>
        <p:txBody>
          <a:bodyPr wrap="square">
            <a:spAutoFit/>
          </a:bodyPr>
          <a:lstStyle/>
          <a:p>
            <a:r>
              <a:rPr lang="fr-FR" sz="800" u="sng" kern="0">
                <a:solidFill>
                  <a:srgbClr val="5F5F5F"/>
                </a:solidFill>
                <a:latin typeface="Tahoma"/>
              </a:rPr>
              <a:t>Source des données </a:t>
            </a:r>
            <a:r>
              <a:rPr lang="fr-FR" sz="800" kern="0">
                <a:solidFill>
                  <a:srgbClr val="5F5F5F"/>
                </a:solidFill>
                <a:latin typeface="Tahoma"/>
              </a:rPr>
              <a:t>: DREES, </a:t>
            </a:r>
            <a:r>
              <a:rPr lang="fr-FR" sz="800" kern="0">
                <a:solidFill>
                  <a:srgbClr val="5F5F5F"/>
                </a:solidFill>
                <a:latin typeface="Tahoma"/>
                <a:hlinkClick r:id="rId3"/>
              </a:rPr>
              <a:t>Panorama statistique de la cohésion sociale, du travail et de l’emploi 2021</a:t>
            </a:r>
            <a:endParaRPr lang="fr-FR" sz="800" kern="0">
              <a:solidFill>
                <a:srgbClr val="5F5F5F"/>
              </a:solidFill>
              <a:latin typeface="Tahoma"/>
            </a:endParaRPr>
          </a:p>
          <a:p>
            <a:endParaRPr lang="fr-FR" sz="800" kern="0">
              <a:solidFill>
                <a:srgbClr val="5F5F5F"/>
              </a:solidFill>
              <a:latin typeface="Tahoma"/>
            </a:endParaRPr>
          </a:p>
        </p:txBody>
      </p:sp>
      <p:sp>
        <p:nvSpPr>
          <p:cNvPr id="458" name="ZoneTexte 457">
            <a:extLst>
              <a:ext uri="{FF2B5EF4-FFF2-40B4-BE49-F238E27FC236}">
                <a16:creationId xmlns:a16="http://schemas.microsoft.com/office/drawing/2014/main" id="{585EE608-1D8E-420F-B2E2-BA2E74B9C270}"/>
              </a:ext>
            </a:extLst>
          </p:cNvPr>
          <p:cNvSpPr txBox="1"/>
          <p:nvPr/>
        </p:nvSpPr>
        <p:spPr>
          <a:xfrm>
            <a:off x="1401944" y="1595545"/>
            <a:ext cx="4541994" cy="461665"/>
          </a:xfrm>
          <a:prstGeom prst="rect">
            <a:avLst/>
          </a:prstGeom>
          <a:noFill/>
        </p:spPr>
        <p:txBody>
          <a:bodyPr wrap="square">
            <a:spAutoFit/>
          </a:bodyPr>
          <a:lstStyle/>
          <a:p>
            <a:r>
              <a:rPr lang="fr-FR" sz="1200" b="1" kern="0">
                <a:solidFill>
                  <a:srgbClr val="503078"/>
                </a:solidFill>
                <a:latin typeface="Tahoma"/>
              </a:rPr>
              <a:t>Pourcentage de bénéficiaires de l’AAH dans la population des 15 à 64 ans au 31/12/2020</a:t>
            </a:r>
          </a:p>
        </p:txBody>
      </p:sp>
      <p:grpSp>
        <p:nvGrpSpPr>
          <p:cNvPr id="459" name="Groupe 458">
            <a:extLst>
              <a:ext uri="{FF2B5EF4-FFF2-40B4-BE49-F238E27FC236}">
                <a16:creationId xmlns:a16="http://schemas.microsoft.com/office/drawing/2014/main" id="{99727C23-626F-431D-B31A-FE4FE06C0903}"/>
              </a:ext>
            </a:extLst>
          </p:cNvPr>
          <p:cNvGrpSpPr/>
          <p:nvPr/>
        </p:nvGrpSpPr>
        <p:grpSpPr>
          <a:xfrm>
            <a:off x="1346529" y="905668"/>
            <a:ext cx="9722325" cy="584775"/>
            <a:chOff x="230344" y="962566"/>
            <a:chExt cx="9722325" cy="584775"/>
          </a:xfrm>
        </p:grpSpPr>
        <p:sp>
          <p:nvSpPr>
            <p:cNvPr id="460" name="TextBox 76">
              <a:extLst>
                <a:ext uri="{FF2B5EF4-FFF2-40B4-BE49-F238E27FC236}">
                  <a16:creationId xmlns:a16="http://schemas.microsoft.com/office/drawing/2014/main" id="{3856814B-3710-40DD-901D-B8804131EAD0}"/>
                </a:ext>
              </a:extLst>
            </p:cNvPr>
            <p:cNvSpPr txBox="1"/>
            <p:nvPr/>
          </p:nvSpPr>
          <p:spPr>
            <a:xfrm>
              <a:off x="1702563" y="981790"/>
              <a:ext cx="8007270" cy="561752"/>
            </a:xfrm>
            <a:prstGeom prst="rect">
              <a:avLst/>
            </a:prstGeom>
            <a:solidFill>
              <a:schemeClr val="bg1">
                <a:lumMod val="95000"/>
              </a:schemeClr>
            </a:solidFill>
          </p:spPr>
          <p:txBody>
            <a:bodyPr wrap="none" rtlCol="0" anchor="ctr" anchorCtr="0">
              <a:noAutofit/>
            </a:bodyPr>
            <a:lstStyle/>
            <a:p>
              <a:pPr algn="ctr"/>
              <a:endParaRPr lang="fr-FR" sz="2194">
                <a:solidFill>
                  <a:srgbClr val="FFFFFF"/>
                </a:solidFill>
                <a:latin typeface="Tahoma"/>
                <a:cs typeface="Poppins" pitchFamily="2" charset="77"/>
              </a:endParaRPr>
            </a:p>
          </p:txBody>
        </p:sp>
        <p:sp>
          <p:nvSpPr>
            <p:cNvPr id="461" name="ZoneTexte 460">
              <a:extLst>
                <a:ext uri="{FF2B5EF4-FFF2-40B4-BE49-F238E27FC236}">
                  <a16:creationId xmlns:a16="http://schemas.microsoft.com/office/drawing/2014/main" id="{750D8BE7-3A46-45FB-BD73-F10851C47361}"/>
                </a:ext>
              </a:extLst>
            </p:cNvPr>
            <p:cNvSpPr txBox="1"/>
            <p:nvPr/>
          </p:nvSpPr>
          <p:spPr>
            <a:xfrm>
              <a:off x="1744722" y="962566"/>
              <a:ext cx="8207947" cy="584775"/>
            </a:xfrm>
            <a:prstGeom prst="rect">
              <a:avLst/>
            </a:prstGeom>
            <a:noFill/>
          </p:spPr>
          <p:txBody>
            <a:bodyPr wrap="square">
              <a:spAutoFit/>
            </a:bodyPr>
            <a:lstStyle/>
            <a:p>
              <a:r>
                <a:rPr lang="fr-FR" sz="1200" b="1" kern="0">
                  <a:solidFill>
                    <a:srgbClr val="503078"/>
                  </a:solidFill>
                  <a:latin typeface="Tahoma"/>
                </a:rPr>
                <a:t>Bénéficiaires de l’Allocation Adulte Handicapé en France (métropole/DROM) au 31/12/2020. </a:t>
              </a:r>
            </a:p>
            <a:p>
              <a:r>
                <a:rPr lang="fr-FR" sz="1000" kern="0">
                  <a:solidFill>
                    <a:srgbClr val="5F5F5F"/>
                  </a:solidFill>
                  <a:latin typeface="Tahoma"/>
                </a:rPr>
                <a:t>Cette aide, versée par la CAF, est d</a:t>
              </a:r>
              <a:r>
                <a:rPr lang="fr-FR" sz="1000">
                  <a:solidFill>
                    <a:srgbClr val="5F5F5F"/>
                  </a:solidFill>
                  <a:latin typeface="Tahoma"/>
                </a:rPr>
                <a:t>estinée aux personnes en situation de handicap afin de compléter leurs ressources et de leur garantir un revenu minimal. Son montant dépend de la situation familiale, professionnelle et des ressources du bénéficiaire.</a:t>
              </a:r>
              <a:endParaRPr lang="fr-FR" sz="1050" b="1" kern="0">
                <a:solidFill>
                  <a:srgbClr val="5F5F5F"/>
                </a:solidFill>
                <a:latin typeface="Tahoma"/>
              </a:endParaRPr>
            </a:p>
          </p:txBody>
        </p:sp>
        <p:sp>
          <p:nvSpPr>
            <p:cNvPr id="462" name="TextBox 76">
              <a:extLst>
                <a:ext uri="{FF2B5EF4-FFF2-40B4-BE49-F238E27FC236}">
                  <a16:creationId xmlns:a16="http://schemas.microsoft.com/office/drawing/2014/main" id="{A8BF7252-3237-409C-AF75-CB246FCBB100}"/>
                </a:ext>
              </a:extLst>
            </p:cNvPr>
            <p:cNvSpPr txBox="1"/>
            <p:nvPr/>
          </p:nvSpPr>
          <p:spPr>
            <a:xfrm>
              <a:off x="230344" y="978750"/>
              <a:ext cx="1438214" cy="560226"/>
            </a:xfrm>
            <a:prstGeom prst="rect">
              <a:avLst/>
            </a:prstGeom>
            <a:solidFill>
              <a:schemeClr val="bg2"/>
            </a:solidFill>
          </p:spPr>
          <p:txBody>
            <a:bodyPr wrap="none" rtlCol="0" anchor="ctr" anchorCtr="0">
              <a:noAutofit/>
            </a:bodyPr>
            <a:lstStyle/>
            <a:p>
              <a:pPr algn="ctr"/>
              <a:r>
                <a:rPr lang="fr-FR" sz="2194">
                  <a:solidFill>
                    <a:srgbClr val="FFFFFF"/>
                  </a:solidFill>
                  <a:latin typeface="Tahoma"/>
                  <a:cs typeface="Poppins" pitchFamily="2" charset="77"/>
                </a:rPr>
                <a:t>1 237 212</a:t>
              </a:r>
            </a:p>
          </p:txBody>
        </p:sp>
      </p:grpSp>
      <p:sp>
        <p:nvSpPr>
          <p:cNvPr id="464" name="ZoneTexte 463">
            <a:extLst>
              <a:ext uri="{FF2B5EF4-FFF2-40B4-BE49-F238E27FC236}">
                <a16:creationId xmlns:a16="http://schemas.microsoft.com/office/drawing/2014/main" id="{D2C5251C-86A5-4E5F-946D-BAD51E18A8D8}"/>
              </a:ext>
            </a:extLst>
          </p:cNvPr>
          <p:cNvSpPr txBox="1"/>
          <p:nvPr/>
        </p:nvSpPr>
        <p:spPr>
          <a:xfrm>
            <a:off x="6198702" y="1753670"/>
            <a:ext cx="5033174" cy="461665"/>
          </a:xfrm>
          <a:prstGeom prst="rect">
            <a:avLst/>
          </a:prstGeom>
          <a:noFill/>
        </p:spPr>
        <p:txBody>
          <a:bodyPr wrap="square">
            <a:spAutoFit/>
          </a:bodyPr>
          <a:lstStyle/>
          <a:p>
            <a:r>
              <a:rPr lang="fr-FR" sz="1200" b="1" kern="0">
                <a:solidFill>
                  <a:srgbClr val="503078"/>
                </a:solidFill>
                <a:latin typeface="Tahoma"/>
              </a:rPr>
              <a:t>Nombre de bénéficiaires de l’AAH par région au 31.12.2019</a:t>
            </a:r>
          </a:p>
          <a:p>
            <a:endParaRPr lang="fr-FR" sz="1200" b="1" kern="0">
              <a:solidFill>
                <a:srgbClr val="B0ADCC">
                  <a:lumMod val="75000"/>
                </a:srgbClr>
              </a:solidFill>
              <a:latin typeface="Tahoma"/>
            </a:endParaRPr>
          </a:p>
        </p:txBody>
      </p:sp>
      <p:graphicFrame>
        <p:nvGraphicFramePr>
          <p:cNvPr id="465" name="Tableau 642">
            <a:extLst>
              <a:ext uri="{FF2B5EF4-FFF2-40B4-BE49-F238E27FC236}">
                <a16:creationId xmlns:a16="http://schemas.microsoft.com/office/drawing/2014/main" id="{DD58B5C9-5922-4256-AC10-84F13FF64D53}"/>
              </a:ext>
            </a:extLst>
          </p:cNvPr>
          <p:cNvGraphicFramePr>
            <a:graphicFrameLocks noGrp="1"/>
          </p:cNvGraphicFramePr>
          <p:nvPr/>
        </p:nvGraphicFramePr>
        <p:xfrm>
          <a:off x="6379234" y="2263858"/>
          <a:ext cx="4421846" cy="1737360"/>
        </p:xfrm>
        <a:graphic>
          <a:graphicData uri="http://schemas.openxmlformats.org/drawingml/2006/table">
            <a:tbl>
              <a:tblPr bandRow="1">
                <a:tableStyleId>{5C22544A-7EE6-4342-B048-85BDC9FD1C3A}</a:tableStyleId>
              </a:tblPr>
              <a:tblGrid>
                <a:gridCol w="1455446">
                  <a:extLst>
                    <a:ext uri="{9D8B030D-6E8A-4147-A177-3AD203B41FA5}">
                      <a16:colId xmlns:a16="http://schemas.microsoft.com/office/drawing/2014/main" val="3648665111"/>
                    </a:ext>
                  </a:extLst>
                </a:gridCol>
                <a:gridCol w="756000">
                  <a:extLst>
                    <a:ext uri="{9D8B030D-6E8A-4147-A177-3AD203B41FA5}">
                      <a16:colId xmlns:a16="http://schemas.microsoft.com/office/drawing/2014/main" val="35701285"/>
                    </a:ext>
                  </a:extLst>
                </a:gridCol>
                <a:gridCol w="1454400">
                  <a:extLst>
                    <a:ext uri="{9D8B030D-6E8A-4147-A177-3AD203B41FA5}">
                      <a16:colId xmlns:a16="http://schemas.microsoft.com/office/drawing/2014/main" val="893798173"/>
                    </a:ext>
                  </a:extLst>
                </a:gridCol>
                <a:gridCol w="756000">
                  <a:extLst>
                    <a:ext uri="{9D8B030D-6E8A-4147-A177-3AD203B41FA5}">
                      <a16:colId xmlns:a16="http://schemas.microsoft.com/office/drawing/2014/main" val="114917291"/>
                    </a:ext>
                  </a:extLst>
                </a:gridCol>
              </a:tblGrid>
              <a:tr h="0">
                <a:tc>
                  <a:txBody>
                    <a:bodyPr/>
                    <a:lstStyle/>
                    <a:p>
                      <a:r>
                        <a:rPr lang="en-US" sz="900"/>
                        <a:t>Auvergne-Rhône-Alpes</a:t>
                      </a:r>
                      <a:endParaRPr lang="fr-FR" sz="900"/>
                    </a:p>
                  </a:txBody>
                  <a:tcPr anchor="ctr">
                    <a:lnL w="6350" cap="flat" cmpd="sng" algn="ctr">
                      <a:solidFill>
                        <a:schemeClr val="bg2"/>
                      </a:solidFill>
                      <a:prstDash val="solid"/>
                      <a:round/>
                      <a:headEnd type="none" w="med" len="med"/>
                      <a:tailEnd type="none" w="med" len="med"/>
                    </a:lnL>
                    <a:lnT w="6350" cap="flat" cmpd="sng" algn="ctr">
                      <a:solidFill>
                        <a:schemeClr val="bg2"/>
                      </a:solidFill>
                      <a:prstDash val="solid"/>
                      <a:round/>
                      <a:headEnd type="none" w="med" len="med"/>
                      <a:tailEnd type="none" w="med" len="med"/>
                    </a:lnT>
                    <a:solidFill>
                      <a:schemeClr val="bg1">
                        <a:lumMod val="95000"/>
                      </a:schemeClr>
                    </a:solidFill>
                  </a:tcPr>
                </a:tc>
                <a:tc>
                  <a:txBody>
                    <a:bodyPr/>
                    <a:lstStyle/>
                    <a:p>
                      <a:pPr algn="ctr"/>
                      <a:r>
                        <a:rPr lang="en-US" sz="900"/>
                        <a:t>132 422</a:t>
                      </a:r>
                      <a:endParaRPr lang="fr-FR" sz="900"/>
                    </a:p>
                  </a:txBody>
                  <a:tcPr anchor="ctr">
                    <a:lnT w="6350" cap="flat" cmpd="sng" algn="ctr">
                      <a:solidFill>
                        <a:schemeClr val="bg2"/>
                      </a:solidFill>
                      <a:prstDash val="solid"/>
                      <a:round/>
                      <a:headEnd type="none" w="med" len="med"/>
                      <a:tailEnd type="none" w="med" len="med"/>
                    </a:lnT>
                    <a:solidFill>
                      <a:schemeClr val="bg1"/>
                    </a:solidFill>
                  </a:tcPr>
                </a:tc>
                <a:tc>
                  <a:txBody>
                    <a:bodyPr/>
                    <a:lstStyle/>
                    <a:p>
                      <a:pPr marL="0" algn="l" defTabSz="742950" rtl="0" eaLnBrk="1" latinLnBrk="0" hangingPunct="1"/>
                      <a:r>
                        <a:rPr lang="en-US" sz="900" kern="1200">
                          <a:solidFill>
                            <a:schemeClr val="dk1"/>
                          </a:solidFill>
                          <a:latin typeface="+mn-lt"/>
                          <a:ea typeface="+mn-ea"/>
                          <a:cs typeface="+mn-cs"/>
                        </a:rPr>
                        <a:t>Île-de-France</a:t>
                      </a:r>
                      <a:endParaRPr lang="fr-FR" sz="900" kern="1200">
                        <a:solidFill>
                          <a:schemeClr val="dk1"/>
                        </a:solidFill>
                        <a:latin typeface="+mn-lt"/>
                        <a:ea typeface="+mn-ea"/>
                        <a:cs typeface="+mn-cs"/>
                      </a:endParaRPr>
                    </a:p>
                  </a:txBody>
                  <a:tcPr anchor="ctr">
                    <a:lnT w="6350" cap="flat" cmpd="sng" algn="ctr">
                      <a:solidFill>
                        <a:schemeClr val="bg2"/>
                      </a:solidFill>
                      <a:prstDash val="solid"/>
                      <a:round/>
                      <a:headEnd type="none" w="med" len="med"/>
                      <a:tailEnd type="none" w="med" len="med"/>
                    </a:lnT>
                    <a:solidFill>
                      <a:schemeClr val="bg1">
                        <a:lumMod val="95000"/>
                      </a:schemeClr>
                    </a:solidFill>
                  </a:tcPr>
                </a:tc>
                <a:tc>
                  <a:txBody>
                    <a:bodyPr/>
                    <a:lstStyle/>
                    <a:p>
                      <a:pPr algn="ctr"/>
                      <a:r>
                        <a:rPr lang="en-US" sz="900"/>
                        <a:t>164 431</a:t>
                      </a:r>
                      <a:endParaRPr lang="fr-FR" sz="900"/>
                    </a:p>
                  </a:txBody>
                  <a:tcPr anchor="ctr">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solidFill>
                      <a:schemeClr val="bg1"/>
                    </a:solidFill>
                  </a:tcPr>
                </a:tc>
                <a:extLst>
                  <a:ext uri="{0D108BD9-81ED-4DB2-BD59-A6C34878D82A}">
                    <a16:rowId xmlns:a16="http://schemas.microsoft.com/office/drawing/2014/main" val="4213329896"/>
                  </a:ext>
                </a:extLst>
              </a:tr>
              <a:tr h="0">
                <a:tc>
                  <a:txBody>
                    <a:bodyPr/>
                    <a:lstStyle/>
                    <a:p>
                      <a:r>
                        <a:rPr lang="en-US" sz="900"/>
                        <a:t>Bourgogne-Franche-Comté</a:t>
                      </a:r>
                      <a:endParaRPr lang="fr-FR" sz="900"/>
                    </a:p>
                  </a:txBody>
                  <a:tcPr anchor="ctr">
                    <a:lnL w="6350" cap="flat" cmpd="sng" algn="ctr">
                      <a:solidFill>
                        <a:schemeClr val="bg2"/>
                      </a:solidFill>
                      <a:prstDash val="solid"/>
                      <a:round/>
                      <a:headEnd type="none" w="med" len="med"/>
                      <a:tailEnd type="none" w="med" len="med"/>
                    </a:lnL>
                    <a:solidFill>
                      <a:schemeClr val="bg1">
                        <a:lumMod val="95000"/>
                      </a:schemeClr>
                    </a:solidFill>
                  </a:tcPr>
                </a:tc>
                <a:tc>
                  <a:txBody>
                    <a:bodyPr/>
                    <a:lstStyle/>
                    <a:p>
                      <a:pPr algn="ctr"/>
                      <a:r>
                        <a:rPr lang="en-US" sz="900"/>
                        <a:t>58 281</a:t>
                      </a:r>
                      <a:endParaRPr lang="fr-FR" sz="900"/>
                    </a:p>
                  </a:txBody>
                  <a:tcPr anchor="ctr">
                    <a:solidFill>
                      <a:schemeClr val="bg1"/>
                    </a:solidFill>
                  </a:tcPr>
                </a:tc>
                <a:tc>
                  <a:txBody>
                    <a:bodyPr/>
                    <a:lstStyle/>
                    <a:p>
                      <a:pPr marL="0" algn="l" defTabSz="742950" rtl="0" eaLnBrk="1" latinLnBrk="0" hangingPunct="1"/>
                      <a:r>
                        <a:rPr lang="en-US" sz="900" kern="1200">
                          <a:solidFill>
                            <a:schemeClr val="dk1"/>
                          </a:solidFill>
                          <a:latin typeface="+mn-lt"/>
                          <a:ea typeface="+mn-ea"/>
                          <a:cs typeface="+mn-cs"/>
                        </a:rPr>
                        <a:t>Normandie</a:t>
                      </a:r>
                      <a:endParaRPr lang="fr-FR" sz="900" kern="1200">
                        <a:solidFill>
                          <a:schemeClr val="dk1"/>
                        </a:solidFill>
                        <a:latin typeface="+mn-lt"/>
                        <a:ea typeface="+mn-ea"/>
                        <a:cs typeface="+mn-cs"/>
                      </a:endParaRPr>
                    </a:p>
                  </a:txBody>
                  <a:tcPr anchor="ctr">
                    <a:solidFill>
                      <a:schemeClr val="bg1">
                        <a:lumMod val="95000"/>
                      </a:schemeClr>
                    </a:solidFill>
                  </a:tcPr>
                </a:tc>
                <a:tc>
                  <a:txBody>
                    <a:bodyPr/>
                    <a:lstStyle/>
                    <a:p>
                      <a:pPr algn="ctr"/>
                      <a:r>
                        <a:rPr lang="en-US" sz="900"/>
                        <a:t>71 523</a:t>
                      </a:r>
                      <a:endParaRPr lang="fr-FR" sz="900"/>
                    </a:p>
                  </a:txBody>
                  <a:tcPr anchor="ctr">
                    <a:lnR w="6350"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497216151"/>
                  </a:ext>
                </a:extLst>
              </a:tr>
              <a:tr h="0">
                <a:tc>
                  <a:txBody>
                    <a:bodyPr/>
                    <a:lstStyle/>
                    <a:p>
                      <a:r>
                        <a:rPr lang="en-US" sz="900"/>
                        <a:t>Bretagne</a:t>
                      </a:r>
                      <a:endParaRPr lang="fr-FR" sz="900"/>
                    </a:p>
                  </a:txBody>
                  <a:tcPr anchor="ctr">
                    <a:lnL w="6350" cap="flat" cmpd="sng" algn="ctr">
                      <a:solidFill>
                        <a:schemeClr val="bg2"/>
                      </a:solidFill>
                      <a:prstDash val="solid"/>
                      <a:round/>
                      <a:headEnd type="none" w="med" len="med"/>
                      <a:tailEnd type="none" w="med" len="med"/>
                    </a:lnL>
                    <a:solidFill>
                      <a:schemeClr val="bg1">
                        <a:lumMod val="95000"/>
                      </a:schemeClr>
                    </a:solidFill>
                  </a:tcPr>
                </a:tc>
                <a:tc>
                  <a:txBody>
                    <a:bodyPr/>
                    <a:lstStyle/>
                    <a:p>
                      <a:pPr algn="ctr"/>
                      <a:r>
                        <a:rPr lang="en-US" sz="900"/>
                        <a:t>68 108</a:t>
                      </a:r>
                      <a:endParaRPr lang="fr-FR" sz="900"/>
                    </a:p>
                  </a:txBody>
                  <a:tcPr anchor="ctr">
                    <a:solidFill>
                      <a:schemeClr val="bg1"/>
                    </a:solidFill>
                  </a:tcPr>
                </a:tc>
                <a:tc>
                  <a:txBody>
                    <a:bodyPr/>
                    <a:lstStyle/>
                    <a:p>
                      <a:pPr marL="0" algn="l" defTabSz="742950" rtl="0" eaLnBrk="1" latinLnBrk="0" hangingPunct="1"/>
                      <a:r>
                        <a:rPr lang="en-US" sz="900" kern="1200">
                          <a:solidFill>
                            <a:schemeClr val="dk1"/>
                          </a:solidFill>
                          <a:latin typeface="+mn-lt"/>
                          <a:ea typeface="+mn-ea"/>
                          <a:cs typeface="+mn-cs"/>
                        </a:rPr>
                        <a:t>Nouvelle-Aquitaine</a:t>
                      </a:r>
                      <a:endParaRPr lang="fr-FR" sz="900" kern="1200">
                        <a:solidFill>
                          <a:schemeClr val="dk1"/>
                        </a:solidFill>
                        <a:latin typeface="+mn-lt"/>
                        <a:ea typeface="+mn-ea"/>
                        <a:cs typeface="+mn-cs"/>
                      </a:endParaRPr>
                    </a:p>
                  </a:txBody>
                  <a:tcPr anchor="ctr">
                    <a:solidFill>
                      <a:schemeClr val="bg1">
                        <a:lumMod val="95000"/>
                      </a:schemeClr>
                    </a:solidFill>
                  </a:tcPr>
                </a:tc>
                <a:tc>
                  <a:txBody>
                    <a:bodyPr/>
                    <a:lstStyle/>
                    <a:p>
                      <a:pPr algn="ctr"/>
                      <a:r>
                        <a:rPr lang="en-US" sz="900"/>
                        <a:t>123 353</a:t>
                      </a:r>
                      <a:endParaRPr lang="fr-FR" sz="900"/>
                    </a:p>
                  </a:txBody>
                  <a:tcPr anchor="ctr">
                    <a:lnR w="6350"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2806043828"/>
                  </a:ext>
                </a:extLst>
              </a:tr>
              <a:tr h="0">
                <a:tc>
                  <a:txBody>
                    <a:bodyPr/>
                    <a:lstStyle/>
                    <a:p>
                      <a:r>
                        <a:rPr lang="en-US" sz="900"/>
                        <a:t>Centre-Val-De-Loire</a:t>
                      </a:r>
                      <a:endParaRPr lang="fr-FR" sz="900"/>
                    </a:p>
                  </a:txBody>
                  <a:tcPr anchor="ctr">
                    <a:lnL w="6350" cap="flat" cmpd="sng" algn="ctr">
                      <a:solidFill>
                        <a:schemeClr val="bg2"/>
                      </a:solidFill>
                      <a:prstDash val="solid"/>
                      <a:round/>
                      <a:headEnd type="none" w="med" len="med"/>
                      <a:tailEnd type="none" w="med" len="med"/>
                    </a:lnL>
                    <a:solidFill>
                      <a:schemeClr val="bg1">
                        <a:lumMod val="95000"/>
                      </a:schemeClr>
                    </a:solidFill>
                  </a:tcPr>
                </a:tc>
                <a:tc>
                  <a:txBody>
                    <a:bodyPr/>
                    <a:lstStyle/>
                    <a:p>
                      <a:pPr algn="ctr"/>
                      <a:r>
                        <a:rPr lang="en-US" sz="900"/>
                        <a:t>55 595</a:t>
                      </a:r>
                      <a:endParaRPr lang="fr-FR" sz="900"/>
                    </a:p>
                  </a:txBody>
                  <a:tcPr anchor="ctr">
                    <a:solidFill>
                      <a:schemeClr val="bg1"/>
                    </a:solidFill>
                  </a:tcPr>
                </a:tc>
                <a:tc>
                  <a:txBody>
                    <a:bodyPr/>
                    <a:lstStyle/>
                    <a:p>
                      <a:pPr marL="0" algn="l" defTabSz="742950" rtl="0" eaLnBrk="1" latinLnBrk="0" hangingPunct="1"/>
                      <a:r>
                        <a:rPr lang="en-US" sz="900" kern="1200" err="1">
                          <a:solidFill>
                            <a:schemeClr val="dk1"/>
                          </a:solidFill>
                          <a:latin typeface="+mn-lt"/>
                          <a:ea typeface="+mn-ea"/>
                          <a:cs typeface="+mn-cs"/>
                        </a:rPr>
                        <a:t>Occitanie</a:t>
                      </a:r>
                      <a:endParaRPr lang="fr-FR" sz="900" kern="1200">
                        <a:solidFill>
                          <a:schemeClr val="dk1"/>
                        </a:solidFill>
                        <a:latin typeface="+mn-lt"/>
                        <a:ea typeface="+mn-ea"/>
                        <a:cs typeface="+mn-cs"/>
                      </a:endParaRPr>
                    </a:p>
                  </a:txBody>
                  <a:tcPr anchor="ctr">
                    <a:solidFill>
                      <a:schemeClr val="bg1">
                        <a:lumMod val="95000"/>
                      </a:schemeClr>
                    </a:solidFill>
                  </a:tcPr>
                </a:tc>
                <a:tc>
                  <a:txBody>
                    <a:bodyPr/>
                    <a:lstStyle/>
                    <a:p>
                      <a:pPr algn="ctr"/>
                      <a:r>
                        <a:rPr lang="en-US" sz="900"/>
                        <a:t>136 132</a:t>
                      </a:r>
                      <a:endParaRPr lang="fr-FR" sz="900"/>
                    </a:p>
                  </a:txBody>
                  <a:tcPr anchor="ctr">
                    <a:lnR w="6350"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3353767564"/>
                  </a:ext>
                </a:extLst>
              </a:tr>
              <a:tr h="0">
                <a:tc>
                  <a:txBody>
                    <a:bodyPr/>
                    <a:lstStyle/>
                    <a:p>
                      <a:r>
                        <a:rPr lang="en-US" sz="900"/>
                        <a:t>Corse</a:t>
                      </a:r>
                      <a:endParaRPr lang="fr-FR" sz="900"/>
                    </a:p>
                  </a:txBody>
                  <a:tcPr anchor="ctr">
                    <a:lnL w="6350" cap="flat" cmpd="sng" algn="ctr">
                      <a:solidFill>
                        <a:schemeClr val="bg2"/>
                      </a:solidFill>
                      <a:prstDash val="solid"/>
                      <a:round/>
                      <a:headEnd type="none" w="med" len="med"/>
                      <a:tailEnd type="none" w="med" len="med"/>
                    </a:lnL>
                    <a:solidFill>
                      <a:schemeClr val="bg1">
                        <a:lumMod val="95000"/>
                      </a:schemeClr>
                    </a:solidFill>
                  </a:tcPr>
                </a:tc>
                <a:tc>
                  <a:txBody>
                    <a:bodyPr/>
                    <a:lstStyle/>
                    <a:p>
                      <a:pPr algn="ctr"/>
                      <a:r>
                        <a:rPr lang="en-US" sz="900"/>
                        <a:t>8 234</a:t>
                      </a:r>
                      <a:endParaRPr lang="fr-FR" sz="900"/>
                    </a:p>
                  </a:txBody>
                  <a:tcPr anchor="ctr">
                    <a:solidFill>
                      <a:schemeClr val="bg1"/>
                    </a:solidFill>
                  </a:tcPr>
                </a:tc>
                <a:tc>
                  <a:txBody>
                    <a:bodyPr/>
                    <a:lstStyle/>
                    <a:p>
                      <a:pPr marL="0" algn="l" defTabSz="742950" rtl="0" eaLnBrk="1" latinLnBrk="0" hangingPunct="1"/>
                      <a:r>
                        <a:rPr lang="en-US" sz="900" kern="1200">
                          <a:solidFill>
                            <a:schemeClr val="dk1"/>
                          </a:solidFill>
                          <a:latin typeface="+mn-lt"/>
                          <a:ea typeface="+mn-ea"/>
                          <a:cs typeface="+mn-cs"/>
                        </a:rPr>
                        <a:t>Pays-de-La-Loire</a:t>
                      </a:r>
                      <a:endParaRPr lang="fr-FR" sz="900" kern="1200">
                        <a:solidFill>
                          <a:schemeClr val="dk1"/>
                        </a:solidFill>
                        <a:latin typeface="+mn-lt"/>
                        <a:ea typeface="+mn-ea"/>
                        <a:cs typeface="+mn-cs"/>
                      </a:endParaRPr>
                    </a:p>
                  </a:txBody>
                  <a:tcPr anchor="ctr">
                    <a:solidFill>
                      <a:schemeClr val="bg1">
                        <a:lumMod val="95000"/>
                      </a:schemeClr>
                    </a:solidFill>
                  </a:tcPr>
                </a:tc>
                <a:tc>
                  <a:txBody>
                    <a:bodyPr/>
                    <a:lstStyle/>
                    <a:p>
                      <a:pPr algn="ctr"/>
                      <a:r>
                        <a:rPr lang="en-US" sz="900"/>
                        <a:t>59 145</a:t>
                      </a:r>
                      <a:endParaRPr lang="fr-FR" sz="900"/>
                    </a:p>
                  </a:txBody>
                  <a:tcPr anchor="ctr">
                    <a:lnR w="6350"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1656751692"/>
                  </a:ext>
                </a:extLst>
              </a:tr>
              <a:tr h="0">
                <a:tc>
                  <a:txBody>
                    <a:bodyPr/>
                    <a:lstStyle/>
                    <a:p>
                      <a:r>
                        <a:rPr lang="en-US" sz="900"/>
                        <a:t>Grand-Est</a:t>
                      </a:r>
                      <a:endParaRPr lang="fr-FR" sz="900"/>
                    </a:p>
                  </a:txBody>
                  <a:tcPr anchor="ctr">
                    <a:lnL w="6350" cap="flat" cmpd="sng" algn="ctr">
                      <a:solidFill>
                        <a:schemeClr val="bg2"/>
                      </a:solidFill>
                      <a:prstDash val="solid"/>
                      <a:round/>
                      <a:headEnd type="none" w="med" len="med"/>
                      <a:tailEnd type="none" w="med" len="med"/>
                    </a:lnL>
                    <a:solidFill>
                      <a:schemeClr val="bg1">
                        <a:lumMod val="95000"/>
                      </a:schemeClr>
                    </a:solidFill>
                  </a:tcPr>
                </a:tc>
                <a:tc>
                  <a:txBody>
                    <a:bodyPr/>
                    <a:lstStyle/>
                    <a:p>
                      <a:pPr algn="ctr"/>
                      <a:r>
                        <a:rPr lang="en-US" sz="900"/>
                        <a:t>98 929</a:t>
                      </a:r>
                      <a:endParaRPr lang="fr-FR" sz="900"/>
                    </a:p>
                  </a:txBody>
                  <a:tcPr anchor="ctr">
                    <a:solidFill>
                      <a:schemeClr val="bg1"/>
                    </a:solidFill>
                  </a:tcPr>
                </a:tc>
                <a:tc>
                  <a:txBody>
                    <a:bodyPr/>
                    <a:lstStyle/>
                    <a:p>
                      <a:pPr marL="0" algn="l" defTabSz="742950" rtl="0" eaLnBrk="1" latinLnBrk="0" hangingPunct="1"/>
                      <a:r>
                        <a:rPr lang="en-US" sz="900" kern="1200">
                          <a:solidFill>
                            <a:schemeClr val="dk1"/>
                          </a:solidFill>
                          <a:latin typeface="+mn-lt"/>
                          <a:ea typeface="+mn-ea"/>
                          <a:cs typeface="+mn-cs"/>
                        </a:rPr>
                        <a:t>PACA</a:t>
                      </a:r>
                      <a:endParaRPr lang="fr-FR" sz="900" kern="1200">
                        <a:solidFill>
                          <a:schemeClr val="dk1"/>
                        </a:solidFill>
                        <a:latin typeface="+mn-lt"/>
                        <a:ea typeface="+mn-ea"/>
                        <a:cs typeface="+mn-cs"/>
                      </a:endParaRPr>
                    </a:p>
                  </a:txBody>
                  <a:tcPr anchor="ctr">
                    <a:solidFill>
                      <a:schemeClr val="bg1">
                        <a:lumMod val="95000"/>
                      </a:schemeClr>
                    </a:solidFill>
                  </a:tcPr>
                </a:tc>
                <a:tc>
                  <a:txBody>
                    <a:bodyPr/>
                    <a:lstStyle/>
                    <a:p>
                      <a:pPr algn="ctr"/>
                      <a:r>
                        <a:rPr lang="en-US" sz="900"/>
                        <a:t>96 638</a:t>
                      </a:r>
                      <a:endParaRPr lang="fr-FR" sz="900"/>
                    </a:p>
                  </a:txBody>
                  <a:tcPr anchor="ctr">
                    <a:lnR w="6350" cap="flat" cmpd="sng" algn="ctr">
                      <a:solidFill>
                        <a:schemeClr val="bg2"/>
                      </a:solidFill>
                      <a:prstDash val="solid"/>
                      <a:round/>
                      <a:headEnd type="none" w="med" len="med"/>
                      <a:tailEnd type="none" w="med" len="med"/>
                    </a:lnR>
                    <a:solidFill>
                      <a:schemeClr val="bg1"/>
                    </a:solidFill>
                  </a:tcPr>
                </a:tc>
                <a:extLst>
                  <a:ext uri="{0D108BD9-81ED-4DB2-BD59-A6C34878D82A}">
                    <a16:rowId xmlns:a16="http://schemas.microsoft.com/office/drawing/2014/main" val="1788439328"/>
                  </a:ext>
                </a:extLst>
              </a:tr>
              <a:tr h="0">
                <a:tc>
                  <a:txBody>
                    <a:bodyPr/>
                    <a:lstStyle/>
                    <a:p>
                      <a:r>
                        <a:rPr lang="en-US" sz="900"/>
                        <a:t>Hauts-de-France</a:t>
                      </a:r>
                      <a:endParaRPr lang="fr-FR" sz="900"/>
                    </a:p>
                  </a:txBody>
                  <a:tcPr anchor="ctr">
                    <a:lnL w="6350" cap="flat" cmpd="sng" algn="ctr">
                      <a:solidFill>
                        <a:schemeClr val="bg2"/>
                      </a:solidFill>
                      <a:prstDash val="solid"/>
                      <a:round/>
                      <a:headEnd type="none" w="med" len="med"/>
                      <a:tailEnd type="none" w="med" len="med"/>
                    </a:lnL>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900"/>
                        <a:t>130 355</a:t>
                      </a:r>
                      <a:endParaRPr lang="fr-FR" sz="900"/>
                    </a:p>
                  </a:txBody>
                  <a:tcPr anchor="ctr">
                    <a:lnB w="6350" cap="flat" cmpd="sng" algn="ctr">
                      <a:solidFill>
                        <a:schemeClr val="bg2"/>
                      </a:solidFill>
                      <a:prstDash val="solid"/>
                      <a:round/>
                      <a:headEnd type="none" w="med" len="med"/>
                      <a:tailEnd type="none" w="med" len="med"/>
                    </a:lnB>
                    <a:solidFill>
                      <a:schemeClr val="bg1"/>
                    </a:solidFill>
                  </a:tcPr>
                </a:tc>
                <a:tc>
                  <a:txBody>
                    <a:bodyPr/>
                    <a:lstStyle/>
                    <a:p>
                      <a:pPr marL="0" algn="l" defTabSz="742950" rtl="0" eaLnBrk="1" latinLnBrk="0" hangingPunct="1"/>
                      <a:r>
                        <a:rPr lang="en-US" sz="900" kern="1200">
                          <a:solidFill>
                            <a:schemeClr val="dk1"/>
                          </a:solidFill>
                          <a:latin typeface="+mn-lt"/>
                          <a:ea typeface="+mn-ea"/>
                          <a:cs typeface="+mn-cs"/>
                        </a:rPr>
                        <a:t>Antilles-</a:t>
                      </a:r>
                      <a:r>
                        <a:rPr lang="en-US" sz="900" kern="1200" err="1">
                          <a:solidFill>
                            <a:schemeClr val="dk1"/>
                          </a:solidFill>
                          <a:latin typeface="+mn-lt"/>
                          <a:ea typeface="+mn-ea"/>
                          <a:cs typeface="+mn-cs"/>
                        </a:rPr>
                        <a:t>Guyane</a:t>
                      </a:r>
                      <a:endParaRPr lang="fr-FR" sz="900" kern="1200">
                        <a:solidFill>
                          <a:schemeClr val="dk1"/>
                        </a:solidFill>
                        <a:latin typeface="+mn-lt"/>
                        <a:ea typeface="+mn-ea"/>
                        <a:cs typeface="+mn-cs"/>
                      </a:endParaRPr>
                    </a:p>
                  </a:txBody>
                  <a:tcPr anchor="ctr">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r>
                        <a:rPr lang="en-US" sz="900"/>
                        <a:t>22 850</a:t>
                      </a:r>
                      <a:endParaRPr lang="fr-FR" sz="900"/>
                    </a:p>
                  </a:txBody>
                  <a:tcPr anchor="ctr">
                    <a:lnR w="6350" cap="flat" cmpd="sng" algn="ctr">
                      <a:solidFill>
                        <a:schemeClr val="bg2"/>
                      </a:solidFill>
                      <a:prstDash val="solid"/>
                      <a:round/>
                      <a:headEnd type="none" w="med" len="med"/>
                      <a:tailEnd type="none" w="med" len="med"/>
                    </a:lnR>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712812949"/>
                  </a:ext>
                </a:extLst>
              </a:tr>
            </a:tbl>
          </a:graphicData>
        </a:graphic>
      </p:graphicFrame>
      <p:sp>
        <p:nvSpPr>
          <p:cNvPr id="466" name="ZoneTexte 465">
            <a:extLst>
              <a:ext uri="{FF2B5EF4-FFF2-40B4-BE49-F238E27FC236}">
                <a16:creationId xmlns:a16="http://schemas.microsoft.com/office/drawing/2014/main" id="{959E5F6D-3DC9-4FC3-85B5-D87E10D41AA4}"/>
              </a:ext>
            </a:extLst>
          </p:cNvPr>
          <p:cNvSpPr txBox="1"/>
          <p:nvPr/>
        </p:nvSpPr>
        <p:spPr>
          <a:xfrm>
            <a:off x="6397534" y="4270220"/>
            <a:ext cx="4440345" cy="1785104"/>
          </a:xfrm>
          <a:prstGeom prst="rect">
            <a:avLst/>
          </a:prstGeom>
          <a:noFill/>
        </p:spPr>
        <p:txBody>
          <a:bodyPr wrap="square">
            <a:spAutoFit/>
          </a:bodyPr>
          <a:lstStyle/>
          <a:p>
            <a:pPr marL="171450" indent="-171450" algn="just">
              <a:buClr>
                <a:srgbClr val="503078"/>
              </a:buClr>
              <a:buFont typeface="Tahoma" panose="020B0604030504040204" pitchFamily="34" charset="0"/>
              <a:buChar char="⁄"/>
            </a:pPr>
            <a:endParaRPr lang="fr-FR" sz="1100">
              <a:solidFill>
                <a:srgbClr val="5F5F5F"/>
              </a:solidFill>
              <a:latin typeface="Tahoma"/>
            </a:endParaRPr>
          </a:p>
          <a:p>
            <a:pPr marL="171450" indent="-171450" algn="just">
              <a:buClr>
                <a:srgbClr val="503078"/>
              </a:buClr>
              <a:buFont typeface="Tahoma" panose="020B0604030504040204" pitchFamily="34" charset="0"/>
              <a:buChar char="⁄"/>
            </a:pPr>
            <a:r>
              <a:rPr lang="fr-FR" sz="1100" b="1">
                <a:solidFill>
                  <a:srgbClr val="503078"/>
                </a:solidFill>
                <a:latin typeface="Tahoma"/>
              </a:rPr>
              <a:t>2 750 000 personnes souffrent d’au moins une limitation fonctionnelle : </a:t>
            </a:r>
            <a:r>
              <a:rPr lang="fr-FR" sz="1100">
                <a:solidFill>
                  <a:srgbClr val="5F5F5F"/>
                </a:solidFill>
                <a:latin typeface="Tahoma"/>
              </a:rPr>
              <a:t>420 000 ont une reconnaissance administrative, 420 000 déclarent un handicap ressenti, et 730 000 cumulent les trois formes de handicap</a:t>
            </a:r>
            <a:r>
              <a:rPr lang="fr-FR" sz="1100" baseline="30000">
                <a:solidFill>
                  <a:srgbClr val="5F5F5F"/>
                </a:solidFill>
                <a:latin typeface="Tahoma"/>
              </a:rPr>
              <a:t>1</a:t>
            </a:r>
          </a:p>
          <a:p>
            <a:pPr marL="171450" indent="-171450" algn="just">
              <a:buClr>
                <a:srgbClr val="503078"/>
              </a:buClr>
              <a:buFont typeface="Tahoma" panose="020B0604030504040204" pitchFamily="34" charset="0"/>
              <a:buChar char="⁄"/>
            </a:pPr>
            <a:r>
              <a:rPr lang="fr-FR" sz="1100" b="1">
                <a:solidFill>
                  <a:srgbClr val="503078"/>
                </a:solidFill>
                <a:latin typeface="Tahoma"/>
              </a:rPr>
              <a:t>1 adulte sur 7 </a:t>
            </a:r>
            <a:r>
              <a:rPr lang="fr-FR" sz="1100">
                <a:solidFill>
                  <a:srgbClr val="5F5F5F"/>
                </a:solidFill>
                <a:latin typeface="Tahoma"/>
              </a:rPr>
              <a:t>vit à domicile avec une/des limitations fonctionnelles, et/ou une reconnaissance administrative de handicap, et/ou un handicap ressenti</a:t>
            </a:r>
          </a:p>
          <a:p>
            <a:pPr marL="171450" indent="-171450" algn="just">
              <a:buClr>
                <a:srgbClr val="503078"/>
              </a:buClr>
              <a:buFont typeface="Tahoma" panose="020B0604030504040204" pitchFamily="34" charset="0"/>
              <a:buChar char="⁄"/>
            </a:pPr>
            <a:r>
              <a:rPr lang="fr-FR" sz="1100" b="1">
                <a:solidFill>
                  <a:srgbClr val="503078"/>
                </a:solidFill>
                <a:latin typeface="Tahoma"/>
              </a:rPr>
              <a:t>427 822 enfants handicapés scolarisés en France en 2019 </a:t>
            </a:r>
            <a:r>
              <a:rPr lang="fr-FR" sz="1100">
                <a:solidFill>
                  <a:srgbClr val="5F5F5F"/>
                </a:solidFill>
                <a:latin typeface="Tahoma"/>
              </a:rPr>
              <a:t>soit 427 822 futurs bénéficiaires de l’AAH</a:t>
            </a:r>
            <a:r>
              <a:rPr lang="fr-FR" sz="1100" baseline="30000">
                <a:solidFill>
                  <a:srgbClr val="5F5F5F"/>
                </a:solidFill>
                <a:latin typeface="Tahoma"/>
              </a:rPr>
              <a:t>2</a:t>
            </a:r>
            <a:r>
              <a:rPr lang="fr-FR" sz="1100">
                <a:solidFill>
                  <a:srgbClr val="5F5F5F"/>
                </a:solidFill>
                <a:latin typeface="Tahoma"/>
              </a:rPr>
              <a:t>. </a:t>
            </a:r>
          </a:p>
        </p:txBody>
      </p:sp>
      <p:sp>
        <p:nvSpPr>
          <p:cNvPr id="467" name="Rectangle 466">
            <a:extLst>
              <a:ext uri="{FF2B5EF4-FFF2-40B4-BE49-F238E27FC236}">
                <a16:creationId xmlns:a16="http://schemas.microsoft.com/office/drawing/2014/main" id="{CD18BB1E-6CFE-4E9C-917E-A3946BEA6E61}"/>
              </a:ext>
            </a:extLst>
          </p:cNvPr>
          <p:cNvSpPr/>
          <p:nvPr/>
        </p:nvSpPr>
        <p:spPr>
          <a:xfrm>
            <a:off x="6385290" y="4222182"/>
            <a:ext cx="4421846" cy="1846611"/>
          </a:xfrm>
          <a:prstGeom prst="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endParaRPr lang="fr-FR">
              <a:solidFill>
                <a:srgbClr val="503078"/>
              </a:solidFill>
              <a:latin typeface="Tahoma"/>
            </a:endParaRPr>
          </a:p>
        </p:txBody>
      </p:sp>
      <p:sp>
        <p:nvSpPr>
          <p:cNvPr id="468" name="Rectangle 467">
            <a:extLst>
              <a:ext uri="{FF2B5EF4-FFF2-40B4-BE49-F238E27FC236}">
                <a16:creationId xmlns:a16="http://schemas.microsoft.com/office/drawing/2014/main" id="{651543EB-A0C0-4938-BED4-600A5AABEE71}"/>
              </a:ext>
            </a:extLst>
          </p:cNvPr>
          <p:cNvSpPr/>
          <p:nvPr/>
        </p:nvSpPr>
        <p:spPr>
          <a:xfrm>
            <a:off x="7625004" y="4080573"/>
            <a:ext cx="2125340" cy="299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200" b="1">
                <a:solidFill>
                  <a:srgbClr val="503078"/>
                </a:solidFill>
                <a:latin typeface="Tahoma"/>
              </a:rPr>
              <a:t>Remarques</a:t>
            </a:r>
          </a:p>
        </p:txBody>
      </p:sp>
      <p:pic>
        <p:nvPicPr>
          <p:cNvPr id="469" name="Graphique 468" descr="Ampoule et engrenage">
            <a:extLst>
              <a:ext uri="{FF2B5EF4-FFF2-40B4-BE49-F238E27FC236}">
                <a16:creationId xmlns:a16="http://schemas.microsoft.com/office/drawing/2014/main" id="{0DDDC2FE-4510-4B62-B2CB-4D02C8CA200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73314" y="4001219"/>
            <a:ext cx="413739" cy="413739"/>
          </a:xfrm>
          <a:prstGeom prst="rect">
            <a:avLst/>
          </a:prstGeom>
        </p:spPr>
      </p:pic>
      <p:sp>
        <p:nvSpPr>
          <p:cNvPr id="470" name="ZoneTexte 469">
            <a:extLst>
              <a:ext uri="{FF2B5EF4-FFF2-40B4-BE49-F238E27FC236}">
                <a16:creationId xmlns:a16="http://schemas.microsoft.com/office/drawing/2014/main" id="{A908BD44-DAF9-438D-B12B-E4178A55BE7F}"/>
              </a:ext>
            </a:extLst>
          </p:cNvPr>
          <p:cNvSpPr txBox="1"/>
          <p:nvPr/>
        </p:nvSpPr>
        <p:spPr>
          <a:xfrm>
            <a:off x="6416033" y="6138360"/>
            <a:ext cx="4421846" cy="307777"/>
          </a:xfrm>
          <a:prstGeom prst="rect">
            <a:avLst/>
          </a:prstGeom>
          <a:noFill/>
        </p:spPr>
        <p:txBody>
          <a:bodyPr wrap="square">
            <a:spAutoFit/>
          </a:bodyPr>
          <a:lstStyle/>
          <a:p>
            <a:pPr>
              <a:defRPr/>
            </a:pPr>
            <a:r>
              <a:rPr lang="fr-FR" sz="700">
                <a:solidFill>
                  <a:srgbClr val="5F5F5F">
                    <a:lumMod val="60000"/>
                    <a:lumOff val="40000"/>
                  </a:srgbClr>
                </a:solidFill>
                <a:latin typeface="Tahoma"/>
              </a:rPr>
              <a:t>1. INSEE, enquête Handicap-Santé 2008-2009, volet ménages</a:t>
            </a:r>
          </a:p>
          <a:p>
            <a:pPr>
              <a:defRPr/>
            </a:pPr>
            <a:r>
              <a:rPr lang="fr-FR" sz="700">
                <a:solidFill>
                  <a:srgbClr val="5F5F5F">
                    <a:lumMod val="60000"/>
                    <a:lumOff val="40000"/>
                  </a:srgbClr>
                </a:solidFill>
                <a:latin typeface="Tahoma"/>
              </a:rPr>
              <a:t>2. Rapport de la DEPP RERS, 2020 </a:t>
            </a:r>
          </a:p>
        </p:txBody>
      </p:sp>
      <p:sp>
        <p:nvSpPr>
          <p:cNvPr id="476" name="ZoneTexte 475">
            <a:extLst>
              <a:ext uri="{FF2B5EF4-FFF2-40B4-BE49-F238E27FC236}">
                <a16:creationId xmlns:a16="http://schemas.microsoft.com/office/drawing/2014/main" id="{E958782E-E273-474E-9261-B438F9F256D4}"/>
              </a:ext>
            </a:extLst>
          </p:cNvPr>
          <p:cNvSpPr txBox="1"/>
          <p:nvPr/>
        </p:nvSpPr>
        <p:spPr>
          <a:xfrm>
            <a:off x="5167282" y="6075561"/>
            <a:ext cx="1026563" cy="507831"/>
          </a:xfrm>
          <a:prstGeom prst="rect">
            <a:avLst/>
          </a:prstGeom>
          <a:noFill/>
        </p:spPr>
        <p:txBody>
          <a:bodyPr wrap="square" lIns="108000" rIns="108000" rtlCol="0">
            <a:spAutoFit/>
          </a:bodyPr>
          <a:lstStyle/>
          <a:p>
            <a:endParaRPr lang="fr-FR" sz="900">
              <a:solidFill>
                <a:srgbClr val="5F5F5F"/>
              </a:solidFill>
              <a:latin typeface="Tahoma"/>
            </a:endParaRPr>
          </a:p>
          <a:p>
            <a:pPr algn="ctr"/>
            <a:r>
              <a:rPr lang="fr-FR" sz="900" b="1">
                <a:solidFill>
                  <a:srgbClr val="503078"/>
                </a:solidFill>
                <a:latin typeface="Tahoma"/>
              </a:rPr>
              <a:t>Mayotte</a:t>
            </a:r>
            <a:endParaRPr lang="fr-FR" sz="900">
              <a:solidFill>
                <a:srgbClr val="5F5F5F"/>
              </a:solidFill>
              <a:latin typeface="Tahoma"/>
            </a:endParaRPr>
          </a:p>
          <a:p>
            <a:endParaRPr lang="fr-FR" sz="900">
              <a:solidFill>
                <a:srgbClr val="5F5F5F"/>
              </a:solidFill>
              <a:latin typeface="Tahoma"/>
            </a:endParaRPr>
          </a:p>
        </p:txBody>
      </p:sp>
      <p:pic>
        <p:nvPicPr>
          <p:cNvPr id="478" name="Picture 2" descr="Mayotte Vectoriels et illustrations libres de droits - iStock">
            <a:extLst>
              <a:ext uri="{FF2B5EF4-FFF2-40B4-BE49-F238E27FC236}">
                <a16:creationId xmlns:a16="http://schemas.microsoft.com/office/drawing/2014/main" id="{89352014-167C-46EC-87DC-E43E5C580A3A}"/>
              </a:ext>
            </a:extLst>
          </p:cNvPr>
          <p:cNvPicPr>
            <a:picLocks noChangeAspect="1" noChangeArrowheads="1"/>
          </p:cNvPicPr>
          <p:nvPr/>
        </p:nvPicPr>
        <p:blipFill>
          <a:blip r:embed="rId6" cstate="print">
            <a:duotone>
              <a:srgbClr val="DBCEEB">
                <a:shade val="45000"/>
                <a:satMod val="135000"/>
              </a:srgbClr>
              <a:prstClr val="white"/>
            </a:duotone>
            <a:alphaModFix amt="35000"/>
            <a:extLst>
              <a:ext uri="{BEBA8EAE-BF5A-486C-A8C5-ECC9F3942E4B}">
                <a14:imgProps xmlns:a14="http://schemas.microsoft.com/office/drawing/2010/main">
                  <a14:imgLayer r:embed="rId7">
                    <a14:imgEffect>
                      <a14:backgroundRemoval t="10000" b="90000" l="10000" r="90000">
                        <a14:foregroundMark x1="74183" y1="42647" x2="74183" y2="42647"/>
                        <a14:foregroundMark x1="64542" y1="47549" x2="64542" y2="47549"/>
                        <a14:foregroundMark x1="25490" y1="15850" x2="25490" y2="15850"/>
                        <a14:foregroundMark x1="64706" y1="65033" x2="64706" y2="65033"/>
                      </a14:backgroundRemoval>
                    </a14:imgEffect>
                  </a14:imgLayer>
                </a14:imgProps>
              </a:ext>
              <a:ext uri="{28A0092B-C50C-407E-A947-70E740481C1C}">
                <a14:useLocalDpi xmlns:a14="http://schemas.microsoft.com/office/drawing/2010/main" val="0"/>
              </a:ext>
            </a:extLst>
          </a:blip>
          <a:srcRect/>
          <a:stretch>
            <a:fillRect/>
          </a:stretch>
        </p:blipFill>
        <p:spPr bwMode="auto">
          <a:xfrm>
            <a:off x="5421587" y="6320294"/>
            <a:ext cx="476961" cy="476961"/>
          </a:xfrm>
          <a:prstGeom prst="rect">
            <a:avLst/>
          </a:prstGeom>
          <a:noFill/>
          <a:extLst>
            <a:ext uri="{909E8E84-426E-40DD-AFC4-6F175D3DCCD1}">
              <a14:hiddenFill xmlns:a14="http://schemas.microsoft.com/office/drawing/2010/main">
                <a:solidFill>
                  <a:srgbClr val="FFFFFF"/>
                </a:solidFill>
              </a14:hiddenFill>
            </a:ext>
          </a:extLst>
        </p:spPr>
      </p:pic>
      <p:pic>
        <p:nvPicPr>
          <p:cNvPr id="479" name="Graphique 478" descr="Loupe avec un remplissage uni">
            <a:extLst>
              <a:ext uri="{FF2B5EF4-FFF2-40B4-BE49-F238E27FC236}">
                <a16:creationId xmlns:a16="http://schemas.microsoft.com/office/drawing/2014/main" id="{2D755281-960D-4AC3-8038-DA87253E233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8030230" y="29133"/>
            <a:ext cx="359231" cy="359231"/>
          </a:xfrm>
          <a:prstGeom prst="rect">
            <a:avLst/>
          </a:prstGeom>
        </p:spPr>
      </p:pic>
      <p:sp>
        <p:nvSpPr>
          <p:cNvPr id="480" name="ZoneTexte 479">
            <a:extLst>
              <a:ext uri="{FF2B5EF4-FFF2-40B4-BE49-F238E27FC236}">
                <a16:creationId xmlns:a16="http://schemas.microsoft.com/office/drawing/2014/main" id="{1B5E12FA-E81C-4820-BA30-2E9FBB6AEE4F}"/>
              </a:ext>
            </a:extLst>
          </p:cNvPr>
          <p:cNvSpPr txBox="1"/>
          <p:nvPr/>
        </p:nvSpPr>
        <p:spPr>
          <a:xfrm>
            <a:off x="8389461" y="85220"/>
            <a:ext cx="3374039" cy="261610"/>
          </a:xfrm>
          <a:prstGeom prst="rect">
            <a:avLst/>
          </a:prstGeom>
          <a:noFill/>
        </p:spPr>
        <p:txBody>
          <a:bodyPr wrap="square" lIns="108000" rIns="108000" rtlCol="0">
            <a:spAutoFit/>
          </a:bodyPr>
          <a:lstStyle/>
          <a:p>
            <a:pPr>
              <a:defRPr/>
            </a:pPr>
            <a:r>
              <a:rPr lang="fr-FR" sz="1100" i="1" kern="0">
                <a:solidFill>
                  <a:srgbClr val="048B9A"/>
                </a:solidFill>
                <a:latin typeface="Tahoma"/>
              </a:rPr>
              <a:t>Compléments disponibles </a:t>
            </a:r>
            <a:r>
              <a:rPr lang="fr-FR" sz="1100" i="1" kern="0">
                <a:solidFill>
                  <a:srgbClr val="048B9A"/>
                </a:solidFill>
                <a:latin typeface="Tahoma"/>
                <a:hlinkClick r:id="rId10" action="ppaction://hlinksldjump"/>
              </a:rPr>
              <a:t>en annexe</a:t>
            </a:r>
            <a:endParaRPr lang="fr-FR" sz="1100" i="1" kern="0">
              <a:solidFill>
                <a:srgbClr val="048B9A"/>
              </a:solidFill>
              <a:latin typeface="Tahoma"/>
            </a:endParaRPr>
          </a:p>
        </p:txBody>
      </p:sp>
    </p:spTree>
    <p:extLst>
      <p:ext uri="{BB962C8B-B14F-4D97-AF65-F5344CB8AC3E}">
        <p14:creationId xmlns:p14="http://schemas.microsoft.com/office/powerpoint/2010/main" val="21185542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45E749-14D8-42BA-A566-C272C57C4B42}"/>
              </a:ext>
            </a:extLst>
          </p:cNvPr>
          <p:cNvSpPr>
            <a:spLocks noGrp="1"/>
          </p:cNvSpPr>
          <p:nvPr>
            <p:ph type="title"/>
          </p:nvPr>
        </p:nvSpPr>
        <p:spPr/>
        <p:txBody>
          <a:bodyPr/>
          <a:lstStyle/>
          <a:p>
            <a:r>
              <a:rPr lang="fr-FR"/>
              <a:t>Introduction</a:t>
            </a:r>
          </a:p>
        </p:txBody>
      </p:sp>
      <p:sp>
        <p:nvSpPr>
          <p:cNvPr id="3" name="Espace réservé du texte 2">
            <a:extLst>
              <a:ext uri="{FF2B5EF4-FFF2-40B4-BE49-F238E27FC236}">
                <a16:creationId xmlns:a16="http://schemas.microsoft.com/office/drawing/2014/main" id="{56CE6F7E-B7E2-4D0A-84E0-E9105A72B01A}"/>
              </a:ext>
            </a:extLst>
          </p:cNvPr>
          <p:cNvSpPr>
            <a:spLocks noGrp="1"/>
          </p:cNvSpPr>
          <p:nvPr>
            <p:ph type="body" sz="quarter" idx="38"/>
          </p:nvPr>
        </p:nvSpPr>
        <p:spPr/>
        <p:txBody>
          <a:bodyPr/>
          <a:lstStyle/>
          <a:p>
            <a:r>
              <a:rPr lang="fr-FR"/>
              <a:t>01</a:t>
            </a:r>
          </a:p>
        </p:txBody>
      </p:sp>
    </p:spTree>
    <p:extLst>
      <p:ext uri="{BB962C8B-B14F-4D97-AF65-F5344CB8AC3E}">
        <p14:creationId xmlns:p14="http://schemas.microsoft.com/office/powerpoint/2010/main" val="41252614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2689997E-763F-41EE-92A2-E8A25B005753}"/>
              </a:ext>
            </a:extLst>
          </p:cNvPr>
          <p:cNvSpPr>
            <a:spLocks noGrp="1"/>
          </p:cNvSpPr>
          <p:nvPr>
            <p:ph type="title"/>
          </p:nvPr>
        </p:nvSpPr>
        <p:spPr/>
        <p:txBody>
          <a:bodyPr/>
          <a:lstStyle/>
          <a:p>
            <a:r>
              <a:rPr lang="fr-FR"/>
              <a:t>Les aidants expriment des besoins de répit </a:t>
            </a:r>
          </a:p>
        </p:txBody>
      </p:sp>
      <p:sp>
        <p:nvSpPr>
          <p:cNvPr id="3" name="Espace réservé du texte 2">
            <a:extLst>
              <a:ext uri="{FF2B5EF4-FFF2-40B4-BE49-F238E27FC236}">
                <a16:creationId xmlns:a16="http://schemas.microsoft.com/office/drawing/2014/main" id="{120CAE43-622C-4D87-BF98-1721B6F2A21E}"/>
              </a:ext>
            </a:extLst>
          </p:cNvPr>
          <p:cNvSpPr>
            <a:spLocks noGrp="1"/>
          </p:cNvSpPr>
          <p:nvPr>
            <p:ph type="body" sz="quarter" idx="13"/>
          </p:nvPr>
        </p:nvSpPr>
        <p:spPr/>
        <p:txBody>
          <a:bodyPr/>
          <a:lstStyle/>
          <a:p>
            <a:r>
              <a:rPr lang="fr-FR">
                <a:solidFill>
                  <a:srgbClr val="938481"/>
                </a:solidFill>
              </a:rPr>
              <a:t>Dimensionnement des besoins et du marché</a:t>
            </a:r>
          </a:p>
        </p:txBody>
      </p:sp>
      <p:sp>
        <p:nvSpPr>
          <p:cNvPr id="14" name="ZoneTexte 13">
            <a:extLst>
              <a:ext uri="{FF2B5EF4-FFF2-40B4-BE49-F238E27FC236}">
                <a16:creationId xmlns:a16="http://schemas.microsoft.com/office/drawing/2014/main" id="{48EAF199-1185-42B2-9970-611033E5722D}"/>
              </a:ext>
            </a:extLst>
          </p:cNvPr>
          <p:cNvSpPr txBox="1"/>
          <p:nvPr/>
        </p:nvSpPr>
        <p:spPr>
          <a:xfrm>
            <a:off x="1283712" y="6232992"/>
            <a:ext cx="7232431" cy="415498"/>
          </a:xfrm>
          <a:prstGeom prst="rect">
            <a:avLst/>
          </a:prstGeom>
          <a:noFill/>
        </p:spPr>
        <p:txBody>
          <a:bodyPr wrap="square">
            <a:spAutoFit/>
          </a:bodyPr>
          <a:lstStyle/>
          <a:p>
            <a:pPr marL="228600" indent="-228600">
              <a:buFontTx/>
              <a:buAutoNum type="arabicPeriod"/>
            </a:pPr>
            <a:r>
              <a:rPr lang="fr-FR" sz="700">
                <a:solidFill>
                  <a:srgbClr val="5F5F5F">
                    <a:lumMod val="60000"/>
                    <a:lumOff val="40000"/>
                  </a:srgbClr>
                </a:solidFill>
                <a:latin typeface="Tahoma"/>
              </a:rPr>
              <a:t>Baromètre des aidants, 2021, Fondation April avec l’Institut BVA.</a:t>
            </a:r>
          </a:p>
          <a:p>
            <a:pPr marL="228600" indent="-228600">
              <a:buFontTx/>
              <a:buAutoNum type="arabicPeriod"/>
            </a:pPr>
            <a:r>
              <a:rPr lang="fr-FR" sz="700">
                <a:solidFill>
                  <a:srgbClr val="5F5F5F">
                    <a:lumMod val="60000"/>
                    <a:lumOff val="40000"/>
                  </a:srgbClr>
                </a:solidFill>
                <a:latin typeface="Tahoma"/>
              </a:rPr>
              <a:t>Enquête nationale sur les besoins et attentes des personnes âgées dépendantes et de leurs proches aidants en matière de relais, 2009, GRATH.</a:t>
            </a:r>
          </a:p>
          <a:p>
            <a:pPr marL="228600" indent="-228600">
              <a:buFontTx/>
              <a:buAutoNum type="arabicPeriod"/>
            </a:pPr>
            <a:r>
              <a:rPr lang="fr-FR" sz="700">
                <a:solidFill>
                  <a:srgbClr val="5F5F5F">
                    <a:lumMod val="60000"/>
                    <a:lumOff val="40000"/>
                  </a:srgbClr>
                </a:solidFill>
                <a:latin typeface="Tahoma"/>
              </a:rPr>
              <a:t>Enquête nationale sur les besoins et attentes des personnes âgées dépendantes et de leurs proches aidants en matière de relais, 2009, GRATH.</a:t>
            </a:r>
          </a:p>
        </p:txBody>
      </p:sp>
      <p:sp>
        <p:nvSpPr>
          <p:cNvPr id="56" name="Rectangle 55">
            <a:extLst>
              <a:ext uri="{FF2B5EF4-FFF2-40B4-BE49-F238E27FC236}">
                <a16:creationId xmlns:a16="http://schemas.microsoft.com/office/drawing/2014/main" id="{D56BB488-6B58-475F-9880-B4DC8FFA670C}"/>
              </a:ext>
            </a:extLst>
          </p:cNvPr>
          <p:cNvSpPr>
            <a:spLocks/>
          </p:cNvSpPr>
          <p:nvPr/>
        </p:nvSpPr>
        <p:spPr>
          <a:xfrm>
            <a:off x="1481098" y="4898865"/>
            <a:ext cx="4469429" cy="1129225"/>
          </a:xfrm>
          <a:prstGeom prst="rect">
            <a:avLst/>
          </a:prstGeom>
          <a:solidFill>
            <a:schemeClr val="bg1"/>
          </a:solidFill>
          <a:ln w="38100" cap="flat" cmpd="sng" algn="ctr">
            <a:solidFill>
              <a:schemeClr val="bg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600">
              <a:solidFill>
                <a:srgbClr val="FFFFFF"/>
              </a:solidFill>
              <a:latin typeface="Tahoma"/>
            </a:endParaRPr>
          </a:p>
        </p:txBody>
      </p:sp>
      <p:sp>
        <p:nvSpPr>
          <p:cNvPr id="57" name="TextBox 71">
            <a:extLst>
              <a:ext uri="{FF2B5EF4-FFF2-40B4-BE49-F238E27FC236}">
                <a16:creationId xmlns:a16="http://schemas.microsoft.com/office/drawing/2014/main" id="{A399B9A3-610C-4D60-B3BA-55C8B771FEA7}"/>
              </a:ext>
            </a:extLst>
          </p:cNvPr>
          <p:cNvSpPr txBox="1">
            <a:spLocks/>
          </p:cNvSpPr>
          <p:nvPr/>
        </p:nvSpPr>
        <p:spPr>
          <a:xfrm>
            <a:off x="1536874" y="4997028"/>
            <a:ext cx="4413653" cy="307777"/>
          </a:xfrm>
          <a:prstGeom prst="rect">
            <a:avLst/>
          </a:prstGeom>
          <a:noFill/>
        </p:spPr>
        <p:txBody>
          <a:bodyPr wrap="square" rtlCol="0">
            <a:spAutoFit/>
          </a:bodyPr>
          <a:lstStyle/>
          <a:p>
            <a:pPr algn="ctr"/>
            <a:r>
              <a:rPr lang="fr-FR" sz="1400" b="1">
                <a:solidFill>
                  <a:srgbClr val="503078"/>
                </a:solidFill>
                <a:latin typeface="Tahoma"/>
              </a:rPr>
              <a:t>4 aidants sur 10 </a:t>
            </a:r>
            <a:r>
              <a:rPr lang="fr-FR" sz="1400">
                <a:solidFill>
                  <a:srgbClr val="503078"/>
                </a:solidFill>
                <a:latin typeface="Tahoma"/>
              </a:rPr>
              <a:t>expriment un besoin de répit</a:t>
            </a:r>
            <a:r>
              <a:rPr lang="fr-FR" sz="1400" kern="0" baseline="30000">
                <a:solidFill>
                  <a:srgbClr val="503078"/>
                </a:solidFill>
                <a:latin typeface="Tahoma"/>
                <a:ea typeface="Meiryo UI"/>
                <a:cs typeface="Arial"/>
              </a:rPr>
              <a:t>2</a:t>
            </a:r>
          </a:p>
        </p:txBody>
      </p:sp>
      <p:sp>
        <p:nvSpPr>
          <p:cNvPr id="32" name="TextBox 74">
            <a:extLst>
              <a:ext uri="{FF2B5EF4-FFF2-40B4-BE49-F238E27FC236}">
                <a16:creationId xmlns:a16="http://schemas.microsoft.com/office/drawing/2014/main" id="{739053E8-3913-470E-9DEF-F7264386DDB6}"/>
              </a:ext>
            </a:extLst>
          </p:cNvPr>
          <p:cNvSpPr txBox="1">
            <a:spLocks/>
          </p:cNvSpPr>
          <p:nvPr/>
        </p:nvSpPr>
        <p:spPr>
          <a:xfrm>
            <a:off x="1642661" y="5284900"/>
            <a:ext cx="3823049" cy="646331"/>
          </a:xfrm>
          <a:prstGeom prst="rect">
            <a:avLst/>
          </a:prstGeom>
          <a:noFill/>
        </p:spPr>
        <p:txBody>
          <a:bodyPr wrap="square" rtlCol="0">
            <a:spAutoFit/>
          </a:bodyPr>
          <a:lstStyle/>
          <a:p>
            <a:r>
              <a:rPr lang="fr-FR" sz="1200" i="1">
                <a:solidFill>
                  <a:srgbClr val="503078"/>
                </a:solidFill>
                <a:latin typeface="Tahoma"/>
              </a:rPr>
              <a:t>Les offres de répit manquant encore de visibilité, ce besoin n'est pas forcément orienté vers une solution spécifique</a:t>
            </a:r>
          </a:p>
        </p:txBody>
      </p:sp>
      <p:sp>
        <p:nvSpPr>
          <p:cNvPr id="63" name="TextBox 71">
            <a:extLst>
              <a:ext uri="{FF2B5EF4-FFF2-40B4-BE49-F238E27FC236}">
                <a16:creationId xmlns:a16="http://schemas.microsoft.com/office/drawing/2014/main" id="{42848453-DDB5-4DBC-984E-5AE0A5AB2EDC}"/>
              </a:ext>
            </a:extLst>
          </p:cNvPr>
          <p:cNvSpPr txBox="1">
            <a:spLocks/>
          </p:cNvSpPr>
          <p:nvPr/>
        </p:nvSpPr>
        <p:spPr>
          <a:xfrm>
            <a:off x="1667513" y="1251068"/>
            <a:ext cx="9216000" cy="523220"/>
          </a:xfrm>
          <a:prstGeom prst="rect">
            <a:avLst/>
          </a:prstGeom>
          <a:noFill/>
        </p:spPr>
        <p:txBody>
          <a:bodyPr wrap="square" rtlCol="0">
            <a:spAutoFit/>
          </a:bodyPr>
          <a:lstStyle/>
          <a:p>
            <a:pPr>
              <a:spcAft>
                <a:spcPts val="600"/>
              </a:spcAft>
            </a:pPr>
            <a:r>
              <a:rPr lang="fr-FR" sz="1400" b="1">
                <a:solidFill>
                  <a:srgbClr val="503078"/>
                </a:solidFill>
                <a:latin typeface="Tahoma"/>
              </a:rPr>
              <a:t>82% des aidants considèrent que le répit </a:t>
            </a:r>
            <a:r>
              <a:rPr lang="fr-FR" sz="1400">
                <a:solidFill>
                  <a:srgbClr val="503078"/>
                </a:solidFill>
                <a:latin typeface="Tahoma"/>
              </a:rPr>
              <a:t>correspond à un moment pour soi </a:t>
            </a:r>
            <a:r>
              <a:rPr lang="fr-FR" sz="1400" b="1">
                <a:solidFill>
                  <a:srgbClr val="503078"/>
                </a:solidFill>
                <a:latin typeface="Tahoma"/>
              </a:rPr>
              <a:t>au moins une fois par mois</a:t>
            </a:r>
            <a:r>
              <a:rPr lang="fr-FR" sz="1400" b="1" kern="0" baseline="30000">
                <a:solidFill>
                  <a:srgbClr val="503078"/>
                </a:solidFill>
                <a:latin typeface="Tahoma"/>
                <a:ea typeface="Meiryo UI"/>
                <a:cs typeface="Arial"/>
              </a:rPr>
              <a:t>1</a:t>
            </a:r>
            <a:r>
              <a:rPr lang="fr-FR" sz="1400" b="1">
                <a:solidFill>
                  <a:srgbClr val="503078"/>
                </a:solidFill>
                <a:latin typeface="Tahoma"/>
              </a:rPr>
              <a:t>… </a:t>
            </a:r>
          </a:p>
        </p:txBody>
      </p:sp>
      <p:grpSp>
        <p:nvGrpSpPr>
          <p:cNvPr id="2" name="Groupe 1">
            <a:extLst>
              <a:ext uri="{FF2B5EF4-FFF2-40B4-BE49-F238E27FC236}">
                <a16:creationId xmlns:a16="http://schemas.microsoft.com/office/drawing/2014/main" id="{F512B4B3-B982-4FDC-B161-C86C1B1C0FB0}"/>
              </a:ext>
            </a:extLst>
          </p:cNvPr>
          <p:cNvGrpSpPr/>
          <p:nvPr/>
        </p:nvGrpSpPr>
        <p:grpSpPr>
          <a:xfrm>
            <a:off x="6096000" y="4898866"/>
            <a:ext cx="4621255" cy="1129226"/>
            <a:chOff x="565511" y="5037745"/>
            <a:chExt cx="7748171" cy="401189"/>
          </a:xfrm>
          <a:solidFill>
            <a:schemeClr val="bg1"/>
          </a:solidFill>
        </p:grpSpPr>
        <p:sp>
          <p:nvSpPr>
            <p:cNvPr id="92" name="Rectangle 91">
              <a:extLst>
                <a:ext uri="{FF2B5EF4-FFF2-40B4-BE49-F238E27FC236}">
                  <a16:creationId xmlns:a16="http://schemas.microsoft.com/office/drawing/2014/main" id="{C05B705E-46A0-4882-9A5A-AC9555D16D7B}"/>
                </a:ext>
              </a:extLst>
            </p:cNvPr>
            <p:cNvSpPr>
              <a:spLocks/>
            </p:cNvSpPr>
            <p:nvPr/>
          </p:nvSpPr>
          <p:spPr>
            <a:xfrm>
              <a:off x="565511" y="5037745"/>
              <a:ext cx="7748171" cy="401189"/>
            </a:xfrm>
            <a:prstGeom prst="rect">
              <a:avLst/>
            </a:prstGeom>
            <a:grpFill/>
            <a:ln w="38100" cap="flat" cmpd="sng" algn="ctr">
              <a:solidFill>
                <a:schemeClr val="bg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600">
                <a:solidFill>
                  <a:srgbClr val="FFFFFF"/>
                </a:solidFill>
                <a:latin typeface="Tahoma"/>
              </a:endParaRPr>
            </a:p>
          </p:txBody>
        </p:sp>
        <p:sp>
          <p:nvSpPr>
            <p:cNvPr id="93" name="TextBox 71">
              <a:extLst>
                <a:ext uri="{FF2B5EF4-FFF2-40B4-BE49-F238E27FC236}">
                  <a16:creationId xmlns:a16="http://schemas.microsoft.com/office/drawing/2014/main" id="{1CB2C117-B360-4EB9-BFDD-70A236819861}"/>
                </a:ext>
              </a:extLst>
            </p:cNvPr>
            <p:cNvSpPr txBox="1">
              <a:spLocks/>
            </p:cNvSpPr>
            <p:nvPr/>
          </p:nvSpPr>
          <p:spPr>
            <a:xfrm>
              <a:off x="604645" y="5073071"/>
              <a:ext cx="7639345" cy="350898"/>
            </a:xfrm>
            <a:prstGeom prst="rect">
              <a:avLst/>
            </a:prstGeom>
            <a:grpFill/>
          </p:spPr>
          <p:txBody>
            <a:bodyPr wrap="square" rtlCol="0">
              <a:spAutoFit/>
            </a:bodyPr>
            <a:lstStyle/>
            <a:p>
              <a:pPr algn="ctr"/>
              <a:r>
                <a:rPr lang="fr-FR" sz="1400" b="1" dirty="0">
                  <a:solidFill>
                    <a:srgbClr val="503078"/>
                  </a:solidFill>
                  <a:latin typeface="Tahoma"/>
                </a:rPr>
                <a:t>En 2009, le concept de séjours de répit</a:t>
              </a:r>
              <a:r>
                <a:rPr lang="fr-FR" sz="1400" dirty="0">
                  <a:solidFill>
                    <a:srgbClr val="503078"/>
                  </a:solidFill>
                  <a:latin typeface="Tahoma"/>
                </a:rPr>
                <a:t> tel que proposé par VRF</a:t>
              </a:r>
              <a:r>
                <a:rPr lang="fr-FR" sz="1400" kern="0" baseline="30000" dirty="0">
                  <a:solidFill>
                    <a:srgbClr val="503078"/>
                  </a:solidFill>
                  <a:latin typeface="Tahoma"/>
                  <a:ea typeface="Meiryo UI"/>
                  <a:cs typeface="Arial"/>
                </a:rPr>
                <a:t>3</a:t>
              </a:r>
              <a:r>
                <a:rPr lang="fr-FR" sz="1400" dirty="0">
                  <a:solidFill>
                    <a:srgbClr val="503078"/>
                  </a:solidFill>
                  <a:latin typeface="Tahoma"/>
                </a:rPr>
                <a:t> séduisait </a:t>
              </a:r>
              <a:r>
                <a:rPr lang="fr-FR" sz="1400" b="1" dirty="0">
                  <a:solidFill>
                    <a:srgbClr val="503078"/>
                  </a:solidFill>
                  <a:latin typeface="Tahoma"/>
                </a:rPr>
                <a:t>29% des aidants</a:t>
              </a:r>
              <a:r>
                <a:rPr lang="fr-FR" sz="1400" dirty="0">
                  <a:solidFill>
                    <a:srgbClr val="503078"/>
                  </a:solidFill>
                  <a:latin typeface="Tahoma"/>
                </a:rPr>
                <a:t>, qui plébiscitaient une formule de séjour </a:t>
              </a:r>
              <a:r>
                <a:rPr lang="fr-FR" sz="1400" b="1" dirty="0">
                  <a:solidFill>
                    <a:srgbClr val="503078"/>
                  </a:solidFill>
                  <a:latin typeface="Tahoma"/>
                </a:rPr>
                <a:t>d’une semaine sans séparation avec la personne aidée</a:t>
              </a:r>
              <a:endParaRPr lang="fr-FR" sz="1400" kern="0" baseline="30000" dirty="0">
                <a:solidFill>
                  <a:srgbClr val="503078"/>
                </a:solidFill>
                <a:latin typeface="Tahoma"/>
                <a:ea typeface="Meiryo UI"/>
                <a:cs typeface="Arial"/>
              </a:endParaRPr>
            </a:p>
          </p:txBody>
        </p:sp>
      </p:grpSp>
      <p:grpSp>
        <p:nvGrpSpPr>
          <p:cNvPr id="43" name="Donut Infographics with Texts">
            <a:extLst>
              <a:ext uri="{FF2B5EF4-FFF2-40B4-BE49-F238E27FC236}">
                <a16:creationId xmlns:a16="http://schemas.microsoft.com/office/drawing/2014/main" id="{FD542756-0637-4580-8A15-B9CE6BFCEB42}"/>
              </a:ext>
            </a:extLst>
          </p:cNvPr>
          <p:cNvGrpSpPr>
            <a:grpSpLocks noChangeAspect="1"/>
          </p:cNvGrpSpPr>
          <p:nvPr/>
        </p:nvGrpSpPr>
        <p:grpSpPr>
          <a:xfrm>
            <a:off x="1835728" y="1747470"/>
            <a:ext cx="8534406" cy="2753844"/>
            <a:chOff x="760319" y="1597736"/>
            <a:chExt cx="8728789" cy="3394973"/>
          </a:xfrm>
        </p:grpSpPr>
        <p:grpSp>
          <p:nvGrpSpPr>
            <p:cNvPr id="44" name="Group 93">
              <a:extLst>
                <a:ext uri="{FF2B5EF4-FFF2-40B4-BE49-F238E27FC236}">
                  <a16:creationId xmlns:a16="http://schemas.microsoft.com/office/drawing/2014/main" id="{28FC8B53-67E6-43E8-B0BD-3CB666444BC6}"/>
                </a:ext>
              </a:extLst>
            </p:cNvPr>
            <p:cNvGrpSpPr/>
            <p:nvPr/>
          </p:nvGrpSpPr>
          <p:grpSpPr>
            <a:xfrm>
              <a:off x="7446352" y="2486028"/>
              <a:ext cx="495439" cy="402549"/>
              <a:chOff x="1588" y="1588"/>
              <a:chExt cx="8399462" cy="6824662"/>
            </a:xfrm>
            <a:solidFill>
              <a:srgbClr val="FFFFFF"/>
            </a:solidFill>
          </p:grpSpPr>
          <p:sp>
            <p:nvSpPr>
              <p:cNvPr id="69" name="Freeform 15">
                <a:extLst>
                  <a:ext uri="{FF2B5EF4-FFF2-40B4-BE49-F238E27FC236}">
                    <a16:creationId xmlns:a16="http://schemas.microsoft.com/office/drawing/2014/main" id="{A3CC8A24-4999-459C-8F83-18897305F386}"/>
                  </a:ext>
                </a:extLst>
              </p:cNvPr>
              <p:cNvSpPr>
                <a:spLocks noEditPoints="1"/>
              </p:cNvSpPr>
              <p:nvPr/>
            </p:nvSpPr>
            <p:spPr bwMode="auto">
              <a:xfrm>
                <a:off x="1830388" y="2100263"/>
                <a:ext cx="3157537" cy="3151187"/>
              </a:xfrm>
              <a:custGeom>
                <a:avLst/>
                <a:gdLst>
                  <a:gd name="T0" fmla="*/ 421 w 841"/>
                  <a:gd name="T1" fmla="*/ 70 h 839"/>
                  <a:gd name="T2" fmla="*/ 771 w 841"/>
                  <a:gd name="T3" fmla="*/ 420 h 839"/>
                  <a:gd name="T4" fmla="*/ 421 w 841"/>
                  <a:gd name="T5" fmla="*/ 769 h 839"/>
                  <a:gd name="T6" fmla="*/ 70 w 841"/>
                  <a:gd name="T7" fmla="*/ 420 h 839"/>
                  <a:gd name="T8" fmla="*/ 421 w 841"/>
                  <a:gd name="T9" fmla="*/ 70 h 839"/>
                  <a:gd name="T10" fmla="*/ 421 w 841"/>
                  <a:gd name="T11" fmla="*/ 0 h 839"/>
                  <a:gd name="T12" fmla="*/ 0 w 841"/>
                  <a:gd name="T13" fmla="*/ 420 h 839"/>
                  <a:gd name="T14" fmla="*/ 421 w 841"/>
                  <a:gd name="T15" fmla="*/ 839 h 839"/>
                  <a:gd name="T16" fmla="*/ 841 w 841"/>
                  <a:gd name="T17" fmla="*/ 420 h 839"/>
                  <a:gd name="T18" fmla="*/ 421 w 841"/>
                  <a:gd name="T19" fmla="*/ 0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1" h="839">
                    <a:moveTo>
                      <a:pt x="421" y="70"/>
                    </a:moveTo>
                    <a:cubicBezTo>
                      <a:pt x="614" y="70"/>
                      <a:pt x="771" y="227"/>
                      <a:pt x="771" y="420"/>
                    </a:cubicBezTo>
                    <a:cubicBezTo>
                      <a:pt x="771" y="613"/>
                      <a:pt x="614" y="769"/>
                      <a:pt x="421" y="769"/>
                    </a:cubicBezTo>
                    <a:cubicBezTo>
                      <a:pt x="227" y="769"/>
                      <a:pt x="70" y="613"/>
                      <a:pt x="70" y="420"/>
                    </a:cubicBezTo>
                    <a:cubicBezTo>
                      <a:pt x="70" y="227"/>
                      <a:pt x="227" y="70"/>
                      <a:pt x="421" y="70"/>
                    </a:cubicBezTo>
                    <a:moveTo>
                      <a:pt x="421" y="0"/>
                    </a:moveTo>
                    <a:cubicBezTo>
                      <a:pt x="189" y="0"/>
                      <a:pt x="0" y="188"/>
                      <a:pt x="0" y="420"/>
                    </a:cubicBezTo>
                    <a:cubicBezTo>
                      <a:pt x="0" y="651"/>
                      <a:pt x="189" y="839"/>
                      <a:pt x="421" y="839"/>
                    </a:cubicBezTo>
                    <a:cubicBezTo>
                      <a:pt x="652" y="839"/>
                      <a:pt x="841" y="651"/>
                      <a:pt x="841" y="420"/>
                    </a:cubicBezTo>
                    <a:cubicBezTo>
                      <a:pt x="841" y="188"/>
                      <a:pt x="652" y="0"/>
                      <a:pt x="4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srgbClr val="333333"/>
                  </a:solidFill>
                  <a:latin typeface="Tahoma"/>
                </a:endParaRPr>
              </a:p>
            </p:txBody>
          </p:sp>
          <p:sp>
            <p:nvSpPr>
              <p:cNvPr id="70" name="Freeform 16">
                <a:extLst>
                  <a:ext uri="{FF2B5EF4-FFF2-40B4-BE49-F238E27FC236}">
                    <a16:creationId xmlns:a16="http://schemas.microsoft.com/office/drawing/2014/main" id="{89D9C530-ABF4-42DD-A21A-E14008F0681D}"/>
                  </a:ext>
                </a:extLst>
              </p:cNvPr>
              <p:cNvSpPr>
                <a:spLocks/>
              </p:cNvSpPr>
              <p:nvPr/>
            </p:nvSpPr>
            <p:spPr bwMode="auto">
              <a:xfrm>
                <a:off x="2487613" y="2757488"/>
                <a:ext cx="1050925" cy="1052512"/>
              </a:xfrm>
              <a:custGeom>
                <a:avLst/>
                <a:gdLst>
                  <a:gd name="T0" fmla="*/ 35 w 280"/>
                  <a:gd name="T1" fmla="*/ 280 h 280"/>
                  <a:gd name="T2" fmla="*/ 0 w 280"/>
                  <a:gd name="T3" fmla="*/ 245 h 280"/>
                  <a:gd name="T4" fmla="*/ 246 w 280"/>
                  <a:gd name="T5" fmla="*/ 0 h 280"/>
                  <a:gd name="T6" fmla="*/ 280 w 280"/>
                  <a:gd name="T7" fmla="*/ 35 h 280"/>
                  <a:gd name="T8" fmla="*/ 246 w 280"/>
                  <a:gd name="T9" fmla="*/ 70 h 280"/>
                  <a:gd name="T10" fmla="*/ 70 w 280"/>
                  <a:gd name="T11" fmla="*/ 245 h 280"/>
                  <a:gd name="T12" fmla="*/ 35 w 280"/>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280" h="280">
                    <a:moveTo>
                      <a:pt x="35" y="280"/>
                    </a:moveTo>
                    <a:cubicBezTo>
                      <a:pt x="16" y="280"/>
                      <a:pt x="0" y="264"/>
                      <a:pt x="0" y="245"/>
                    </a:cubicBezTo>
                    <a:cubicBezTo>
                      <a:pt x="0" y="110"/>
                      <a:pt x="110" y="0"/>
                      <a:pt x="246" y="0"/>
                    </a:cubicBezTo>
                    <a:cubicBezTo>
                      <a:pt x="265" y="0"/>
                      <a:pt x="280" y="16"/>
                      <a:pt x="280" y="35"/>
                    </a:cubicBezTo>
                    <a:cubicBezTo>
                      <a:pt x="280" y="54"/>
                      <a:pt x="265" y="70"/>
                      <a:pt x="246" y="70"/>
                    </a:cubicBezTo>
                    <a:cubicBezTo>
                      <a:pt x="149" y="70"/>
                      <a:pt x="70" y="148"/>
                      <a:pt x="70" y="245"/>
                    </a:cubicBezTo>
                    <a:cubicBezTo>
                      <a:pt x="70" y="264"/>
                      <a:pt x="55" y="280"/>
                      <a:pt x="35"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srgbClr val="333333"/>
                  </a:solidFill>
                  <a:latin typeface="Tahoma"/>
                </a:endParaRPr>
              </a:p>
            </p:txBody>
          </p:sp>
          <p:sp>
            <p:nvSpPr>
              <p:cNvPr id="71" name="Freeform 17">
                <a:extLst>
                  <a:ext uri="{FF2B5EF4-FFF2-40B4-BE49-F238E27FC236}">
                    <a16:creationId xmlns:a16="http://schemas.microsoft.com/office/drawing/2014/main" id="{689CBB64-E924-4640-8A33-3D08EDA83C3A}"/>
                  </a:ext>
                </a:extLst>
              </p:cNvPr>
              <p:cNvSpPr>
                <a:spLocks noEditPoints="1"/>
              </p:cNvSpPr>
              <p:nvPr/>
            </p:nvSpPr>
            <p:spPr bwMode="auto">
              <a:xfrm>
                <a:off x="1588" y="1588"/>
                <a:ext cx="8399462" cy="6824662"/>
              </a:xfrm>
              <a:custGeom>
                <a:avLst/>
                <a:gdLst>
                  <a:gd name="T0" fmla="*/ 1825 w 2237"/>
                  <a:gd name="T1" fmla="*/ 140 h 1817"/>
                  <a:gd name="T2" fmla="*/ 1887 w 2237"/>
                  <a:gd name="T3" fmla="*/ 202 h 1817"/>
                  <a:gd name="T4" fmla="*/ 1887 w 2237"/>
                  <a:gd name="T5" fmla="*/ 350 h 1817"/>
                  <a:gd name="T6" fmla="*/ 2097 w 2237"/>
                  <a:gd name="T7" fmla="*/ 520 h 1817"/>
                  <a:gd name="T8" fmla="*/ 2097 w 2237"/>
                  <a:gd name="T9" fmla="*/ 1507 h 1817"/>
                  <a:gd name="T10" fmla="*/ 1920 w 2237"/>
                  <a:gd name="T11" fmla="*/ 1678 h 1817"/>
                  <a:gd name="T12" fmla="*/ 316 w 2237"/>
                  <a:gd name="T13" fmla="*/ 1678 h 1817"/>
                  <a:gd name="T14" fmla="*/ 140 w 2237"/>
                  <a:gd name="T15" fmla="*/ 1507 h 1817"/>
                  <a:gd name="T16" fmla="*/ 140 w 2237"/>
                  <a:gd name="T17" fmla="*/ 520 h 1817"/>
                  <a:gd name="T18" fmla="*/ 316 w 2237"/>
                  <a:gd name="T19" fmla="*/ 349 h 1817"/>
                  <a:gd name="T20" fmla="*/ 1258 w 2237"/>
                  <a:gd name="T21" fmla="*/ 349 h 1817"/>
                  <a:gd name="T22" fmla="*/ 1258 w 2237"/>
                  <a:gd name="T23" fmla="*/ 202 h 1817"/>
                  <a:gd name="T24" fmla="*/ 1320 w 2237"/>
                  <a:gd name="T25" fmla="*/ 140 h 1817"/>
                  <a:gd name="T26" fmla="*/ 1825 w 2237"/>
                  <a:gd name="T27" fmla="*/ 140 h 1817"/>
                  <a:gd name="T28" fmla="*/ 1825 w 2237"/>
                  <a:gd name="T29" fmla="*/ 0 h 1817"/>
                  <a:gd name="T30" fmla="*/ 1825 w 2237"/>
                  <a:gd name="T31" fmla="*/ 0 h 1817"/>
                  <a:gd name="T32" fmla="*/ 1320 w 2237"/>
                  <a:gd name="T33" fmla="*/ 0 h 1817"/>
                  <a:gd name="T34" fmla="*/ 1118 w 2237"/>
                  <a:gd name="T35" fmla="*/ 202 h 1817"/>
                  <a:gd name="T36" fmla="*/ 1118 w 2237"/>
                  <a:gd name="T37" fmla="*/ 209 h 1817"/>
                  <a:gd name="T38" fmla="*/ 316 w 2237"/>
                  <a:gd name="T39" fmla="*/ 209 h 1817"/>
                  <a:gd name="T40" fmla="*/ 0 w 2237"/>
                  <a:gd name="T41" fmla="*/ 520 h 1817"/>
                  <a:gd name="T42" fmla="*/ 0 w 2237"/>
                  <a:gd name="T43" fmla="*/ 1507 h 1817"/>
                  <a:gd name="T44" fmla="*/ 316 w 2237"/>
                  <a:gd name="T45" fmla="*/ 1817 h 1817"/>
                  <a:gd name="T46" fmla="*/ 1920 w 2237"/>
                  <a:gd name="T47" fmla="*/ 1817 h 1817"/>
                  <a:gd name="T48" fmla="*/ 2237 w 2237"/>
                  <a:gd name="T49" fmla="*/ 1507 h 1817"/>
                  <a:gd name="T50" fmla="*/ 2237 w 2237"/>
                  <a:gd name="T51" fmla="*/ 520 h 1817"/>
                  <a:gd name="T52" fmla="*/ 2027 w 2237"/>
                  <a:gd name="T53" fmla="*/ 232 h 1817"/>
                  <a:gd name="T54" fmla="*/ 2027 w 2237"/>
                  <a:gd name="T55" fmla="*/ 202 h 1817"/>
                  <a:gd name="T56" fmla="*/ 1825 w 2237"/>
                  <a:gd name="T57" fmla="*/ 0 h 1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37" h="1817">
                    <a:moveTo>
                      <a:pt x="1825" y="140"/>
                    </a:moveTo>
                    <a:cubicBezTo>
                      <a:pt x="1859" y="140"/>
                      <a:pt x="1887" y="167"/>
                      <a:pt x="1887" y="202"/>
                    </a:cubicBezTo>
                    <a:cubicBezTo>
                      <a:pt x="1887" y="350"/>
                      <a:pt x="1887" y="350"/>
                      <a:pt x="1887" y="350"/>
                    </a:cubicBezTo>
                    <a:cubicBezTo>
                      <a:pt x="2027" y="350"/>
                      <a:pt x="2097" y="428"/>
                      <a:pt x="2097" y="520"/>
                    </a:cubicBezTo>
                    <a:cubicBezTo>
                      <a:pt x="2097" y="1507"/>
                      <a:pt x="2097" y="1507"/>
                      <a:pt x="2097" y="1507"/>
                    </a:cubicBezTo>
                    <a:cubicBezTo>
                      <a:pt x="2097" y="1601"/>
                      <a:pt x="2018" y="1678"/>
                      <a:pt x="1920" y="1678"/>
                    </a:cubicBezTo>
                    <a:cubicBezTo>
                      <a:pt x="316" y="1678"/>
                      <a:pt x="316" y="1678"/>
                      <a:pt x="316" y="1678"/>
                    </a:cubicBezTo>
                    <a:cubicBezTo>
                      <a:pt x="219" y="1678"/>
                      <a:pt x="140" y="1601"/>
                      <a:pt x="140" y="1507"/>
                    </a:cubicBezTo>
                    <a:cubicBezTo>
                      <a:pt x="140" y="520"/>
                      <a:pt x="140" y="520"/>
                      <a:pt x="140" y="520"/>
                    </a:cubicBezTo>
                    <a:cubicBezTo>
                      <a:pt x="140" y="426"/>
                      <a:pt x="219" y="349"/>
                      <a:pt x="316" y="349"/>
                    </a:cubicBezTo>
                    <a:cubicBezTo>
                      <a:pt x="1258" y="349"/>
                      <a:pt x="1258" y="349"/>
                      <a:pt x="1258" y="349"/>
                    </a:cubicBezTo>
                    <a:cubicBezTo>
                      <a:pt x="1258" y="202"/>
                      <a:pt x="1258" y="202"/>
                      <a:pt x="1258" y="202"/>
                    </a:cubicBezTo>
                    <a:cubicBezTo>
                      <a:pt x="1258" y="168"/>
                      <a:pt x="1286" y="140"/>
                      <a:pt x="1320" y="140"/>
                    </a:cubicBezTo>
                    <a:cubicBezTo>
                      <a:pt x="1825" y="140"/>
                      <a:pt x="1825" y="140"/>
                      <a:pt x="1825" y="140"/>
                    </a:cubicBezTo>
                    <a:moveTo>
                      <a:pt x="1825" y="0"/>
                    </a:moveTo>
                    <a:cubicBezTo>
                      <a:pt x="1825" y="0"/>
                      <a:pt x="1825" y="0"/>
                      <a:pt x="1825" y="0"/>
                    </a:cubicBezTo>
                    <a:cubicBezTo>
                      <a:pt x="1320" y="0"/>
                      <a:pt x="1320" y="0"/>
                      <a:pt x="1320" y="0"/>
                    </a:cubicBezTo>
                    <a:cubicBezTo>
                      <a:pt x="1209" y="0"/>
                      <a:pt x="1118" y="90"/>
                      <a:pt x="1118" y="202"/>
                    </a:cubicBezTo>
                    <a:cubicBezTo>
                      <a:pt x="1118" y="209"/>
                      <a:pt x="1118" y="209"/>
                      <a:pt x="1118" y="209"/>
                    </a:cubicBezTo>
                    <a:cubicBezTo>
                      <a:pt x="316" y="209"/>
                      <a:pt x="316" y="209"/>
                      <a:pt x="316" y="209"/>
                    </a:cubicBezTo>
                    <a:cubicBezTo>
                      <a:pt x="142" y="209"/>
                      <a:pt x="0" y="349"/>
                      <a:pt x="0" y="520"/>
                    </a:cubicBezTo>
                    <a:cubicBezTo>
                      <a:pt x="0" y="1507"/>
                      <a:pt x="0" y="1507"/>
                      <a:pt x="0" y="1507"/>
                    </a:cubicBezTo>
                    <a:cubicBezTo>
                      <a:pt x="0" y="1678"/>
                      <a:pt x="142" y="1817"/>
                      <a:pt x="316" y="1817"/>
                    </a:cubicBezTo>
                    <a:cubicBezTo>
                      <a:pt x="1920" y="1817"/>
                      <a:pt x="1920" y="1817"/>
                      <a:pt x="1920" y="1817"/>
                    </a:cubicBezTo>
                    <a:cubicBezTo>
                      <a:pt x="2095" y="1817"/>
                      <a:pt x="2237" y="1678"/>
                      <a:pt x="2237" y="1507"/>
                    </a:cubicBezTo>
                    <a:cubicBezTo>
                      <a:pt x="2237" y="520"/>
                      <a:pt x="2237" y="520"/>
                      <a:pt x="2237" y="520"/>
                    </a:cubicBezTo>
                    <a:cubicBezTo>
                      <a:pt x="2237" y="404"/>
                      <a:pt x="2170" y="280"/>
                      <a:pt x="2027" y="232"/>
                    </a:cubicBezTo>
                    <a:cubicBezTo>
                      <a:pt x="2027" y="202"/>
                      <a:pt x="2027" y="202"/>
                      <a:pt x="2027" y="202"/>
                    </a:cubicBezTo>
                    <a:cubicBezTo>
                      <a:pt x="2027" y="90"/>
                      <a:pt x="1936" y="0"/>
                      <a:pt x="18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srgbClr val="333333"/>
                  </a:solidFill>
                  <a:latin typeface="Tahoma"/>
                </a:endParaRPr>
              </a:p>
            </p:txBody>
          </p:sp>
          <p:sp>
            <p:nvSpPr>
              <p:cNvPr id="72" name="Rectangle 18">
                <a:extLst>
                  <a:ext uri="{FF2B5EF4-FFF2-40B4-BE49-F238E27FC236}">
                    <a16:creationId xmlns:a16="http://schemas.microsoft.com/office/drawing/2014/main" id="{8177000E-2DB1-4B74-86EE-8D0552EF2963}"/>
                  </a:ext>
                </a:extLst>
              </p:cNvPr>
              <p:cNvSpPr>
                <a:spLocks noChangeArrowheads="1"/>
              </p:cNvSpPr>
              <p:nvPr/>
            </p:nvSpPr>
            <p:spPr bwMode="auto">
              <a:xfrm>
                <a:off x="4987925" y="785813"/>
                <a:ext cx="1836737" cy="7889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srgbClr val="333333"/>
                  </a:solidFill>
                  <a:latin typeface="Tahoma"/>
                </a:endParaRPr>
              </a:p>
            </p:txBody>
          </p:sp>
        </p:grpSp>
        <p:sp>
          <p:nvSpPr>
            <p:cNvPr id="68" name="TextBox 113">
              <a:extLst>
                <a:ext uri="{FF2B5EF4-FFF2-40B4-BE49-F238E27FC236}">
                  <a16:creationId xmlns:a16="http://schemas.microsoft.com/office/drawing/2014/main" id="{A462D669-C652-480F-8676-759D08CDC6A0}"/>
                </a:ext>
              </a:extLst>
            </p:cNvPr>
            <p:cNvSpPr txBox="1"/>
            <p:nvPr/>
          </p:nvSpPr>
          <p:spPr>
            <a:xfrm>
              <a:off x="760319" y="4082075"/>
              <a:ext cx="2812896" cy="910634"/>
            </a:xfrm>
            <a:prstGeom prst="rect">
              <a:avLst/>
            </a:prstGeom>
            <a:noFill/>
          </p:spPr>
          <p:txBody>
            <a:bodyPr wrap="square" rtlCol="0">
              <a:spAutoFit/>
            </a:bodyPr>
            <a:lstStyle/>
            <a:p>
              <a:pPr algn="ctr">
                <a:defRPr/>
              </a:pPr>
              <a:r>
                <a:rPr lang="en-GB" sz="1400" b="1" kern="0">
                  <a:solidFill>
                    <a:srgbClr val="503078"/>
                  </a:solidFill>
                  <a:latin typeface="Tahoma"/>
                </a:rPr>
                <a:t>…</a:t>
              </a:r>
              <a:r>
                <a:rPr lang="en-GB" sz="1400" b="1" kern="0" err="1">
                  <a:solidFill>
                    <a:srgbClr val="503078"/>
                  </a:solidFill>
                  <a:latin typeface="Tahoma"/>
                </a:rPr>
                <a:t>Mais</a:t>
              </a:r>
              <a:r>
                <a:rPr lang="en-GB" sz="1400" b="1" kern="0">
                  <a:solidFill>
                    <a:srgbClr val="503078"/>
                  </a:solidFill>
                  <a:latin typeface="Tahoma"/>
                </a:rPr>
                <a:t> </a:t>
              </a:r>
              <a:r>
                <a:rPr lang="en-GB" sz="1400" b="1" kern="0" err="1">
                  <a:solidFill>
                    <a:srgbClr val="503078"/>
                  </a:solidFill>
                  <a:latin typeface="Tahoma"/>
                </a:rPr>
                <a:t>seulement</a:t>
              </a:r>
              <a:r>
                <a:rPr lang="en-GB" sz="1400" b="1" kern="0">
                  <a:solidFill>
                    <a:srgbClr val="503078"/>
                  </a:solidFill>
                  <a:latin typeface="Tahoma"/>
                </a:rPr>
                <a:t> 14% </a:t>
              </a:r>
              <a:r>
                <a:rPr lang="en-GB" sz="1400" kern="0">
                  <a:solidFill>
                    <a:srgbClr val="503078"/>
                  </a:solidFill>
                  <a:latin typeface="Tahoma"/>
                </a:rPr>
                <a:t>des aidants </a:t>
              </a:r>
              <a:r>
                <a:rPr lang="en-GB" sz="1400" kern="0" err="1">
                  <a:solidFill>
                    <a:srgbClr val="503078"/>
                  </a:solidFill>
                  <a:latin typeface="Tahoma"/>
                </a:rPr>
                <a:t>affirment</a:t>
              </a:r>
              <a:r>
                <a:rPr lang="en-GB" sz="1400" kern="0">
                  <a:solidFill>
                    <a:srgbClr val="503078"/>
                  </a:solidFill>
                  <a:latin typeface="Tahoma"/>
                </a:rPr>
                <a:t> </a:t>
              </a:r>
              <a:r>
                <a:rPr lang="en-GB" sz="1400" kern="0" err="1">
                  <a:solidFill>
                    <a:srgbClr val="503078"/>
                  </a:solidFill>
                  <a:latin typeface="Tahoma"/>
                </a:rPr>
                <a:t>s’accorder</a:t>
              </a:r>
              <a:r>
                <a:rPr lang="en-GB" sz="1400" kern="0">
                  <a:solidFill>
                    <a:srgbClr val="503078"/>
                  </a:solidFill>
                  <a:latin typeface="Tahoma"/>
                </a:rPr>
                <a:t> </a:t>
              </a:r>
              <a:r>
                <a:rPr lang="en-GB" sz="1400" b="1" kern="0">
                  <a:solidFill>
                    <a:srgbClr val="503078"/>
                  </a:solidFill>
                  <a:latin typeface="Tahoma"/>
                </a:rPr>
                <a:t>du </a:t>
              </a:r>
              <a:r>
                <a:rPr lang="en-GB" sz="1400" b="1" kern="0" err="1">
                  <a:solidFill>
                    <a:srgbClr val="503078"/>
                  </a:solidFill>
                  <a:latin typeface="Tahoma"/>
                </a:rPr>
                <a:t>répit</a:t>
              </a:r>
              <a:r>
                <a:rPr lang="en-GB" sz="1400" b="1" kern="0">
                  <a:solidFill>
                    <a:srgbClr val="503078"/>
                  </a:solidFill>
                  <a:latin typeface="Tahoma"/>
                </a:rPr>
                <a:t> à </a:t>
              </a:r>
              <a:r>
                <a:rPr lang="en-GB" sz="1400" b="1" kern="0" err="1">
                  <a:solidFill>
                    <a:srgbClr val="503078"/>
                  </a:solidFill>
                  <a:latin typeface="Tahoma"/>
                </a:rPr>
                <a:t>cette</a:t>
              </a:r>
              <a:r>
                <a:rPr lang="en-GB" sz="1400" b="1" kern="0">
                  <a:solidFill>
                    <a:srgbClr val="503078"/>
                  </a:solidFill>
                  <a:latin typeface="Tahoma"/>
                </a:rPr>
                <a:t> fréquence</a:t>
              </a:r>
              <a:r>
                <a:rPr lang="fr-FR" sz="1400" b="1" kern="0" baseline="30000">
                  <a:solidFill>
                    <a:srgbClr val="503078"/>
                  </a:solidFill>
                  <a:latin typeface="Tahoma"/>
                  <a:ea typeface="Meiryo UI"/>
                  <a:cs typeface="Arial"/>
                </a:rPr>
                <a:t>2</a:t>
              </a:r>
              <a:endParaRPr lang="en-GB" sz="1400" b="1" kern="0">
                <a:solidFill>
                  <a:srgbClr val="503078"/>
                </a:solidFill>
                <a:latin typeface="Tahoma"/>
              </a:endParaRPr>
            </a:p>
          </p:txBody>
        </p:sp>
        <p:grpSp>
          <p:nvGrpSpPr>
            <p:cNvPr id="46" name="Group 9">
              <a:extLst>
                <a:ext uri="{FF2B5EF4-FFF2-40B4-BE49-F238E27FC236}">
                  <a16:creationId xmlns:a16="http://schemas.microsoft.com/office/drawing/2014/main" id="{E06B124D-275F-4502-A4B8-4C9193602A52}"/>
                </a:ext>
              </a:extLst>
            </p:cNvPr>
            <p:cNvGrpSpPr/>
            <p:nvPr/>
          </p:nvGrpSpPr>
          <p:grpSpPr>
            <a:xfrm>
              <a:off x="3807177" y="1597736"/>
              <a:ext cx="2297474" cy="2179133"/>
              <a:chOff x="3879735" y="1597736"/>
              <a:chExt cx="2297474" cy="2179133"/>
            </a:xfrm>
          </p:grpSpPr>
          <p:graphicFrame>
            <p:nvGraphicFramePr>
              <p:cNvPr id="65" name="Chart 78">
                <a:extLst>
                  <a:ext uri="{FF2B5EF4-FFF2-40B4-BE49-F238E27FC236}">
                    <a16:creationId xmlns:a16="http://schemas.microsoft.com/office/drawing/2014/main" id="{A2FA5707-5C9C-430E-A737-0B4EF24A1FE8}"/>
                  </a:ext>
                </a:extLst>
              </p:cNvPr>
              <p:cNvGraphicFramePr/>
              <p:nvPr/>
            </p:nvGraphicFramePr>
            <p:xfrm>
              <a:off x="3879735" y="1597736"/>
              <a:ext cx="2297474" cy="2179133"/>
            </p:xfrm>
            <a:graphic>
              <a:graphicData uri="http://schemas.openxmlformats.org/drawingml/2006/chart">
                <c:chart xmlns:c="http://schemas.openxmlformats.org/drawingml/2006/chart" xmlns:r="http://schemas.openxmlformats.org/officeDocument/2006/relationships" r:id="rId3"/>
              </a:graphicData>
            </a:graphic>
          </p:graphicFrame>
          <p:sp>
            <p:nvSpPr>
              <p:cNvPr id="66" name="TextBox 11">
                <a:extLst>
                  <a:ext uri="{FF2B5EF4-FFF2-40B4-BE49-F238E27FC236}">
                    <a16:creationId xmlns:a16="http://schemas.microsoft.com/office/drawing/2014/main" id="{2D9FD07D-4669-4883-83CE-6C2B78230BE4}"/>
                  </a:ext>
                </a:extLst>
              </p:cNvPr>
              <p:cNvSpPr txBox="1"/>
              <p:nvPr/>
            </p:nvSpPr>
            <p:spPr>
              <a:xfrm>
                <a:off x="4656367" y="2401884"/>
                <a:ext cx="744209" cy="531203"/>
              </a:xfrm>
              <a:prstGeom prst="rect">
                <a:avLst/>
              </a:prstGeom>
              <a:noFill/>
              <a:ln>
                <a:noFill/>
              </a:ln>
            </p:spPr>
            <p:txBody>
              <a:bodyPr wrap="none" tIns="0" rIns="0" bIns="0" rtlCol="0" anchor="ctr">
                <a:spAutoFit/>
              </a:bodyPr>
              <a:lstStyle/>
              <a:p>
                <a:pPr algn="ctr"/>
                <a:r>
                  <a:rPr lang="en-GB" sz="2800" b="1" spc="-200">
                    <a:solidFill>
                      <a:srgbClr val="546B8C"/>
                    </a:solidFill>
                    <a:latin typeface="Tahoma"/>
                  </a:rPr>
                  <a:t>64</a:t>
                </a:r>
                <a:r>
                  <a:rPr lang="en-GB" sz="2400" b="1" spc="-200" baseline="30000">
                    <a:solidFill>
                      <a:srgbClr val="546B8C"/>
                    </a:solidFill>
                    <a:latin typeface="Tahoma"/>
                  </a:rPr>
                  <a:t>%</a:t>
                </a:r>
              </a:p>
            </p:txBody>
          </p:sp>
        </p:grpSp>
        <p:grpSp>
          <p:nvGrpSpPr>
            <p:cNvPr id="47" name="Group 12">
              <a:extLst>
                <a:ext uri="{FF2B5EF4-FFF2-40B4-BE49-F238E27FC236}">
                  <a16:creationId xmlns:a16="http://schemas.microsoft.com/office/drawing/2014/main" id="{DE822E52-17A1-4565-9B87-6B347562BFAF}"/>
                </a:ext>
              </a:extLst>
            </p:cNvPr>
            <p:cNvGrpSpPr/>
            <p:nvPr/>
          </p:nvGrpSpPr>
          <p:grpSpPr>
            <a:xfrm>
              <a:off x="6721931" y="1597736"/>
              <a:ext cx="2297474" cy="2179133"/>
              <a:chOff x="6721931" y="1597736"/>
              <a:chExt cx="2297474" cy="2179133"/>
            </a:xfrm>
          </p:grpSpPr>
          <p:graphicFrame>
            <p:nvGraphicFramePr>
              <p:cNvPr id="61" name="Chart 79">
                <a:extLst>
                  <a:ext uri="{FF2B5EF4-FFF2-40B4-BE49-F238E27FC236}">
                    <a16:creationId xmlns:a16="http://schemas.microsoft.com/office/drawing/2014/main" id="{5711AA55-B635-4962-A340-6376657D2142}"/>
                  </a:ext>
                </a:extLst>
              </p:cNvPr>
              <p:cNvGraphicFramePr/>
              <p:nvPr/>
            </p:nvGraphicFramePr>
            <p:xfrm>
              <a:off x="6721931" y="1597736"/>
              <a:ext cx="2297474" cy="2179133"/>
            </p:xfrm>
            <a:graphic>
              <a:graphicData uri="http://schemas.openxmlformats.org/drawingml/2006/chart">
                <c:chart xmlns:c="http://schemas.openxmlformats.org/drawingml/2006/chart" xmlns:r="http://schemas.openxmlformats.org/officeDocument/2006/relationships" r:id="rId4"/>
              </a:graphicData>
            </a:graphic>
          </p:graphicFrame>
          <p:sp>
            <p:nvSpPr>
              <p:cNvPr id="64" name="TextBox 14">
                <a:extLst>
                  <a:ext uri="{FF2B5EF4-FFF2-40B4-BE49-F238E27FC236}">
                    <a16:creationId xmlns:a16="http://schemas.microsoft.com/office/drawing/2014/main" id="{B7D0DC85-84F9-4B5F-AAC9-44F8E3F2F9E8}"/>
                  </a:ext>
                </a:extLst>
              </p:cNvPr>
              <p:cNvSpPr txBox="1"/>
              <p:nvPr/>
            </p:nvSpPr>
            <p:spPr>
              <a:xfrm>
                <a:off x="7498563" y="2401884"/>
                <a:ext cx="744209" cy="531203"/>
              </a:xfrm>
              <a:prstGeom prst="rect">
                <a:avLst/>
              </a:prstGeom>
              <a:noFill/>
              <a:ln>
                <a:noFill/>
              </a:ln>
            </p:spPr>
            <p:txBody>
              <a:bodyPr wrap="none" tIns="0" rIns="0" bIns="0" rtlCol="0" anchor="ctr">
                <a:spAutoFit/>
              </a:bodyPr>
              <a:lstStyle/>
              <a:p>
                <a:pPr algn="ctr"/>
                <a:r>
                  <a:rPr lang="en-GB" sz="2800" b="1" spc="-200">
                    <a:solidFill>
                      <a:srgbClr val="B24669"/>
                    </a:solidFill>
                    <a:latin typeface="Tahoma"/>
                  </a:rPr>
                  <a:t>25</a:t>
                </a:r>
                <a:r>
                  <a:rPr lang="en-GB" sz="2400" b="1" spc="-200" baseline="30000">
                    <a:solidFill>
                      <a:srgbClr val="B24669"/>
                    </a:solidFill>
                    <a:latin typeface="Tahoma"/>
                  </a:rPr>
                  <a:t>%</a:t>
                </a:r>
              </a:p>
            </p:txBody>
          </p:sp>
        </p:grpSp>
        <p:grpSp>
          <p:nvGrpSpPr>
            <p:cNvPr id="48" name="Group 15">
              <a:extLst>
                <a:ext uri="{FF2B5EF4-FFF2-40B4-BE49-F238E27FC236}">
                  <a16:creationId xmlns:a16="http://schemas.microsoft.com/office/drawing/2014/main" id="{FDE18727-B1BE-43A8-8B19-2BB3EEF3D791}"/>
                </a:ext>
              </a:extLst>
            </p:cNvPr>
            <p:cNvGrpSpPr/>
            <p:nvPr/>
          </p:nvGrpSpPr>
          <p:grpSpPr>
            <a:xfrm>
              <a:off x="892423" y="1621098"/>
              <a:ext cx="2297474" cy="2179133"/>
              <a:chOff x="797799" y="1621098"/>
              <a:chExt cx="2297474" cy="2179133"/>
            </a:xfrm>
          </p:grpSpPr>
          <p:graphicFrame>
            <p:nvGraphicFramePr>
              <p:cNvPr id="59" name="Chart 78">
                <a:extLst>
                  <a:ext uri="{FF2B5EF4-FFF2-40B4-BE49-F238E27FC236}">
                    <a16:creationId xmlns:a16="http://schemas.microsoft.com/office/drawing/2014/main" id="{9ED47663-11AA-4C0D-A718-051FE870A3F3}"/>
                  </a:ext>
                </a:extLst>
              </p:cNvPr>
              <p:cNvGraphicFramePr/>
              <p:nvPr/>
            </p:nvGraphicFramePr>
            <p:xfrm>
              <a:off x="797799" y="1621098"/>
              <a:ext cx="2297474" cy="2179133"/>
            </p:xfrm>
            <a:graphic>
              <a:graphicData uri="http://schemas.openxmlformats.org/drawingml/2006/chart">
                <c:chart xmlns:c="http://schemas.openxmlformats.org/drawingml/2006/chart" xmlns:r="http://schemas.openxmlformats.org/officeDocument/2006/relationships" r:id="rId5"/>
              </a:graphicData>
            </a:graphic>
          </p:graphicFrame>
          <p:sp>
            <p:nvSpPr>
              <p:cNvPr id="60" name="TextBox 17">
                <a:extLst>
                  <a:ext uri="{FF2B5EF4-FFF2-40B4-BE49-F238E27FC236}">
                    <a16:creationId xmlns:a16="http://schemas.microsoft.com/office/drawing/2014/main" id="{3E99A488-9A06-479D-9389-0ACEB4E152F8}"/>
                  </a:ext>
                </a:extLst>
              </p:cNvPr>
              <p:cNvSpPr txBox="1"/>
              <p:nvPr/>
            </p:nvSpPr>
            <p:spPr>
              <a:xfrm>
                <a:off x="1574431" y="2401884"/>
                <a:ext cx="744209" cy="531203"/>
              </a:xfrm>
              <a:prstGeom prst="rect">
                <a:avLst/>
              </a:prstGeom>
              <a:noFill/>
              <a:ln>
                <a:noFill/>
              </a:ln>
            </p:spPr>
            <p:txBody>
              <a:bodyPr wrap="none" tIns="0" rIns="0" bIns="0" rtlCol="0" anchor="ctr">
                <a:spAutoFit/>
              </a:bodyPr>
              <a:lstStyle/>
              <a:p>
                <a:pPr algn="ctr"/>
                <a:r>
                  <a:rPr lang="en-GB" sz="2800" b="1" spc="-200">
                    <a:solidFill>
                      <a:srgbClr val="503078"/>
                    </a:solidFill>
                    <a:latin typeface="Tahoma"/>
                  </a:rPr>
                  <a:t>14</a:t>
                </a:r>
                <a:r>
                  <a:rPr lang="en-GB" sz="2400" b="1" spc="-200" baseline="30000">
                    <a:solidFill>
                      <a:srgbClr val="503078"/>
                    </a:solidFill>
                    <a:latin typeface="Tahoma"/>
                  </a:rPr>
                  <a:t>%</a:t>
                </a:r>
              </a:p>
            </p:txBody>
          </p:sp>
        </p:grpSp>
        <p:sp>
          <p:nvSpPr>
            <p:cNvPr id="55" name="TextBox 115">
              <a:extLst>
                <a:ext uri="{FF2B5EF4-FFF2-40B4-BE49-F238E27FC236}">
                  <a16:creationId xmlns:a16="http://schemas.microsoft.com/office/drawing/2014/main" id="{8A6CA444-1106-43DF-BFBE-83A4D5902C60}"/>
                </a:ext>
              </a:extLst>
            </p:cNvPr>
            <p:cNvSpPr txBox="1"/>
            <p:nvPr/>
          </p:nvSpPr>
          <p:spPr>
            <a:xfrm>
              <a:off x="3807177" y="4082075"/>
              <a:ext cx="2578514" cy="910634"/>
            </a:xfrm>
            <a:prstGeom prst="rect">
              <a:avLst/>
            </a:prstGeom>
            <a:noFill/>
          </p:spPr>
          <p:txBody>
            <a:bodyPr wrap="square" rtlCol="0">
              <a:spAutoFit/>
            </a:bodyPr>
            <a:lstStyle/>
            <a:p>
              <a:pPr algn="ctr">
                <a:defRPr/>
              </a:pPr>
              <a:r>
                <a:rPr lang="en-GB" sz="1400" b="1" kern="0">
                  <a:solidFill>
                    <a:srgbClr val="546B8C"/>
                  </a:solidFill>
                  <a:latin typeface="Tahoma"/>
                </a:rPr>
                <a:t>64% </a:t>
              </a:r>
              <a:r>
                <a:rPr lang="en-GB" sz="1400" kern="0" err="1">
                  <a:solidFill>
                    <a:srgbClr val="546B8C"/>
                  </a:solidFill>
                  <a:latin typeface="Tahoma"/>
                </a:rPr>
                <a:t>d’entre</a:t>
              </a:r>
              <a:r>
                <a:rPr lang="en-GB" sz="1400" kern="0">
                  <a:solidFill>
                    <a:srgbClr val="546B8C"/>
                  </a:solidFill>
                  <a:latin typeface="Tahoma"/>
                </a:rPr>
                <a:t> </a:t>
              </a:r>
              <a:r>
                <a:rPr lang="en-GB" sz="1400" kern="0" err="1">
                  <a:solidFill>
                    <a:srgbClr val="546B8C"/>
                  </a:solidFill>
                  <a:latin typeface="Tahoma"/>
                </a:rPr>
                <a:t>eux</a:t>
              </a:r>
              <a:r>
                <a:rPr lang="en-GB" sz="1400" kern="0">
                  <a:solidFill>
                    <a:srgbClr val="546B8C"/>
                  </a:solidFill>
                  <a:latin typeface="Tahoma"/>
                </a:rPr>
                <a:t> </a:t>
              </a:r>
              <a:r>
                <a:rPr lang="en-GB" sz="1400" kern="0" err="1">
                  <a:solidFill>
                    <a:srgbClr val="546B8C"/>
                  </a:solidFill>
                  <a:latin typeface="Tahoma"/>
                </a:rPr>
                <a:t>prennent</a:t>
              </a:r>
              <a:r>
                <a:rPr lang="en-GB" sz="1400" kern="0">
                  <a:solidFill>
                    <a:srgbClr val="546B8C"/>
                  </a:solidFill>
                  <a:latin typeface="Tahoma"/>
                </a:rPr>
                <a:t> du </a:t>
              </a:r>
              <a:r>
                <a:rPr lang="en-GB" sz="1400" b="1" kern="0" err="1">
                  <a:solidFill>
                    <a:srgbClr val="546B8C"/>
                  </a:solidFill>
                  <a:latin typeface="Tahoma"/>
                </a:rPr>
                <a:t>répit</a:t>
              </a:r>
              <a:r>
                <a:rPr lang="en-GB" sz="1400" b="1" kern="0">
                  <a:solidFill>
                    <a:srgbClr val="546B8C"/>
                  </a:solidFill>
                  <a:latin typeface="Tahoma"/>
                </a:rPr>
                <a:t> 2 </a:t>
              </a:r>
              <a:r>
                <a:rPr lang="en-GB" sz="1400" b="1" kern="0" err="1">
                  <a:solidFill>
                    <a:srgbClr val="546B8C"/>
                  </a:solidFill>
                  <a:latin typeface="Tahoma"/>
                </a:rPr>
                <a:t>fois</a:t>
              </a:r>
              <a:r>
                <a:rPr lang="en-GB" sz="1400" b="1" kern="0">
                  <a:solidFill>
                    <a:srgbClr val="546B8C"/>
                  </a:solidFill>
                  <a:latin typeface="Tahoma"/>
                </a:rPr>
                <a:t> par an </a:t>
              </a:r>
              <a:r>
                <a:rPr lang="en-GB" sz="1400" b="1" kern="0" err="1">
                  <a:solidFill>
                    <a:srgbClr val="546B8C"/>
                  </a:solidFill>
                  <a:latin typeface="Tahoma"/>
                </a:rPr>
                <a:t>ou</a:t>
              </a:r>
              <a:r>
                <a:rPr lang="en-GB" sz="1400" b="1" kern="0">
                  <a:solidFill>
                    <a:srgbClr val="546B8C"/>
                  </a:solidFill>
                  <a:latin typeface="Tahoma"/>
                </a:rPr>
                <a:t> </a:t>
              </a:r>
              <a:r>
                <a:rPr lang="en-GB" sz="1400" b="1" kern="0" err="1">
                  <a:solidFill>
                    <a:srgbClr val="546B8C"/>
                  </a:solidFill>
                  <a:latin typeface="Tahoma"/>
                </a:rPr>
                <a:t>moins</a:t>
              </a:r>
              <a:endParaRPr lang="en-GB" sz="1400" b="1" kern="0">
                <a:solidFill>
                  <a:srgbClr val="546B8C"/>
                </a:solidFill>
                <a:latin typeface="Tahoma"/>
              </a:endParaRPr>
            </a:p>
          </p:txBody>
        </p:sp>
        <p:sp>
          <p:nvSpPr>
            <p:cNvPr id="51" name="TextBox 117">
              <a:extLst>
                <a:ext uri="{FF2B5EF4-FFF2-40B4-BE49-F238E27FC236}">
                  <a16:creationId xmlns:a16="http://schemas.microsoft.com/office/drawing/2014/main" id="{AC27AEF7-B1AA-44C3-97CE-25BA48E1BDAC}"/>
                </a:ext>
              </a:extLst>
            </p:cNvPr>
            <p:cNvSpPr txBox="1"/>
            <p:nvPr/>
          </p:nvSpPr>
          <p:spPr>
            <a:xfrm>
              <a:off x="6700667" y="4082075"/>
              <a:ext cx="2788441" cy="910634"/>
            </a:xfrm>
            <a:prstGeom prst="rect">
              <a:avLst/>
            </a:prstGeom>
            <a:noFill/>
          </p:spPr>
          <p:txBody>
            <a:bodyPr wrap="square" rtlCol="0">
              <a:spAutoFit/>
            </a:bodyPr>
            <a:lstStyle/>
            <a:p>
              <a:pPr algn="ctr">
                <a:defRPr/>
              </a:pPr>
              <a:r>
                <a:rPr lang="en-GB" sz="1400" b="1" kern="0">
                  <a:solidFill>
                    <a:srgbClr val="B24669"/>
                  </a:solidFill>
                  <a:latin typeface="Tahoma"/>
                </a:rPr>
                <a:t>25% </a:t>
              </a:r>
              <a:r>
                <a:rPr lang="en-GB" sz="1400" kern="0" err="1">
                  <a:solidFill>
                    <a:srgbClr val="B24669"/>
                  </a:solidFill>
                  <a:latin typeface="Tahoma"/>
                </a:rPr>
                <a:t>d’entre</a:t>
              </a:r>
              <a:r>
                <a:rPr lang="en-GB" sz="1400" kern="0">
                  <a:solidFill>
                    <a:srgbClr val="B24669"/>
                  </a:solidFill>
                  <a:latin typeface="Tahoma"/>
                </a:rPr>
                <a:t> </a:t>
              </a:r>
              <a:r>
                <a:rPr lang="en-GB" sz="1400" kern="0" err="1">
                  <a:solidFill>
                    <a:srgbClr val="B24669"/>
                  </a:solidFill>
                  <a:latin typeface="Tahoma"/>
                </a:rPr>
                <a:t>eux</a:t>
              </a:r>
              <a:r>
                <a:rPr lang="en-GB" sz="1400" kern="0">
                  <a:solidFill>
                    <a:srgbClr val="B24669"/>
                  </a:solidFill>
                  <a:latin typeface="Tahoma"/>
                </a:rPr>
                <a:t> </a:t>
              </a:r>
              <a:r>
                <a:rPr lang="en-GB" sz="1400" kern="0" err="1">
                  <a:solidFill>
                    <a:srgbClr val="B24669"/>
                  </a:solidFill>
                  <a:latin typeface="Tahoma"/>
                </a:rPr>
                <a:t>consacrent</a:t>
              </a:r>
              <a:r>
                <a:rPr lang="en-GB" sz="1400" kern="0">
                  <a:solidFill>
                    <a:srgbClr val="B24669"/>
                  </a:solidFill>
                  <a:latin typeface="Tahoma"/>
                </a:rPr>
                <a:t> plus de </a:t>
              </a:r>
              <a:r>
                <a:rPr lang="en-GB" sz="1400" b="1" kern="0">
                  <a:solidFill>
                    <a:srgbClr val="B24669"/>
                  </a:solidFill>
                  <a:latin typeface="Tahoma"/>
                </a:rPr>
                <a:t>20 </a:t>
              </a:r>
              <a:r>
                <a:rPr lang="en-GB" sz="1400" b="1" kern="0" err="1">
                  <a:solidFill>
                    <a:srgbClr val="B24669"/>
                  </a:solidFill>
                  <a:latin typeface="Tahoma"/>
                </a:rPr>
                <a:t>heures</a:t>
              </a:r>
              <a:r>
                <a:rPr lang="en-GB" sz="1400" b="1" kern="0">
                  <a:solidFill>
                    <a:srgbClr val="B24669"/>
                  </a:solidFill>
                  <a:latin typeface="Tahoma"/>
                </a:rPr>
                <a:t> par </a:t>
              </a:r>
              <a:r>
                <a:rPr lang="en-GB" sz="1400" b="1" kern="0" err="1">
                  <a:solidFill>
                    <a:srgbClr val="B24669"/>
                  </a:solidFill>
                  <a:latin typeface="Tahoma"/>
                </a:rPr>
                <a:t>semaine</a:t>
              </a:r>
              <a:r>
                <a:rPr lang="en-GB" sz="1400" b="1" kern="0">
                  <a:solidFill>
                    <a:srgbClr val="B24669"/>
                  </a:solidFill>
                  <a:latin typeface="Tahoma"/>
                </a:rPr>
                <a:t> à aider </a:t>
              </a:r>
              <a:r>
                <a:rPr lang="en-GB" sz="1400" b="1" kern="0" err="1">
                  <a:solidFill>
                    <a:srgbClr val="B24669"/>
                  </a:solidFill>
                  <a:latin typeface="Tahoma"/>
                </a:rPr>
                <a:t>leur</a:t>
              </a:r>
              <a:r>
                <a:rPr lang="en-GB" sz="1400" b="1" kern="0">
                  <a:solidFill>
                    <a:srgbClr val="B24669"/>
                  </a:solidFill>
                  <a:latin typeface="Tahoma"/>
                </a:rPr>
                <a:t> </a:t>
              </a:r>
              <a:r>
                <a:rPr lang="en-GB" sz="1400" b="1" kern="0" err="1">
                  <a:solidFill>
                    <a:srgbClr val="B24669"/>
                  </a:solidFill>
                  <a:latin typeface="Tahoma"/>
                </a:rPr>
                <a:t>proche</a:t>
              </a:r>
              <a:endParaRPr lang="en-GB" sz="1400" b="1" kern="0">
                <a:solidFill>
                  <a:srgbClr val="B24669"/>
                </a:solidFill>
                <a:latin typeface="Tahoma"/>
              </a:endParaRPr>
            </a:p>
          </p:txBody>
        </p:sp>
      </p:grpSp>
    </p:spTree>
    <p:extLst>
      <p:ext uri="{BB962C8B-B14F-4D97-AF65-F5344CB8AC3E}">
        <p14:creationId xmlns:p14="http://schemas.microsoft.com/office/powerpoint/2010/main" val="4806620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D75907F-DD39-4FF6-B0FF-0CE393C3F63F}"/>
              </a:ext>
            </a:extLst>
          </p:cNvPr>
          <p:cNvSpPr>
            <a:spLocks noGrp="1"/>
          </p:cNvSpPr>
          <p:nvPr>
            <p:ph type="title"/>
          </p:nvPr>
        </p:nvSpPr>
        <p:spPr/>
        <p:txBody>
          <a:bodyPr/>
          <a:lstStyle/>
          <a:p>
            <a:r>
              <a:rPr lang="fr-FR"/>
              <a:t>Approche de dimensionnement du marché</a:t>
            </a:r>
          </a:p>
        </p:txBody>
      </p:sp>
      <p:sp>
        <p:nvSpPr>
          <p:cNvPr id="3" name="Espace réservé du texte 2">
            <a:extLst>
              <a:ext uri="{FF2B5EF4-FFF2-40B4-BE49-F238E27FC236}">
                <a16:creationId xmlns:a16="http://schemas.microsoft.com/office/drawing/2014/main" id="{B0F8857B-7A6F-467A-A65A-B8187F31AC77}"/>
              </a:ext>
            </a:extLst>
          </p:cNvPr>
          <p:cNvSpPr>
            <a:spLocks noGrp="1"/>
          </p:cNvSpPr>
          <p:nvPr>
            <p:ph type="body" sz="quarter" idx="13"/>
          </p:nvPr>
        </p:nvSpPr>
        <p:spPr/>
        <p:txBody>
          <a:bodyPr/>
          <a:lstStyle/>
          <a:p>
            <a:r>
              <a:rPr lang="fr-FR"/>
              <a:t>Dimensionnement des besoins et du marché</a:t>
            </a:r>
          </a:p>
        </p:txBody>
      </p:sp>
      <p:sp>
        <p:nvSpPr>
          <p:cNvPr id="4" name="Rectangle 3">
            <a:extLst>
              <a:ext uri="{FF2B5EF4-FFF2-40B4-BE49-F238E27FC236}">
                <a16:creationId xmlns:a16="http://schemas.microsoft.com/office/drawing/2014/main" id="{D5ABB6D0-F80E-4503-B9BF-313546C4CBDE}"/>
              </a:ext>
            </a:extLst>
          </p:cNvPr>
          <p:cNvSpPr/>
          <p:nvPr/>
        </p:nvSpPr>
        <p:spPr>
          <a:xfrm>
            <a:off x="1356348" y="4438471"/>
            <a:ext cx="6035727" cy="2316696"/>
          </a:xfrm>
          <a:prstGeom prst="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endParaRPr lang="fr-FR">
              <a:solidFill>
                <a:srgbClr val="503078"/>
              </a:solidFill>
              <a:latin typeface="Tahoma"/>
            </a:endParaRPr>
          </a:p>
        </p:txBody>
      </p:sp>
      <p:sp>
        <p:nvSpPr>
          <p:cNvPr id="7" name="ZoneTexte 6">
            <a:extLst>
              <a:ext uri="{FF2B5EF4-FFF2-40B4-BE49-F238E27FC236}">
                <a16:creationId xmlns:a16="http://schemas.microsoft.com/office/drawing/2014/main" id="{AD56BB84-7E0C-46FE-B327-C48105E447F5}"/>
              </a:ext>
            </a:extLst>
          </p:cNvPr>
          <p:cNvSpPr txBox="1"/>
          <p:nvPr/>
        </p:nvSpPr>
        <p:spPr>
          <a:xfrm>
            <a:off x="1352739" y="4369770"/>
            <a:ext cx="6013004" cy="2446824"/>
          </a:xfrm>
          <a:prstGeom prst="rect">
            <a:avLst/>
          </a:prstGeom>
          <a:noFill/>
        </p:spPr>
        <p:txBody>
          <a:bodyPr wrap="square" lIns="91440" tIns="45720" rIns="91440" bIns="45720" anchor="t">
            <a:spAutoFit/>
          </a:bodyPr>
          <a:lstStyle/>
          <a:p>
            <a:pPr marL="171450" indent="-171450" algn="just">
              <a:buClr>
                <a:srgbClr val="503078"/>
              </a:buClr>
              <a:buFont typeface="Tahoma" panose="020B0604030504040204" pitchFamily="34" charset="0"/>
              <a:buChar char="⁄"/>
              <a:defRPr/>
            </a:pPr>
            <a:endParaRPr lang="fr-FR" sz="1100" dirty="0">
              <a:solidFill>
                <a:srgbClr val="5F5F5F"/>
              </a:solidFill>
              <a:latin typeface="Tahoma"/>
            </a:endParaRPr>
          </a:p>
          <a:p>
            <a:pPr marL="171450" indent="-171450" algn="just">
              <a:spcAft>
                <a:spcPts val="600"/>
              </a:spcAft>
              <a:buClr>
                <a:srgbClr val="503078"/>
              </a:buClr>
              <a:buFont typeface="Tahoma" panose="020B0604030504040204" pitchFamily="34" charset="0"/>
              <a:buChar char="⁄"/>
              <a:defRPr/>
            </a:pPr>
            <a:r>
              <a:rPr lang="fr-FR" sz="1100" b="1" dirty="0">
                <a:solidFill>
                  <a:srgbClr val="5F5F5F"/>
                </a:solidFill>
                <a:latin typeface="Tahoma"/>
              </a:rPr>
              <a:t>L'estimation du nombre de personnes en situation de dépendance dans la modélisation a été fondée sur le nombre de bénéficiaires APA et AAH. </a:t>
            </a:r>
            <a:r>
              <a:rPr lang="fr-FR" sz="1100" dirty="0">
                <a:solidFill>
                  <a:srgbClr val="5F5F5F"/>
                </a:solidFill>
                <a:latin typeface="Tahoma"/>
              </a:rPr>
              <a:t>Ce critère a été retenu car il implique une reconnaissance administrative liée à la dépendance, et une obtention facilitée de financements de tout ou partie des séjours de répit pour les bénéficiaires. Ce modèle constitue néanmoins une estimation minimaliste du nombre de personnes dépendantes.  </a:t>
            </a:r>
          </a:p>
          <a:p>
            <a:pPr marL="171450" indent="-171450" algn="just">
              <a:spcAft>
                <a:spcPts val="600"/>
              </a:spcAft>
              <a:buClr>
                <a:srgbClr val="503078"/>
              </a:buClr>
              <a:buFont typeface="Tahoma" panose="020B0604030504040204" pitchFamily="34" charset="0"/>
              <a:buChar char="⁄"/>
              <a:defRPr/>
            </a:pPr>
            <a:r>
              <a:rPr lang="fr-FR" sz="1100" b="1" dirty="0">
                <a:solidFill>
                  <a:srgbClr val="5F5F5F"/>
                </a:solidFill>
                <a:latin typeface="Tahoma"/>
              </a:rPr>
              <a:t>La répartition des capacités d’accueil est variable entre les différentes populations accueillies (PA / PH / aidants). </a:t>
            </a:r>
            <a:r>
              <a:rPr lang="fr-FR" sz="1100" dirty="0">
                <a:solidFill>
                  <a:srgbClr val="5F5F5F"/>
                </a:solidFill>
                <a:latin typeface="Tahoma"/>
              </a:rPr>
              <a:t>Les chiffres présentés ne tiennent pas compte de cette répartition.</a:t>
            </a:r>
            <a:endParaRPr lang="fr-FR" sz="1100" b="1" dirty="0">
              <a:solidFill>
                <a:srgbClr val="5F5F5F"/>
              </a:solidFill>
              <a:latin typeface="Tahoma"/>
            </a:endParaRPr>
          </a:p>
          <a:p>
            <a:pPr marL="171450" indent="-171450" algn="just">
              <a:buClr>
                <a:srgbClr val="503078"/>
              </a:buClr>
              <a:buFont typeface="Tahoma" panose="020B0604030504040204" pitchFamily="34" charset="0"/>
              <a:buChar char="⁄"/>
              <a:defRPr/>
            </a:pPr>
            <a:r>
              <a:rPr lang="fr-FR" sz="1100" b="1" dirty="0">
                <a:solidFill>
                  <a:srgbClr val="5F5F5F"/>
                </a:solidFill>
                <a:latin typeface="Tahoma"/>
              </a:rPr>
              <a:t>Le taux d’occupation cible annuel a été fixé en fonction du TO cible permettant d’après les porteurs de projets d’atteindre la rentabilité (soit 80%).</a:t>
            </a:r>
            <a:endParaRPr lang="fr-FR" sz="1100" b="1" dirty="0">
              <a:solidFill>
                <a:srgbClr val="5F5F5F"/>
              </a:solidFill>
              <a:latin typeface="Tahoma"/>
              <a:ea typeface="Tahoma"/>
              <a:cs typeface="Tahoma"/>
            </a:endParaRPr>
          </a:p>
          <a:p>
            <a:pPr algn="just">
              <a:buClr>
                <a:srgbClr val="503078"/>
              </a:buClr>
              <a:defRPr/>
            </a:pPr>
            <a:endParaRPr lang="fr-FR" sz="1100" b="1" dirty="0">
              <a:solidFill>
                <a:srgbClr val="5F5F5F"/>
              </a:solidFill>
              <a:latin typeface="Tahoma"/>
            </a:endParaRPr>
          </a:p>
        </p:txBody>
      </p:sp>
      <p:sp>
        <p:nvSpPr>
          <p:cNvPr id="8" name="Rectangle 7">
            <a:extLst>
              <a:ext uri="{FF2B5EF4-FFF2-40B4-BE49-F238E27FC236}">
                <a16:creationId xmlns:a16="http://schemas.microsoft.com/office/drawing/2014/main" id="{05E3422D-C6B7-41F1-8B5E-D2ABF0EC1419}"/>
              </a:ext>
            </a:extLst>
          </p:cNvPr>
          <p:cNvSpPr>
            <a:spLocks/>
          </p:cNvSpPr>
          <p:nvPr/>
        </p:nvSpPr>
        <p:spPr>
          <a:xfrm>
            <a:off x="1547785" y="2239826"/>
            <a:ext cx="4367252" cy="3337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400" b="1">
                <a:solidFill>
                  <a:srgbClr val="FFFFFF"/>
                </a:solidFill>
                <a:latin typeface="Tahoma"/>
              </a:rPr>
              <a:t>Scénario 1 – Minimaliste</a:t>
            </a:r>
          </a:p>
        </p:txBody>
      </p:sp>
      <p:sp>
        <p:nvSpPr>
          <p:cNvPr id="9" name="Rectangle 8">
            <a:extLst>
              <a:ext uri="{FF2B5EF4-FFF2-40B4-BE49-F238E27FC236}">
                <a16:creationId xmlns:a16="http://schemas.microsoft.com/office/drawing/2014/main" id="{EB316ADC-B912-4DE8-BAB8-26306707F966}"/>
              </a:ext>
            </a:extLst>
          </p:cNvPr>
          <p:cNvSpPr>
            <a:spLocks/>
          </p:cNvSpPr>
          <p:nvPr/>
        </p:nvSpPr>
        <p:spPr>
          <a:xfrm>
            <a:off x="6382538" y="2229852"/>
            <a:ext cx="4374411" cy="3554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400" b="1">
                <a:solidFill>
                  <a:srgbClr val="FFFFFF"/>
                </a:solidFill>
                <a:latin typeface="Tahoma"/>
              </a:rPr>
              <a:t>Scénario 2 - Maximaliste </a:t>
            </a:r>
          </a:p>
        </p:txBody>
      </p:sp>
      <p:sp>
        <p:nvSpPr>
          <p:cNvPr id="11" name="Rectangle 10">
            <a:extLst>
              <a:ext uri="{FF2B5EF4-FFF2-40B4-BE49-F238E27FC236}">
                <a16:creationId xmlns:a16="http://schemas.microsoft.com/office/drawing/2014/main" id="{8A618052-11B0-408D-AA70-30A81AC9961C}"/>
              </a:ext>
            </a:extLst>
          </p:cNvPr>
          <p:cNvSpPr>
            <a:spLocks/>
          </p:cNvSpPr>
          <p:nvPr/>
        </p:nvSpPr>
        <p:spPr>
          <a:xfrm>
            <a:off x="1482447" y="2626398"/>
            <a:ext cx="4379952" cy="3673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200" b="1">
                <a:solidFill>
                  <a:srgbClr val="5F5F5F"/>
                </a:solidFill>
                <a:latin typeface="Tahoma"/>
              </a:rPr>
              <a:t>3% </a:t>
            </a:r>
            <a:r>
              <a:rPr lang="fr-FR" sz="1200">
                <a:solidFill>
                  <a:srgbClr val="5F5F5F"/>
                </a:solidFill>
                <a:latin typeface="Tahoma"/>
              </a:rPr>
              <a:t>de public cible ayant recours à des séjours de répit</a:t>
            </a:r>
          </a:p>
        </p:txBody>
      </p:sp>
      <p:sp>
        <p:nvSpPr>
          <p:cNvPr id="21" name="Rectangle 20">
            <a:extLst>
              <a:ext uri="{FF2B5EF4-FFF2-40B4-BE49-F238E27FC236}">
                <a16:creationId xmlns:a16="http://schemas.microsoft.com/office/drawing/2014/main" id="{D9FA0A58-ADC8-48FD-92F7-CD82CA3F7063}"/>
              </a:ext>
            </a:extLst>
          </p:cNvPr>
          <p:cNvSpPr>
            <a:spLocks/>
          </p:cNvSpPr>
          <p:nvPr/>
        </p:nvSpPr>
        <p:spPr>
          <a:xfrm>
            <a:off x="6342600" y="2659690"/>
            <a:ext cx="4379952" cy="3340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200" b="1">
                <a:solidFill>
                  <a:srgbClr val="5F5F5F"/>
                </a:solidFill>
                <a:latin typeface="Tahoma"/>
              </a:rPr>
              <a:t>25% </a:t>
            </a:r>
            <a:r>
              <a:rPr lang="fr-FR" sz="1200">
                <a:solidFill>
                  <a:srgbClr val="5F5F5F"/>
                </a:solidFill>
                <a:latin typeface="Tahoma"/>
              </a:rPr>
              <a:t>de public cible ayant recours à des séjours de répit</a:t>
            </a:r>
          </a:p>
        </p:txBody>
      </p:sp>
      <p:sp>
        <p:nvSpPr>
          <p:cNvPr id="26" name="Rectangle 25">
            <a:extLst>
              <a:ext uri="{FF2B5EF4-FFF2-40B4-BE49-F238E27FC236}">
                <a16:creationId xmlns:a16="http://schemas.microsoft.com/office/drawing/2014/main" id="{A1906562-CDAF-4C0E-B214-77630A14A453}"/>
              </a:ext>
            </a:extLst>
          </p:cNvPr>
          <p:cNvSpPr/>
          <p:nvPr/>
        </p:nvSpPr>
        <p:spPr>
          <a:xfrm>
            <a:off x="1741436" y="4228559"/>
            <a:ext cx="2125340" cy="299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200" b="1">
                <a:solidFill>
                  <a:srgbClr val="503078"/>
                </a:solidFill>
                <a:latin typeface="Tahoma"/>
              </a:rPr>
              <a:t>Limites</a:t>
            </a:r>
          </a:p>
        </p:txBody>
      </p:sp>
      <p:pic>
        <p:nvPicPr>
          <p:cNvPr id="27" name="Graphique 26" descr="Ampoule et engrenage">
            <a:extLst>
              <a:ext uri="{FF2B5EF4-FFF2-40B4-BE49-F238E27FC236}">
                <a16:creationId xmlns:a16="http://schemas.microsoft.com/office/drawing/2014/main" id="{2E7C944D-2871-4EF4-B214-2E2A3A69D9C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64297" y="4152074"/>
            <a:ext cx="413739" cy="413739"/>
          </a:xfrm>
          <a:prstGeom prst="rect">
            <a:avLst/>
          </a:prstGeom>
        </p:spPr>
      </p:pic>
      <p:sp>
        <p:nvSpPr>
          <p:cNvPr id="29" name="Triangle isocèle 28">
            <a:extLst>
              <a:ext uri="{FF2B5EF4-FFF2-40B4-BE49-F238E27FC236}">
                <a16:creationId xmlns:a16="http://schemas.microsoft.com/office/drawing/2014/main" id="{A13A3CFE-A242-4986-9625-032F3920879F}"/>
              </a:ext>
            </a:extLst>
          </p:cNvPr>
          <p:cNvSpPr/>
          <p:nvPr/>
        </p:nvSpPr>
        <p:spPr>
          <a:xfrm rot="10800000">
            <a:off x="3376271" y="4134344"/>
            <a:ext cx="1173562" cy="215505"/>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endParaRPr lang="fr-FR">
              <a:solidFill>
                <a:srgbClr val="503078"/>
              </a:solidFill>
              <a:latin typeface="Tahoma"/>
            </a:endParaRPr>
          </a:p>
        </p:txBody>
      </p:sp>
      <p:sp>
        <p:nvSpPr>
          <p:cNvPr id="31" name="Rectangle 30">
            <a:extLst>
              <a:ext uri="{FF2B5EF4-FFF2-40B4-BE49-F238E27FC236}">
                <a16:creationId xmlns:a16="http://schemas.microsoft.com/office/drawing/2014/main" id="{F5BE6B2A-404B-41DC-A5D9-96946C2344CF}"/>
              </a:ext>
            </a:extLst>
          </p:cNvPr>
          <p:cNvSpPr>
            <a:spLocks/>
          </p:cNvSpPr>
          <p:nvPr/>
        </p:nvSpPr>
        <p:spPr>
          <a:xfrm>
            <a:off x="7594897" y="4438049"/>
            <a:ext cx="3237147" cy="2292934"/>
          </a:xfrm>
          <a:prstGeom prst="rect">
            <a:avLst/>
          </a:prstGeom>
          <a:solidFill>
            <a:schemeClr val="accent4">
              <a:lumMod val="20000"/>
              <a:lumOff val="80000"/>
            </a:schemeClr>
          </a:solidFill>
          <a:ln w="38100" cap="flat" cmpd="sng" algn="ctr">
            <a:solidFill>
              <a:schemeClr val="accent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sz="600">
              <a:solidFill>
                <a:srgbClr val="FFFFFF"/>
              </a:solidFill>
              <a:latin typeface="Tahoma"/>
            </a:endParaRPr>
          </a:p>
        </p:txBody>
      </p:sp>
      <p:sp>
        <p:nvSpPr>
          <p:cNvPr id="33" name="TextBox 74">
            <a:extLst>
              <a:ext uri="{FF2B5EF4-FFF2-40B4-BE49-F238E27FC236}">
                <a16:creationId xmlns:a16="http://schemas.microsoft.com/office/drawing/2014/main" id="{4DB86E6A-D68F-4FBA-B270-C8FABCD34D79}"/>
              </a:ext>
            </a:extLst>
          </p:cNvPr>
          <p:cNvSpPr txBox="1">
            <a:spLocks/>
          </p:cNvSpPr>
          <p:nvPr/>
        </p:nvSpPr>
        <p:spPr>
          <a:xfrm>
            <a:off x="7594896" y="4892019"/>
            <a:ext cx="3237147" cy="1384995"/>
          </a:xfrm>
          <a:prstGeom prst="rect">
            <a:avLst/>
          </a:prstGeom>
          <a:noFill/>
        </p:spPr>
        <p:txBody>
          <a:bodyPr wrap="square" rtlCol="0">
            <a:spAutoFit/>
          </a:bodyPr>
          <a:lstStyle/>
          <a:p>
            <a:pPr algn="ctr">
              <a:defRPr/>
            </a:pPr>
            <a:r>
              <a:rPr lang="fr-FR" sz="1400" b="1" dirty="0">
                <a:solidFill>
                  <a:srgbClr val="B24669"/>
                </a:solidFill>
                <a:latin typeface="Tahoma"/>
              </a:rPr>
              <a:t>Les séjours de répit représentent un marché important dans un contexte actuel où la demande est encore faiblement adressée </a:t>
            </a:r>
            <a:r>
              <a:rPr lang="fr-FR" sz="1400" dirty="0">
                <a:solidFill>
                  <a:srgbClr val="B24669"/>
                </a:solidFill>
                <a:latin typeface="Tahoma"/>
              </a:rPr>
              <a:t>(peu de centres existent face à un nombre croissant d’aidants)</a:t>
            </a:r>
          </a:p>
        </p:txBody>
      </p:sp>
      <p:sp>
        <p:nvSpPr>
          <p:cNvPr id="34" name="Rectangle 33">
            <a:extLst>
              <a:ext uri="{FF2B5EF4-FFF2-40B4-BE49-F238E27FC236}">
                <a16:creationId xmlns:a16="http://schemas.microsoft.com/office/drawing/2014/main" id="{EEB767CA-5D82-4519-9C27-35F3501152F8}"/>
              </a:ext>
            </a:extLst>
          </p:cNvPr>
          <p:cNvSpPr>
            <a:spLocks/>
          </p:cNvSpPr>
          <p:nvPr/>
        </p:nvSpPr>
        <p:spPr>
          <a:xfrm>
            <a:off x="1495147" y="3125388"/>
            <a:ext cx="4367252" cy="3700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200">
                <a:solidFill>
                  <a:srgbClr val="5F5F5F"/>
                </a:solidFill>
                <a:latin typeface="Tahoma"/>
              </a:rPr>
              <a:t>Nombre de nuitées par an et pour un séjour d’une semaine : </a:t>
            </a:r>
            <a:r>
              <a:rPr lang="fr-FR" sz="1200" b="1">
                <a:solidFill>
                  <a:srgbClr val="5F5F5F"/>
                </a:solidFill>
                <a:latin typeface="Tahoma"/>
              </a:rPr>
              <a:t>168 000</a:t>
            </a:r>
          </a:p>
        </p:txBody>
      </p:sp>
      <p:sp>
        <p:nvSpPr>
          <p:cNvPr id="35" name="Rectangle 34">
            <a:extLst>
              <a:ext uri="{FF2B5EF4-FFF2-40B4-BE49-F238E27FC236}">
                <a16:creationId xmlns:a16="http://schemas.microsoft.com/office/drawing/2014/main" id="{66059817-293A-447E-AC1D-043171C8A019}"/>
              </a:ext>
            </a:extLst>
          </p:cNvPr>
          <p:cNvSpPr>
            <a:spLocks/>
          </p:cNvSpPr>
          <p:nvPr/>
        </p:nvSpPr>
        <p:spPr>
          <a:xfrm>
            <a:off x="6342600" y="3125388"/>
            <a:ext cx="4367252" cy="3700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200">
                <a:solidFill>
                  <a:srgbClr val="5F5F5F"/>
                </a:solidFill>
                <a:latin typeface="Tahoma"/>
              </a:rPr>
              <a:t>Nombre de nuitées par an et pour un séjour d’une semaine :</a:t>
            </a:r>
            <a:r>
              <a:rPr lang="fr-FR" sz="1200" b="1">
                <a:solidFill>
                  <a:srgbClr val="5F5F5F"/>
                </a:solidFill>
                <a:latin typeface="Tahoma"/>
              </a:rPr>
              <a:t> 1 400 000 </a:t>
            </a:r>
          </a:p>
        </p:txBody>
      </p:sp>
      <p:sp>
        <p:nvSpPr>
          <p:cNvPr id="38" name="Rectangle 37">
            <a:extLst>
              <a:ext uri="{FF2B5EF4-FFF2-40B4-BE49-F238E27FC236}">
                <a16:creationId xmlns:a16="http://schemas.microsoft.com/office/drawing/2014/main" id="{2C9E8AB9-40CF-4A17-B695-8ED0CEB7A973}"/>
              </a:ext>
            </a:extLst>
          </p:cNvPr>
          <p:cNvSpPr>
            <a:spLocks/>
          </p:cNvSpPr>
          <p:nvPr/>
        </p:nvSpPr>
        <p:spPr>
          <a:xfrm>
            <a:off x="1495147" y="3586253"/>
            <a:ext cx="4367252" cy="3467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200" b="1">
                <a:solidFill>
                  <a:srgbClr val="5F5F5F"/>
                </a:solidFill>
                <a:latin typeface="Tahoma"/>
              </a:rPr>
              <a:t>Nombre d’établissements supplémentaires nécessaires : 5 </a:t>
            </a:r>
          </a:p>
        </p:txBody>
      </p:sp>
      <p:sp>
        <p:nvSpPr>
          <p:cNvPr id="39" name="Rectangle 38">
            <a:extLst>
              <a:ext uri="{FF2B5EF4-FFF2-40B4-BE49-F238E27FC236}">
                <a16:creationId xmlns:a16="http://schemas.microsoft.com/office/drawing/2014/main" id="{0C25D809-505E-4DA2-93DD-3258A6C3D414}"/>
              </a:ext>
            </a:extLst>
          </p:cNvPr>
          <p:cNvSpPr>
            <a:spLocks/>
          </p:cNvSpPr>
          <p:nvPr/>
        </p:nvSpPr>
        <p:spPr>
          <a:xfrm>
            <a:off x="6342600" y="3597734"/>
            <a:ext cx="4367252" cy="3700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200" b="1">
                <a:solidFill>
                  <a:srgbClr val="5F5F5F"/>
                </a:solidFill>
                <a:latin typeface="Tahoma"/>
              </a:rPr>
              <a:t>Nombre d’établissements supplémentaires nécessaires : 75 </a:t>
            </a:r>
          </a:p>
        </p:txBody>
      </p:sp>
      <p:sp>
        <p:nvSpPr>
          <p:cNvPr id="42" name="Triangle isocèle 41">
            <a:extLst>
              <a:ext uri="{FF2B5EF4-FFF2-40B4-BE49-F238E27FC236}">
                <a16:creationId xmlns:a16="http://schemas.microsoft.com/office/drawing/2014/main" id="{D782986E-92B2-4389-AC43-4793B2FF45E7}"/>
              </a:ext>
            </a:extLst>
          </p:cNvPr>
          <p:cNvSpPr/>
          <p:nvPr/>
        </p:nvSpPr>
        <p:spPr>
          <a:xfrm rot="10800000">
            <a:off x="8178861" y="4143002"/>
            <a:ext cx="1173562" cy="215505"/>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endParaRPr lang="fr-FR">
              <a:solidFill>
                <a:srgbClr val="503078"/>
              </a:solidFill>
              <a:latin typeface="Tahoma"/>
            </a:endParaRPr>
          </a:p>
        </p:txBody>
      </p:sp>
      <p:sp>
        <p:nvSpPr>
          <p:cNvPr id="43" name="Rectangle 42">
            <a:extLst>
              <a:ext uri="{FF2B5EF4-FFF2-40B4-BE49-F238E27FC236}">
                <a16:creationId xmlns:a16="http://schemas.microsoft.com/office/drawing/2014/main" id="{0591459E-D625-4E54-A725-44E4683CE2CE}"/>
              </a:ext>
            </a:extLst>
          </p:cNvPr>
          <p:cNvSpPr/>
          <p:nvPr/>
        </p:nvSpPr>
        <p:spPr>
          <a:xfrm>
            <a:off x="1356348" y="2176364"/>
            <a:ext cx="9479304" cy="1901977"/>
          </a:xfrm>
          <a:prstGeom prst="rect">
            <a:avLst/>
          </a:prstGeom>
          <a:noFill/>
          <a:ln w="38100" cap="flat" cmpd="sng" algn="ctr">
            <a:solidFill>
              <a:schemeClr val="tx1">
                <a:lumMod val="10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endParaRPr lang="fr-FR">
              <a:solidFill>
                <a:srgbClr val="503078"/>
              </a:solidFill>
              <a:latin typeface="Tahoma"/>
            </a:endParaRPr>
          </a:p>
        </p:txBody>
      </p:sp>
      <p:sp>
        <p:nvSpPr>
          <p:cNvPr id="45" name="Rectangle 44">
            <a:extLst>
              <a:ext uri="{FF2B5EF4-FFF2-40B4-BE49-F238E27FC236}">
                <a16:creationId xmlns:a16="http://schemas.microsoft.com/office/drawing/2014/main" id="{A79AC8FF-2E69-41C4-A8D6-3D78833DBD9E}"/>
              </a:ext>
            </a:extLst>
          </p:cNvPr>
          <p:cNvSpPr>
            <a:spLocks/>
          </p:cNvSpPr>
          <p:nvPr/>
        </p:nvSpPr>
        <p:spPr>
          <a:xfrm>
            <a:off x="1352739" y="887992"/>
            <a:ext cx="9518656" cy="120521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endParaRPr lang="fr-FR" sz="1400" b="1">
              <a:solidFill>
                <a:srgbClr val="FFFFFF"/>
              </a:solidFill>
              <a:latin typeface="Tahoma"/>
            </a:endParaRPr>
          </a:p>
        </p:txBody>
      </p:sp>
      <p:sp>
        <p:nvSpPr>
          <p:cNvPr id="46" name="Rectangle 45">
            <a:extLst>
              <a:ext uri="{FF2B5EF4-FFF2-40B4-BE49-F238E27FC236}">
                <a16:creationId xmlns:a16="http://schemas.microsoft.com/office/drawing/2014/main" id="{28B82452-120C-4BD9-9160-977034AF0B55}"/>
              </a:ext>
            </a:extLst>
          </p:cNvPr>
          <p:cNvSpPr>
            <a:spLocks/>
          </p:cNvSpPr>
          <p:nvPr/>
        </p:nvSpPr>
        <p:spPr>
          <a:xfrm>
            <a:off x="1392091" y="861669"/>
            <a:ext cx="4379952" cy="347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defRPr/>
            </a:pPr>
            <a:r>
              <a:rPr lang="fr-FR" sz="1200" b="1">
                <a:solidFill>
                  <a:srgbClr val="503078"/>
                </a:solidFill>
                <a:latin typeface="Tahoma"/>
              </a:rPr>
              <a:t>Hypothèses </a:t>
            </a:r>
            <a:endParaRPr lang="fr-FR" sz="1200">
              <a:solidFill>
                <a:srgbClr val="503078"/>
              </a:solidFill>
              <a:latin typeface="Tahoma"/>
            </a:endParaRPr>
          </a:p>
        </p:txBody>
      </p:sp>
      <p:sp>
        <p:nvSpPr>
          <p:cNvPr id="47" name="ZoneTexte 46">
            <a:extLst>
              <a:ext uri="{FF2B5EF4-FFF2-40B4-BE49-F238E27FC236}">
                <a16:creationId xmlns:a16="http://schemas.microsoft.com/office/drawing/2014/main" id="{9ACC2D8F-DEA1-4D40-A37B-6BD72B0DEDF5}"/>
              </a:ext>
            </a:extLst>
          </p:cNvPr>
          <p:cNvSpPr txBox="1"/>
          <p:nvPr/>
        </p:nvSpPr>
        <p:spPr>
          <a:xfrm>
            <a:off x="1518040" y="1156438"/>
            <a:ext cx="9278260" cy="938719"/>
          </a:xfrm>
          <a:prstGeom prst="rect">
            <a:avLst/>
          </a:prstGeom>
          <a:noFill/>
        </p:spPr>
        <p:txBody>
          <a:bodyPr wrap="square">
            <a:spAutoFit/>
          </a:bodyPr>
          <a:lstStyle/>
          <a:p>
            <a:pPr marL="171450" indent="-171450" algn="just">
              <a:buClr>
                <a:srgbClr val="503078"/>
              </a:buClr>
              <a:buFont typeface="Tahoma" panose="020B0604030504040204" pitchFamily="34" charset="0"/>
              <a:buChar char="⁄"/>
              <a:defRPr/>
            </a:pPr>
            <a:r>
              <a:rPr lang="fr-FR" sz="1100" b="1">
                <a:solidFill>
                  <a:srgbClr val="5F5F5F"/>
                </a:solidFill>
                <a:latin typeface="Tahoma"/>
              </a:rPr>
              <a:t>Nombre de binômes aidants – aidés </a:t>
            </a:r>
            <a:r>
              <a:rPr lang="fr-FR" sz="1100">
                <a:solidFill>
                  <a:srgbClr val="5F5F5F"/>
                </a:solidFill>
                <a:latin typeface="Tahoma"/>
              </a:rPr>
              <a:t>: 1 000 000 (prise en compte des données sur les bénéficiaires de l’APA et l’AAH)</a:t>
            </a:r>
          </a:p>
          <a:p>
            <a:pPr marL="171450" indent="-171450" algn="just">
              <a:buClr>
                <a:srgbClr val="503078"/>
              </a:buClr>
              <a:buFont typeface="Tahoma" panose="020B0604030504040204" pitchFamily="34" charset="0"/>
              <a:buChar char="⁄"/>
              <a:defRPr/>
            </a:pPr>
            <a:r>
              <a:rPr lang="fr-FR" sz="1100" b="1">
                <a:solidFill>
                  <a:srgbClr val="5F5F5F"/>
                </a:solidFill>
                <a:latin typeface="Tahoma"/>
              </a:rPr>
              <a:t>Nombre de nuitées pour un séjour : </a:t>
            </a:r>
            <a:r>
              <a:rPr lang="fr-FR" sz="1100">
                <a:solidFill>
                  <a:srgbClr val="5F5F5F"/>
                </a:solidFill>
                <a:latin typeface="Tahoma"/>
              </a:rPr>
              <a:t>7 nuitées</a:t>
            </a:r>
          </a:p>
          <a:p>
            <a:pPr marL="171450" indent="-171450" algn="just">
              <a:buClr>
                <a:srgbClr val="503078"/>
              </a:buClr>
              <a:buFont typeface="Tahoma" panose="020B0604030504040204" pitchFamily="34" charset="0"/>
              <a:buChar char="⁄"/>
              <a:defRPr/>
            </a:pPr>
            <a:r>
              <a:rPr lang="fr-FR" sz="1100" b="1">
                <a:solidFill>
                  <a:srgbClr val="5F5F5F"/>
                </a:solidFill>
                <a:latin typeface="Tahoma"/>
              </a:rPr>
              <a:t>Taux d’occupation cible annuel </a:t>
            </a:r>
            <a:r>
              <a:rPr lang="fr-FR" sz="1100">
                <a:solidFill>
                  <a:srgbClr val="5F5F5F"/>
                </a:solidFill>
                <a:latin typeface="Tahoma"/>
              </a:rPr>
              <a:t>: 80% sur l’année</a:t>
            </a:r>
          </a:p>
          <a:p>
            <a:pPr marL="171450" indent="-171450" algn="just">
              <a:buClr>
                <a:srgbClr val="503078"/>
              </a:buClr>
              <a:buFont typeface="Tahoma" panose="020B0604030504040204" pitchFamily="34" charset="0"/>
              <a:buChar char="⁄"/>
              <a:defRPr/>
            </a:pPr>
            <a:r>
              <a:rPr lang="fr-FR" sz="1100" b="1">
                <a:solidFill>
                  <a:srgbClr val="5F5F5F"/>
                </a:solidFill>
                <a:latin typeface="Tahoma"/>
              </a:rPr>
              <a:t>Nombre de places par établissements </a:t>
            </a:r>
            <a:r>
              <a:rPr lang="fr-FR" sz="1100">
                <a:solidFill>
                  <a:srgbClr val="5F5F5F"/>
                </a:solidFill>
                <a:latin typeface="Tahoma"/>
              </a:rPr>
              <a:t>: 75 pour les établissements existants (soit environ 38 couples aidant – aidé) et 120 (soit 60 couples aidant – aidé) pour les établissements cibles (modèle revu d’après les retours d’expérience) </a:t>
            </a:r>
          </a:p>
        </p:txBody>
      </p:sp>
    </p:spTree>
    <p:extLst>
      <p:ext uri="{BB962C8B-B14F-4D97-AF65-F5344CB8AC3E}">
        <p14:creationId xmlns:p14="http://schemas.microsoft.com/office/powerpoint/2010/main" val="17893876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45E749-14D8-42BA-A566-C272C57C4B42}"/>
              </a:ext>
            </a:extLst>
          </p:cNvPr>
          <p:cNvSpPr>
            <a:spLocks noGrp="1"/>
          </p:cNvSpPr>
          <p:nvPr>
            <p:ph type="title"/>
          </p:nvPr>
        </p:nvSpPr>
        <p:spPr/>
        <p:txBody>
          <a:bodyPr/>
          <a:lstStyle/>
          <a:p>
            <a:r>
              <a:rPr lang="fr-FR"/>
              <a:t>Synthèse et recommandations</a:t>
            </a:r>
          </a:p>
        </p:txBody>
      </p:sp>
      <p:sp>
        <p:nvSpPr>
          <p:cNvPr id="3" name="Espace réservé du texte 2">
            <a:extLst>
              <a:ext uri="{FF2B5EF4-FFF2-40B4-BE49-F238E27FC236}">
                <a16:creationId xmlns:a16="http://schemas.microsoft.com/office/drawing/2014/main" id="{56CE6F7E-B7E2-4D0A-84E0-E9105A72B01A}"/>
              </a:ext>
            </a:extLst>
          </p:cNvPr>
          <p:cNvSpPr>
            <a:spLocks noGrp="1"/>
          </p:cNvSpPr>
          <p:nvPr>
            <p:ph type="body" sz="quarter" idx="38"/>
          </p:nvPr>
        </p:nvSpPr>
        <p:spPr/>
        <p:txBody>
          <a:bodyPr/>
          <a:lstStyle/>
          <a:p>
            <a:r>
              <a:rPr lang="fr-FR"/>
              <a:t>04</a:t>
            </a:r>
          </a:p>
        </p:txBody>
      </p:sp>
    </p:spTree>
    <p:extLst>
      <p:ext uri="{BB962C8B-B14F-4D97-AF65-F5344CB8AC3E}">
        <p14:creationId xmlns:p14="http://schemas.microsoft.com/office/powerpoint/2010/main" val="35555180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D68BFD8B-7B33-40F6-8901-F387D6F073E1}"/>
              </a:ext>
            </a:extLst>
          </p:cNvPr>
          <p:cNvSpPr/>
          <p:nvPr/>
        </p:nvSpPr>
        <p:spPr>
          <a:xfrm>
            <a:off x="8926212" y="5733027"/>
            <a:ext cx="2122788" cy="11272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55" name="Espace réservé du contenu 3">
            <a:extLst>
              <a:ext uri="{FF2B5EF4-FFF2-40B4-BE49-F238E27FC236}">
                <a16:creationId xmlns:a16="http://schemas.microsoft.com/office/drawing/2014/main" id="{BBACA689-0CA4-45C4-96AB-69361AD68E6B}"/>
              </a:ext>
            </a:extLst>
          </p:cNvPr>
          <p:cNvSpPr txBox="1">
            <a:spLocks/>
          </p:cNvSpPr>
          <p:nvPr/>
        </p:nvSpPr>
        <p:spPr>
          <a:xfrm>
            <a:off x="1340364" y="3758905"/>
            <a:ext cx="3114234" cy="3007277"/>
          </a:xfrm>
          <a:prstGeom prst="rect">
            <a:avLst/>
          </a:prstGeom>
          <a:ln w="9525">
            <a:solidFill>
              <a:schemeClr val="bg2"/>
            </a:solidFill>
          </a:ln>
        </p:spPr>
        <p:txBody>
          <a:bodyPr lIns="108000" tIns="108000" rIns="108000" bIns="10800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sz="900" b="1">
                <a:solidFill>
                  <a:srgbClr val="503078"/>
                </a:solidFill>
                <a:latin typeface="Tahoma"/>
              </a:rPr>
              <a:t>Structure du centre associée à des ESMS existants</a:t>
            </a:r>
          </a:p>
          <a:p>
            <a:pPr lvl="1">
              <a:spcBef>
                <a:spcPts val="300"/>
              </a:spcBef>
              <a:buClr>
                <a:srgbClr val="503078"/>
              </a:buClr>
            </a:pPr>
            <a:r>
              <a:rPr lang="fr-FR" sz="900">
                <a:solidFill>
                  <a:srgbClr val="5F5F5F"/>
                </a:solidFill>
                <a:latin typeface="Tahoma"/>
              </a:rPr>
              <a:t>Acquisition du terrain / de l’immobilier et coûts des travaux financés par les porteurs de projets</a:t>
            </a:r>
          </a:p>
          <a:p>
            <a:pPr lvl="1">
              <a:spcBef>
                <a:spcPts val="300"/>
              </a:spcBef>
              <a:buClr>
                <a:srgbClr val="503078"/>
              </a:buClr>
            </a:pPr>
            <a:r>
              <a:rPr lang="fr-FR" sz="900">
                <a:solidFill>
                  <a:srgbClr val="5F5F5F"/>
                </a:solidFill>
                <a:latin typeface="Tahoma"/>
              </a:rPr>
              <a:t>Mutualisation des coûts de personnel médico-social avec l’ESMS</a:t>
            </a:r>
          </a:p>
          <a:p>
            <a:pPr lvl="1">
              <a:spcBef>
                <a:spcPts val="300"/>
              </a:spcBef>
              <a:buClr>
                <a:srgbClr val="503078"/>
              </a:buClr>
            </a:pPr>
            <a:r>
              <a:rPr lang="fr-FR" sz="900">
                <a:solidFill>
                  <a:srgbClr val="5F5F5F"/>
                </a:solidFill>
                <a:latin typeface="Tahoma"/>
              </a:rPr>
              <a:t>Possibilité de recourir à un GCSMS</a:t>
            </a:r>
          </a:p>
          <a:p>
            <a:pPr lvl="1">
              <a:spcBef>
                <a:spcPts val="300"/>
              </a:spcBef>
              <a:buClr>
                <a:srgbClr val="503078"/>
              </a:buClr>
            </a:pPr>
            <a:r>
              <a:rPr lang="fr-FR" sz="900">
                <a:solidFill>
                  <a:srgbClr val="5F5F5F"/>
                </a:solidFill>
                <a:latin typeface="Tahoma"/>
              </a:rPr>
              <a:t>Places d’HT financées par l’ARS</a:t>
            </a:r>
          </a:p>
          <a:p>
            <a:pPr lvl="1">
              <a:spcBef>
                <a:spcPts val="300"/>
              </a:spcBef>
              <a:buClr>
                <a:srgbClr val="503078"/>
              </a:buClr>
            </a:pPr>
            <a:r>
              <a:rPr lang="fr-FR" sz="900">
                <a:solidFill>
                  <a:srgbClr val="5F5F5F"/>
                </a:solidFill>
                <a:latin typeface="Tahoma"/>
              </a:rPr>
              <a:t>Capacité d’accueil fixe et ouverture tout au long de l’année </a:t>
            </a:r>
          </a:p>
          <a:p>
            <a:pPr lvl="1">
              <a:spcBef>
                <a:spcPts val="300"/>
              </a:spcBef>
              <a:buClr>
                <a:srgbClr val="503078"/>
              </a:buClr>
            </a:pPr>
            <a:endParaRPr lang="fr-FR" sz="1000">
              <a:solidFill>
                <a:srgbClr val="5F5F5F"/>
              </a:solidFill>
              <a:latin typeface="Tahoma"/>
            </a:endParaRPr>
          </a:p>
          <a:p>
            <a:pPr marL="0" lvl="1" indent="0">
              <a:buClr>
                <a:srgbClr val="503078"/>
              </a:buClr>
              <a:buNone/>
            </a:pPr>
            <a:endParaRPr lang="fr-FR" sz="1000">
              <a:solidFill>
                <a:srgbClr val="5F5F5F"/>
              </a:solidFill>
              <a:latin typeface="Tahoma"/>
            </a:endParaRPr>
          </a:p>
          <a:p>
            <a:pPr marL="0" lvl="1" indent="0">
              <a:buClr>
                <a:srgbClr val="503078"/>
              </a:buClr>
              <a:buNone/>
            </a:pPr>
            <a:endParaRPr lang="fr-FR" sz="1000">
              <a:solidFill>
                <a:srgbClr val="5F5F5F"/>
              </a:solidFill>
              <a:latin typeface="Tahoma"/>
            </a:endParaRPr>
          </a:p>
          <a:p>
            <a:pPr marL="0" lvl="1" indent="0">
              <a:buClr>
                <a:srgbClr val="503078"/>
              </a:buClr>
              <a:buNone/>
            </a:pPr>
            <a:endParaRPr lang="fr-FR" sz="1000">
              <a:solidFill>
                <a:srgbClr val="5F5F5F"/>
              </a:solidFill>
              <a:latin typeface="Tahoma"/>
            </a:endParaRPr>
          </a:p>
          <a:p>
            <a:pPr marL="0" lvl="1" indent="0">
              <a:buClr>
                <a:srgbClr val="503078"/>
              </a:buClr>
              <a:buNone/>
            </a:pPr>
            <a:endParaRPr lang="fr-FR" sz="1000">
              <a:solidFill>
                <a:srgbClr val="5F5F5F"/>
              </a:solidFill>
              <a:latin typeface="Tahoma"/>
            </a:endParaRPr>
          </a:p>
          <a:p>
            <a:pPr lvl="1">
              <a:buClr>
                <a:srgbClr val="503078"/>
              </a:buClr>
            </a:pPr>
            <a:endParaRPr lang="fr-FR" sz="1000">
              <a:solidFill>
                <a:srgbClr val="5F5F5F"/>
              </a:solidFill>
              <a:latin typeface="Tahoma"/>
            </a:endParaRPr>
          </a:p>
          <a:p>
            <a:pPr lvl="1">
              <a:buClr>
                <a:srgbClr val="503078"/>
              </a:buClr>
            </a:pPr>
            <a:endParaRPr lang="fr-FR" sz="1000">
              <a:solidFill>
                <a:srgbClr val="5F5F5F"/>
              </a:solidFill>
              <a:latin typeface="Tahoma"/>
            </a:endParaRPr>
          </a:p>
        </p:txBody>
      </p:sp>
      <p:sp>
        <p:nvSpPr>
          <p:cNvPr id="2" name="Titre 1">
            <a:extLst>
              <a:ext uri="{FF2B5EF4-FFF2-40B4-BE49-F238E27FC236}">
                <a16:creationId xmlns:a16="http://schemas.microsoft.com/office/drawing/2014/main" id="{BDA71271-7836-40F0-858C-8C7824762A59}"/>
              </a:ext>
            </a:extLst>
          </p:cNvPr>
          <p:cNvSpPr>
            <a:spLocks noGrp="1"/>
          </p:cNvSpPr>
          <p:nvPr>
            <p:ph type="title"/>
          </p:nvPr>
        </p:nvSpPr>
        <p:spPr/>
        <p:txBody>
          <a:bodyPr/>
          <a:lstStyle/>
          <a:p>
            <a:r>
              <a:rPr lang="fr-FR"/>
              <a:t>Synthèse des modèles opérationnels</a:t>
            </a:r>
          </a:p>
        </p:txBody>
      </p:sp>
      <p:sp>
        <p:nvSpPr>
          <p:cNvPr id="3" name="Espace réservé du texte 2">
            <a:extLst>
              <a:ext uri="{FF2B5EF4-FFF2-40B4-BE49-F238E27FC236}">
                <a16:creationId xmlns:a16="http://schemas.microsoft.com/office/drawing/2014/main" id="{7C731CB0-3268-431B-BDCE-0253EC631668}"/>
              </a:ext>
            </a:extLst>
          </p:cNvPr>
          <p:cNvSpPr>
            <a:spLocks noGrp="1"/>
          </p:cNvSpPr>
          <p:nvPr>
            <p:ph type="body" sz="quarter" idx="13"/>
          </p:nvPr>
        </p:nvSpPr>
        <p:spPr/>
        <p:txBody>
          <a:bodyPr/>
          <a:lstStyle/>
          <a:p>
            <a:r>
              <a:rPr lang="fr-FR"/>
              <a:t>Synthèse et recommandations</a:t>
            </a:r>
          </a:p>
        </p:txBody>
      </p:sp>
      <p:grpSp>
        <p:nvGrpSpPr>
          <p:cNvPr id="46" name="Group 2">
            <a:extLst>
              <a:ext uri="{FF2B5EF4-FFF2-40B4-BE49-F238E27FC236}">
                <a16:creationId xmlns:a16="http://schemas.microsoft.com/office/drawing/2014/main" id="{F79F9C41-2C1F-4128-89AE-26C0FC4BED64}"/>
              </a:ext>
            </a:extLst>
          </p:cNvPr>
          <p:cNvGrpSpPr/>
          <p:nvPr/>
        </p:nvGrpSpPr>
        <p:grpSpPr>
          <a:xfrm>
            <a:off x="1340365" y="886849"/>
            <a:ext cx="9585733" cy="2011546"/>
            <a:chOff x="606519" y="-1436916"/>
            <a:chExt cx="8760288" cy="1759083"/>
          </a:xfrm>
        </p:grpSpPr>
        <p:sp>
          <p:nvSpPr>
            <p:cNvPr id="57" name="Espace réservé du contenu 3">
              <a:extLst>
                <a:ext uri="{FF2B5EF4-FFF2-40B4-BE49-F238E27FC236}">
                  <a16:creationId xmlns:a16="http://schemas.microsoft.com/office/drawing/2014/main" id="{A41A0C45-937F-43D0-8854-F09D1C93DC2A}"/>
                </a:ext>
              </a:extLst>
            </p:cNvPr>
            <p:cNvSpPr txBox="1">
              <a:spLocks/>
            </p:cNvSpPr>
            <p:nvPr/>
          </p:nvSpPr>
          <p:spPr>
            <a:xfrm>
              <a:off x="606519" y="-1122216"/>
              <a:ext cx="8760288" cy="1444383"/>
            </a:xfrm>
            <a:prstGeom prst="rect">
              <a:avLst/>
            </a:prstGeom>
            <a:ln w="9525">
              <a:solidFill>
                <a:schemeClr val="bg2"/>
              </a:solidFill>
            </a:ln>
          </p:spPr>
          <p:txBody>
            <a:bodyPr lIns="108000" tIns="108000" rIns="108000" bIns="10800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sz="900" b="1">
                  <a:solidFill>
                    <a:srgbClr val="503078"/>
                  </a:solidFill>
                  <a:latin typeface="Tahoma"/>
                </a:rPr>
                <a:t>Investissement et exploitation </a:t>
              </a:r>
              <a:r>
                <a:rPr lang="fr-FR" sz="900" b="1" kern="0">
                  <a:solidFill>
                    <a:srgbClr val="503078"/>
                  </a:solidFill>
                  <a:latin typeface="Tahoma"/>
                </a:rPr>
                <a:t>portés ou </a:t>
              </a:r>
              <a:r>
                <a:rPr lang="fr-FR" sz="900" b="1" kern="0" err="1">
                  <a:solidFill>
                    <a:srgbClr val="503078"/>
                  </a:solidFill>
                  <a:latin typeface="Tahoma"/>
                </a:rPr>
                <a:t>co</a:t>
              </a:r>
              <a:r>
                <a:rPr lang="fr-FR" sz="900" b="1" kern="0">
                  <a:solidFill>
                    <a:srgbClr val="503078"/>
                  </a:solidFill>
                  <a:latin typeface="Tahoma"/>
                </a:rPr>
                <a:t>-portés par les mêmes acteurs (associations, groupes de protection sociale) </a:t>
              </a:r>
              <a:endParaRPr lang="fr-FR" sz="900" b="1">
                <a:solidFill>
                  <a:srgbClr val="503078"/>
                </a:solidFill>
                <a:latin typeface="Tahoma"/>
              </a:endParaRPr>
            </a:p>
            <a:p>
              <a:pPr lvl="1">
                <a:spcBef>
                  <a:spcPts val="300"/>
                </a:spcBef>
                <a:buClr>
                  <a:srgbClr val="503078"/>
                </a:buClr>
              </a:pPr>
              <a:r>
                <a:rPr lang="fr-FR" sz="900">
                  <a:solidFill>
                    <a:srgbClr val="5F5F5F"/>
                  </a:solidFill>
                  <a:latin typeface="Tahoma"/>
                </a:rPr>
                <a:t>Acquisition du terrain / de l’immobilier et coûts des travaux financés par les porteurs de projet </a:t>
              </a:r>
            </a:p>
            <a:p>
              <a:pPr lvl="1">
                <a:spcBef>
                  <a:spcPts val="300"/>
                </a:spcBef>
                <a:buClr>
                  <a:srgbClr val="503078"/>
                </a:buClr>
              </a:pPr>
              <a:r>
                <a:rPr lang="fr-FR" sz="900">
                  <a:solidFill>
                    <a:srgbClr val="5F5F5F"/>
                  </a:solidFill>
                  <a:latin typeface="Tahoma"/>
                </a:rPr>
                <a:t>Des approches différentes en termes d’accompagnement médico-social (internalisation totale ou partielle – VRF, externalisation (Centre les Bruyères – Domaine Porte Neuve)</a:t>
              </a:r>
            </a:p>
            <a:p>
              <a:pPr lvl="1">
                <a:spcBef>
                  <a:spcPts val="300"/>
                </a:spcBef>
                <a:buClr>
                  <a:srgbClr val="503078"/>
                </a:buClr>
              </a:pPr>
              <a:r>
                <a:rPr lang="fr-FR" sz="900">
                  <a:solidFill>
                    <a:srgbClr val="5F5F5F"/>
                  </a:solidFill>
                  <a:latin typeface="Tahoma"/>
                </a:rPr>
                <a:t>Une capacité d’accueil fixe et une ouverture tout au long de l’année (séjours d’une à deux semaines en moyenne) </a:t>
              </a:r>
            </a:p>
            <a:p>
              <a:pPr lvl="1">
                <a:spcBef>
                  <a:spcPts val="300"/>
                </a:spcBef>
                <a:buClr>
                  <a:srgbClr val="503078"/>
                </a:buClr>
              </a:pPr>
              <a:r>
                <a:rPr lang="fr-FR" sz="900">
                  <a:solidFill>
                    <a:srgbClr val="5F5F5F"/>
                  </a:solidFill>
                  <a:latin typeface="Tahoma"/>
                </a:rPr>
                <a:t>Une offre d’hébergement, de restauration et d’animation complète et personnalisée selon les besoins et souhaits des vacanciers</a:t>
              </a:r>
            </a:p>
          </p:txBody>
        </p:sp>
        <p:sp>
          <p:nvSpPr>
            <p:cNvPr id="58" name="Rectangle 19">
              <a:extLst>
                <a:ext uri="{FF2B5EF4-FFF2-40B4-BE49-F238E27FC236}">
                  <a16:creationId xmlns:a16="http://schemas.microsoft.com/office/drawing/2014/main" id="{CC975D44-0845-4374-8E4C-D92933D734AC}"/>
                </a:ext>
              </a:extLst>
            </p:cNvPr>
            <p:cNvSpPr>
              <a:spLocks noChangeArrowheads="1"/>
            </p:cNvSpPr>
            <p:nvPr/>
          </p:nvSpPr>
          <p:spPr bwMode="gray">
            <a:xfrm>
              <a:off x="606519" y="-1436916"/>
              <a:ext cx="8760288" cy="310207"/>
            </a:xfrm>
            <a:prstGeom prst="rect">
              <a:avLst/>
            </a:prstGeom>
            <a:solidFill>
              <a:schemeClr val="bg2"/>
            </a:solidFill>
            <a:ln w="9525" algn="ctr">
              <a:solidFill>
                <a:schemeClr val="bg2"/>
              </a:solidFill>
              <a:miter lim="800000"/>
              <a:headEnd/>
              <a:tailEnd/>
            </a:ln>
            <a:effectLst/>
          </p:spPr>
          <p:txBody>
            <a:bodyPr lIns="0" tIns="0" rIns="0" bIns="0" anchor="ctr"/>
            <a:lstStyle/>
            <a:p>
              <a:pPr algn="ctr" defTabSz="801688" eaLnBrk="0" hangingPunct="0">
                <a:defRPr/>
              </a:pPr>
              <a:r>
                <a:rPr lang="fr-FR" sz="1100" b="1" noProof="1">
                  <a:solidFill>
                    <a:srgbClr val="FFFFFF"/>
                  </a:solidFill>
                  <a:latin typeface="Tahoma"/>
                  <a:cs typeface="Arial" charset="0"/>
                </a:rPr>
                <a:t>1. Le modèle traditionnellement expérimenté : les villages-vacances aidants / aidés « autonomes »</a:t>
              </a:r>
            </a:p>
            <a:p>
              <a:pPr algn="ctr" defTabSz="801688" eaLnBrk="0" hangingPunct="0">
                <a:defRPr/>
              </a:pPr>
              <a:r>
                <a:rPr lang="fr-FR" sz="1050" i="1">
                  <a:solidFill>
                    <a:srgbClr val="FFFFFF"/>
                  </a:solidFill>
                  <a:latin typeface="Tahoma"/>
                </a:rPr>
                <a:t>VRF Touraine, Centre Les Bruyères, Le Domaine Porte Neuve (MGEN)</a:t>
              </a:r>
              <a:endParaRPr lang="fr-FR" sz="1050" b="1" noProof="1">
                <a:solidFill>
                  <a:srgbClr val="FFFFFF"/>
                </a:solidFill>
                <a:latin typeface="Tahoma"/>
                <a:cs typeface="Arial" charset="0"/>
              </a:endParaRPr>
            </a:p>
          </p:txBody>
        </p:sp>
      </p:grpSp>
      <p:sp>
        <p:nvSpPr>
          <p:cNvPr id="18" name="ZoneTexte 17">
            <a:extLst>
              <a:ext uri="{FF2B5EF4-FFF2-40B4-BE49-F238E27FC236}">
                <a16:creationId xmlns:a16="http://schemas.microsoft.com/office/drawing/2014/main" id="{F8A6D146-2C20-425D-91C8-BAEA7AC6B9D3}"/>
              </a:ext>
            </a:extLst>
          </p:cNvPr>
          <p:cNvSpPr txBox="1"/>
          <p:nvPr/>
        </p:nvSpPr>
        <p:spPr>
          <a:xfrm>
            <a:off x="6462095" y="2279401"/>
            <a:ext cx="4464000" cy="484748"/>
          </a:xfrm>
          <a:prstGeom prst="rect">
            <a:avLst/>
          </a:prstGeom>
          <a:noFill/>
        </p:spPr>
        <p:txBody>
          <a:bodyPr wrap="square">
            <a:spAutoFit/>
          </a:bodyPr>
          <a:lstStyle>
            <a:defPPr>
              <a:defRPr lang="en-US"/>
            </a:defPPr>
            <a:lvl2pPr marL="257175" marR="0" lvl="1" indent="-171450" fontAlgn="auto">
              <a:lnSpc>
                <a:spcPct val="100000"/>
              </a:lnSpc>
              <a:spcBef>
                <a:spcPts val="0"/>
              </a:spcBef>
              <a:spcAft>
                <a:spcPts val="0"/>
              </a:spcAft>
              <a:buClrTx/>
              <a:buSzTx/>
              <a:buFont typeface="Arial" panose="020B0604020202020204" pitchFamily="34" charset="0"/>
              <a:buChar char="•"/>
              <a:tabLst/>
              <a:defRPr sz="850"/>
            </a:lvl2pPr>
          </a:lstStyle>
          <a:p>
            <a:pPr lvl="1"/>
            <a:r>
              <a:rPr lang="fr-FR">
                <a:solidFill>
                  <a:srgbClr val="5F5F5F"/>
                </a:solidFill>
                <a:latin typeface="Tahoma"/>
              </a:rPr>
              <a:t>Equilibre économique difficile à atteindre (effet de saisonnalité, taux d’occupation incertain, poids de l’emprunt bancaire)</a:t>
            </a:r>
          </a:p>
          <a:p>
            <a:pPr lvl="1"/>
            <a:r>
              <a:rPr lang="fr-FR">
                <a:solidFill>
                  <a:srgbClr val="5F5F5F"/>
                </a:solidFill>
                <a:latin typeface="Tahoma"/>
              </a:rPr>
              <a:t>Difficultés d’obtention des places HT et de recrutement de personnels</a:t>
            </a:r>
          </a:p>
        </p:txBody>
      </p:sp>
      <p:sp>
        <p:nvSpPr>
          <p:cNvPr id="25" name="ZoneTexte 24">
            <a:extLst>
              <a:ext uri="{FF2B5EF4-FFF2-40B4-BE49-F238E27FC236}">
                <a16:creationId xmlns:a16="http://schemas.microsoft.com/office/drawing/2014/main" id="{DEE8290A-2376-46E5-9500-325613090199}"/>
              </a:ext>
            </a:extLst>
          </p:cNvPr>
          <p:cNvSpPr txBox="1"/>
          <p:nvPr/>
        </p:nvSpPr>
        <p:spPr>
          <a:xfrm>
            <a:off x="1821747" y="2271686"/>
            <a:ext cx="4120843" cy="746358"/>
          </a:xfrm>
          <a:prstGeom prst="rect">
            <a:avLst/>
          </a:prstGeom>
          <a:noFill/>
        </p:spPr>
        <p:txBody>
          <a:bodyPr wrap="square">
            <a:spAutoFit/>
          </a:bodyPr>
          <a:lstStyle/>
          <a:p>
            <a:pPr marL="257175" lvl="1" indent="-171450">
              <a:buFont typeface="Arial" panose="020B0604020202020204" pitchFamily="34" charset="0"/>
              <a:buChar char="•"/>
              <a:defRPr/>
            </a:pPr>
            <a:r>
              <a:rPr lang="fr-FR" sz="850">
                <a:solidFill>
                  <a:srgbClr val="5F5F5F"/>
                </a:solidFill>
                <a:latin typeface="Tahoma"/>
              </a:rPr>
              <a:t>Lieu dédié à la prise en charge des besoins de l’aidé et de l’aidant (continuité et adaptation de l’accompagnement, activités,…)</a:t>
            </a:r>
          </a:p>
          <a:p>
            <a:pPr marL="257175" lvl="1" indent="-171450">
              <a:buFont typeface="Arial" panose="020B0604020202020204" pitchFamily="34" charset="0"/>
              <a:buChar char="•"/>
              <a:defRPr/>
            </a:pPr>
            <a:r>
              <a:rPr lang="fr-FR" sz="850">
                <a:solidFill>
                  <a:srgbClr val="5F5F5F"/>
                </a:solidFill>
                <a:latin typeface="Tahoma"/>
              </a:rPr>
              <a:t>Séjours personnalisés</a:t>
            </a:r>
          </a:p>
          <a:p>
            <a:pPr marL="257175" lvl="1" indent="-171450">
              <a:buFont typeface="Arial" panose="020B0604020202020204" pitchFamily="34" charset="0"/>
              <a:buChar char="•"/>
              <a:defRPr/>
            </a:pPr>
            <a:r>
              <a:rPr lang="fr-FR" sz="850">
                <a:solidFill>
                  <a:srgbClr val="5F5F5F"/>
                </a:solidFill>
                <a:latin typeface="Tahoma"/>
              </a:rPr>
              <a:t>Permanence de l’offre (séjours accessibles tout au long de l’année) </a:t>
            </a:r>
          </a:p>
          <a:p>
            <a:pPr marL="85725" lvl="1">
              <a:defRPr/>
            </a:pPr>
            <a:endParaRPr lang="fr-FR" sz="850">
              <a:solidFill>
                <a:srgbClr val="5F5F5F"/>
              </a:solidFill>
              <a:latin typeface="Tahoma"/>
            </a:endParaRPr>
          </a:p>
        </p:txBody>
      </p:sp>
      <p:sp>
        <p:nvSpPr>
          <p:cNvPr id="8" name="ZoneTexte 7">
            <a:extLst>
              <a:ext uri="{FF2B5EF4-FFF2-40B4-BE49-F238E27FC236}">
                <a16:creationId xmlns:a16="http://schemas.microsoft.com/office/drawing/2014/main" id="{4BE45D67-F65F-4191-B103-57A14C4BF5E7}"/>
              </a:ext>
            </a:extLst>
          </p:cNvPr>
          <p:cNvSpPr txBox="1"/>
          <p:nvPr/>
        </p:nvSpPr>
        <p:spPr>
          <a:xfrm>
            <a:off x="1143000" y="2941534"/>
            <a:ext cx="9906000" cy="307777"/>
          </a:xfrm>
          <a:prstGeom prst="rect">
            <a:avLst/>
          </a:prstGeom>
          <a:noFill/>
        </p:spPr>
        <p:txBody>
          <a:bodyPr wrap="square" lIns="108000" rIns="108000" rtlCol="0">
            <a:spAutoFit/>
          </a:bodyPr>
          <a:lstStyle/>
          <a:p>
            <a:pPr algn="ctr"/>
            <a:r>
              <a:rPr lang="fr-FR" sz="1400" b="1">
                <a:solidFill>
                  <a:srgbClr val="503078"/>
                </a:solidFill>
                <a:latin typeface="Calibri" panose="020F0502020204030204" pitchFamily="34" charset="0"/>
                <a:cs typeface="Calibri" panose="020F0502020204030204" pitchFamily="34" charset="0"/>
              </a:rPr>
              <a:t>Les retours d’expérience du « village-vacances autonome » ont fait émerger de nouveaux modèles, centrés sur la mutualisation.</a:t>
            </a:r>
          </a:p>
        </p:txBody>
      </p:sp>
      <p:grpSp>
        <p:nvGrpSpPr>
          <p:cNvPr id="27" name="Groupe 26">
            <a:extLst>
              <a:ext uri="{FF2B5EF4-FFF2-40B4-BE49-F238E27FC236}">
                <a16:creationId xmlns:a16="http://schemas.microsoft.com/office/drawing/2014/main" id="{02D19457-BB12-4B56-B538-8E7AC96A32CD}"/>
              </a:ext>
            </a:extLst>
          </p:cNvPr>
          <p:cNvGrpSpPr/>
          <p:nvPr/>
        </p:nvGrpSpPr>
        <p:grpSpPr>
          <a:xfrm>
            <a:off x="1393069" y="2282240"/>
            <a:ext cx="465368" cy="481256"/>
            <a:chOff x="10305998" y="1485211"/>
            <a:chExt cx="801926" cy="781795"/>
          </a:xfrm>
        </p:grpSpPr>
        <p:sp>
          <p:nvSpPr>
            <p:cNvPr id="28" name="Oval 4">
              <a:extLst>
                <a:ext uri="{FF2B5EF4-FFF2-40B4-BE49-F238E27FC236}">
                  <a16:creationId xmlns:a16="http://schemas.microsoft.com/office/drawing/2014/main" id="{C208F728-EFB9-44B1-A044-FBF6491F2190}"/>
                </a:ext>
              </a:extLst>
            </p:cNvPr>
            <p:cNvSpPr/>
            <p:nvPr/>
          </p:nvSpPr>
          <p:spPr>
            <a:xfrm>
              <a:off x="10305998" y="1485211"/>
              <a:ext cx="801926" cy="781795"/>
            </a:xfrm>
            <a:prstGeom prst="ellipse">
              <a:avLst/>
            </a:prstGeom>
            <a:solidFill>
              <a:srgbClr val="92D050">
                <a:alpha val="34000"/>
              </a:srgbClr>
            </a:solidFill>
            <a:ln>
              <a:noFill/>
            </a:ln>
            <a:effectLst/>
          </p:spPr>
          <p:txBody>
            <a:bodyPr lIns="108000" rIns="36000" anchor="t"/>
            <a:lstStyle/>
            <a:p>
              <a:pPr defTabSz="457200">
                <a:spcBef>
                  <a:spcPts val="600"/>
                </a:spcBef>
                <a:defRPr/>
              </a:pPr>
              <a:endParaRPr lang="fr-FR" sz="1400" kern="0">
                <a:solidFill>
                  <a:prstClr val="black"/>
                </a:solidFill>
                <a:latin typeface="Tahoma"/>
              </a:endParaRPr>
            </a:p>
          </p:txBody>
        </p:sp>
        <p:sp>
          <p:nvSpPr>
            <p:cNvPr id="29" name="Plus 5">
              <a:extLst>
                <a:ext uri="{FF2B5EF4-FFF2-40B4-BE49-F238E27FC236}">
                  <a16:creationId xmlns:a16="http://schemas.microsoft.com/office/drawing/2014/main" id="{92BBDBCA-4748-4308-9B90-FC4E43706ACD}"/>
                </a:ext>
              </a:extLst>
            </p:cNvPr>
            <p:cNvSpPr/>
            <p:nvPr/>
          </p:nvSpPr>
          <p:spPr>
            <a:xfrm>
              <a:off x="10364931" y="1592809"/>
              <a:ext cx="679767" cy="594137"/>
            </a:xfrm>
            <a:prstGeom prst="mathPlus">
              <a:avLst>
                <a:gd name="adj1" fmla="val 15219"/>
              </a:avLst>
            </a:prstGeom>
            <a:solidFill>
              <a:schemeClr val="bg1">
                <a:lumMod val="95000"/>
              </a:schemeClr>
            </a:solidFill>
            <a:ln>
              <a:noFill/>
            </a:ln>
            <a:effectLst/>
          </p:spPr>
          <p:txBody>
            <a:bodyPr lIns="108000" rIns="36000" anchor="t"/>
            <a:lstStyle/>
            <a:p>
              <a:pPr defTabSz="457200">
                <a:spcBef>
                  <a:spcPts val="600"/>
                </a:spcBef>
                <a:defRPr/>
              </a:pPr>
              <a:endParaRPr lang="fr-FR" sz="1400" kern="0">
                <a:solidFill>
                  <a:prstClr val="black"/>
                </a:solidFill>
                <a:latin typeface="Tahoma"/>
              </a:endParaRPr>
            </a:p>
          </p:txBody>
        </p:sp>
      </p:grpSp>
      <p:grpSp>
        <p:nvGrpSpPr>
          <p:cNvPr id="23" name="Groupe 22">
            <a:extLst>
              <a:ext uri="{FF2B5EF4-FFF2-40B4-BE49-F238E27FC236}">
                <a16:creationId xmlns:a16="http://schemas.microsoft.com/office/drawing/2014/main" id="{FFEF06B7-6C27-4348-8A9B-0DEA021ACAF9}"/>
              </a:ext>
            </a:extLst>
          </p:cNvPr>
          <p:cNvGrpSpPr/>
          <p:nvPr/>
        </p:nvGrpSpPr>
        <p:grpSpPr>
          <a:xfrm>
            <a:off x="5996725" y="2282241"/>
            <a:ext cx="465369" cy="474527"/>
            <a:chOff x="10271903" y="2738420"/>
            <a:chExt cx="797632" cy="764660"/>
          </a:xfrm>
        </p:grpSpPr>
        <p:sp>
          <p:nvSpPr>
            <p:cNvPr id="24" name="Oval 7">
              <a:extLst>
                <a:ext uri="{FF2B5EF4-FFF2-40B4-BE49-F238E27FC236}">
                  <a16:creationId xmlns:a16="http://schemas.microsoft.com/office/drawing/2014/main" id="{168696FA-8AF4-4A28-88A2-99891DCC11DD}"/>
                </a:ext>
              </a:extLst>
            </p:cNvPr>
            <p:cNvSpPr/>
            <p:nvPr/>
          </p:nvSpPr>
          <p:spPr>
            <a:xfrm>
              <a:off x="10271903" y="2738420"/>
              <a:ext cx="797632" cy="764660"/>
            </a:xfrm>
            <a:prstGeom prst="ellipse">
              <a:avLst/>
            </a:prstGeom>
            <a:solidFill>
              <a:schemeClr val="accent6">
                <a:alpha val="47000"/>
              </a:schemeClr>
            </a:solidFill>
            <a:ln>
              <a:noFill/>
            </a:ln>
            <a:effectLst/>
          </p:spPr>
          <p:txBody>
            <a:bodyPr lIns="108000" rIns="36000" anchor="t"/>
            <a:lstStyle/>
            <a:p>
              <a:pPr defTabSz="457200">
                <a:spcBef>
                  <a:spcPts val="600"/>
                </a:spcBef>
                <a:defRPr/>
              </a:pPr>
              <a:endParaRPr lang="fr-FR" sz="1400" kern="0">
                <a:solidFill>
                  <a:prstClr val="black"/>
                </a:solidFill>
                <a:latin typeface="Tahoma"/>
              </a:endParaRPr>
            </a:p>
          </p:txBody>
        </p:sp>
        <p:sp>
          <p:nvSpPr>
            <p:cNvPr id="26" name="Minus 8">
              <a:extLst>
                <a:ext uri="{FF2B5EF4-FFF2-40B4-BE49-F238E27FC236}">
                  <a16:creationId xmlns:a16="http://schemas.microsoft.com/office/drawing/2014/main" id="{342B79ED-39F1-4793-8D4B-3382E5F3D232}"/>
                </a:ext>
              </a:extLst>
            </p:cNvPr>
            <p:cNvSpPr/>
            <p:nvPr/>
          </p:nvSpPr>
          <p:spPr>
            <a:xfrm>
              <a:off x="10344856" y="2945759"/>
              <a:ext cx="632747" cy="367375"/>
            </a:xfrm>
            <a:prstGeom prst="mathMinus">
              <a:avLst/>
            </a:prstGeom>
            <a:solidFill>
              <a:schemeClr val="bg1">
                <a:lumMod val="95000"/>
              </a:schemeClr>
            </a:solidFill>
            <a:ln>
              <a:noFill/>
            </a:ln>
            <a:effectLst/>
          </p:spPr>
          <p:txBody>
            <a:bodyPr lIns="108000" rIns="36000" anchor="t"/>
            <a:lstStyle/>
            <a:p>
              <a:pPr defTabSz="457200">
                <a:spcBef>
                  <a:spcPts val="600"/>
                </a:spcBef>
                <a:defRPr/>
              </a:pPr>
              <a:endParaRPr lang="fr-FR" sz="1400" kern="0">
                <a:solidFill>
                  <a:prstClr val="black"/>
                </a:solidFill>
                <a:latin typeface="Tahoma"/>
              </a:endParaRPr>
            </a:p>
          </p:txBody>
        </p:sp>
      </p:grpSp>
      <p:grpSp>
        <p:nvGrpSpPr>
          <p:cNvPr id="14" name="Groupe 13">
            <a:extLst>
              <a:ext uri="{FF2B5EF4-FFF2-40B4-BE49-F238E27FC236}">
                <a16:creationId xmlns:a16="http://schemas.microsoft.com/office/drawing/2014/main" id="{0F647B1A-1BB0-4426-B6C7-F0E0CA04028F}"/>
              </a:ext>
            </a:extLst>
          </p:cNvPr>
          <p:cNvGrpSpPr/>
          <p:nvPr/>
        </p:nvGrpSpPr>
        <p:grpSpPr>
          <a:xfrm>
            <a:off x="1450030" y="5536722"/>
            <a:ext cx="291410" cy="1012560"/>
            <a:chOff x="307030" y="5512972"/>
            <a:chExt cx="291410" cy="1012560"/>
          </a:xfrm>
        </p:grpSpPr>
        <p:grpSp>
          <p:nvGrpSpPr>
            <p:cNvPr id="30" name="Groupe 29">
              <a:extLst>
                <a:ext uri="{FF2B5EF4-FFF2-40B4-BE49-F238E27FC236}">
                  <a16:creationId xmlns:a16="http://schemas.microsoft.com/office/drawing/2014/main" id="{D164E74F-3571-4847-8A44-3C4E5FEA51EC}"/>
                </a:ext>
              </a:extLst>
            </p:cNvPr>
            <p:cNvGrpSpPr/>
            <p:nvPr/>
          </p:nvGrpSpPr>
          <p:grpSpPr>
            <a:xfrm>
              <a:off x="307030" y="5512972"/>
              <a:ext cx="291410" cy="298143"/>
              <a:chOff x="10305998" y="1485211"/>
              <a:chExt cx="801926" cy="781795"/>
            </a:xfrm>
          </p:grpSpPr>
          <p:sp>
            <p:nvSpPr>
              <p:cNvPr id="31" name="Oval 4">
                <a:extLst>
                  <a:ext uri="{FF2B5EF4-FFF2-40B4-BE49-F238E27FC236}">
                    <a16:creationId xmlns:a16="http://schemas.microsoft.com/office/drawing/2014/main" id="{2EA53B6D-1588-4A9D-81E5-C68F3C1A5793}"/>
                  </a:ext>
                </a:extLst>
              </p:cNvPr>
              <p:cNvSpPr/>
              <p:nvPr/>
            </p:nvSpPr>
            <p:spPr>
              <a:xfrm>
                <a:off x="10305998" y="1485211"/>
                <a:ext cx="801926" cy="781795"/>
              </a:xfrm>
              <a:prstGeom prst="ellipse">
                <a:avLst/>
              </a:prstGeom>
              <a:solidFill>
                <a:srgbClr val="92D050">
                  <a:alpha val="34000"/>
                </a:srgbClr>
              </a:solidFill>
              <a:ln>
                <a:noFill/>
              </a:ln>
              <a:effectLst/>
            </p:spPr>
            <p:txBody>
              <a:bodyPr lIns="108000" rIns="36000" anchor="t"/>
              <a:lstStyle/>
              <a:p>
                <a:pPr defTabSz="457200">
                  <a:spcBef>
                    <a:spcPts val="600"/>
                  </a:spcBef>
                  <a:defRPr/>
                </a:pPr>
                <a:endParaRPr lang="fr-FR" sz="1400" kern="0">
                  <a:solidFill>
                    <a:prstClr val="black"/>
                  </a:solidFill>
                  <a:latin typeface="Tahoma"/>
                </a:endParaRPr>
              </a:p>
            </p:txBody>
          </p:sp>
          <p:sp>
            <p:nvSpPr>
              <p:cNvPr id="32" name="Plus 5">
                <a:extLst>
                  <a:ext uri="{FF2B5EF4-FFF2-40B4-BE49-F238E27FC236}">
                    <a16:creationId xmlns:a16="http://schemas.microsoft.com/office/drawing/2014/main" id="{619ABB1A-5604-4CBB-9C23-E069B2AE58B2}"/>
                  </a:ext>
                </a:extLst>
              </p:cNvPr>
              <p:cNvSpPr/>
              <p:nvPr/>
            </p:nvSpPr>
            <p:spPr>
              <a:xfrm>
                <a:off x="10364931" y="1592809"/>
                <a:ext cx="679767" cy="594137"/>
              </a:xfrm>
              <a:prstGeom prst="mathPlus">
                <a:avLst>
                  <a:gd name="adj1" fmla="val 15219"/>
                </a:avLst>
              </a:prstGeom>
              <a:solidFill>
                <a:schemeClr val="bg1">
                  <a:lumMod val="95000"/>
                </a:schemeClr>
              </a:solidFill>
              <a:ln>
                <a:noFill/>
              </a:ln>
              <a:effectLst/>
            </p:spPr>
            <p:txBody>
              <a:bodyPr lIns="108000" rIns="36000" anchor="t"/>
              <a:lstStyle/>
              <a:p>
                <a:pPr defTabSz="457200">
                  <a:spcBef>
                    <a:spcPts val="600"/>
                  </a:spcBef>
                  <a:defRPr/>
                </a:pPr>
                <a:endParaRPr lang="fr-FR" sz="1400" kern="0">
                  <a:solidFill>
                    <a:prstClr val="black"/>
                  </a:solidFill>
                  <a:latin typeface="Tahoma"/>
                </a:endParaRPr>
              </a:p>
            </p:txBody>
          </p:sp>
        </p:grpSp>
        <p:grpSp>
          <p:nvGrpSpPr>
            <p:cNvPr id="33" name="Groupe 32">
              <a:extLst>
                <a:ext uri="{FF2B5EF4-FFF2-40B4-BE49-F238E27FC236}">
                  <a16:creationId xmlns:a16="http://schemas.microsoft.com/office/drawing/2014/main" id="{9D97D592-CE98-408C-A284-E31AF72DC6E6}"/>
                </a:ext>
              </a:extLst>
            </p:cNvPr>
            <p:cNvGrpSpPr/>
            <p:nvPr/>
          </p:nvGrpSpPr>
          <p:grpSpPr>
            <a:xfrm>
              <a:off x="307030" y="6227389"/>
              <a:ext cx="291410" cy="298143"/>
              <a:chOff x="10271903" y="2738420"/>
              <a:chExt cx="797632" cy="764660"/>
            </a:xfrm>
          </p:grpSpPr>
          <p:sp>
            <p:nvSpPr>
              <p:cNvPr id="34" name="Oval 7">
                <a:extLst>
                  <a:ext uri="{FF2B5EF4-FFF2-40B4-BE49-F238E27FC236}">
                    <a16:creationId xmlns:a16="http://schemas.microsoft.com/office/drawing/2014/main" id="{B247965B-62A9-41AA-B5CA-73DAE209DE44}"/>
                  </a:ext>
                </a:extLst>
              </p:cNvPr>
              <p:cNvSpPr/>
              <p:nvPr/>
            </p:nvSpPr>
            <p:spPr>
              <a:xfrm>
                <a:off x="10271903" y="2738420"/>
                <a:ext cx="797632" cy="764660"/>
              </a:xfrm>
              <a:prstGeom prst="ellipse">
                <a:avLst/>
              </a:prstGeom>
              <a:solidFill>
                <a:schemeClr val="accent6">
                  <a:alpha val="47000"/>
                </a:schemeClr>
              </a:solidFill>
              <a:ln>
                <a:noFill/>
              </a:ln>
              <a:effectLst/>
            </p:spPr>
            <p:txBody>
              <a:bodyPr lIns="108000" rIns="36000" anchor="t"/>
              <a:lstStyle/>
              <a:p>
                <a:pPr defTabSz="457200">
                  <a:spcBef>
                    <a:spcPts val="600"/>
                  </a:spcBef>
                  <a:defRPr/>
                </a:pPr>
                <a:endParaRPr lang="fr-FR" sz="1400" kern="0">
                  <a:solidFill>
                    <a:prstClr val="black"/>
                  </a:solidFill>
                  <a:latin typeface="Tahoma"/>
                </a:endParaRPr>
              </a:p>
            </p:txBody>
          </p:sp>
          <p:sp>
            <p:nvSpPr>
              <p:cNvPr id="35" name="Minus 8">
                <a:extLst>
                  <a:ext uri="{FF2B5EF4-FFF2-40B4-BE49-F238E27FC236}">
                    <a16:creationId xmlns:a16="http://schemas.microsoft.com/office/drawing/2014/main" id="{28CE1CCA-2C61-4203-B825-5481E95A0A9C}"/>
                  </a:ext>
                </a:extLst>
              </p:cNvPr>
              <p:cNvSpPr/>
              <p:nvPr/>
            </p:nvSpPr>
            <p:spPr>
              <a:xfrm>
                <a:off x="10344856" y="2945759"/>
                <a:ext cx="632747" cy="367375"/>
              </a:xfrm>
              <a:prstGeom prst="mathMinus">
                <a:avLst/>
              </a:prstGeom>
              <a:solidFill>
                <a:schemeClr val="bg1">
                  <a:lumMod val="95000"/>
                </a:schemeClr>
              </a:solidFill>
              <a:ln>
                <a:noFill/>
              </a:ln>
              <a:effectLst/>
            </p:spPr>
            <p:txBody>
              <a:bodyPr lIns="108000" rIns="36000" anchor="t"/>
              <a:lstStyle/>
              <a:p>
                <a:pPr defTabSz="457200">
                  <a:spcBef>
                    <a:spcPts val="600"/>
                  </a:spcBef>
                  <a:defRPr/>
                </a:pPr>
                <a:endParaRPr lang="fr-FR" sz="1400" kern="0">
                  <a:solidFill>
                    <a:prstClr val="black"/>
                  </a:solidFill>
                  <a:latin typeface="Tahoma"/>
                </a:endParaRPr>
              </a:p>
            </p:txBody>
          </p:sp>
        </p:grpSp>
      </p:grpSp>
      <p:sp>
        <p:nvSpPr>
          <p:cNvPr id="43" name="ZoneTexte 42">
            <a:extLst>
              <a:ext uri="{FF2B5EF4-FFF2-40B4-BE49-F238E27FC236}">
                <a16:creationId xmlns:a16="http://schemas.microsoft.com/office/drawing/2014/main" id="{EBA28BCE-686B-42B4-9FEE-2F985EC5DA13}"/>
              </a:ext>
            </a:extLst>
          </p:cNvPr>
          <p:cNvSpPr txBox="1"/>
          <p:nvPr/>
        </p:nvSpPr>
        <p:spPr>
          <a:xfrm>
            <a:off x="1373315" y="5438772"/>
            <a:ext cx="3081282" cy="1184940"/>
          </a:xfrm>
          <a:prstGeom prst="rect">
            <a:avLst/>
          </a:prstGeom>
          <a:noFill/>
        </p:spPr>
        <p:txBody>
          <a:bodyPr wrap="square">
            <a:spAutoFit/>
          </a:bodyPr>
          <a:lstStyle/>
          <a:p>
            <a:pPr marL="446088" lvl="1" indent="-87313">
              <a:spcBef>
                <a:spcPts val="300"/>
              </a:spcBef>
              <a:buFont typeface="Arial" panose="020B0604020202020204" pitchFamily="34" charset="0"/>
              <a:buChar char="•"/>
              <a:defRPr/>
            </a:pPr>
            <a:r>
              <a:rPr lang="fr-FR" sz="850">
                <a:solidFill>
                  <a:srgbClr val="5F5F5F"/>
                </a:solidFill>
                <a:latin typeface="Tahoma"/>
              </a:rPr>
              <a:t>Mutualisation possible d’une partie de l’infra</a:t>
            </a:r>
          </a:p>
          <a:p>
            <a:pPr marL="446088" lvl="1" indent="-87313">
              <a:spcBef>
                <a:spcPts val="300"/>
              </a:spcBef>
              <a:buFont typeface="Arial" panose="020B0604020202020204" pitchFamily="34" charset="0"/>
              <a:buChar char="•"/>
              <a:defRPr/>
            </a:pPr>
            <a:r>
              <a:rPr lang="fr-FR" sz="850">
                <a:solidFill>
                  <a:srgbClr val="5F5F5F"/>
                </a:solidFill>
                <a:latin typeface="Tahoma"/>
              </a:rPr>
              <a:t>Facilité d’obtention des places HT et de recrutement de personnels MS </a:t>
            </a:r>
          </a:p>
          <a:p>
            <a:pPr marL="446088" lvl="1" indent="-87313">
              <a:spcBef>
                <a:spcPts val="1800"/>
              </a:spcBef>
              <a:buFont typeface="Arial" panose="020B0604020202020204" pitchFamily="34" charset="0"/>
              <a:buChar char="•"/>
              <a:defRPr/>
            </a:pPr>
            <a:r>
              <a:rPr lang="fr-FR" sz="850">
                <a:solidFill>
                  <a:srgbClr val="5F5F5F"/>
                </a:solidFill>
                <a:latin typeface="Tahoma"/>
              </a:rPr>
              <a:t>Equilibre économique difficile à atteindre (effet de saisonnalité, taux d’occupation incertain)</a:t>
            </a:r>
          </a:p>
          <a:p>
            <a:pPr marL="446088" lvl="1" indent="-87313">
              <a:spcBef>
                <a:spcPts val="300"/>
              </a:spcBef>
              <a:buFont typeface="Arial" panose="020B0604020202020204" pitchFamily="34" charset="0"/>
              <a:buChar char="•"/>
              <a:defRPr/>
            </a:pPr>
            <a:r>
              <a:rPr lang="fr-FR" sz="850">
                <a:solidFill>
                  <a:srgbClr val="5F5F5F"/>
                </a:solidFill>
                <a:latin typeface="Tahoma"/>
              </a:rPr>
              <a:t>C</a:t>
            </a:r>
            <a:r>
              <a:rPr lang="fr-FR" sz="850" err="1">
                <a:solidFill>
                  <a:srgbClr val="5F5F5F"/>
                </a:solidFill>
                <a:latin typeface="Tahoma"/>
              </a:rPr>
              <a:t>ohabitation</a:t>
            </a:r>
            <a:r>
              <a:rPr lang="fr-FR" sz="850">
                <a:solidFill>
                  <a:srgbClr val="5F5F5F"/>
                </a:solidFill>
                <a:latin typeface="Tahoma"/>
              </a:rPr>
              <a:t> entre vacanciers / usagers de l’ESMS</a:t>
            </a:r>
          </a:p>
        </p:txBody>
      </p:sp>
      <p:sp>
        <p:nvSpPr>
          <p:cNvPr id="66" name="ZoneTexte 65">
            <a:extLst>
              <a:ext uri="{FF2B5EF4-FFF2-40B4-BE49-F238E27FC236}">
                <a16:creationId xmlns:a16="http://schemas.microsoft.com/office/drawing/2014/main" id="{D6B5DDD6-CF7E-4C48-A6B6-3A83AA521D7C}"/>
              </a:ext>
            </a:extLst>
          </p:cNvPr>
          <p:cNvSpPr txBox="1"/>
          <p:nvPr/>
        </p:nvSpPr>
        <p:spPr>
          <a:xfrm>
            <a:off x="7935817" y="5345802"/>
            <a:ext cx="2990278" cy="1278299"/>
          </a:xfrm>
          <a:prstGeom prst="rect">
            <a:avLst/>
          </a:prstGeom>
          <a:solidFill>
            <a:schemeClr val="bg1"/>
          </a:solidFill>
        </p:spPr>
        <p:txBody>
          <a:bodyPr wrap="square">
            <a:spAutoFit/>
          </a:bodyPr>
          <a:lstStyle/>
          <a:p>
            <a:pPr lvl="1" indent="-176213">
              <a:lnSpc>
                <a:spcPct val="110000"/>
              </a:lnSpc>
              <a:buFont typeface="Arial" panose="020B0604020202020204" pitchFamily="34" charset="0"/>
              <a:buChar char="•"/>
              <a:defRPr/>
            </a:pPr>
            <a:r>
              <a:rPr lang="fr-FR" sz="850">
                <a:solidFill>
                  <a:srgbClr val="5F5F5F"/>
                </a:solidFill>
                <a:latin typeface="Tahoma"/>
              </a:rPr>
              <a:t>O</a:t>
            </a:r>
            <a:r>
              <a:rPr lang="fr-FR" sz="850" err="1">
                <a:solidFill>
                  <a:srgbClr val="5F5F5F"/>
                </a:solidFill>
                <a:latin typeface="Tahoma"/>
              </a:rPr>
              <a:t>ffre</a:t>
            </a:r>
            <a:r>
              <a:rPr lang="fr-FR" sz="850">
                <a:solidFill>
                  <a:srgbClr val="5F5F5F"/>
                </a:solidFill>
                <a:latin typeface="Tahoma"/>
              </a:rPr>
              <a:t> de séjours diversifiée / flexible</a:t>
            </a:r>
          </a:p>
          <a:p>
            <a:pPr lvl="1" indent="-176213">
              <a:lnSpc>
                <a:spcPct val="110000"/>
              </a:lnSpc>
              <a:buFont typeface="Arial" panose="020B0604020202020204" pitchFamily="34" charset="0"/>
              <a:buChar char="•"/>
              <a:defRPr/>
            </a:pPr>
            <a:r>
              <a:rPr lang="fr-FR" sz="850">
                <a:solidFill>
                  <a:srgbClr val="5F5F5F"/>
                </a:solidFill>
                <a:latin typeface="Tahoma"/>
              </a:rPr>
              <a:t>Aucune demande de places d’HT à réaliser</a:t>
            </a:r>
          </a:p>
          <a:p>
            <a:pPr lvl="1" indent="-176213">
              <a:lnSpc>
                <a:spcPct val="110000"/>
              </a:lnSpc>
              <a:buFont typeface="Arial" panose="020B0604020202020204" pitchFamily="34" charset="0"/>
              <a:buChar char="•"/>
              <a:defRPr/>
            </a:pPr>
            <a:r>
              <a:rPr lang="fr-FR" sz="850">
                <a:solidFill>
                  <a:srgbClr val="5F5F5F"/>
                </a:solidFill>
                <a:latin typeface="Tahoma"/>
              </a:rPr>
              <a:t>Aucun </a:t>
            </a:r>
            <a:r>
              <a:rPr lang="fr-FR" sz="850" err="1">
                <a:solidFill>
                  <a:srgbClr val="5F5F5F"/>
                </a:solidFill>
                <a:latin typeface="Tahoma"/>
              </a:rPr>
              <a:t>invest</a:t>
            </a:r>
            <a:r>
              <a:rPr lang="fr-FR" sz="850">
                <a:solidFill>
                  <a:srgbClr val="5F5F5F"/>
                </a:solidFill>
                <a:latin typeface="Tahoma"/>
              </a:rPr>
              <a:t>. foncier / </a:t>
            </a:r>
            <a:r>
              <a:rPr lang="fr-FR" sz="850" err="1">
                <a:solidFill>
                  <a:srgbClr val="5F5F5F"/>
                </a:solidFill>
                <a:latin typeface="Tahoma"/>
              </a:rPr>
              <a:t>immo</a:t>
            </a:r>
            <a:r>
              <a:rPr lang="fr-FR" sz="850">
                <a:solidFill>
                  <a:srgbClr val="5F5F5F"/>
                </a:solidFill>
                <a:latin typeface="Tahoma"/>
              </a:rPr>
              <a:t> nécessaire</a:t>
            </a:r>
          </a:p>
          <a:p>
            <a:pPr lvl="1" indent="-176213">
              <a:lnSpc>
                <a:spcPct val="110000"/>
              </a:lnSpc>
              <a:spcBef>
                <a:spcPts val="1200"/>
              </a:spcBef>
              <a:buFont typeface="Arial" panose="020B0604020202020204" pitchFamily="34" charset="0"/>
              <a:buChar char="•"/>
              <a:defRPr/>
            </a:pPr>
            <a:r>
              <a:rPr lang="fr-FR" sz="850">
                <a:solidFill>
                  <a:srgbClr val="5F5F5F"/>
                </a:solidFill>
                <a:latin typeface="Tahoma"/>
              </a:rPr>
              <a:t>Séjours inadaptés à toutes les formes de handicap/dépendances </a:t>
            </a:r>
          </a:p>
          <a:p>
            <a:pPr lvl="1" indent="-176213">
              <a:lnSpc>
                <a:spcPct val="110000"/>
              </a:lnSpc>
              <a:spcBef>
                <a:spcPts val="300"/>
              </a:spcBef>
              <a:buFont typeface="Arial" panose="020B0604020202020204" pitchFamily="34" charset="0"/>
              <a:buChar char="•"/>
              <a:defRPr/>
            </a:pPr>
            <a:r>
              <a:rPr lang="fr-FR" sz="850" err="1">
                <a:solidFill>
                  <a:srgbClr val="5F5F5F"/>
                </a:solidFill>
                <a:latin typeface="Tahoma"/>
              </a:rPr>
              <a:t>Fidélisation</a:t>
            </a:r>
            <a:r>
              <a:rPr lang="fr-FR" sz="850">
                <a:solidFill>
                  <a:srgbClr val="5F5F5F"/>
                </a:solidFill>
                <a:latin typeface="Tahoma"/>
              </a:rPr>
              <a:t> de la clientèle / pérennisation des séjours plus limitée</a:t>
            </a:r>
          </a:p>
        </p:txBody>
      </p:sp>
      <p:sp>
        <p:nvSpPr>
          <p:cNvPr id="56" name="Rectangle 19">
            <a:extLst>
              <a:ext uri="{FF2B5EF4-FFF2-40B4-BE49-F238E27FC236}">
                <a16:creationId xmlns:a16="http://schemas.microsoft.com/office/drawing/2014/main" id="{59396462-40C7-4C68-9527-DBB1DB3E006C}"/>
              </a:ext>
            </a:extLst>
          </p:cNvPr>
          <p:cNvSpPr>
            <a:spLocks noChangeArrowheads="1"/>
          </p:cNvSpPr>
          <p:nvPr/>
        </p:nvSpPr>
        <p:spPr bwMode="gray">
          <a:xfrm>
            <a:off x="1340364" y="3305331"/>
            <a:ext cx="3114234" cy="453571"/>
          </a:xfrm>
          <a:prstGeom prst="rect">
            <a:avLst/>
          </a:prstGeom>
          <a:solidFill>
            <a:schemeClr val="bg2">
              <a:lumMod val="60000"/>
              <a:lumOff val="40000"/>
            </a:schemeClr>
          </a:solidFill>
          <a:ln w="9525" algn="ctr">
            <a:solidFill>
              <a:schemeClr val="bg2"/>
            </a:solidFill>
            <a:miter lim="800000"/>
            <a:headEnd/>
            <a:tailEnd/>
          </a:ln>
          <a:effectLst/>
        </p:spPr>
        <p:txBody>
          <a:bodyPr lIns="0" tIns="0" rIns="0" bIns="0" anchor="ctr"/>
          <a:lstStyle/>
          <a:p>
            <a:pPr algn="ctr" defTabSz="801688" eaLnBrk="0" hangingPunct="0">
              <a:defRPr/>
            </a:pPr>
            <a:r>
              <a:rPr lang="fr-FR" sz="1100" b="1" noProof="1">
                <a:solidFill>
                  <a:srgbClr val="FFFFFF"/>
                </a:solidFill>
                <a:latin typeface="Tahoma"/>
                <a:cs typeface="Arial" charset="0"/>
              </a:rPr>
              <a:t>2. Les villages vacances adossés à des ESMS</a:t>
            </a:r>
          </a:p>
          <a:p>
            <a:pPr algn="ctr" defTabSz="801688" eaLnBrk="0" hangingPunct="0">
              <a:defRPr/>
            </a:pPr>
            <a:r>
              <a:rPr lang="fr-FR" sz="1050" i="1">
                <a:solidFill>
                  <a:srgbClr val="FFFFFF"/>
                </a:solidFill>
                <a:latin typeface="Tahoma"/>
              </a:rPr>
              <a:t>VRF Les </a:t>
            </a:r>
            <a:r>
              <a:rPr lang="fr-FR" sz="1050" i="1" err="1">
                <a:solidFill>
                  <a:srgbClr val="FFFFFF"/>
                </a:solidFill>
                <a:latin typeface="Tahoma"/>
              </a:rPr>
              <a:t>Cizes</a:t>
            </a:r>
            <a:r>
              <a:rPr lang="fr-FR" sz="1050" i="1">
                <a:solidFill>
                  <a:srgbClr val="FFFFFF"/>
                </a:solidFill>
                <a:latin typeface="Tahoma"/>
              </a:rPr>
              <a:t> et La Salamandre</a:t>
            </a:r>
          </a:p>
        </p:txBody>
      </p:sp>
      <p:grpSp>
        <p:nvGrpSpPr>
          <p:cNvPr id="49" name="Group 5">
            <a:extLst>
              <a:ext uri="{FF2B5EF4-FFF2-40B4-BE49-F238E27FC236}">
                <a16:creationId xmlns:a16="http://schemas.microsoft.com/office/drawing/2014/main" id="{F89F10EC-0AB0-4C8F-BDBA-3FCE53F2E61F}"/>
              </a:ext>
            </a:extLst>
          </p:cNvPr>
          <p:cNvGrpSpPr/>
          <p:nvPr/>
        </p:nvGrpSpPr>
        <p:grpSpPr>
          <a:xfrm>
            <a:off x="4576112" y="3305330"/>
            <a:ext cx="3114234" cy="3460850"/>
            <a:chOff x="606519" y="3959079"/>
            <a:chExt cx="4230000" cy="2123043"/>
          </a:xfrm>
        </p:grpSpPr>
        <p:sp>
          <p:nvSpPr>
            <p:cNvPr id="53" name="Espace réservé du contenu 3">
              <a:extLst>
                <a:ext uri="{FF2B5EF4-FFF2-40B4-BE49-F238E27FC236}">
                  <a16:creationId xmlns:a16="http://schemas.microsoft.com/office/drawing/2014/main" id="{AA483A9A-E326-4338-847F-7848BE523ABF}"/>
                </a:ext>
              </a:extLst>
            </p:cNvPr>
            <p:cNvSpPr txBox="1">
              <a:spLocks/>
            </p:cNvSpPr>
            <p:nvPr/>
          </p:nvSpPr>
          <p:spPr>
            <a:xfrm>
              <a:off x="606519" y="4237320"/>
              <a:ext cx="4230000" cy="1844802"/>
            </a:xfrm>
            <a:prstGeom prst="rect">
              <a:avLst/>
            </a:prstGeom>
            <a:ln w="9525">
              <a:solidFill>
                <a:schemeClr val="bg2"/>
              </a:solidFill>
            </a:ln>
          </p:spPr>
          <p:txBody>
            <a:bodyPr lIns="108000" tIns="108000" rIns="108000" bIns="10800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sz="900" b="1" kern="0">
                  <a:solidFill>
                    <a:srgbClr val="503078"/>
                  </a:solidFill>
                  <a:latin typeface="Tahoma"/>
                </a:rPr>
                <a:t>Echanges de résidence et permanences d’ESMS </a:t>
              </a:r>
              <a:r>
                <a:rPr lang="fr-FR" sz="900" kern="0">
                  <a:solidFill>
                    <a:srgbClr val="503078"/>
                  </a:solidFill>
                  <a:latin typeface="Tahoma"/>
                </a:rPr>
                <a:t>(relais entre ESMS et équipes mobiles sur plusieurs sites de vacances)</a:t>
              </a:r>
              <a:endParaRPr lang="fr-FR" sz="900">
                <a:solidFill>
                  <a:srgbClr val="503078"/>
                </a:solidFill>
                <a:latin typeface="Tahoma"/>
              </a:endParaRPr>
            </a:p>
            <a:p>
              <a:pPr marL="182563" lvl="1" indent="-182563">
                <a:spcBef>
                  <a:spcPts val="300"/>
                </a:spcBef>
                <a:buClr>
                  <a:srgbClr val="503078"/>
                </a:buClr>
              </a:pPr>
              <a:r>
                <a:rPr lang="fr-FR" sz="900">
                  <a:solidFill>
                    <a:srgbClr val="5F5F5F"/>
                  </a:solidFill>
                  <a:latin typeface="Tahoma"/>
                </a:rPr>
                <a:t>Partage de l’immobilier existant entre les ESMS</a:t>
              </a:r>
            </a:p>
            <a:p>
              <a:pPr marL="182563" lvl="1" indent="-182563">
                <a:spcBef>
                  <a:spcPts val="300"/>
                </a:spcBef>
                <a:buClr>
                  <a:srgbClr val="503078"/>
                </a:buClr>
              </a:pPr>
              <a:r>
                <a:rPr lang="fr-FR" sz="900">
                  <a:solidFill>
                    <a:srgbClr val="5F5F5F"/>
                  </a:solidFill>
                  <a:latin typeface="Tahoma"/>
                </a:rPr>
                <a:t>Personnel médico-social présent et mutualisé</a:t>
              </a:r>
            </a:p>
            <a:p>
              <a:pPr marL="182563" lvl="1" indent="-182563">
                <a:spcBef>
                  <a:spcPts val="300"/>
                </a:spcBef>
                <a:buClr>
                  <a:srgbClr val="503078"/>
                </a:buClr>
              </a:pPr>
              <a:r>
                <a:rPr lang="fr-FR" sz="900">
                  <a:solidFill>
                    <a:srgbClr val="5F5F5F"/>
                  </a:solidFill>
                  <a:latin typeface="Tahoma"/>
                </a:rPr>
                <a:t>Places d’HT existantes et réorganisées pour l’offre de séjour </a:t>
              </a:r>
            </a:p>
            <a:p>
              <a:pPr marL="182563" lvl="1" indent="-182563">
                <a:spcBef>
                  <a:spcPts val="300"/>
                </a:spcBef>
                <a:buClr>
                  <a:srgbClr val="503078"/>
                </a:buClr>
              </a:pPr>
              <a:r>
                <a:rPr lang="fr-FR" sz="900">
                  <a:solidFill>
                    <a:srgbClr val="5F5F5F"/>
                  </a:solidFill>
                  <a:latin typeface="Tahoma"/>
                </a:rPr>
                <a:t>Capacité d’accueil fixe et une ouverture lors des périodes de vacances </a:t>
              </a:r>
            </a:p>
            <a:p>
              <a:pPr marL="0" lvl="1" indent="0">
                <a:buClr>
                  <a:srgbClr val="503078"/>
                </a:buClr>
                <a:buNone/>
              </a:pPr>
              <a:endParaRPr lang="fr-FR" sz="1000">
                <a:solidFill>
                  <a:srgbClr val="5F5F5F"/>
                </a:solidFill>
                <a:latin typeface="Tahoma"/>
              </a:endParaRPr>
            </a:p>
          </p:txBody>
        </p:sp>
        <p:sp>
          <p:nvSpPr>
            <p:cNvPr id="54" name="Rectangle 19">
              <a:extLst>
                <a:ext uri="{FF2B5EF4-FFF2-40B4-BE49-F238E27FC236}">
                  <a16:creationId xmlns:a16="http://schemas.microsoft.com/office/drawing/2014/main" id="{77EFAC7C-9F5E-4441-A8FD-64BDD660E9FA}"/>
                </a:ext>
              </a:extLst>
            </p:cNvPr>
            <p:cNvSpPr>
              <a:spLocks noChangeArrowheads="1"/>
            </p:cNvSpPr>
            <p:nvPr/>
          </p:nvSpPr>
          <p:spPr bwMode="gray">
            <a:xfrm>
              <a:off x="606519" y="3959079"/>
              <a:ext cx="4230000" cy="278241"/>
            </a:xfrm>
            <a:prstGeom prst="rect">
              <a:avLst/>
            </a:prstGeom>
            <a:solidFill>
              <a:schemeClr val="accent5"/>
            </a:solidFill>
            <a:ln w="9525" algn="ctr">
              <a:solidFill>
                <a:schemeClr val="bg2"/>
              </a:solidFill>
              <a:miter lim="800000"/>
              <a:headEnd/>
              <a:tailEnd/>
            </a:ln>
            <a:effectLst/>
          </p:spPr>
          <p:txBody>
            <a:bodyPr lIns="0" tIns="0" rIns="0" bIns="0" anchor="ctr"/>
            <a:lstStyle/>
            <a:p>
              <a:pPr algn="ctr" defTabSz="801688" eaLnBrk="0" hangingPunct="0">
                <a:defRPr/>
              </a:pPr>
              <a:r>
                <a:rPr lang="fr-FR" sz="1100" b="1" noProof="1">
                  <a:solidFill>
                    <a:srgbClr val="FFFFFF"/>
                  </a:solidFill>
                  <a:latin typeface="Tahoma"/>
                  <a:cs typeface="Arial" charset="0"/>
                </a:rPr>
                <a:t>3. Les partenariats entre ESMS</a:t>
              </a:r>
            </a:p>
            <a:p>
              <a:pPr algn="ctr" defTabSz="801688" eaLnBrk="0" hangingPunct="0">
                <a:defRPr/>
              </a:pPr>
              <a:r>
                <a:rPr lang="fr-FR" sz="1100" i="1" noProof="1">
                  <a:solidFill>
                    <a:srgbClr val="FFFFFF"/>
                  </a:solidFill>
                  <a:latin typeface="Tahoma"/>
                  <a:cs typeface="Arial" charset="0"/>
                </a:rPr>
                <a:t>Expérimentation DGCS / CNSA</a:t>
              </a:r>
            </a:p>
          </p:txBody>
        </p:sp>
      </p:grpSp>
      <p:grpSp>
        <p:nvGrpSpPr>
          <p:cNvPr id="50" name="Group 6">
            <a:extLst>
              <a:ext uri="{FF2B5EF4-FFF2-40B4-BE49-F238E27FC236}">
                <a16:creationId xmlns:a16="http://schemas.microsoft.com/office/drawing/2014/main" id="{B218FA09-8BEA-412F-9780-BC6B797A37F0}"/>
              </a:ext>
            </a:extLst>
          </p:cNvPr>
          <p:cNvGrpSpPr/>
          <p:nvPr/>
        </p:nvGrpSpPr>
        <p:grpSpPr>
          <a:xfrm>
            <a:off x="7811861" y="3305331"/>
            <a:ext cx="3114234" cy="3460841"/>
            <a:chOff x="5068757" y="3959082"/>
            <a:chExt cx="4230000" cy="2123040"/>
          </a:xfrm>
        </p:grpSpPr>
        <p:sp>
          <p:nvSpPr>
            <p:cNvPr id="52" name="Rectangle 19">
              <a:extLst>
                <a:ext uri="{FF2B5EF4-FFF2-40B4-BE49-F238E27FC236}">
                  <a16:creationId xmlns:a16="http://schemas.microsoft.com/office/drawing/2014/main" id="{3AE9E5D7-47E9-4FBA-BB00-7574BF03DA4C}"/>
                </a:ext>
              </a:extLst>
            </p:cNvPr>
            <p:cNvSpPr>
              <a:spLocks noChangeArrowheads="1"/>
            </p:cNvSpPr>
            <p:nvPr/>
          </p:nvSpPr>
          <p:spPr bwMode="gray">
            <a:xfrm>
              <a:off x="5068757" y="3959082"/>
              <a:ext cx="4230000" cy="278241"/>
            </a:xfrm>
            <a:prstGeom prst="rect">
              <a:avLst/>
            </a:prstGeom>
            <a:solidFill>
              <a:schemeClr val="accent1"/>
            </a:solidFill>
            <a:ln w="9525" algn="ctr">
              <a:solidFill>
                <a:schemeClr val="bg2"/>
              </a:solidFill>
              <a:miter lim="800000"/>
              <a:headEnd/>
              <a:tailEnd/>
            </a:ln>
            <a:effectLst/>
          </p:spPr>
          <p:txBody>
            <a:bodyPr lIns="0" tIns="0" rIns="0" bIns="0" anchor="ctr"/>
            <a:lstStyle/>
            <a:p>
              <a:pPr algn="ctr" defTabSz="801688" eaLnBrk="0" hangingPunct="0">
                <a:defRPr/>
              </a:pPr>
              <a:r>
                <a:rPr lang="fr-FR" sz="1100" b="1">
                  <a:solidFill>
                    <a:srgbClr val="FFFFFF"/>
                  </a:solidFill>
                  <a:latin typeface="Tahoma"/>
                  <a:cs typeface="Arial" charset="0"/>
                </a:rPr>
                <a:t>4. Partenariats entre associations / ESMS et acteurs du tourisme</a:t>
              </a:r>
            </a:p>
            <a:p>
              <a:pPr algn="ctr" defTabSz="801688" eaLnBrk="0" hangingPunct="0">
                <a:defRPr/>
              </a:pPr>
              <a:r>
                <a:rPr lang="fr-FR" sz="900" i="1">
                  <a:solidFill>
                    <a:srgbClr val="FFFFFF"/>
                  </a:solidFill>
                  <a:latin typeface="Tahoma"/>
                </a:rPr>
                <a:t>INT’ACT, Réseau Passerelles, France Alzheimer</a:t>
              </a:r>
            </a:p>
          </p:txBody>
        </p:sp>
        <p:sp>
          <p:nvSpPr>
            <p:cNvPr id="51" name="Espace réservé du contenu 3">
              <a:extLst>
                <a:ext uri="{FF2B5EF4-FFF2-40B4-BE49-F238E27FC236}">
                  <a16:creationId xmlns:a16="http://schemas.microsoft.com/office/drawing/2014/main" id="{7623A086-2E6B-4B35-8AD6-0A3723A3F8FD}"/>
                </a:ext>
              </a:extLst>
            </p:cNvPr>
            <p:cNvSpPr txBox="1">
              <a:spLocks/>
            </p:cNvSpPr>
            <p:nvPr/>
          </p:nvSpPr>
          <p:spPr>
            <a:xfrm>
              <a:off x="5068757" y="4237321"/>
              <a:ext cx="4230000" cy="1844801"/>
            </a:xfrm>
            <a:prstGeom prst="rect">
              <a:avLst/>
            </a:prstGeom>
            <a:ln w="9525">
              <a:solidFill>
                <a:schemeClr val="bg2"/>
              </a:solidFill>
            </a:ln>
          </p:spPr>
          <p:txBody>
            <a:bodyPr lIns="108000" tIns="108000" rIns="108000" bIns="10800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r>
                <a:rPr lang="fr-FR" sz="900" b="1" kern="0">
                  <a:solidFill>
                    <a:srgbClr val="503078"/>
                  </a:solidFill>
                  <a:latin typeface="Tahoma"/>
                </a:rPr>
                <a:t>Organisation de séjours par des acteurs associatifs ou des ESMS </a:t>
              </a:r>
              <a:r>
                <a:rPr lang="fr-FR" sz="900" kern="0">
                  <a:solidFill>
                    <a:srgbClr val="503078"/>
                  </a:solidFill>
                  <a:latin typeface="Tahoma"/>
                </a:rPr>
                <a:t>avec </a:t>
              </a:r>
              <a:r>
                <a:rPr lang="fr-FR" sz="900" b="1" kern="0">
                  <a:solidFill>
                    <a:srgbClr val="503078"/>
                  </a:solidFill>
                  <a:latin typeface="Tahoma"/>
                </a:rPr>
                <a:t>prise en compte des besoins particuliers </a:t>
              </a:r>
              <a:r>
                <a:rPr lang="fr-FR" sz="900" kern="0">
                  <a:solidFill>
                    <a:srgbClr val="503078"/>
                  </a:solidFill>
                  <a:latin typeface="Tahoma"/>
                </a:rPr>
                <a:t>des clients</a:t>
              </a:r>
              <a:endParaRPr lang="fr-FR" sz="900">
                <a:solidFill>
                  <a:srgbClr val="503078"/>
                </a:solidFill>
                <a:latin typeface="Tahoma"/>
              </a:endParaRPr>
            </a:p>
            <a:p>
              <a:pPr lvl="1">
                <a:spcBef>
                  <a:spcPts val="300"/>
                </a:spcBef>
                <a:buClr>
                  <a:srgbClr val="503078"/>
                </a:buClr>
              </a:pPr>
              <a:r>
                <a:rPr lang="fr-FR" sz="900">
                  <a:solidFill>
                    <a:srgbClr val="5F5F5F"/>
                  </a:solidFill>
                  <a:latin typeface="Tahoma"/>
                </a:rPr>
                <a:t>Hôtellerie assurée par l’établissement touristique</a:t>
              </a:r>
            </a:p>
            <a:p>
              <a:pPr lvl="1">
                <a:spcBef>
                  <a:spcPts val="300"/>
                </a:spcBef>
                <a:buClr>
                  <a:srgbClr val="503078"/>
                </a:buClr>
              </a:pPr>
              <a:r>
                <a:rPr lang="fr-FR" sz="900">
                  <a:solidFill>
                    <a:srgbClr val="5F5F5F"/>
                  </a:solidFill>
                  <a:latin typeface="Tahoma"/>
                </a:rPr>
                <a:t>Prestation d’accompagnement MS prise en charge par l’association / l’ESMS</a:t>
              </a:r>
            </a:p>
            <a:p>
              <a:pPr lvl="1">
                <a:spcBef>
                  <a:spcPts val="300"/>
                </a:spcBef>
                <a:buClr>
                  <a:srgbClr val="503078"/>
                </a:buClr>
              </a:pPr>
              <a:r>
                <a:rPr lang="fr-FR" sz="900">
                  <a:solidFill>
                    <a:srgbClr val="5F5F5F"/>
                  </a:solidFill>
                  <a:latin typeface="Tahoma"/>
                </a:rPr>
                <a:t>Capacité d’accueil souple mais périodes fixes pour les séjours (séjours à durées variables)</a:t>
              </a:r>
            </a:p>
            <a:p>
              <a:pPr lvl="1">
                <a:spcBef>
                  <a:spcPts val="300"/>
                </a:spcBef>
                <a:buClr>
                  <a:srgbClr val="503078"/>
                </a:buClr>
              </a:pPr>
              <a:endParaRPr lang="fr-FR" sz="900">
                <a:solidFill>
                  <a:srgbClr val="5F5F5F"/>
                </a:solidFill>
                <a:latin typeface="Tahoma"/>
              </a:endParaRPr>
            </a:p>
          </p:txBody>
        </p:sp>
      </p:grpSp>
      <p:sp>
        <p:nvSpPr>
          <p:cNvPr id="45" name="ZoneTexte 44">
            <a:extLst>
              <a:ext uri="{FF2B5EF4-FFF2-40B4-BE49-F238E27FC236}">
                <a16:creationId xmlns:a16="http://schemas.microsoft.com/office/drawing/2014/main" id="{DAA7ECFA-0BB8-4FD3-8297-719C760BFBE5}"/>
              </a:ext>
            </a:extLst>
          </p:cNvPr>
          <p:cNvSpPr txBox="1"/>
          <p:nvPr/>
        </p:nvSpPr>
        <p:spPr>
          <a:xfrm>
            <a:off x="4581024" y="5262534"/>
            <a:ext cx="3054062" cy="1409104"/>
          </a:xfrm>
          <a:prstGeom prst="rect">
            <a:avLst/>
          </a:prstGeom>
          <a:noFill/>
        </p:spPr>
        <p:txBody>
          <a:bodyPr wrap="square">
            <a:spAutoFit/>
          </a:bodyPr>
          <a:lstStyle/>
          <a:p>
            <a:pPr marL="0" lvl="1">
              <a:spcBef>
                <a:spcPts val="300"/>
              </a:spcBef>
              <a:defRPr/>
            </a:pPr>
            <a:endParaRPr lang="fr-FR" sz="850">
              <a:solidFill>
                <a:srgbClr val="5F5F5F"/>
              </a:solidFill>
              <a:latin typeface="Tahoma"/>
            </a:endParaRPr>
          </a:p>
          <a:p>
            <a:pPr marL="533400" lvl="1" indent="-176213">
              <a:lnSpc>
                <a:spcPct val="110000"/>
              </a:lnSpc>
              <a:buFont typeface="Arial" panose="020B0604020202020204" pitchFamily="34" charset="0"/>
              <a:buChar char="•"/>
              <a:defRPr/>
            </a:pPr>
            <a:r>
              <a:rPr lang="fr-FR" sz="850">
                <a:solidFill>
                  <a:srgbClr val="5F5F5F"/>
                </a:solidFill>
                <a:latin typeface="Tahoma"/>
              </a:rPr>
              <a:t>Aucune demande de places d’HT à réaliser</a:t>
            </a:r>
          </a:p>
          <a:p>
            <a:pPr marL="533400" lvl="1" indent="-176213">
              <a:lnSpc>
                <a:spcPct val="110000"/>
              </a:lnSpc>
              <a:buFont typeface="Arial" panose="020B0604020202020204" pitchFamily="34" charset="0"/>
              <a:buChar char="•"/>
              <a:defRPr/>
            </a:pPr>
            <a:r>
              <a:rPr lang="fr-FR" sz="850">
                <a:solidFill>
                  <a:srgbClr val="5F5F5F"/>
                </a:solidFill>
                <a:latin typeface="Tahoma"/>
              </a:rPr>
              <a:t>Aucun </a:t>
            </a:r>
            <a:r>
              <a:rPr lang="fr-FR" sz="850" err="1">
                <a:solidFill>
                  <a:srgbClr val="5F5F5F"/>
                </a:solidFill>
                <a:latin typeface="Tahoma"/>
              </a:rPr>
              <a:t>invest</a:t>
            </a:r>
            <a:r>
              <a:rPr lang="fr-FR" sz="850">
                <a:solidFill>
                  <a:srgbClr val="5F5F5F"/>
                </a:solidFill>
                <a:latin typeface="Tahoma"/>
              </a:rPr>
              <a:t>. foncier / </a:t>
            </a:r>
            <a:r>
              <a:rPr lang="fr-FR" sz="850" err="1">
                <a:solidFill>
                  <a:srgbClr val="5F5F5F"/>
                </a:solidFill>
                <a:latin typeface="Tahoma"/>
              </a:rPr>
              <a:t>immo</a:t>
            </a:r>
            <a:r>
              <a:rPr lang="fr-FR" sz="850">
                <a:solidFill>
                  <a:srgbClr val="5F5F5F"/>
                </a:solidFill>
                <a:latin typeface="Tahoma"/>
              </a:rPr>
              <a:t> nécessaire</a:t>
            </a:r>
          </a:p>
          <a:p>
            <a:pPr marL="533400" lvl="1" indent="-176213">
              <a:lnSpc>
                <a:spcPct val="110000"/>
              </a:lnSpc>
              <a:buFont typeface="Arial" panose="020B0604020202020204" pitchFamily="34" charset="0"/>
              <a:buChar char="•"/>
              <a:defRPr/>
            </a:pPr>
            <a:r>
              <a:rPr lang="fr-FR" sz="850">
                <a:solidFill>
                  <a:srgbClr val="5F5F5F"/>
                </a:solidFill>
                <a:latin typeface="Tahoma"/>
              </a:rPr>
              <a:t>Présence de personnels MS qualifiés</a:t>
            </a:r>
          </a:p>
          <a:p>
            <a:pPr marL="533400" lvl="1" indent="-176213">
              <a:lnSpc>
                <a:spcPct val="110000"/>
              </a:lnSpc>
              <a:spcBef>
                <a:spcPts val="1200"/>
              </a:spcBef>
              <a:buFont typeface="Arial" panose="020B0604020202020204" pitchFamily="34" charset="0"/>
              <a:buChar char="•"/>
              <a:defRPr/>
            </a:pPr>
            <a:r>
              <a:rPr lang="fr-FR" sz="850">
                <a:solidFill>
                  <a:srgbClr val="5F5F5F"/>
                </a:solidFill>
                <a:latin typeface="Tahoma"/>
              </a:rPr>
              <a:t>Environnement peu diversifié pour les aidés (structure médico-sociale) – offre touristique peu développée pour les aidants </a:t>
            </a:r>
          </a:p>
          <a:p>
            <a:pPr marL="533400" lvl="1" indent="-176213">
              <a:lnSpc>
                <a:spcPct val="110000"/>
              </a:lnSpc>
              <a:spcBef>
                <a:spcPts val="300"/>
              </a:spcBef>
              <a:buFont typeface="Arial" panose="020B0604020202020204" pitchFamily="34" charset="0"/>
              <a:buChar char="•"/>
              <a:defRPr/>
            </a:pPr>
            <a:r>
              <a:rPr lang="fr-FR" sz="850">
                <a:solidFill>
                  <a:srgbClr val="5F5F5F"/>
                </a:solidFill>
                <a:latin typeface="Tahoma"/>
              </a:rPr>
              <a:t>Peu de flexibilité sur les dates de séjour</a:t>
            </a:r>
          </a:p>
        </p:txBody>
      </p:sp>
      <p:grpSp>
        <p:nvGrpSpPr>
          <p:cNvPr id="81" name="Groupe 80">
            <a:extLst>
              <a:ext uri="{FF2B5EF4-FFF2-40B4-BE49-F238E27FC236}">
                <a16:creationId xmlns:a16="http://schemas.microsoft.com/office/drawing/2014/main" id="{C0736121-C847-4A9B-921D-4B91E016ACF3}"/>
              </a:ext>
            </a:extLst>
          </p:cNvPr>
          <p:cNvGrpSpPr/>
          <p:nvPr/>
        </p:nvGrpSpPr>
        <p:grpSpPr>
          <a:xfrm>
            <a:off x="4678141" y="5536722"/>
            <a:ext cx="291410" cy="1012560"/>
            <a:chOff x="307030" y="5512972"/>
            <a:chExt cx="291410" cy="1012560"/>
          </a:xfrm>
        </p:grpSpPr>
        <p:grpSp>
          <p:nvGrpSpPr>
            <p:cNvPr id="82" name="Groupe 81">
              <a:extLst>
                <a:ext uri="{FF2B5EF4-FFF2-40B4-BE49-F238E27FC236}">
                  <a16:creationId xmlns:a16="http://schemas.microsoft.com/office/drawing/2014/main" id="{65D927EB-C764-41F8-98C2-D1D0FE58DBCC}"/>
                </a:ext>
              </a:extLst>
            </p:cNvPr>
            <p:cNvGrpSpPr/>
            <p:nvPr/>
          </p:nvGrpSpPr>
          <p:grpSpPr>
            <a:xfrm>
              <a:off x="307030" y="5512972"/>
              <a:ext cx="291410" cy="298143"/>
              <a:chOff x="10305998" y="1485211"/>
              <a:chExt cx="801926" cy="781795"/>
            </a:xfrm>
          </p:grpSpPr>
          <p:sp>
            <p:nvSpPr>
              <p:cNvPr id="86" name="Oval 4">
                <a:extLst>
                  <a:ext uri="{FF2B5EF4-FFF2-40B4-BE49-F238E27FC236}">
                    <a16:creationId xmlns:a16="http://schemas.microsoft.com/office/drawing/2014/main" id="{7A9CD31E-7B9E-4D7C-BA33-29CFF1B07FA9}"/>
                  </a:ext>
                </a:extLst>
              </p:cNvPr>
              <p:cNvSpPr/>
              <p:nvPr/>
            </p:nvSpPr>
            <p:spPr>
              <a:xfrm>
                <a:off x="10305998" y="1485211"/>
                <a:ext cx="801926" cy="781795"/>
              </a:xfrm>
              <a:prstGeom prst="ellipse">
                <a:avLst/>
              </a:prstGeom>
              <a:solidFill>
                <a:srgbClr val="92D050">
                  <a:alpha val="34000"/>
                </a:srgbClr>
              </a:solidFill>
              <a:ln>
                <a:noFill/>
              </a:ln>
              <a:effectLst/>
            </p:spPr>
            <p:txBody>
              <a:bodyPr lIns="108000" rIns="36000" anchor="t"/>
              <a:lstStyle/>
              <a:p>
                <a:pPr defTabSz="457200">
                  <a:spcBef>
                    <a:spcPts val="600"/>
                  </a:spcBef>
                  <a:defRPr/>
                </a:pPr>
                <a:endParaRPr lang="fr-FR" sz="1400" kern="0">
                  <a:solidFill>
                    <a:prstClr val="black"/>
                  </a:solidFill>
                  <a:latin typeface="Tahoma"/>
                </a:endParaRPr>
              </a:p>
            </p:txBody>
          </p:sp>
          <p:sp>
            <p:nvSpPr>
              <p:cNvPr id="87" name="Plus 5">
                <a:extLst>
                  <a:ext uri="{FF2B5EF4-FFF2-40B4-BE49-F238E27FC236}">
                    <a16:creationId xmlns:a16="http://schemas.microsoft.com/office/drawing/2014/main" id="{44C8675D-11BE-469A-AA12-9F3D519EA763}"/>
                  </a:ext>
                </a:extLst>
              </p:cNvPr>
              <p:cNvSpPr/>
              <p:nvPr/>
            </p:nvSpPr>
            <p:spPr>
              <a:xfrm>
                <a:off x="10364931" y="1592809"/>
                <a:ext cx="679767" cy="594137"/>
              </a:xfrm>
              <a:prstGeom prst="mathPlus">
                <a:avLst>
                  <a:gd name="adj1" fmla="val 15219"/>
                </a:avLst>
              </a:prstGeom>
              <a:solidFill>
                <a:schemeClr val="bg1">
                  <a:lumMod val="95000"/>
                </a:schemeClr>
              </a:solidFill>
              <a:ln>
                <a:noFill/>
              </a:ln>
              <a:effectLst/>
            </p:spPr>
            <p:txBody>
              <a:bodyPr lIns="108000" rIns="36000" anchor="t"/>
              <a:lstStyle/>
              <a:p>
                <a:pPr defTabSz="457200">
                  <a:spcBef>
                    <a:spcPts val="600"/>
                  </a:spcBef>
                  <a:defRPr/>
                </a:pPr>
                <a:endParaRPr lang="fr-FR" sz="1400" kern="0">
                  <a:solidFill>
                    <a:prstClr val="black"/>
                  </a:solidFill>
                  <a:latin typeface="Tahoma"/>
                </a:endParaRPr>
              </a:p>
            </p:txBody>
          </p:sp>
        </p:grpSp>
        <p:grpSp>
          <p:nvGrpSpPr>
            <p:cNvPr id="83" name="Groupe 82">
              <a:extLst>
                <a:ext uri="{FF2B5EF4-FFF2-40B4-BE49-F238E27FC236}">
                  <a16:creationId xmlns:a16="http://schemas.microsoft.com/office/drawing/2014/main" id="{355383FE-74E9-4A76-917A-BC155258A667}"/>
                </a:ext>
              </a:extLst>
            </p:cNvPr>
            <p:cNvGrpSpPr/>
            <p:nvPr/>
          </p:nvGrpSpPr>
          <p:grpSpPr>
            <a:xfrm>
              <a:off x="307030" y="6227389"/>
              <a:ext cx="291410" cy="298143"/>
              <a:chOff x="10271903" y="2738420"/>
              <a:chExt cx="797632" cy="764660"/>
            </a:xfrm>
          </p:grpSpPr>
          <p:sp>
            <p:nvSpPr>
              <p:cNvPr id="84" name="Oval 7">
                <a:extLst>
                  <a:ext uri="{FF2B5EF4-FFF2-40B4-BE49-F238E27FC236}">
                    <a16:creationId xmlns:a16="http://schemas.microsoft.com/office/drawing/2014/main" id="{AA00F71D-9C02-4D69-98FB-CA30845D6386}"/>
                  </a:ext>
                </a:extLst>
              </p:cNvPr>
              <p:cNvSpPr/>
              <p:nvPr/>
            </p:nvSpPr>
            <p:spPr>
              <a:xfrm>
                <a:off x="10271903" y="2738420"/>
                <a:ext cx="797632" cy="764660"/>
              </a:xfrm>
              <a:prstGeom prst="ellipse">
                <a:avLst/>
              </a:prstGeom>
              <a:solidFill>
                <a:schemeClr val="accent6">
                  <a:alpha val="47000"/>
                </a:schemeClr>
              </a:solidFill>
              <a:ln>
                <a:noFill/>
              </a:ln>
              <a:effectLst/>
            </p:spPr>
            <p:txBody>
              <a:bodyPr lIns="108000" rIns="36000" anchor="t"/>
              <a:lstStyle/>
              <a:p>
                <a:pPr defTabSz="457200">
                  <a:spcBef>
                    <a:spcPts val="600"/>
                  </a:spcBef>
                  <a:defRPr/>
                </a:pPr>
                <a:endParaRPr lang="fr-FR" sz="1400" kern="0">
                  <a:solidFill>
                    <a:prstClr val="black"/>
                  </a:solidFill>
                  <a:latin typeface="Tahoma"/>
                </a:endParaRPr>
              </a:p>
            </p:txBody>
          </p:sp>
          <p:sp>
            <p:nvSpPr>
              <p:cNvPr id="85" name="Minus 8">
                <a:extLst>
                  <a:ext uri="{FF2B5EF4-FFF2-40B4-BE49-F238E27FC236}">
                    <a16:creationId xmlns:a16="http://schemas.microsoft.com/office/drawing/2014/main" id="{EA668BED-930F-4BB0-AC27-EA3AD05AE0BE}"/>
                  </a:ext>
                </a:extLst>
              </p:cNvPr>
              <p:cNvSpPr/>
              <p:nvPr/>
            </p:nvSpPr>
            <p:spPr>
              <a:xfrm>
                <a:off x="10344856" y="2945759"/>
                <a:ext cx="632747" cy="367375"/>
              </a:xfrm>
              <a:prstGeom prst="mathMinus">
                <a:avLst/>
              </a:prstGeom>
              <a:solidFill>
                <a:schemeClr val="bg1">
                  <a:lumMod val="95000"/>
                </a:schemeClr>
              </a:solidFill>
              <a:ln>
                <a:noFill/>
              </a:ln>
              <a:effectLst/>
            </p:spPr>
            <p:txBody>
              <a:bodyPr lIns="108000" rIns="36000" anchor="t"/>
              <a:lstStyle/>
              <a:p>
                <a:pPr defTabSz="457200">
                  <a:spcBef>
                    <a:spcPts val="600"/>
                  </a:spcBef>
                  <a:defRPr/>
                </a:pPr>
                <a:endParaRPr lang="fr-FR" sz="1400" kern="0">
                  <a:solidFill>
                    <a:prstClr val="black"/>
                  </a:solidFill>
                  <a:latin typeface="Tahoma"/>
                </a:endParaRPr>
              </a:p>
            </p:txBody>
          </p:sp>
        </p:grpSp>
      </p:grpSp>
      <p:grpSp>
        <p:nvGrpSpPr>
          <p:cNvPr id="88" name="Groupe 87">
            <a:extLst>
              <a:ext uri="{FF2B5EF4-FFF2-40B4-BE49-F238E27FC236}">
                <a16:creationId xmlns:a16="http://schemas.microsoft.com/office/drawing/2014/main" id="{D8629547-51FB-483D-9182-6EBC55057AC3}"/>
              </a:ext>
            </a:extLst>
          </p:cNvPr>
          <p:cNvGrpSpPr/>
          <p:nvPr/>
        </p:nvGrpSpPr>
        <p:grpSpPr>
          <a:xfrm>
            <a:off x="7935817" y="5536722"/>
            <a:ext cx="291410" cy="1012560"/>
            <a:chOff x="307030" y="5512972"/>
            <a:chExt cx="291410" cy="1012560"/>
          </a:xfrm>
        </p:grpSpPr>
        <p:grpSp>
          <p:nvGrpSpPr>
            <p:cNvPr id="89" name="Groupe 88">
              <a:extLst>
                <a:ext uri="{FF2B5EF4-FFF2-40B4-BE49-F238E27FC236}">
                  <a16:creationId xmlns:a16="http://schemas.microsoft.com/office/drawing/2014/main" id="{3CF624CF-AF2B-456A-B687-BC079FF70489}"/>
                </a:ext>
              </a:extLst>
            </p:cNvPr>
            <p:cNvGrpSpPr/>
            <p:nvPr/>
          </p:nvGrpSpPr>
          <p:grpSpPr>
            <a:xfrm>
              <a:off x="307030" y="5512972"/>
              <a:ext cx="291410" cy="298143"/>
              <a:chOff x="10305998" y="1485211"/>
              <a:chExt cx="801926" cy="781795"/>
            </a:xfrm>
          </p:grpSpPr>
          <p:sp>
            <p:nvSpPr>
              <p:cNvPr id="93" name="Oval 4">
                <a:extLst>
                  <a:ext uri="{FF2B5EF4-FFF2-40B4-BE49-F238E27FC236}">
                    <a16:creationId xmlns:a16="http://schemas.microsoft.com/office/drawing/2014/main" id="{DBCE1DE6-EAAE-4F16-8B22-80BFE67CCA3E}"/>
                  </a:ext>
                </a:extLst>
              </p:cNvPr>
              <p:cNvSpPr/>
              <p:nvPr/>
            </p:nvSpPr>
            <p:spPr>
              <a:xfrm>
                <a:off x="10305998" y="1485211"/>
                <a:ext cx="801926" cy="781795"/>
              </a:xfrm>
              <a:prstGeom prst="ellipse">
                <a:avLst/>
              </a:prstGeom>
              <a:solidFill>
                <a:srgbClr val="92D050">
                  <a:alpha val="34000"/>
                </a:srgbClr>
              </a:solidFill>
              <a:ln>
                <a:noFill/>
              </a:ln>
              <a:effectLst/>
            </p:spPr>
            <p:txBody>
              <a:bodyPr lIns="108000" rIns="36000" anchor="t"/>
              <a:lstStyle/>
              <a:p>
                <a:pPr defTabSz="457200">
                  <a:spcBef>
                    <a:spcPts val="600"/>
                  </a:spcBef>
                  <a:defRPr/>
                </a:pPr>
                <a:endParaRPr lang="fr-FR" sz="1400" kern="0">
                  <a:solidFill>
                    <a:prstClr val="black"/>
                  </a:solidFill>
                  <a:latin typeface="Tahoma"/>
                </a:endParaRPr>
              </a:p>
            </p:txBody>
          </p:sp>
          <p:sp>
            <p:nvSpPr>
              <p:cNvPr id="94" name="Plus 5">
                <a:extLst>
                  <a:ext uri="{FF2B5EF4-FFF2-40B4-BE49-F238E27FC236}">
                    <a16:creationId xmlns:a16="http://schemas.microsoft.com/office/drawing/2014/main" id="{FD5E84FB-1815-45D5-AA10-2494CB5E9DDE}"/>
                  </a:ext>
                </a:extLst>
              </p:cNvPr>
              <p:cNvSpPr/>
              <p:nvPr/>
            </p:nvSpPr>
            <p:spPr>
              <a:xfrm>
                <a:off x="10364931" y="1592809"/>
                <a:ext cx="679767" cy="594137"/>
              </a:xfrm>
              <a:prstGeom prst="mathPlus">
                <a:avLst>
                  <a:gd name="adj1" fmla="val 15219"/>
                </a:avLst>
              </a:prstGeom>
              <a:solidFill>
                <a:schemeClr val="bg1">
                  <a:lumMod val="95000"/>
                </a:schemeClr>
              </a:solidFill>
              <a:ln>
                <a:noFill/>
              </a:ln>
              <a:effectLst/>
            </p:spPr>
            <p:txBody>
              <a:bodyPr lIns="108000" rIns="36000" anchor="t"/>
              <a:lstStyle/>
              <a:p>
                <a:pPr defTabSz="457200">
                  <a:spcBef>
                    <a:spcPts val="600"/>
                  </a:spcBef>
                  <a:defRPr/>
                </a:pPr>
                <a:endParaRPr lang="fr-FR" sz="1400" kern="0">
                  <a:solidFill>
                    <a:prstClr val="black"/>
                  </a:solidFill>
                  <a:latin typeface="Tahoma"/>
                </a:endParaRPr>
              </a:p>
            </p:txBody>
          </p:sp>
        </p:grpSp>
        <p:grpSp>
          <p:nvGrpSpPr>
            <p:cNvPr id="90" name="Groupe 89">
              <a:extLst>
                <a:ext uri="{FF2B5EF4-FFF2-40B4-BE49-F238E27FC236}">
                  <a16:creationId xmlns:a16="http://schemas.microsoft.com/office/drawing/2014/main" id="{39919040-33F5-4001-9841-B7C95C839978}"/>
                </a:ext>
              </a:extLst>
            </p:cNvPr>
            <p:cNvGrpSpPr/>
            <p:nvPr/>
          </p:nvGrpSpPr>
          <p:grpSpPr>
            <a:xfrm>
              <a:off x="307030" y="6227389"/>
              <a:ext cx="291410" cy="298143"/>
              <a:chOff x="10271903" y="2738420"/>
              <a:chExt cx="797632" cy="764660"/>
            </a:xfrm>
          </p:grpSpPr>
          <p:sp>
            <p:nvSpPr>
              <p:cNvPr id="91" name="Oval 7">
                <a:extLst>
                  <a:ext uri="{FF2B5EF4-FFF2-40B4-BE49-F238E27FC236}">
                    <a16:creationId xmlns:a16="http://schemas.microsoft.com/office/drawing/2014/main" id="{D4F691EB-5441-4183-A2D5-DAED5CE1A589}"/>
                  </a:ext>
                </a:extLst>
              </p:cNvPr>
              <p:cNvSpPr/>
              <p:nvPr/>
            </p:nvSpPr>
            <p:spPr>
              <a:xfrm>
                <a:off x="10271903" y="2738420"/>
                <a:ext cx="797632" cy="764660"/>
              </a:xfrm>
              <a:prstGeom prst="ellipse">
                <a:avLst/>
              </a:prstGeom>
              <a:solidFill>
                <a:schemeClr val="accent6">
                  <a:alpha val="47000"/>
                </a:schemeClr>
              </a:solidFill>
              <a:ln>
                <a:noFill/>
              </a:ln>
              <a:effectLst/>
            </p:spPr>
            <p:txBody>
              <a:bodyPr lIns="108000" rIns="36000" anchor="t"/>
              <a:lstStyle/>
              <a:p>
                <a:pPr defTabSz="457200">
                  <a:spcBef>
                    <a:spcPts val="600"/>
                  </a:spcBef>
                  <a:defRPr/>
                </a:pPr>
                <a:endParaRPr lang="fr-FR" sz="1400" kern="0">
                  <a:solidFill>
                    <a:prstClr val="black"/>
                  </a:solidFill>
                  <a:latin typeface="Tahoma"/>
                </a:endParaRPr>
              </a:p>
            </p:txBody>
          </p:sp>
          <p:sp>
            <p:nvSpPr>
              <p:cNvPr id="92" name="Minus 8">
                <a:extLst>
                  <a:ext uri="{FF2B5EF4-FFF2-40B4-BE49-F238E27FC236}">
                    <a16:creationId xmlns:a16="http://schemas.microsoft.com/office/drawing/2014/main" id="{8CF393C7-8253-4F3F-A542-0B0B4C77B848}"/>
                  </a:ext>
                </a:extLst>
              </p:cNvPr>
              <p:cNvSpPr/>
              <p:nvPr/>
            </p:nvSpPr>
            <p:spPr>
              <a:xfrm>
                <a:off x="10344856" y="2945759"/>
                <a:ext cx="632747" cy="367375"/>
              </a:xfrm>
              <a:prstGeom prst="mathMinus">
                <a:avLst/>
              </a:prstGeom>
              <a:solidFill>
                <a:schemeClr val="bg1">
                  <a:lumMod val="95000"/>
                </a:schemeClr>
              </a:solidFill>
              <a:ln>
                <a:noFill/>
              </a:ln>
              <a:effectLst/>
            </p:spPr>
            <p:txBody>
              <a:bodyPr lIns="108000" rIns="36000" anchor="t"/>
              <a:lstStyle/>
              <a:p>
                <a:pPr defTabSz="457200">
                  <a:spcBef>
                    <a:spcPts val="600"/>
                  </a:spcBef>
                  <a:defRPr/>
                </a:pPr>
                <a:endParaRPr lang="fr-FR" sz="1400" kern="0">
                  <a:solidFill>
                    <a:prstClr val="black"/>
                  </a:solidFill>
                  <a:latin typeface="Tahoma"/>
                </a:endParaRPr>
              </a:p>
            </p:txBody>
          </p:sp>
        </p:grpSp>
      </p:grpSp>
    </p:spTree>
    <p:extLst>
      <p:ext uri="{BB962C8B-B14F-4D97-AF65-F5344CB8AC3E}">
        <p14:creationId xmlns:p14="http://schemas.microsoft.com/office/powerpoint/2010/main" val="40944361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87E7CD53-678D-4762-BBF7-BD88498C60BF}"/>
              </a:ext>
            </a:extLst>
          </p:cNvPr>
          <p:cNvSpPr/>
          <p:nvPr/>
        </p:nvSpPr>
        <p:spPr>
          <a:xfrm>
            <a:off x="1642728" y="1638775"/>
            <a:ext cx="2948552" cy="734220"/>
          </a:xfrm>
          <a:prstGeom prst="rect">
            <a:avLst/>
          </a:prstGeom>
          <a:no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indent="-285750">
              <a:buFont typeface="Arial" panose="020B0604020202020204" pitchFamily="34" charset="0"/>
              <a:buChar char="•"/>
              <a:defRPr/>
            </a:pPr>
            <a:r>
              <a:rPr lang="fr-FR" sz="1200" b="1">
                <a:solidFill>
                  <a:srgbClr val="5F5F5F"/>
                </a:solidFill>
                <a:latin typeface="Tahoma"/>
              </a:rPr>
              <a:t>Absence de structuration en réseau </a:t>
            </a:r>
            <a:r>
              <a:rPr lang="fr-FR" sz="1200">
                <a:solidFill>
                  <a:srgbClr val="5F5F5F"/>
                </a:solidFill>
                <a:latin typeface="Tahoma"/>
              </a:rPr>
              <a:t>(niveau national et local)</a:t>
            </a:r>
          </a:p>
        </p:txBody>
      </p:sp>
      <p:sp>
        <p:nvSpPr>
          <p:cNvPr id="5" name="Titre 4">
            <a:extLst>
              <a:ext uri="{FF2B5EF4-FFF2-40B4-BE49-F238E27FC236}">
                <a16:creationId xmlns:a16="http://schemas.microsoft.com/office/drawing/2014/main" id="{C5D441CD-F319-4D1E-9975-9E3176A20627}"/>
              </a:ext>
            </a:extLst>
          </p:cNvPr>
          <p:cNvSpPr>
            <a:spLocks noGrp="1"/>
          </p:cNvSpPr>
          <p:nvPr>
            <p:ph type="title"/>
          </p:nvPr>
        </p:nvSpPr>
        <p:spPr>
          <a:xfrm>
            <a:off x="1488600" y="349581"/>
            <a:ext cx="9216000" cy="863748"/>
          </a:xfrm>
        </p:spPr>
        <p:txBody>
          <a:bodyPr/>
          <a:lstStyle/>
          <a:p>
            <a:r>
              <a:rPr lang="fr-FR"/>
              <a:t>Synthèse des freins et recommandations relatives aux projets</a:t>
            </a:r>
          </a:p>
        </p:txBody>
      </p:sp>
      <p:sp>
        <p:nvSpPr>
          <p:cNvPr id="6" name="Espace réservé du texte 5">
            <a:extLst>
              <a:ext uri="{FF2B5EF4-FFF2-40B4-BE49-F238E27FC236}">
                <a16:creationId xmlns:a16="http://schemas.microsoft.com/office/drawing/2014/main" id="{DFF68991-3228-40A4-B9DE-328003106F88}"/>
              </a:ext>
            </a:extLst>
          </p:cNvPr>
          <p:cNvSpPr>
            <a:spLocks noGrp="1"/>
          </p:cNvSpPr>
          <p:nvPr>
            <p:ph type="body" sz="quarter" idx="13"/>
          </p:nvPr>
        </p:nvSpPr>
        <p:spPr/>
        <p:txBody>
          <a:bodyPr/>
          <a:lstStyle/>
          <a:p>
            <a:r>
              <a:rPr lang="fr-FR"/>
              <a:t>Synthèse et recommandations</a:t>
            </a:r>
          </a:p>
        </p:txBody>
      </p:sp>
      <p:grpSp>
        <p:nvGrpSpPr>
          <p:cNvPr id="33" name="Groupe 32">
            <a:extLst>
              <a:ext uri="{FF2B5EF4-FFF2-40B4-BE49-F238E27FC236}">
                <a16:creationId xmlns:a16="http://schemas.microsoft.com/office/drawing/2014/main" id="{FE78317D-5C3B-41E8-AC22-2951FB6141AE}"/>
              </a:ext>
            </a:extLst>
          </p:cNvPr>
          <p:cNvGrpSpPr/>
          <p:nvPr/>
        </p:nvGrpSpPr>
        <p:grpSpPr>
          <a:xfrm>
            <a:off x="5342862" y="968003"/>
            <a:ext cx="5206410" cy="489805"/>
            <a:chOff x="4199863" y="1205020"/>
            <a:chExt cx="5493490" cy="489805"/>
          </a:xfrm>
          <a:solidFill>
            <a:schemeClr val="bg2"/>
          </a:solidFill>
        </p:grpSpPr>
        <p:sp>
          <p:nvSpPr>
            <p:cNvPr id="12" name="Rectangle 11">
              <a:extLst>
                <a:ext uri="{FF2B5EF4-FFF2-40B4-BE49-F238E27FC236}">
                  <a16:creationId xmlns:a16="http://schemas.microsoft.com/office/drawing/2014/main" id="{05FC5B80-E382-47BE-9EAA-697DA0E9A817}"/>
                </a:ext>
              </a:extLst>
            </p:cNvPr>
            <p:cNvSpPr/>
            <p:nvPr/>
          </p:nvSpPr>
          <p:spPr>
            <a:xfrm>
              <a:off x="4199863" y="1205020"/>
              <a:ext cx="5493490" cy="48980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200" b="1">
                  <a:solidFill>
                    <a:srgbClr val="FFFFFF"/>
                  </a:solidFill>
                  <a:latin typeface="Tahoma"/>
                </a:rPr>
                <a:t>Leviers et </a:t>
              </a:r>
            </a:p>
            <a:p>
              <a:pPr algn="ctr">
                <a:defRPr/>
              </a:pPr>
              <a:r>
                <a:rPr lang="fr-FR" sz="1200" b="1">
                  <a:solidFill>
                    <a:srgbClr val="FFFFFF"/>
                  </a:solidFill>
                  <a:latin typeface="Tahoma"/>
                </a:rPr>
                <a:t>facteurs clés de réussite des projets</a:t>
              </a:r>
            </a:p>
          </p:txBody>
        </p:sp>
        <p:pic>
          <p:nvPicPr>
            <p:cNvPr id="9" name="Graphique 8" descr="Visage portant des lunettes de soleil sans remplissage">
              <a:extLst>
                <a:ext uri="{FF2B5EF4-FFF2-40B4-BE49-F238E27FC236}">
                  <a16:creationId xmlns:a16="http://schemas.microsoft.com/office/drawing/2014/main" id="{9BAEBB28-951F-4B7A-8D08-CEDDD294A2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23515" y="1231311"/>
              <a:ext cx="458970" cy="458970"/>
            </a:xfrm>
            <a:prstGeom prst="rect">
              <a:avLst/>
            </a:prstGeom>
          </p:spPr>
        </p:pic>
      </p:grpSp>
      <p:grpSp>
        <p:nvGrpSpPr>
          <p:cNvPr id="32" name="Groupe 31">
            <a:extLst>
              <a:ext uri="{FF2B5EF4-FFF2-40B4-BE49-F238E27FC236}">
                <a16:creationId xmlns:a16="http://schemas.microsoft.com/office/drawing/2014/main" id="{32D398F1-2C97-40F1-9605-F579CD8D7111}"/>
              </a:ext>
            </a:extLst>
          </p:cNvPr>
          <p:cNvGrpSpPr/>
          <p:nvPr/>
        </p:nvGrpSpPr>
        <p:grpSpPr>
          <a:xfrm>
            <a:off x="1642730" y="968003"/>
            <a:ext cx="2923957" cy="489805"/>
            <a:chOff x="499729" y="1201476"/>
            <a:chExt cx="2923957" cy="489805"/>
          </a:xfrm>
        </p:grpSpPr>
        <p:sp>
          <p:nvSpPr>
            <p:cNvPr id="3" name="Rectangle 2">
              <a:extLst>
                <a:ext uri="{FF2B5EF4-FFF2-40B4-BE49-F238E27FC236}">
                  <a16:creationId xmlns:a16="http://schemas.microsoft.com/office/drawing/2014/main" id="{A1530AE3-2EA9-4639-A975-E1BD843C03B5}"/>
                </a:ext>
              </a:extLst>
            </p:cNvPr>
            <p:cNvSpPr/>
            <p:nvPr/>
          </p:nvSpPr>
          <p:spPr>
            <a:xfrm>
              <a:off x="499729" y="1201476"/>
              <a:ext cx="2923957" cy="489805"/>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200" b="1">
                  <a:solidFill>
                    <a:srgbClr val="FFFFFF"/>
                  </a:solidFill>
                  <a:latin typeface="Tahoma"/>
                </a:rPr>
                <a:t>Freins et </a:t>
              </a:r>
            </a:p>
            <a:p>
              <a:pPr algn="ctr">
                <a:defRPr/>
              </a:pPr>
              <a:r>
                <a:rPr lang="fr-FR" sz="1200" b="1">
                  <a:solidFill>
                    <a:srgbClr val="FFFFFF"/>
                  </a:solidFill>
                  <a:latin typeface="Tahoma"/>
                </a:rPr>
                <a:t>risques potentiels</a:t>
              </a:r>
            </a:p>
          </p:txBody>
        </p:sp>
        <p:pic>
          <p:nvPicPr>
            <p:cNvPr id="11" name="Graphique 10" descr="Visage neutre sans remplissage">
              <a:extLst>
                <a:ext uri="{FF2B5EF4-FFF2-40B4-BE49-F238E27FC236}">
                  <a16:creationId xmlns:a16="http://schemas.microsoft.com/office/drawing/2014/main" id="{56DDCA14-512F-45F6-BBDB-B22DE2A65A1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16689" y="1249211"/>
              <a:ext cx="423170" cy="423170"/>
            </a:xfrm>
            <a:prstGeom prst="rect">
              <a:avLst/>
            </a:prstGeom>
          </p:spPr>
        </p:pic>
      </p:grpSp>
      <p:sp>
        <p:nvSpPr>
          <p:cNvPr id="24" name="Rectangle 23">
            <a:extLst>
              <a:ext uri="{FF2B5EF4-FFF2-40B4-BE49-F238E27FC236}">
                <a16:creationId xmlns:a16="http://schemas.microsoft.com/office/drawing/2014/main" id="{55095382-DE32-42B5-9CF1-3622B08670FD}"/>
              </a:ext>
            </a:extLst>
          </p:cNvPr>
          <p:cNvSpPr/>
          <p:nvPr/>
        </p:nvSpPr>
        <p:spPr>
          <a:xfrm>
            <a:off x="5342862" y="1638775"/>
            <a:ext cx="5206411" cy="726404"/>
          </a:xfrm>
          <a:prstGeom prst="rect">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indent="-285750">
              <a:buFont typeface="Arial" panose="020B0604020202020204" pitchFamily="34" charset="0"/>
              <a:buChar char="•"/>
              <a:defRPr/>
            </a:pPr>
            <a:r>
              <a:rPr lang="fr-FR" sz="1200" b="1">
                <a:solidFill>
                  <a:srgbClr val="5F5F5F"/>
                </a:solidFill>
                <a:latin typeface="Tahoma"/>
              </a:rPr>
              <a:t>Intégrer les centres de répit au cœur des territoires</a:t>
            </a:r>
            <a:r>
              <a:rPr lang="fr-FR" sz="1200">
                <a:solidFill>
                  <a:srgbClr val="5F5F5F"/>
                </a:solidFill>
                <a:latin typeface="Tahoma"/>
              </a:rPr>
              <a:t> (synergie avec les acteurs institutionnels, bassin d’emplois,…)</a:t>
            </a:r>
          </a:p>
        </p:txBody>
      </p:sp>
      <p:sp>
        <p:nvSpPr>
          <p:cNvPr id="25" name="Rectangle 24">
            <a:extLst>
              <a:ext uri="{FF2B5EF4-FFF2-40B4-BE49-F238E27FC236}">
                <a16:creationId xmlns:a16="http://schemas.microsoft.com/office/drawing/2014/main" id="{06EB79BD-5268-4E77-AB85-F54D07D388D9}"/>
              </a:ext>
            </a:extLst>
          </p:cNvPr>
          <p:cNvSpPr>
            <a:spLocks/>
          </p:cNvSpPr>
          <p:nvPr/>
        </p:nvSpPr>
        <p:spPr>
          <a:xfrm>
            <a:off x="1642728" y="2516995"/>
            <a:ext cx="2923957" cy="1860557"/>
          </a:xfrm>
          <a:prstGeom prst="rect">
            <a:avLst/>
          </a:prstGeom>
          <a:no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indent="-285750">
              <a:buFont typeface="Arial" panose="020B0604020202020204" pitchFamily="34" charset="0"/>
              <a:buChar char="•"/>
              <a:defRPr/>
            </a:pPr>
            <a:r>
              <a:rPr lang="fr-FR" sz="1200" b="1">
                <a:solidFill>
                  <a:srgbClr val="5F5F5F"/>
                </a:solidFill>
                <a:latin typeface="Tahoma"/>
              </a:rPr>
              <a:t>Manque de soutien et de portage des projets</a:t>
            </a:r>
          </a:p>
          <a:p>
            <a:pPr marL="285750" indent="-285750">
              <a:buFont typeface="Arial" panose="020B0604020202020204" pitchFamily="34" charset="0"/>
              <a:buChar char="•"/>
              <a:defRPr/>
            </a:pPr>
            <a:endParaRPr lang="fr-FR" sz="1200" b="1">
              <a:solidFill>
                <a:srgbClr val="5F5F5F"/>
              </a:solidFill>
              <a:latin typeface="Tahoma"/>
            </a:endParaRPr>
          </a:p>
          <a:p>
            <a:pPr marL="285750" indent="-285750">
              <a:buFont typeface="Arial" panose="020B0604020202020204" pitchFamily="34" charset="0"/>
              <a:buChar char="•"/>
              <a:defRPr/>
            </a:pPr>
            <a:r>
              <a:rPr lang="fr-FR" sz="1200" b="1">
                <a:solidFill>
                  <a:srgbClr val="5F5F5F"/>
                </a:solidFill>
                <a:latin typeface="Tahoma"/>
              </a:rPr>
              <a:t>C</a:t>
            </a:r>
            <a:r>
              <a:rPr lang="fr-FR" sz="1200" b="1" err="1">
                <a:solidFill>
                  <a:srgbClr val="5F5F5F"/>
                </a:solidFill>
                <a:latin typeface="Tahoma"/>
              </a:rPr>
              <a:t>ommunication</a:t>
            </a:r>
            <a:r>
              <a:rPr lang="fr-FR" sz="1200" b="1">
                <a:solidFill>
                  <a:srgbClr val="5F5F5F"/>
                </a:solidFill>
                <a:latin typeface="Tahoma"/>
              </a:rPr>
              <a:t> insuffisante </a:t>
            </a:r>
            <a:r>
              <a:rPr lang="fr-FR" sz="1200">
                <a:solidFill>
                  <a:srgbClr val="5F5F5F"/>
                </a:solidFill>
                <a:latin typeface="Tahoma"/>
              </a:rPr>
              <a:t>(à destination du public cible, entre les interlocuteurs nationaux et locaux) et </a:t>
            </a:r>
            <a:r>
              <a:rPr lang="fr-FR" sz="1200" b="1">
                <a:solidFill>
                  <a:srgbClr val="5F5F5F"/>
                </a:solidFill>
                <a:latin typeface="Tahoma"/>
              </a:rPr>
              <a:t>absence de partage d’expérience</a:t>
            </a:r>
          </a:p>
        </p:txBody>
      </p:sp>
      <p:sp>
        <p:nvSpPr>
          <p:cNvPr id="27" name="Rectangle 26">
            <a:extLst>
              <a:ext uri="{FF2B5EF4-FFF2-40B4-BE49-F238E27FC236}">
                <a16:creationId xmlns:a16="http://schemas.microsoft.com/office/drawing/2014/main" id="{75914552-2FD5-4DDC-859A-2FD5790CAF8B}"/>
              </a:ext>
            </a:extLst>
          </p:cNvPr>
          <p:cNvSpPr>
            <a:spLocks/>
          </p:cNvSpPr>
          <p:nvPr/>
        </p:nvSpPr>
        <p:spPr>
          <a:xfrm>
            <a:off x="1642728" y="4521550"/>
            <a:ext cx="2923957" cy="1869002"/>
          </a:xfrm>
          <a:prstGeom prst="rect">
            <a:avLst/>
          </a:prstGeom>
          <a:no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indent="-285750">
              <a:buFont typeface="Arial" panose="020B0604020202020204" pitchFamily="34" charset="0"/>
              <a:buChar char="•"/>
              <a:defRPr/>
            </a:pPr>
            <a:r>
              <a:rPr lang="fr-FR" sz="1200" b="1">
                <a:solidFill>
                  <a:srgbClr val="5F5F5F"/>
                </a:solidFill>
                <a:latin typeface="Tahoma"/>
              </a:rPr>
              <a:t>Fragilité du modèle économique</a:t>
            </a:r>
          </a:p>
          <a:p>
            <a:pPr marL="285750" indent="-285750">
              <a:buFont typeface="Arial" panose="020B0604020202020204" pitchFamily="34" charset="0"/>
              <a:buChar char="•"/>
              <a:defRPr/>
            </a:pPr>
            <a:endParaRPr lang="fr-FR" sz="1200" b="1">
              <a:solidFill>
                <a:srgbClr val="5F5F5F"/>
              </a:solidFill>
              <a:latin typeface="Tahoma"/>
            </a:endParaRPr>
          </a:p>
          <a:p>
            <a:pPr marL="285750" indent="-285750">
              <a:buFont typeface="Arial" panose="020B0604020202020204" pitchFamily="34" charset="0"/>
              <a:buChar char="•"/>
              <a:defRPr/>
            </a:pPr>
            <a:r>
              <a:rPr lang="fr-FR" sz="1200" b="1">
                <a:solidFill>
                  <a:srgbClr val="5F5F5F"/>
                </a:solidFill>
                <a:latin typeface="Tahoma"/>
              </a:rPr>
              <a:t>Risques de ne pas pouvoir dépasser le stade expérimental</a:t>
            </a:r>
          </a:p>
        </p:txBody>
      </p:sp>
      <p:sp>
        <p:nvSpPr>
          <p:cNvPr id="28" name="Rectangle 27">
            <a:extLst>
              <a:ext uri="{FF2B5EF4-FFF2-40B4-BE49-F238E27FC236}">
                <a16:creationId xmlns:a16="http://schemas.microsoft.com/office/drawing/2014/main" id="{876562F5-8FB7-46B3-9CC3-ED95B2D280D2}"/>
              </a:ext>
            </a:extLst>
          </p:cNvPr>
          <p:cNvSpPr>
            <a:spLocks/>
          </p:cNvSpPr>
          <p:nvPr/>
        </p:nvSpPr>
        <p:spPr>
          <a:xfrm>
            <a:off x="5342862" y="4521553"/>
            <a:ext cx="5206410" cy="1868373"/>
          </a:xfrm>
          <a:prstGeom prst="rect">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indent="-285750">
              <a:buFont typeface="Arial" panose="020B0604020202020204" pitchFamily="34" charset="0"/>
              <a:buChar char="•"/>
              <a:defRPr/>
            </a:pPr>
            <a:r>
              <a:rPr lang="fr-FR" sz="1200" b="1">
                <a:solidFill>
                  <a:srgbClr val="5F5F5F"/>
                </a:solidFill>
                <a:latin typeface="Tahoma"/>
              </a:rPr>
              <a:t>Diversifier les sources de revenus </a:t>
            </a:r>
            <a:r>
              <a:rPr lang="fr-FR" sz="1200">
                <a:solidFill>
                  <a:srgbClr val="5F5F5F"/>
                </a:solidFill>
                <a:latin typeface="Tahoma"/>
              </a:rPr>
              <a:t>(financements privés, de type financement participatif, APP, mécénat,...)</a:t>
            </a:r>
          </a:p>
          <a:p>
            <a:pPr marL="285750" indent="-285750">
              <a:buFont typeface="Arial" panose="020B0604020202020204" pitchFamily="34" charset="0"/>
              <a:buChar char="•"/>
              <a:defRPr/>
            </a:pPr>
            <a:endParaRPr lang="fr-FR" sz="1200">
              <a:solidFill>
                <a:srgbClr val="5F5F5F"/>
              </a:solidFill>
              <a:latin typeface="Tahoma"/>
            </a:endParaRPr>
          </a:p>
          <a:p>
            <a:pPr marL="285750" indent="-285750">
              <a:buFont typeface="Arial" panose="020B0604020202020204" pitchFamily="34" charset="0"/>
              <a:buChar char="•"/>
              <a:defRPr/>
            </a:pPr>
            <a:r>
              <a:rPr lang="fr-FR" sz="1200" b="1">
                <a:solidFill>
                  <a:srgbClr val="5F5F5F"/>
                </a:solidFill>
                <a:latin typeface="Tahoma"/>
              </a:rPr>
              <a:t>Simplifier le pilotage opérationnel et rationnaliser les coûts notamment via la mutualisation (avec des ESMS) et la diversification des activités</a:t>
            </a:r>
          </a:p>
          <a:p>
            <a:pPr>
              <a:defRPr/>
            </a:pPr>
            <a:endParaRPr lang="fr-FR" sz="1200" b="1">
              <a:solidFill>
                <a:srgbClr val="5F5F5F"/>
              </a:solidFill>
              <a:latin typeface="Tahoma"/>
            </a:endParaRPr>
          </a:p>
          <a:p>
            <a:pPr marL="285750" indent="-285750">
              <a:buFont typeface="Arial" panose="020B0604020202020204" pitchFamily="34" charset="0"/>
              <a:buChar char="•"/>
              <a:defRPr/>
            </a:pPr>
            <a:r>
              <a:rPr lang="fr-FR" sz="1200" b="1">
                <a:solidFill>
                  <a:srgbClr val="5F5F5F"/>
                </a:solidFill>
                <a:latin typeface="Tahoma"/>
              </a:rPr>
              <a:t>Convaincre, rassurer et diversifier les partenaires et investisseurs</a:t>
            </a:r>
          </a:p>
        </p:txBody>
      </p:sp>
      <p:sp>
        <p:nvSpPr>
          <p:cNvPr id="29" name="Flèche : droite 28">
            <a:extLst>
              <a:ext uri="{FF2B5EF4-FFF2-40B4-BE49-F238E27FC236}">
                <a16:creationId xmlns:a16="http://schemas.microsoft.com/office/drawing/2014/main" id="{28DE9CD0-5A8C-4E8F-A3E1-D0B41F9EED7C}"/>
              </a:ext>
            </a:extLst>
          </p:cNvPr>
          <p:cNvSpPr/>
          <p:nvPr/>
        </p:nvSpPr>
        <p:spPr>
          <a:xfrm>
            <a:off x="4767592" y="1845832"/>
            <a:ext cx="395283" cy="323891"/>
          </a:xfrm>
          <a:prstGeom prst="rightArrow">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endParaRPr lang="fr-FR" sz="1200">
              <a:solidFill>
                <a:srgbClr val="503078"/>
              </a:solidFill>
              <a:latin typeface="Tahoma"/>
            </a:endParaRPr>
          </a:p>
        </p:txBody>
      </p:sp>
      <p:sp>
        <p:nvSpPr>
          <p:cNvPr id="30" name="Flèche : droite 29">
            <a:extLst>
              <a:ext uri="{FF2B5EF4-FFF2-40B4-BE49-F238E27FC236}">
                <a16:creationId xmlns:a16="http://schemas.microsoft.com/office/drawing/2014/main" id="{9CCAF196-AD78-4322-A417-3C6F03A6A9AD}"/>
              </a:ext>
            </a:extLst>
          </p:cNvPr>
          <p:cNvSpPr/>
          <p:nvPr/>
        </p:nvSpPr>
        <p:spPr>
          <a:xfrm>
            <a:off x="4803143" y="3047456"/>
            <a:ext cx="395283" cy="323891"/>
          </a:xfrm>
          <a:prstGeom prst="rightArrow">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endParaRPr lang="fr-FR" sz="1200">
              <a:solidFill>
                <a:srgbClr val="503078"/>
              </a:solidFill>
              <a:latin typeface="Tahoma"/>
            </a:endParaRPr>
          </a:p>
        </p:txBody>
      </p:sp>
      <p:sp>
        <p:nvSpPr>
          <p:cNvPr id="31" name="Flèche : droite 30">
            <a:extLst>
              <a:ext uri="{FF2B5EF4-FFF2-40B4-BE49-F238E27FC236}">
                <a16:creationId xmlns:a16="http://schemas.microsoft.com/office/drawing/2014/main" id="{6330E61A-0CAF-41CC-9B9E-C0354FA5B4CE}"/>
              </a:ext>
            </a:extLst>
          </p:cNvPr>
          <p:cNvSpPr/>
          <p:nvPr/>
        </p:nvSpPr>
        <p:spPr>
          <a:xfrm>
            <a:off x="4803143" y="5092640"/>
            <a:ext cx="395283" cy="323891"/>
          </a:xfrm>
          <a:prstGeom prst="rightArrow">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endParaRPr lang="fr-FR" sz="1200">
              <a:solidFill>
                <a:srgbClr val="503078"/>
              </a:solidFill>
              <a:latin typeface="Tahoma"/>
            </a:endParaRPr>
          </a:p>
        </p:txBody>
      </p:sp>
      <p:grpSp>
        <p:nvGrpSpPr>
          <p:cNvPr id="21" name="Groupe 20">
            <a:extLst>
              <a:ext uri="{FF2B5EF4-FFF2-40B4-BE49-F238E27FC236}">
                <a16:creationId xmlns:a16="http://schemas.microsoft.com/office/drawing/2014/main" id="{390FB11F-85D6-4747-8CEB-0397C6F5CE2C}"/>
              </a:ext>
            </a:extLst>
          </p:cNvPr>
          <p:cNvGrpSpPr/>
          <p:nvPr/>
        </p:nvGrpSpPr>
        <p:grpSpPr>
          <a:xfrm>
            <a:off x="5342860" y="965292"/>
            <a:ext cx="5206412" cy="489805"/>
            <a:chOff x="4199863" y="1205020"/>
            <a:chExt cx="5493490" cy="489805"/>
          </a:xfrm>
          <a:solidFill>
            <a:schemeClr val="bg2"/>
          </a:solidFill>
        </p:grpSpPr>
        <p:sp>
          <p:nvSpPr>
            <p:cNvPr id="23" name="Rectangle 22">
              <a:extLst>
                <a:ext uri="{FF2B5EF4-FFF2-40B4-BE49-F238E27FC236}">
                  <a16:creationId xmlns:a16="http://schemas.microsoft.com/office/drawing/2014/main" id="{44D16066-CBEC-473A-AC08-DAE58E38B86C}"/>
                </a:ext>
              </a:extLst>
            </p:cNvPr>
            <p:cNvSpPr/>
            <p:nvPr/>
          </p:nvSpPr>
          <p:spPr>
            <a:xfrm>
              <a:off x="4199863" y="1205020"/>
              <a:ext cx="5493490" cy="48980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200" b="1">
                  <a:solidFill>
                    <a:srgbClr val="FFFFFF"/>
                  </a:solidFill>
                  <a:latin typeface="Tahoma"/>
                </a:rPr>
                <a:t>Leviers et </a:t>
              </a:r>
            </a:p>
            <a:p>
              <a:pPr algn="ctr">
                <a:defRPr/>
              </a:pPr>
              <a:r>
                <a:rPr lang="fr-FR" sz="1200" b="1">
                  <a:solidFill>
                    <a:srgbClr val="FFFFFF"/>
                  </a:solidFill>
                  <a:latin typeface="Tahoma"/>
                </a:rPr>
                <a:t>facteurs clés de réussite des projets</a:t>
              </a:r>
            </a:p>
          </p:txBody>
        </p:sp>
        <p:pic>
          <p:nvPicPr>
            <p:cNvPr id="34" name="Graphique 33" descr="Visage portant des lunettes de soleil sans remplissage">
              <a:extLst>
                <a:ext uri="{FF2B5EF4-FFF2-40B4-BE49-F238E27FC236}">
                  <a16:creationId xmlns:a16="http://schemas.microsoft.com/office/drawing/2014/main" id="{EE655F91-4EF5-4B0B-9B1B-439872C0A1B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23515" y="1231311"/>
              <a:ext cx="458970" cy="458970"/>
            </a:xfrm>
            <a:prstGeom prst="rect">
              <a:avLst/>
            </a:prstGeom>
          </p:spPr>
        </p:pic>
      </p:grpSp>
      <p:sp>
        <p:nvSpPr>
          <p:cNvPr id="36" name="Rectangle 35">
            <a:extLst>
              <a:ext uri="{FF2B5EF4-FFF2-40B4-BE49-F238E27FC236}">
                <a16:creationId xmlns:a16="http://schemas.microsoft.com/office/drawing/2014/main" id="{52175DC3-CA73-48A1-ABC4-A66ED60D579E}"/>
              </a:ext>
            </a:extLst>
          </p:cNvPr>
          <p:cNvSpPr>
            <a:spLocks/>
          </p:cNvSpPr>
          <p:nvPr/>
        </p:nvSpPr>
        <p:spPr>
          <a:xfrm>
            <a:off x="5342861" y="2509180"/>
            <a:ext cx="5206411" cy="1868373"/>
          </a:xfrm>
          <a:prstGeom prst="rect">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indent="-285750">
              <a:buFont typeface="Arial" panose="020B0604020202020204" pitchFamily="34" charset="0"/>
              <a:buChar char="•"/>
              <a:defRPr/>
            </a:pPr>
            <a:r>
              <a:rPr lang="fr-FR" sz="1200" b="1">
                <a:solidFill>
                  <a:srgbClr val="5F5F5F"/>
                </a:solidFill>
                <a:latin typeface="Tahoma"/>
              </a:rPr>
              <a:t>Inclure l'offre de répit pour les aidants dans le cadre d'un parcours d’accompagnement de soins global</a:t>
            </a:r>
          </a:p>
          <a:p>
            <a:pPr marL="285750" indent="-285750">
              <a:buFont typeface="Arial" panose="020B0604020202020204" pitchFamily="34" charset="0"/>
              <a:buChar char="•"/>
              <a:defRPr/>
            </a:pPr>
            <a:endParaRPr lang="fr-FR" sz="1200" b="1">
              <a:solidFill>
                <a:srgbClr val="5F5F5F"/>
              </a:solidFill>
              <a:latin typeface="Tahoma"/>
            </a:endParaRPr>
          </a:p>
          <a:p>
            <a:pPr marL="285750" indent="-285750">
              <a:buFont typeface="Arial" panose="020B0604020202020204" pitchFamily="34" charset="0"/>
              <a:buChar char="•"/>
              <a:defRPr/>
            </a:pPr>
            <a:r>
              <a:rPr lang="fr-FR" sz="1200" b="1">
                <a:solidFill>
                  <a:srgbClr val="5F5F5F"/>
                </a:solidFill>
                <a:latin typeface="Tahoma"/>
              </a:rPr>
              <a:t>Mobiliser des expertises de porteurs de projet </a:t>
            </a:r>
            <a:r>
              <a:rPr lang="fr-FR" sz="1200">
                <a:solidFill>
                  <a:srgbClr val="5F5F5F"/>
                </a:solidFill>
                <a:latin typeface="Tahoma"/>
              </a:rPr>
              <a:t>(ingénierie financière, montage de projet, retour d’expérience,…)</a:t>
            </a:r>
          </a:p>
          <a:p>
            <a:pPr marL="285750" indent="-285750">
              <a:buFont typeface="Arial" panose="020B0604020202020204" pitchFamily="34" charset="0"/>
              <a:buChar char="•"/>
              <a:defRPr/>
            </a:pPr>
            <a:endParaRPr lang="fr-FR" sz="1200" b="1">
              <a:solidFill>
                <a:srgbClr val="5F5F5F"/>
              </a:solidFill>
              <a:latin typeface="Tahoma"/>
            </a:endParaRPr>
          </a:p>
          <a:p>
            <a:pPr marL="285750" indent="-285750">
              <a:buFont typeface="Arial" panose="020B0604020202020204" pitchFamily="34" charset="0"/>
              <a:buChar char="•"/>
              <a:defRPr/>
            </a:pPr>
            <a:r>
              <a:rPr lang="fr-FR" sz="1200" b="1">
                <a:solidFill>
                  <a:srgbClr val="5F5F5F"/>
                </a:solidFill>
                <a:latin typeface="Tahoma"/>
              </a:rPr>
              <a:t>Mobiliser des partenaires (publics, privés...) au niveau national et local</a:t>
            </a:r>
          </a:p>
        </p:txBody>
      </p:sp>
    </p:spTree>
    <p:extLst>
      <p:ext uri="{BB962C8B-B14F-4D97-AF65-F5344CB8AC3E}">
        <p14:creationId xmlns:p14="http://schemas.microsoft.com/office/powerpoint/2010/main" val="37180456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lèche : pentagone 7">
            <a:extLst>
              <a:ext uri="{FF2B5EF4-FFF2-40B4-BE49-F238E27FC236}">
                <a16:creationId xmlns:a16="http://schemas.microsoft.com/office/drawing/2014/main" id="{B0012F75-F305-4DFF-9F4F-63AD35CB5BEB}"/>
              </a:ext>
            </a:extLst>
          </p:cNvPr>
          <p:cNvSpPr/>
          <p:nvPr/>
        </p:nvSpPr>
        <p:spPr>
          <a:xfrm>
            <a:off x="1143001" y="1352505"/>
            <a:ext cx="7527073" cy="426572"/>
          </a:xfrm>
          <a:prstGeom prst="homePlate">
            <a:avLst/>
          </a:prstGeom>
          <a:solidFill>
            <a:srgbClr val="EBE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5" name="Titre 4">
            <a:extLst>
              <a:ext uri="{FF2B5EF4-FFF2-40B4-BE49-F238E27FC236}">
                <a16:creationId xmlns:a16="http://schemas.microsoft.com/office/drawing/2014/main" id="{C5D441CD-F319-4D1E-9975-9E3176A20627}"/>
              </a:ext>
            </a:extLst>
          </p:cNvPr>
          <p:cNvSpPr>
            <a:spLocks noGrp="1"/>
          </p:cNvSpPr>
          <p:nvPr>
            <p:ph type="title"/>
          </p:nvPr>
        </p:nvSpPr>
        <p:spPr/>
        <p:txBody>
          <a:bodyPr/>
          <a:lstStyle/>
          <a:p>
            <a:r>
              <a:rPr lang="fr-FR"/>
              <a:t>Les séjours de répit : un levier d’amélioration des conditions de vie des aidants mais des modèles encore incertains </a:t>
            </a:r>
          </a:p>
        </p:txBody>
      </p:sp>
      <p:sp>
        <p:nvSpPr>
          <p:cNvPr id="6" name="Espace réservé du texte 5">
            <a:extLst>
              <a:ext uri="{FF2B5EF4-FFF2-40B4-BE49-F238E27FC236}">
                <a16:creationId xmlns:a16="http://schemas.microsoft.com/office/drawing/2014/main" id="{DFF68991-3228-40A4-B9DE-328003106F88}"/>
              </a:ext>
            </a:extLst>
          </p:cNvPr>
          <p:cNvSpPr>
            <a:spLocks noGrp="1"/>
          </p:cNvSpPr>
          <p:nvPr>
            <p:ph type="body" sz="quarter" idx="13"/>
          </p:nvPr>
        </p:nvSpPr>
        <p:spPr>
          <a:xfrm>
            <a:off x="1488600" y="144315"/>
            <a:ext cx="9216000" cy="260350"/>
          </a:xfrm>
        </p:spPr>
        <p:txBody>
          <a:bodyPr/>
          <a:lstStyle/>
          <a:p>
            <a:r>
              <a:rPr lang="fr-FR"/>
              <a:t>Synthèse et recommandations</a:t>
            </a:r>
          </a:p>
        </p:txBody>
      </p:sp>
      <p:sp>
        <p:nvSpPr>
          <p:cNvPr id="4" name="ZoneTexte 3">
            <a:extLst>
              <a:ext uri="{FF2B5EF4-FFF2-40B4-BE49-F238E27FC236}">
                <a16:creationId xmlns:a16="http://schemas.microsoft.com/office/drawing/2014/main" id="{A4AE4A46-001B-4852-B991-12EE27119634}"/>
              </a:ext>
            </a:extLst>
          </p:cNvPr>
          <p:cNvSpPr txBox="1"/>
          <p:nvPr/>
        </p:nvSpPr>
        <p:spPr>
          <a:xfrm>
            <a:off x="1254513" y="1411903"/>
            <a:ext cx="7660887" cy="307777"/>
          </a:xfrm>
          <a:prstGeom prst="rect">
            <a:avLst/>
          </a:prstGeom>
          <a:noFill/>
        </p:spPr>
        <p:txBody>
          <a:bodyPr wrap="square" lIns="108000" rIns="108000" rtlCol="0">
            <a:spAutoFit/>
          </a:bodyPr>
          <a:lstStyle/>
          <a:p>
            <a:r>
              <a:rPr lang="fr-FR" sz="1400" b="1">
                <a:solidFill>
                  <a:srgbClr val="503078"/>
                </a:solidFill>
                <a:latin typeface="Tahoma"/>
              </a:rPr>
              <a:t>Un effet bénéfique des séjours de répit sur les publics aidants / aidés… </a:t>
            </a:r>
          </a:p>
        </p:txBody>
      </p:sp>
      <p:sp>
        <p:nvSpPr>
          <p:cNvPr id="45" name="Rectangle 44">
            <a:extLst>
              <a:ext uri="{FF2B5EF4-FFF2-40B4-BE49-F238E27FC236}">
                <a16:creationId xmlns:a16="http://schemas.microsoft.com/office/drawing/2014/main" id="{F6302957-2331-4D15-BEFF-081E95710BEF}"/>
              </a:ext>
            </a:extLst>
          </p:cNvPr>
          <p:cNvSpPr>
            <a:spLocks/>
          </p:cNvSpPr>
          <p:nvPr/>
        </p:nvSpPr>
        <p:spPr>
          <a:xfrm>
            <a:off x="1366789" y="1766668"/>
            <a:ext cx="9522378" cy="898095"/>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indent="-285750" algn="just">
              <a:spcAft>
                <a:spcPts val="600"/>
              </a:spcAft>
              <a:buClr>
                <a:srgbClr val="503078"/>
              </a:buClr>
              <a:buFont typeface="Tahoma" panose="020B0604030504040204" pitchFamily="34" charset="0"/>
              <a:buChar char="⁄"/>
              <a:defRPr/>
            </a:pPr>
            <a:r>
              <a:rPr lang="fr-FR" sz="1200">
                <a:solidFill>
                  <a:srgbClr val="5F5F5F"/>
                </a:solidFill>
                <a:latin typeface="Tahoma"/>
              </a:rPr>
              <a:t>Les offres de répit sont </a:t>
            </a:r>
            <a:r>
              <a:rPr lang="fr-FR" sz="1200" b="1">
                <a:solidFill>
                  <a:srgbClr val="503078"/>
                </a:solidFill>
                <a:latin typeface="Tahoma"/>
              </a:rPr>
              <a:t>plébiscitées par le public cible</a:t>
            </a:r>
            <a:r>
              <a:rPr lang="fr-FR" sz="1200">
                <a:solidFill>
                  <a:srgbClr val="5F5F5F"/>
                </a:solidFill>
                <a:latin typeface="Tahoma"/>
              </a:rPr>
              <a:t> et répondent </a:t>
            </a:r>
            <a:r>
              <a:rPr lang="fr-FR" sz="1200" b="1">
                <a:solidFill>
                  <a:srgbClr val="503078"/>
                </a:solidFill>
                <a:latin typeface="Tahoma"/>
              </a:rPr>
              <a:t>à un réel enjeu social</a:t>
            </a:r>
            <a:r>
              <a:rPr lang="fr-FR" sz="1200">
                <a:solidFill>
                  <a:srgbClr val="5F5F5F"/>
                </a:solidFill>
                <a:latin typeface="Tahoma"/>
              </a:rPr>
              <a:t>, dans un contexte démographique où le nombre d’aidants poursuivra une forte croissance à horizon 2050</a:t>
            </a:r>
          </a:p>
          <a:p>
            <a:pPr marL="285750" indent="-285750" algn="just">
              <a:spcAft>
                <a:spcPts val="600"/>
              </a:spcAft>
              <a:buClr>
                <a:srgbClr val="503078"/>
              </a:buClr>
              <a:buFont typeface="Tahoma" panose="020B0604030504040204" pitchFamily="34" charset="0"/>
              <a:buChar char="⁄"/>
              <a:defRPr/>
            </a:pPr>
            <a:r>
              <a:rPr lang="fr-FR" sz="1200">
                <a:solidFill>
                  <a:srgbClr val="5F5F5F"/>
                </a:solidFill>
                <a:latin typeface="Tahoma"/>
              </a:rPr>
              <a:t>Les études d’impact menées sur les séjours aidants / aidés ont permis de démontrer leurs </a:t>
            </a:r>
            <a:r>
              <a:rPr lang="fr-FR" sz="1200" b="1">
                <a:solidFill>
                  <a:srgbClr val="503078"/>
                </a:solidFill>
                <a:latin typeface="Tahoma"/>
              </a:rPr>
              <a:t>effets positifs </a:t>
            </a:r>
            <a:r>
              <a:rPr lang="fr-FR" sz="1200">
                <a:solidFill>
                  <a:srgbClr val="5F5F5F"/>
                </a:solidFill>
                <a:latin typeface="Tahoma"/>
              </a:rPr>
              <a:t>sur les conditions de vie des aidants et de leurs aidés</a:t>
            </a:r>
          </a:p>
        </p:txBody>
      </p:sp>
      <p:sp>
        <p:nvSpPr>
          <p:cNvPr id="46" name="Rectangle 45">
            <a:extLst>
              <a:ext uri="{FF2B5EF4-FFF2-40B4-BE49-F238E27FC236}">
                <a16:creationId xmlns:a16="http://schemas.microsoft.com/office/drawing/2014/main" id="{0B1CA207-57E6-416C-A22F-BC0F661C509F}"/>
              </a:ext>
            </a:extLst>
          </p:cNvPr>
          <p:cNvSpPr>
            <a:spLocks/>
          </p:cNvSpPr>
          <p:nvPr/>
        </p:nvSpPr>
        <p:spPr>
          <a:xfrm>
            <a:off x="1350800" y="3362797"/>
            <a:ext cx="9522378" cy="2014641"/>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indent="-285750" algn="just">
              <a:spcAft>
                <a:spcPts val="600"/>
              </a:spcAft>
              <a:buClr>
                <a:srgbClr val="503078"/>
              </a:buClr>
              <a:buFont typeface="Tahoma" panose="020B0604030504040204" pitchFamily="34" charset="0"/>
              <a:buChar char="⁄"/>
              <a:defRPr/>
            </a:pPr>
            <a:r>
              <a:rPr lang="fr-FR" sz="1200">
                <a:solidFill>
                  <a:srgbClr val="5F5F5F"/>
                </a:solidFill>
                <a:latin typeface="Tahoma"/>
              </a:rPr>
              <a:t>Malgré le développement de centres de répit (à l’image de VRF), </a:t>
            </a:r>
            <a:r>
              <a:rPr lang="fr-FR" sz="1200" b="1">
                <a:solidFill>
                  <a:srgbClr val="503078"/>
                </a:solidFill>
                <a:latin typeface="Tahoma"/>
              </a:rPr>
              <a:t>le modèle économique reste à consolider</a:t>
            </a:r>
            <a:r>
              <a:rPr lang="fr-FR" sz="1200">
                <a:solidFill>
                  <a:srgbClr val="5F5F5F"/>
                </a:solidFill>
                <a:latin typeface="Tahoma"/>
              </a:rPr>
              <a:t>, notamment du fait d’une rentabilité difficile à atteindre (effets de saisonnalité, taux d’occupation variables) et de l’enjeu de déterminer un reste à charge en adéquation avec la mission d’intérêt général des centres de répit. De nouveaux modèles centrés sur la mutualisation commencent à émerger. </a:t>
            </a:r>
          </a:p>
          <a:p>
            <a:pPr marL="285750" indent="-285750" algn="just">
              <a:spcAft>
                <a:spcPts val="600"/>
              </a:spcAft>
              <a:buClr>
                <a:srgbClr val="503078"/>
              </a:buClr>
              <a:buFont typeface="Tahoma" panose="020B0604030504040204" pitchFamily="34" charset="0"/>
              <a:buChar char="⁄"/>
              <a:defRPr/>
            </a:pPr>
            <a:r>
              <a:rPr lang="fr-FR" sz="1200">
                <a:solidFill>
                  <a:srgbClr val="5F5F5F"/>
                </a:solidFill>
                <a:latin typeface="Tahoma"/>
              </a:rPr>
              <a:t>Des </a:t>
            </a:r>
            <a:r>
              <a:rPr lang="fr-FR" sz="1200" b="1">
                <a:solidFill>
                  <a:srgbClr val="503078"/>
                </a:solidFill>
                <a:latin typeface="Tahoma"/>
              </a:rPr>
              <a:t>freins administratifs et règlementaires </a:t>
            </a:r>
            <a:r>
              <a:rPr lang="fr-FR" sz="1200">
                <a:solidFill>
                  <a:srgbClr val="5F5F5F"/>
                </a:solidFill>
                <a:latin typeface="Tahoma"/>
              </a:rPr>
              <a:t>forts subsistent, notamment s’agissant de l’articulation entre les places d’AT / HT accordées aux centres de répit et le taux d’équipement global du territoire. </a:t>
            </a:r>
          </a:p>
          <a:p>
            <a:pPr marL="285750" indent="-285750" algn="just">
              <a:spcAft>
                <a:spcPts val="600"/>
              </a:spcAft>
              <a:buClr>
                <a:srgbClr val="503078"/>
              </a:buClr>
              <a:buFont typeface="Tahoma" panose="020B0604030504040204" pitchFamily="34" charset="0"/>
              <a:buChar char="⁄"/>
              <a:defRPr/>
            </a:pPr>
            <a:r>
              <a:rPr lang="fr-FR" sz="1200">
                <a:solidFill>
                  <a:srgbClr val="5F5F5F"/>
                </a:solidFill>
                <a:latin typeface="Tahoma"/>
              </a:rPr>
              <a:t>Pour ces raisons, les acteurs institutionnels émettent des doutes quant à la viabilité du modèle et peinent à se positionner.</a:t>
            </a:r>
          </a:p>
          <a:p>
            <a:pPr marL="285750" indent="-285750" algn="just">
              <a:spcAft>
                <a:spcPts val="600"/>
              </a:spcAft>
              <a:buClr>
                <a:srgbClr val="503078"/>
              </a:buClr>
              <a:buFont typeface="Tahoma" panose="020B0604030504040204" pitchFamily="34" charset="0"/>
              <a:buChar char="⁄"/>
              <a:defRPr/>
            </a:pPr>
            <a:r>
              <a:rPr lang="fr-FR" sz="1200">
                <a:solidFill>
                  <a:srgbClr val="5F5F5F"/>
                </a:solidFill>
                <a:latin typeface="Tahoma"/>
              </a:rPr>
              <a:t>Pour garantir la réussite de ces initiatives, un changement de gouvernance des projets et </a:t>
            </a:r>
            <a:r>
              <a:rPr lang="fr-FR" sz="1200" b="1">
                <a:solidFill>
                  <a:srgbClr val="503078"/>
                </a:solidFill>
                <a:latin typeface="Tahoma"/>
              </a:rPr>
              <a:t>un passage à l’échelle nationale</a:t>
            </a:r>
            <a:r>
              <a:rPr lang="fr-FR" sz="1200">
                <a:solidFill>
                  <a:srgbClr val="5F5F5F"/>
                </a:solidFill>
                <a:latin typeface="Tahoma"/>
              </a:rPr>
              <a:t> est nécessaire avec une structuration en réseau permettant </a:t>
            </a:r>
            <a:r>
              <a:rPr lang="fr-FR" sz="1200" b="1">
                <a:solidFill>
                  <a:srgbClr val="503078"/>
                </a:solidFill>
                <a:latin typeface="Tahoma"/>
              </a:rPr>
              <a:t>de capitaliser sur les retours d’expérience </a:t>
            </a:r>
            <a:r>
              <a:rPr lang="fr-FR" sz="1200">
                <a:solidFill>
                  <a:srgbClr val="5F5F5F"/>
                </a:solidFill>
                <a:latin typeface="Tahoma"/>
              </a:rPr>
              <a:t>des porteurs de projets et </a:t>
            </a:r>
            <a:r>
              <a:rPr lang="fr-FR" sz="1200" b="1">
                <a:solidFill>
                  <a:srgbClr val="503078"/>
                </a:solidFill>
                <a:latin typeface="Tahoma"/>
              </a:rPr>
              <a:t>mutualiser les coûts</a:t>
            </a:r>
            <a:r>
              <a:rPr lang="fr-FR" sz="1200">
                <a:solidFill>
                  <a:srgbClr val="5F5F5F"/>
                </a:solidFill>
                <a:latin typeface="Tahoma"/>
              </a:rPr>
              <a:t>. </a:t>
            </a:r>
          </a:p>
        </p:txBody>
      </p:sp>
      <p:sp>
        <p:nvSpPr>
          <p:cNvPr id="47" name="Flèche : pentagone 46">
            <a:extLst>
              <a:ext uri="{FF2B5EF4-FFF2-40B4-BE49-F238E27FC236}">
                <a16:creationId xmlns:a16="http://schemas.microsoft.com/office/drawing/2014/main" id="{56D325D2-8F91-4EE5-B515-D8F8728EDCC3}"/>
              </a:ext>
            </a:extLst>
          </p:cNvPr>
          <p:cNvSpPr/>
          <p:nvPr/>
        </p:nvSpPr>
        <p:spPr>
          <a:xfrm>
            <a:off x="1143001" y="2844726"/>
            <a:ext cx="7527073" cy="426572"/>
          </a:xfrm>
          <a:prstGeom prst="homePlate">
            <a:avLst/>
          </a:prstGeom>
          <a:solidFill>
            <a:srgbClr val="EBE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29" name="ZoneTexte 28">
            <a:extLst>
              <a:ext uri="{FF2B5EF4-FFF2-40B4-BE49-F238E27FC236}">
                <a16:creationId xmlns:a16="http://schemas.microsoft.com/office/drawing/2014/main" id="{0C78BBD8-888E-4046-9BA3-F73AB9BB7754}"/>
              </a:ext>
            </a:extLst>
          </p:cNvPr>
          <p:cNvSpPr txBox="1"/>
          <p:nvPr/>
        </p:nvSpPr>
        <p:spPr>
          <a:xfrm>
            <a:off x="385659" y="2903839"/>
            <a:ext cx="6486292" cy="307776"/>
          </a:xfrm>
          <a:prstGeom prst="rect">
            <a:avLst/>
          </a:prstGeom>
          <a:noFill/>
        </p:spPr>
        <p:txBody>
          <a:bodyPr wrap="square" lIns="108000" rIns="108000" rtlCol="0">
            <a:spAutoFit/>
          </a:bodyPr>
          <a:lstStyle/>
          <a:p>
            <a:pPr algn="r"/>
            <a:r>
              <a:rPr lang="fr-FR" sz="1400" b="1">
                <a:solidFill>
                  <a:srgbClr val="503078"/>
                </a:solidFill>
                <a:latin typeface="Tahoma"/>
              </a:rPr>
              <a:t>… Mais des modèles opérationnels et économiques à affiner</a:t>
            </a:r>
          </a:p>
        </p:txBody>
      </p:sp>
      <p:sp>
        <p:nvSpPr>
          <p:cNvPr id="48" name="Rectangle 47">
            <a:extLst>
              <a:ext uri="{FF2B5EF4-FFF2-40B4-BE49-F238E27FC236}">
                <a16:creationId xmlns:a16="http://schemas.microsoft.com/office/drawing/2014/main" id="{EB55014C-8942-4158-B26E-C047DAB1B4F4}"/>
              </a:ext>
            </a:extLst>
          </p:cNvPr>
          <p:cNvSpPr>
            <a:spLocks/>
          </p:cNvSpPr>
          <p:nvPr/>
        </p:nvSpPr>
        <p:spPr>
          <a:xfrm>
            <a:off x="1334811" y="5537515"/>
            <a:ext cx="9554356" cy="961540"/>
          </a:xfrm>
          <a:prstGeom prst="rect">
            <a:avLst/>
          </a:prstGeom>
          <a:solidFill>
            <a:schemeClr val="bg1">
              <a:lumMod val="95000"/>
            </a:schemeClr>
          </a:solidFill>
          <a:ln>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just">
              <a:spcAft>
                <a:spcPts val="300"/>
              </a:spcAft>
              <a:buClr>
                <a:srgbClr val="503078"/>
              </a:buClr>
              <a:defRPr/>
            </a:pPr>
            <a:r>
              <a:rPr lang="fr-FR" sz="1200">
                <a:solidFill>
                  <a:srgbClr val="5F5F5F"/>
                </a:solidFill>
                <a:latin typeface="Tahoma"/>
              </a:rPr>
              <a:t>Ce contexte et l’absence d’un modèle mature rendent difficile l’élaboration d’une politique d’investissement de la CDC / Banque des Territoires à court-terme dans les projets de centres de répit. </a:t>
            </a:r>
          </a:p>
          <a:p>
            <a:pPr algn="just">
              <a:spcAft>
                <a:spcPts val="300"/>
              </a:spcAft>
              <a:buClr>
                <a:srgbClr val="503078"/>
              </a:buClr>
              <a:defRPr/>
            </a:pPr>
            <a:r>
              <a:rPr lang="fr-FR" sz="1200">
                <a:solidFill>
                  <a:srgbClr val="5F5F5F"/>
                </a:solidFill>
                <a:latin typeface="Tahoma"/>
              </a:rPr>
              <a:t>Cependant, l’expertise de la CDC / BdT en ingénierie territoriale et financière pourrait être mise à profit des porteurs de projet pour contribuer à la création d’un réseau et à la définition d’une offre pertinente opérationnellement et économiquement </a:t>
            </a:r>
          </a:p>
        </p:txBody>
      </p:sp>
    </p:spTree>
    <p:extLst>
      <p:ext uri="{BB962C8B-B14F-4D97-AF65-F5344CB8AC3E}">
        <p14:creationId xmlns:p14="http://schemas.microsoft.com/office/powerpoint/2010/main" val="30872813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45E749-14D8-42BA-A566-C272C57C4B42}"/>
              </a:ext>
            </a:extLst>
          </p:cNvPr>
          <p:cNvSpPr>
            <a:spLocks noGrp="1"/>
          </p:cNvSpPr>
          <p:nvPr>
            <p:ph type="title"/>
          </p:nvPr>
        </p:nvSpPr>
        <p:spPr/>
        <p:txBody>
          <a:bodyPr/>
          <a:lstStyle/>
          <a:p>
            <a:r>
              <a:rPr lang="fr-FR"/>
              <a:t>Conclusion</a:t>
            </a:r>
          </a:p>
        </p:txBody>
      </p:sp>
      <p:sp>
        <p:nvSpPr>
          <p:cNvPr id="3" name="Espace réservé du texte 2">
            <a:extLst>
              <a:ext uri="{FF2B5EF4-FFF2-40B4-BE49-F238E27FC236}">
                <a16:creationId xmlns:a16="http://schemas.microsoft.com/office/drawing/2014/main" id="{56CE6F7E-B7E2-4D0A-84E0-E9105A72B01A}"/>
              </a:ext>
            </a:extLst>
          </p:cNvPr>
          <p:cNvSpPr>
            <a:spLocks noGrp="1"/>
          </p:cNvSpPr>
          <p:nvPr>
            <p:ph type="body" sz="quarter" idx="38"/>
          </p:nvPr>
        </p:nvSpPr>
        <p:spPr/>
        <p:txBody>
          <a:bodyPr/>
          <a:lstStyle/>
          <a:p>
            <a:r>
              <a:rPr lang="fr-FR"/>
              <a:t>05</a:t>
            </a:r>
          </a:p>
        </p:txBody>
      </p:sp>
    </p:spTree>
    <p:extLst>
      <p:ext uri="{BB962C8B-B14F-4D97-AF65-F5344CB8AC3E}">
        <p14:creationId xmlns:p14="http://schemas.microsoft.com/office/powerpoint/2010/main" val="16759803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69AB35B1-F5D7-4DD6-AD65-96052EC85625}"/>
              </a:ext>
            </a:extLst>
          </p:cNvPr>
          <p:cNvSpPr>
            <a:spLocks noGrp="1"/>
          </p:cNvSpPr>
          <p:nvPr>
            <p:ph type="title"/>
          </p:nvPr>
        </p:nvSpPr>
        <p:spPr/>
        <p:txBody>
          <a:bodyPr/>
          <a:lstStyle/>
          <a:p>
            <a:r>
              <a:rPr lang="fr-FR" dirty="0"/>
              <a:t>Les séjours de répit : des besoins et un potentiel de marché importants</a:t>
            </a:r>
          </a:p>
        </p:txBody>
      </p:sp>
      <p:sp>
        <p:nvSpPr>
          <p:cNvPr id="6" name="Espace réservé du texte 5">
            <a:extLst>
              <a:ext uri="{FF2B5EF4-FFF2-40B4-BE49-F238E27FC236}">
                <a16:creationId xmlns:a16="http://schemas.microsoft.com/office/drawing/2014/main" id="{1C9D24B3-DF32-4B26-840A-5C02642F0A68}"/>
              </a:ext>
            </a:extLst>
          </p:cNvPr>
          <p:cNvSpPr>
            <a:spLocks noGrp="1"/>
          </p:cNvSpPr>
          <p:nvPr>
            <p:ph type="body" sz="quarter" idx="13"/>
          </p:nvPr>
        </p:nvSpPr>
        <p:spPr/>
        <p:txBody>
          <a:bodyPr/>
          <a:lstStyle/>
          <a:p>
            <a:r>
              <a:rPr lang="fr-FR" dirty="0"/>
              <a:t>Conclusion</a:t>
            </a:r>
          </a:p>
        </p:txBody>
      </p:sp>
      <p:sp>
        <p:nvSpPr>
          <p:cNvPr id="7" name="Espace réservé du contenu 6">
            <a:extLst>
              <a:ext uri="{FF2B5EF4-FFF2-40B4-BE49-F238E27FC236}">
                <a16:creationId xmlns:a16="http://schemas.microsoft.com/office/drawing/2014/main" id="{98841AF3-F426-405F-B5A2-C457F4C10972}"/>
              </a:ext>
            </a:extLst>
          </p:cNvPr>
          <p:cNvSpPr>
            <a:spLocks noGrp="1"/>
          </p:cNvSpPr>
          <p:nvPr>
            <p:ph sz="quarter" idx="14"/>
          </p:nvPr>
        </p:nvSpPr>
        <p:spPr>
          <a:xfrm>
            <a:off x="1563181" y="1508871"/>
            <a:ext cx="4009478" cy="1497760"/>
          </a:xfrm>
          <a:ln>
            <a:solidFill>
              <a:srgbClr val="503078"/>
            </a:solidFill>
          </a:ln>
        </p:spPr>
        <p:txBody>
          <a:bodyPr vert="horz" lIns="108000" tIns="108000" rIns="108000" bIns="108000" rtlCol="0" anchor="ctr" anchorCtr="0">
            <a:noAutofit/>
          </a:bodyPr>
          <a:lstStyle/>
          <a:p>
            <a:pPr marL="273050" indent="-273050" fontAlgn="base">
              <a:lnSpc>
                <a:spcPct val="114000"/>
              </a:lnSpc>
              <a:spcBef>
                <a:spcPts val="300"/>
              </a:spcBef>
              <a:spcAft>
                <a:spcPct val="0"/>
              </a:spcAft>
              <a:buClr>
                <a:srgbClr val="1F497D"/>
              </a:buClr>
              <a:buFont typeface="Arial" panose="020B0604020202020204" pitchFamily="34" charset="0"/>
              <a:buChar char="•"/>
              <a:defRPr/>
            </a:pPr>
            <a:r>
              <a:rPr lang="fr-FR" sz="1200" kern="0" dirty="0">
                <a:latin typeface="Tahoma"/>
              </a:rPr>
              <a:t>5 centres en France étudiés, dédiés à l’accueil de séjours de répit aidants / aidés</a:t>
            </a:r>
          </a:p>
          <a:p>
            <a:pPr indent="-274637" fontAlgn="base">
              <a:lnSpc>
                <a:spcPct val="114000"/>
              </a:lnSpc>
              <a:spcBef>
                <a:spcPts val="300"/>
              </a:spcBef>
              <a:spcAft>
                <a:spcPct val="0"/>
              </a:spcAft>
              <a:buClr>
                <a:srgbClr val="1F497D"/>
              </a:buClr>
              <a:buFont typeface="Arial" panose="020B0604020202020204" pitchFamily="34" charset="0"/>
              <a:buChar char="•"/>
              <a:defRPr/>
            </a:pPr>
            <a:r>
              <a:rPr lang="fr-FR" sz="1200" kern="0" dirty="0">
                <a:latin typeface="Tahoma"/>
              </a:rPr>
              <a:t>Les séjours de répit se distinguent en </a:t>
            </a:r>
            <a:r>
              <a:rPr lang="fr-FR" sz="1200" b="1" kern="0" dirty="0">
                <a:latin typeface="Tahoma"/>
              </a:rPr>
              <a:t>4 modèles </a:t>
            </a:r>
            <a:r>
              <a:rPr lang="fr-FR" sz="1200" kern="0" dirty="0">
                <a:latin typeface="Tahoma"/>
              </a:rPr>
              <a:t>: </a:t>
            </a:r>
          </a:p>
          <a:p>
            <a:pPr marL="533400" indent="-187325" algn="l">
              <a:spcBef>
                <a:spcPts val="0"/>
              </a:spcBef>
              <a:buFont typeface="Tahoma" panose="020B0604030504040204" pitchFamily="34" charset="0"/>
              <a:buChar char="⁄"/>
              <a:defRPr/>
            </a:pPr>
            <a:r>
              <a:rPr lang="fr-FR" sz="1200" kern="0" dirty="0">
                <a:latin typeface="Tahoma"/>
              </a:rPr>
              <a:t>Les villages vacances aidant/aidé autonomes ; </a:t>
            </a:r>
          </a:p>
          <a:p>
            <a:pPr marL="533400" indent="-187325" algn="l">
              <a:spcBef>
                <a:spcPts val="0"/>
              </a:spcBef>
              <a:buFont typeface="Tahoma" panose="020B0604030504040204" pitchFamily="34" charset="0"/>
              <a:buChar char="⁄"/>
              <a:defRPr/>
            </a:pPr>
            <a:r>
              <a:rPr lang="fr-FR" sz="1200" kern="0" dirty="0">
                <a:latin typeface="Tahoma"/>
              </a:rPr>
              <a:t>Les villages vacances adossés à des ESMS ; </a:t>
            </a:r>
          </a:p>
          <a:p>
            <a:pPr marL="533400" indent="-187325" algn="l">
              <a:spcBef>
                <a:spcPts val="0"/>
              </a:spcBef>
              <a:buFont typeface="Tahoma" panose="020B0604030504040204" pitchFamily="34" charset="0"/>
              <a:buChar char="⁄"/>
              <a:defRPr/>
            </a:pPr>
            <a:r>
              <a:rPr lang="fr-FR" sz="1200" kern="0" dirty="0">
                <a:latin typeface="Tahoma"/>
              </a:rPr>
              <a:t>Les partenariats entre ESMS ; </a:t>
            </a:r>
          </a:p>
          <a:p>
            <a:pPr marL="533400" indent="-187325" algn="l">
              <a:spcBef>
                <a:spcPts val="0"/>
              </a:spcBef>
              <a:buFont typeface="Tahoma" panose="020B0604030504040204" pitchFamily="34" charset="0"/>
              <a:buChar char="⁄"/>
              <a:defRPr/>
            </a:pPr>
            <a:r>
              <a:rPr lang="fr-FR" sz="1200" kern="0" dirty="0">
                <a:latin typeface="Tahoma"/>
              </a:rPr>
              <a:t>Les partenariats entre ESMS / association. </a:t>
            </a:r>
          </a:p>
        </p:txBody>
      </p:sp>
      <p:sp>
        <p:nvSpPr>
          <p:cNvPr id="21" name="AutoShape 8">
            <a:extLst>
              <a:ext uri="{FF2B5EF4-FFF2-40B4-BE49-F238E27FC236}">
                <a16:creationId xmlns:a16="http://schemas.microsoft.com/office/drawing/2014/main" id="{CF77B475-F9FF-4F08-8AD3-0CAA5611863F}"/>
              </a:ext>
            </a:extLst>
          </p:cNvPr>
          <p:cNvSpPr>
            <a:spLocks noChangeArrowheads="1"/>
          </p:cNvSpPr>
          <p:nvPr/>
        </p:nvSpPr>
        <p:spPr bwMode="gray">
          <a:xfrm>
            <a:off x="1563181" y="1025477"/>
            <a:ext cx="4009478" cy="485330"/>
          </a:xfrm>
          <a:prstGeom prst="rect">
            <a:avLst/>
          </a:prstGeom>
          <a:solidFill>
            <a:schemeClr val="bg2"/>
          </a:solidFill>
          <a:ln w="19050">
            <a:solidFill>
              <a:srgbClr val="503078"/>
            </a:solidFill>
            <a:miter lim="800000"/>
            <a:headEnd/>
            <a:tailEnd/>
          </a:ln>
          <a:effectLst/>
        </p:spPr>
        <p:txBody>
          <a:bodyPr lIns="32400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defRPr/>
            </a:pPr>
            <a:r>
              <a:rPr lang="fr-FR" altLang="de-DE" sz="1200" b="1" dirty="0">
                <a:solidFill>
                  <a:srgbClr val="FFFFFF"/>
                </a:solidFill>
                <a:latin typeface="Tahoma"/>
              </a:rPr>
              <a:t>Etat des lieux</a:t>
            </a:r>
          </a:p>
        </p:txBody>
      </p:sp>
      <p:pic>
        <p:nvPicPr>
          <p:cNvPr id="23" name="Graphique 22" descr="Livre de jeu">
            <a:extLst>
              <a:ext uri="{FF2B5EF4-FFF2-40B4-BE49-F238E27FC236}">
                <a16:creationId xmlns:a16="http://schemas.microsoft.com/office/drawing/2014/main" id="{6FE34811-FFFE-4B71-ADB2-3C6981C0E5C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08213" y="1038220"/>
            <a:ext cx="418513" cy="418513"/>
          </a:xfrm>
          <a:prstGeom prst="rect">
            <a:avLst/>
          </a:prstGeom>
        </p:spPr>
      </p:pic>
      <p:sp>
        <p:nvSpPr>
          <p:cNvPr id="14" name="Rectangle : avec coins arrondis en diagonale 13">
            <a:extLst>
              <a:ext uri="{FF2B5EF4-FFF2-40B4-BE49-F238E27FC236}">
                <a16:creationId xmlns:a16="http://schemas.microsoft.com/office/drawing/2014/main" id="{E83C3FF8-B98E-4759-B13A-EB81E2CD1A99}"/>
              </a:ext>
            </a:extLst>
          </p:cNvPr>
          <p:cNvSpPr/>
          <p:nvPr/>
        </p:nvSpPr>
        <p:spPr>
          <a:xfrm>
            <a:off x="1563181" y="3363055"/>
            <a:ext cx="9064299" cy="2456727"/>
          </a:xfrm>
          <a:prstGeom prst="round2DiagRect">
            <a:avLst/>
          </a:prstGeom>
          <a:solidFill>
            <a:srgbClr val="F3ED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defRPr/>
            </a:pPr>
            <a:endParaRPr lang="fr-FR" sz="1200" dirty="0">
              <a:solidFill>
                <a:srgbClr val="503078"/>
              </a:solidFill>
              <a:latin typeface="Tahoma"/>
            </a:endParaRPr>
          </a:p>
          <a:p>
            <a:pPr>
              <a:defRPr/>
            </a:pPr>
            <a:endParaRPr lang="fr-FR" sz="1200" dirty="0">
              <a:solidFill>
                <a:srgbClr val="503078"/>
              </a:solidFill>
              <a:latin typeface="Tahoma"/>
            </a:endParaRPr>
          </a:p>
          <a:p>
            <a:pPr marL="285750" indent="-285750">
              <a:spcAft>
                <a:spcPts val="600"/>
              </a:spcAft>
              <a:buFont typeface="Tahoma" panose="020B0604030504040204" pitchFamily="34" charset="0"/>
              <a:buChar char="⁄"/>
              <a:defRPr/>
            </a:pPr>
            <a:r>
              <a:rPr lang="fr-FR" sz="1200" b="1" dirty="0">
                <a:solidFill>
                  <a:srgbClr val="503078"/>
                </a:solidFill>
                <a:latin typeface="Tahoma"/>
              </a:rPr>
              <a:t>Des séjours de répit aux effets bénéfiques sur les publics aidants / aidés </a:t>
            </a:r>
            <a:r>
              <a:rPr lang="fr-FR" sz="1200" dirty="0">
                <a:solidFill>
                  <a:srgbClr val="5F5F5F"/>
                </a:solidFill>
                <a:latin typeface="Tahoma"/>
              </a:rPr>
              <a:t>et qui répondent à un enjeu de santé publique ; </a:t>
            </a:r>
            <a:endParaRPr lang="fr-FR" sz="1200" dirty="0">
              <a:solidFill>
                <a:srgbClr val="503078"/>
              </a:solidFill>
              <a:latin typeface="Tahoma"/>
            </a:endParaRPr>
          </a:p>
          <a:p>
            <a:pPr marL="285750" indent="-285750">
              <a:spcAft>
                <a:spcPts val="600"/>
              </a:spcAft>
              <a:buFont typeface="Tahoma" panose="020B0604030504040204" pitchFamily="34" charset="0"/>
              <a:buChar char="⁄"/>
              <a:defRPr/>
            </a:pPr>
            <a:r>
              <a:rPr lang="fr-FR" sz="1200" b="1" dirty="0">
                <a:solidFill>
                  <a:srgbClr val="503078"/>
                </a:solidFill>
                <a:latin typeface="Tahoma"/>
              </a:rPr>
              <a:t>Des besoins en répit identifiés </a:t>
            </a:r>
            <a:r>
              <a:rPr lang="fr-FR" sz="1200" dirty="0">
                <a:solidFill>
                  <a:srgbClr val="5F5F5F"/>
                </a:solidFill>
                <a:latin typeface="Tahoma"/>
              </a:rPr>
              <a:t>bien qu’insuffisamment adressés à l’heure actuelle ;</a:t>
            </a:r>
            <a:endParaRPr lang="fr-FR" sz="1200" dirty="0">
              <a:solidFill>
                <a:srgbClr val="503078"/>
              </a:solidFill>
              <a:latin typeface="Tahoma"/>
            </a:endParaRPr>
          </a:p>
          <a:p>
            <a:pPr marL="285750" indent="-285750">
              <a:spcAft>
                <a:spcPts val="300"/>
              </a:spcAft>
              <a:buFont typeface="Tahoma" panose="020B0604030504040204" pitchFamily="34" charset="0"/>
              <a:buChar char="⁄"/>
              <a:defRPr/>
            </a:pPr>
            <a:r>
              <a:rPr lang="fr-FR" sz="1200" b="1">
                <a:solidFill>
                  <a:srgbClr val="503078"/>
                </a:solidFill>
                <a:latin typeface="Tahoma"/>
              </a:rPr>
              <a:t>Un</a:t>
            </a:r>
            <a:r>
              <a:rPr lang="fr-FR" sz="1200" dirty="0">
                <a:solidFill>
                  <a:srgbClr val="503078"/>
                </a:solidFill>
                <a:latin typeface="Tahoma"/>
              </a:rPr>
              <a:t> </a:t>
            </a:r>
            <a:r>
              <a:rPr lang="fr-FR" sz="1200" b="1" dirty="0">
                <a:solidFill>
                  <a:srgbClr val="503078"/>
                </a:solidFill>
                <a:latin typeface="Tahoma"/>
              </a:rPr>
              <a:t>potentiel de croissance important </a:t>
            </a:r>
            <a:r>
              <a:rPr lang="fr-FR" sz="1200" dirty="0">
                <a:solidFill>
                  <a:srgbClr val="5F5F5F"/>
                </a:solidFill>
                <a:latin typeface="Tahoma"/>
              </a:rPr>
              <a:t>lié aux évolutions démographiques et au renforcement des actions de sensibilisation / communication auprès des aidants (en vue d’une meilleure détection et information des publics concernés) </a:t>
            </a:r>
          </a:p>
          <a:p>
            <a:pPr marL="285750" indent="-285750">
              <a:spcAft>
                <a:spcPts val="300"/>
              </a:spcAft>
              <a:buFont typeface="Tahoma" panose="020B0604030504040204" pitchFamily="34" charset="0"/>
              <a:buChar char="⁄"/>
              <a:defRPr/>
            </a:pPr>
            <a:r>
              <a:rPr lang="fr-FR" sz="1200" dirty="0">
                <a:solidFill>
                  <a:srgbClr val="5F5F5F"/>
                </a:solidFill>
                <a:latin typeface="Tahoma"/>
              </a:rPr>
              <a:t>Un potentiel de marché important avec un </a:t>
            </a:r>
            <a:r>
              <a:rPr lang="fr-FR" sz="1200" b="1" dirty="0">
                <a:solidFill>
                  <a:srgbClr val="503078"/>
                </a:solidFill>
                <a:latin typeface="Tahoma"/>
              </a:rPr>
              <a:t>besoin d’établissements supplémentaires estimé dans le cadre d’une première modélisation à 5 – 6 centres par région dans un scénario maximaliste.</a:t>
            </a:r>
            <a:r>
              <a:rPr lang="fr-FR" sz="1200" dirty="0">
                <a:solidFill>
                  <a:srgbClr val="503078"/>
                </a:solidFill>
                <a:latin typeface="Tahoma"/>
              </a:rPr>
              <a:t> </a:t>
            </a:r>
          </a:p>
        </p:txBody>
      </p:sp>
      <p:sp>
        <p:nvSpPr>
          <p:cNvPr id="15" name="TextBox 7">
            <a:extLst>
              <a:ext uri="{FF2B5EF4-FFF2-40B4-BE49-F238E27FC236}">
                <a16:creationId xmlns:a16="http://schemas.microsoft.com/office/drawing/2014/main" id="{7669B3A7-7C7E-402A-940E-5F8A09195FC4}"/>
              </a:ext>
            </a:extLst>
          </p:cNvPr>
          <p:cNvSpPr txBox="1">
            <a:spLocks/>
          </p:cNvSpPr>
          <p:nvPr/>
        </p:nvSpPr>
        <p:spPr>
          <a:xfrm>
            <a:off x="1733131" y="3352625"/>
            <a:ext cx="4539139" cy="558158"/>
          </a:xfrm>
          <a:prstGeom prst="rect">
            <a:avLst/>
          </a:prstGeom>
        </p:spPr>
        <p:txBody>
          <a:bodyPr vert="horz" lIns="108000" tIns="108000" rIns="108000" bIns="108000" rtlCol="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ctr">
              <a:defRPr/>
            </a:pPr>
            <a:r>
              <a:rPr lang="fr-FR" b="1" dirty="0">
                <a:solidFill>
                  <a:srgbClr val="503078"/>
                </a:solidFill>
                <a:latin typeface="Tahoma"/>
              </a:rPr>
              <a:t>Un potentiel de marché important</a:t>
            </a:r>
            <a:endParaRPr lang="fr-FR" dirty="0">
              <a:solidFill>
                <a:srgbClr val="503078"/>
              </a:solidFill>
              <a:latin typeface="Tahoma"/>
            </a:endParaRPr>
          </a:p>
        </p:txBody>
      </p:sp>
      <p:pic>
        <p:nvPicPr>
          <p:cNvPr id="17" name="Creativity-Purple-Background">
            <a:extLst>
              <a:ext uri="{FF2B5EF4-FFF2-40B4-BE49-F238E27FC236}">
                <a16:creationId xmlns:a16="http://schemas.microsoft.com/office/drawing/2014/main" id="{7EFBCD4F-70B7-411C-86C3-8D0B8C47212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66209" y="3363868"/>
            <a:ext cx="418513" cy="418513"/>
          </a:xfrm>
          <a:prstGeom prst="rect">
            <a:avLst/>
          </a:prstGeom>
        </p:spPr>
      </p:pic>
      <p:sp>
        <p:nvSpPr>
          <p:cNvPr id="11" name="ZoneTexte 10">
            <a:extLst>
              <a:ext uri="{FF2B5EF4-FFF2-40B4-BE49-F238E27FC236}">
                <a16:creationId xmlns:a16="http://schemas.microsoft.com/office/drawing/2014/main" id="{42E58ADB-B164-43FE-860E-2558BA3855AE}"/>
              </a:ext>
            </a:extLst>
          </p:cNvPr>
          <p:cNvSpPr txBox="1"/>
          <p:nvPr/>
        </p:nvSpPr>
        <p:spPr>
          <a:xfrm>
            <a:off x="1563181" y="5975312"/>
            <a:ext cx="9064299" cy="492443"/>
          </a:xfrm>
          <a:prstGeom prst="rect">
            <a:avLst/>
          </a:prstGeom>
          <a:noFill/>
          <a:ln w="28575" cap="flat" cmpd="sng" algn="ctr">
            <a:solidFill>
              <a:schemeClr val="bg2">
                <a:lumMod val="100000"/>
              </a:schemeClr>
            </a:solidFill>
            <a:prstDash val="sysDot"/>
            <a:round/>
            <a:headEnd type="none" w="med" len="med"/>
            <a:tailEnd type="none" w="med" len="med"/>
          </a:ln>
        </p:spPr>
        <p:txBody>
          <a:bodyPr wrap="square">
            <a:spAutoFit/>
          </a:bodyPr>
          <a:lstStyle/>
          <a:p>
            <a:pPr algn="just"/>
            <a:r>
              <a:rPr lang="fr-FR" sz="1300" dirty="0">
                <a:solidFill>
                  <a:srgbClr val="503078"/>
                </a:solidFill>
                <a:latin typeface="Tahoma"/>
              </a:rPr>
              <a:t>La CDC peut se positionner à différents niveaux auprès des porteurs d’initiatives</a:t>
            </a:r>
            <a:r>
              <a:rPr lang="fr-FR" sz="1300">
                <a:solidFill>
                  <a:srgbClr val="503078"/>
                </a:solidFill>
                <a:latin typeface="Tahoma"/>
              </a:rPr>
              <a:t> </a:t>
            </a:r>
            <a:r>
              <a:rPr lang="fr-FR" sz="1300" dirty="0">
                <a:solidFill>
                  <a:srgbClr val="503078"/>
                </a:solidFill>
                <a:latin typeface="Tahoma"/>
              </a:rPr>
              <a:t>: à court-terme en accompagnement de projets, conseil, ingénierie et structuration de réseau et à moyen / long-terme en financement de projets. </a:t>
            </a:r>
          </a:p>
        </p:txBody>
      </p:sp>
      <p:sp>
        <p:nvSpPr>
          <p:cNvPr id="12" name="Triangle isocèle 11">
            <a:extLst>
              <a:ext uri="{FF2B5EF4-FFF2-40B4-BE49-F238E27FC236}">
                <a16:creationId xmlns:a16="http://schemas.microsoft.com/office/drawing/2014/main" id="{3D82750D-8435-4FD8-801C-C9F7184451D4}"/>
              </a:ext>
            </a:extLst>
          </p:cNvPr>
          <p:cNvSpPr/>
          <p:nvPr/>
        </p:nvSpPr>
        <p:spPr>
          <a:xfrm rot="5400000">
            <a:off x="5483182" y="1738215"/>
            <a:ext cx="1173562" cy="404613"/>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endParaRPr lang="fr-FR">
              <a:solidFill>
                <a:srgbClr val="503078"/>
              </a:solidFill>
              <a:latin typeface="Tahoma"/>
            </a:endParaRPr>
          </a:p>
        </p:txBody>
      </p:sp>
      <p:sp>
        <p:nvSpPr>
          <p:cNvPr id="18" name="Rectangle 17">
            <a:extLst>
              <a:ext uri="{FF2B5EF4-FFF2-40B4-BE49-F238E27FC236}">
                <a16:creationId xmlns:a16="http://schemas.microsoft.com/office/drawing/2014/main" id="{1F9AFA3C-C9F4-4590-B43E-E163E21F8A92}"/>
              </a:ext>
            </a:extLst>
          </p:cNvPr>
          <p:cNvSpPr/>
          <p:nvPr/>
        </p:nvSpPr>
        <p:spPr>
          <a:xfrm>
            <a:off x="6567268" y="931271"/>
            <a:ext cx="4060213" cy="966335"/>
          </a:xfrm>
          <a:prstGeom prst="rect">
            <a:avLst/>
          </a:prstGeom>
          <a:solidFill>
            <a:srgbClr val="B24669"/>
          </a:solidFill>
          <a:ln>
            <a:solidFill>
              <a:srgbClr val="B2466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200" b="1" dirty="0">
                <a:solidFill>
                  <a:srgbClr val="FFFFFF"/>
                </a:solidFill>
                <a:latin typeface="Tahoma"/>
              </a:rPr>
              <a:t>Plusieurs freins et </a:t>
            </a:r>
          </a:p>
          <a:p>
            <a:pPr algn="ctr">
              <a:spcAft>
                <a:spcPts val="300"/>
              </a:spcAft>
              <a:defRPr/>
            </a:pPr>
            <a:r>
              <a:rPr lang="fr-FR" sz="1200" b="1" dirty="0">
                <a:solidFill>
                  <a:srgbClr val="FFFFFF"/>
                </a:solidFill>
                <a:latin typeface="Tahoma"/>
              </a:rPr>
              <a:t>risques potentiels… </a:t>
            </a:r>
          </a:p>
          <a:p>
            <a:pPr algn="ctr">
              <a:spcAft>
                <a:spcPts val="300"/>
              </a:spcAft>
              <a:defRPr/>
            </a:pPr>
            <a:r>
              <a:rPr lang="fr-FR" sz="1000" dirty="0">
                <a:solidFill>
                  <a:srgbClr val="FFFFFF"/>
                </a:solidFill>
                <a:latin typeface="Tahoma"/>
              </a:rPr>
              <a:t>Fragilité du modèle économique, manque d’accompagnement des porteurs, communication insuffisante, absence de structuration en réseau </a:t>
            </a:r>
          </a:p>
        </p:txBody>
      </p:sp>
      <p:pic>
        <p:nvPicPr>
          <p:cNvPr id="20" name="Graphique 19" descr="Visage neutre sans remplissage">
            <a:extLst>
              <a:ext uri="{FF2B5EF4-FFF2-40B4-BE49-F238E27FC236}">
                <a16:creationId xmlns:a16="http://schemas.microsoft.com/office/drawing/2014/main" id="{6266B432-27E7-4B0E-9E09-28C362B537E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51939" y="906666"/>
            <a:ext cx="504000" cy="504000"/>
          </a:xfrm>
          <a:prstGeom prst="rect">
            <a:avLst/>
          </a:prstGeom>
        </p:spPr>
      </p:pic>
      <p:sp>
        <p:nvSpPr>
          <p:cNvPr id="24" name="Rectangle 23">
            <a:extLst>
              <a:ext uri="{FF2B5EF4-FFF2-40B4-BE49-F238E27FC236}">
                <a16:creationId xmlns:a16="http://schemas.microsoft.com/office/drawing/2014/main" id="{FE1FB1FC-6966-4A2F-B586-B2D2300CB4E7}"/>
              </a:ext>
            </a:extLst>
          </p:cNvPr>
          <p:cNvSpPr/>
          <p:nvPr/>
        </p:nvSpPr>
        <p:spPr>
          <a:xfrm>
            <a:off x="6567267" y="2064254"/>
            <a:ext cx="4060213" cy="9367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200" b="1" dirty="0">
                <a:solidFill>
                  <a:srgbClr val="FFFFFF"/>
                </a:solidFill>
                <a:latin typeface="Tahoma"/>
              </a:rPr>
              <a:t>      ... Mais plusieurs leviers et </a:t>
            </a:r>
          </a:p>
          <a:p>
            <a:pPr algn="ctr">
              <a:spcAft>
                <a:spcPts val="300"/>
              </a:spcAft>
              <a:defRPr/>
            </a:pPr>
            <a:r>
              <a:rPr lang="fr-FR" sz="1200" b="1" dirty="0">
                <a:solidFill>
                  <a:srgbClr val="FFFFFF"/>
                </a:solidFill>
                <a:latin typeface="Tahoma"/>
              </a:rPr>
              <a:t>      facteurs clés de réussite des projets</a:t>
            </a:r>
          </a:p>
          <a:p>
            <a:pPr algn="ctr">
              <a:spcAft>
                <a:spcPts val="300"/>
              </a:spcAft>
              <a:defRPr/>
            </a:pPr>
            <a:r>
              <a:rPr lang="fr-FR" sz="1000" dirty="0">
                <a:solidFill>
                  <a:srgbClr val="FFFFFF"/>
                </a:solidFill>
                <a:latin typeface="Tahoma"/>
              </a:rPr>
              <a:t>Multiplicité des projets en cours de montage, implication croissante des acteurs institutionnels et territoriaux, …</a:t>
            </a:r>
          </a:p>
        </p:txBody>
      </p:sp>
      <p:pic>
        <p:nvPicPr>
          <p:cNvPr id="26" name="Graphique 25" descr="Visage portant des lunettes de soleil sans remplissage">
            <a:extLst>
              <a:ext uri="{FF2B5EF4-FFF2-40B4-BE49-F238E27FC236}">
                <a16:creationId xmlns:a16="http://schemas.microsoft.com/office/drawing/2014/main" id="{F7945965-05E5-43AC-8D06-6942DB932CE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543472" y="2026850"/>
            <a:ext cx="504000" cy="531791"/>
          </a:xfrm>
          <a:prstGeom prst="rect">
            <a:avLst/>
          </a:prstGeom>
        </p:spPr>
      </p:pic>
    </p:spTree>
    <p:extLst>
      <p:ext uri="{BB962C8B-B14F-4D97-AF65-F5344CB8AC3E}">
        <p14:creationId xmlns:p14="http://schemas.microsoft.com/office/powerpoint/2010/main" val="1608765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
            <a:extLst>
              <a:ext uri="{FF2B5EF4-FFF2-40B4-BE49-F238E27FC236}">
                <a16:creationId xmlns:a16="http://schemas.microsoft.com/office/drawing/2014/main" id="{C0934235-734B-478C-B27C-2A2244128147}"/>
              </a:ext>
            </a:extLst>
          </p:cNvPr>
          <p:cNvGrpSpPr/>
          <p:nvPr/>
        </p:nvGrpSpPr>
        <p:grpSpPr>
          <a:xfrm>
            <a:off x="3126896" y="2940657"/>
            <a:ext cx="7100532" cy="488344"/>
            <a:chOff x="1568624" y="2505157"/>
            <a:chExt cx="7851610" cy="540000"/>
          </a:xfrm>
        </p:grpSpPr>
        <p:sp>
          <p:nvSpPr>
            <p:cNvPr id="3" name="Textplatzhalter 6">
              <a:extLst>
                <a:ext uri="{FF2B5EF4-FFF2-40B4-BE49-F238E27FC236}">
                  <a16:creationId xmlns:a16="http://schemas.microsoft.com/office/drawing/2014/main" id="{B972306D-EB25-4D66-9C18-9F2C6DCA9E93}"/>
                </a:ext>
              </a:extLst>
            </p:cNvPr>
            <p:cNvSpPr txBox="1">
              <a:spLocks/>
            </p:cNvSpPr>
            <p:nvPr/>
          </p:nvSpPr>
          <p:spPr bwMode="gray">
            <a:xfrm>
              <a:off x="1568624" y="2505157"/>
              <a:ext cx="3276426" cy="540000"/>
            </a:xfrm>
            <a:prstGeom prst="rect">
              <a:avLst/>
            </a:prstGeom>
            <a:noFill/>
          </p:spPr>
          <p:txBody>
            <a:bodyPr wrap="square" lIns="130225" tIns="0" rIns="0" bIns="0">
              <a:noAutofit/>
            </a:bodyPr>
            <a:lstStyle>
              <a:lvl1pPr marL="0" indent="0" algn="l" defTabSz="914400" rtl="0" eaLnBrk="1" latinLnBrk="0" hangingPunct="1">
                <a:spcBef>
                  <a:spcPts val="0"/>
                </a:spcBef>
                <a:spcAft>
                  <a:spcPts val="500"/>
                </a:spcAft>
                <a:buFont typeface="Arial" panose="020B0604020202020204" pitchFamily="34" charset="0"/>
                <a:buNone/>
                <a:defRPr sz="2000" kern="1200" baseline="0">
                  <a:solidFill>
                    <a:schemeClr val="tx2"/>
                  </a:solidFill>
                  <a:latin typeface="+mn-lt"/>
                  <a:ea typeface="+mn-ea"/>
                  <a:cs typeface="+mn-cs"/>
                </a:defRPr>
              </a:lvl1pPr>
              <a:lvl2pPr marL="0" indent="0" algn="l" defTabSz="914400" rtl="0" eaLnBrk="1" latinLnBrk="0" hangingPunct="1">
                <a:spcBef>
                  <a:spcPts val="500"/>
                </a:spcBef>
                <a:buClr>
                  <a:schemeClr val="tx2"/>
                </a:buClr>
                <a:buSzPct val="105000"/>
                <a:buFontTx/>
                <a:buNone/>
                <a:defRPr sz="1800" kern="1200">
                  <a:solidFill>
                    <a:srgbClr val="6D6D6D"/>
                  </a:solidFill>
                  <a:latin typeface="+mn-lt"/>
                  <a:ea typeface="+mn-ea"/>
                  <a:cs typeface="+mn-cs"/>
                </a:defRPr>
              </a:lvl2pPr>
              <a:lvl3pPr marL="180000" indent="-180000" algn="l" defTabSz="914400" rtl="0" eaLnBrk="1" latinLnBrk="0" hangingPunct="1">
                <a:spcBef>
                  <a:spcPts val="500"/>
                </a:spcBef>
                <a:buClr>
                  <a:schemeClr val="tx2"/>
                </a:buClr>
                <a:buFont typeface="Calibri" panose="020F0502020204030204" pitchFamily="34" charset="0"/>
                <a:buChar char="›"/>
                <a:defRPr sz="1600" kern="1200">
                  <a:solidFill>
                    <a:srgbClr val="6D6D6D"/>
                  </a:solidFill>
                  <a:latin typeface="+mn-lt"/>
                  <a:ea typeface="+mn-ea"/>
                  <a:cs typeface="+mn-cs"/>
                </a:defRPr>
              </a:lvl3pPr>
              <a:lvl4pPr marL="367200" indent="-187200" algn="l" defTabSz="914400" rtl="0" eaLnBrk="1" latinLnBrk="0" hangingPunct="1">
                <a:spcBef>
                  <a:spcPts val="500"/>
                </a:spcBef>
                <a:buFont typeface="Symbol" panose="05050102010706020507" pitchFamily="18" charset="2"/>
                <a:buChar char="-"/>
                <a:defRPr sz="1600" kern="1200">
                  <a:solidFill>
                    <a:srgbClr val="6D6D6D"/>
                  </a:solidFill>
                  <a:latin typeface="+mn-lt"/>
                  <a:ea typeface="+mn-ea"/>
                  <a:cs typeface="+mn-cs"/>
                </a:defRPr>
              </a:lvl4pPr>
              <a:lvl5pPr marL="576000" indent="-187200" algn="l" defTabSz="914400" rtl="0" eaLnBrk="1" latinLnBrk="0" hangingPunct="1">
                <a:spcBef>
                  <a:spcPts val="500"/>
                </a:spcBef>
                <a:buClr>
                  <a:schemeClr val="tx1"/>
                </a:buClr>
                <a:buFont typeface="Symbol" panose="05050102010706020507" pitchFamily="18" charset="2"/>
                <a:buChar char="-"/>
                <a:defRPr sz="1400" kern="1200">
                  <a:solidFill>
                    <a:srgbClr val="6D6D6D"/>
                  </a:solidFill>
                  <a:latin typeface="+mn-lt"/>
                  <a:ea typeface="+mn-ea"/>
                  <a:cs typeface="+mn-cs"/>
                </a:defRPr>
              </a:lvl5pPr>
              <a:lvl6pPr marL="766763" indent="-185738" algn="l" defTabSz="914400" rtl="0" eaLnBrk="1" latinLnBrk="0" hangingPunct="1">
                <a:spcBef>
                  <a:spcPts val="500"/>
                </a:spcBef>
                <a:buClr>
                  <a:schemeClr val="tx2"/>
                </a:buClr>
                <a:buFont typeface="Calibri" panose="020F0502020204030204" pitchFamily="34" charset="0"/>
                <a:buChar char="»"/>
                <a:defRPr sz="1400" kern="1200">
                  <a:solidFill>
                    <a:srgbClr val="6D6D6D"/>
                  </a:solidFill>
                  <a:latin typeface="+mn-lt"/>
                  <a:ea typeface="+mn-ea"/>
                  <a:cs typeface="+mn-cs"/>
                </a:defRPr>
              </a:lvl6pPr>
              <a:lvl7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7pPr>
              <a:lvl8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8pPr>
              <a:lvl9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9pPr>
            </a:lstStyle>
            <a:p>
              <a:pPr>
                <a:spcAft>
                  <a:spcPts val="0"/>
                </a:spcAft>
              </a:pPr>
              <a:r>
                <a:rPr lang="fr-FR" sz="1085" b="1">
                  <a:solidFill>
                    <a:srgbClr val="FFFFFF"/>
                  </a:solidFill>
                  <a:latin typeface="Tahoma"/>
                </a:rPr>
                <a:t>Simon PARANTHOËN</a:t>
              </a:r>
              <a:br>
                <a:rPr lang="fr-FR" sz="1085" b="1">
                  <a:solidFill>
                    <a:srgbClr val="FFFFFF"/>
                  </a:solidFill>
                  <a:latin typeface="Tahoma"/>
                </a:rPr>
              </a:br>
              <a:r>
                <a:rPr lang="fr-FR" sz="1085">
                  <a:solidFill>
                    <a:srgbClr val="FFFFFF"/>
                  </a:solidFill>
                  <a:latin typeface="Tahoma"/>
                </a:rPr>
                <a:t>Senior Manager</a:t>
              </a:r>
              <a:endParaRPr lang="fr-FR" sz="994">
                <a:solidFill>
                  <a:srgbClr val="FFFFFF"/>
                </a:solidFill>
                <a:latin typeface="Tahoma"/>
              </a:endParaRPr>
            </a:p>
          </p:txBody>
        </p:sp>
        <p:sp>
          <p:nvSpPr>
            <p:cNvPr id="4" name="Textplatzhalter 6">
              <a:extLst>
                <a:ext uri="{FF2B5EF4-FFF2-40B4-BE49-F238E27FC236}">
                  <a16:creationId xmlns:a16="http://schemas.microsoft.com/office/drawing/2014/main" id="{362832EE-D164-4788-A06D-69DD3518D661}"/>
                </a:ext>
              </a:extLst>
            </p:cNvPr>
            <p:cNvSpPr txBox="1">
              <a:spLocks/>
            </p:cNvSpPr>
            <p:nvPr/>
          </p:nvSpPr>
          <p:spPr bwMode="gray">
            <a:xfrm>
              <a:off x="4924534" y="2505157"/>
              <a:ext cx="4495700" cy="540000"/>
            </a:xfrm>
            <a:prstGeom prst="rect">
              <a:avLst/>
            </a:prstGeom>
            <a:noFill/>
          </p:spPr>
          <p:txBody>
            <a:bodyPr wrap="square" lIns="0" tIns="0" rIns="0" bIns="0">
              <a:noAutofit/>
            </a:bodyPr>
            <a:lstStyle>
              <a:lvl1pPr marL="0" indent="0" algn="l" defTabSz="914400" rtl="0" eaLnBrk="1" latinLnBrk="0" hangingPunct="1">
                <a:spcBef>
                  <a:spcPts val="0"/>
                </a:spcBef>
                <a:spcAft>
                  <a:spcPts val="500"/>
                </a:spcAft>
                <a:buFont typeface="Arial" panose="020B0604020202020204" pitchFamily="34" charset="0"/>
                <a:buNone/>
                <a:defRPr sz="2000" kern="1200" baseline="0">
                  <a:solidFill>
                    <a:schemeClr val="tx2"/>
                  </a:solidFill>
                  <a:latin typeface="+mn-lt"/>
                  <a:ea typeface="+mn-ea"/>
                  <a:cs typeface="+mn-cs"/>
                </a:defRPr>
              </a:lvl1pPr>
              <a:lvl2pPr marL="0" indent="0" algn="l" defTabSz="914400" rtl="0" eaLnBrk="1" latinLnBrk="0" hangingPunct="1">
                <a:spcBef>
                  <a:spcPts val="500"/>
                </a:spcBef>
                <a:buClr>
                  <a:schemeClr val="tx2"/>
                </a:buClr>
                <a:buSzPct val="105000"/>
                <a:buFontTx/>
                <a:buNone/>
                <a:defRPr sz="1800" kern="1200">
                  <a:solidFill>
                    <a:srgbClr val="6D6D6D"/>
                  </a:solidFill>
                  <a:latin typeface="+mn-lt"/>
                  <a:ea typeface="+mn-ea"/>
                  <a:cs typeface="+mn-cs"/>
                </a:defRPr>
              </a:lvl2pPr>
              <a:lvl3pPr marL="180000" indent="-180000" algn="l" defTabSz="914400" rtl="0" eaLnBrk="1" latinLnBrk="0" hangingPunct="1">
                <a:spcBef>
                  <a:spcPts val="500"/>
                </a:spcBef>
                <a:buClr>
                  <a:schemeClr val="tx2"/>
                </a:buClr>
                <a:buFont typeface="Calibri" panose="020F0502020204030204" pitchFamily="34" charset="0"/>
                <a:buChar char="›"/>
                <a:defRPr sz="1600" kern="1200">
                  <a:solidFill>
                    <a:srgbClr val="6D6D6D"/>
                  </a:solidFill>
                  <a:latin typeface="+mn-lt"/>
                  <a:ea typeface="+mn-ea"/>
                  <a:cs typeface="+mn-cs"/>
                </a:defRPr>
              </a:lvl3pPr>
              <a:lvl4pPr marL="367200" indent="-187200" algn="l" defTabSz="914400" rtl="0" eaLnBrk="1" latinLnBrk="0" hangingPunct="1">
                <a:spcBef>
                  <a:spcPts val="500"/>
                </a:spcBef>
                <a:buFont typeface="Symbol" panose="05050102010706020507" pitchFamily="18" charset="2"/>
                <a:buChar char="-"/>
                <a:defRPr sz="1600" kern="1200">
                  <a:solidFill>
                    <a:srgbClr val="6D6D6D"/>
                  </a:solidFill>
                  <a:latin typeface="+mn-lt"/>
                  <a:ea typeface="+mn-ea"/>
                  <a:cs typeface="+mn-cs"/>
                </a:defRPr>
              </a:lvl4pPr>
              <a:lvl5pPr marL="576000" indent="-187200" algn="l" defTabSz="914400" rtl="0" eaLnBrk="1" latinLnBrk="0" hangingPunct="1">
                <a:spcBef>
                  <a:spcPts val="500"/>
                </a:spcBef>
                <a:buClr>
                  <a:schemeClr val="tx1"/>
                </a:buClr>
                <a:buFont typeface="Symbol" panose="05050102010706020507" pitchFamily="18" charset="2"/>
                <a:buChar char="-"/>
                <a:defRPr sz="1400" kern="1200">
                  <a:solidFill>
                    <a:srgbClr val="6D6D6D"/>
                  </a:solidFill>
                  <a:latin typeface="+mn-lt"/>
                  <a:ea typeface="+mn-ea"/>
                  <a:cs typeface="+mn-cs"/>
                </a:defRPr>
              </a:lvl5pPr>
              <a:lvl6pPr marL="766763" indent="-185738" algn="l" defTabSz="914400" rtl="0" eaLnBrk="1" latinLnBrk="0" hangingPunct="1">
                <a:spcBef>
                  <a:spcPts val="500"/>
                </a:spcBef>
                <a:buClr>
                  <a:schemeClr val="tx2"/>
                </a:buClr>
                <a:buFont typeface="Calibri" panose="020F0502020204030204" pitchFamily="34" charset="0"/>
                <a:buChar char="»"/>
                <a:defRPr sz="1400" kern="1200">
                  <a:solidFill>
                    <a:srgbClr val="6D6D6D"/>
                  </a:solidFill>
                  <a:latin typeface="+mn-lt"/>
                  <a:ea typeface="+mn-ea"/>
                  <a:cs typeface="+mn-cs"/>
                </a:defRPr>
              </a:lvl6pPr>
              <a:lvl7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7pPr>
              <a:lvl8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8pPr>
              <a:lvl9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9pPr>
            </a:lstStyle>
            <a:p>
              <a:pPr lvl="1" algn="r" defTabSz="162240">
                <a:buClr>
                  <a:srgbClr val="F4F3F0"/>
                </a:buClr>
              </a:pPr>
              <a:r>
                <a:rPr lang="fr-FR" sz="994" b="1">
                  <a:solidFill>
                    <a:srgbClr val="FFFFFF"/>
                  </a:solidFill>
                  <a:latin typeface="Tahoma"/>
                </a:rPr>
                <a:t>M</a:t>
              </a:r>
              <a:r>
                <a:rPr lang="fr-FR" sz="994">
                  <a:solidFill>
                    <a:srgbClr val="FFFFFF"/>
                  </a:solidFill>
                  <a:latin typeface="Tahoma"/>
                </a:rPr>
                <a:t>	+33 (0)6 22 80 30 04</a:t>
              </a:r>
            </a:p>
            <a:p>
              <a:pPr lvl="1" algn="r" defTabSz="162240">
                <a:buClr>
                  <a:srgbClr val="F4F3F0"/>
                </a:buClr>
              </a:pPr>
              <a:r>
                <a:rPr lang="fr-FR" sz="994">
                  <a:solidFill>
                    <a:srgbClr val="FFFFFF"/>
                  </a:solidFill>
                  <a:latin typeface="Tahoma"/>
                </a:rPr>
                <a:t>Simon.paranthoen@wavestone.com</a:t>
              </a:r>
            </a:p>
          </p:txBody>
        </p:sp>
      </p:grpSp>
      <p:grpSp>
        <p:nvGrpSpPr>
          <p:cNvPr id="5" name="Group 5">
            <a:extLst>
              <a:ext uri="{FF2B5EF4-FFF2-40B4-BE49-F238E27FC236}">
                <a16:creationId xmlns:a16="http://schemas.microsoft.com/office/drawing/2014/main" id="{85FCDA19-65B5-4E58-9EA4-67272862E8AC}"/>
              </a:ext>
            </a:extLst>
          </p:cNvPr>
          <p:cNvGrpSpPr/>
          <p:nvPr/>
        </p:nvGrpSpPr>
        <p:grpSpPr>
          <a:xfrm>
            <a:off x="3126896" y="4823001"/>
            <a:ext cx="7111550" cy="488344"/>
            <a:chOff x="1568624" y="2505157"/>
            <a:chExt cx="7863793" cy="540000"/>
          </a:xfrm>
        </p:grpSpPr>
        <p:sp>
          <p:nvSpPr>
            <p:cNvPr id="6" name="Textplatzhalter 6">
              <a:extLst>
                <a:ext uri="{FF2B5EF4-FFF2-40B4-BE49-F238E27FC236}">
                  <a16:creationId xmlns:a16="http://schemas.microsoft.com/office/drawing/2014/main" id="{9BAC59B2-DC31-40B4-8404-001EE797EC9B}"/>
                </a:ext>
              </a:extLst>
            </p:cNvPr>
            <p:cNvSpPr txBox="1">
              <a:spLocks/>
            </p:cNvSpPr>
            <p:nvPr/>
          </p:nvSpPr>
          <p:spPr bwMode="gray">
            <a:xfrm>
              <a:off x="1568624" y="2505157"/>
              <a:ext cx="3276426" cy="540000"/>
            </a:xfrm>
            <a:prstGeom prst="rect">
              <a:avLst/>
            </a:prstGeom>
            <a:noFill/>
          </p:spPr>
          <p:txBody>
            <a:bodyPr wrap="square" lIns="130225" tIns="0" rIns="0" bIns="0">
              <a:noAutofit/>
            </a:bodyPr>
            <a:lstStyle>
              <a:lvl1pPr marL="0" indent="0" algn="l" defTabSz="914400" rtl="0" eaLnBrk="1" latinLnBrk="0" hangingPunct="1">
                <a:spcBef>
                  <a:spcPts val="0"/>
                </a:spcBef>
                <a:spcAft>
                  <a:spcPts val="500"/>
                </a:spcAft>
                <a:buFont typeface="Arial" panose="020B0604020202020204" pitchFamily="34" charset="0"/>
                <a:buNone/>
                <a:defRPr sz="2000" kern="1200" baseline="0">
                  <a:solidFill>
                    <a:schemeClr val="tx2"/>
                  </a:solidFill>
                  <a:latin typeface="+mn-lt"/>
                  <a:ea typeface="+mn-ea"/>
                  <a:cs typeface="+mn-cs"/>
                </a:defRPr>
              </a:lvl1pPr>
              <a:lvl2pPr marL="0" indent="0" algn="l" defTabSz="914400" rtl="0" eaLnBrk="1" latinLnBrk="0" hangingPunct="1">
                <a:spcBef>
                  <a:spcPts val="500"/>
                </a:spcBef>
                <a:buClr>
                  <a:schemeClr val="tx2"/>
                </a:buClr>
                <a:buSzPct val="105000"/>
                <a:buFontTx/>
                <a:buNone/>
                <a:defRPr sz="1800" kern="1200">
                  <a:solidFill>
                    <a:srgbClr val="6D6D6D"/>
                  </a:solidFill>
                  <a:latin typeface="+mn-lt"/>
                  <a:ea typeface="+mn-ea"/>
                  <a:cs typeface="+mn-cs"/>
                </a:defRPr>
              </a:lvl2pPr>
              <a:lvl3pPr marL="180000" indent="-180000" algn="l" defTabSz="914400" rtl="0" eaLnBrk="1" latinLnBrk="0" hangingPunct="1">
                <a:spcBef>
                  <a:spcPts val="500"/>
                </a:spcBef>
                <a:buClr>
                  <a:schemeClr val="tx2"/>
                </a:buClr>
                <a:buFont typeface="Calibri" panose="020F0502020204030204" pitchFamily="34" charset="0"/>
                <a:buChar char="›"/>
                <a:defRPr sz="1600" kern="1200">
                  <a:solidFill>
                    <a:srgbClr val="6D6D6D"/>
                  </a:solidFill>
                  <a:latin typeface="+mn-lt"/>
                  <a:ea typeface="+mn-ea"/>
                  <a:cs typeface="+mn-cs"/>
                </a:defRPr>
              </a:lvl3pPr>
              <a:lvl4pPr marL="367200" indent="-187200" algn="l" defTabSz="914400" rtl="0" eaLnBrk="1" latinLnBrk="0" hangingPunct="1">
                <a:spcBef>
                  <a:spcPts val="500"/>
                </a:spcBef>
                <a:buFont typeface="Symbol" panose="05050102010706020507" pitchFamily="18" charset="2"/>
                <a:buChar char="-"/>
                <a:defRPr sz="1600" kern="1200">
                  <a:solidFill>
                    <a:srgbClr val="6D6D6D"/>
                  </a:solidFill>
                  <a:latin typeface="+mn-lt"/>
                  <a:ea typeface="+mn-ea"/>
                  <a:cs typeface="+mn-cs"/>
                </a:defRPr>
              </a:lvl4pPr>
              <a:lvl5pPr marL="576000" indent="-187200" algn="l" defTabSz="914400" rtl="0" eaLnBrk="1" latinLnBrk="0" hangingPunct="1">
                <a:spcBef>
                  <a:spcPts val="500"/>
                </a:spcBef>
                <a:buClr>
                  <a:schemeClr val="tx1"/>
                </a:buClr>
                <a:buFont typeface="Symbol" panose="05050102010706020507" pitchFamily="18" charset="2"/>
                <a:buChar char="-"/>
                <a:defRPr sz="1400" kern="1200">
                  <a:solidFill>
                    <a:srgbClr val="6D6D6D"/>
                  </a:solidFill>
                  <a:latin typeface="+mn-lt"/>
                  <a:ea typeface="+mn-ea"/>
                  <a:cs typeface="+mn-cs"/>
                </a:defRPr>
              </a:lvl5pPr>
              <a:lvl6pPr marL="766763" indent="-185738" algn="l" defTabSz="914400" rtl="0" eaLnBrk="1" latinLnBrk="0" hangingPunct="1">
                <a:spcBef>
                  <a:spcPts val="500"/>
                </a:spcBef>
                <a:buClr>
                  <a:schemeClr val="tx2"/>
                </a:buClr>
                <a:buFont typeface="Calibri" panose="020F0502020204030204" pitchFamily="34" charset="0"/>
                <a:buChar char="»"/>
                <a:defRPr sz="1400" kern="1200">
                  <a:solidFill>
                    <a:srgbClr val="6D6D6D"/>
                  </a:solidFill>
                  <a:latin typeface="+mn-lt"/>
                  <a:ea typeface="+mn-ea"/>
                  <a:cs typeface="+mn-cs"/>
                </a:defRPr>
              </a:lvl6pPr>
              <a:lvl7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7pPr>
              <a:lvl8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8pPr>
              <a:lvl9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9pPr>
            </a:lstStyle>
            <a:p>
              <a:pPr>
                <a:spcAft>
                  <a:spcPts val="0"/>
                </a:spcAft>
              </a:pPr>
              <a:r>
                <a:rPr lang="fr-FR" sz="1085" b="1">
                  <a:solidFill>
                    <a:srgbClr val="FFFFFF"/>
                  </a:solidFill>
                  <a:latin typeface="Tahoma"/>
                </a:rPr>
                <a:t>Margot COCQUET</a:t>
              </a:r>
              <a:br>
                <a:rPr lang="fr-FR" sz="1085" b="1">
                  <a:solidFill>
                    <a:srgbClr val="FFFFFF"/>
                  </a:solidFill>
                  <a:latin typeface="Tahoma"/>
                </a:rPr>
              </a:br>
              <a:r>
                <a:rPr lang="fr-FR" sz="1090">
                  <a:solidFill>
                    <a:srgbClr val="FFFFFF"/>
                  </a:solidFill>
                  <a:latin typeface="Tahoma"/>
                </a:rPr>
                <a:t>Consultante</a:t>
              </a:r>
            </a:p>
          </p:txBody>
        </p:sp>
        <p:sp>
          <p:nvSpPr>
            <p:cNvPr id="7" name="Textplatzhalter 6">
              <a:extLst>
                <a:ext uri="{FF2B5EF4-FFF2-40B4-BE49-F238E27FC236}">
                  <a16:creationId xmlns:a16="http://schemas.microsoft.com/office/drawing/2014/main" id="{E02254A5-405F-4EA9-A26C-1B659092FF1E}"/>
                </a:ext>
              </a:extLst>
            </p:cNvPr>
            <p:cNvSpPr txBox="1">
              <a:spLocks/>
            </p:cNvSpPr>
            <p:nvPr/>
          </p:nvSpPr>
          <p:spPr bwMode="gray">
            <a:xfrm>
              <a:off x="4936717" y="2505157"/>
              <a:ext cx="4495700" cy="540000"/>
            </a:xfrm>
            <a:prstGeom prst="rect">
              <a:avLst/>
            </a:prstGeom>
            <a:noFill/>
          </p:spPr>
          <p:txBody>
            <a:bodyPr wrap="square" lIns="0" tIns="0" rIns="0" bIns="0">
              <a:noAutofit/>
            </a:bodyPr>
            <a:lstStyle>
              <a:lvl1pPr marL="0" indent="0" algn="l" defTabSz="914400" rtl="0" eaLnBrk="1" latinLnBrk="0" hangingPunct="1">
                <a:spcBef>
                  <a:spcPts val="0"/>
                </a:spcBef>
                <a:spcAft>
                  <a:spcPts val="500"/>
                </a:spcAft>
                <a:buFont typeface="Arial" panose="020B0604020202020204" pitchFamily="34" charset="0"/>
                <a:buNone/>
                <a:defRPr sz="2000" kern="1200" baseline="0">
                  <a:solidFill>
                    <a:schemeClr val="tx2"/>
                  </a:solidFill>
                  <a:latin typeface="+mn-lt"/>
                  <a:ea typeface="+mn-ea"/>
                  <a:cs typeface="+mn-cs"/>
                </a:defRPr>
              </a:lvl1pPr>
              <a:lvl2pPr marL="0" indent="0" algn="l" defTabSz="914400" rtl="0" eaLnBrk="1" latinLnBrk="0" hangingPunct="1">
                <a:spcBef>
                  <a:spcPts val="500"/>
                </a:spcBef>
                <a:buClr>
                  <a:schemeClr val="tx2"/>
                </a:buClr>
                <a:buSzPct val="105000"/>
                <a:buFontTx/>
                <a:buNone/>
                <a:defRPr sz="1800" kern="1200">
                  <a:solidFill>
                    <a:srgbClr val="6D6D6D"/>
                  </a:solidFill>
                  <a:latin typeface="+mn-lt"/>
                  <a:ea typeface="+mn-ea"/>
                  <a:cs typeface="+mn-cs"/>
                </a:defRPr>
              </a:lvl2pPr>
              <a:lvl3pPr marL="180000" indent="-180000" algn="l" defTabSz="914400" rtl="0" eaLnBrk="1" latinLnBrk="0" hangingPunct="1">
                <a:spcBef>
                  <a:spcPts val="500"/>
                </a:spcBef>
                <a:buClr>
                  <a:schemeClr val="tx2"/>
                </a:buClr>
                <a:buFont typeface="Calibri" panose="020F0502020204030204" pitchFamily="34" charset="0"/>
                <a:buChar char="›"/>
                <a:defRPr sz="1600" kern="1200">
                  <a:solidFill>
                    <a:srgbClr val="6D6D6D"/>
                  </a:solidFill>
                  <a:latin typeface="+mn-lt"/>
                  <a:ea typeface="+mn-ea"/>
                  <a:cs typeface="+mn-cs"/>
                </a:defRPr>
              </a:lvl3pPr>
              <a:lvl4pPr marL="367200" indent="-187200" algn="l" defTabSz="914400" rtl="0" eaLnBrk="1" latinLnBrk="0" hangingPunct="1">
                <a:spcBef>
                  <a:spcPts val="500"/>
                </a:spcBef>
                <a:buFont typeface="Symbol" panose="05050102010706020507" pitchFamily="18" charset="2"/>
                <a:buChar char="-"/>
                <a:defRPr sz="1600" kern="1200">
                  <a:solidFill>
                    <a:srgbClr val="6D6D6D"/>
                  </a:solidFill>
                  <a:latin typeface="+mn-lt"/>
                  <a:ea typeface="+mn-ea"/>
                  <a:cs typeface="+mn-cs"/>
                </a:defRPr>
              </a:lvl4pPr>
              <a:lvl5pPr marL="576000" indent="-187200" algn="l" defTabSz="914400" rtl="0" eaLnBrk="1" latinLnBrk="0" hangingPunct="1">
                <a:spcBef>
                  <a:spcPts val="500"/>
                </a:spcBef>
                <a:buClr>
                  <a:schemeClr val="tx1"/>
                </a:buClr>
                <a:buFont typeface="Symbol" panose="05050102010706020507" pitchFamily="18" charset="2"/>
                <a:buChar char="-"/>
                <a:defRPr sz="1400" kern="1200">
                  <a:solidFill>
                    <a:srgbClr val="6D6D6D"/>
                  </a:solidFill>
                  <a:latin typeface="+mn-lt"/>
                  <a:ea typeface="+mn-ea"/>
                  <a:cs typeface="+mn-cs"/>
                </a:defRPr>
              </a:lvl5pPr>
              <a:lvl6pPr marL="766763" indent="-185738" algn="l" defTabSz="914400" rtl="0" eaLnBrk="1" latinLnBrk="0" hangingPunct="1">
                <a:spcBef>
                  <a:spcPts val="500"/>
                </a:spcBef>
                <a:buClr>
                  <a:schemeClr val="tx2"/>
                </a:buClr>
                <a:buFont typeface="Calibri" panose="020F0502020204030204" pitchFamily="34" charset="0"/>
                <a:buChar char="»"/>
                <a:defRPr sz="1400" kern="1200">
                  <a:solidFill>
                    <a:srgbClr val="6D6D6D"/>
                  </a:solidFill>
                  <a:latin typeface="+mn-lt"/>
                  <a:ea typeface="+mn-ea"/>
                  <a:cs typeface="+mn-cs"/>
                </a:defRPr>
              </a:lvl6pPr>
              <a:lvl7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7pPr>
              <a:lvl8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8pPr>
              <a:lvl9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9pPr>
            </a:lstStyle>
            <a:p>
              <a:pPr lvl="1" algn="r" defTabSz="162240">
                <a:buClr>
                  <a:srgbClr val="F4F3F0"/>
                </a:buClr>
              </a:pPr>
              <a:r>
                <a:rPr lang="fr-FR" sz="994" b="1">
                  <a:solidFill>
                    <a:srgbClr val="FFFFFF"/>
                  </a:solidFill>
                  <a:latin typeface="Tahoma"/>
                </a:rPr>
                <a:t>M</a:t>
              </a:r>
              <a:r>
                <a:rPr lang="fr-FR" sz="994">
                  <a:solidFill>
                    <a:srgbClr val="FFFFFF"/>
                  </a:solidFill>
                  <a:latin typeface="Tahoma"/>
                </a:rPr>
                <a:t>	+33 (0)6 04 03 31 91</a:t>
              </a:r>
            </a:p>
            <a:p>
              <a:pPr lvl="1" algn="r" defTabSz="162240">
                <a:buClr>
                  <a:srgbClr val="F4F3F0"/>
                </a:buClr>
              </a:pPr>
              <a:r>
                <a:rPr lang="fr-FR" sz="994">
                  <a:solidFill>
                    <a:srgbClr val="FFFFFF"/>
                  </a:solidFill>
                  <a:latin typeface="Tahoma"/>
                </a:rPr>
                <a:t>Margot.cocquet@wavestone.com</a:t>
              </a:r>
            </a:p>
            <a:p>
              <a:pPr lvl="1" algn="r" defTabSz="162240">
                <a:buClr>
                  <a:srgbClr val="F4F3F0"/>
                </a:buClr>
              </a:pPr>
              <a:endParaRPr lang="fr-FR" sz="994">
                <a:solidFill>
                  <a:srgbClr val="FFFFFF"/>
                </a:solidFill>
                <a:latin typeface="Tahoma"/>
              </a:endParaRPr>
            </a:p>
          </p:txBody>
        </p:sp>
      </p:grpSp>
      <p:grpSp>
        <p:nvGrpSpPr>
          <p:cNvPr id="8" name="Group 5">
            <a:extLst>
              <a:ext uri="{FF2B5EF4-FFF2-40B4-BE49-F238E27FC236}">
                <a16:creationId xmlns:a16="http://schemas.microsoft.com/office/drawing/2014/main" id="{711F289C-21AA-482E-A0A3-549CC9CCA7A6}"/>
              </a:ext>
            </a:extLst>
          </p:cNvPr>
          <p:cNvGrpSpPr/>
          <p:nvPr/>
        </p:nvGrpSpPr>
        <p:grpSpPr>
          <a:xfrm>
            <a:off x="3126896" y="3881829"/>
            <a:ext cx="7100532" cy="488344"/>
            <a:chOff x="1568624" y="2505157"/>
            <a:chExt cx="7851610" cy="540000"/>
          </a:xfrm>
        </p:grpSpPr>
        <p:sp>
          <p:nvSpPr>
            <p:cNvPr id="9" name="Textplatzhalter 6">
              <a:extLst>
                <a:ext uri="{FF2B5EF4-FFF2-40B4-BE49-F238E27FC236}">
                  <a16:creationId xmlns:a16="http://schemas.microsoft.com/office/drawing/2014/main" id="{2602B796-405C-4EC0-9924-5EFF14D4F2EF}"/>
                </a:ext>
              </a:extLst>
            </p:cNvPr>
            <p:cNvSpPr txBox="1">
              <a:spLocks/>
            </p:cNvSpPr>
            <p:nvPr/>
          </p:nvSpPr>
          <p:spPr bwMode="gray">
            <a:xfrm>
              <a:off x="1568624" y="2505157"/>
              <a:ext cx="3276426" cy="540000"/>
            </a:xfrm>
            <a:prstGeom prst="rect">
              <a:avLst/>
            </a:prstGeom>
            <a:noFill/>
          </p:spPr>
          <p:txBody>
            <a:bodyPr wrap="square" lIns="130225" tIns="0" rIns="0" bIns="0">
              <a:noAutofit/>
            </a:bodyPr>
            <a:lstStyle>
              <a:lvl1pPr marL="0" indent="0" algn="l" defTabSz="914400" rtl="0" eaLnBrk="1" latinLnBrk="0" hangingPunct="1">
                <a:spcBef>
                  <a:spcPts val="0"/>
                </a:spcBef>
                <a:spcAft>
                  <a:spcPts val="500"/>
                </a:spcAft>
                <a:buFont typeface="Arial" panose="020B0604020202020204" pitchFamily="34" charset="0"/>
                <a:buNone/>
                <a:defRPr sz="2000" kern="1200" baseline="0">
                  <a:solidFill>
                    <a:schemeClr val="tx2"/>
                  </a:solidFill>
                  <a:latin typeface="+mn-lt"/>
                  <a:ea typeface="+mn-ea"/>
                  <a:cs typeface="+mn-cs"/>
                </a:defRPr>
              </a:lvl1pPr>
              <a:lvl2pPr marL="0" indent="0" algn="l" defTabSz="914400" rtl="0" eaLnBrk="1" latinLnBrk="0" hangingPunct="1">
                <a:spcBef>
                  <a:spcPts val="500"/>
                </a:spcBef>
                <a:buClr>
                  <a:schemeClr val="tx2"/>
                </a:buClr>
                <a:buSzPct val="105000"/>
                <a:buFontTx/>
                <a:buNone/>
                <a:defRPr sz="1800" kern="1200">
                  <a:solidFill>
                    <a:srgbClr val="6D6D6D"/>
                  </a:solidFill>
                  <a:latin typeface="+mn-lt"/>
                  <a:ea typeface="+mn-ea"/>
                  <a:cs typeface="+mn-cs"/>
                </a:defRPr>
              </a:lvl2pPr>
              <a:lvl3pPr marL="180000" indent="-180000" algn="l" defTabSz="914400" rtl="0" eaLnBrk="1" latinLnBrk="0" hangingPunct="1">
                <a:spcBef>
                  <a:spcPts val="500"/>
                </a:spcBef>
                <a:buClr>
                  <a:schemeClr val="tx2"/>
                </a:buClr>
                <a:buFont typeface="Calibri" panose="020F0502020204030204" pitchFamily="34" charset="0"/>
                <a:buChar char="›"/>
                <a:defRPr sz="1600" kern="1200">
                  <a:solidFill>
                    <a:srgbClr val="6D6D6D"/>
                  </a:solidFill>
                  <a:latin typeface="+mn-lt"/>
                  <a:ea typeface="+mn-ea"/>
                  <a:cs typeface="+mn-cs"/>
                </a:defRPr>
              </a:lvl3pPr>
              <a:lvl4pPr marL="367200" indent="-187200" algn="l" defTabSz="914400" rtl="0" eaLnBrk="1" latinLnBrk="0" hangingPunct="1">
                <a:spcBef>
                  <a:spcPts val="500"/>
                </a:spcBef>
                <a:buFont typeface="Symbol" panose="05050102010706020507" pitchFamily="18" charset="2"/>
                <a:buChar char="-"/>
                <a:defRPr sz="1600" kern="1200">
                  <a:solidFill>
                    <a:srgbClr val="6D6D6D"/>
                  </a:solidFill>
                  <a:latin typeface="+mn-lt"/>
                  <a:ea typeface="+mn-ea"/>
                  <a:cs typeface="+mn-cs"/>
                </a:defRPr>
              </a:lvl4pPr>
              <a:lvl5pPr marL="576000" indent="-187200" algn="l" defTabSz="914400" rtl="0" eaLnBrk="1" latinLnBrk="0" hangingPunct="1">
                <a:spcBef>
                  <a:spcPts val="500"/>
                </a:spcBef>
                <a:buClr>
                  <a:schemeClr val="tx1"/>
                </a:buClr>
                <a:buFont typeface="Symbol" panose="05050102010706020507" pitchFamily="18" charset="2"/>
                <a:buChar char="-"/>
                <a:defRPr sz="1400" kern="1200">
                  <a:solidFill>
                    <a:srgbClr val="6D6D6D"/>
                  </a:solidFill>
                  <a:latin typeface="+mn-lt"/>
                  <a:ea typeface="+mn-ea"/>
                  <a:cs typeface="+mn-cs"/>
                </a:defRPr>
              </a:lvl5pPr>
              <a:lvl6pPr marL="766763" indent="-185738" algn="l" defTabSz="914400" rtl="0" eaLnBrk="1" latinLnBrk="0" hangingPunct="1">
                <a:spcBef>
                  <a:spcPts val="500"/>
                </a:spcBef>
                <a:buClr>
                  <a:schemeClr val="tx2"/>
                </a:buClr>
                <a:buFont typeface="Calibri" panose="020F0502020204030204" pitchFamily="34" charset="0"/>
                <a:buChar char="»"/>
                <a:defRPr sz="1400" kern="1200">
                  <a:solidFill>
                    <a:srgbClr val="6D6D6D"/>
                  </a:solidFill>
                  <a:latin typeface="+mn-lt"/>
                  <a:ea typeface="+mn-ea"/>
                  <a:cs typeface="+mn-cs"/>
                </a:defRPr>
              </a:lvl6pPr>
              <a:lvl7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7pPr>
              <a:lvl8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8pPr>
              <a:lvl9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9pPr>
            </a:lstStyle>
            <a:p>
              <a:pPr>
                <a:spcAft>
                  <a:spcPts val="0"/>
                </a:spcAft>
              </a:pPr>
              <a:r>
                <a:rPr lang="fr-FR" sz="1085" b="1">
                  <a:solidFill>
                    <a:srgbClr val="FFFFFF"/>
                  </a:solidFill>
                  <a:latin typeface="Tahoma"/>
                </a:rPr>
                <a:t>Amelle VANDEVELDE</a:t>
              </a:r>
              <a:br>
                <a:rPr lang="fr-FR" sz="1085" b="1">
                  <a:solidFill>
                    <a:srgbClr val="FFFFFF"/>
                  </a:solidFill>
                  <a:latin typeface="Tahoma"/>
                </a:rPr>
              </a:br>
              <a:r>
                <a:rPr lang="fr-FR" sz="1085">
                  <a:solidFill>
                    <a:srgbClr val="FFFFFF"/>
                  </a:solidFill>
                  <a:latin typeface="Tahoma"/>
                </a:rPr>
                <a:t>Consultante senior</a:t>
              </a:r>
              <a:endParaRPr lang="fr-FR" sz="994">
                <a:solidFill>
                  <a:srgbClr val="FFFFFF"/>
                </a:solidFill>
                <a:latin typeface="Tahoma"/>
              </a:endParaRPr>
            </a:p>
          </p:txBody>
        </p:sp>
        <p:sp>
          <p:nvSpPr>
            <p:cNvPr id="10" name="Textplatzhalter 6">
              <a:extLst>
                <a:ext uri="{FF2B5EF4-FFF2-40B4-BE49-F238E27FC236}">
                  <a16:creationId xmlns:a16="http://schemas.microsoft.com/office/drawing/2014/main" id="{2C245D48-33A7-4EF4-9E43-40DD8A832DF3}"/>
                </a:ext>
              </a:extLst>
            </p:cNvPr>
            <p:cNvSpPr txBox="1">
              <a:spLocks/>
            </p:cNvSpPr>
            <p:nvPr/>
          </p:nvSpPr>
          <p:spPr bwMode="gray">
            <a:xfrm>
              <a:off x="4924534" y="2505157"/>
              <a:ext cx="4495700" cy="540000"/>
            </a:xfrm>
            <a:prstGeom prst="rect">
              <a:avLst/>
            </a:prstGeom>
            <a:noFill/>
          </p:spPr>
          <p:txBody>
            <a:bodyPr wrap="square" lIns="0" tIns="0" rIns="0" bIns="0">
              <a:noAutofit/>
            </a:bodyPr>
            <a:lstStyle>
              <a:lvl1pPr marL="0" indent="0" algn="l" defTabSz="914400" rtl="0" eaLnBrk="1" latinLnBrk="0" hangingPunct="1">
                <a:spcBef>
                  <a:spcPts val="0"/>
                </a:spcBef>
                <a:spcAft>
                  <a:spcPts val="500"/>
                </a:spcAft>
                <a:buFont typeface="Arial" panose="020B0604020202020204" pitchFamily="34" charset="0"/>
                <a:buNone/>
                <a:defRPr sz="2000" kern="1200" baseline="0">
                  <a:solidFill>
                    <a:schemeClr val="tx2"/>
                  </a:solidFill>
                  <a:latin typeface="+mn-lt"/>
                  <a:ea typeface="+mn-ea"/>
                  <a:cs typeface="+mn-cs"/>
                </a:defRPr>
              </a:lvl1pPr>
              <a:lvl2pPr marL="0" indent="0" algn="l" defTabSz="914400" rtl="0" eaLnBrk="1" latinLnBrk="0" hangingPunct="1">
                <a:spcBef>
                  <a:spcPts val="500"/>
                </a:spcBef>
                <a:buClr>
                  <a:schemeClr val="tx2"/>
                </a:buClr>
                <a:buSzPct val="105000"/>
                <a:buFontTx/>
                <a:buNone/>
                <a:defRPr sz="1800" kern="1200">
                  <a:solidFill>
                    <a:srgbClr val="6D6D6D"/>
                  </a:solidFill>
                  <a:latin typeface="+mn-lt"/>
                  <a:ea typeface="+mn-ea"/>
                  <a:cs typeface="+mn-cs"/>
                </a:defRPr>
              </a:lvl2pPr>
              <a:lvl3pPr marL="180000" indent="-180000" algn="l" defTabSz="914400" rtl="0" eaLnBrk="1" latinLnBrk="0" hangingPunct="1">
                <a:spcBef>
                  <a:spcPts val="500"/>
                </a:spcBef>
                <a:buClr>
                  <a:schemeClr val="tx2"/>
                </a:buClr>
                <a:buFont typeface="Calibri" panose="020F0502020204030204" pitchFamily="34" charset="0"/>
                <a:buChar char="›"/>
                <a:defRPr sz="1600" kern="1200">
                  <a:solidFill>
                    <a:srgbClr val="6D6D6D"/>
                  </a:solidFill>
                  <a:latin typeface="+mn-lt"/>
                  <a:ea typeface="+mn-ea"/>
                  <a:cs typeface="+mn-cs"/>
                </a:defRPr>
              </a:lvl3pPr>
              <a:lvl4pPr marL="367200" indent="-187200" algn="l" defTabSz="914400" rtl="0" eaLnBrk="1" latinLnBrk="0" hangingPunct="1">
                <a:spcBef>
                  <a:spcPts val="500"/>
                </a:spcBef>
                <a:buFont typeface="Symbol" panose="05050102010706020507" pitchFamily="18" charset="2"/>
                <a:buChar char="-"/>
                <a:defRPr sz="1600" kern="1200">
                  <a:solidFill>
                    <a:srgbClr val="6D6D6D"/>
                  </a:solidFill>
                  <a:latin typeface="+mn-lt"/>
                  <a:ea typeface="+mn-ea"/>
                  <a:cs typeface="+mn-cs"/>
                </a:defRPr>
              </a:lvl4pPr>
              <a:lvl5pPr marL="576000" indent="-187200" algn="l" defTabSz="914400" rtl="0" eaLnBrk="1" latinLnBrk="0" hangingPunct="1">
                <a:spcBef>
                  <a:spcPts val="500"/>
                </a:spcBef>
                <a:buClr>
                  <a:schemeClr val="tx1"/>
                </a:buClr>
                <a:buFont typeface="Symbol" panose="05050102010706020507" pitchFamily="18" charset="2"/>
                <a:buChar char="-"/>
                <a:defRPr sz="1400" kern="1200">
                  <a:solidFill>
                    <a:srgbClr val="6D6D6D"/>
                  </a:solidFill>
                  <a:latin typeface="+mn-lt"/>
                  <a:ea typeface="+mn-ea"/>
                  <a:cs typeface="+mn-cs"/>
                </a:defRPr>
              </a:lvl5pPr>
              <a:lvl6pPr marL="766763" indent="-185738" algn="l" defTabSz="914400" rtl="0" eaLnBrk="1" latinLnBrk="0" hangingPunct="1">
                <a:spcBef>
                  <a:spcPts val="500"/>
                </a:spcBef>
                <a:buClr>
                  <a:schemeClr val="tx2"/>
                </a:buClr>
                <a:buFont typeface="Calibri" panose="020F0502020204030204" pitchFamily="34" charset="0"/>
                <a:buChar char="»"/>
                <a:defRPr sz="1400" kern="1200">
                  <a:solidFill>
                    <a:srgbClr val="6D6D6D"/>
                  </a:solidFill>
                  <a:latin typeface="+mn-lt"/>
                  <a:ea typeface="+mn-ea"/>
                  <a:cs typeface="+mn-cs"/>
                </a:defRPr>
              </a:lvl6pPr>
              <a:lvl7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7pPr>
              <a:lvl8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8pPr>
              <a:lvl9pPr marL="766800" indent="-187200" algn="l" defTabSz="914400" rtl="0" eaLnBrk="1" latinLnBrk="0" hangingPunct="1">
                <a:spcBef>
                  <a:spcPts val="500"/>
                </a:spcBef>
                <a:buClr>
                  <a:schemeClr val="tx2"/>
                </a:buClr>
                <a:buFont typeface="Calibri" panose="020F0502020204030204" pitchFamily="34" charset="0"/>
                <a:buChar char="»"/>
                <a:defRPr sz="1400" kern="1200" baseline="0">
                  <a:solidFill>
                    <a:srgbClr val="6D6D6D"/>
                  </a:solidFill>
                  <a:latin typeface="+mn-lt"/>
                  <a:ea typeface="+mn-ea"/>
                  <a:cs typeface="+mn-cs"/>
                </a:defRPr>
              </a:lvl9pPr>
            </a:lstStyle>
            <a:p>
              <a:pPr lvl="1" algn="r" defTabSz="162240">
                <a:buClr>
                  <a:srgbClr val="F4F3F0"/>
                </a:buClr>
              </a:pPr>
              <a:r>
                <a:rPr lang="fr-FR" sz="994" b="1">
                  <a:solidFill>
                    <a:srgbClr val="FFFFFF"/>
                  </a:solidFill>
                  <a:latin typeface="Tahoma"/>
                </a:rPr>
                <a:t>M</a:t>
              </a:r>
              <a:r>
                <a:rPr lang="fr-FR" sz="994">
                  <a:solidFill>
                    <a:srgbClr val="FFFFFF"/>
                  </a:solidFill>
                  <a:latin typeface="Tahoma"/>
                </a:rPr>
                <a:t>	++33 (0)7 63 74 44 33</a:t>
              </a:r>
            </a:p>
            <a:p>
              <a:pPr lvl="1" algn="r" defTabSz="162240">
                <a:buClr>
                  <a:srgbClr val="F4F3F0"/>
                </a:buClr>
              </a:pPr>
              <a:r>
                <a:rPr lang="fr-FR" sz="994">
                  <a:solidFill>
                    <a:srgbClr val="FFFFFF"/>
                  </a:solidFill>
                  <a:latin typeface="Tahoma"/>
                </a:rPr>
                <a:t>Amelle.vandevelde@wavestone.com</a:t>
              </a:r>
            </a:p>
          </p:txBody>
        </p:sp>
      </p:grpSp>
    </p:spTree>
    <p:extLst>
      <p:ext uri="{BB962C8B-B14F-4D97-AF65-F5344CB8AC3E}">
        <p14:creationId xmlns:p14="http://schemas.microsoft.com/office/powerpoint/2010/main" val="37144891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45E749-14D8-42BA-A566-C272C57C4B42}"/>
              </a:ext>
            </a:extLst>
          </p:cNvPr>
          <p:cNvSpPr>
            <a:spLocks noGrp="1"/>
          </p:cNvSpPr>
          <p:nvPr>
            <p:ph type="title"/>
          </p:nvPr>
        </p:nvSpPr>
        <p:spPr/>
        <p:txBody>
          <a:bodyPr/>
          <a:lstStyle/>
          <a:p>
            <a:r>
              <a:rPr lang="fr-FR">
                <a:latin typeface="Tahoma"/>
                <a:ea typeface="+mn-ea"/>
                <a:cs typeface="+mn-cs"/>
              </a:rPr>
              <a:t>Compléments sur l’état des lieux</a:t>
            </a:r>
            <a:endParaRPr lang="fr-FR"/>
          </a:p>
        </p:txBody>
      </p:sp>
      <p:sp>
        <p:nvSpPr>
          <p:cNvPr id="3" name="Espace réservé du texte 2">
            <a:extLst>
              <a:ext uri="{FF2B5EF4-FFF2-40B4-BE49-F238E27FC236}">
                <a16:creationId xmlns:a16="http://schemas.microsoft.com/office/drawing/2014/main" id="{56CE6F7E-B7E2-4D0A-84E0-E9105A72B01A}"/>
              </a:ext>
            </a:extLst>
          </p:cNvPr>
          <p:cNvSpPr>
            <a:spLocks noGrp="1"/>
          </p:cNvSpPr>
          <p:nvPr>
            <p:ph type="body" sz="quarter" idx="38"/>
          </p:nvPr>
        </p:nvSpPr>
        <p:spPr/>
        <p:txBody>
          <a:bodyPr/>
          <a:lstStyle/>
          <a:p>
            <a:r>
              <a:rPr lang="fr-FR"/>
              <a:t>A</a:t>
            </a:r>
          </a:p>
        </p:txBody>
      </p:sp>
    </p:spTree>
    <p:extLst>
      <p:ext uri="{BB962C8B-B14F-4D97-AF65-F5344CB8AC3E}">
        <p14:creationId xmlns:p14="http://schemas.microsoft.com/office/powerpoint/2010/main" val="20536585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69AB35B1-F5D7-4DD6-AD65-96052EC85625}"/>
              </a:ext>
            </a:extLst>
          </p:cNvPr>
          <p:cNvSpPr>
            <a:spLocks noGrp="1"/>
          </p:cNvSpPr>
          <p:nvPr>
            <p:ph type="title"/>
          </p:nvPr>
        </p:nvSpPr>
        <p:spPr/>
        <p:txBody>
          <a:bodyPr/>
          <a:lstStyle/>
          <a:p>
            <a:r>
              <a:rPr lang="fr-FR"/>
              <a:t>Contexte et enjeux de l’étude</a:t>
            </a:r>
          </a:p>
        </p:txBody>
      </p:sp>
      <p:sp>
        <p:nvSpPr>
          <p:cNvPr id="6" name="Espace réservé du texte 5">
            <a:extLst>
              <a:ext uri="{FF2B5EF4-FFF2-40B4-BE49-F238E27FC236}">
                <a16:creationId xmlns:a16="http://schemas.microsoft.com/office/drawing/2014/main" id="{1C9D24B3-DF32-4B26-840A-5C02642F0A68}"/>
              </a:ext>
            </a:extLst>
          </p:cNvPr>
          <p:cNvSpPr>
            <a:spLocks noGrp="1"/>
          </p:cNvSpPr>
          <p:nvPr>
            <p:ph type="body" sz="quarter" idx="13"/>
          </p:nvPr>
        </p:nvSpPr>
        <p:spPr/>
        <p:txBody>
          <a:bodyPr/>
          <a:lstStyle/>
          <a:p>
            <a:r>
              <a:rPr lang="fr-FR"/>
              <a:t>Introduction</a:t>
            </a:r>
          </a:p>
        </p:txBody>
      </p:sp>
      <p:sp>
        <p:nvSpPr>
          <p:cNvPr id="7" name="Espace réservé du contenu 6">
            <a:extLst>
              <a:ext uri="{FF2B5EF4-FFF2-40B4-BE49-F238E27FC236}">
                <a16:creationId xmlns:a16="http://schemas.microsoft.com/office/drawing/2014/main" id="{98841AF3-F426-405F-B5A2-C457F4C10972}"/>
              </a:ext>
            </a:extLst>
          </p:cNvPr>
          <p:cNvSpPr>
            <a:spLocks noGrp="1"/>
          </p:cNvSpPr>
          <p:nvPr>
            <p:ph sz="quarter" idx="14"/>
          </p:nvPr>
        </p:nvSpPr>
        <p:spPr>
          <a:xfrm>
            <a:off x="1563182" y="2258015"/>
            <a:ext cx="4867916" cy="4250362"/>
          </a:xfrm>
          <a:ln>
            <a:solidFill>
              <a:srgbClr val="503078"/>
            </a:solidFill>
          </a:ln>
        </p:spPr>
        <p:txBody>
          <a:bodyPr vert="horz" lIns="108000" tIns="108000" rIns="108000" bIns="108000" rtlCol="0" anchor="ctr" anchorCtr="0">
            <a:noAutofit/>
          </a:bodyPr>
          <a:lstStyle/>
          <a:p>
            <a:pPr indent="-274637" fontAlgn="base">
              <a:lnSpc>
                <a:spcPct val="114000"/>
              </a:lnSpc>
              <a:spcBef>
                <a:spcPts val="300"/>
              </a:spcBef>
              <a:spcAft>
                <a:spcPct val="0"/>
              </a:spcAft>
              <a:buClr>
                <a:srgbClr val="1F497D"/>
              </a:buClr>
              <a:defRPr/>
            </a:pPr>
            <a:r>
              <a:rPr lang="fr-FR" sz="1100" kern="0">
                <a:solidFill>
                  <a:srgbClr val="5F5F5F"/>
                </a:solidFill>
                <a:latin typeface="Tahoma"/>
              </a:rPr>
              <a:t>En France, </a:t>
            </a:r>
            <a:r>
              <a:rPr lang="fr-FR" sz="1100" b="1">
                <a:solidFill>
                  <a:srgbClr val="503078">
                    <a:lumMod val="100000"/>
                  </a:srgbClr>
                </a:solidFill>
                <a:latin typeface="Tahoma"/>
              </a:rPr>
              <a:t>8 à 11 millions d’aidants</a:t>
            </a:r>
            <a:r>
              <a:rPr lang="fr-FR" sz="1100">
                <a:solidFill>
                  <a:srgbClr val="5F5F5F"/>
                </a:solidFill>
                <a:latin typeface="Tahoma"/>
              </a:rPr>
              <a:t> s’occupent d’un proche dépendant, qu’il soit âgé, en situation de handicap ou sujet à une maladie chronique ou invalidante. Ces soutiens sont des </a:t>
            </a:r>
            <a:r>
              <a:rPr lang="fr-FR" sz="1100" b="1">
                <a:solidFill>
                  <a:srgbClr val="503078">
                    <a:lumMod val="100000"/>
                  </a:srgbClr>
                </a:solidFill>
                <a:latin typeface="Tahoma"/>
              </a:rPr>
              <a:t>acteurs indispensables du maintien au domicile</a:t>
            </a:r>
            <a:r>
              <a:rPr lang="fr-FR" sz="1100">
                <a:solidFill>
                  <a:srgbClr val="5F5F5F"/>
                </a:solidFill>
                <a:latin typeface="Tahoma"/>
              </a:rPr>
              <a:t>.</a:t>
            </a:r>
          </a:p>
          <a:p>
            <a:pPr indent="-274637" fontAlgn="base">
              <a:lnSpc>
                <a:spcPct val="114000"/>
              </a:lnSpc>
              <a:spcBef>
                <a:spcPts val="300"/>
              </a:spcBef>
              <a:spcAft>
                <a:spcPct val="0"/>
              </a:spcAft>
              <a:buClr>
                <a:srgbClr val="1F497D"/>
              </a:buClr>
              <a:defRPr/>
            </a:pPr>
            <a:r>
              <a:rPr lang="fr-FR" sz="1100">
                <a:solidFill>
                  <a:srgbClr val="5F5F5F"/>
                </a:solidFill>
                <a:latin typeface="Tahoma"/>
              </a:rPr>
              <a:t>Face au constat des conséquences de cette responsabilité sur leur santé, de leur épuisement et de leur isolement, </a:t>
            </a:r>
            <a:r>
              <a:rPr lang="fr-FR" sz="1100" b="1">
                <a:solidFill>
                  <a:srgbClr val="503078">
                    <a:lumMod val="100000"/>
                  </a:srgbClr>
                </a:solidFill>
                <a:latin typeface="Tahoma"/>
              </a:rPr>
              <a:t>la nécessité « d’aider les aidants », en tirant toutes les conséquences du « droit au répit », est aujourd’hui érigée en priorité</a:t>
            </a:r>
            <a:r>
              <a:rPr lang="fr-FR" sz="1100">
                <a:solidFill>
                  <a:srgbClr val="5F5F5F"/>
                </a:solidFill>
                <a:latin typeface="Tahoma"/>
              </a:rPr>
              <a:t>.</a:t>
            </a:r>
          </a:p>
          <a:p>
            <a:pPr indent="-274637" fontAlgn="base">
              <a:lnSpc>
                <a:spcPct val="114000"/>
              </a:lnSpc>
              <a:spcBef>
                <a:spcPts val="300"/>
              </a:spcBef>
              <a:spcAft>
                <a:spcPct val="0"/>
              </a:spcAft>
              <a:buClr>
                <a:srgbClr val="1F497D"/>
              </a:buClr>
              <a:defRPr/>
            </a:pPr>
            <a:r>
              <a:rPr lang="fr-FR" sz="1100">
                <a:solidFill>
                  <a:srgbClr val="5F5F5F"/>
                </a:solidFill>
                <a:latin typeface="Tahoma"/>
              </a:rPr>
              <a:t>Parmi les différentes solutions de répit, les « </a:t>
            </a:r>
            <a:r>
              <a:rPr lang="fr-FR" sz="1100" b="1">
                <a:solidFill>
                  <a:srgbClr val="503078">
                    <a:lumMod val="100000"/>
                  </a:srgbClr>
                </a:solidFill>
                <a:latin typeface="Tahoma"/>
              </a:rPr>
              <a:t>centres de répit</a:t>
            </a:r>
            <a:r>
              <a:rPr lang="fr-FR" sz="1100">
                <a:solidFill>
                  <a:srgbClr val="5F5F5F"/>
                </a:solidFill>
                <a:latin typeface="Tahoma"/>
              </a:rPr>
              <a:t> » sont des </a:t>
            </a:r>
            <a:r>
              <a:rPr lang="fr-FR" sz="1100" b="1">
                <a:solidFill>
                  <a:srgbClr val="503078">
                    <a:lumMod val="100000"/>
                  </a:srgbClr>
                </a:solidFill>
                <a:latin typeface="Tahoma"/>
              </a:rPr>
              <a:t>structures innovantes qui permettent aux aidants, tout en les déchargeant de l’aide habituelle apportée, de partir en vacances avec la personne aidée</a:t>
            </a:r>
            <a:r>
              <a:rPr lang="fr-FR" sz="1100">
                <a:solidFill>
                  <a:srgbClr val="5F5F5F"/>
                </a:solidFill>
                <a:latin typeface="Tahoma"/>
              </a:rPr>
              <a:t> dont l’accompagnement est organisé sur place par des professionnels et dans un cadre adapté.</a:t>
            </a:r>
          </a:p>
          <a:p>
            <a:pPr indent="-274637" fontAlgn="base">
              <a:lnSpc>
                <a:spcPct val="114000"/>
              </a:lnSpc>
              <a:spcBef>
                <a:spcPts val="300"/>
              </a:spcBef>
              <a:spcAft>
                <a:spcPct val="0"/>
              </a:spcAft>
              <a:buClr>
                <a:srgbClr val="1F497D"/>
              </a:buClr>
              <a:defRPr/>
            </a:pPr>
            <a:r>
              <a:rPr lang="fr-FR" sz="1100">
                <a:solidFill>
                  <a:srgbClr val="5F5F5F"/>
                </a:solidFill>
                <a:latin typeface="Tahoma"/>
              </a:rPr>
              <a:t>Il existe une </a:t>
            </a:r>
            <a:r>
              <a:rPr lang="fr-FR" sz="1100" b="1">
                <a:solidFill>
                  <a:srgbClr val="503078">
                    <a:lumMod val="100000"/>
                  </a:srgbClr>
                </a:solidFill>
                <a:latin typeface="Tahoma"/>
              </a:rPr>
              <a:t>dizaine de structures</a:t>
            </a:r>
            <a:r>
              <a:rPr lang="fr-FR" sz="1100">
                <a:solidFill>
                  <a:srgbClr val="5F5F5F"/>
                </a:solidFill>
                <a:latin typeface="Tahoma"/>
              </a:rPr>
              <a:t> de ce type, le plus souvent soutenues ou organisées par des associations et/ou des collectivités. </a:t>
            </a:r>
          </a:p>
          <a:p>
            <a:pPr indent="-274637" fontAlgn="base">
              <a:spcBef>
                <a:spcPts val="300"/>
              </a:spcBef>
              <a:spcAft>
                <a:spcPct val="0"/>
              </a:spcAft>
              <a:buClr>
                <a:srgbClr val="1F497D"/>
              </a:buClr>
              <a:defRPr/>
            </a:pPr>
            <a:r>
              <a:rPr lang="fr-FR" sz="1100" kern="0">
                <a:solidFill>
                  <a:srgbClr val="5F5F5F"/>
                </a:solidFill>
                <a:latin typeface="Tahoma"/>
              </a:rPr>
              <a:t>Les enjeux de cette étude </a:t>
            </a:r>
            <a:r>
              <a:rPr lang="fr-FR" sz="1100" kern="0">
                <a:solidFill>
                  <a:srgbClr val="5F5F5F">
                    <a:lumMod val="100000"/>
                  </a:srgbClr>
                </a:solidFill>
                <a:latin typeface="Tahoma"/>
              </a:rPr>
              <a:t>sont de </a:t>
            </a:r>
            <a:r>
              <a:rPr lang="fr-FR" sz="1100" b="1" kern="0">
                <a:solidFill>
                  <a:srgbClr val="503078"/>
                </a:solidFill>
                <a:latin typeface="Tahoma"/>
              </a:rPr>
              <a:t>permettre à la CDC d’avoir une compréhension plus fine des centres de répit</a:t>
            </a:r>
            <a:r>
              <a:rPr lang="fr-FR" sz="1100" b="1" kern="0">
                <a:solidFill>
                  <a:srgbClr val="5F5F5F"/>
                </a:solidFill>
                <a:latin typeface="Tahoma"/>
              </a:rPr>
              <a:t>, </a:t>
            </a:r>
            <a:r>
              <a:rPr lang="fr-FR" sz="1100" kern="0">
                <a:solidFill>
                  <a:srgbClr val="5F5F5F"/>
                </a:solidFill>
                <a:latin typeface="Tahoma"/>
              </a:rPr>
              <a:t>de leur modèle opérationnel, des conditions de réussite des projets menés et d’évaluer la perception de ces initiatives par l’environnement institutionnel et socio-économique du secteur de l’autonomie.</a:t>
            </a:r>
          </a:p>
        </p:txBody>
      </p:sp>
      <p:sp>
        <p:nvSpPr>
          <p:cNvPr id="21" name="AutoShape 8">
            <a:extLst>
              <a:ext uri="{FF2B5EF4-FFF2-40B4-BE49-F238E27FC236}">
                <a16:creationId xmlns:a16="http://schemas.microsoft.com/office/drawing/2014/main" id="{CF77B475-F9FF-4F08-8AD3-0CAA5611863F}"/>
              </a:ext>
            </a:extLst>
          </p:cNvPr>
          <p:cNvSpPr>
            <a:spLocks noChangeArrowheads="1"/>
          </p:cNvSpPr>
          <p:nvPr/>
        </p:nvSpPr>
        <p:spPr bwMode="gray">
          <a:xfrm>
            <a:off x="1563182" y="1774621"/>
            <a:ext cx="4867916" cy="485330"/>
          </a:xfrm>
          <a:prstGeom prst="rect">
            <a:avLst/>
          </a:prstGeom>
          <a:solidFill>
            <a:schemeClr val="bg2"/>
          </a:solidFill>
          <a:ln w="19050">
            <a:solidFill>
              <a:srgbClr val="503078"/>
            </a:solidFill>
            <a:miter lim="800000"/>
            <a:headEnd/>
            <a:tailEnd/>
          </a:ln>
          <a:effectLst/>
        </p:spPr>
        <p:txBody>
          <a:bodyPr lIns="32400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defRPr/>
            </a:pPr>
            <a:r>
              <a:rPr lang="fr-FR" altLang="de-DE" sz="1200" b="1">
                <a:solidFill>
                  <a:srgbClr val="FFFFFF"/>
                </a:solidFill>
                <a:latin typeface="Tahoma"/>
              </a:rPr>
              <a:t>Contexte</a:t>
            </a:r>
          </a:p>
        </p:txBody>
      </p:sp>
      <p:pic>
        <p:nvPicPr>
          <p:cNvPr id="23" name="Graphique 22" descr="Livre de jeu">
            <a:extLst>
              <a:ext uri="{FF2B5EF4-FFF2-40B4-BE49-F238E27FC236}">
                <a16:creationId xmlns:a16="http://schemas.microsoft.com/office/drawing/2014/main" id="{6FE34811-FFFE-4B71-ADB2-3C6981C0E5C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08213" y="1787364"/>
            <a:ext cx="418513" cy="418513"/>
          </a:xfrm>
          <a:prstGeom prst="rect">
            <a:avLst/>
          </a:prstGeom>
        </p:spPr>
      </p:pic>
      <p:sp>
        <p:nvSpPr>
          <p:cNvPr id="14" name="Rectangle : avec coins arrondis en diagonale 13">
            <a:extLst>
              <a:ext uri="{FF2B5EF4-FFF2-40B4-BE49-F238E27FC236}">
                <a16:creationId xmlns:a16="http://schemas.microsoft.com/office/drawing/2014/main" id="{E83C3FF8-B98E-4759-B13A-EB81E2CD1A99}"/>
              </a:ext>
            </a:extLst>
          </p:cNvPr>
          <p:cNvSpPr/>
          <p:nvPr/>
        </p:nvSpPr>
        <p:spPr>
          <a:xfrm>
            <a:off x="6640417" y="1761406"/>
            <a:ext cx="3987065" cy="4746971"/>
          </a:xfrm>
          <a:prstGeom prst="round2DiagRect">
            <a:avLst/>
          </a:prstGeom>
          <a:solidFill>
            <a:srgbClr val="F3ED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defRPr/>
            </a:pPr>
            <a:endParaRPr lang="fr-FR" sz="1600">
              <a:solidFill>
                <a:srgbClr val="503078"/>
              </a:solidFill>
              <a:latin typeface="Tahoma"/>
            </a:endParaRPr>
          </a:p>
          <a:p>
            <a:pPr>
              <a:defRPr/>
            </a:pPr>
            <a:endParaRPr lang="fr-FR" sz="1600">
              <a:solidFill>
                <a:srgbClr val="503078"/>
              </a:solidFill>
              <a:latin typeface="Tahoma"/>
            </a:endParaRPr>
          </a:p>
          <a:p>
            <a:pPr>
              <a:defRPr/>
            </a:pPr>
            <a:endParaRPr lang="fr-FR" sz="1200">
              <a:solidFill>
                <a:srgbClr val="503078"/>
              </a:solidFill>
              <a:latin typeface="Tahoma"/>
            </a:endParaRPr>
          </a:p>
          <a:p>
            <a:pPr>
              <a:defRPr/>
            </a:pPr>
            <a:endParaRPr lang="fr-FR" sz="1200">
              <a:solidFill>
                <a:srgbClr val="503078"/>
              </a:solidFill>
              <a:latin typeface="Tahoma"/>
            </a:endParaRPr>
          </a:p>
          <a:p>
            <a:pPr>
              <a:defRPr/>
            </a:pPr>
            <a:endParaRPr lang="fr-FR" sz="1200">
              <a:solidFill>
                <a:srgbClr val="503078"/>
              </a:solidFill>
              <a:latin typeface="Tahoma"/>
            </a:endParaRPr>
          </a:p>
          <a:p>
            <a:pPr>
              <a:defRPr/>
            </a:pPr>
            <a:endParaRPr lang="fr-FR" sz="1200">
              <a:solidFill>
                <a:srgbClr val="503078"/>
              </a:solidFill>
              <a:latin typeface="Tahoma"/>
            </a:endParaRPr>
          </a:p>
          <a:p>
            <a:pPr marL="285750" indent="-285750">
              <a:buFont typeface="Tahoma" panose="020B0604030504040204" pitchFamily="34" charset="0"/>
              <a:buChar char="⁄"/>
              <a:defRPr/>
            </a:pPr>
            <a:r>
              <a:rPr lang="fr-FR" sz="1200" b="1">
                <a:solidFill>
                  <a:srgbClr val="503078"/>
                </a:solidFill>
                <a:latin typeface="Tahoma"/>
              </a:rPr>
              <a:t>Obtenir une meilleure vision des initiatives et des offres de séjours de répit </a:t>
            </a:r>
            <a:r>
              <a:rPr lang="fr-FR" sz="1200">
                <a:solidFill>
                  <a:srgbClr val="503078"/>
                </a:solidFill>
                <a:latin typeface="Tahoma"/>
              </a:rPr>
              <a:t>pour le couple aidant/aidé</a:t>
            </a:r>
          </a:p>
          <a:p>
            <a:pPr marL="285750" indent="-285750">
              <a:buFont typeface="Tahoma" panose="020B0604030504040204" pitchFamily="34" charset="0"/>
              <a:buChar char="⁄"/>
              <a:defRPr/>
            </a:pPr>
            <a:endParaRPr lang="fr-FR" sz="1200" b="1">
              <a:solidFill>
                <a:srgbClr val="503078"/>
              </a:solidFill>
              <a:latin typeface="Tahoma"/>
            </a:endParaRPr>
          </a:p>
          <a:p>
            <a:pPr>
              <a:defRPr/>
            </a:pPr>
            <a:endParaRPr lang="fr-FR" sz="1200" b="1">
              <a:solidFill>
                <a:srgbClr val="503078"/>
              </a:solidFill>
              <a:latin typeface="Tahoma"/>
            </a:endParaRPr>
          </a:p>
          <a:p>
            <a:pPr marL="285750" indent="-285750">
              <a:buFont typeface="Tahoma" panose="020B0604030504040204" pitchFamily="34" charset="0"/>
              <a:buChar char="⁄"/>
              <a:defRPr/>
            </a:pPr>
            <a:r>
              <a:rPr lang="fr-FR" sz="1200" b="1">
                <a:solidFill>
                  <a:srgbClr val="503078"/>
                </a:solidFill>
                <a:latin typeface="Tahoma"/>
              </a:rPr>
              <a:t>Disposer d’éléments économiques, financiers et opérationnels </a:t>
            </a:r>
            <a:r>
              <a:rPr lang="fr-FR" sz="1200">
                <a:solidFill>
                  <a:srgbClr val="503078"/>
                </a:solidFill>
                <a:latin typeface="Tahoma"/>
              </a:rPr>
              <a:t>à propos des offres de séjours de répit permettant à la Caisse des dépôts // Banque des Territoires de </a:t>
            </a:r>
            <a:r>
              <a:rPr lang="fr-FR" sz="1200" b="1">
                <a:solidFill>
                  <a:srgbClr val="503078"/>
                </a:solidFill>
                <a:latin typeface="Tahoma"/>
              </a:rPr>
              <a:t>définir ses modalités de positionnement / d'investissement</a:t>
            </a:r>
            <a:r>
              <a:rPr lang="fr-FR" sz="1200">
                <a:solidFill>
                  <a:srgbClr val="503078"/>
                </a:solidFill>
                <a:latin typeface="Tahoma"/>
              </a:rPr>
              <a:t> sur ce type de dispositif</a:t>
            </a:r>
          </a:p>
        </p:txBody>
      </p:sp>
      <p:sp>
        <p:nvSpPr>
          <p:cNvPr id="15" name="TextBox 7">
            <a:extLst>
              <a:ext uri="{FF2B5EF4-FFF2-40B4-BE49-F238E27FC236}">
                <a16:creationId xmlns:a16="http://schemas.microsoft.com/office/drawing/2014/main" id="{7669B3A7-7C7E-402A-940E-5F8A09195FC4}"/>
              </a:ext>
            </a:extLst>
          </p:cNvPr>
          <p:cNvSpPr txBox="1">
            <a:spLocks/>
          </p:cNvSpPr>
          <p:nvPr/>
        </p:nvSpPr>
        <p:spPr>
          <a:xfrm>
            <a:off x="7135986" y="1908205"/>
            <a:ext cx="2916214" cy="558158"/>
          </a:xfrm>
          <a:prstGeom prst="rect">
            <a:avLst/>
          </a:prstGeom>
        </p:spPr>
        <p:txBody>
          <a:bodyPr vert="horz" lIns="108000" tIns="108000" rIns="108000" bIns="108000" rtlCol="0">
            <a:noAutofit/>
          </a:bodyPr>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smtClean="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smtClean="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smtClean="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smtClean="0">
                <a:solidFill>
                  <a:schemeClr val="tx1"/>
                </a:solidFill>
                <a:latin typeface="+mn-lt"/>
                <a:ea typeface="+mn-ea"/>
                <a:cs typeface="+mn-cs"/>
              </a:defRPr>
            </a:lvl9pPr>
          </a:lstStyle>
          <a:p>
            <a:pPr algn="ctr">
              <a:defRPr/>
            </a:pPr>
            <a:r>
              <a:rPr lang="fr-FR" sz="1200" b="1">
                <a:solidFill>
                  <a:srgbClr val="503078"/>
                </a:solidFill>
                <a:latin typeface="Tahoma"/>
              </a:rPr>
              <a:t>Enjeux de l'étude</a:t>
            </a:r>
            <a:endParaRPr lang="fr-FR">
              <a:solidFill>
                <a:srgbClr val="503078"/>
              </a:solidFill>
              <a:latin typeface="Tahoma"/>
            </a:endParaRPr>
          </a:p>
        </p:txBody>
      </p:sp>
      <p:pic>
        <p:nvPicPr>
          <p:cNvPr id="17" name="Creativity-Purple-Background">
            <a:extLst>
              <a:ext uri="{FF2B5EF4-FFF2-40B4-BE49-F238E27FC236}">
                <a16:creationId xmlns:a16="http://schemas.microsoft.com/office/drawing/2014/main" id="{7EFBCD4F-70B7-411C-86C3-8D0B8C47212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91919" y="1907541"/>
            <a:ext cx="418513" cy="418513"/>
          </a:xfrm>
          <a:prstGeom prst="rect">
            <a:avLst/>
          </a:prstGeom>
        </p:spPr>
      </p:pic>
      <p:sp>
        <p:nvSpPr>
          <p:cNvPr id="11" name="ZoneTexte 10">
            <a:extLst>
              <a:ext uri="{FF2B5EF4-FFF2-40B4-BE49-F238E27FC236}">
                <a16:creationId xmlns:a16="http://schemas.microsoft.com/office/drawing/2014/main" id="{42E58ADB-B164-43FE-860E-2558BA3855AE}"/>
              </a:ext>
            </a:extLst>
          </p:cNvPr>
          <p:cNvSpPr txBox="1"/>
          <p:nvPr/>
        </p:nvSpPr>
        <p:spPr>
          <a:xfrm>
            <a:off x="1563183" y="1050323"/>
            <a:ext cx="9064299" cy="461665"/>
          </a:xfrm>
          <a:prstGeom prst="rect">
            <a:avLst/>
          </a:prstGeom>
          <a:noFill/>
          <a:ln>
            <a:solidFill>
              <a:schemeClr val="bg2"/>
            </a:solidFill>
          </a:ln>
        </p:spPr>
        <p:txBody>
          <a:bodyPr wrap="square">
            <a:spAutoFit/>
          </a:bodyPr>
          <a:lstStyle/>
          <a:p>
            <a:pPr algn="just"/>
            <a:r>
              <a:rPr lang="fr-FR" sz="1200">
                <a:solidFill>
                  <a:srgbClr val="5F5F5F"/>
                </a:solidFill>
                <a:latin typeface="Tahoma"/>
              </a:rPr>
              <a:t>La Caisse des dépôts / Banque des Territoires souhaite interroger son positionnement sur les séjours de répit pour les couples aidant/aidé sur le territoire national</a:t>
            </a:r>
          </a:p>
        </p:txBody>
      </p:sp>
    </p:spTree>
    <p:extLst>
      <p:ext uri="{BB962C8B-B14F-4D97-AF65-F5344CB8AC3E}">
        <p14:creationId xmlns:p14="http://schemas.microsoft.com/office/powerpoint/2010/main" val="25696119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B8547CD-8B98-40AB-87AF-D0A1E50B61E9}"/>
              </a:ext>
            </a:extLst>
          </p:cNvPr>
          <p:cNvSpPr/>
          <p:nvPr/>
        </p:nvSpPr>
        <p:spPr>
          <a:xfrm>
            <a:off x="8926212" y="5733027"/>
            <a:ext cx="2122788" cy="11272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2" name="Titre 1">
            <a:extLst>
              <a:ext uri="{FF2B5EF4-FFF2-40B4-BE49-F238E27FC236}">
                <a16:creationId xmlns:a16="http://schemas.microsoft.com/office/drawing/2014/main" id="{96CCCFB9-E7A4-4FA0-ACFE-13891ADB4576}"/>
              </a:ext>
            </a:extLst>
          </p:cNvPr>
          <p:cNvSpPr>
            <a:spLocks noGrp="1"/>
          </p:cNvSpPr>
          <p:nvPr>
            <p:ph type="title"/>
          </p:nvPr>
        </p:nvSpPr>
        <p:spPr>
          <a:xfrm>
            <a:off x="1488600" y="404665"/>
            <a:ext cx="9728168" cy="863748"/>
          </a:xfrm>
        </p:spPr>
        <p:txBody>
          <a:bodyPr/>
          <a:lstStyle/>
          <a:p>
            <a:r>
              <a:rPr lang="fr-FR"/>
              <a:t>Forces et faiblesses des modèles identifiés </a:t>
            </a:r>
            <a:endParaRPr lang="fr-FR" sz="2400" i="1"/>
          </a:p>
        </p:txBody>
      </p:sp>
      <p:sp>
        <p:nvSpPr>
          <p:cNvPr id="3" name="Espace réservé du texte 2">
            <a:extLst>
              <a:ext uri="{FF2B5EF4-FFF2-40B4-BE49-F238E27FC236}">
                <a16:creationId xmlns:a16="http://schemas.microsoft.com/office/drawing/2014/main" id="{EA786B65-FD77-46F5-BB58-054675AE6306}"/>
              </a:ext>
            </a:extLst>
          </p:cNvPr>
          <p:cNvSpPr>
            <a:spLocks noGrp="1"/>
          </p:cNvSpPr>
          <p:nvPr>
            <p:ph type="body" sz="quarter" idx="13"/>
          </p:nvPr>
        </p:nvSpPr>
        <p:spPr/>
        <p:txBody>
          <a:bodyPr/>
          <a:lstStyle/>
          <a:p>
            <a:r>
              <a:rPr lang="fr-FR"/>
              <a:t>Etat des lieux </a:t>
            </a:r>
            <a:r>
              <a:rPr lang="fr-FR">
                <a:solidFill>
                  <a:srgbClr val="938481"/>
                </a:solidFill>
              </a:rPr>
              <a:t>des modèles existants</a:t>
            </a:r>
            <a:endParaRPr lang="fr-FR"/>
          </a:p>
        </p:txBody>
      </p:sp>
      <p:graphicFrame>
        <p:nvGraphicFramePr>
          <p:cNvPr id="5" name="Tableau 6">
            <a:extLst>
              <a:ext uri="{FF2B5EF4-FFF2-40B4-BE49-F238E27FC236}">
                <a16:creationId xmlns:a16="http://schemas.microsoft.com/office/drawing/2014/main" id="{E6D02EF3-0B05-4A01-8F17-F6E8F9DBE818}"/>
              </a:ext>
            </a:extLst>
          </p:cNvPr>
          <p:cNvGraphicFramePr>
            <a:graphicFrameLocks noGrp="1"/>
          </p:cNvGraphicFramePr>
          <p:nvPr/>
        </p:nvGraphicFramePr>
        <p:xfrm>
          <a:off x="1298820" y="836539"/>
          <a:ext cx="9594361" cy="5966460"/>
        </p:xfrm>
        <a:graphic>
          <a:graphicData uri="http://schemas.openxmlformats.org/drawingml/2006/table">
            <a:tbl>
              <a:tblPr firstRow="1" bandRow="1">
                <a:tableStyleId>{5C22544A-7EE6-4342-B048-85BDC9FD1C3A}</a:tableStyleId>
              </a:tblPr>
              <a:tblGrid>
                <a:gridCol w="522361">
                  <a:extLst>
                    <a:ext uri="{9D8B030D-6E8A-4147-A177-3AD203B41FA5}">
                      <a16:colId xmlns:a16="http://schemas.microsoft.com/office/drawing/2014/main" val="2347391612"/>
                    </a:ext>
                  </a:extLst>
                </a:gridCol>
                <a:gridCol w="2268000">
                  <a:extLst>
                    <a:ext uri="{9D8B030D-6E8A-4147-A177-3AD203B41FA5}">
                      <a16:colId xmlns:a16="http://schemas.microsoft.com/office/drawing/2014/main" val="3929082037"/>
                    </a:ext>
                  </a:extLst>
                </a:gridCol>
                <a:gridCol w="2268000">
                  <a:extLst>
                    <a:ext uri="{9D8B030D-6E8A-4147-A177-3AD203B41FA5}">
                      <a16:colId xmlns:a16="http://schemas.microsoft.com/office/drawing/2014/main" val="2913248160"/>
                    </a:ext>
                  </a:extLst>
                </a:gridCol>
                <a:gridCol w="2268000">
                  <a:extLst>
                    <a:ext uri="{9D8B030D-6E8A-4147-A177-3AD203B41FA5}">
                      <a16:colId xmlns:a16="http://schemas.microsoft.com/office/drawing/2014/main" val="488960178"/>
                    </a:ext>
                  </a:extLst>
                </a:gridCol>
                <a:gridCol w="2268000">
                  <a:extLst>
                    <a:ext uri="{9D8B030D-6E8A-4147-A177-3AD203B41FA5}">
                      <a16:colId xmlns:a16="http://schemas.microsoft.com/office/drawing/2014/main" val="951578992"/>
                    </a:ext>
                  </a:extLst>
                </a:gridCol>
              </a:tblGrid>
              <a:tr h="559528">
                <a:tc>
                  <a:txBody>
                    <a:bodyPr/>
                    <a:lstStyle/>
                    <a:p>
                      <a:endParaRPr lang="fr-FR" sz="1100"/>
                    </a:p>
                  </a:txBody>
                  <a:tcPr>
                    <a:solidFill>
                      <a:schemeClr val="bg1"/>
                    </a:solidFill>
                  </a:tcPr>
                </a:tc>
                <a:tc>
                  <a:txBody>
                    <a:bodyPr/>
                    <a:lstStyle/>
                    <a:p>
                      <a:pPr algn="ctr"/>
                      <a:r>
                        <a:rPr lang="fr-FR" sz="1100" u="sng"/>
                        <a:t>Modèle 1</a:t>
                      </a:r>
                      <a:r>
                        <a:rPr lang="fr-FR" sz="1100"/>
                        <a:t> : le village vacances « autonome »</a:t>
                      </a:r>
                    </a:p>
                  </a:txBody>
                  <a:tcPr anchor="ctr">
                    <a:solidFill>
                      <a:schemeClr val="bg2"/>
                    </a:solidFill>
                  </a:tcPr>
                </a:tc>
                <a:tc>
                  <a:txBody>
                    <a:bodyPr/>
                    <a:lstStyle/>
                    <a:p>
                      <a:pPr algn="ctr"/>
                      <a:r>
                        <a:rPr lang="fr-FR" sz="1100" u="sng"/>
                        <a:t>Modèle 2</a:t>
                      </a:r>
                      <a:r>
                        <a:rPr lang="fr-FR" sz="1100"/>
                        <a:t> : le village vacances adossé à un ESMS</a:t>
                      </a:r>
                    </a:p>
                  </a:txBody>
                  <a:tcPr anchor="ctr">
                    <a:solidFill>
                      <a:schemeClr val="bg2"/>
                    </a:solidFill>
                  </a:tcPr>
                </a:tc>
                <a:tc>
                  <a:txBody>
                    <a:bodyPr/>
                    <a:lstStyle/>
                    <a:p>
                      <a:pPr algn="ctr"/>
                      <a:r>
                        <a:rPr lang="fr-FR" sz="1100" u="sng"/>
                        <a:t>Modèle 3</a:t>
                      </a:r>
                      <a:r>
                        <a:rPr lang="fr-FR" sz="1100"/>
                        <a:t> : les partenariats entre ESMS</a:t>
                      </a:r>
                    </a:p>
                  </a:txBody>
                  <a:tcPr anchor="ctr">
                    <a:solidFill>
                      <a:schemeClr val="bg2"/>
                    </a:solidFill>
                  </a:tcPr>
                </a:tc>
                <a:tc>
                  <a:txBody>
                    <a:bodyPr/>
                    <a:lstStyle/>
                    <a:p>
                      <a:pPr algn="ctr"/>
                      <a:r>
                        <a:rPr lang="fr-FR" sz="1100" u="sng"/>
                        <a:t>Modèle 4</a:t>
                      </a:r>
                      <a:r>
                        <a:rPr lang="fr-FR" sz="1100"/>
                        <a:t> : les partenariats association / ESMS et acteurs du tourisme</a:t>
                      </a:r>
                    </a:p>
                  </a:txBody>
                  <a:tcPr anchor="ctr">
                    <a:solidFill>
                      <a:schemeClr val="bg2"/>
                    </a:solidFill>
                  </a:tcPr>
                </a:tc>
                <a:extLst>
                  <a:ext uri="{0D108BD9-81ED-4DB2-BD59-A6C34878D82A}">
                    <a16:rowId xmlns:a16="http://schemas.microsoft.com/office/drawing/2014/main" val="1193975960"/>
                  </a:ext>
                </a:extLst>
              </a:tr>
              <a:tr h="2388752">
                <a:tc>
                  <a:txBody>
                    <a:bodyPr/>
                    <a:lstStyle/>
                    <a:p>
                      <a:pPr algn="ctr"/>
                      <a:r>
                        <a:rPr lang="fr-FR" sz="1200" b="1"/>
                        <a:t>Forces</a:t>
                      </a:r>
                    </a:p>
                  </a:txBody>
                  <a:tcPr vert="vert270">
                    <a:solidFill>
                      <a:srgbClr val="EDD3DC"/>
                    </a:solidFill>
                  </a:tcPr>
                </a:tc>
                <a:tc>
                  <a:txBody>
                    <a:bodyPr/>
                    <a:lstStyle/>
                    <a:p>
                      <a:pPr marL="179070" marR="0" lvl="1" indent="-179070" algn="just" fontAlgn="auto">
                        <a:lnSpc>
                          <a:spcPct val="100000"/>
                        </a:lnSpc>
                        <a:spcBef>
                          <a:spcPts val="0"/>
                        </a:spcBef>
                        <a:spcAft>
                          <a:spcPts val="300"/>
                        </a:spcAft>
                        <a:buClrTx/>
                        <a:buSzTx/>
                        <a:buFont typeface="Arial" panose="020B0604020202020204" pitchFamily="34" charset="0"/>
                        <a:buChar char="•"/>
                      </a:pPr>
                      <a:r>
                        <a:rPr lang="fr-FR" sz="1000">
                          <a:solidFill>
                            <a:schemeClr val="tx1"/>
                          </a:solidFill>
                        </a:rPr>
                        <a:t>Une personnalisation des séjours</a:t>
                      </a:r>
                      <a:endParaRPr lang="fr-FR" sz="1000" strike="sngStrike">
                        <a:solidFill>
                          <a:schemeClr val="tx1"/>
                        </a:solidFill>
                      </a:endParaRPr>
                    </a:p>
                    <a:p>
                      <a:pPr marL="180975" marR="0" lvl="1" indent="-180975"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chemeClr val="tx1"/>
                          </a:solidFill>
                          <a:effectLst/>
                          <a:uLnTx/>
                          <a:uFillTx/>
                          <a:latin typeface="+mn-lt"/>
                          <a:ea typeface="+mn-ea"/>
                          <a:cs typeface="+mn-cs"/>
                        </a:rPr>
                        <a:t>Une offre permanente et accessible dans un lieu dédié ouvert tout au long de l’année</a:t>
                      </a:r>
                    </a:p>
                    <a:p>
                      <a:pPr marL="180975" marR="0" lvl="1" indent="-180975" algn="just" rtl="0" eaLnBrk="1" fontAlgn="auto" latinLnBrk="0" hangingPunct="1">
                        <a:lnSpc>
                          <a:spcPct val="100000"/>
                        </a:lnSpc>
                        <a:spcBef>
                          <a:spcPts val="300"/>
                        </a:spcBef>
                        <a:spcAft>
                          <a:spcPts val="300"/>
                        </a:spcAft>
                        <a:buClrTx/>
                        <a:buSzTx/>
                        <a:buFont typeface="Arial" panose="020B0604020202020204" pitchFamily="34" charset="0"/>
                        <a:buChar char="•"/>
                      </a:pPr>
                      <a:r>
                        <a:rPr kumimoji="0" lang="fr-FR" sz="1000" b="0" i="0" u="none" strike="noStrike" kern="1200" cap="none" spc="0" normalizeH="0" baseline="0" noProof="0">
                          <a:ln>
                            <a:noFill/>
                          </a:ln>
                          <a:solidFill>
                            <a:schemeClr val="tx1"/>
                          </a:solidFill>
                          <a:effectLst/>
                          <a:uLnTx/>
                          <a:uFillTx/>
                          <a:latin typeface="+mn-lt"/>
                          <a:ea typeface="+mn-ea"/>
                          <a:cs typeface="+mn-cs"/>
                        </a:rPr>
                        <a:t>Une clientèle fidélisée et plébiscitant l’offre, qui se sent pleinement en vacances</a:t>
                      </a:r>
                      <a:r>
                        <a:rPr lang="fr-FR" sz="1000" b="0" i="0" u="none" strike="noStrike" kern="1200" cap="none" spc="0" normalizeH="0" baseline="0" noProof="0">
                          <a:ln>
                            <a:noFill/>
                          </a:ln>
                          <a:solidFill>
                            <a:schemeClr val="tx1"/>
                          </a:solidFill>
                          <a:effectLst/>
                          <a:uLnTx/>
                          <a:uFillTx/>
                          <a:latin typeface="+mn-lt"/>
                          <a:ea typeface="+mn-ea"/>
                          <a:cs typeface="+mn-cs"/>
                        </a:rPr>
                        <a:t> </a:t>
                      </a:r>
                      <a:endParaRPr kumimoji="0" lang="fr-FR" sz="1000" b="0" i="0" u="none" strike="noStrike" kern="1200" cap="none" spc="0" normalizeH="0" baseline="0" noProof="0">
                        <a:ln>
                          <a:noFill/>
                        </a:ln>
                        <a:solidFill>
                          <a:schemeClr val="tx1"/>
                        </a:solidFill>
                        <a:effectLst/>
                        <a:uLnTx/>
                        <a:uFillTx/>
                        <a:latin typeface="+mn-lt"/>
                        <a:ea typeface="+mn-ea"/>
                        <a:cs typeface="+mn-cs"/>
                      </a:endParaRPr>
                    </a:p>
                  </a:txBody>
                  <a:tcPr anchor="ctr">
                    <a:solidFill>
                      <a:schemeClr val="bg1">
                        <a:lumMod val="95000"/>
                      </a:schemeClr>
                    </a:solidFill>
                  </a:tcPr>
                </a:tc>
                <a:tc>
                  <a:txBody>
                    <a:bodyPr/>
                    <a:lstStyle/>
                    <a:p>
                      <a:pPr marL="273050" marR="0" lvl="1" indent="-180975"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chemeClr val="tx1"/>
                          </a:solidFill>
                          <a:effectLst/>
                          <a:uLnTx/>
                          <a:uFillTx/>
                          <a:latin typeface="+mn-lt"/>
                          <a:ea typeface="+mn-ea"/>
                          <a:cs typeface="+mn-cs"/>
                        </a:rPr>
                        <a:t>Une rationalisation des coûts possible grâce à la mutualisation d’une partie de l’infrastructure entre le centre et l’ESMS</a:t>
                      </a:r>
                    </a:p>
                    <a:p>
                      <a:pPr marL="273050" marR="0" lvl="1" indent="-180975"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chemeClr val="tx1"/>
                          </a:solidFill>
                          <a:effectLst/>
                          <a:uLnTx/>
                          <a:uFillTx/>
                          <a:latin typeface="+mn-lt"/>
                          <a:ea typeface="+mn-ea"/>
                          <a:cs typeface="+mn-cs"/>
                        </a:rPr>
                        <a:t>Des places d’AT / HT plus simples à obtenir auprès de l’ARS / du CD et un recrutement de personnels MS simplifié</a:t>
                      </a:r>
                    </a:p>
                    <a:p>
                      <a:pPr marL="274638" marR="0" lvl="1" indent="-180975"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chemeClr val="tx1"/>
                          </a:solidFill>
                          <a:effectLst/>
                          <a:uLnTx/>
                          <a:uFillTx/>
                          <a:latin typeface="+mn-lt"/>
                          <a:ea typeface="+mn-ea"/>
                          <a:cs typeface="+mn-cs"/>
                        </a:rPr>
                        <a:t>Une offre permanente et accessible dans un lieu dédié ouvert tout au long de l’année</a:t>
                      </a:r>
                    </a:p>
                  </a:txBody>
                  <a:tcPr anchor="ctr">
                    <a:solidFill>
                      <a:schemeClr val="bg1">
                        <a:lumMod val="95000"/>
                      </a:schemeClr>
                    </a:solidFill>
                  </a:tcPr>
                </a:tc>
                <a:tc>
                  <a:txBody>
                    <a:bodyPr/>
                    <a:lstStyle/>
                    <a:p>
                      <a:pPr marL="0" marR="0" lvl="1" indent="0" algn="just" defTabSz="914400" rtl="0" eaLnBrk="1" fontAlgn="auto" latinLnBrk="0" hangingPunct="1">
                        <a:lnSpc>
                          <a:spcPct val="100000"/>
                        </a:lnSpc>
                        <a:spcBef>
                          <a:spcPts val="300"/>
                        </a:spcBef>
                        <a:spcAft>
                          <a:spcPts val="0"/>
                        </a:spcAft>
                        <a:buClrTx/>
                        <a:buSzTx/>
                        <a:buFontTx/>
                        <a:buNone/>
                        <a:tabLst/>
                        <a:defRPr/>
                      </a:pPr>
                      <a:endParaRPr kumimoji="0" lang="fr-FR" sz="1000" b="0" i="0" u="none" strike="noStrike" kern="1200" cap="none" spc="0" normalizeH="0" baseline="0" noProof="0">
                        <a:ln>
                          <a:noFill/>
                        </a:ln>
                        <a:solidFill>
                          <a:schemeClr val="tx1"/>
                        </a:solidFill>
                        <a:effectLst/>
                        <a:uLnTx/>
                        <a:uFillTx/>
                        <a:latin typeface="+mn-lt"/>
                        <a:ea typeface="+mn-ea"/>
                        <a:cs typeface="+mn-cs"/>
                      </a:endParaRPr>
                    </a:p>
                    <a:p>
                      <a:pPr marL="179070" marR="0" lvl="1" indent="-175895" algn="just" defTabSz="914400" rtl="0" eaLnBrk="1" fontAlgn="auto" latinLnBrk="0" hangingPunct="1">
                        <a:lnSpc>
                          <a:spcPct val="110000"/>
                        </a:lnSpc>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chemeClr val="tx1"/>
                          </a:solidFill>
                          <a:effectLst/>
                          <a:uLnTx/>
                          <a:uFillTx/>
                          <a:latin typeface="+mn-lt"/>
                          <a:ea typeface="+mn-ea"/>
                          <a:cs typeface="+mn-cs"/>
                        </a:rPr>
                        <a:t>Une utilisation d’infrastructures existantes</a:t>
                      </a:r>
                    </a:p>
                    <a:p>
                      <a:pPr marL="179070" marR="0" lvl="1" indent="-175895" algn="just" defTabSz="914400" rtl="0" eaLnBrk="1" fontAlgn="auto" latinLnBrk="0" hangingPunct="1">
                        <a:lnSpc>
                          <a:spcPct val="110000"/>
                        </a:lnSpc>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chemeClr val="tx1"/>
                          </a:solidFill>
                          <a:effectLst/>
                          <a:uLnTx/>
                          <a:uFillTx/>
                          <a:latin typeface="+mn-lt"/>
                          <a:ea typeface="+mn-ea"/>
                          <a:cs typeface="+mn-cs"/>
                        </a:rPr>
                        <a:t>Une mutualisation des coûts </a:t>
                      </a:r>
                      <a:r>
                        <a:rPr lang="fr-FR" sz="1000" b="0" i="0" u="none" strike="noStrike" kern="1200" cap="none" spc="0" normalizeH="0" baseline="0" noProof="0">
                          <a:ln>
                            <a:noFill/>
                          </a:ln>
                          <a:solidFill>
                            <a:schemeClr val="tx1"/>
                          </a:solidFill>
                          <a:effectLst/>
                          <a:uLnTx/>
                          <a:uFillTx/>
                          <a:latin typeface="+mn-lt"/>
                          <a:ea typeface="+mn-ea"/>
                          <a:cs typeface="+mn-cs"/>
                        </a:rPr>
                        <a:t>possible </a:t>
                      </a:r>
                      <a:endParaRPr kumimoji="0" lang="fr-FR" sz="1000" b="0" i="0" u="none" strike="noStrike" kern="1200" cap="none" spc="0" normalizeH="0" baseline="0" noProof="0">
                        <a:ln>
                          <a:noFill/>
                        </a:ln>
                        <a:solidFill>
                          <a:schemeClr val="tx1"/>
                        </a:solidFill>
                        <a:effectLst/>
                        <a:uLnTx/>
                        <a:uFillTx/>
                        <a:latin typeface="+mn-lt"/>
                        <a:ea typeface="+mn-ea"/>
                        <a:cs typeface="+mn-cs"/>
                      </a:endParaRPr>
                    </a:p>
                    <a:p>
                      <a:pPr marL="179070" marR="0" lvl="1" indent="-175895" algn="just" rtl="0" eaLnBrk="1" fontAlgn="auto" latinLnBrk="0" hangingPunct="1">
                        <a:lnSpc>
                          <a:spcPct val="110000"/>
                        </a:lnSpc>
                        <a:spcAft>
                          <a:spcPts val="300"/>
                        </a:spcAft>
                        <a:buClrTx/>
                        <a:buSzTx/>
                        <a:buFont typeface="Arial" panose="020B0604020202020204" pitchFamily="34" charset="0"/>
                        <a:buChar char="•"/>
                      </a:pPr>
                      <a:r>
                        <a:rPr kumimoji="0" lang="fr-FR" sz="1000" b="0" i="0" u="none" strike="noStrike" kern="1200" cap="none" spc="0" normalizeH="0" baseline="0" noProof="0">
                          <a:ln>
                            <a:noFill/>
                          </a:ln>
                          <a:solidFill>
                            <a:schemeClr val="tx1"/>
                          </a:solidFill>
                          <a:effectLst/>
                          <a:uLnTx/>
                          <a:uFillTx/>
                          <a:latin typeface="+mn-lt"/>
                          <a:ea typeface="+mn-ea"/>
                          <a:cs typeface="+mn-cs"/>
                        </a:rPr>
                        <a:t>Une optimisation possible du taux de remplissage des ESMS dans des périodes creuses</a:t>
                      </a:r>
                      <a:r>
                        <a:rPr lang="fr-FR" sz="1000" b="0" i="0" u="none" strike="noStrike" kern="1200" cap="none" spc="0" normalizeH="0" baseline="0" noProof="0">
                          <a:ln>
                            <a:noFill/>
                          </a:ln>
                          <a:solidFill>
                            <a:schemeClr val="tx1"/>
                          </a:solidFill>
                          <a:effectLst/>
                          <a:uLnTx/>
                          <a:uFillTx/>
                          <a:latin typeface="+mn-lt"/>
                          <a:ea typeface="+mn-ea"/>
                          <a:cs typeface="+mn-cs"/>
                        </a:rPr>
                        <a:t> </a:t>
                      </a:r>
                      <a:endParaRPr kumimoji="0" lang="fr-FR" sz="1000" b="0" i="0" u="none" strike="noStrike" kern="1200" cap="none" spc="0" normalizeH="0" baseline="0" noProof="0">
                        <a:ln>
                          <a:noFill/>
                        </a:ln>
                        <a:solidFill>
                          <a:schemeClr val="tx1"/>
                        </a:solidFill>
                        <a:effectLst/>
                        <a:uLnTx/>
                        <a:uFillTx/>
                        <a:latin typeface="+mn-lt"/>
                        <a:ea typeface="+mn-ea"/>
                        <a:cs typeface="+mn-cs"/>
                      </a:endParaRPr>
                    </a:p>
                    <a:p>
                      <a:pPr marL="179070" marR="0" lvl="1" indent="-175895" algn="just" defTabSz="914400" rtl="0" eaLnBrk="1" fontAlgn="auto" latinLnBrk="0" hangingPunct="1">
                        <a:lnSpc>
                          <a:spcPct val="110000"/>
                        </a:lnSpc>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chemeClr val="tx1"/>
                          </a:solidFill>
                          <a:effectLst/>
                          <a:uLnTx/>
                          <a:uFillTx/>
                          <a:latin typeface="+mn-lt"/>
                          <a:ea typeface="+mn-ea"/>
                          <a:cs typeface="+mn-cs"/>
                        </a:rPr>
                        <a:t>La présence de personnels MS qualifiés, mis à disposition par l’ESMS d’origine ou de destination</a:t>
                      </a:r>
                    </a:p>
                    <a:p>
                      <a:pPr algn="just"/>
                      <a:endParaRPr lang="fr-FR" sz="1000">
                        <a:solidFill>
                          <a:schemeClr val="tx1"/>
                        </a:solidFill>
                      </a:endParaRPr>
                    </a:p>
                  </a:txBody>
                  <a:tcPr anchor="ctr">
                    <a:solidFill>
                      <a:schemeClr val="bg1">
                        <a:lumMod val="95000"/>
                      </a:schemeClr>
                    </a:solidFill>
                  </a:tcPr>
                </a:tc>
                <a:tc>
                  <a:txBody>
                    <a:bodyPr/>
                    <a:lstStyle/>
                    <a:p>
                      <a:pPr marL="273050" marR="0" lvl="1" indent="-175895" algn="just" defTabSz="914400" rtl="0" eaLnBrk="1" fontAlgn="auto" latinLnBrk="0" hangingPunct="1">
                        <a:lnSpc>
                          <a:spcPct val="110000"/>
                        </a:lnSpc>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chemeClr val="tx1"/>
                          </a:solidFill>
                          <a:effectLst/>
                          <a:uLnTx/>
                          <a:uFillTx/>
                          <a:latin typeface="+mn-lt"/>
                          <a:ea typeface="+mn-ea"/>
                          <a:cs typeface="+mn-cs"/>
                        </a:rPr>
                        <a:t>Une offre de séjours </a:t>
                      </a:r>
                      <a:r>
                        <a:rPr lang="fr-FR" sz="1000">
                          <a:solidFill>
                            <a:schemeClr val="tx1"/>
                          </a:solidFill>
                          <a:latin typeface="+mn-lt"/>
                        </a:rPr>
                        <a:t>diversifiée et u</a:t>
                      </a:r>
                      <a:r>
                        <a:rPr kumimoji="0" lang="fr-FR" sz="1000" b="0" i="0" u="none" strike="noStrike" kern="1200" cap="none" spc="0" normalizeH="0" baseline="0" noProof="0">
                          <a:ln>
                            <a:noFill/>
                          </a:ln>
                          <a:solidFill>
                            <a:schemeClr val="tx1"/>
                          </a:solidFill>
                          <a:effectLst/>
                          <a:uLnTx/>
                          <a:uFillTx/>
                          <a:latin typeface="+mn-lt"/>
                          <a:ea typeface="+mn-ea"/>
                          <a:cs typeface="+mn-cs"/>
                        </a:rPr>
                        <a:t>ne capacité d’accueil flexible (dépendante des partenaires)</a:t>
                      </a:r>
                    </a:p>
                    <a:p>
                      <a:pPr marL="273050" marR="0" lvl="1" indent="-175895" algn="just" defTabSz="914400" rtl="0" eaLnBrk="1" fontAlgn="auto" latinLnBrk="0" hangingPunct="1">
                        <a:lnSpc>
                          <a:spcPct val="110000"/>
                        </a:lnSpc>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chemeClr val="tx1"/>
                          </a:solidFill>
                          <a:effectLst/>
                          <a:uLnTx/>
                          <a:uFillTx/>
                          <a:latin typeface="+mn-lt"/>
                          <a:ea typeface="+mn-ea"/>
                          <a:cs typeface="+mn-cs"/>
                        </a:rPr>
                        <a:t>Une externalisation de la gestion des infrastructures (aucun investissement foncier nécessaire) et des prestations d’hôtellerie (pas de recrutements nécessaires)</a:t>
                      </a:r>
                    </a:p>
                    <a:p>
                      <a:pPr marL="273050" marR="0" lvl="1" indent="-175895" algn="just" defTabSz="914400" rtl="0" eaLnBrk="1" fontAlgn="auto" latinLnBrk="0" hangingPunct="1">
                        <a:lnSpc>
                          <a:spcPct val="110000"/>
                        </a:lnSpc>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chemeClr val="tx1"/>
                          </a:solidFill>
                          <a:effectLst/>
                          <a:uLnTx/>
                          <a:uFillTx/>
                          <a:latin typeface="+mn-lt"/>
                          <a:ea typeface="+mn-ea"/>
                          <a:cs typeface="+mn-cs"/>
                        </a:rPr>
                        <a:t>Des personnels MS qualifiés mis à disposition par l’ESMS d’origine sur la durée du séjour</a:t>
                      </a:r>
                    </a:p>
                    <a:p>
                      <a:pPr marL="273050" marR="0" lvl="1" indent="-176213" algn="just" defTabSz="914400" rtl="0" eaLnBrk="1" fontAlgn="auto" latinLnBrk="0" hangingPunct="1">
                        <a:lnSpc>
                          <a:spcPct val="110000"/>
                        </a:lnSpc>
                        <a:spcAft>
                          <a:spcPts val="0"/>
                        </a:spcAft>
                        <a:buClrTx/>
                        <a:buSzTx/>
                        <a:buFont typeface="Arial" panose="020B0604020202020204" pitchFamily="34" charset="0"/>
                        <a:buChar char="•"/>
                        <a:tabLst/>
                        <a:defRPr/>
                      </a:pPr>
                      <a:endParaRPr kumimoji="0" lang="fr-FR" sz="1000" b="0" i="0" u="none" strike="noStrike" kern="1200" cap="none" spc="0" normalizeH="0" baseline="0" noProof="0">
                        <a:ln>
                          <a:noFill/>
                        </a:ln>
                        <a:solidFill>
                          <a:schemeClr val="tx1"/>
                        </a:solidFill>
                        <a:effectLst/>
                        <a:uLnTx/>
                        <a:uFillTx/>
                        <a:latin typeface="+mn-lt"/>
                        <a:ea typeface="+mn-ea"/>
                        <a:cs typeface="+mn-cs"/>
                      </a:endParaRPr>
                    </a:p>
                    <a:p>
                      <a:pPr algn="just"/>
                      <a:endParaRPr lang="fr-FR" sz="1000">
                        <a:solidFill>
                          <a:schemeClr val="tx1"/>
                        </a:solidFill>
                      </a:endParaRPr>
                    </a:p>
                  </a:txBody>
                  <a:tcPr anchor="ctr">
                    <a:solidFill>
                      <a:schemeClr val="bg1">
                        <a:lumMod val="95000"/>
                      </a:schemeClr>
                    </a:solidFill>
                  </a:tcPr>
                </a:tc>
                <a:extLst>
                  <a:ext uri="{0D108BD9-81ED-4DB2-BD59-A6C34878D82A}">
                    <a16:rowId xmlns:a16="http://schemas.microsoft.com/office/drawing/2014/main" val="2629108705"/>
                  </a:ext>
                </a:extLst>
              </a:tr>
              <a:tr h="2668516">
                <a:tc>
                  <a:txBody>
                    <a:bodyPr/>
                    <a:lstStyle/>
                    <a:p>
                      <a:pPr algn="ctr"/>
                      <a:r>
                        <a:rPr lang="fr-FR" sz="1200" b="1"/>
                        <a:t>Faiblesses</a:t>
                      </a:r>
                    </a:p>
                  </a:txBody>
                  <a:tcPr vert="vert270">
                    <a:solidFill>
                      <a:srgbClr val="E8FCFE"/>
                    </a:solidFill>
                  </a:tcPr>
                </a:tc>
                <a:tc>
                  <a:txBody>
                    <a:bodyPr/>
                    <a:lstStyle/>
                    <a:p>
                      <a:pPr marL="171450" marR="0" lvl="1" indent="-171450" algn="just" rtl="0" eaLnBrk="1" fontAlgn="auto" latinLnBrk="0" hangingPunct="1">
                        <a:lnSpc>
                          <a:spcPct val="100000"/>
                        </a:lnSpc>
                        <a:spcBef>
                          <a:spcPts val="0"/>
                        </a:spcBef>
                        <a:spcAft>
                          <a:spcPts val="300"/>
                        </a:spcAft>
                        <a:buClrTx/>
                        <a:buSzTx/>
                        <a:buFont typeface="Arial" panose="020B0604020202020204" pitchFamily="34" charset="0"/>
                        <a:buChar char="•"/>
                      </a:pPr>
                      <a:r>
                        <a:rPr lang="fr-FR" sz="1000" kern="1200">
                          <a:solidFill>
                            <a:schemeClr val="tx1"/>
                          </a:solidFill>
                          <a:latin typeface="+mn-lt"/>
                          <a:ea typeface="+mn-ea"/>
                          <a:cs typeface="+mn-cs"/>
                        </a:rPr>
                        <a:t>Un équilibre économique difficile à atteindre (investissements importants, effet de saisonnalité, taux d’occupation incertain, poids de l’emprunt bancaire, taux d’annulations importants)</a:t>
                      </a:r>
                    </a:p>
                    <a:p>
                      <a:pPr marL="171450" marR="0" lvl="1"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fr-FR" sz="1000" kern="1200">
                          <a:solidFill>
                            <a:schemeClr val="tx1"/>
                          </a:solidFill>
                          <a:latin typeface="+mn-lt"/>
                          <a:ea typeface="+mn-ea"/>
                          <a:cs typeface="+mn-cs"/>
                        </a:rPr>
                        <a:t>Des difficultés d’obtention des places HT et de recrutement de personnels</a:t>
                      </a:r>
                    </a:p>
                    <a:p>
                      <a:pPr marL="171450" marR="0" lvl="1"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fr-FR" sz="1000" kern="1200">
                          <a:solidFill>
                            <a:schemeClr val="tx1"/>
                          </a:solidFill>
                          <a:latin typeface="+mn-lt"/>
                          <a:ea typeface="+mn-ea"/>
                          <a:cs typeface="+mn-cs"/>
                        </a:rPr>
                        <a:t>Un modèle ayant insuffisamment fait ses preuves d’après les acteurs institutionnels (ARS, DGCS, …)</a:t>
                      </a:r>
                    </a:p>
                    <a:p>
                      <a:pPr marL="171450" marR="0" lvl="1"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fr-FR" sz="1000" kern="1200">
                          <a:solidFill>
                            <a:schemeClr val="tx1"/>
                          </a:solidFill>
                          <a:latin typeface="+mn-lt"/>
                          <a:ea typeface="+mn-ea"/>
                          <a:cs typeface="+mn-cs"/>
                        </a:rPr>
                        <a:t>Un manque de places d’accueil, en particulier sur les périodes de vacances</a:t>
                      </a:r>
                    </a:p>
                    <a:p>
                      <a:pPr algn="just"/>
                      <a:endParaRPr lang="fr-FR" sz="1000">
                        <a:solidFill>
                          <a:schemeClr val="tx1"/>
                        </a:solidFill>
                      </a:endParaRPr>
                    </a:p>
                  </a:txBody>
                  <a:tcPr anchor="ctr">
                    <a:solidFill>
                      <a:schemeClr val="bg1">
                        <a:lumMod val="95000"/>
                      </a:schemeClr>
                    </a:solidFill>
                  </a:tcPr>
                </a:tc>
                <a:tc>
                  <a:txBody>
                    <a:bodyPr/>
                    <a:lstStyle/>
                    <a:p>
                      <a:pPr marL="179070" marR="0" lvl="1" indent="-17272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chemeClr val="tx1"/>
                          </a:solidFill>
                          <a:effectLst/>
                          <a:uLnTx/>
                          <a:uFillTx/>
                          <a:latin typeface="+mn-lt"/>
                          <a:ea typeface="+mn-ea"/>
                          <a:cs typeface="+mn-cs"/>
                        </a:rPr>
                        <a:t>Un équilibre économique difficile à atteindre (</a:t>
                      </a:r>
                      <a:r>
                        <a:rPr lang="fr-FR" sz="1000" b="0" i="0" u="none" strike="noStrike" kern="1200" cap="none" spc="0" normalizeH="0" baseline="0" noProof="0">
                          <a:ln>
                            <a:noFill/>
                          </a:ln>
                          <a:solidFill>
                            <a:schemeClr val="tx1"/>
                          </a:solidFill>
                          <a:effectLst/>
                          <a:uLnTx/>
                          <a:uFillTx/>
                          <a:latin typeface="+mn-lt"/>
                          <a:ea typeface="+mn-ea"/>
                          <a:cs typeface="+mn-cs"/>
                        </a:rPr>
                        <a:t>investissements</a:t>
                      </a:r>
                      <a:r>
                        <a:rPr kumimoji="0" lang="fr-FR" sz="1000" b="0" i="0" u="none" strike="noStrike" kern="1200" cap="none" spc="0" normalizeH="0" baseline="0" noProof="0">
                          <a:ln>
                            <a:noFill/>
                          </a:ln>
                          <a:solidFill>
                            <a:schemeClr val="tx1"/>
                          </a:solidFill>
                          <a:effectLst/>
                          <a:uLnTx/>
                          <a:uFillTx/>
                          <a:latin typeface="+mn-lt"/>
                          <a:ea typeface="+mn-ea"/>
                          <a:cs typeface="+mn-cs"/>
                        </a:rPr>
                        <a:t> </a:t>
                      </a:r>
                      <a:r>
                        <a:rPr lang="fr-FR" sz="1000" b="0" i="0" u="none" strike="noStrike" kern="1200" cap="none" spc="0" normalizeH="0" baseline="0" noProof="0">
                          <a:ln>
                            <a:noFill/>
                          </a:ln>
                          <a:solidFill>
                            <a:schemeClr val="tx1"/>
                          </a:solidFill>
                          <a:effectLst/>
                          <a:uLnTx/>
                          <a:uFillTx/>
                          <a:latin typeface="+mn-lt"/>
                          <a:ea typeface="+mn-ea"/>
                          <a:cs typeface="+mn-cs"/>
                        </a:rPr>
                        <a:t>importants</a:t>
                      </a:r>
                      <a:r>
                        <a:rPr kumimoji="0" lang="fr-FR" sz="1000" b="0" i="0" u="none" strike="noStrike" kern="1200" cap="none" spc="0" normalizeH="0" baseline="0" noProof="0">
                          <a:ln>
                            <a:noFill/>
                          </a:ln>
                          <a:solidFill>
                            <a:schemeClr val="tx1"/>
                          </a:solidFill>
                          <a:effectLst/>
                          <a:uLnTx/>
                          <a:uFillTx/>
                          <a:latin typeface="+mn-lt"/>
                          <a:ea typeface="+mn-ea"/>
                          <a:cs typeface="+mn-cs"/>
                        </a:rPr>
                        <a:t>, effet de saisonnalité, taux d’occupation incertain)</a:t>
                      </a:r>
                    </a:p>
                    <a:p>
                      <a:pPr marL="179070" marR="0" lvl="1" indent="-172720" algn="just" rtl="0" eaLnBrk="1" fontAlgn="auto" latinLnBrk="0" hangingPunct="1">
                        <a:lnSpc>
                          <a:spcPct val="100000"/>
                        </a:lnSpc>
                        <a:spcBef>
                          <a:spcPts val="300"/>
                        </a:spcBef>
                        <a:spcAft>
                          <a:spcPts val="300"/>
                        </a:spcAft>
                        <a:buClrTx/>
                        <a:buSzTx/>
                        <a:buFont typeface="Arial" panose="020B0604020202020204" pitchFamily="34" charset="0"/>
                        <a:buChar char="•"/>
                      </a:pPr>
                      <a:r>
                        <a:rPr lang="fr-FR" sz="1000" b="0" i="0" u="none" strike="noStrike" kern="1200" cap="none" spc="0" normalizeH="0" baseline="0" noProof="0">
                          <a:ln>
                            <a:noFill/>
                          </a:ln>
                          <a:solidFill>
                            <a:schemeClr val="tx1"/>
                          </a:solidFill>
                          <a:effectLst/>
                          <a:uLnTx/>
                          <a:uFillTx/>
                          <a:latin typeface="+mn-lt"/>
                          <a:ea typeface="+mn-ea"/>
                          <a:cs typeface="+mn-cs"/>
                        </a:rPr>
                        <a:t>Une cohabitation</a:t>
                      </a:r>
                      <a:r>
                        <a:rPr kumimoji="0" lang="fr-FR" sz="1000" b="0" i="0" u="none" strike="noStrike" kern="1200" cap="none" spc="0" normalizeH="0" baseline="0" noProof="0">
                          <a:ln>
                            <a:noFill/>
                          </a:ln>
                          <a:solidFill>
                            <a:schemeClr val="tx1"/>
                          </a:solidFill>
                          <a:effectLst/>
                          <a:uLnTx/>
                          <a:uFillTx/>
                          <a:latin typeface="+mn-lt"/>
                          <a:ea typeface="+mn-ea"/>
                          <a:cs typeface="+mn-cs"/>
                        </a:rPr>
                        <a:t> </a:t>
                      </a:r>
                      <a:r>
                        <a:rPr lang="fr-FR" sz="1000" b="0" i="0" u="none" strike="noStrike" kern="1200" cap="none" spc="0" normalizeH="0" baseline="0" noProof="0">
                          <a:ln>
                            <a:noFill/>
                          </a:ln>
                          <a:solidFill>
                            <a:schemeClr val="tx1"/>
                          </a:solidFill>
                          <a:effectLst/>
                          <a:uLnTx/>
                          <a:uFillTx/>
                          <a:latin typeface="+mn-lt"/>
                          <a:ea typeface="+mn-ea"/>
                          <a:cs typeface="+mn-cs"/>
                        </a:rPr>
                        <a:t>à créer </a:t>
                      </a:r>
                      <a:r>
                        <a:rPr kumimoji="0" lang="fr-FR" sz="1000" b="0" i="0" u="none" strike="noStrike" kern="1200" cap="none" spc="0" normalizeH="0" baseline="0" noProof="0">
                          <a:ln>
                            <a:noFill/>
                          </a:ln>
                          <a:solidFill>
                            <a:schemeClr val="tx1"/>
                          </a:solidFill>
                          <a:effectLst/>
                          <a:uLnTx/>
                          <a:uFillTx/>
                          <a:latin typeface="+mn-lt"/>
                          <a:ea typeface="+mn-ea"/>
                          <a:cs typeface="+mn-cs"/>
                        </a:rPr>
                        <a:t>entre vacanciers / usagers de l’ESMS</a:t>
                      </a:r>
                    </a:p>
                    <a:p>
                      <a:pPr marL="179070" marR="0" lvl="1" indent="-172720" algn="just"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fr-FR" sz="1000" kern="1200">
                          <a:solidFill>
                            <a:schemeClr val="tx1"/>
                          </a:solidFill>
                          <a:latin typeface="+mn-lt"/>
                          <a:ea typeface="+mn-ea"/>
                          <a:cs typeface="+mn-cs"/>
                        </a:rPr>
                        <a:t>Un manque de places d’accueil, en particulier sur les périodes de vacances</a:t>
                      </a:r>
                    </a:p>
                  </a:txBody>
                  <a:tcPr anchor="ctr">
                    <a:solidFill>
                      <a:schemeClr val="bg1">
                        <a:lumMod val="95000"/>
                      </a:schemeClr>
                    </a:solidFill>
                  </a:tcPr>
                </a:tc>
                <a:tc>
                  <a:txBody>
                    <a:bodyPr/>
                    <a:lstStyle/>
                    <a:p>
                      <a:pPr marL="175895" marR="0" lvl="1" indent="-175895" algn="just" rtl="0" eaLnBrk="1" fontAlgn="auto" latinLnBrk="0" hangingPunct="1">
                        <a:lnSpc>
                          <a:spcPct val="110000"/>
                        </a:lnSpc>
                        <a:spcBef>
                          <a:spcPts val="0"/>
                        </a:spcBef>
                        <a:spcAft>
                          <a:spcPts val="300"/>
                        </a:spcAft>
                        <a:buClrTx/>
                        <a:buSzTx/>
                        <a:buFont typeface="Arial" panose="020B0604020202020204" pitchFamily="34" charset="0"/>
                        <a:buChar char="•"/>
                      </a:pPr>
                      <a:r>
                        <a:rPr kumimoji="0" lang="fr-FR" sz="1000" b="0" i="0" u="none" strike="noStrike" kern="1200" cap="none" spc="0" normalizeH="0" baseline="0" noProof="0">
                          <a:ln>
                            <a:noFill/>
                          </a:ln>
                          <a:solidFill>
                            <a:schemeClr val="tx1"/>
                          </a:solidFill>
                          <a:effectLst/>
                          <a:uLnTx/>
                          <a:uFillTx/>
                          <a:latin typeface="+mn-lt"/>
                          <a:ea typeface="+mn-ea"/>
                          <a:cs typeface="+mn-cs"/>
                        </a:rPr>
                        <a:t>Un sentiment de vacances et de répit difficile à atteindre :</a:t>
                      </a:r>
                      <a:r>
                        <a:rPr lang="fr-FR" sz="1000" b="0" i="0" u="none" strike="noStrike" kern="1200" cap="none" spc="0" normalizeH="0" baseline="0" noProof="0">
                          <a:ln>
                            <a:noFill/>
                          </a:ln>
                          <a:solidFill>
                            <a:schemeClr val="tx1"/>
                          </a:solidFill>
                          <a:effectLst/>
                          <a:uLnTx/>
                          <a:uFillTx/>
                          <a:latin typeface="+mn-lt"/>
                          <a:ea typeface="+mn-ea"/>
                          <a:cs typeface="+mn-cs"/>
                        </a:rPr>
                        <a:t> </a:t>
                      </a:r>
                      <a:r>
                        <a:rPr kumimoji="0" lang="fr-FR" sz="1000" b="0" i="0" u="none" strike="noStrike" kern="1200" cap="none" spc="0" normalizeH="0" baseline="0" noProof="0">
                          <a:ln>
                            <a:noFill/>
                          </a:ln>
                          <a:solidFill>
                            <a:schemeClr val="tx1"/>
                          </a:solidFill>
                          <a:effectLst/>
                          <a:uLnTx/>
                          <a:uFillTx/>
                          <a:latin typeface="+mn-lt"/>
                          <a:ea typeface="+mn-ea"/>
                          <a:cs typeface="+mn-cs"/>
                        </a:rPr>
                        <a:t> environnement peu diversifié pour les aidés (structure médico-sociale) – offre touristique peu développée pour les aidants</a:t>
                      </a:r>
                      <a:r>
                        <a:rPr lang="fr-FR" sz="1000" b="0" i="0" u="none" strike="noStrike" kern="1200" cap="none" spc="0" normalizeH="0" baseline="0" noProof="0">
                          <a:ln>
                            <a:noFill/>
                          </a:ln>
                          <a:solidFill>
                            <a:schemeClr val="tx1"/>
                          </a:solidFill>
                          <a:effectLst/>
                          <a:uLnTx/>
                          <a:uFillTx/>
                          <a:latin typeface="+mn-lt"/>
                          <a:ea typeface="+mn-ea"/>
                          <a:cs typeface="+mn-cs"/>
                        </a:rPr>
                        <a:t> </a:t>
                      </a:r>
                      <a:endParaRPr kumimoji="0" lang="fr-FR" sz="1000" b="0" i="0" u="none" strike="noStrike" kern="1200" cap="none" spc="0" normalizeH="0" baseline="0" noProof="0">
                        <a:ln>
                          <a:noFill/>
                        </a:ln>
                        <a:solidFill>
                          <a:schemeClr val="tx1"/>
                        </a:solidFill>
                        <a:effectLst/>
                        <a:uLnTx/>
                        <a:uFillTx/>
                        <a:latin typeface="+mn-lt"/>
                        <a:ea typeface="+mn-ea"/>
                        <a:cs typeface="+mn-cs"/>
                      </a:endParaRPr>
                    </a:p>
                    <a:p>
                      <a:pPr marL="175895" marR="0" lvl="1" indent="-175895" algn="just" rtl="0" eaLnBrk="1" fontAlgn="auto" latinLnBrk="0" hangingPunct="1">
                        <a:lnSpc>
                          <a:spcPct val="110000"/>
                        </a:lnSpc>
                        <a:spcBef>
                          <a:spcPts val="0"/>
                        </a:spcBef>
                        <a:spcAft>
                          <a:spcPts val="300"/>
                        </a:spcAft>
                        <a:buClrTx/>
                        <a:buSzTx/>
                        <a:buFont typeface="Arial" panose="020B0604020202020204" pitchFamily="34" charset="0"/>
                        <a:buChar char="•"/>
                      </a:pPr>
                      <a:r>
                        <a:rPr kumimoji="0" lang="fr-FR" sz="1000" b="0" i="0" u="none" strike="noStrike" kern="1200" cap="none" spc="0" normalizeH="0" baseline="0" noProof="0">
                          <a:ln>
                            <a:noFill/>
                          </a:ln>
                          <a:solidFill>
                            <a:schemeClr val="tx1"/>
                          </a:solidFill>
                          <a:effectLst/>
                          <a:uLnTx/>
                          <a:uFillTx/>
                          <a:latin typeface="+mn-lt"/>
                          <a:ea typeface="+mn-ea"/>
                          <a:cs typeface="+mn-cs"/>
                        </a:rPr>
                        <a:t>La nécessité de réorganiser la charge au sein de l’ESMS d’origine pour assurer la continuité de service</a:t>
                      </a:r>
                      <a:r>
                        <a:rPr lang="fr-FR" sz="1000" b="0" i="0" u="none" strike="noStrike" kern="1200" cap="none" spc="0" normalizeH="0" baseline="0" noProof="0">
                          <a:ln>
                            <a:noFill/>
                          </a:ln>
                          <a:solidFill>
                            <a:schemeClr val="tx1"/>
                          </a:solidFill>
                          <a:effectLst/>
                          <a:uLnTx/>
                          <a:uFillTx/>
                          <a:latin typeface="+mn-lt"/>
                          <a:ea typeface="+mn-ea"/>
                          <a:cs typeface="+mn-cs"/>
                        </a:rPr>
                        <a:t> </a:t>
                      </a:r>
                      <a:endParaRPr kumimoji="0" lang="fr-FR" sz="1000" b="0" i="0" u="none" strike="noStrike" kern="1200" cap="none" spc="0" normalizeH="0" baseline="0" noProof="0">
                        <a:ln>
                          <a:noFill/>
                        </a:ln>
                        <a:solidFill>
                          <a:schemeClr val="tx1"/>
                        </a:solidFill>
                        <a:effectLst/>
                        <a:uLnTx/>
                        <a:uFillTx/>
                        <a:latin typeface="+mn-lt"/>
                        <a:ea typeface="+mn-ea"/>
                        <a:cs typeface="+mn-cs"/>
                      </a:endParaRPr>
                    </a:p>
                    <a:p>
                      <a:pPr marL="175895" marR="0" lvl="1" indent="-175895" algn="just" defTabSz="914400" rtl="0" eaLnBrk="1" fontAlgn="auto" latinLnBrk="0" hangingPunct="1">
                        <a:lnSpc>
                          <a:spcPct val="110000"/>
                        </a:lnSpc>
                        <a:spcBef>
                          <a:spcPts val="300"/>
                        </a:spcBef>
                        <a:spcAft>
                          <a:spcPts val="300"/>
                        </a:spcAft>
                        <a:buClrTx/>
                        <a:buSzTx/>
                        <a:buFont typeface="Arial" panose="020B0604020202020204" pitchFamily="34" charset="0"/>
                        <a:buChar char="•"/>
                        <a:tabLst/>
                        <a:defRPr/>
                      </a:pPr>
                      <a:r>
                        <a:rPr kumimoji="0" lang="fr-FR" sz="1000" b="0" i="0" u="none" strike="noStrike" kern="1200" cap="none" spc="0" normalizeH="0" baseline="0" noProof="0">
                          <a:ln>
                            <a:noFill/>
                          </a:ln>
                          <a:solidFill>
                            <a:schemeClr val="tx1"/>
                          </a:solidFill>
                          <a:effectLst/>
                          <a:uLnTx/>
                          <a:uFillTx/>
                          <a:latin typeface="+mn-lt"/>
                          <a:ea typeface="+mn-ea"/>
                          <a:cs typeface="+mn-cs"/>
                        </a:rPr>
                        <a:t>Un manque de flexibilité sur les dates de séjours </a:t>
                      </a:r>
                    </a:p>
                    <a:p>
                      <a:pPr algn="just">
                        <a:spcAft>
                          <a:spcPts val="300"/>
                        </a:spcAft>
                      </a:pPr>
                      <a:endParaRPr lang="fr-FR" sz="1000">
                        <a:solidFill>
                          <a:schemeClr val="tx1"/>
                        </a:solidFill>
                      </a:endParaRPr>
                    </a:p>
                  </a:txBody>
                  <a:tcPr anchor="ctr">
                    <a:solidFill>
                      <a:schemeClr val="bg1">
                        <a:lumMod val="95000"/>
                      </a:schemeClr>
                    </a:solidFill>
                  </a:tcPr>
                </a:tc>
                <a:tc>
                  <a:txBody>
                    <a:bodyPr/>
                    <a:lstStyle/>
                    <a:p>
                      <a:pPr marL="273050" marR="0" lvl="1" indent="-175895" algn="just" rtl="0" eaLnBrk="1" fontAlgn="auto" latinLnBrk="0" hangingPunct="1">
                        <a:lnSpc>
                          <a:spcPct val="110000"/>
                        </a:lnSpc>
                        <a:spcBef>
                          <a:spcPts val="1200"/>
                        </a:spcBef>
                        <a:spcAft>
                          <a:spcPts val="0"/>
                        </a:spcAft>
                        <a:buClrTx/>
                        <a:buSzTx/>
                        <a:buFont typeface="Arial" panose="020B0604020202020204" pitchFamily="34" charset="0"/>
                        <a:buChar char="•"/>
                      </a:pPr>
                      <a:r>
                        <a:rPr kumimoji="0" lang="fr-FR" sz="1000" b="0" i="0" u="none" strike="noStrike" kern="1200" cap="none" spc="0" normalizeH="0" baseline="0" noProof="0">
                          <a:ln>
                            <a:noFill/>
                          </a:ln>
                          <a:solidFill>
                            <a:schemeClr val="tx1"/>
                          </a:solidFill>
                          <a:effectLst/>
                          <a:uLnTx/>
                          <a:uFillTx/>
                          <a:latin typeface="+mn-lt"/>
                          <a:ea typeface="+mn-ea"/>
                          <a:cs typeface="+mn-cs"/>
                        </a:rPr>
                        <a:t>Des séjours inadaptés à toutes les formes de handicap/dépendances</a:t>
                      </a:r>
                      <a:r>
                        <a:rPr lang="fr-FR" sz="1000" b="0" i="0" u="none" strike="noStrike" kern="1200" cap="none" spc="0" normalizeH="0" baseline="0" noProof="0">
                          <a:ln>
                            <a:noFill/>
                          </a:ln>
                          <a:solidFill>
                            <a:schemeClr val="tx1"/>
                          </a:solidFill>
                          <a:effectLst/>
                          <a:uLnTx/>
                          <a:uFillTx/>
                          <a:latin typeface="+mn-lt"/>
                          <a:ea typeface="+mn-ea"/>
                          <a:cs typeface="+mn-cs"/>
                        </a:rPr>
                        <a:t> </a:t>
                      </a:r>
                      <a:endParaRPr lang="fr-FR" sz="1000">
                        <a:solidFill>
                          <a:schemeClr val="tx1"/>
                        </a:solidFill>
                        <a:latin typeface="+mn-lt"/>
                      </a:endParaRPr>
                    </a:p>
                    <a:p>
                      <a:pPr marL="273050" marR="0" lvl="1" indent="-175895" algn="just" defTabSz="914400" rtl="0" eaLnBrk="1" fontAlgn="auto" latinLnBrk="0" hangingPunct="1">
                        <a:lnSpc>
                          <a:spcPct val="110000"/>
                        </a:lnSpc>
                        <a:spcBef>
                          <a:spcPts val="300"/>
                        </a:spcBef>
                        <a:spcAft>
                          <a:spcPts val="0"/>
                        </a:spcAft>
                        <a:buClrTx/>
                        <a:buSzTx/>
                        <a:buFont typeface="Arial" panose="020B0604020202020204" pitchFamily="34" charset="0"/>
                        <a:buChar char="•"/>
                        <a:tabLst/>
                        <a:defRPr/>
                      </a:pPr>
                      <a:r>
                        <a:rPr kumimoji="0" lang="fr-FR" sz="1000" b="0" i="0" u="none" strike="noStrike" kern="1200" cap="none" spc="0" normalizeH="0" baseline="0" noProof="0">
                          <a:ln>
                            <a:noFill/>
                          </a:ln>
                          <a:solidFill>
                            <a:schemeClr val="tx1"/>
                          </a:solidFill>
                          <a:effectLst/>
                          <a:uLnTx/>
                          <a:uFillTx/>
                          <a:latin typeface="+mn-lt"/>
                          <a:ea typeface="+mn-ea"/>
                          <a:cs typeface="+mn-cs"/>
                        </a:rPr>
                        <a:t>Une offre moins pérenne qui nécessite une organisation au cas par cas chaque année</a:t>
                      </a:r>
                    </a:p>
                    <a:p>
                      <a:pPr marL="273050" marR="0" lvl="1" indent="-175895" algn="just" rtl="0" eaLnBrk="1" fontAlgn="auto" latinLnBrk="0" hangingPunct="1">
                        <a:lnSpc>
                          <a:spcPct val="110000"/>
                        </a:lnSpc>
                        <a:spcBef>
                          <a:spcPts val="300"/>
                        </a:spcBef>
                        <a:spcAft>
                          <a:spcPts val="0"/>
                        </a:spcAft>
                        <a:buClrTx/>
                        <a:buSzTx/>
                        <a:buFont typeface="Arial" panose="020B0604020202020204" pitchFamily="34" charset="0"/>
                        <a:buChar char="•"/>
                      </a:pPr>
                      <a:r>
                        <a:rPr kumimoji="0" lang="fr-FR" sz="1000" b="0" i="0" u="none" strike="noStrike" kern="1200" cap="none" spc="0" normalizeH="0" baseline="0" noProof="0">
                          <a:ln>
                            <a:noFill/>
                          </a:ln>
                          <a:solidFill>
                            <a:schemeClr val="tx1"/>
                          </a:solidFill>
                          <a:effectLst/>
                          <a:uLnTx/>
                          <a:uFillTx/>
                          <a:latin typeface="+mn-lt"/>
                          <a:ea typeface="+mn-ea"/>
                          <a:cs typeface="+mn-cs"/>
                        </a:rPr>
                        <a:t>La nécessité d’assurer la continuité de service dans l’ESMS</a:t>
                      </a:r>
                    </a:p>
                    <a:p>
                      <a:pPr marL="273050" marR="0" lvl="1" indent="-175895" algn="just" defTabSz="914400" rtl="0" eaLnBrk="1" fontAlgn="auto" latinLnBrk="0" hangingPunct="1">
                        <a:lnSpc>
                          <a:spcPct val="110000"/>
                        </a:lnSpc>
                        <a:spcBef>
                          <a:spcPts val="300"/>
                        </a:spcBef>
                        <a:spcAft>
                          <a:spcPts val="0"/>
                        </a:spcAft>
                        <a:buClrTx/>
                        <a:buSzTx/>
                        <a:buFont typeface="Arial" panose="020B0604020202020204" pitchFamily="34" charset="0"/>
                        <a:buChar char="•"/>
                        <a:tabLst/>
                        <a:defRPr/>
                      </a:pPr>
                      <a:r>
                        <a:rPr kumimoji="0" lang="fr-FR" sz="1000" b="0" i="0" u="none" strike="noStrike" kern="1200" cap="none" spc="0" normalizeH="0" baseline="0" noProof="0">
                          <a:ln>
                            <a:noFill/>
                          </a:ln>
                          <a:solidFill>
                            <a:schemeClr val="tx1"/>
                          </a:solidFill>
                          <a:effectLst/>
                          <a:uLnTx/>
                          <a:uFillTx/>
                          <a:latin typeface="+mn-lt"/>
                          <a:ea typeface="+mn-ea"/>
                          <a:cs typeface="+mn-cs"/>
                        </a:rPr>
                        <a:t>Un manque de flexibilité sur les dates de séjours</a:t>
                      </a:r>
                      <a:endParaRPr kumimoji="0" lang="fr-FR" sz="1000" b="0" i="0" u="none" strike="sngStrike" kern="1200" cap="none" spc="0" normalizeH="0" baseline="0" noProof="0">
                        <a:ln>
                          <a:noFill/>
                        </a:ln>
                        <a:solidFill>
                          <a:schemeClr val="tx1"/>
                        </a:solidFill>
                        <a:effectLst/>
                        <a:uLnTx/>
                        <a:uFillTx/>
                        <a:latin typeface="+mn-lt"/>
                        <a:ea typeface="+mn-ea"/>
                        <a:cs typeface="+mn-cs"/>
                      </a:endParaRPr>
                    </a:p>
                    <a:p>
                      <a:pPr marL="273050" marR="0" lvl="1" indent="-175895" algn="just" defTabSz="914400" rtl="0" eaLnBrk="1" fontAlgn="auto" latinLnBrk="0" hangingPunct="1">
                        <a:lnSpc>
                          <a:spcPct val="110000"/>
                        </a:lnSpc>
                        <a:spcBef>
                          <a:spcPts val="300"/>
                        </a:spcBef>
                        <a:spcAft>
                          <a:spcPts val="0"/>
                        </a:spcAft>
                        <a:buClrTx/>
                        <a:buSzTx/>
                        <a:buFont typeface="Arial" panose="020B0604020202020204" pitchFamily="34" charset="0"/>
                        <a:buChar char="•"/>
                        <a:tabLst/>
                        <a:defRPr/>
                      </a:pPr>
                      <a:r>
                        <a:rPr kumimoji="0" lang="fr-FR" sz="1000" b="0" i="0" u="none" strike="noStrike" kern="1200" cap="none" spc="0" normalizeH="0" baseline="0" noProof="0">
                          <a:ln>
                            <a:noFill/>
                          </a:ln>
                          <a:solidFill>
                            <a:schemeClr val="tx1"/>
                          </a:solidFill>
                          <a:effectLst/>
                          <a:uLnTx/>
                          <a:uFillTx/>
                          <a:latin typeface="+mn-lt"/>
                          <a:ea typeface="+mn-ea"/>
                          <a:cs typeface="+mn-cs"/>
                        </a:rPr>
                        <a:t>Une fidélisation de la clientèle plus difficile</a:t>
                      </a:r>
                    </a:p>
                  </a:txBody>
                  <a:tcPr anchor="ctr">
                    <a:solidFill>
                      <a:schemeClr val="bg1">
                        <a:lumMod val="95000"/>
                      </a:schemeClr>
                    </a:solidFill>
                  </a:tcPr>
                </a:tc>
                <a:extLst>
                  <a:ext uri="{0D108BD9-81ED-4DB2-BD59-A6C34878D82A}">
                    <a16:rowId xmlns:a16="http://schemas.microsoft.com/office/drawing/2014/main" val="1124694537"/>
                  </a:ext>
                </a:extLst>
              </a:tr>
            </a:tbl>
          </a:graphicData>
        </a:graphic>
      </p:graphicFrame>
    </p:spTree>
    <p:extLst>
      <p:ext uri="{BB962C8B-B14F-4D97-AF65-F5344CB8AC3E}">
        <p14:creationId xmlns:p14="http://schemas.microsoft.com/office/powerpoint/2010/main" val="15409991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45E749-14D8-42BA-A566-C272C57C4B42}"/>
              </a:ext>
            </a:extLst>
          </p:cNvPr>
          <p:cNvSpPr>
            <a:spLocks noGrp="1"/>
          </p:cNvSpPr>
          <p:nvPr>
            <p:ph type="title"/>
          </p:nvPr>
        </p:nvSpPr>
        <p:spPr/>
        <p:txBody>
          <a:bodyPr/>
          <a:lstStyle/>
          <a:p>
            <a:r>
              <a:rPr lang="fr-FR">
                <a:latin typeface="Tahoma"/>
                <a:ea typeface="+mn-ea"/>
                <a:cs typeface="+mn-cs"/>
              </a:rPr>
              <a:t>Fiches initiatives</a:t>
            </a:r>
            <a:br>
              <a:rPr lang="fr-FR">
                <a:latin typeface="Tahoma"/>
                <a:ea typeface="+mn-ea"/>
                <a:cs typeface="+mn-cs"/>
              </a:rPr>
            </a:br>
            <a:endParaRPr lang="fr-FR"/>
          </a:p>
        </p:txBody>
      </p:sp>
      <p:sp>
        <p:nvSpPr>
          <p:cNvPr id="3" name="Espace réservé du texte 2">
            <a:extLst>
              <a:ext uri="{FF2B5EF4-FFF2-40B4-BE49-F238E27FC236}">
                <a16:creationId xmlns:a16="http://schemas.microsoft.com/office/drawing/2014/main" id="{56CE6F7E-B7E2-4D0A-84E0-E9105A72B01A}"/>
              </a:ext>
            </a:extLst>
          </p:cNvPr>
          <p:cNvSpPr>
            <a:spLocks noGrp="1"/>
          </p:cNvSpPr>
          <p:nvPr>
            <p:ph type="body" sz="quarter" idx="38"/>
          </p:nvPr>
        </p:nvSpPr>
        <p:spPr/>
        <p:txBody>
          <a:bodyPr/>
          <a:lstStyle/>
          <a:p>
            <a:r>
              <a:rPr lang="fr-FR"/>
              <a:t>A</a:t>
            </a:r>
          </a:p>
        </p:txBody>
      </p:sp>
      <p:sp>
        <p:nvSpPr>
          <p:cNvPr id="4" name="Titre 1">
            <a:extLst>
              <a:ext uri="{FF2B5EF4-FFF2-40B4-BE49-F238E27FC236}">
                <a16:creationId xmlns:a16="http://schemas.microsoft.com/office/drawing/2014/main" id="{194C32C5-5DBB-403E-A7AF-719FF8062640}"/>
              </a:ext>
            </a:extLst>
          </p:cNvPr>
          <p:cNvSpPr txBox="1">
            <a:spLocks/>
          </p:cNvSpPr>
          <p:nvPr/>
        </p:nvSpPr>
        <p:spPr bwMode="gray">
          <a:xfrm>
            <a:off x="4260050" y="3816823"/>
            <a:ext cx="6300000" cy="964800"/>
          </a:xfrm>
          <a:prstGeom prst="rect">
            <a:avLst/>
          </a:prstGeom>
          <a:noFill/>
        </p:spPr>
        <p:txBody>
          <a:bodyPr vert="horz" lIns="108000" tIns="108000" rIns="0" bIns="0" rtlCol="0" anchor="t">
            <a:noAutofit/>
          </a:bodyPr>
          <a:lstStyle>
            <a:lvl1pPr algn="r" defTabSz="914400" rtl="0" eaLnBrk="1" latinLnBrk="0" hangingPunct="1">
              <a:lnSpc>
                <a:spcPct val="100000"/>
              </a:lnSpc>
              <a:spcBef>
                <a:spcPct val="0"/>
              </a:spcBef>
              <a:buNone/>
              <a:defRPr sz="2400" kern="1200" cap="none" baseline="0">
                <a:solidFill>
                  <a:schemeClr val="bg2"/>
                </a:solidFill>
                <a:latin typeface="+mj-lt"/>
                <a:ea typeface="+mj-ea"/>
                <a:cs typeface="+mj-cs"/>
              </a:defRPr>
            </a:lvl1pPr>
          </a:lstStyle>
          <a:p>
            <a:r>
              <a:rPr lang="fr-FR" i="1">
                <a:solidFill>
                  <a:srgbClr val="048B9A"/>
                </a:solidFill>
                <a:latin typeface="Tahoma"/>
              </a:rPr>
              <a:t>Centres de répit existants</a:t>
            </a:r>
          </a:p>
        </p:txBody>
      </p:sp>
    </p:spTree>
    <p:extLst>
      <p:ext uri="{BB962C8B-B14F-4D97-AF65-F5344CB8AC3E}">
        <p14:creationId xmlns:p14="http://schemas.microsoft.com/office/powerpoint/2010/main" val="426277360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DDB96D-5870-433E-8224-8BA70AB31D5A}"/>
              </a:ext>
            </a:extLst>
          </p:cNvPr>
          <p:cNvSpPr>
            <a:spLocks noGrp="1"/>
          </p:cNvSpPr>
          <p:nvPr>
            <p:ph type="title"/>
          </p:nvPr>
        </p:nvSpPr>
        <p:spPr/>
        <p:txBody>
          <a:bodyPr/>
          <a:lstStyle/>
          <a:p>
            <a:r>
              <a:rPr lang="fr-FR"/>
              <a:t>Vacances Répit Familles (VRF) – Présentation générale</a:t>
            </a:r>
          </a:p>
        </p:txBody>
      </p:sp>
      <p:sp>
        <p:nvSpPr>
          <p:cNvPr id="3" name="Espace réservé du texte 2">
            <a:extLst>
              <a:ext uri="{FF2B5EF4-FFF2-40B4-BE49-F238E27FC236}">
                <a16:creationId xmlns:a16="http://schemas.microsoft.com/office/drawing/2014/main" id="{9C630387-01A6-4667-A171-E57EE95EAA8D}"/>
              </a:ext>
            </a:extLst>
          </p:cNvPr>
          <p:cNvSpPr>
            <a:spLocks noGrp="1"/>
          </p:cNvSpPr>
          <p:nvPr>
            <p:ph type="body" sz="quarter" idx="13"/>
          </p:nvPr>
        </p:nvSpPr>
        <p:spPr/>
        <p:txBody>
          <a:bodyPr/>
          <a:lstStyle/>
          <a:p>
            <a:r>
              <a:rPr lang="fr-FR"/>
              <a:t>fiches initiatives</a:t>
            </a:r>
          </a:p>
        </p:txBody>
      </p:sp>
      <p:sp>
        <p:nvSpPr>
          <p:cNvPr id="4" name="ZoneTexte 3">
            <a:extLst>
              <a:ext uri="{FF2B5EF4-FFF2-40B4-BE49-F238E27FC236}">
                <a16:creationId xmlns:a16="http://schemas.microsoft.com/office/drawing/2014/main" id="{758453BD-5EF0-47E0-8938-38481297E39D}"/>
              </a:ext>
            </a:extLst>
          </p:cNvPr>
          <p:cNvSpPr txBox="1"/>
          <p:nvPr/>
        </p:nvSpPr>
        <p:spPr>
          <a:xfrm>
            <a:off x="1487785" y="932393"/>
            <a:ext cx="3127275" cy="553998"/>
          </a:xfrm>
          <a:prstGeom prst="rect">
            <a:avLst/>
          </a:prstGeom>
          <a:noFill/>
          <a:ln>
            <a:solidFill>
              <a:schemeClr val="bg1"/>
            </a:solidFill>
          </a:ln>
        </p:spPr>
        <p:txBody>
          <a:bodyPr wrap="square" lIns="108000" rIns="108000" rtlCol="0">
            <a:spAutoFit/>
          </a:bodyPr>
          <a:lstStyle/>
          <a:p>
            <a:r>
              <a:rPr lang="fr-FR" sz="1400" b="1">
                <a:solidFill>
                  <a:srgbClr val="503078"/>
                </a:solidFill>
                <a:latin typeface="Tahoma"/>
              </a:rPr>
              <a:t>Public cible</a:t>
            </a:r>
          </a:p>
          <a:p>
            <a:pPr marL="171450" indent="-171450">
              <a:buFontTx/>
              <a:buChar char="-"/>
            </a:pPr>
            <a:endParaRPr lang="fr-FR" sz="1600">
              <a:solidFill>
                <a:srgbClr val="5F5F5F"/>
              </a:solidFill>
              <a:latin typeface="Tahoma"/>
            </a:endParaRPr>
          </a:p>
        </p:txBody>
      </p:sp>
      <p:sp>
        <p:nvSpPr>
          <p:cNvPr id="5" name="Rectangle 4">
            <a:extLst>
              <a:ext uri="{FF2B5EF4-FFF2-40B4-BE49-F238E27FC236}">
                <a16:creationId xmlns:a16="http://schemas.microsoft.com/office/drawing/2014/main" id="{2FA2171C-A33F-4AD2-8B98-8914AE0BF094}"/>
              </a:ext>
            </a:extLst>
          </p:cNvPr>
          <p:cNvSpPr/>
          <p:nvPr/>
        </p:nvSpPr>
        <p:spPr>
          <a:xfrm>
            <a:off x="1487399" y="923911"/>
            <a:ext cx="3146841" cy="1993947"/>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6" name="ZoneTexte 5">
            <a:extLst>
              <a:ext uri="{FF2B5EF4-FFF2-40B4-BE49-F238E27FC236}">
                <a16:creationId xmlns:a16="http://schemas.microsoft.com/office/drawing/2014/main" id="{270668CF-5C2E-4E27-928D-6F30FE9BB2C6}"/>
              </a:ext>
            </a:extLst>
          </p:cNvPr>
          <p:cNvSpPr txBox="1"/>
          <p:nvPr/>
        </p:nvSpPr>
        <p:spPr>
          <a:xfrm>
            <a:off x="1498771" y="3041301"/>
            <a:ext cx="3119496" cy="307777"/>
          </a:xfrm>
          <a:prstGeom prst="rect">
            <a:avLst/>
          </a:prstGeom>
          <a:noFill/>
          <a:ln>
            <a:solidFill>
              <a:schemeClr val="bg1"/>
            </a:solidFill>
          </a:ln>
        </p:spPr>
        <p:txBody>
          <a:bodyPr wrap="square" lIns="108000" rIns="108000" rtlCol="0">
            <a:spAutoFit/>
          </a:bodyPr>
          <a:lstStyle/>
          <a:p>
            <a:r>
              <a:rPr lang="fr-FR" sz="1400" b="1">
                <a:solidFill>
                  <a:srgbClr val="503078"/>
                </a:solidFill>
                <a:latin typeface="Tahoma"/>
              </a:rPr>
              <a:t>Porteurs / partenaires</a:t>
            </a:r>
          </a:p>
        </p:txBody>
      </p:sp>
      <p:sp>
        <p:nvSpPr>
          <p:cNvPr id="7" name="Rectangle 6">
            <a:extLst>
              <a:ext uri="{FF2B5EF4-FFF2-40B4-BE49-F238E27FC236}">
                <a16:creationId xmlns:a16="http://schemas.microsoft.com/office/drawing/2014/main" id="{79E78C3B-9EEE-4742-888B-1D268C84836B}"/>
              </a:ext>
            </a:extLst>
          </p:cNvPr>
          <p:cNvSpPr/>
          <p:nvPr/>
        </p:nvSpPr>
        <p:spPr>
          <a:xfrm>
            <a:off x="1487399" y="3015681"/>
            <a:ext cx="3146841" cy="1803119"/>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1" name="ZoneTexte 10">
            <a:extLst>
              <a:ext uri="{FF2B5EF4-FFF2-40B4-BE49-F238E27FC236}">
                <a16:creationId xmlns:a16="http://schemas.microsoft.com/office/drawing/2014/main" id="{350E105C-5F4E-4413-B9A7-51D864D5382E}"/>
              </a:ext>
            </a:extLst>
          </p:cNvPr>
          <p:cNvSpPr txBox="1"/>
          <p:nvPr/>
        </p:nvSpPr>
        <p:spPr>
          <a:xfrm>
            <a:off x="4739215" y="923910"/>
            <a:ext cx="5982318" cy="307777"/>
          </a:xfrm>
          <a:prstGeom prst="rect">
            <a:avLst/>
          </a:prstGeom>
          <a:noFill/>
          <a:ln>
            <a:solidFill>
              <a:schemeClr val="bg1"/>
            </a:solidFill>
          </a:ln>
        </p:spPr>
        <p:txBody>
          <a:bodyPr wrap="square" lIns="108000" rIns="108000" rtlCol="0">
            <a:spAutoFit/>
          </a:bodyPr>
          <a:lstStyle/>
          <a:p>
            <a:r>
              <a:rPr lang="fr-FR" sz="1400" b="1">
                <a:solidFill>
                  <a:srgbClr val="503078"/>
                </a:solidFill>
                <a:latin typeface="Tahoma"/>
              </a:rPr>
              <a:t>Description / offre </a:t>
            </a:r>
          </a:p>
        </p:txBody>
      </p:sp>
      <p:sp>
        <p:nvSpPr>
          <p:cNvPr id="12" name="Rectangle 11">
            <a:extLst>
              <a:ext uri="{FF2B5EF4-FFF2-40B4-BE49-F238E27FC236}">
                <a16:creationId xmlns:a16="http://schemas.microsoft.com/office/drawing/2014/main" id="{86E28A96-8CDB-4D2B-84BE-AAFB35B992E8}"/>
              </a:ext>
            </a:extLst>
          </p:cNvPr>
          <p:cNvSpPr/>
          <p:nvPr/>
        </p:nvSpPr>
        <p:spPr>
          <a:xfrm>
            <a:off x="4739215" y="923911"/>
            <a:ext cx="5982318" cy="1993947"/>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3" name="ZoneTexte 12">
            <a:extLst>
              <a:ext uri="{FF2B5EF4-FFF2-40B4-BE49-F238E27FC236}">
                <a16:creationId xmlns:a16="http://schemas.microsoft.com/office/drawing/2014/main" id="{F18ECC30-0B24-4319-853C-E9CED064D256}"/>
              </a:ext>
            </a:extLst>
          </p:cNvPr>
          <p:cNvSpPr txBox="1"/>
          <p:nvPr/>
        </p:nvSpPr>
        <p:spPr>
          <a:xfrm>
            <a:off x="4726866" y="3018098"/>
            <a:ext cx="6271767" cy="307777"/>
          </a:xfrm>
          <a:prstGeom prst="rect">
            <a:avLst/>
          </a:prstGeom>
          <a:noFill/>
          <a:ln>
            <a:solidFill>
              <a:schemeClr val="bg1"/>
            </a:solidFill>
          </a:ln>
        </p:spPr>
        <p:txBody>
          <a:bodyPr wrap="square" lIns="108000" rIns="108000" rtlCol="0">
            <a:spAutoFit/>
          </a:bodyPr>
          <a:lstStyle/>
          <a:p>
            <a:r>
              <a:rPr lang="fr-FR" sz="1400" b="1">
                <a:solidFill>
                  <a:srgbClr val="503078"/>
                </a:solidFill>
                <a:latin typeface="Tahoma"/>
              </a:rPr>
              <a:t>Des réflexions en cours sur le modèle VRF </a:t>
            </a:r>
          </a:p>
        </p:txBody>
      </p:sp>
      <p:sp>
        <p:nvSpPr>
          <p:cNvPr id="14" name="Rectangle 13">
            <a:extLst>
              <a:ext uri="{FF2B5EF4-FFF2-40B4-BE49-F238E27FC236}">
                <a16:creationId xmlns:a16="http://schemas.microsoft.com/office/drawing/2014/main" id="{964E2012-61C6-4837-8038-4A0C3CD992B9}"/>
              </a:ext>
            </a:extLst>
          </p:cNvPr>
          <p:cNvSpPr/>
          <p:nvPr/>
        </p:nvSpPr>
        <p:spPr>
          <a:xfrm>
            <a:off x="4730945" y="2996604"/>
            <a:ext cx="5982318" cy="369959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pic>
        <p:nvPicPr>
          <p:cNvPr id="1026" name="Picture 2" descr="Accueil">
            <a:extLst>
              <a:ext uri="{FF2B5EF4-FFF2-40B4-BE49-F238E27FC236}">
                <a16:creationId xmlns:a16="http://schemas.microsoft.com/office/drawing/2014/main" id="{246FA698-26EA-47C7-B5AC-FC5B02C27AF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186" r="72972"/>
          <a:stretch/>
        </p:blipFill>
        <p:spPr bwMode="auto">
          <a:xfrm>
            <a:off x="9393576" y="91117"/>
            <a:ext cx="1309825" cy="698611"/>
          </a:xfrm>
          <a:prstGeom prst="rect">
            <a:avLst/>
          </a:prstGeom>
          <a:noFill/>
          <a:extLst>
            <a:ext uri="{909E8E84-426E-40DD-AFC4-6F175D3DCCD1}">
              <a14:hiddenFill xmlns:a14="http://schemas.microsoft.com/office/drawing/2010/main">
                <a:solidFill>
                  <a:srgbClr val="FFFFFF"/>
                </a:solidFill>
              </a14:hiddenFill>
            </a:ext>
          </a:extLst>
        </p:spPr>
      </p:pic>
      <p:sp>
        <p:nvSpPr>
          <p:cNvPr id="19" name="ZoneTexte 18">
            <a:extLst>
              <a:ext uri="{FF2B5EF4-FFF2-40B4-BE49-F238E27FC236}">
                <a16:creationId xmlns:a16="http://schemas.microsoft.com/office/drawing/2014/main" id="{654CB46E-57D8-4E91-908B-145B2B4D8534}"/>
              </a:ext>
            </a:extLst>
          </p:cNvPr>
          <p:cNvSpPr txBox="1"/>
          <p:nvPr/>
        </p:nvSpPr>
        <p:spPr>
          <a:xfrm>
            <a:off x="1507042" y="3297843"/>
            <a:ext cx="3119391" cy="1546577"/>
          </a:xfrm>
          <a:prstGeom prst="rect">
            <a:avLst/>
          </a:prstGeom>
          <a:noFill/>
        </p:spPr>
        <p:txBody>
          <a:bodyPr wrap="square">
            <a:spAutoFit/>
          </a:bodyPr>
          <a:lstStyle/>
          <a:p>
            <a:pPr marL="171450" indent="-171450">
              <a:buFont typeface="Tahoma" panose="020B0604030504040204" pitchFamily="34" charset="0"/>
              <a:buChar char="⁄"/>
              <a:defRPr/>
            </a:pPr>
            <a:r>
              <a:rPr lang="fr-FR" sz="1050">
                <a:solidFill>
                  <a:srgbClr val="5F5F5F"/>
                </a:solidFill>
                <a:latin typeface="Tahoma"/>
              </a:rPr>
              <a:t>Association créée par PRO-BTP et l’AFM-Téléthon, rejointe par AG2R la Mondiale, </a:t>
            </a:r>
            <a:r>
              <a:rPr lang="fr-FR" sz="1050" err="1">
                <a:solidFill>
                  <a:srgbClr val="5F5F5F"/>
                </a:solidFill>
                <a:latin typeface="Tahoma"/>
              </a:rPr>
              <a:t>Agrica</a:t>
            </a:r>
            <a:r>
              <a:rPr lang="fr-FR" sz="1050">
                <a:solidFill>
                  <a:srgbClr val="5F5F5F"/>
                </a:solidFill>
                <a:latin typeface="Tahoma"/>
              </a:rPr>
              <a:t>, Audiens, Lourmel, Apicil, Klesia en tant que membres fondateurs</a:t>
            </a:r>
          </a:p>
          <a:p>
            <a:pPr marL="171450" indent="-171450">
              <a:buFont typeface="Tahoma" panose="020B0604030504040204" pitchFamily="34" charset="0"/>
              <a:buChar char="⁄"/>
              <a:defRPr/>
            </a:pPr>
            <a:endParaRPr lang="fr-FR" sz="1050">
              <a:solidFill>
                <a:srgbClr val="5F5F5F"/>
              </a:solidFill>
              <a:latin typeface="Tahoma"/>
            </a:endParaRPr>
          </a:p>
          <a:p>
            <a:pPr marL="171450" indent="-171450" algn="just">
              <a:buFont typeface="Tahoma" panose="020B0604030504040204" pitchFamily="34" charset="0"/>
              <a:buChar char="⁄"/>
              <a:defRPr/>
            </a:pPr>
            <a:r>
              <a:rPr lang="fr-FR" sz="1050">
                <a:solidFill>
                  <a:srgbClr val="5F5F5F"/>
                </a:solidFill>
                <a:latin typeface="Tahoma"/>
              </a:rPr>
              <a:t>Partenaires : GRATH, BTP EMS, BTP Vacances, Association Française des Aidants, Loisirs Pluriels, Vacances Ouvertes, CNSA, AGIRC/ARRCO</a:t>
            </a:r>
          </a:p>
        </p:txBody>
      </p:sp>
      <p:sp>
        <p:nvSpPr>
          <p:cNvPr id="22" name="ZoneTexte 21">
            <a:extLst>
              <a:ext uri="{FF2B5EF4-FFF2-40B4-BE49-F238E27FC236}">
                <a16:creationId xmlns:a16="http://schemas.microsoft.com/office/drawing/2014/main" id="{1E03CC47-943D-46E9-8DB3-766108C70BE9}"/>
              </a:ext>
            </a:extLst>
          </p:cNvPr>
          <p:cNvSpPr txBox="1"/>
          <p:nvPr/>
        </p:nvSpPr>
        <p:spPr>
          <a:xfrm>
            <a:off x="7085079" y="959549"/>
            <a:ext cx="3636455" cy="2108269"/>
          </a:xfrm>
          <a:prstGeom prst="rect">
            <a:avLst/>
          </a:prstGeom>
          <a:noFill/>
        </p:spPr>
        <p:txBody>
          <a:bodyPr wrap="square">
            <a:spAutoFit/>
          </a:bodyPr>
          <a:lstStyle/>
          <a:p>
            <a:pPr>
              <a:spcAft>
                <a:spcPts val="300"/>
              </a:spcAft>
            </a:pPr>
            <a:r>
              <a:rPr lang="fr-FR" sz="1050">
                <a:solidFill>
                  <a:srgbClr val="5F5F5F"/>
                </a:solidFill>
                <a:latin typeface="Tahoma"/>
              </a:rPr>
              <a:t>Créée en 2013 par l’AFM Téléthon et PRO-BTP (groupe de protection sociale au service des professions du BTP), l’association VRF propose des séjours de répit aidants / aidés. VRF dispose de trois villages-vacances.</a:t>
            </a:r>
          </a:p>
          <a:p>
            <a:pPr>
              <a:spcAft>
                <a:spcPts val="300"/>
              </a:spcAft>
            </a:pPr>
            <a:r>
              <a:rPr lang="fr-FR" sz="1050">
                <a:solidFill>
                  <a:srgbClr val="5F5F5F"/>
                </a:solidFill>
                <a:latin typeface="Tahoma"/>
              </a:rPr>
              <a:t>Ces structures proposent : </a:t>
            </a:r>
          </a:p>
          <a:p>
            <a:pPr marL="171450" indent="-171450">
              <a:buFont typeface="Tahoma" panose="020B0604030504040204" pitchFamily="34" charset="0"/>
              <a:buChar char="⁄"/>
            </a:pPr>
            <a:r>
              <a:rPr lang="fr-FR" sz="1050">
                <a:solidFill>
                  <a:srgbClr val="5F5F5F"/>
                </a:solidFill>
                <a:latin typeface="Tahoma"/>
              </a:rPr>
              <a:t>La prise en charge de la personne accompagnée grâce à une équipe médicale dédiée (actes de la vie courante, soins médicaux), activités adaptées </a:t>
            </a:r>
          </a:p>
          <a:p>
            <a:pPr marL="171450" indent="-171450">
              <a:buFont typeface="Tahoma" panose="020B0604030504040204" pitchFamily="34" charset="0"/>
              <a:buChar char="⁄"/>
            </a:pPr>
            <a:r>
              <a:rPr lang="fr-FR" sz="1050">
                <a:solidFill>
                  <a:srgbClr val="5F5F5F"/>
                </a:solidFill>
                <a:latin typeface="Tahoma"/>
              </a:rPr>
              <a:t>L’accompagnement des aidants : accès à des activités (adaptées ou de loisirs) à réaliser seul ou avec la personne aidée, soutien psychologique</a:t>
            </a:r>
          </a:p>
          <a:p>
            <a:endParaRPr lang="fr-FR" sz="1050">
              <a:solidFill>
                <a:srgbClr val="5F5F5F"/>
              </a:solidFill>
              <a:latin typeface="Tahoma"/>
            </a:endParaRPr>
          </a:p>
        </p:txBody>
      </p:sp>
      <p:grpSp>
        <p:nvGrpSpPr>
          <p:cNvPr id="111" name="Groupe 110">
            <a:extLst>
              <a:ext uri="{FF2B5EF4-FFF2-40B4-BE49-F238E27FC236}">
                <a16:creationId xmlns:a16="http://schemas.microsoft.com/office/drawing/2014/main" id="{CB17F894-0331-4C10-951D-20467BC8947F}"/>
              </a:ext>
            </a:extLst>
          </p:cNvPr>
          <p:cNvGrpSpPr/>
          <p:nvPr/>
        </p:nvGrpSpPr>
        <p:grpSpPr>
          <a:xfrm>
            <a:off x="4726868" y="1247048"/>
            <a:ext cx="2544070" cy="1603334"/>
            <a:chOff x="6587170" y="3087071"/>
            <a:chExt cx="1958198" cy="1244392"/>
          </a:xfrm>
        </p:grpSpPr>
        <p:grpSp>
          <p:nvGrpSpPr>
            <p:cNvPr id="89" name="Group 219">
              <a:extLst>
                <a:ext uri="{FF2B5EF4-FFF2-40B4-BE49-F238E27FC236}">
                  <a16:creationId xmlns:a16="http://schemas.microsoft.com/office/drawing/2014/main" id="{23563D0E-A6E2-449B-BBEF-8098E393884C}"/>
                </a:ext>
              </a:extLst>
            </p:cNvPr>
            <p:cNvGrpSpPr>
              <a:grpSpLocks/>
            </p:cNvGrpSpPr>
            <p:nvPr/>
          </p:nvGrpSpPr>
          <p:grpSpPr bwMode="gray">
            <a:xfrm>
              <a:off x="7058874" y="3087071"/>
              <a:ext cx="1262861" cy="1244392"/>
              <a:chOff x="48" y="168"/>
              <a:chExt cx="3077" cy="3032"/>
            </a:xfrm>
            <a:solidFill>
              <a:schemeClr val="tx2"/>
            </a:solidFill>
            <a:effectLst>
              <a:outerShdw blurRad="127000" dist="50800" dir="2700000" algn="ctr" rotWithShape="0">
                <a:schemeClr val="tx1">
                  <a:alpha val="40000"/>
                </a:schemeClr>
              </a:outerShdw>
            </a:effectLst>
          </p:grpSpPr>
          <p:sp>
            <p:nvSpPr>
              <p:cNvPr id="90" name="Nord-Pas-de-Calais" descr="© INSCALE GmbH, 05.05.2010&#10;http://www.presentationload.com/">
                <a:extLst>
                  <a:ext uri="{FF2B5EF4-FFF2-40B4-BE49-F238E27FC236}">
                    <a16:creationId xmlns:a16="http://schemas.microsoft.com/office/drawing/2014/main" id="{AB720DBB-1E99-4155-8615-016531D8396C}"/>
                  </a:ext>
                </a:extLst>
              </p:cNvPr>
              <p:cNvSpPr>
                <a:spLocks/>
              </p:cNvSpPr>
              <p:nvPr/>
            </p:nvSpPr>
            <p:spPr bwMode="gray">
              <a:xfrm>
                <a:off x="1600" y="168"/>
                <a:ext cx="608" cy="383"/>
              </a:xfrm>
              <a:custGeom>
                <a:avLst/>
                <a:gdLst/>
                <a:ahLst/>
                <a:cxnLst>
                  <a:cxn ang="0">
                    <a:pos x="77" y="236"/>
                  </a:cxn>
                  <a:cxn ang="0">
                    <a:pos x="101" y="257"/>
                  </a:cxn>
                  <a:cxn ang="0">
                    <a:pos x="117" y="279"/>
                  </a:cxn>
                  <a:cxn ang="0">
                    <a:pos x="159" y="269"/>
                  </a:cxn>
                  <a:cxn ang="0">
                    <a:pos x="187" y="273"/>
                  </a:cxn>
                  <a:cxn ang="0">
                    <a:pos x="173" y="309"/>
                  </a:cxn>
                  <a:cxn ang="0">
                    <a:pos x="208" y="304"/>
                  </a:cxn>
                  <a:cxn ang="0">
                    <a:pos x="232" y="300"/>
                  </a:cxn>
                  <a:cxn ang="0">
                    <a:pos x="244" y="323"/>
                  </a:cxn>
                  <a:cxn ang="0">
                    <a:pos x="272" y="324"/>
                  </a:cxn>
                  <a:cxn ang="0">
                    <a:pos x="279" y="321"/>
                  </a:cxn>
                  <a:cxn ang="0">
                    <a:pos x="343" y="329"/>
                  </a:cxn>
                  <a:cxn ang="0">
                    <a:pos x="364" y="327"/>
                  </a:cxn>
                  <a:cxn ang="0">
                    <a:pos x="440" y="317"/>
                  </a:cxn>
                  <a:cxn ang="0">
                    <a:pos x="473" y="333"/>
                  </a:cxn>
                  <a:cxn ang="0">
                    <a:pos x="492" y="335"/>
                  </a:cxn>
                  <a:cxn ang="0">
                    <a:pos x="548" y="320"/>
                  </a:cxn>
                  <a:cxn ang="0">
                    <a:pos x="556" y="283"/>
                  </a:cxn>
                  <a:cxn ang="0">
                    <a:pos x="545" y="269"/>
                  </a:cxn>
                  <a:cxn ang="0">
                    <a:pos x="559" y="243"/>
                  </a:cxn>
                  <a:cxn ang="0">
                    <a:pos x="543" y="243"/>
                  </a:cxn>
                  <a:cxn ang="0">
                    <a:pos x="517" y="215"/>
                  </a:cxn>
                  <a:cxn ang="0">
                    <a:pos x="500" y="219"/>
                  </a:cxn>
                  <a:cxn ang="0">
                    <a:pos x="486" y="217"/>
                  </a:cxn>
                  <a:cxn ang="0">
                    <a:pos x="452" y="228"/>
                  </a:cxn>
                  <a:cxn ang="0">
                    <a:pos x="442" y="201"/>
                  </a:cxn>
                  <a:cxn ang="0">
                    <a:pos x="436" y="174"/>
                  </a:cxn>
                  <a:cxn ang="0">
                    <a:pos x="409" y="165"/>
                  </a:cxn>
                  <a:cxn ang="0">
                    <a:pos x="362" y="157"/>
                  </a:cxn>
                  <a:cxn ang="0">
                    <a:pos x="353" y="124"/>
                  </a:cxn>
                  <a:cxn ang="0">
                    <a:pos x="350" y="110"/>
                  </a:cxn>
                  <a:cxn ang="0">
                    <a:pos x="325" y="90"/>
                  </a:cxn>
                  <a:cxn ang="0">
                    <a:pos x="283" y="114"/>
                  </a:cxn>
                  <a:cxn ang="0">
                    <a:pos x="262" y="106"/>
                  </a:cxn>
                  <a:cxn ang="0">
                    <a:pos x="245" y="76"/>
                  </a:cxn>
                  <a:cxn ang="0">
                    <a:pos x="221" y="67"/>
                  </a:cxn>
                  <a:cxn ang="0">
                    <a:pos x="224" y="42"/>
                  </a:cxn>
                  <a:cxn ang="0">
                    <a:pos x="212" y="9"/>
                  </a:cxn>
                  <a:cxn ang="0">
                    <a:pos x="157" y="7"/>
                  </a:cxn>
                  <a:cxn ang="0">
                    <a:pos x="54" y="31"/>
                  </a:cxn>
                  <a:cxn ang="0">
                    <a:pos x="7" y="57"/>
                  </a:cxn>
                  <a:cxn ang="0">
                    <a:pos x="5" y="106"/>
                  </a:cxn>
                  <a:cxn ang="0">
                    <a:pos x="4" y="192"/>
                  </a:cxn>
                  <a:cxn ang="0">
                    <a:pos x="1" y="228"/>
                  </a:cxn>
                  <a:cxn ang="0">
                    <a:pos x="12" y="235"/>
                  </a:cxn>
                  <a:cxn ang="0">
                    <a:pos x="65" y="237"/>
                  </a:cxn>
                </a:cxnLst>
                <a:rect l="0" t="0" r="r" b="b"/>
                <a:pathLst>
                  <a:path w="564" h="355">
                    <a:moveTo>
                      <a:pt x="65" y="237"/>
                    </a:moveTo>
                    <a:cubicBezTo>
                      <a:pt x="77" y="236"/>
                      <a:pt x="77" y="236"/>
                      <a:pt x="77" y="236"/>
                    </a:cubicBezTo>
                    <a:cubicBezTo>
                      <a:pt x="79" y="247"/>
                      <a:pt x="79" y="247"/>
                      <a:pt x="79" y="247"/>
                    </a:cubicBezTo>
                    <a:cubicBezTo>
                      <a:pt x="101" y="257"/>
                      <a:pt x="101" y="257"/>
                      <a:pt x="101" y="257"/>
                    </a:cubicBezTo>
                    <a:cubicBezTo>
                      <a:pt x="109" y="275"/>
                      <a:pt x="109" y="275"/>
                      <a:pt x="109" y="275"/>
                    </a:cubicBezTo>
                    <a:cubicBezTo>
                      <a:pt x="117" y="279"/>
                      <a:pt x="117" y="279"/>
                      <a:pt x="117" y="279"/>
                    </a:cubicBezTo>
                    <a:cubicBezTo>
                      <a:pt x="143" y="265"/>
                      <a:pt x="143" y="265"/>
                      <a:pt x="143" y="265"/>
                    </a:cubicBezTo>
                    <a:cubicBezTo>
                      <a:pt x="159" y="269"/>
                      <a:pt x="159" y="269"/>
                      <a:pt x="159" y="269"/>
                    </a:cubicBezTo>
                    <a:cubicBezTo>
                      <a:pt x="180" y="263"/>
                      <a:pt x="180" y="263"/>
                      <a:pt x="180" y="263"/>
                    </a:cubicBezTo>
                    <a:cubicBezTo>
                      <a:pt x="187" y="273"/>
                      <a:pt x="187" y="273"/>
                      <a:pt x="187" y="273"/>
                    </a:cubicBezTo>
                    <a:cubicBezTo>
                      <a:pt x="187" y="273"/>
                      <a:pt x="163" y="293"/>
                      <a:pt x="163" y="304"/>
                    </a:cubicBezTo>
                    <a:cubicBezTo>
                      <a:pt x="163" y="315"/>
                      <a:pt x="173" y="309"/>
                      <a:pt x="173" y="309"/>
                    </a:cubicBezTo>
                    <a:cubicBezTo>
                      <a:pt x="173" y="309"/>
                      <a:pt x="193" y="289"/>
                      <a:pt x="193" y="300"/>
                    </a:cubicBezTo>
                    <a:cubicBezTo>
                      <a:pt x="193" y="300"/>
                      <a:pt x="208" y="297"/>
                      <a:pt x="208" y="304"/>
                    </a:cubicBezTo>
                    <a:cubicBezTo>
                      <a:pt x="208" y="311"/>
                      <a:pt x="227" y="313"/>
                      <a:pt x="227" y="313"/>
                    </a:cubicBezTo>
                    <a:cubicBezTo>
                      <a:pt x="232" y="300"/>
                      <a:pt x="232" y="300"/>
                      <a:pt x="232" y="300"/>
                    </a:cubicBezTo>
                    <a:cubicBezTo>
                      <a:pt x="248" y="303"/>
                      <a:pt x="248" y="303"/>
                      <a:pt x="248" y="303"/>
                    </a:cubicBezTo>
                    <a:cubicBezTo>
                      <a:pt x="244" y="323"/>
                      <a:pt x="244" y="323"/>
                      <a:pt x="244" y="323"/>
                    </a:cubicBezTo>
                    <a:cubicBezTo>
                      <a:pt x="263" y="313"/>
                      <a:pt x="263" y="313"/>
                      <a:pt x="263" y="313"/>
                    </a:cubicBezTo>
                    <a:cubicBezTo>
                      <a:pt x="272" y="324"/>
                      <a:pt x="272" y="324"/>
                      <a:pt x="272" y="324"/>
                    </a:cubicBezTo>
                    <a:cubicBezTo>
                      <a:pt x="265" y="332"/>
                      <a:pt x="265" y="332"/>
                      <a:pt x="265" y="332"/>
                    </a:cubicBezTo>
                    <a:cubicBezTo>
                      <a:pt x="279" y="321"/>
                      <a:pt x="279" y="321"/>
                      <a:pt x="279" y="321"/>
                    </a:cubicBezTo>
                    <a:cubicBezTo>
                      <a:pt x="313" y="321"/>
                      <a:pt x="313" y="321"/>
                      <a:pt x="313" y="321"/>
                    </a:cubicBezTo>
                    <a:cubicBezTo>
                      <a:pt x="313" y="321"/>
                      <a:pt x="320" y="341"/>
                      <a:pt x="343" y="329"/>
                    </a:cubicBezTo>
                    <a:cubicBezTo>
                      <a:pt x="348" y="331"/>
                      <a:pt x="348" y="335"/>
                      <a:pt x="348" y="335"/>
                    </a:cubicBezTo>
                    <a:cubicBezTo>
                      <a:pt x="348" y="335"/>
                      <a:pt x="359" y="339"/>
                      <a:pt x="364" y="327"/>
                    </a:cubicBezTo>
                    <a:cubicBezTo>
                      <a:pt x="364" y="327"/>
                      <a:pt x="400" y="337"/>
                      <a:pt x="404" y="319"/>
                    </a:cubicBezTo>
                    <a:cubicBezTo>
                      <a:pt x="403" y="323"/>
                      <a:pt x="413" y="339"/>
                      <a:pt x="440" y="317"/>
                    </a:cubicBezTo>
                    <a:cubicBezTo>
                      <a:pt x="473" y="327"/>
                      <a:pt x="473" y="327"/>
                      <a:pt x="473" y="327"/>
                    </a:cubicBezTo>
                    <a:cubicBezTo>
                      <a:pt x="473" y="333"/>
                      <a:pt x="473" y="333"/>
                      <a:pt x="473" y="333"/>
                    </a:cubicBezTo>
                    <a:cubicBezTo>
                      <a:pt x="492" y="321"/>
                      <a:pt x="492" y="321"/>
                      <a:pt x="492" y="321"/>
                    </a:cubicBezTo>
                    <a:cubicBezTo>
                      <a:pt x="492" y="335"/>
                      <a:pt x="492" y="335"/>
                      <a:pt x="492" y="335"/>
                    </a:cubicBezTo>
                    <a:cubicBezTo>
                      <a:pt x="492" y="335"/>
                      <a:pt x="522" y="355"/>
                      <a:pt x="554" y="333"/>
                    </a:cubicBezTo>
                    <a:cubicBezTo>
                      <a:pt x="551" y="330"/>
                      <a:pt x="549" y="325"/>
                      <a:pt x="548" y="320"/>
                    </a:cubicBezTo>
                    <a:cubicBezTo>
                      <a:pt x="547" y="313"/>
                      <a:pt x="558" y="305"/>
                      <a:pt x="561" y="303"/>
                    </a:cubicBezTo>
                    <a:cubicBezTo>
                      <a:pt x="564" y="301"/>
                      <a:pt x="556" y="283"/>
                      <a:pt x="556" y="283"/>
                    </a:cubicBezTo>
                    <a:cubicBezTo>
                      <a:pt x="556" y="283"/>
                      <a:pt x="553" y="283"/>
                      <a:pt x="547" y="283"/>
                    </a:cubicBezTo>
                    <a:cubicBezTo>
                      <a:pt x="541" y="283"/>
                      <a:pt x="545" y="269"/>
                      <a:pt x="545" y="269"/>
                    </a:cubicBezTo>
                    <a:cubicBezTo>
                      <a:pt x="547" y="260"/>
                      <a:pt x="547" y="260"/>
                      <a:pt x="547" y="260"/>
                    </a:cubicBezTo>
                    <a:cubicBezTo>
                      <a:pt x="547" y="260"/>
                      <a:pt x="558" y="246"/>
                      <a:pt x="559" y="243"/>
                    </a:cubicBezTo>
                    <a:cubicBezTo>
                      <a:pt x="560" y="240"/>
                      <a:pt x="554" y="236"/>
                      <a:pt x="554" y="236"/>
                    </a:cubicBezTo>
                    <a:cubicBezTo>
                      <a:pt x="543" y="243"/>
                      <a:pt x="543" y="243"/>
                      <a:pt x="543" y="243"/>
                    </a:cubicBezTo>
                    <a:cubicBezTo>
                      <a:pt x="542" y="233"/>
                      <a:pt x="542" y="233"/>
                      <a:pt x="542" y="233"/>
                    </a:cubicBezTo>
                    <a:cubicBezTo>
                      <a:pt x="517" y="215"/>
                      <a:pt x="517" y="215"/>
                      <a:pt x="517" y="215"/>
                    </a:cubicBezTo>
                    <a:cubicBezTo>
                      <a:pt x="514" y="219"/>
                      <a:pt x="514" y="219"/>
                      <a:pt x="514" y="219"/>
                    </a:cubicBezTo>
                    <a:cubicBezTo>
                      <a:pt x="500" y="219"/>
                      <a:pt x="500" y="219"/>
                      <a:pt x="500" y="219"/>
                    </a:cubicBezTo>
                    <a:cubicBezTo>
                      <a:pt x="493" y="225"/>
                      <a:pt x="493" y="225"/>
                      <a:pt x="493" y="225"/>
                    </a:cubicBezTo>
                    <a:cubicBezTo>
                      <a:pt x="486" y="217"/>
                      <a:pt x="486" y="217"/>
                      <a:pt x="486" y="217"/>
                    </a:cubicBezTo>
                    <a:cubicBezTo>
                      <a:pt x="460" y="216"/>
                      <a:pt x="460" y="216"/>
                      <a:pt x="460" y="216"/>
                    </a:cubicBezTo>
                    <a:cubicBezTo>
                      <a:pt x="452" y="228"/>
                      <a:pt x="452" y="228"/>
                      <a:pt x="452" y="228"/>
                    </a:cubicBezTo>
                    <a:cubicBezTo>
                      <a:pt x="443" y="216"/>
                      <a:pt x="443" y="216"/>
                      <a:pt x="443" y="216"/>
                    </a:cubicBezTo>
                    <a:cubicBezTo>
                      <a:pt x="442" y="201"/>
                      <a:pt x="442" y="201"/>
                      <a:pt x="442" y="201"/>
                    </a:cubicBezTo>
                    <a:cubicBezTo>
                      <a:pt x="449" y="195"/>
                      <a:pt x="449" y="195"/>
                      <a:pt x="449" y="195"/>
                    </a:cubicBezTo>
                    <a:cubicBezTo>
                      <a:pt x="436" y="174"/>
                      <a:pt x="436" y="174"/>
                      <a:pt x="436" y="174"/>
                    </a:cubicBezTo>
                    <a:cubicBezTo>
                      <a:pt x="410" y="172"/>
                      <a:pt x="410" y="172"/>
                      <a:pt x="410" y="172"/>
                    </a:cubicBezTo>
                    <a:cubicBezTo>
                      <a:pt x="409" y="165"/>
                      <a:pt x="409" y="165"/>
                      <a:pt x="409" y="165"/>
                    </a:cubicBezTo>
                    <a:cubicBezTo>
                      <a:pt x="409" y="165"/>
                      <a:pt x="390" y="174"/>
                      <a:pt x="383" y="174"/>
                    </a:cubicBezTo>
                    <a:cubicBezTo>
                      <a:pt x="376" y="174"/>
                      <a:pt x="362" y="157"/>
                      <a:pt x="362" y="157"/>
                    </a:cubicBezTo>
                    <a:cubicBezTo>
                      <a:pt x="362" y="141"/>
                      <a:pt x="362" y="141"/>
                      <a:pt x="362" y="141"/>
                    </a:cubicBezTo>
                    <a:cubicBezTo>
                      <a:pt x="353" y="124"/>
                      <a:pt x="353" y="124"/>
                      <a:pt x="353" y="124"/>
                    </a:cubicBezTo>
                    <a:cubicBezTo>
                      <a:pt x="353" y="124"/>
                      <a:pt x="360" y="119"/>
                      <a:pt x="359" y="116"/>
                    </a:cubicBezTo>
                    <a:cubicBezTo>
                      <a:pt x="358" y="113"/>
                      <a:pt x="350" y="110"/>
                      <a:pt x="350" y="110"/>
                    </a:cubicBezTo>
                    <a:cubicBezTo>
                      <a:pt x="335" y="85"/>
                      <a:pt x="335" y="85"/>
                      <a:pt x="335" y="85"/>
                    </a:cubicBezTo>
                    <a:cubicBezTo>
                      <a:pt x="325" y="90"/>
                      <a:pt x="325" y="90"/>
                      <a:pt x="325" y="90"/>
                    </a:cubicBezTo>
                    <a:cubicBezTo>
                      <a:pt x="325" y="90"/>
                      <a:pt x="291" y="99"/>
                      <a:pt x="291" y="106"/>
                    </a:cubicBezTo>
                    <a:cubicBezTo>
                      <a:pt x="291" y="113"/>
                      <a:pt x="283" y="114"/>
                      <a:pt x="283" y="114"/>
                    </a:cubicBezTo>
                    <a:cubicBezTo>
                      <a:pt x="273" y="106"/>
                      <a:pt x="273" y="106"/>
                      <a:pt x="273" y="106"/>
                    </a:cubicBezTo>
                    <a:cubicBezTo>
                      <a:pt x="262" y="106"/>
                      <a:pt x="262" y="106"/>
                      <a:pt x="262" y="106"/>
                    </a:cubicBezTo>
                    <a:cubicBezTo>
                      <a:pt x="262" y="106"/>
                      <a:pt x="253" y="99"/>
                      <a:pt x="253" y="95"/>
                    </a:cubicBezTo>
                    <a:cubicBezTo>
                      <a:pt x="253" y="91"/>
                      <a:pt x="245" y="76"/>
                      <a:pt x="245" y="76"/>
                    </a:cubicBezTo>
                    <a:cubicBezTo>
                      <a:pt x="231" y="77"/>
                      <a:pt x="231" y="77"/>
                      <a:pt x="231" y="77"/>
                    </a:cubicBezTo>
                    <a:cubicBezTo>
                      <a:pt x="221" y="67"/>
                      <a:pt x="221" y="67"/>
                      <a:pt x="221" y="67"/>
                    </a:cubicBezTo>
                    <a:cubicBezTo>
                      <a:pt x="223" y="56"/>
                      <a:pt x="223" y="56"/>
                      <a:pt x="223" y="56"/>
                    </a:cubicBezTo>
                    <a:cubicBezTo>
                      <a:pt x="223" y="56"/>
                      <a:pt x="221" y="42"/>
                      <a:pt x="224" y="42"/>
                    </a:cubicBezTo>
                    <a:cubicBezTo>
                      <a:pt x="227" y="42"/>
                      <a:pt x="221" y="27"/>
                      <a:pt x="221" y="27"/>
                    </a:cubicBezTo>
                    <a:cubicBezTo>
                      <a:pt x="221" y="27"/>
                      <a:pt x="212" y="15"/>
                      <a:pt x="212" y="9"/>
                    </a:cubicBezTo>
                    <a:cubicBezTo>
                      <a:pt x="212" y="3"/>
                      <a:pt x="207" y="0"/>
                      <a:pt x="207" y="0"/>
                    </a:cubicBezTo>
                    <a:cubicBezTo>
                      <a:pt x="207" y="0"/>
                      <a:pt x="174" y="6"/>
                      <a:pt x="157" y="7"/>
                    </a:cubicBezTo>
                    <a:cubicBezTo>
                      <a:pt x="140" y="8"/>
                      <a:pt x="143" y="8"/>
                      <a:pt x="115" y="17"/>
                    </a:cubicBezTo>
                    <a:cubicBezTo>
                      <a:pt x="87" y="26"/>
                      <a:pt x="75" y="27"/>
                      <a:pt x="54" y="31"/>
                    </a:cubicBezTo>
                    <a:cubicBezTo>
                      <a:pt x="33" y="35"/>
                      <a:pt x="26" y="54"/>
                      <a:pt x="26" y="54"/>
                    </a:cubicBezTo>
                    <a:cubicBezTo>
                      <a:pt x="7" y="57"/>
                      <a:pt x="7" y="57"/>
                      <a:pt x="7" y="57"/>
                    </a:cubicBezTo>
                    <a:cubicBezTo>
                      <a:pt x="7" y="57"/>
                      <a:pt x="16" y="74"/>
                      <a:pt x="15" y="87"/>
                    </a:cubicBezTo>
                    <a:cubicBezTo>
                      <a:pt x="14" y="100"/>
                      <a:pt x="5" y="100"/>
                      <a:pt x="5" y="106"/>
                    </a:cubicBezTo>
                    <a:cubicBezTo>
                      <a:pt x="5" y="112"/>
                      <a:pt x="14" y="157"/>
                      <a:pt x="14" y="157"/>
                    </a:cubicBezTo>
                    <a:cubicBezTo>
                      <a:pt x="4" y="192"/>
                      <a:pt x="4" y="192"/>
                      <a:pt x="4" y="192"/>
                    </a:cubicBezTo>
                    <a:cubicBezTo>
                      <a:pt x="4" y="192"/>
                      <a:pt x="7" y="201"/>
                      <a:pt x="12" y="203"/>
                    </a:cubicBezTo>
                    <a:cubicBezTo>
                      <a:pt x="4" y="203"/>
                      <a:pt x="0" y="217"/>
                      <a:pt x="1" y="228"/>
                    </a:cubicBezTo>
                    <a:cubicBezTo>
                      <a:pt x="2" y="239"/>
                      <a:pt x="9" y="232"/>
                      <a:pt x="9" y="232"/>
                    </a:cubicBezTo>
                    <a:cubicBezTo>
                      <a:pt x="9" y="232"/>
                      <a:pt x="10" y="233"/>
                      <a:pt x="12" y="235"/>
                    </a:cubicBezTo>
                    <a:cubicBezTo>
                      <a:pt x="21" y="231"/>
                      <a:pt x="35" y="224"/>
                      <a:pt x="39" y="224"/>
                    </a:cubicBezTo>
                    <a:cubicBezTo>
                      <a:pt x="44" y="224"/>
                      <a:pt x="65" y="237"/>
                      <a:pt x="65" y="23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91" name="Picardie" descr="© INSCALE GmbH, 05.05.2010&#10;http://www.presentationload.com/">
                <a:extLst>
                  <a:ext uri="{FF2B5EF4-FFF2-40B4-BE49-F238E27FC236}">
                    <a16:creationId xmlns:a16="http://schemas.microsoft.com/office/drawing/2014/main" id="{2A78403A-7F28-4A1F-B641-DECB4BC24BE4}"/>
                  </a:ext>
                </a:extLst>
              </p:cNvPr>
              <p:cNvSpPr>
                <a:spLocks/>
              </p:cNvSpPr>
              <p:nvPr/>
            </p:nvSpPr>
            <p:spPr bwMode="gray">
              <a:xfrm>
                <a:off x="1552" y="410"/>
                <a:ext cx="644" cy="519"/>
              </a:xfrm>
              <a:custGeom>
                <a:avLst/>
                <a:gdLst/>
                <a:ahLst/>
                <a:cxnLst>
                  <a:cxn ang="0">
                    <a:pos x="17" y="99"/>
                  </a:cxn>
                  <a:cxn ang="0">
                    <a:pos x="85" y="189"/>
                  </a:cxn>
                  <a:cxn ang="0">
                    <a:pos x="79" y="213"/>
                  </a:cxn>
                  <a:cxn ang="0">
                    <a:pos x="79" y="264"/>
                  </a:cxn>
                  <a:cxn ang="0">
                    <a:pos x="83" y="275"/>
                  </a:cxn>
                  <a:cxn ang="0">
                    <a:pos x="84" y="355"/>
                  </a:cxn>
                  <a:cxn ang="0">
                    <a:pos x="76" y="379"/>
                  </a:cxn>
                  <a:cxn ang="0">
                    <a:pos x="144" y="371"/>
                  </a:cxn>
                  <a:cxn ang="0">
                    <a:pos x="160" y="373"/>
                  </a:cxn>
                  <a:cxn ang="0">
                    <a:pos x="173" y="376"/>
                  </a:cxn>
                  <a:cxn ang="0">
                    <a:pos x="196" y="375"/>
                  </a:cxn>
                  <a:cxn ang="0">
                    <a:pos x="196" y="375"/>
                  </a:cxn>
                  <a:cxn ang="0">
                    <a:pos x="232" y="403"/>
                  </a:cxn>
                  <a:cxn ang="0">
                    <a:pos x="251" y="409"/>
                  </a:cxn>
                  <a:cxn ang="0">
                    <a:pos x="280" y="412"/>
                  </a:cxn>
                  <a:cxn ang="0">
                    <a:pos x="311" y="413"/>
                  </a:cxn>
                  <a:cxn ang="0">
                    <a:pos x="356" y="397"/>
                  </a:cxn>
                  <a:cxn ang="0">
                    <a:pos x="392" y="451"/>
                  </a:cxn>
                  <a:cxn ang="0">
                    <a:pos x="407" y="457"/>
                  </a:cxn>
                  <a:cxn ang="0">
                    <a:pos x="421" y="476"/>
                  </a:cxn>
                  <a:cxn ang="0">
                    <a:pos x="451" y="461"/>
                  </a:cxn>
                  <a:cxn ang="0">
                    <a:pos x="480" y="424"/>
                  </a:cxn>
                  <a:cxn ang="0">
                    <a:pos x="463" y="415"/>
                  </a:cxn>
                  <a:cxn ang="0">
                    <a:pos x="465" y="391"/>
                  </a:cxn>
                  <a:cxn ang="0">
                    <a:pos x="473" y="364"/>
                  </a:cxn>
                  <a:cxn ang="0">
                    <a:pos x="473" y="333"/>
                  </a:cxn>
                  <a:cxn ang="0">
                    <a:pos x="517" y="309"/>
                  </a:cxn>
                  <a:cxn ang="0">
                    <a:pos x="552" y="316"/>
                  </a:cxn>
                  <a:cxn ang="0">
                    <a:pos x="560" y="260"/>
                  </a:cxn>
                  <a:cxn ang="0">
                    <a:pos x="564" y="229"/>
                  </a:cxn>
                  <a:cxn ang="0">
                    <a:pos x="593" y="187"/>
                  </a:cxn>
                  <a:cxn ang="0">
                    <a:pos x="592" y="143"/>
                  </a:cxn>
                  <a:cxn ang="0">
                    <a:pos x="536" y="111"/>
                  </a:cxn>
                  <a:cxn ang="0">
                    <a:pos x="517" y="109"/>
                  </a:cxn>
                  <a:cxn ang="0">
                    <a:pos x="484" y="93"/>
                  </a:cxn>
                  <a:cxn ang="0">
                    <a:pos x="408" y="103"/>
                  </a:cxn>
                  <a:cxn ang="0">
                    <a:pos x="387" y="105"/>
                  </a:cxn>
                  <a:cxn ang="0">
                    <a:pos x="323" y="97"/>
                  </a:cxn>
                  <a:cxn ang="0">
                    <a:pos x="316" y="100"/>
                  </a:cxn>
                  <a:cxn ang="0">
                    <a:pos x="288" y="99"/>
                  </a:cxn>
                  <a:cxn ang="0">
                    <a:pos x="276" y="76"/>
                  </a:cxn>
                  <a:cxn ang="0">
                    <a:pos x="252" y="80"/>
                  </a:cxn>
                  <a:cxn ang="0">
                    <a:pos x="217" y="85"/>
                  </a:cxn>
                  <a:cxn ang="0">
                    <a:pos x="231" y="49"/>
                  </a:cxn>
                  <a:cxn ang="0">
                    <a:pos x="203" y="45"/>
                  </a:cxn>
                  <a:cxn ang="0">
                    <a:pos x="161" y="55"/>
                  </a:cxn>
                  <a:cxn ang="0">
                    <a:pos x="145" y="33"/>
                  </a:cxn>
                  <a:cxn ang="0">
                    <a:pos x="121" y="12"/>
                  </a:cxn>
                  <a:cxn ang="0">
                    <a:pos x="83" y="0"/>
                  </a:cxn>
                  <a:cxn ang="0">
                    <a:pos x="63" y="30"/>
                  </a:cxn>
                  <a:cxn ang="0">
                    <a:pos x="25" y="60"/>
                  </a:cxn>
                  <a:cxn ang="0">
                    <a:pos x="5" y="92"/>
                  </a:cxn>
                </a:cxnLst>
                <a:rect l="0" t="0" r="r" b="b"/>
                <a:pathLst>
                  <a:path w="597" h="481">
                    <a:moveTo>
                      <a:pt x="17" y="95"/>
                    </a:moveTo>
                    <a:cubicBezTo>
                      <a:pt x="17" y="99"/>
                      <a:pt x="17" y="99"/>
                      <a:pt x="17" y="99"/>
                    </a:cubicBezTo>
                    <a:cubicBezTo>
                      <a:pt x="17" y="99"/>
                      <a:pt x="43" y="136"/>
                      <a:pt x="61" y="139"/>
                    </a:cubicBezTo>
                    <a:cubicBezTo>
                      <a:pt x="85" y="189"/>
                      <a:pt x="85" y="189"/>
                      <a:pt x="85" y="189"/>
                    </a:cubicBezTo>
                    <a:cubicBezTo>
                      <a:pt x="85" y="189"/>
                      <a:pt x="64" y="211"/>
                      <a:pt x="68" y="212"/>
                    </a:cubicBezTo>
                    <a:cubicBezTo>
                      <a:pt x="72" y="213"/>
                      <a:pt x="79" y="213"/>
                      <a:pt x="79" y="213"/>
                    </a:cubicBezTo>
                    <a:cubicBezTo>
                      <a:pt x="69" y="244"/>
                      <a:pt x="69" y="244"/>
                      <a:pt x="69" y="244"/>
                    </a:cubicBezTo>
                    <a:cubicBezTo>
                      <a:pt x="79" y="264"/>
                      <a:pt x="79" y="264"/>
                      <a:pt x="79" y="264"/>
                    </a:cubicBezTo>
                    <a:cubicBezTo>
                      <a:pt x="73" y="276"/>
                      <a:pt x="73" y="276"/>
                      <a:pt x="73" y="276"/>
                    </a:cubicBezTo>
                    <a:cubicBezTo>
                      <a:pt x="83" y="275"/>
                      <a:pt x="83" y="275"/>
                      <a:pt x="83" y="275"/>
                    </a:cubicBezTo>
                    <a:cubicBezTo>
                      <a:pt x="73" y="303"/>
                      <a:pt x="73" y="303"/>
                      <a:pt x="73" y="303"/>
                    </a:cubicBezTo>
                    <a:cubicBezTo>
                      <a:pt x="73" y="303"/>
                      <a:pt x="85" y="340"/>
                      <a:pt x="84" y="355"/>
                    </a:cubicBezTo>
                    <a:cubicBezTo>
                      <a:pt x="65" y="349"/>
                      <a:pt x="65" y="349"/>
                      <a:pt x="65" y="349"/>
                    </a:cubicBezTo>
                    <a:cubicBezTo>
                      <a:pt x="76" y="379"/>
                      <a:pt x="76" y="379"/>
                      <a:pt x="76" y="379"/>
                    </a:cubicBezTo>
                    <a:cubicBezTo>
                      <a:pt x="128" y="375"/>
                      <a:pt x="128" y="375"/>
                      <a:pt x="128" y="375"/>
                    </a:cubicBezTo>
                    <a:cubicBezTo>
                      <a:pt x="144" y="371"/>
                      <a:pt x="144" y="371"/>
                      <a:pt x="144" y="371"/>
                    </a:cubicBezTo>
                    <a:cubicBezTo>
                      <a:pt x="151" y="376"/>
                      <a:pt x="151" y="376"/>
                      <a:pt x="151" y="376"/>
                    </a:cubicBezTo>
                    <a:cubicBezTo>
                      <a:pt x="160" y="373"/>
                      <a:pt x="160" y="373"/>
                      <a:pt x="160" y="373"/>
                    </a:cubicBezTo>
                    <a:cubicBezTo>
                      <a:pt x="169" y="383"/>
                      <a:pt x="169" y="383"/>
                      <a:pt x="169" y="383"/>
                    </a:cubicBezTo>
                    <a:cubicBezTo>
                      <a:pt x="173" y="376"/>
                      <a:pt x="173" y="376"/>
                      <a:pt x="173" y="376"/>
                    </a:cubicBezTo>
                    <a:cubicBezTo>
                      <a:pt x="177" y="384"/>
                      <a:pt x="177" y="384"/>
                      <a:pt x="177" y="384"/>
                    </a:cubicBezTo>
                    <a:cubicBezTo>
                      <a:pt x="196" y="375"/>
                      <a:pt x="196" y="375"/>
                      <a:pt x="196" y="375"/>
                    </a:cubicBezTo>
                    <a:cubicBezTo>
                      <a:pt x="197" y="375"/>
                      <a:pt x="197" y="375"/>
                      <a:pt x="197" y="375"/>
                    </a:cubicBezTo>
                    <a:cubicBezTo>
                      <a:pt x="196" y="375"/>
                      <a:pt x="196" y="375"/>
                      <a:pt x="196" y="375"/>
                    </a:cubicBezTo>
                    <a:cubicBezTo>
                      <a:pt x="194" y="376"/>
                      <a:pt x="190" y="380"/>
                      <a:pt x="203" y="383"/>
                    </a:cubicBezTo>
                    <a:cubicBezTo>
                      <a:pt x="219" y="387"/>
                      <a:pt x="237" y="399"/>
                      <a:pt x="232" y="403"/>
                    </a:cubicBezTo>
                    <a:cubicBezTo>
                      <a:pt x="227" y="407"/>
                      <a:pt x="245" y="399"/>
                      <a:pt x="245" y="399"/>
                    </a:cubicBezTo>
                    <a:cubicBezTo>
                      <a:pt x="251" y="409"/>
                      <a:pt x="251" y="409"/>
                      <a:pt x="251" y="409"/>
                    </a:cubicBezTo>
                    <a:cubicBezTo>
                      <a:pt x="251" y="409"/>
                      <a:pt x="253" y="397"/>
                      <a:pt x="260" y="401"/>
                    </a:cubicBezTo>
                    <a:cubicBezTo>
                      <a:pt x="267" y="405"/>
                      <a:pt x="272" y="409"/>
                      <a:pt x="280" y="412"/>
                    </a:cubicBezTo>
                    <a:cubicBezTo>
                      <a:pt x="288" y="415"/>
                      <a:pt x="297" y="405"/>
                      <a:pt x="297" y="405"/>
                    </a:cubicBezTo>
                    <a:cubicBezTo>
                      <a:pt x="311" y="413"/>
                      <a:pt x="311" y="413"/>
                      <a:pt x="311" y="413"/>
                    </a:cubicBezTo>
                    <a:cubicBezTo>
                      <a:pt x="349" y="403"/>
                      <a:pt x="349" y="403"/>
                      <a:pt x="349" y="403"/>
                    </a:cubicBezTo>
                    <a:cubicBezTo>
                      <a:pt x="356" y="397"/>
                      <a:pt x="356" y="397"/>
                      <a:pt x="356" y="397"/>
                    </a:cubicBezTo>
                    <a:cubicBezTo>
                      <a:pt x="356" y="397"/>
                      <a:pt x="380" y="399"/>
                      <a:pt x="376" y="431"/>
                    </a:cubicBezTo>
                    <a:cubicBezTo>
                      <a:pt x="377" y="436"/>
                      <a:pt x="393" y="443"/>
                      <a:pt x="392" y="451"/>
                    </a:cubicBezTo>
                    <a:cubicBezTo>
                      <a:pt x="391" y="459"/>
                      <a:pt x="404" y="449"/>
                      <a:pt x="404" y="449"/>
                    </a:cubicBezTo>
                    <a:cubicBezTo>
                      <a:pt x="407" y="457"/>
                      <a:pt x="407" y="457"/>
                      <a:pt x="407" y="457"/>
                    </a:cubicBezTo>
                    <a:cubicBezTo>
                      <a:pt x="417" y="457"/>
                      <a:pt x="417" y="457"/>
                      <a:pt x="417" y="457"/>
                    </a:cubicBezTo>
                    <a:cubicBezTo>
                      <a:pt x="417" y="457"/>
                      <a:pt x="417" y="476"/>
                      <a:pt x="421" y="476"/>
                    </a:cubicBezTo>
                    <a:cubicBezTo>
                      <a:pt x="425" y="476"/>
                      <a:pt x="441" y="481"/>
                      <a:pt x="441" y="481"/>
                    </a:cubicBezTo>
                    <a:cubicBezTo>
                      <a:pt x="451" y="461"/>
                      <a:pt x="451" y="461"/>
                      <a:pt x="451" y="461"/>
                    </a:cubicBezTo>
                    <a:cubicBezTo>
                      <a:pt x="457" y="459"/>
                      <a:pt x="457" y="459"/>
                      <a:pt x="457" y="459"/>
                    </a:cubicBezTo>
                    <a:cubicBezTo>
                      <a:pt x="457" y="459"/>
                      <a:pt x="487" y="429"/>
                      <a:pt x="480" y="424"/>
                    </a:cubicBezTo>
                    <a:cubicBezTo>
                      <a:pt x="473" y="419"/>
                      <a:pt x="461" y="420"/>
                      <a:pt x="461" y="420"/>
                    </a:cubicBezTo>
                    <a:cubicBezTo>
                      <a:pt x="463" y="415"/>
                      <a:pt x="463" y="415"/>
                      <a:pt x="463" y="415"/>
                    </a:cubicBezTo>
                    <a:cubicBezTo>
                      <a:pt x="471" y="408"/>
                      <a:pt x="471" y="408"/>
                      <a:pt x="471" y="408"/>
                    </a:cubicBezTo>
                    <a:cubicBezTo>
                      <a:pt x="471" y="408"/>
                      <a:pt x="463" y="396"/>
                      <a:pt x="465" y="391"/>
                    </a:cubicBezTo>
                    <a:cubicBezTo>
                      <a:pt x="468" y="385"/>
                      <a:pt x="492" y="380"/>
                      <a:pt x="492" y="380"/>
                    </a:cubicBezTo>
                    <a:cubicBezTo>
                      <a:pt x="473" y="364"/>
                      <a:pt x="473" y="364"/>
                      <a:pt x="473" y="364"/>
                    </a:cubicBezTo>
                    <a:cubicBezTo>
                      <a:pt x="479" y="353"/>
                      <a:pt x="479" y="353"/>
                      <a:pt x="479" y="353"/>
                    </a:cubicBezTo>
                    <a:cubicBezTo>
                      <a:pt x="473" y="333"/>
                      <a:pt x="473" y="333"/>
                      <a:pt x="473" y="333"/>
                    </a:cubicBezTo>
                    <a:cubicBezTo>
                      <a:pt x="473" y="333"/>
                      <a:pt x="495" y="315"/>
                      <a:pt x="512" y="320"/>
                    </a:cubicBezTo>
                    <a:cubicBezTo>
                      <a:pt x="516" y="319"/>
                      <a:pt x="517" y="309"/>
                      <a:pt x="517" y="309"/>
                    </a:cubicBezTo>
                    <a:cubicBezTo>
                      <a:pt x="528" y="303"/>
                      <a:pt x="528" y="303"/>
                      <a:pt x="528" y="303"/>
                    </a:cubicBezTo>
                    <a:cubicBezTo>
                      <a:pt x="528" y="303"/>
                      <a:pt x="547" y="316"/>
                      <a:pt x="552" y="316"/>
                    </a:cubicBezTo>
                    <a:cubicBezTo>
                      <a:pt x="557" y="316"/>
                      <a:pt x="552" y="267"/>
                      <a:pt x="552" y="267"/>
                    </a:cubicBezTo>
                    <a:cubicBezTo>
                      <a:pt x="560" y="260"/>
                      <a:pt x="560" y="260"/>
                      <a:pt x="560" y="260"/>
                    </a:cubicBezTo>
                    <a:cubicBezTo>
                      <a:pt x="548" y="231"/>
                      <a:pt x="548" y="231"/>
                      <a:pt x="548" y="231"/>
                    </a:cubicBezTo>
                    <a:cubicBezTo>
                      <a:pt x="564" y="229"/>
                      <a:pt x="564" y="229"/>
                      <a:pt x="564" y="229"/>
                    </a:cubicBezTo>
                    <a:cubicBezTo>
                      <a:pt x="571" y="215"/>
                      <a:pt x="571" y="215"/>
                      <a:pt x="571" y="215"/>
                    </a:cubicBezTo>
                    <a:cubicBezTo>
                      <a:pt x="593" y="187"/>
                      <a:pt x="593" y="187"/>
                      <a:pt x="593" y="187"/>
                    </a:cubicBezTo>
                    <a:cubicBezTo>
                      <a:pt x="587" y="180"/>
                      <a:pt x="587" y="180"/>
                      <a:pt x="587" y="180"/>
                    </a:cubicBezTo>
                    <a:cubicBezTo>
                      <a:pt x="592" y="143"/>
                      <a:pt x="592" y="143"/>
                      <a:pt x="592" y="143"/>
                    </a:cubicBezTo>
                    <a:cubicBezTo>
                      <a:pt x="592" y="143"/>
                      <a:pt x="583" y="130"/>
                      <a:pt x="597" y="110"/>
                    </a:cubicBezTo>
                    <a:cubicBezTo>
                      <a:pt x="566" y="131"/>
                      <a:pt x="536" y="111"/>
                      <a:pt x="536" y="111"/>
                    </a:cubicBezTo>
                    <a:cubicBezTo>
                      <a:pt x="536" y="97"/>
                      <a:pt x="536" y="97"/>
                      <a:pt x="536" y="97"/>
                    </a:cubicBezTo>
                    <a:cubicBezTo>
                      <a:pt x="517" y="109"/>
                      <a:pt x="517" y="109"/>
                      <a:pt x="517" y="109"/>
                    </a:cubicBezTo>
                    <a:cubicBezTo>
                      <a:pt x="517" y="103"/>
                      <a:pt x="517" y="103"/>
                      <a:pt x="517" y="103"/>
                    </a:cubicBezTo>
                    <a:cubicBezTo>
                      <a:pt x="484" y="93"/>
                      <a:pt x="484" y="93"/>
                      <a:pt x="484" y="93"/>
                    </a:cubicBezTo>
                    <a:cubicBezTo>
                      <a:pt x="457" y="115"/>
                      <a:pt x="447" y="99"/>
                      <a:pt x="448" y="95"/>
                    </a:cubicBezTo>
                    <a:cubicBezTo>
                      <a:pt x="444" y="113"/>
                      <a:pt x="408" y="103"/>
                      <a:pt x="408" y="103"/>
                    </a:cubicBezTo>
                    <a:cubicBezTo>
                      <a:pt x="403" y="115"/>
                      <a:pt x="392" y="111"/>
                      <a:pt x="392" y="111"/>
                    </a:cubicBezTo>
                    <a:cubicBezTo>
                      <a:pt x="392" y="111"/>
                      <a:pt x="392" y="107"/>
                      <a:pt x="387" y="105"/>
                    </a:cubicBezTo>
                    <a:cubicBezTo>
                      <a:pt x="364" y="117"/>
                      <a:pt x="357" y="97"/>
                      <a:pt x="357" y="97"/>
                    </a:cubicBezTo>
                    <a:cubicBezTo>
                      <a:pt x="323" y="97"/>
                      <a:pt x="323" y="97"/>
                      <a:pt x="323" y="97"/>
                    </a:cubicBezTo>
                    <a:cubicBezTo>
                      <a:pt x="309" y="108"/>
                      <a:pt x="309" y="108"/>
                      <a:pt x="309" y="108"/>
                    </a:cubicBezTo>
                    <a:cubicBezTo>
                      <a:pt x="316" y="100"/>
                      <a:pt x="316" y="100"/>
                      <a:pt x="316" y="100"/>
                    </a:cubicBezTo>
                    <a:cubicBezTo>
                      <a:pt x="307" y="89"/>
                      <a:pt x="307" y="89"/>
                      <a:pt x="307" y="89"/>
                    </a:cubicBezTo>
                    <a:cubicBezTo>
                      <a:pt x="288" y="99"/>
                      <a:pt x="288" y="99"/>
                      <a:pt x="288" y="99"/>
                    </a:cubicBezTo>
                    <a:cubicBezTo>
                      <a:pt x="292" y="79"/>
                      <a:pt x="292" y="79"/>
                      <a:pt x="292" y="79"/>
                    </a:cubicBezTo>
                    <a:cubicBezTo>
                      <a:pt x="276" y="76"/>
                      <a:pt x="276" y="76"/>
                      <a:pt x="276" y="76"/>
                    </a:cubicBezTo>
                    <a:cubicBezTo>
                      <a:pt x="271" y="89"/>
                      <a:pt x="271" y="89"/>
                      <a:pt x="271" y="89"/>
                    </a:cubicBezTo>
                    <a:cubicBezTo>
                      <a:pt x="271" y="89"/>
                      <a:pt x="252" y="87"/>
                      <a:pt x="252" y="80"/>
                    </a:cubicBezTo>
                    <a:cubicBezTo>
                      <a:pt x="252" y="73"/>
                      <a:pt x="237" y="76"/>
                      <a:pt x="237" y="76"/>
                    </a:cubicBezTo>
                    <a:cubicBezTo>
                      <a:pt x="237" y="65"/>
                      <a:pt x="217" y="85"/>
                      <a:pt x="217" y="85"/>
                    </a:cubicBezTo>
                    <a:cubicBezTo>
                      <a:pt x="217" y="85"/>
                      <a:pt x="207" y="91"/>
                      <a:pt x="207" y="80"/>
                    </a:cubicBezTo>
                    <a:cubicBezTo>
                      <a:pt x="207" y="69"/>
                      <a:pt x="231" y="49"/>
                      <a:pt x="231" y="49"/>
                    </a:cubicBezTo>
                    <a:cubicBezTo>
                      <a:pt x="224" y="39"/>
                      <a:pt x="224" y="39"/>
                      <a:pt x="224" y="39"/>
                    </a:cubicBezTo>
                    <a:cubicBezTo>
                      <a:pt x="203" y="45"/>
                      <a:pt x="203" y="45"/>
                      <a:pt x="203" y="45"/>
                    </a:cubicBezTo>
                    <a:cubicBezTo>
                      <a:pt x="187" y="41"/>
                      <a:pt x="187" y="41"/>
                      <a:pt x="187" y="41"/>
                    </a:cubicBezTo>
                    <a:cubicBezTo>
                      <a:pt x="161" y="55"/>
                      <a:pt x="161" y="55"/>
                      <a:pt x="161" y="55"/>
                    </a:cubicBezTo>
                    <a:cubicBezTo>
                      <a:pt x="153" y="51"/>
                      <a:pt x="153" y="51"/>
                      <a:pt x="153" y="51"/>
                    </a:cubicBezTo>
                    <a:cubicBezTo>
                      <a:pt x="145" y="33"/>
                      <a:pt x="145" y="33"/>
                      <a:pt x="145" y="33"/>
                    </a:cubicBezTo>
                    <a:cubicBezTo>
                      <a:pt x="123" y="23"/>
                      <a:pt x="123" y="23"/>
                      <a:pt x="123" y="23"/>
                    </a:cubicBezTo>
                    <a:cubicBezTo>
                      <a:pt x="121" y="12"/>
                      <a:pt x="121" y="12"/>
                      <a:pt x="121" y="12"/>
                    </a:cubicBezTo>
                    <a:cubicBezTo>
                      <a:pt x="109" y="13"/>
                      <a:pt x="109" y="13"/>
                      <a:pt x="109" y="13"/>
                    </a:cubicBezTo>
                    <a:cubicBezTo>
                      <a:pt x="109" y="13"/>
                      <a:pt x="88" y="0"/>
                      <a:pt x="83" y="0"/>
                    </a:cubicBezTo>
                    <a:cubicBezTo>
                      <a:pt x="79" y="0"/>
                      <a:pt x="65" y="7"/>
                      <a:pt x="56" y="11"/>
                    </a:cubicBezTo>
                    <a:cubicBezTo>
                      <a:pt x="60" y="16"/>
                      <a:pt x="69" y="27"/>
                      <a:pt x="63" y="30"/>
                    </a:cubicBezTo>
                    <a:cubicBezTo>
                      <a:pt x="55" y="34"/>
                      <a:pt x="45" y="21"/>
                      <a:pt x="45" y="21"/>
                    </a:cubicBezTo>
                    <a:cubicBezTo>
                      <a:pt x="35" y="27"/>
                      <a:pt x="25" y="60"/>
                      <a:pt x="25" y="60"/>
                    </a:cubicBezTo>
                    <a:cubicBezTo>
                      <a:pt x="25" y="60"/>
                      <a:pt x="14" y="68"/>
                      <a:pt x="0" y="77"/>
                    </a:cubicBezTo>
                    <a:cubicBezTo>
                      <a:pt x="5" y="92"/>
                      <a:pt x="5" y="92"/>
                      <a:pt x="5" y="92"/>
                    </a:cubicBezTo>
                    <a:lnTo>
                      <a:pt x="17" y="95"/>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92" name="Haute Normandie" descr="© INSCALE GmbH, 05.05.2010&#10;http://www.presentationload.com/">
                <a:extLst>
                  <a:ext uri="{FF2B5EF4-FFF2-40B4-BE49-F238E27FC236}">
                    <a16:creationId xmlns:a16="http://schemas.microsoft.com/office/drawing/2014/main" id="{67DE9D41-AD0D-42D6-AE91-CBB98FF22C82}"/>
                  </a:ext>
                </a:extLst>
              </p:cNvPr>
              <p:cNvSpPr>
                <a:spLocks/>
              </p:cNvSpPr>
              <p:nvPr/>
            </p:nvSpPr>
            <p:spPr bwMode="gray">
              <a:xfrm>
                <a:off x="1259" y="493"/>
                <a:ext cx="385" cy="503"/>
              </a:xfrm>
              <a:custGeom>
                <a:avLst/>
                <a:gdLst/>
                <a:ahLst/>
                <a:cxnLst>
                  <a:cxn ang="0">
                    <a:pos x="355" y="198"/>
                  </a:cxn>
                  <a:cxn ang="0">
                    <a:pos x="345" y="199"/>
                  </a:cxn>
                  <a:cxn ang="0">
                    <a:pos x="351" y="187"/>
                  </a:cxn>
                  <a:cxn ang="0">
                    <a:pos x="341" y="167"/>
                  </a:cxn>
                  <a:cxn ang="0">
                    <a:pos x="351" y="136"/>
                  </a:cxn>
                  <a:cxn ang="0">
                    <a:pos x="340" y="135"/>
                  </a:cxn>
                  <a:cxn ang="0">
                    <a:pos x="357" y="112"/>
                  </a:cxn>
                  <a:cxn ang="0">
                    <a:pos x="333" y="62"/>
                  </a:cxn>
                  <a:cxn ang="0">
                    <a:pos x="289" y="22"/>
                  </a:cxn>
                  <a:cxn ang="0">
                    <a:pos x="289" y="18"/>
                  </a:cxn>
                  <a:cxn ang="0">
                    <a:pos x="277" y="15"/>
                  </a:cxn>
                  <a:cxn ang="0">
                    <a:pos x="272" y="0"/>
                  </a:cxn>
                  <a:cxn ang="0">
                    <a:pos x="220" y="29"/>
                  </a:cxn>
                  <a:cxn ang="0">
                    <a:pos x="155" y="47"/>
                  </a:cxn>
                  <a:cxn ang="0">
                    <a:pos x="108" y="50"/>
                  </a:cxn>
                  <a:cxn ang="0">
                    <a:pos x="30" y="93"/>
                  </a:cxn>
                  <a:cxn ang="0">
                    <a:pos x="0" y="150"/>
                  </a:cxn>
                  <a:cxn ang="0">
                    <a:pos x="10" y="167"/>
                  </a:cxn>
                  <a:cxn ang="0">
                    <a:pos x="39" y="178"/>
                  </a:cxn>
                  <a:cxn ang="0">
                    <a:pos x="52" y="263"/>
                  </a:cxn>
                  <a:cxn ang="0">
                    <a:pos x="53" y="271"/>
                  </a:cxn>
                  <a:cxn ang="0">
                    <a:pos x="67" y="288"/>
                  </a:cxn>
                  <a:cxn ang="0">
                    <a:pos x="67" y="303"/>
                  </a:cxn>
                  <a:cxn ang="0">
                    <a:pos x="72" y="311"/>
                  </a:cxn>
                  <a:cxn ang="0">
                    <a:pos x="71" y="331"/>
                  </a:cxn>
                  <a:cxn ang="0">
                    <a:pos x="63" y="332"/>
                  </a:cxn>
                  <a:cxn ang="0">
                    <a:pos x="72" y="344"/>
                  </a:cxn>
                  <a:cxn ang="0">
                    <a:pos x="65" y="379"/>
                  </a:cxn>
                  <a:cxn ang="0">
                    <a:pos x="72" y="388"/>
                  </a:cxn>
                  <a:cxn ang="0">
                    <a:pos x="105" y="390"/>
                  </a:cxn>
                  <a:cxn ang="0">
                    <a:pos x="112" y="410"/>
                  </a:cxn>
                  <a:cxn ang="0">
                    <a:pos x="136" y="448"/>
                  </a:cxn>
                  <a:cxn ang="0">
                    <a:pos x="139" y="459"/>
                  </a:cxn>
                  <a:cxn ang="0">
                    <a:pos x="167" y="444"/>
                  </a:cxn>
                  <a:cxn ang="0">
                    <a:pos x="201" y="434"/>
                  </a:cxn>
                  <a:cxn ang="0">
                    <a:pos x="211" y="438"/>
                  </a:cxn>
                  <a:cxn ang="0">
                    <a:pos x="212" y="427"/>
                  </a:cxn>
                  <a:cxn ang="0">
                    <a:pos x="263" y="431"/>
                  </a:cxn>
                  <a:cxn ang="0">
                    <a:pos x="268" y="408"/>
                  </a:cxn>
                  <a:cxn ang="0">
                    <a:pos x="288" y="395"/>
                  </a:cxn>
                  <a:cxn ang="0">
                    <a:pos x="288" y="383"/>
                  </a:cxn>
                  <a:cxn ang="0">
                    <a:pos x="297" y="379"/>
                  </a:cxn>
                  <a:cxn ang="0">
                    <a:pos x="284" y="343"/>
                  </a:cxn>
                  <a:cxn ang="0">
                    <a:pos x="297" y="338"/>
                  </a:cxn>
                  <a:cxn ang="0">
                    <a:pos x="295" y="331"/>
                  </a:cxn>
                  <a:cxn ang="0">
                    <a:pos x="323" y="328"/>
                  </a:cxn>
                  <a:cxn ang="0">
                    <a:pos x="340" y="281"/>
                  </a:cxn>
                  <a:cxn ang="0">
                    <a:pos x="337" y="272"/>
                  </a:cxn>
                  <a:cxn ang="0">
                    <a:pos x="354" y="277"/>
                  </a:cxn>
                  <a:cxn ang="0">
                    <a:pos x="356" y="278"/>
                  </a:cxn>
                  <a:cxn ang="0">
                    <a:pos x="356" y="277"/>
                  </a:cxn>
                  <a:cxn ang="0">
                    <a:pos x="345" y="226"/>
                  </a:cxn>
                  <a:cxn ang="0">
                    <a:pos x="355" y="198"/>
                  </a:cxn>
                </a:cxnLst>
                <a:rect l="0" t="0" r="r" b="b"/>
                <a:pathLst>
                  <a:path w="357" h="466">
                    <a:moveTo>
                      <a:pt x="355" y="198"/>
                    </a:moveTo>
                    <a:cubicBezTo>
                      <a:pt x="345" y="199"/>
                      <a:pt x="345" y="199"/>
                      <a:pt x="345" y="199"/>
                    </a:cubicBezTo>
                    <a:cubicBezTo>
                      <a:pt x="351" y="187"/>
                      <a:pt x="351" y="187"/>
                      <a:pt x="351" y="187"/>
                    </a:cubicBezTo>
                    <a:cubicBezTo>
                      <a:pt x="341" y="167"/>
                      <a:pt x="341" y="167"/>
                      <a:pt x="341" y="167"/>
                    </a:cubicBezTo>
                    <a:cubicBezTo>
                      <a:pt x="351" y="136"/>
                      <a:pt x="351" y="136"/>
                      <a:pt x="351" y="136"/>
                    </a:cubicBezTo>
                    <a:cubicBezTo>
                      <a:pt x="351" y="136"/>
                      <a:pt x="344" y="136"/>
                      <a:pt x="340" y="135"/>
                    </a:cubicBezTo>
                    <a:cubicBezTo>
                      <a:pt x="336" y="134"/>
                      <a:pt x="357" y="112"/>
                      <a:pt x="357" y="112"/>
                    </a:cubicBezTo>
                    <a:cubicBezTo>
                      <a:pt x="333" y="62"/>
                      <a:pt x="333" y="62"/>
                      <a:pt x="333" y="62"/>
                    </a:cubicBezTo>
                    <a:cubicBezTo>
                      <a:pt x="315" y="59"/>
                      <a:pt x="289" y="22"/>
                      <a:pt x="289" y="22"/>
                    </a:cubicBezTo>
                    <a:cubicBezTo>
                      <a:pt x="289" y="18"/>
                      <a:pt x="289" y="18"/>
                      <a:pt x="289" y="18"/>
                    </a:cubicBezTo>
                    <a:cubicBezTo>
                      <a:pt x="277" y="15"/>
                      <a:pt x="277" y="15"/>
                      <a:pt x="277" y="15"/>
                    </a:cubicBezTo>
                    <a:cubicBezTo>
                      <a:pt x="272" y="0"/>
                      <a:pt x="272" y="0"/>
                      <a:pt x="272" y="0"/>
                    </a:cubicBezTo>
                    <a:cubicBezTo>
                      <a:pt x="255" y="11"/>
                      <a:pt x="233" y="25"/>
                      <a:pt x="220" y="29"/>
                    </a:cubicBezTo>
                    <a:cubicBezTo>
                      <a:pt x="196" y="38"/>
                      <a:pt x="155" y="47"/>
                      <a:pt x="155" y="47"/>
                    </a:cubicBezTo>
                    <a:cubicBezTo>
                      <a:pt x="155" y="47"/>
                      <a:pt x="110" y="54"/>
                      <a:pt x="108" y="50"/>
                    </a:cubicBezTo>
                    <a:cubicBezTo>
                      <a:pt x="81" y="78"/>
                      <a:pt x="30" y="93"/>
                      <a:pt x="30" y="93"/>
                    </a:cubicBezTo>
                    <a:cubicBezTo>
                      <a:pt x="0" y="150"/>
                      <a:pt x="0" y="150"/>
                      <a:pt x="0" y="150"/>
                    </a:cubicBezTo>
                    <a:cubicBezTo>
                      <a:pt x="10" y="167"/>
                      <a:pt x="10" y="167"/>
                      <a:pt x="10" y="167"/>
                    </a:cubicBezTo>
                    <a:cubicBezTo>
                      <a:pt x="10" y="167"/>
                      <a:pt x="44" y="176"/>
                      <a:pt x="39" y="178"/>
                    </a:cubicBezTo>
                    <a:cubicBezTo>
                      <a:pt x="52" y="263"/>
                      <a:pt x="52" y="263"/>
                      <a:pt x="52" y="263"/>
                    </a:cubicBezTo>
                    <a:cubicBezTo>
                      <a:pt x="52" y="263"/>
                      <a:pt x="84" y="260"/>
                      <a:pt x="53" y="271"/>
                    </a:cubicBezTo>
                    <a:cubicBezTo>
                      <a:pt x="51" y="278"/>
                      <a:pt x="67" y="288"/>
                      <a:pt x="67" y="288"/>
                    </a:cubicBezTo>
                    <a:cubicBezTo>
                      <a:pt x="67" y="303"/>
                      <a:pt x="67" y="303"/>
                      <a:pt x="67" y="303"/>
                    </a:cubicBezTo>
                    <a:cubicBezTo>
                      <a:pt x="72" y="311"/>
                      <a:pt x="72" y="311"/>
                      <a:pt x="72" y="311"/>
                    </a:cubicBezTo>
                    <a:cubicBezTo>
                      <a:pt x="71" y="331"/>
                      <a:pt x="71" y="331"/>
                      <a:pt x="71" y="331"/>
                    </a:cubicBezTo>
                    <a:cubicBezTo>
                      <a:pt x="63" y="332"/>
                      <a:pt x="63" y="332"/>
                      <a:pt x="63" y="332"/>
                    </a:cubicBezTo>
                    <a:cubicBezTo>
                      <a:pt x="72" y="344"/>
                      <a:pt x="72" y="344"/>
                      <a:pt x="72" y="344"/>
                    </a:cubicBezTo>
                    <a:cubicBezTo>
                      <a:pt x="72" y="344"/>
                      <a:pt x="72" y="374"/>
                      <a:pt x="65" y="379"/>
                    </a:cubicBezTo>
                    <a:cubicBezTo>
                      <a:pt x="59" y="384"/>
                      <a:pt x="72" y="388"/>
                      <a:pt x="72" y="388"/>
                    </a:cubicBezTo>
                    <a:cubicBezTo>
                      <a:pt x="105" y="390"/>
                      <a:pt x="105" y="390"/>
                      <a:pt x="105" y="390"/>
                    </a:cubicBezTo>
                    <a:cubicBezTo>
                      <a:pt x="112" y="410"/>
                      <a:pt x="112" y="410"/>
                      <a:pt x="112" y="410"/>
                    </a:cubicBezTo>
                    <a:cubicBezTo>
                      <a:pt x="112" y="410"/>
                      <a:pt x="157" y="434"/>
                      <a:pt x="136" y="448"/>
                    </a:cubicBezTo>
                    <a:cubicBezTo>
                      <a:pt x="132" y="448"/>
                      <a:pt x="139" y="459"/>
                      <a:pt x="139" y="459"/>
                    </a:cubicBezTo>
                    <a:cubicBezTo>
                      <a:pt x="139" y="459"/>
                      <a:pt x="159" y="466"/>
                      <a:pt x="167" y="444"/>
                    </a:cubicBezTo>
                    <a:cubicBezTo>
                      <a:pt x="171" y="444"/>
                      <a:pt x="179" y="456"/>
                      <a:pt x="201" y="434"/>
                    </a:cubicBezTo>
                    <a:cubicBezTo>
                      <a:pt x="203" y="438"/>
                      <a:pt x="211" y="438"/>
                      <a:pt x="211" y="438"/>
                    </a:cubicBezTo>
                    <a:cubicBezTo>
                      <a:pt x="212" y="427"/>
                      <a:pt x="212" y="427"/>
                      <a:pt x="212" y="427"/>
                    </a:cubicBezTo>
                    <a:cubicBezTo>
                      <a:pt x="212" y="427"/>
                      <a:pt x="256" y="442"/>
                      <a:pt x="263" y="431"/>
                    </a:cubicBezTo>
                    <a:cubicBezTo>
                      <a:pt x="269" y="420"/>
                      <a:pt x="268" y="408"/>
                      <a:pt x="268" y="408"/>
                    </a:cubicBezTo>
                    <a:cubicBezTo>
                      <a:pt x="268" y="408"/>
                      <a:pt x="287" y="400"/>
                      <a:pt x="288" y="395"/>
                    </a:cubicBezTo>
                    <a:cubicBezTo>
                      <a:pt x="289" y="390"/>
                      <a:pt x="288" y="383"/>
                      <a:pt x="288" y="383"/>
                    </a:cubicBezTo>
                    <a:cubicBezTo>
                      <a:pt x="297" y="379"/>
                      <a:pt x="297" y="379"/>
                      <a:pt x="297" y="379"/>
                    </a:cubicBezTo>
                    <a:cubicBezTo>
                      <a:pt x="284" y="343"/>
                      <a:pt x="284" y="343"/>
                      <a:pt x="284" y="343"/>
                    </a:cubicBezTo>
                    <a:cubicBezTo>
                      <a:pt x="284" y="343"/>
                      <a:pt x="301" y="338"/>
                      <a:pt x="297" y="338"/>
                    </a:cubicBezTo>
                    <a:cubicBezTo>
                      <a:pt x="293" y="338"/>
                      <a:pt x="295" y="331"/>
                      <a:pt x="295" y="331"/>
                    </a:cubicBezTo>
                    <a:cubicBezTo>
                      <a:pt x="323" y="328"/>
                      <a:pt x="323" y="328"/>
                      <a:pt x="323" y="328"/>
                    </a:cubicBezTo>
                    <a:cubicBezTo>
                      <a:pt x="340" y="281"/>
                      <a:pt x="340" y="281"/>
                      <a:pt x="340" y="281"/>
                    </a:cubicBezTo>
                    <a:cubicBezTo>
                      <a:pt x="337" y="272"/>
                      <a:pt x="337" y="272"/>
                      <a:pt x="337" y="272"/>
                    </a:cubicBezTo>
                    <a:cubicBezTo>
                      <a:pt x="354" y="277"/>
                      <a:pt x="354" y="277"/>
                      <a:pt x="354" y="277"/>
                    </a:cubicBezTo>
                    <a:cubicBezTo>
                      <a:pt x="356" y="278"/>
                      <a:pt x="356" y="278"/>
                      <a:pt x="356" y="278"/>
                    </a:cubicBezTo>
                    <a:cubicBezTo>
                      <a:pt x="356" y="278"/>
                      <a:pt x="356" y="277"/>
                      <a:pt x="356" y="277"/>
                    </a:cubicBezTo>
                    <a:cubicBezTo>
                      <a:pt x="357" y="262"/>
                      <a:pt x="345" y="226"/>
                      <a:pt x="345" y="226"/>
                    </a:cubicBezTo>
                    <a:lnTo>
                      <a:pt x="355" y="198"/>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93" name="Ile-de-France" descr="© INSCALE GmbH, 05.05.2010&#10;http://www.presentationload.com/">
                <a:extLst>
                  <a:ext uri="{FF2B5EF4-FFF2-40B4-BE49-F238E27FC236}">
                    <a16:creationId xmlns:a16="http://schemas.microsoft.com/office/drawing/2014/main" id="{AC31993E-D426-4B7A-9900-2091A79541F4}"/>
                  </a:ext>
                </a:extLst>
              </p:cNvPr>
              <p:cNvSpPr>
                <a:spLocks/>
              </p:cNvSpPr>
              <p:nvPr/>
            </p:nvSpPr>
            <p:spPr bwMode="gray">
              <a:xfrm>
                <a:off x="1565" y="796"/>
                <a:ext cx="483" cy="386"/>
              </a:xfrm>
              <a:custGeom>
                <a:avLst/>
                <a:gdLst/>
                <a:ahLst/>
                <a:cxnLst>
                  <a:cxn ang="0">
                    <a:pos x="31" y="127"/>
                  </a:cxn>
                  <a:cxn ang="0">
                    <a:pos x="36" y="158"/>
                  </a:cxn>
                  <a:cxn ang="0">
                    <a:pos x="35" y="177"/>
                  </a:cxn>
                  <a:cxn ang="0">
                    <a:pos x="48" y="199"/>
                  </a:cxn>
                  <a:cxn ang="0">
                    <a:pos x="56" y="214"/>
                  </a:cxn>
                  <a:cxn ang="0">
                    <a:pos x="71" y="246"/>
                  </a:cxn>
                  <a:cxn ang="0">
                    <a:pos x="103" y="267"/>
                  </a:cxn>
                  <a:cxn ang="0">
                    <a:pos x="111" y="303"/>
                  </a:cxn>
                  <a:cxn ang="0">
                    <a:pos x="153" y="301"/>
                  </a:cxn>
                  <a:cxn ang="0">
                    <a:pos x="167" y="290"/>
                  </a:cxn>
                  <a:cxn ang="0">
                    <a:pos x="183" y="293"/>
                  </a:cxn>
                  <a:cxn ang="0">
                    <a:pos x="201" y="297"/>
                  </a:cxn>
                  <a:cxn ang="0">
                    <a:pos x="229" y="338"/>
                  </a:cxn>
                  <a:cxn ang="0">
                    <a:pos x="273" y="354"/>
                  </a:cxn>
                  <a:cxn ang="0">
                    <a:pos x="285" y="346"/>
                  </a:cxn>
                  <a:cxn ang="0">
                    <a:pos x="316" y="345"/>
                  </a:cxn>
                  <a:cxn ang="0">
                    <a:pos x="333" y="297"/>
                  </a:cxn>
                  <a:cxn ang="0">
                    <a:pos x="400" y="277"/>
                  </a:cxn>
                  <a:cxn ang="0">
                    <a:pos x="411" y="243"/>
                  </a:cxn>
                  <a:cxn ang="0">
                    <a:pos x="413" y="225"/>
                  </a:cxn>
                  <a:cxn ang="0">
                    <a:pos x="424" y="210"/>
                  </a:cxn>
                  <a:cxn ang="0">
                    <a:pos x="437" y="199"/>
                  </a:cxn>
                  <a:cxn ang="0">
                    <a:pos x="440" y="191"/>
                  </a:cxn>
                  <a:cxn ang="0">
                    <a:pos x="425" y="158"/>
                  </a:cxn>
                  <a:cxn ang="0">
                    <a:pos x="411" y="147"/>
                  </a:cxn>
                  <a:cxn ang="0">
                    <a:pos x="412" y="137"/>
                  </a:cxn>
                  <a:cxn ang="0">
                    <a:pos x="428" y="123"/>
                  </a:cxn>
                  <a:cxn ang="0">
                    <a:pos x="405" y="99"/>
                  </a:cxn>
                  <a:cxn ang="0">
                    <a:pos x="392" y="91"/>
                  </a:cxn>
                  <a:cxn ang="0">
                    <a:pos x="364" y="73"/>
                  </a:cxn>
                  <a:cxn ang="0">
                    <a:pos x="337" y="45"/>
                  </a:cxn>
                  <a:cxn ang="0">
                    <a:pos x="285" y="47"/>
                  </a:cxn>
                  <a:cxn ang="0">
                    <a:pos x="248" y="43"/>
                  </a:cxn>
                  <a:cxn ang="0">
                    <a:pos x="233" y="41"/>
                  </a:cxn>
                  <a:cxn ang="0">
                    <a:pos x="191" y="25"/>
                  </a:cxn>
                  <a:cxn ang="0">
                    <a:pos x="165" y="26"/>
                  </a:cxn>
                  <a:cxn ang="0">
                    <a:pos x="157" y="25"/>
                  </a:cxn>
                  <a:cxn ang="0">
                    <a:pos x="139" y="18"/>
                  </a:cxn>
                  <a:cxn ang="0">
                    <a:pos x="116" y="17"/>
                  </a:cxn>
                  <a:cxn ang="0">
                    <a:pos x="56" y="0"/>
                  </a:cxn>
                  <a:cxn ang="0">
                    <a:pos x="11" y="50"/>
                  </a:cxn>
                  <a:cxn ang="0">
                    <a:pos x="0" y="62"/>
                  </a:cxn>
                  <a:cxn ang="0">
                    <a:pos x="12" y="99"/>
                  </a:cxn>
                  <a:cxn ang="0">
                    <a:pos x="23" y="122"/>
                  </a:cxn>
                </a:cxnLst>
                <a:rect l="0" t="0" r="r" b="b"/>
                <a:pathLst>
                  <a:path w="448" h="357">
                    <a:moveTo>
                      <a:pt x="23" y="122"/>
                    </a:moveTo>
                    <a:cubicBezTo>
                      <a:pt x="31" y="127"/>
                      <a:pt x="31" y="127"/>
                      <a:pt x="31" y="127"/>
                    </a:cubicBezTo>
                    <a:cubicBezTo>
                      <a:pt x="29" y="151"/>
                      <a:pt x="29" y="151"/>
                      <a:pt x="29" y="151"/>
                    </a:cubicBezTo>
                    <a:cubicBezTo>
                      <a:pt x="36" y="158"/>
                      <a:pt x="36" y="158"/>
                      <a:pt x="36" y="158"/>
                    </a:cubicBezTo>
                    <a:cubicBezTo>
                      <a:pt x="25" y="173"/>
                      <a:pt x="25" y="173"/>
                      <a:pt x="25" y="173"/>
                    </a:cubicBezTo>
                    <a:cubicBezTo>
                      <a:pt x="35" y="177"/>
                      <a:pt x="35" y="177"/>
                      <a:pt x="35" y="177"/>
                    </a:cubicBezTo>
                    <a:cubicBezTo>
                      <a:pt x="33" y="187"/>
                      <a:pt x="33" y="187"/>
                      <a:pt x="33" y="187"/>
                    </a:cubicBezTo>
                    <a:cubicBezTo>
                      <a:pt x="48" y="199"/>
                      <a:pt x="48" y="199"/>
                      <a:pt x="48" y="199"/>
                    </a:cubicBezTo>
                    <a:cubicBezTo>
                      <a:pt x="57" y="202"/>
                      <a:pt x="57" y="202"/>
                      <a:pt x="57" y="202"/>
                    </a:cubicBezTo>
                    <a:cubicBezTo>
                      <a:pt x="56" y="214"/>
                      <a:pt x="56" y="214"/>
                      <a:pt x="56" y="214"/>
                    </a:cubicBezTo>
                    <a:cubicBezTo>
                      <a:pt x="69" y="221"/>
                      <a:pt x="69" y="221"/>
                      <a:pt x="69" y="221"/>
                    </a:cubicBezTo>
                    <a:cubicBezTo>
                      <a:pt x="71" y="246"/>
                      <a:pt x="71" y="246"/>
                      <a:pt x="71" y="246"/>
                    </a:cubicBezTo>
                    <a:cubicBezTo>
                      <a:pt x="71" y="246"/>
                      <a:pt x="95" y="261"/>
                      <a:pt x="97" y="253"/>
                    </a:cubicBezTo>
                    <a:cubicBezTo>
                      <a:pt x="101" y="254"/>
                      <a:pt x="103" y="267"/>
                      <a:pt x="103" y="267"/>
                    </a:cubicBezTo>
                    <a:cubicBezTo>
                      <a:pt x="113" y="269"/>
                      <a:pt x="113" y="269"/>
                      <a:pt x="113" y="269"/>
                    </a:cubicBezTo>
                    <a:cubicBezTo>
                      <a:pt x="113" y="269"/>
                      <a:pt x="101" y="295"/>
                      <a:pt x="111" y="303"/>
                    </a:cubicBezTo>
                    <a:cubicBezTo>
                      <a:pt x="120" y="311"/>
                      <a:pt x="127" y="301"/>
                      <a:pt x="135" y="301"/>
                    </a:cubicBezTo>
                    <a:cubicBezTo>
                      <a:pt x="143" y="301"/>
                      <a:pt x="153" y="301"/>
                      <a:pt x="153" y="301"/>
                    </a:cubicBezTo>
                    <a:cubicBezTo>
                      <a:pt x="160" y="287"/>
                      <a:pt x="160" y="287"/>
                      <a:pt x="160" y="287"/>
                    </a:cubicBezTo>
                    <a:cubicBezTo>
                      <a:pt x="167" y="290"/>
                      <a:pt x="167" y="290"/>
                      <a:pt x="167" y="290"/>
                    </a:cubicBezTo>
                    <a:cubicBezTo>
                      <a:pt x="169" y="301"/>
                      <a:pt x="169" y="301"/>
                      <a:pt x="169" y="301"/>
                    </a:cubicBezTo>
                    <a:cubicBezTo>
                      <a:pt x="183" y="293"/>
                      <a:pt x="183" y="293"/>
                      <a:pt x="183" y="293"/>
                    </a:cubicBezTo>
                    <a:cubicBezTo>
                      <a:pt x="199" y="298"/>
                      <a:pt x="199" y="298"/>
                      <a:pt x="199" y="298"/>
                    </a:cubicBezTo>
                    <a:cubicBezTo>
                      <a:pt x="201" y="297"/>
                      <a:pt x="201" y="297"/>
                      <a:pt x="201" y="297"/>
                    </a:cubicBezTo>
                    <a:cubicBezTo>
                      <a:pt x="205" y="313"/>
                      <a:pt x="205" y="313"/>
                      <a:pt x="205" y="313"/>
                    </a:cubicBezTo>
                    <a:cubicBezTo>
                      <a:pt x="205" y="313"/>
                      <a:pt x="232" y="319"/>
                      <a:pt x="229" y="338"/>
                    </a:cubicBezTo>
                    <a:cubicBezTo>
                      <a:pt x="228" y="349"/>
                      <a:pt x="222" y="352"/>
                      <a:pt x="218" y="353"/>
                    </a:cubicBezTo>
                    <a:cubicBezTo>
                      <a:pt x="273" y="354"/>
                      <a:pt x="273" y="354"/>
                      <a:pt x="273" y="354"/>
                    </a:cubicBezTo>
                    <a:cubicBezTo>
                      <a:pt x="273" y="346"/>
                      <a:pt x="273" y="346"/>
                      <a:pt x="273" y="346"/>
                    </a:cubicBezTo>
                    <a:cubicBezTo>
                      <a:pt x="285" y="346"/>
                      <a:pt x="285" y="346"/>
                      <a:pt x="285" y="346"/>
                    </a:cubicBezTo>
                    <a:cubicBezTo>
                      <a:pt x="285" y="357"/>
                      <a:pt x="285" y="357"/>
                      <a:pt x="285" y="357"/>
                    </a:cubicBezTo>
                    <a:cubicBezTo>
                      <a:pt x="285" y="357"/>
                      <a:pt x="308" y="353"/>
                      <a:pt x="316" y="345"/>
                    </a:cubicBezTo>
                    <a:cubicBezTo>
                      <a:pt x="324" y="337"/>
                      <a:pt x="339" y="313"/>
                      <a:pt x="339" y="313"/>
                    </a:cubicBezTo>
                    <a:cubicBezTo>
                      <a:pt x="333" y="297"/>
                      <a:pt x="333" y="297"/>
                      <a:pt x="333" y="297"/>
                    </a:cubicBezTo>
                    <a:cubicBezTo>
                      <a:pt x="341" y="277"/>
                      <a:pt x="341" y="277"/>
                      <a:pt x="341" y="277"/>
                    </a:cubicBezTo>
                    <a:cubicBezTo>
                      <a:pt x="400" y="277"/>
                      <a:pt x="400" y="277"/>
                      <a:pt x="400" y="277"/>
                    </a:cubicBezTo>
                    <a:cubicBezTo>
                      <a:pt x="415" y="269"/>
                      <a:pt x="415" y="269"/>
                      <a:pt x="415" y="269"/>
                    </a:cubicBezTo>
                    <a:cubicBezTo>
                      <a:pt x="411" y="243"/>
                      <a:pt x="411" y="243"/>
                      <a:pt x="411" y="243"/>
                    </a:cubicBezTo>
                    <a:cubicBezTo>
                      <a:pt x="420" y="234"/>
                      <a:pt x="420" y="234"/>
                      <a:pt x="420" y="234"/>
                    </a:cubicBezTo>
                    <a:cubicBezTo>
                      <a:pt x="413" y="225"/>
                      <a:pt x="413" y="225"/>
                      <a:pt x="413" y="225"/>
                    </a:cubicBezTo>
                    <a:cubicBezTo>
                      <a:pt x="428" y="222"/>
                      <a:pt x="428" y="222"/>
                      <a:pt x="428" y="222"/>
                    </a:cubicBezTo>
                    <a:cubicBezTo>
                      <a:pt x="424" y="210"/>
                      <a:pt x="424" y="210"/>
                      <a:pt x="424" y="210"/>
                    </a:cubicBezTo>
                    <a:cubicBezTo>
                      <a:pt x="436" y="210"/>
                      <a:pt x="436" y="210"/>
                      <a:pt x="436" y="210"/>
                    </a:cubicBezTo>
                    <a:cubicBezTo>
                      <a:pt x="437" y="199"/>
                      <a:pt x="437" y="199"/>
                      <a:pt x="437" y="199"/>
                    </a:cubicBezTo>
                    <a:cubicBezTo>
                      <a:pt x="448" y="201"/>
                      <a:pt x="448" y="201"/>
                      <a:pt x="448" y="201"/>
                    </a:cubicBezTo>
                    <a:cubicBezTo>
                      <a:pt x="440" y="191"/>
                      <a:pt x="440" y="191"/>
                      <a:pt x="440" y="191"/>
                    </a:cubicBezTo>
                    <a:cubicBezTo>
                      <a:pt x="424" y="190"/>
                      <a:pt x="424" y="190"/>
                      <a:pt x="424" y="190"/>
                    </a:cubicBezTo>
                    <a:cubicBezTo>
                      <a:pt x="425" y="158"/>
                      <a:pt x="425" y="158"/>
                      <a:pt x="425" y="158"/>
                    </a:cubicBezTo>
                    <a:cubicBezTo>
                      <a:pt x="411" y="157"/>
                      <a:pt x="411" y="157"/>
                      <a:pt x="411" y="157"/>
                    </a:cubicBezTo>
                    <a:cubicBezTo>
                      <a:pt x="411" y="147"/>
                      <a:pt x="411" y="147"/>
                      <a:pt x="411" y="147"/>
                    </a:cubicBezTo>
                    <a:cubicBezTo>
                      <a:pt x="419" y="146"/>
                      <a:pt x="419" y="146"/>
                      <a:pt x="419" y="146"/>
                    </a:cubicBezTo>
                    <a:cubicBezTo>
                      <a:pt x="412" y="137"/>
                      <a:pt x="412" y="137"/>
                      <a:pt x="412" y="137"/>
                    </a:cubicBezTo>
                    <a:cubicBezTo>
                      <a:pt x="428" y="130"/>
                      <a:pt x="428" y="130"/>
                      <a:pt x="428" y="130"/>
                    </a:cubicBezTo>
                    <a:cubicBezTo>
                      <a:pt x="428" y="123"/>
                      <a:pt x="428" y="123"/>
                      <a:pt x="428" y="123"/>
                    </a:cubicBezTo>
                    <a:cubicBezTo>
                      <a:pt x="424" y="122"/>
                      <a:pt x="413" y="118"/>
                      <a:pt x="409" y="118"/>
                    </a:cubicBezTo>
                    <a:cubicBezTo>
                      <a:pt x="405" y="118"/>
                      <a:pt x="405" y="99"/>
                      <a:pt x="405" y="99"/>
                    </a:cubicBezTo>
                    <a:cubicBezTo>
                      <a:pt x="395" y="99"/>
                      <a:pt x="395" y="99"/>
                      <a:pt x="395" y="99"/>
                    </a:cubicBezTo>
                    <a:cubicBezTo>
                      <a:pt x="392" y="91"/>
                      <a:pt x="392" y="91"/>
                      <a:pt x="392" y="91"/>
                    </a:cubicBezTo>
                    <a:cubicBezTo>
                      <a:pt x="392" y="91"/>
                      <a:pt x="379" y="101"/>
                      <a:pt x="380" y="93"/>
                    </a:cubicBezTo>
                    <a:cubicBezTo>
                      <a:pt x="381" y="85"/>
                      <a:pt x="365" y="78"/>
                      <a:pt x="364" y="73"/>
                    </a:cubicBezTo>
                    <a:cubicBezTo>
                      <a:pt x="368" y="41"/>
                      <a:pt x="344" y="39"/>
                      <a:pt x="344" y="39"/>
                    </a:cubicBezTo>
                    <a:cubicBezTo>
                      <a:pt x="337" y="45"/>
                      <a:pt x="337" y="45"/>
                      <a:pt x="337" y="45"/>
                    </a:cubicBezTo>
                    <a:cubicBezTo>
                      <a:pt x="299" y="55"/>
                      <a:pt x="299" y="55"/>
                      <a:pt x="299" y="55"/>
                    </a:cubicBezTo>
                    <a:cubicBezTo>
                      <a:pt x="285" y="47"/>
                      <a:pt x="285" y="47"/>
                      <a:pt x="285" y="47"/>
                    </a:cubicBezTo>
                    <a:cubicBezTo>
                      <a:pt x="285" y="47"/>
                      <a:pt x="276" y="57"/>
                      <a:pt x="268" y="54"/>
                    </a:cubicBezTo>
                    <a:cubicBezTo>
                      <a:pt x="260" y="51"/>
                      <a:pt x="255" y="47"/>
                      <a:pt x="248" y="43"/>
                    </a:cubicBezTo>
                    <a:cubicBezTo>
                      <a:pt x="241" y="39"/>
                      <a:pt x="239" y="51"/>
                      <a:pt x="239" y="51"/>
                    </a:cubicBezTo>
                    <a:cubicBezTo>
                      <a:pt x="233" y="41"/>
                      <a:pt x="233" y="41"/>
                      <a:pt x="233" y="41"/>
                    </a:cubicBezTo>
                    <a:cubicBezTo>
                      <a:pt x="233" y="41"/>
                      <a:pt x="215" y="49"/>
                      <a:pt x="220" y="45"/>
                    </a:cubicBezTo>
                    <a:cubicBezTo>
                      <a:pt x="225" y="41"/>
                      <a:pt x="207" y="29"/>
                      <a:pt x="191" y="25"/>
                    </a:cubicBezTo>
                    <a:cubicBezTo>
                      <a:pt x="178" y="22"/>
                      <a:pt x="182" y="18"/>
                      <a:pt x="184" y="17"/>
                    </a:cubicBezTo>
                    <a:cubicBezTo>
                      <a:pt x="165" y="26"/>
                      <a:pt x="165" y="26"/>
                      <a:pt x="165" y="26"/>
                    </a:cubicBezTo>
                    <a:cubicBezTo>
                      <a:pt x="161" y="18"/>
                      <a:pt x="161" y="18"/>
                      <a:pt x="161" y="18"/>
                    </a:cubicBezTo>
                    <a:cubicBezTo>
                      <a:pt x="157" y="25"/>
                      <a:pt x="157" y="25"/>
                      <a:pt x="157" y="25"/>
                    </a:cubicBezTo>
                    <a:cubicBezTo>
                      <a:pt x="148" y="15"/>
                      <a:pt x="148" y="15"/>
                      <a:pt x="148" y="15"/>
                    </a:cubicBezTo>
                    <a:cubicBezTo>
                      <a:pt x="139" y="18"/>
                      <a:pt x="139" y="18"/>
                      <a:pt x="139" y="18"/>
                    </a:cubicBezTo>
                    <a:cubicBezTo>
                      <a:pt x="132" y="13"/>
                      <a:pt x="132" y="13"/>
                      <a:pt x="132" y="13"/>
                    </a:cubicBezTo>
                    <a:cubicBezTo>
                      <a:pt x="116" y="17"/>
                      <a:pt x="116" y="17"/>
                      <a:pt x="116" y="17"/>
                    </a:cubicBezTo>
                    <a:cubicBezTo>
                      <a:pt x="64" y="21"/>
                      <a:pt x="64" y="21"/>
                      <a:pt x="64" y="21"/>
                    </a:cubicBezTo>
                    <a:cubicBezTo>
                      <a:pt x="56" y="0"/>
                      <a:pt x="56" y="0"/>
                      <a:pt x="56" y="0"/>
                    </a:cubicBezTo>
                    <a:cubicBezTo>
                      <a:pt x="39" y="47"/>
                      <a:pt x="39" y="47"/>
                      <a:pt x="39" y="47"/>
                    </a:cubicBezTo>
                    <a:cubicBezTo>
                      <a:pt x="11" y="50"/>
                      <a:pt x="11" y="50"/>
                      <a:pt x="11" y="50"/>
                    </a:cubicBezTo>
                    <a:cubicBezTo>
                      <a:pt x="11" y="50"/>
                      <a:pt x="9" y="57"/>
                      <a:pt x="13" y="57"/>
                    </a:cubicBezTo>
                    <a:cubicBezTo>
                      <a:pt x="17" y="57"/>
                      <a:pt x="0" y="62"/>
                      <a:pt x="0" y="62"/>
                    </a:cubicBezTo>
                    <a:cubicBezTo>
                      <a:pt x="13" y="98"/>
                      <a:pt x="13" y="98"/>
                      <a:pt x="13" y="98"/>
                    </a:cubicBezTo>
                    <a:cubicBezTo>
                      <a:pt x="12" y="99"/>
                      <a:pt x="12" y="99"/>
                      <a:pt x="12" y="99"/>
                    </a:cubicBezTo>
                    <a:cubicBezTo>
                      <a:pt x="27" y="113"/>
                      <a:pt x="27" y="113"/>
                      <a:pt x="27" y="113"/>
                    </a:cubicBezTo>
                    <a:lnTo>
                      <a:pt x="23" y="122"/>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94" name="Champagne-Ardenne" descr="© INSCALE GmbH, 05.05.2010&#10;http://www.presentationload.com/">
                <a:extLst>
                  <a:ext uri="{FF2B5EF4-FFF2-40B4-BE49-F238E27FC236}">
                    <a16:creationId xmlns:a16="http://schemas.microsoft.com/office/drawing/2014/main" id="{42702F3F-420E-4857-A133-B4AD3E556CC4}"/>
                  </a:ext>
                </a:extLst>
              </p:cNvPr>
              <p:cNvSpPr>
                <a:spLocks/>
              </p:cNvSpPr>
              <p:nvPr/>
            </p:nvSpPr>
            <p:spPr bwMode="gray">
              <a:xfrm>
                <a:off x="2008" y="466"/>
                <a:ext cx="578" cy="893"/>
              </a:xfrm>
              <a:custGeom>
                <a:avLst/>
                <a:gdLst/>
                <a:ahLst/>
                <a:cxnLst>
                  <a:cxn ang="0">
                    <a:pos x="514" y="699"/>
                  </a:cxn>
                  <a:cxn ang="0">
                    <a:pos x="493" y="668"/>
                  </a:cxn>
                  <a:cxn ang="0">
                    <a:pos x="497" y="623"/>
                  </a:cxn>
                  <a:cxn ang="0">
                    <a:pos x="465" y="599"/>
                  </a:cxn>
                  <a:cxn ang="0">
                    <a:pos x="432" y="580"/>
                  </a:cxn>
                  <a:cxn ang="0">
                    <a:pos x="429" y="563"/>
                  </a:cxn>
                  <a:cxn ang="0">
                    <a:pos x="381" y="521"/>
                  </a:cxn>
                  <a:cxn ang="0">
                    <a:pos x="341" y="497"/>
                  </a:cxn>
                  <a:cxn ang="0">
                    <a:pos x="322" y="425"/>
                  </a:cxn>
                  <a:cxn ang="0">
                    <a:pos x="333" y="363"/>
                  </a:cxn>
                  <a:cxn ang="0">
                    <a:pos x="324" y="299"/>
                  </a:cxn>
                  <a:cxn ang="0">
                    <a:pos x="354" y="240"/>
                  </a:cxn>
                  <a:cxn ang="0">
                    <a:pos x="365" y="192"/>
                  </a:cxn>
                  <a:cxn ang="0">
                    <a:pos x="394" y="184"/>
                  </a:cxn>
                  <a:cxn ang="0">
                    <a:pos x="416" y="161"/>
                  </a:cxn>
                  <a:cxn ang="0">
                    <a:pos x="351" y="115"/>
                  </a:cxn>
                  <a:cxn ang="0">
                    <a:pos x="321" y="99"/>
                  </a:cxn>
                  <a:cxn ang="0">
                    <a:pos x="301" y="55"/>
                  </a:cxn>
                  <a:cxn ang="0">
                    <a:pos x="320" y="8"/>
                  </a:cxn>
                  <a:cxn ang="0">
                    <a:pos x="282" y="21"/>
                  </a:cxn>
                  <a:cxn ang="0">
                    <a:pos x="230" y="63"/>
                  </a:cxn>
                  <a:cxn ang="0">
                    <a:pos x="175" y="57"/>
                  </a:cxn>
                  <a:cxn ang="0">
                    <a:pos x="164" y="128"/>
                  </a:cxn>
                  <a:cxn ang="0">
                    <a:pos x="141" y="177"/>
                  </a:cxn>
                  <a:cxn ang="0">
                    <a:pos x="129" y="215"/>
                  </a:cxn>
                  <a:cxn ang="0">
                    <a:pos x="94" y="257"/>
                  </a:cxn>
                  <a:cxn ang="0">
                    <a:pos x="56" y="301"/>
                  </a:cxn>
                  <a:cxn ang="0">
                    <a:pos x="42" y="339"/>
                  </a:cxn>
                  <a:cxn ang="0">
                    <a:pos x="38" y="368"/>
                  </a:cxn>
                  <a:cxn ang="0">
                    <a:pos x="28" y="409"/>
                  </a:cxn>
                  <a:cxn ang="0">
                    <a:pos x="17" y="436"/>
                  </a:cxn>
                  <a:cxn ang="0">
                    <a:pos x="0" y="453"/>
                  </a:cxn>
                  <a:cxn ang="0">
                    <a:pos x="13" y="496"/>
                  </a:cxn>
                  <a:cxn ang="0">
                    <a:pos x="26" y="505"/>
                  </a:cxn>
                  <a:cxn ang="0">
                    <a:pos x="17" y="528"/>
                  </a:cxn>
                  <a:cxn ang="0">
                    <a:pos x="0" y="549"/>
                  </a:cxn>
                  <a:cxn ang="0">
                    <a:pos x="14" y="583"/>
                  </a:cxn>
                  <a:cxn ang="0">
                    <a:pos x="44" y="644"/>
                  </a:cxn>
                  <a:cxn ang="0">
                    <a:pos x="68" y="653"/>
                  </a:cxn>
                  <a:cxn ang="0">
                    <a:pos x="76" y="656"/>
                  </a:cxn>
                  <a:cxn ang="0">
                    <a:pos x="108" y="720"/>
                  </a:cxn>
                  <a:cxn ang="0">
                    <a:pos x="156" y="723"/>
                  </a:cxn>
                  <a:cxn ang="0">
                    <a:pos x="173" y="707"/>
                  </a:cxn>
                  <a:cxn ang="0">
                    <a:pos x="197" y="723"/>
                  </a:cxn>
                  <a:cxn ang="0">
                    <a:pos x="301" y="691"/>
                  </a:cxn>
                  <a:cxn ang="0">
                    <a:pos x="318" y="713"/>
                  </a:cxn>
                  <a:cxn ang="0">
                    <a:pos x="325" y="719"/>
                  </a:cxn>
                  <a:cxn ang="0">
                    <a:pos x="332" y="767"/>
                  </a:cxn>
                  <a:cxn ang="0">
                    <a:pos x="353" y="787"/>
                  </a:cxn>
                  <a:cxn ang="0">
                    <a:pos x="388" y="807"/>
                  </a:cxn>
                  <a:cxn ang="0">
                    <a:pos x="421" y="816"/>
                  </a:cxn>
                  <a:cxn ang="0">
                    <a:pos x="468" y="792"/>
                  </a:cxn>
                  <a:cxn ang="0">
                    <a:pos x="500" y="788"/>
                  </a:cxn>
                  <a:cxn ang="0">
                    <a:pos x="497" y="747"/>
                  </a:cxn>
                  <a:cxn ang="0">
                    <a:pos x="525" y="735"/>
                  </a:cxn>
                  <a:cxn ang="0">
                    <a:pos x="530" y="697"/>
                  </a:cxn>
                </a:cxnLst>
                <a:rect l="0" t="0" r="r" b="b"/>
                <a:pathLst>
                  <a:path w="536" h="828">
                    <a:moveTo>
                      <a:pt x="530" y="697"/>
                    </a:moveTo>
                    <a:cubicBezTo>
                      <a:pt x="517" y="701"/>
                      <a:pt x="517" y="701"/>
                      <a:pt x="517" y="701"/>
                    </a:cubicBezTo>
                    <a:cubicBezTo>
                      <a:pt x="514" y="699"/>
                      <a:pt x="514" y="699"/>
                      <a:pt x="514" y="699"/>
                    </a:cubicBezTo>
                    <a:cubicBezTo>
                      <a:pt x="514" y="701"/>
                      <a:pt x="514" y="701"/>
                      <a:pt x="514" y="701"/>
                    </a:cubicBezTo>
                    <a:cubicBezTo>
                      <a:pt x="513" y="681"/>
                      <a:pt x="513" y="681"/>
                      <a:pt x="513" y="681"/>
                    </a:cubicBezTo>
                    <a:cubicBezTo>
                      <a:pt x="493" y="668"/>
                      <a:pt x="493" y="668"/>
                      <a:pt x="493" y="668"/>
                    </a:cubicBezTo>
                    <a:cubicBezTo>
                      <a:pt x="476" y="664"/>
                      <a:pt x="476" y="664"/>
                      <a:pt x="476" y="664"/>
                    </a:cubicBezTo>
                    <a:cubicBezTo>
                      <a:pt x="486" y="652"/>
                      <a:pt x="486" y="652"/>
                      <a:pt x="486" y="652"/>
                    </a:cubicBezTo>
                    <a:cubicBezTo>
                      <a:pt x="486" y="652"/>
                      <a:pt x="486" y="628"/>
                      <a:pt x="497" y="623"/>
                    </a:cubicBezTo>
                    <a:cubicBezTo>
                      <a:pt x="490" y="612"/>
                      <a:pt x="490" y="612"/>
                      <a:pt x="490" y="612"/>
                    </a:cubicBezTo>
                    <a:cubicBezTo>
                      <a:pt x="481" y="611"/>
                      <a:pt x="481" y="611"/>
                      <a:pt x="481" y="611"/>
                    </a:cubicBezTo>
                    <a:cubicBezTo>
                      <a:pt x="481" y="611"/>
                      <a:pt x="481" y="588"/>
                      <a:pt x="465" y="599"/>
                    </a:cubicBezTo>
                    <a:cubicBezTo>
                      <a:pt x="452" y="576"/>
                      <a:pt x="452" y="576"/>
                      <a:pt x="452" y="576"/>
                    </a:cubicBezTo>
                    <a:cubicBezTo>
                      <a:pt x="452" y="576"/>
                      <a:pt x="442" y="573"/>
                      <a:pt x="436" y="577"/>
                    </a:cubicBezTo>
                    <a:cubicBezTo>
                      <a:pt x="435" y="579"/>
                      <a:pt x="434" y="581"/>
                      <a:pt x="432" y="580"/>
                    </a:cubicBezTo>
                    <a:cubicBezTo>
                      <a:pt x="433" y="579"/>
                      <a:pt x="434" y="578"/>
                      <a:pt x="436" y="577"/>
                    </a:cubicBezTo>
                    <a:cubicBezTo>
                      <a:pt x="436" y="574"/>
                      <a:pt x="434" y="571"/>
                      <a:pt x="434" y="571"/>
                    </a:cubicBezTo>
                    <a:cubicBezTo>
                      <a:pt x="429" y="563"/>
                      <a:pt x="429" y="563"/>
                      <a:pt x="429" y="563"/>
                    </a:cubicBezTo>
                    <a:cubicBezTo>
                      <a:pt x="441" y="557"/>
                      <a:pt x="441" y="557"/>
                      <a:pt x="441" y="557"/>
                    </a:cubicBezTo>
                    <a:cubicBezTo>
                      <a:pt x="441" y="557"/>
                      <a:pt x="400" y="521"/>
                      <a:pt x="383" y="521"/>
                    </a:cubicBezTo>
                    <a:cubicBezTo>
                      <a:pt x="383" y="522"/>
                      <a:pt x="382" y="522"/>
                      <a:pt x="381" y="521"/>
                    </a:cubicBezTo>
                    <a:cubicBezTo>
                      <a:pt x="382" y="521"/>
                      <a:pt x="382" y="521"/>
                      <a:pt x="383" y="521"/>
                    </a:cubicBezTo>
                    <a:cubicBezTo>
                      <a:pt x="384" y="518"/>
                      <a:pt x="349" y="491"/>
                      <a:pt x="349" y="491"/>
                    </a:cubicBezTo>
                    <a:cubicBezTo>
                      <a:pt x="341" y="497"/>
                      <a:pt x="341" y="497"/>
                      <a:pt x="341" y="497"/>
                    </a:cubicBezTo>
                    <a:cubicBezTo>
                      <a:pt x="342" y="457"/>
                      <a:pt x="342" y="457"/>
                      <a:pt x="342" y="457"/>
                    </a:cubicBezTo>
                    <a:cubicBezTo>
                      <a:pt x="316" y="439"/>
                      <a:pt x="316" y="439"/>
                      <a:pt x="316" y="439"/>
                    </a:cubicBezTo>
                    <a:cubicBezTo>
                      <a:pt x="322" y="425"/>
                      <a:pt x="322" y="425"/>
                      <a:pt x="322" y="425"/>
                    </a:cubicBezTo>
                    <a:cubicBezTo>
                      <a:pt x="320" y="404"/>
                      <a:pt x="320" y="404"/>
                      <a:pt x="320" y="404"/>
                    </a:cubicBezTo>
                    <a:cubicBezTo>
                      <a:pt x="320" y="404"/>
                      <a:pt x="344" y="395"/>
                      <a:pt x="342" y="385"/>
                    </a:cubicBezTo>
                    <a:cubicBezTo>
                      <a:pt x="341" y="376"/>
                      <a:pt x="344" y="357"/>
                      <a:pt x="333" y="363"/>
                    </a:cubicBezTo>
                    <a:cubicBezTo>
                      <a:pt x="336" y="359"/>
                      <a:pt x="320" y="313"/>
                      <a:pt x="320" y="313"/>
                    </a:cubicBezTo>
                    <a:cubicBezTo>
                      <a:pt x="330" y="305"/>
                      <a:pt x="330" y="305"/>
                      <a:pt x="330" y="305"/>
                    </a:cubicBezTo>
                    <a:cubicBezTo>
                      <a:pt x="324" y="299"/>
                      <a:pt x="324" y="299"/>
                      <a:pt x="324" y="299"/>
                    </a:cubicBezTo>
                    <a:cubicBezTo>
                      <a:pt x="341" y="287"/>
                      <a:pt x="341" y="287"/>
                      <a:pt x="341" y="287"/>
                    </a:cubicBezTo>
                    <a:cubicBezTo>
                      <a:pt x="341" y="287"/>
                      <a:pt x="333" y="275"/>
                      <a:pt x="337" y="269"/>
                    </a:cubicBezTo>
                    <a:cubicBezTo>
                      <a:pt x="341" y="264"/>
                      <a:pt x="354" y="240"/>
                      <a:pt x="354" y="240"/>
                    </a:cubicBezTo>
                    <a:cubicBezTo>
                      <a:pt x="354" y="240"/>
                      <a:pt x="354" y="225"/>
                      <a:pt x="342" y="211"/>
                    </a:cubicBezTo>
                    <a:cubicBezTo>
                      <a:pt x="346" y="213"/>
                      <a:pt x="348" y="187"/>
                      <a:pt x="348" y="187"/>
                    </a:cubicBezTo>
                    <a:cubicBezTo>
                      <a:pt x="365" y="192"/>
                      <a:pt x="365" y="192"/>
                      <a:pt x="365" y="192"/>
                    </a:cubicBezTo>
                    <a:cubicBezTo>
                      <a:pt x="374" y="192"/>
                      <a:pt x="374" y="192"/>
                      <a:pt x="374" y="192"/>
                    </a:cubicBezTo>
                    <a:cubicBezTo>
                      <a:pt x="386" y="199"/>
                      <a:pt x="386" y="199"/>
                      <a:pt x="386" y="199"/>
                    </a:cubicBezTo>
                    <a:cubicBezTo>
                      <a:pt x="394" y="184"/>
                      <a:pt x="394" y="184"/>
                      <a:pt x="394" y="184"/>
                    </a:cubicBezTo>
                    <a:cubicBezTo>
                      <a:pt x="408" y="183"/>
                      <a:pt x="408" y="183"/>
                      <a:pt x="408" y="183"/>
                    </a:cubicBezTo>
                    <a:cubicBezTo>
                      <a:pt x="420" y="162"/>
                      <a:pt x="420" y="162"/>
                      <a:pt x="420" y="162"/>
                    </a:cubicBezTo>
                    <a:cubicBezTo>
                      <a:pt x="417" y="162"/>
                      <a:pt x="416" y="161"/>
                      <a:pt x="416" y="161"/>
                    </a:cubicBezTo>
                    <a:cubicBezTo>
                      <a:pt x="420" y="146"/>
                      <a:pt x="412" y="145"/>
                      <a:pt x="412" y="145"/>
                    </a:cubicBezTo>
                    <a:cubicBezTo>
                      <a:pt x="412" y="145"/>
                      <a:pt x="402" y="139"/>
                      <a:pt x="385" y="140"/>
                    </a:cubicBezTo>
                    <a:cubicBezTo>
                      <a:pt x="369" y="118"/>
                      <a:pt x="358" y="115"/>
                      <a:pt x="351" y="115"/>
                    </a:cubicBezTo>
                    <a:cubicBezTo>
                      <a:pt x="346" y="106"/>
                      <a:pt x="344" y="108"/>
                      <a:pt x="334" y="109"/>
                    </a:cubicBezTo>
                    <a:cubicBezTo>
                      <a:pt x="325" y="118"/>
                      <a:pt x="316" y="104"/>
                      <a:pt x="316" y="104"/>
                    </a:cubicBezTo>
                    <a:cubicBezTo>
                      <a:pt x="321" y="99"/>
                      <a:pt x="321" y="99"/>
                      <a:pt x="321" y="99"/>
                    </a:cubicBezTo>
                    <a:cubicBezTo>
                      <a:pt x="321" y="99"/>
                      <a:pt x="319" y="96"/>
                      <a:pt x="315" y="89"/>
                    </a:cubicBezTo>
                    <a:cubicBezTo>
                      <a:pt x="322" y="83"/>
                      <a:pt x="321" y="72"/>
                      <a:pt x="321" y="72"/>
                    </a:cubicBezTo>
                    <a:cubicBezTo>
                      <a:pt x="321" y="72"/>
                      <a:pt x="296" y="57"/>
                      <a:pt x="301" y="55"/>
                    </a:cubicBezTo>
                    <a:cubicBezTo>
                      <a:pt x="306" y="53"/>
                      <a:pt x="311" y="35"/>
                      <a:pt x="311" y="35"/>
                    </a:cubicBezTo>
                    <a:cubicBezTo>
                      <a:pt x="308" y="25"/>
                      <a:pt x="308" y="25"/>
                      <a:pt x="308" y="25"/>
                    </a:cubicBezTo>
                    <a:cubicBezTo>
                      <a:pt x="308" y="25"/>
                      <a:pt x="319" y="13"/>
                      <a:pt x="320" y="8"/>
                    </a:cubicBezTo>
                    <a:cubicBezTo>
                      <a:pt x="321" y="3"/>
                      <a:pt x="311" y="0"/>
                      <a:pt x="303" y="0"/>
                    </a:cubicBezTo>
                    <a:cubicBezTo>
                      <a:pt x="295" y="0"/>
                      <a:pt x="289" y="17"/>
                      <a:pt x="289" y="17"/>
                    </a:cubicBezTo>
                    <a:cubicBezTo>
                      <a:pt x="289" y="17"/>
                      <a:pt x="286" y="17"/>
                      <a:pt x="282" y="21"/>
                    </a:cubicBezTo>
                    <a:cubicBezTo>
                      <a:pt x="278" y="25"/>
                      <a:pt x="280" y="45"/>
                      <a:pt x="279" y="49"/>
                    </a:cubicBezTo>
                    <a:cubicBezTo>
                      <a:pt x="278" y="53"/>
                      <a:pt x="263" y="50"/>
                      <a:pt x="254" y="49"/>
                    </a:cubicBezTo>
                    <a:cubicBezTo>
                      <a:pt x="249" y="63"/>
                      <a:pt x="236" y="63"/>
                      <a:pt x="230" y="63"/>
                    </a:cubicBezTo>
                    <a:cubicBezTo>
                      <a:pt x="224" y="63"/>
                      <a:pt x="207" y="56"/>
                      <a:pt x="199" y="55"/>
                    </a:cubicBezTo>
                    <a:cubicBezTo>
                      <a:pt x="191" y="54"/>
                      <a:pt x="187" y="59"/>
                      <a:pt x="181" y="60"/>
                    </a:cubicBezTo>
                    <a:cubicBezTo>
                      <a:pt x="179" y="61"/>
                      <a:pt x="176" y="59"/>
                      <a:pt x="175" y="57"/>
                    </a:cubicBezTo>
                    <a:cubicBezTo>
                      <a:pt x="174" y="57"/>
                      <a:pt x="174" y="58"/>
                      <a:pt x="174" y="58"/>
                    </a:cubicBezTo>
                    <a:cubicBezTo>
                      <a:pt x="160" y="78"/>
                      <a:pt x="169" y="91"/>
                      <a:pt x="169" y="91"/>
                    </a:cubicBezTo>
                    <a:cubicBezTo>
                      <a:pt x="164" y="128"/>
                      <a:pt x="164" y="128"/>
                      <a:pt x="164" y="128"/>
                    </a:cubicBezTo>
                    <a:cubicBezTo>
                      <a:pt x="170" y="135"/>
                      <a:pt x="170" y="135"/>
                      <a:pt x="170" y="135"/>
                    </a:cubicBezTo>
                    <a:cubicBezTo>
                      <a:pt x="148" y="163"/>
                      <a:pt x="148" y="163"/>
                      <a:pt x="148" y="163"/>
                    </a:cubicBezTo>
                    <a:cubicBezTo>
                      <a:pt x="141" y="177"/>
                      <a:pt x="141" y="177"/>
                      <a:pt x="141" y="177"/>
                    </a:cubicBezTo>
                    <a:cubicBezTo>
                      <a:pt x="125" y="179"/>
                      <a:pt x="125" y="179"/>
                      <a:pt x="125" y="179"/>
                    </a:cubicBezTo>
                    <a:cubicBezTo>
                      <a:pt x="137" y="208"/>
                      <a:pt x="137" y="208"/>
                      <a:pt x="137" y="208"/>
                    </a:cubicBezTo>
                    <a:cubicBezTo>
                      <a:pt x="129" y="215"/>
                      <a:pt x="129" y="215"/>
                      <a:pt x="129" y="215"/>
                    </a:cubicBezTo>
                    <a:cubicBezTo>
                      <a:pt x="129" y="215"/>
                      <a:pt x="134" y="264"/>
                      <a:pt x="129" y="264"/>
                    </a:cubicBezTo>
                    <a:cubicBezTo>
                      <a:pt x="124" y="264"/>
                      <a:pt x="105" y="251"/>
                      <a:pt x="105" y="251"/>
                    </a:cubicBezTo>
                    <a:cubicBezTo>
                      <a:pt x="94" y="257"/>
                      <a:pt x="94" y="257"/>
                      <a:pt x="94" y="257"/>
                    </a:cubicBezTo>
                    <a:cubicBezTo>
                      <a:pt x="94" y="257"/>
                      <a:pt x="93" y="267"/>
                      <a:pt x="89" y="268"/>
                    </a:cubicBezTo>
                    <a:cubicBezTo>
                      <a:pt x="72" y="263"/>
                      <a:pt x="50" y="281"/>
                      <a:pt x="50" y="281"/>
                    </a:cubicBezTo>
                    <a:cubicBezTo>
                      <a:pt x="56" y="301"/>
                      <a:pt x="56" y="301"/>
                      <a:pt x="56" y="301"/>
                    </a:cubicBezTo>
                    <a:cubicBezTo>
                      <a:pt x="50" y="312"/>
                      <a:pt x="50" y="312"/>
                      <a:pt x="50" y="312"/>
                    </a:cubicBezTo>
                    <a:cubicBezTo>
                      <a:pt x="69" y="328"/>
                      <a:pt x="69" y="328"/>
                      <a:pt x="69" y="328"/>
                    </a:cubicBezTo>
                    <a:cubicBezTo>
                      <a:pt x="69" y="328"/>
                      <a:pt x="45" y="333"/>
                      <a:pt x="42" y="339"/>
                    </a:cubicBezTo>
                    <a:cubicBezTo>
                      <a:pt x="40" y="344"/>
                      <a:pt x="48" y="356"/>
                      <a:pt x="48" y="356"/>
                    </a:cubicBezTo>
                    <a:cubicBezTo>
                      <a:pt x="40" y="363"/>
                      <a:pt x="40" y="363"/>
                      <a:pt x="40" y="363"/>
                    </a:cubicBezTo>
                    <a:cubicBezTo>
                      <a:pt x="38" y="368"/>
                      <a:pt x="38" y="368"/>
                      <a:pt x="38" y="368"/>
                    </a:cubicBezTo>
                    <a:cubicBezTo>
                      <a:pt x="38" y="368"/>
                      <a:pt x="50" y="367"/>
                      <a:pt x="57" y="372"/>
                    </a:cubicBezTo>
                    <a:cubicBezTo>
                      <a:pt x="64" y="377"/>
                      <a:pt x="34" y="407"/>
                      <a:pt x="34" y="407"/>
                    </a:cubicBezTo>
                    <a:cubicBezTo>
                      <a:pt x="28" y="409"/>
                      <a:pt x="28" y="409"/>
                      <a:pt x="28" y="409"/>
                    </a:cubicBezTo>
                    <a:cubicBezTo>
                      <a:pt x="18" y="429"/>
                      <a:pt x="18" y="429"/>
                      <a:pt x="18" y="429"/>
                    </a:cubicBezTo>
                    <a:cubicBezTo>
                      <a:pt x="18" y="429"/>
                      <a:pt x="18" y="429"/>
                      <a:pt x="17" y="429"/>
                    </a:cubicBezTo>
                    <a:cubicBezTo>
                      <a:pt x="17" y="436"/>
                      <a:pt x="17" y="436"/>
                      <a:pt x="17" y="436"/>
                    </a:cubicBezTo>
                    <a:cubicBezTo>
                      <a:pt x="1" y="443"/>
                      <a:pt x="1" y="443"/>
                      <a:pt x="1" y="443"/>
                    </a:cubicBezTo>
                    <a:cubicBezTo>
                      <a:pt x="8" y="452"/>
                      <a:pt x="8" y="452"/>
                      <a:pt x="8" y="452"/>
                    </a:cubicBezTo>
                    <a:cubicBezTo>
                      <a:pt x="0" y="453"/>
                      <a:pt x="0" y="453"/>
                      <a:pt x="0" y="453"/>
                    </a:cubicBezTo>
                    <a:cubicBezTo>
                      <a:pt x="0" y="463"/>
                      <a:pt x="0" y="463"/>
                      <a:pt x="0" y="463"/>
                    </a:cubicBezTo>
                    <a:cubicBezTo>
                      <a:pt x="14" y="464"/>
                      <a:pt x="14" y="464"/>
                      <a:pt x="14" y="464"/>
                    </a:cubicBezTo>
                    <a:cubicBezTo>
                      <a:pt x="13" y="496"/>
                      <a:pt x="13" y="496"/>
                      <a:pt x="13" y="496"/>
                    </a:cubicBezTo>
                    <a:cubicBezTo>
                      <a:pt x="29" y="497"/>
                      <a:pt x="29" y="497"/>
                      <a:pt x="29" y="497"/>
                    </a:cubicBezTo>
                    <a:cubicBezTo>
                      <a:pt x="37" y="507"/>
                      <a:pt x="37" y="507"/>
                      <a:pt x="37" y="507"/>
                    </a:cubicBezTo>
                    <a:cubicBezTo>
                      <a:pt x="26" y="505"/>
                      <a:pt x="26" y="505"/>
                      <a:pt x="26" y="505"/>
                    </a:cubicBezTo>
                    <a:cubicBezTo>
                      <a:pt x="25" y="516"/>
                      <a:pt x="25" y="516"/>
                      <a:pt x="25" y="516"/>
                    </a:cubicBezTo>
                    <a:cubicBezTo>
                      <a:pt x="13" y="516"/>
                      <a:pt x="13" y="516"/>
                      <a:pt x="13" y="516"/>
                    </a:cubicBezTo>
                    <a:cubicBezTo>
                      <a:pt x="17" y="528"/>
                      <a:pt x="17" y="528"/>
                      <a:pt x="17" y="528"/>
                    </a:cubicBezTo>
                    <a:cubicBezTo>
                      <a:pt x="2" y="531"/>
                      <a:pt x="2" y="531"/>
                      <a:pt x="2" y="531"/>
                    </a:cubicBezTo>
                    <a:cubicBezTo>
                      <a:pt x="9" y="540"/>
                      <a:pt x="9" y="540"/>
                      <a:pt x="9" y="540"/>
                    </a:cubicBezTo>
                    <a:cubicBezTo>
                      <a:pt x="0" y="549"/>
                      <a:pt x="0" y="549"/>
                      <a:pt x="0" y="549"/>
                    </a:cubicBezTo>
                    <a:cubicBezTo>
                      <a:pt x="4" y="575"/>
                      <a:pt x="4" y="575"/>
                      <a:pt x="4" y="575"/>
                    </a:cubicBezTo>
                    <a:cubicBezTo>
                      <a:pt x="8" y="585"/>
                      <a:pt x="8" y="585"/>
                      <a:pt x="8" y="585"/>
                    </a:cubicBezTo>
                    <a:cubicBezTo>
                      <a:pt x="14" y="583"/>
                      <a:pt x="14" y="583"/>
                      <a:pt x="14" y="583"/>
                    </a:cubicBezTo>
                    <a:cubicBezTo>
                      <a:pt x="14" y="583"/>
                      <a:pt x="41" y="593"/>
                      <a:pt x="41" y="608"/>
                    </a:cubicBezTo>
                    <a:cubicBezTo>
                      <a:pt x="45" y="613"/>
                      <a:pt x="45" y="613"/>
                      <a:pt x="45" y="613"/>
                    </a:cubicBezTo>
                    <a:cubicBezTo>
                      <a:pt x="45" y="613"/>
                      <a:pt x="53" y="635"/>
                      <a:pt x="44" y="644"/>
                    </a:cubicBezTo>
                    <a:cubicBezTo>
                      <a:pt x="53" y="641"/>
                      <a:pt x="53" y="641"/>
                      <a:pt x="53" y="641"/>
                    </a:cubicBezTo>
                    <a:cubicBezTo>
                      <a:pt x="62" y="656"/>
                      <a:pt x="62" y="656"/>
                      <a:pt x="62" y="656"/>
                    </a:cubicBezTo>
                    <a:cubicBezTo>
                      <a:pt x="68" y="653"/>
                      <a:pt x="68" y="653"/>
                      <a:pt x="68" y="653"/>
                    </a:cubicBezTo>
                    <a:cubicBezTo>
                      <a:pt x="68" y="644"/>
                      <a:pt x="68" y="644"/>
                      <a:pt x="68" y="644"/>
                    </a:cubicBezTo>
                    <a:cubicBezTo>
                      <a:pt x="76" y="645"/>
                      <a:pt x="76" y="645"/>
                      <a:pt x="76" y="645"/>
                    </a:cubicBezTo>
                    <a:cubicBezTo>
                      <a:pt x="76" y="656"/>
                      <a:pt x="76" y="656"/>
                      <a:pt x="76" y="656"/>
                    </a:cubicBezTo>
                    <a:cubicBezTo>
                      <a:pt x="76" y="656"/>
                      <a:pt x="85" y="664"/>
                      <a:pt x="94" y="684"/>
                    </a:cubicBezTo>
                    <a:cubicBezTo>
                      <a:pt x="104" y="704"/>
                      <a:pt x="102" y="708"/>
                      <a:pt x="112" y="700"/>
                    </a:cubicBezTo>
                    <a:cubicBezTo>
                      <a:pt x="112" y="703"/>
                      <a:pt x="108" y="720"/>
                      <a:pt x="108" y="720"/>
                    </a:cubicBezTo>
                    <a:cubicBezTo>
                      <a:pt x="142" y="721"/>
                      <a:pt x="142" y="721"/>
                      <a:pt x="142" y="721"/>
                    </a:cubicBezTo>
                    <a:cubicBezTo>
                      <a:pt x="144" y="716"/>
                      <a:pt x="144" y="716"/>
                      <a:pt x="144" y="716"/>
                    </a:cubicBezTo>
                    <a:cubicBezTo>
                      <a:pt x="156" y="723"/>
                      <a:pt x="156" y="723"/>
                      <a:pt x="156" y="723"/>
                    </a:cubicBezTo>
                    <a:cubicBezTo>
                      <a:pt x="169" y="712"/>
                      <a:pt x="169" y="712"/>
                      <a:pt x="169" y="712"/>
                    </a:cubicBezTo>
                    <a:cubicBezTo>
                      <a:pt x="176" y="716"/>
                      <a:pt x="176" y="716"/>
                      <a:pt x="176" y="716"/>
                    </a:cubicBezTo>
                    <a:cubicBezTo>
                      <a:pt x="173" y="707"/>
                      <a:pt x="173" y="707"/>
                      <a:pt x="173" y="707"/>
                    </a:cubicBezTo>
                    <a:cubicBezTo>
                      <a:pt x="182" y="707"/>
                      <a:pt x="182" y="707"/>
                      <a:pt x="182" y="707"/>
                    </a:cubicBezTo>
                    <a:cubicBezTo>
                      <a:pt x="188" y="720"/>
                      <a:pt x="188" y="720"/>
                      <a:pt x="188" y="720"/>
                    </a:cubicBezTo>
                    <a:cubicBezTo>
                      <a:pt x="197" y="723"/>
                      <a:pt x="197" y="723"/>
                      <a:pt x="197" y="723"/>
                    </a:cubicBezTo>
                    <a:cubicBezTo>
                      <a:pt x="197" y="711"/>
                      <a:pt x="197" y="711"/>
                      <a:pt x="197" y="711"/>
                    </a:cubicBezTo>
                    <a:cubicBezTo>
                      <a:pt x="252" y="709"/>
                      <a:pt x="252" y="709"/>
                      <a:pt x="252" y="709"/>
                    </a:cubicBezTo>
                    <a:cubicBezTo>
                      <a:pt x="252" y="709"/>
                      <a:pt x="220" y="675"/>
                      <a:pt x="301" y="691"/>
                    </a:cubicBezTo>
                    <a:cubicBezTo>
                      <a:pt x="300" y="708"/>
                      <a:pt x="300" y="708"/>
                      <a:pt x="300" y="708"/>
                    </a:cubicBezTo>
                    <a:cubicBezTo>
                      <a:pt x="313" y="708"/>
                      <a:pt x="313" y="708"/>
                      <a:pt x="313" y="708"/>
                    </a:cubicBezTo>
                    <a:cubicBezTo>
                      <a:pt x="318" y="713"/>
                      <a:pt x="318" y="713"/>
                      <a:pt x="318" y="713"/>
                    </a:cubicBezTo>
                    <a:cubicBezTo>
                      <a:pt x="312" y="721"/>
                      <a:pt x="312" y="721"/>
                      <a:pt x="312" y="721"/>
                    </a:cubicBezTo>
                    <a:cubicBezTo>
                      <a:pt x="318" y="725"/>
                      <a:pt x="318" y="725"/>
                      <a:pt x="318" y="725"/>
                    </a:cubicBezTo>
                    <a:cubicBezTo>
                      <a:pt x="325" y="719"/>
                      <a:pt x="325" y="719"/>
                      <a:pt x="325" y="719"/>
                    </a:cubicBezTo>
                    <a:cubicBezTo>
                      <a:pt x="325" y="719"/>
                      <a:pt x="336" y="740"/>
                      <a:pt x="342" y="748"/>
                    </a:cubicBezTo>
                    <a:cubicBezTo>
                      <a:pt x="332" y="766"/>
                      <a:pt x="332" y="766"/>
                      <a:pt x="332" y="766"/>
                    </a:cubicBezTo>
                    <a:cubicBezTo>
                      <a:pt x="332" y="767"/>
                      <a:pt x="332" y="767"/>
                      <a:pt x="332" y="767"/>
                    </a:cubicBezTo>
                    <a:cubicBezTo>
                      <a:pt x="341" y="769"/>
                      <a:pt x="341" y="769"/>
                      <a:pt x="341" y="769"/>
                    </a:cubicBezTo>
                    <a:cubicBezTo>
                      <a:pt x="341" y="792"/>
                      <a:pt x="341" y="792"/>
                      <a:pt x="341" y="792"/>
                    </a:cubicBezTo>
                    <a:cubicBezTo>
                      <a:pt x="353" y="787"/>
                      <a:pt x="353" y="787"/>
                      <a:pt x="353" y="787"/>
                    </a:cubicBezTo>
                    <a:cubicBezTo>
                      <a:pt x="353" y="787"/>
                      <a:pt x="365" y="801"/>
                      <a:pt x="374" y="801"/>
                    </a:cubicBezTo>
                    <a:cubicBezTo>
                      <a:pt x="384" y="801"/>
                      <a:pt x="388" y="797"/>
                      <a:pt x="388" y="797"/>
                    </a:cubicBezTo>
                    <a:cubicBezTo>
                      <a:pt x="388" y="807"/>
                      <a:pt x="388" y="807"/>
                      <a:pt x="388" y="807"/>
                    </a:cubicBezTo>
                    <a:cubicBezTo>
                      <a:pt x="404" y="815"/>
                      <a:pt x="404" y="815"/>
                      <a:pt x="404" y="815"/>
                    </a:cubicBezTo>
                    <a:cubicBezTo>
                      <a:pt x="404" y="828"/>
                      <a:pt x="404" y="828"/>
                      <a:pt x="404" y="828"/>
                    </a:cubicBezTo>
                    <a:cubicBezTo>
                      <a:pt x="421" y="816"/>
                      <a:pt x="421" y="816"/>
                      <a:pt x="421" y="816"/>
                    </a:cubicBezTo>
                    <a:cubicBezTo>
                      <a:pt x="421" y="816"/>
                      <a:pt x="426" y="819"/>
                      <a:pt x="430" y="819"/>
                    </a:cubicBezTo>
                    <a:cubicBezTo>
                      <a:pt x="434" y="819"/>
                      <a:pt x="438" y="791"/>
                      <a:pt x="438" y="791"/>
                    </a:cubicBezTo>
                    <a:cubicBezTo>
                      <a:pt x="468" y="792"/>
                      <a:pt x="468" y="792"/>
                      <a:pt x="468" y="792"/>
                    </a:cubicBezTo>
                    <a:cubicBezTo>
                      <a:pt x="469" y="785"/>
                      <a:pt x="469" y="785"/>
                      <a:pt x="469" y="785"/>
                    </a:cubicBezTo>
                    <a:cubicBezTo>
                      <a:pt x="481" y="793"/>
                      <a:pt x="481" y="793"/>
                      <a:pt x="481" y="793"/>
                    </a:cubicBezTo>
                    <a:cubicBezTo>
                      <a:pt x="500" y="788"/>
                      <a:pt x="500" y="788"/>
                      <a:pt x="500" y="788"/>
                    </a:cubicBezTo>
                    <a:cubicBezTo>
                      <a:pt x="502" y="757"/>
                      <a:pt x="502" y="757"/>
                      <a:pt x="502" y="757"/>
                    </a:cubicBezTo>
                    <a:cubicBezTo>
                      <a:pt x="492" y="757"/>
                      <a:pt x="492" y="757"/>
                      <a:pt x="492" y="757"/>
                    </a:cubicBezTo>
                    <a:cubicBezTo>
                      <a:pt x="497" y="747"/>
                      <a:pt x="497" y="747"/>
                      <a:pt x="497" y="747"/>
                    </a:cubicBezTo>
                    <a:cubicBezTo>
                      <a:pt x="505" y="748"/>
                      <a:pt x="505" y="748"/>
                      <a:pt x="505" y="748"/>
                    </a:cubicBezTo>
                    <a:cubicBezTo>
                      <a:pt x="512" y="733"/>
                      <a:pt x="512" y="733"/>
                      <a:pt x="512" y="733"/>
                    </a:cubicBezTo>
                    <a:cubicBezTo>
                      <a:pt x="525" y="735"/>
                      <a:pt x="525" y="735"/>
                      <a:pt x="525" y="735"/>
                    </a:cubicBezTo>
                    <a:cubicBezTo>
                      <a:pt x="528" y="720"/>
                      <a:pt x="528" y="720"/>
                      <a:pt x="528" y="720"/>
                    </a:cubicBezTo>
                    <a:cubicBezTo>
                      <a:pt x="536" y="715"/>
                      <a:pt x="536" y="715"/>
                      <a:pt x="536" y="715"/>
                    </a:cubicBezTo>
                    <a:lnTo>
                      <a:pt x="530" y="697"/>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95" name="Lorraine" descr="© INSCALE GmbH, 05.05.2010&#10;http://www.presentationload.com/">
                <a:extLst>
                  <a:ext uri="{FF2B5EF4-FFF2-40B4-BE49-F238E27FC236}">
                    <a16:creationId xmlns:a16="http://schemas.microsoft.com/office/drawing/2014/main" id="{2ACB0F13-E462-48F4-A8B6-FD41570E9DC6}"/>
                  </a:ext>
                </a:extLst>
              </p:cNvPr>
              <p:cNvSpPr>
                <a:spLocks/>
              </p:cNvSpPr>
              <p:nvPr/>
            </p:nvSpPr>
            <p:spPr bwMode="gray">
              <a:xfrm>
                <a:off x="2349" y="641"/>
                <a:ext cx="619" cy="618"/>
              </a:xfrm>
              <a:custGeom>
                <a:avLst/>
                <a:gdLst/>
                <a:ahLst/>
                <a:cxnLst>
                  <a:cxn ang="0">
                    <a:pos x="552" y="140"/>
                  </a:cxn>
                  <a:cxn ang="0">
                    <a:pos x="524" y="152"/>
                  </a:cxn>
                  <a:cxn ang="0">
                    <a:pos x="482" y="143"/>
                  </a:cxn>
                  <a:cxn ang="0">
                    <a:pos x="464" y="142"/>
                  </a:cxn>
                  <a:cxn ang="0">
                    <a:pos x="429" y="124"/>
                  </a:cxn>
                  <a:cxn ang="0">
                    <a:pos x="423" y="143"/>
                  </a:cxn>
                  <a:cxn ang="0">
                    <a:pos x="395" y="131"/>
                  </a:cxn>
                  <a:cxn ang="0">
                    <a:pos x="388" y="114"/>
                  </a:cxn>
                  <a:cxn ang="0">
                    <a:pos x="365" y="84"/>
                  </a:cxn>
                  <a:cxn ang="0">
                    <a:pos x="368" y="71"/>
                  </a:cxn>
                  <a:cxn ang="0">
                    <a:pos x="333" y="43"/>
                  </a:cxn>
                  <a:cxn ang="0">
                    <a:pos x="281" y="38"/>
                  </a:cxn>
                  <a:cxn ang="0">
                    <a:pos x="233" y="36"/>
                  </a:cxn>
                  <a:cxn ang="0">
                    <a:pos x="191" y="20"/>
                  </a:cxn>
                  <a:cxn ang="0">
                    <a:pos x="165" y="33"/>
                  </a:cxn>
                  <a:cxn ang="0">
                    <a:pos x="128" y="21"/>
                  </a:cxn>
                  <a:cxn ang="0">
                    <a:pos x="92" y="21"/>
                  </a:cxn>
                  <a:cxn ang="0">
                    <a:pos x="70" y="37"/>
                  </a:cxn>
                  <a:cxn ang="0">
                    <a:pos x="49" y="30"/>
                  </a:cxn>
                  <a:cxn ang="0">
                    <a:pos x="26" y="49"/>
                  </a:cxn>
                  <a:cxn ang="0">
                    <a:pos x="21" y="107"/>
                  </a:cxn>
                  <a:cxn ang="0">
                    <a:pos x="8" y="137"/>
                  </a:cxn>
                  <a:cxn ang="0">
                    <a:pos x="4" y="151"/>
                  </a:cxn>
                  <a:cxn ang="0">
                    <a:pos x="26" y="223"/>
                  </a:cxn>
                  <a:cxn ang="0">
                    <a:pos x="6" y="263"/>
                  </a:cxn>
                  <a:cxn ang="0">
                    <a:pos x="26" y="295"/>
                  </a:cxn>
                  <a:cxn ang="0">
                    <a:pos x="33" y="329"/>
                  </a:cxn>
                  <a:cxn ang="0">
                    <a:pos x="125" y="395"/>
                  </a:cxn>
                  <a:cxn ang="0">
                    <a:pos x="118" y="409"/>
                  </a:cxn>
                  <a:cxn ang="0">
                    <a:pos x="136" y="414"/>
                  </a:cxn>
                  <a:cxn ang="0">
                    <a:pos x="165" y="449"/>
                  </a:cxn>
                  <a:cxn ang="0">
                    <a:pos x="181" y="461"/>
                  </a:cxn>
                  <a:cxn ang="0">
                    <a:pos x="160" y="502"/>
                  </a:cxn>
                  <a:cxn ang="0">
                    <a:pos x="197" y="519"/>
                  </a:cxn>
                  <a:cxn ang="0">
                    <a:pos x="201" y="539"/>
                  </a:cxn>
                  <a:cxn ang="0">
                    <a:pos x="217" y="544"/>
                  </a:cxn>
                  <a:cxn ang="0">
                    <a:pos x="234" y="534"/>
                  </a:cxn>
                  <a:cxn ang="0">
                    <a:pos x="244" y="537"/>
                  </a:cxn>
                  <a:cxn ang="0">
                    <a:pos x="274" y="517"/>
                  </a:cxn>
                  <a:cxn ang="0">
                    <a:pos x="286" y="534"/>
                  </a:cxn>
                  <a:cxn ang="0">
                    <a:pos x="337" y="537"/>
                  </a:cxn>
                  <a:cxn ang="0">
                    <a:pos x="372" y="537"/>
                  </a:cxn>
                  <a:cxn ang="0">
                    <a:pos x="414" y="562"/>
                  </a:cxn>
                  <a:cxn ang="0">
                    <a:pos x="442" y="559"/>
                  </a:cxn>
                  <a:cxn ang="0">
                    <a:pos x="441" y="545"/>
                  </a:cxn>
                  <a:cxn ang="0">
                    <a:pos x="472" y="470"/>
                  </a:cxn>
                  <a:cxn ang="0">
                    <a:pos x="490" y="411"/>
                  </a:cxn>
                  <a:cxn ang="0">
                    <a:pos x="469" y="399"/>
                  </a:cxn>
                  <a:cxn ang="0">
                    <a:pos x="458" y="343"/>
                  </a:cxn>
                  <a:cxn ang="0">
                    <a:pos x="508" y="299"/>
                  </a:cxn>
                  <a:cxn ang="0">
                    <a:pos x="477" y="242"/>
                  </a:cxn>
                  <a:cxn ang="0">
                    <a:pos x="449" y="243"/>
                  </a:cxn>
                  <a:cxn ang="0">
                    <a:pos x="429" y="223"/>
                  </a:cxn>
                  <a:cxn ang="0">
                    <a:pos x="450" y="166"/>
                  </a:cxn>
                  <a:cxn ang="0">
                    <a:pos x="465" y="189"/>
                  </a:cxn>
                  <a:cxn ang="0">
                    <a:pos x="533" y="197"/>
                  </a:cxn>
                  <a:cxn ang="0">
                    <a:pos x="563" y="150"/>
                  </a:cxn>
                </a:cxnLst>
                <a:rect l="0" t="0" r="r" b="b"/>
                <a:pathLst>
                  <a:path w="574" h="573">
                    <a:moveTo>
                      <a:pt x="563" y="150"/>
                    </a:moveTo>
                    <a:cubicBezTo>
                      <a:pt x="569" y="145"/>
                      <a:pt x="561" y="142"/>
                      <a:pt x="552" y="140"/>
                    </a:cubicBezTo>
                    <a:cubicBezTo>
                      <a:pt x="542" y="130"/>
                      <a:pt x="536" y="147"/>
                      <a:pt x="536" y="147"/>
                    </a:cubicBezTo>
                    <a:cubicBezTo>
                      <a:pt x="524" y="152"/>
                      <a:pt x="524" y="152"/>
                      <a:pt x="524" y="152"/>
                    </a:cubicBezTo>
                    <a:cubicBezTo>
                      <a:pt x="489" y="154"/>
                      <a:pt x="489" y="154"/>
                      <a:pt x="489" y="154"/>
                    </a:cubicBezTo>
                    <a:cubicBezTo>
                      <a:pt x="482" y="143"/>
                      <a:pt x="482" y="143"/>
                      <a:pt x="482" y="143"/>
                    </a:cubicBezTo>
                    <a:cubicBezTo>
                      <a:pt x="471" y="154"/>
                      <a:pt x="471" y="154"/>
                      <a:pt x="471" y="154"/>
                    </a:cubicBezTo>
                    <a:cubicBezTo>
                      <a:pt x="464" y="142"/>
                      <a:pt x="464" y="142"/>
                      <a:pt x="464" y="142"/>
                    </a:cubicBezTo>
                    <a:cubicBezTo>
                      <a:pt x="464" y="122"/>
                      <a:pt x="438" y="126"/>
                      <a:pt x="438" y="126"/>
                    </a:cubicBezTo>
                    <a:cubicBezTo>
                      <a:pt x="429" y="124"/>
                      <a:pt x="429" y="124"/>
                      <a:pt x="429" y="124"/>
                    </a:cubicBezTo>
                    <a:cubicBezTo>
                      <a:pt x="431" y="135"/>
                      <a:pt x="431" y="135"/>
                      <a:pt x="431" y="135"/>
                    </a:cubicBezTo>
                    <a:cubicBezTo>
                      <a:pt x="423" y="143"/>
                      <a:pt x="423" y="143"/>
                      <a:pt x="423" y="143"/>
                    </a:cubicBezTo>
                    <a:cubicBezTo>
                      <a:pt x="419" y="140"/>
                      <a:pt x="419" y="140"/>
                      <a:pt x="419" y="140"/>
                    </a:cubicBezTo>
                    <a:cubicBezTo>
                      <a:pt x="397" y="145"/>
                      <a:pt x="395" y="131"/>
                      <a:pt x="395" y="131"/>
                    </a:cubicBezTo>
                    <a:cubicBezTo>
                      <a:pt x="403" y="125"/>
                      <a:pt x="397" y="121"/>
                      <a:pt x="397" y="121"/>
                    </a:cubicBezTo>
                    <a:cubicBezTo>
                      <a:pt x="392" y="126"/>
                      <a:pt x="388" y="114"/>
                      <a:pt x="388" y="114"/>
                    </a:cubicBezTo>
                    <a:cubicBezTo>
                      <a:pt x="389" y="107"/>
                      <a:pt x="377" y="99"/>
                      <a:pt x="370" y="96"/>
                    </a:cubicBezTo>
                    <a:cubicBezTo>
                      <a:pt x="370" y="88"/>
                      <a:pt x="365" y="84"/>
                      <a:pt x="365" y="84"/>
                    </a:cubicBezTo>
                    <a:cubicBezTo>
                      <a:pt x="371" y="79"/>
                      <a:pt x="371" y="79"/>
                      <a:pt x="371" y="79"/>
                    </a:cubicBezTo>
                    <a:cubicBezTo>
                      <a:pt x="368" y="71"/>
                      <a:pt x="368" y="71"/>
                      <a:pt x="368" y="71"/>
                    </a:cubicBezTo>
                    <a:cubicBezTo>
                      <a:pt x="361" y="71"/>
                      <a:pt x="358" y="59"/>
                      <a:pt x="358" y="59"/>
                    </a:cubicBezTo>
                    <a:cubicBezTo>
                      <a:pt x="333" y="43"/>
                      <a:pt x="333" y="43"/>
                      <a:pt x="333" y="43"/>
                    </a:cubicBezTo>
                    <a:cubicBezTo>
                      <a:pt x="317" y="61"/>
                      <a:pt x="297" y="38"/>
                      <a:pt x="297" y="38"/>
                    </a:cubicBezTo>
                    <a:cubicBezTo>
                      <a:pt x="297" y="38"/>
                      <a:pt x="297" y="38"/>
                      <a:pt x="281" y="38"/>
                    </a:cubicBezTo>
                    <a:cubicBezTo>
                      <a:pt x="272" y="54"/>
                      <a:pt x="245" y="52"/>
                      <a:pt x="243" y="48"/>
                    </a:cubicBezTo>
                    <a:cubicBezTo>
                      <a:pt x="241" y="44"/>
                      <a:pt x="233" y="36"/>
                      <a:pt x="233" y="36"/>
                    </a:cubicBezTo>
                    <a:cubicBezTo>
                      <a:pt x="233" y="36"/>
                      <a:pt x="223" y="33"/>
                      <a:pt x="212" y="31"/>
                    </a:cubicBezTo>
                    <a:cubicBezTo>
                      <a:pt x="206" y="20"/>
                      <a:pt x="191" y="20"/>
                      <a:pt x="191" y="20"/>
                    </a:cubicBezTo>
                    <a:cubicBezTo>
                      <a:pt x="175" y="19"/>
                      <a:pt x="175" y="19"/>
                      <a:pt x="175" y="19"/>
                    </a:cubicBezTo>
                    <a:cubicBezTo>
                      <a:pt x="165" y="33"/>
                      <a:pt x="165" y="33"/>
                      <a:pt x="165" y="33"/>
                    </a:cubicBezTo>
                    <a:cubicBezTo>
                      <a:pt x="165" y="33"/>
                      <a:pt x="162" y="29"/>
                      <a:pt x="145" y="30"/>
                    </a:cubicBezTo>
                    <a:cubicBezTo>
                      <a:pt x="126" y="45"/>
                      <a:pt x="129" y="24"/>
                      <a:pt x="128" y="21"/>
                    </a:cubicBezTo>
                    <a:cubicBezTo>
                      <a:pt x="128" y="5"/>
                      <a:pt x="111" y="1"/>
                      <a:pt x="104" y="0"/>
                    </a:cubicBezTo>
                    <a:cubicBezTo>
                      <a:pt x="92" y="21"/>
                      <a:pt x="92" y="21"/>
                      <a:pt x="92" y="21"/>
                    </a:cubicBezTo>
                    <a:cubicBezTo>
                      <a:pt x="78" y="22"/>
                      <a:pt x="78" y="22"/>
                      <a:pt x="78" y="22"/>
                    </a:cubicBezTo>
                    <a:cubicBezTo>
                      <a:pt x="70" y="37"/>
                      <a:pt x="70" y="37"/>
                      <a:pt x="70" y="37"/>
                    </a:cubicBezTo>
                    <a:cubicBezTo>
                      <a:pt x="58" y="30"/>
                      <a:pt x="58" y="30"/>
                      <a:pt x="58" y="30"/>
                    </a:cubicBezTo>
                    <a:cubicBezTo>
                      <a:pt x="49" y="30"/>
                      <a:pt x="49" y="30"/>
                      <a:pt x="49" y="30"/>
                    </a:cubicBezTo>
                    <a:cubicBezTo>
                      <a:pt x="32" y="25"/>
                      <a:pt x="32" y="25"/>
                      <a:pt x="32" y="25"/>
                    </a:cubicBezTo>
                    <a:cubicBezTo>
                      <a:pt x="32" y="25"/>
                      <a:pt x="30" y="51"/>
                      <a:pt x="26" y="49"/>
                    </a:cubicBezTo>
                    <a:cubicBezTo>
                      <a:pt x="38" y="63"/>
                      <a:pt x="38" y="78"/>
                      <a:pt x="38" y="78"/>
                    </a:cubicBezTo>
                    <a:cubicBezTo>
                      <a:pt x="38" y="78"/>
                      <a:pt x="25" y="102"/>
                      <a:pt x="21" y="107"/>
                    </a:cubicBezTo>
                    <a:cubicBezTo>
                      <a:pt x="17" y="113"/>
                      <a:pt x="25" y="125"/>
                      <a:pt x="25" y="125"/>
                    </a:cubicBezTo>
                    <a:cubicBezTo>
                      <a:pt x="8" y="137"/>
                      <a:pt x="8" y="137"/>
                      <a:pt x="8" y="137"/>
                    </a:cubicBezTo>
                    <a:cubicBezTo>
                      <a:pt x="14" y="143"/>
                      <a:pt x="14" y="143"/>
                      <a:pt x="14" y="143"/>
                    </a:cubicBezTo>
                    <a:cubicBezTo>
                      <a:pt x="4" y="151"/>
                      <a:pt x="4" y="151"/>
                      <a:pt x="4" y="151"/>
                    </a:cubicBezTo>
                    <a:cubicBezTo>
                      <a:pt x="4" y="151"/>
                      <a:pt x="20" y="197"/>
                      <a:pt x="17" y="201"/>
                    </a:cubicBezTo>
                    <a:cubicBezTo>
                      <a:pt x="28" y="195"/>
                      <a:pt x="25" y="214"/>
                      <a:pt x="26" y="223"/>
                    </a:cubicBezTo>
                    <a:cubicBezTo>
                      <a:pt x="28" y="233"/>
                      <a:pt x="4" y="242"/>
                      <a:pt x="4" y="242"/>
                    </a:cubicBezTo>
                    <a:cubicBezTo>
                      <a:pt x="6" y="263"/>
                      <a:pt x="6" y="263"/>
                      <a:pt x="6" y="263"/>
                    </a:cubicBezTo>
                    <a:cubicBezTo>
                      <a:pt x="0" y="277"/>
                      <a:pt x="0" y="277"/>
                      <a:pt x="0" y="277"/>
                    </a:cubicBezTo>
                    <a:cubicBezTo>
                      <a:pt x="26" y="295"/>
                      <a:pt x="26" y="295"/>
                      <a:pt x="26" y="295"/>
                    </a:cubicBezTo>
                    <a:cubicBezTo>
                      <a:pt x="25" y="335"/>
                      <a:pt x="25" y="335"/>
                      <a:pt x="25" y="335"/>
                    </a:cubicBezTo>
                    <a:cubicBezTo>
                      <a:pt x="33" y="329"/>
                      <a:pt x="33" y="329"/>
                      <a:pt x="33" y="329"/>
                    </a:cubicBezTo>
                    <a:cubicBezTo>
                      <a:pt x="33" y="329"/>
                      <a:pt x="68" y="356"/>
                      <a:pt x="67" y="359"/>
                    </a:cubicBezTo>
                    <a:cubicBezTo>
                      <a:pt x="84" y="359"/>
                      <a:pt x="125" y="395"/>
                      <a:pt x="125" y="395"/>
                    </a:cubicBezTo>
                    <a:cubicBezTo>
                      <a:pt x="113" y="401"/>
                      <a:pt x="113" y="401"/>
                      <a:pt x="113" y="401"/>
                    </a:cubicBezTo>
                    <a:cubicBezTo>
                      <a:pt x="118" y="409"/>
                      <a:pt x="118" y="409"/>
                      <a:pt x="118" y="409"/>
                    </a:cubicBezTo>
                    <a:cubicBezTo>
                      <a:pt x="118" y="409"/>
                      <a:pt x="120" y="412"/>
                      <a:pt x="120" y="415"/>
                    </a:cubicBezTo>
                    <a:cubicBezTo>
                      <a:pt x="126" y="411"/>
                      <a:pt x="136" y="414"/>
                      <a:pt x="136" y="414"/>
                    </a:cubicBezTo>
                    <a:cubicBezTo>
                      <a:pt x="149" y="437"/>
                      <a:pt x="149" y="437"/>
                      <a:pt x="149" y="437"/>
                    </a:cubicBezTo>
                    <a:cubicBezTo>
                      <a:pt x="165" y="426"/>
                      <a:pt x="165" y="449"/>
                      <a:pt x="165" y="449"/>
                    </a:cubicBezTo>
                    <a:cubicBezTo>
                      <a:pt x="174" y="450"/>
                      <a:pt x="174" y="450"/>
                      <a:pt x="174" y="450"/>
                    </a:cubicBezTo>
                    <a:cubicBezTo>
                      <a:pt x="181" y="461"/>
                      <a:pt x="181" y="461"/>
                      <a:pt x="181" y="461"/>
                    </a:cubicBezTo>
                    <a:cubicBezTo>
                      <a:pt x="170" y="466"/>
                      <a:pt x="170" y="490"/>
                      <a:pt x="170" y="490"/>
                    </a:cubicBezTo>
                    <a:cubicBezTo>
                      <a:pt x="160" y="502"/>
                      <a:pt x="160" y="502"/>
                      <a:pt x="160" y="502"/>
                    </a:cubicBezTo>
                    <a:cubicBezTo>
                      <a:pt x="177" y="506"/>
                      <a:pt x="177" y="506"/>
                      <a:pt x="177" y="506"/>
                    </a:cubicBezTo>
                    <a:cubicBezTo>
                      <a:pt x="197" y="519"/>
                      <a:pt x="197" y="519"/>
                      <a:pt x="197" y="519"/>
                    </a:cubicBezTo>
                    <a:cubicBezTo>
                      <a:pt x="198" y="537"/>
                      <a:pt x="198" y="537"/>
                      <a:pt x="198" y="537"/>
                    </a:cubicBezTo>
                    <a:cubicBezTo>
                      <a:pt x="201" y="539"/>
                      <a:pt x="201" y="539"/>
                      <a:pt x="201" y="539"/>
                    </a:cubicBezTo>
                    <a:cubicBezTo>
                      <a:pt x="214" y="547"/>
                      <a:pt x="214" y="547"/>
                      <a:pt x="214" y="547"/>
                    </a:cubicBezTo>
                    <a:cubicBezTo>
                      <a:pt x="217" y="544"/>
                      <a:pt x="217" y="544"/>
                      <a:pt x="217" y="544"/>
                    </a:cubicBezTo>
                    <a:cubicBezTo>
                      <a:pt x="224" y="533"/>
                      <a:pt x="224" y="533"/>
                      <a:pt x="224" y="533"/>
                    </a:cubicBezTo>
                    <a:cubicBezTo>
                      <a:pt x="234" y="534"/>
                      <a:pt x="234" y="534"/>
                      <a:pt x="234" y="534"/>
                    </a:cubicBezTo>
                    <a:cubicBezTo>
                      <a:pt x="230" y="543"/>
                      <a:pt x="230" y="543"/>
                      <a:pt x="230" y="543"/>
                    </a:cubicBezTo>
                    <a:cubicBezTo>
                      <a:pt x="244" y="537"/>
                      <a:pt x="244" y="537"/>
                      <a:pt x="244" y="537"/>
                    </a:cubicBezTo>
                    <a:cubicBezTo>
                      <a:pt x="249" y="523"/>
                      <a:pt x="249" y="523"/>
                      <a:pt x="249" y="523"/>
                    </a:cubicBezTo>
                    <a:cubicBezTo>
                      <a:pt x="274" y="517"/>
                      <a:pt x="274" y="517"/>
                      <a:pt x="274" y="517"/>
                    </a:cubicBezTo>
                    <a:cubicBezTo>
                      <a:pt x="273" y="533"/>
                      <a:pt x="273" y="533"/>
                      <a:pt x="273" y="533"/>
                    </a:cubicBezTo>
                    <a:cubicBezTo>
                      <a:pt x="286" y="534"/>
                      <a:pt x="286" y="534"/>
                      <a:pt x="286" y="534"/>
                    </a:cubicBezTo>
                    <a:cubicBezTo>
                      <a:pt x="285" y="543"/>
                      <a:pt x="285" y="543"/>
                      <a:pt x="285" y="543"/>
                    </a:cubicBezTo>
                    <a:cubicBezTo>
                      <a:pt x="285" y="543"/>
                      <a:pt x="333" y="526"/>
                      <a:pt x="337" y="537"/>
                    </a:cubicBezTo>
                    <a:cubicBezTo>
                      <a:pt x="341" y="547"/>
                      <a:pt x="346" y="554"/>
                      <a:pt x="346" y="554"/>
                    </a:cubicBezTo>
                    <a:cubicBezTo>
                      <a:pt x="372" y="537"/>
                      <a:pt x="372" y="537"/>
                      <a:pt x="372" y="537"/>
                    </a:cubicBezTo>
                    <a:cubicBezTo>
                      <a:pt x="381" y="549"/>
                      <a:pt x="381" y="549"/>
                      <a:pt x="381" y="549"/>
                    </a:cubicBezTo>
                    <a:cubicBezTo>
                      <a:pt x="414" y="562"/>
                      <a:pt x="414" y="562"/>
                      <a:pt x="414" y="562"/>
                    </a:cubicBezTo>
                    <a:cubicBezTo>
                      <a:pt x="414" y="562"/>
                      <a:pt x="422" y="573"/>
                      <a:pt x="428" y="570"/>
                    </a:cubicBezTo>
                    <a:cubicBezTo>
                      <a:pt x="433" y="567"/>
                      <a:pt x="442" y="559"/>
                      <a:pt x="442" y="559"/>
                    </a:cubicBezTo>
                    <a:cubicBezTo>
                      <a:pt x="437" y="550"/>
                      <a:pt x="437" y="550"/>
                      <a:pt x="437" y="550"/>
                    </a:cubicBezTo>
                    <a:cubicBezTo>
                      <a:pt x="441" y="545"/>
                      <a:pt x="441" y="545"/>
                      <a:pt x="441" y="545"/>
                    </a:cubicBezTo>
                    <a:cubicBezTo>
                      <a:pt x="442" y="514"/>
                      <a:pt x="442" y="514"/>
                      <a:pt x="442" y="514"/>
                    </a:cubicBezTo>
                    <a:cubicBezTo>
                      <a:pt x="442" y="514"/>
                      <a:pt x="460" y="511"/>
                      <a:pt x="472" y="470"/>
                    </a:cubicBezTo>
                    <a:cubicBezTo>
                      <a:pt x="476" y="470"/>
                      <a:pt x="469" y="466"/>
                      <a:pt x="469" y="466"/>
                    </a:cubicBezTo>
                    <a:cubicBezTo>
                      <a:pt x="490" y="411"/>
                      <a:pt x="490" y="411"/>
                      <a:pt x="490" y="411"/>
                    </a:cubicBezTo>
                    <a:cubicBezTo>
                      <a:pt x="489" y="402"/>
                      <a:pt x="489" y="402"/>
                      <a:pt x="489" y="402"/>
                    </a:cubicBezTo>
                    <a:cubicBezTo>
                      <a:pt x="489" y="402"/>
                      <a:pt x="469" y="411"/>
                      <a:pt x="469" y="399"/>
                    </a:cubicBezTo>
                    <a:cubicBezTo>
                      <a:pt x="469" y="387"/>
                      <a:pt x="472" y="349"/>
                      <a:pt x="472" y="349"/>
                    </a:cubicBezTo>
                    <a:cubicBezTo>
                      <a:pt x="458" y="343"/>
                      <a:pt x="458" y="343"/>
                      <a:pt x="458" y="343"/>
                    </a:cubicBezTo>
                    <a:cubicBezTo>
                      <a:pt x="480" y="338"/>
                      <a:pt x="480" y="338"/>
                      <a:pt x="480" y="338"/>
                    </a:cubicBezTo>
                    <a:cubicBezTo>
                      <a:pt x="480" y="338"/>
                      <a:pt x="505" y="337"/>
                      <a:pt x="508" y="299"/>
                    </a:cubicBezTo>
                    <a:cubicBezTo>
                      <a:pt x="506" y="304"/>
                      <a:pt x="487" y="294"/>
                      <a:pt x="505" y="262"/>
                    </a:cubicBezTo>
                    <a:cubicBezTo>
                      <a:pt x="502" y="260"/>
                      <a:pt x="483" y="244"/>
                      <a:pt x="477" y="242"/>
                    </a:cubicBezTo>
                    <a:cubicBezTo>
                      <a:pt x="470" y="239"/>
                      <a:pt x="457" y="258"/>
                      <a:pt x="457" y="258"/>
                    </a:cubicBezTo>
                    <a:cubicBezTo>
                      <a:pt x="449" y="243"/>
                      <a:pt x="449" y="243"/>
                      <a:pt x="449" y="243"/>
                    </a:cubicBezTo>
                    <a:cubicBezTo>
                      <a:pt x="457" y="233"/>
                      <a:pt x="457" y="233"/>
                      <a:pt x="457" y="233"/>
                    </a:cubicBezTo>
                    <a:cubicBezTo>
                      <a:pt x="429" y="223"/>
                      <a:pt x="429" y="223"/>
                      <a:pt x="429" y="223"/>
                    </a:cubicBezTo>
                    <a:cubicBezTo>
                      <a:pt x="429" y="223"/>
                      <a:pt x="434" y="203"/>
                      <a:pt x="444" y="205"/>
                    </a:cubicBezTo>
                    <a:cubicBezTo>
                      <a:pt x="450" y="166"/>
                      <a:pt x="450" y="166"/>
                      <a:pt x="450" y="166"/>
                    </a:cubicBezTo>
                    <a:cubicBezTo>
                      <a:pt x="456" y="167"/>
                      <a:pt x="456" y="167"/>
                      <a:pt x="456" y="167"/>
                    </a:cubicBezTo>
                    <a:cubicBezTo>
                      <a:pt x="465" y="189"/>
                      <a:pt x="465" y="189"/>
                      <a:pt x="465" y="189"/>
                    </a:cubicBezTo>
                    <a:cubicBezTo>
                      <a:pt x="493" y="193"/>
                      <a:pt x="493" y="193"/>
                      <a:pt x="493" y="193"/>
                    </a:cubicBezTo>
                    <a:cubicBezTo>
                      <a:pt x="493" y="193"/>
                      <a:pt x="498" y="217"/>
                      <a:pt x="533" y="197"/>
                    </a:cubicBezTo>
                    <a:cubicBezTo>
                      <a:pt x="533" y="197"/>
                      <a:pt x="553" y="229"/>
                      <a:pt x="574" y="164"/>
                    </a:cubicBezTo>
                    <a:lnTo>
                      <a:pt x="563" y="150"/>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96" name="Alsace" descr="© INSCALE GmbH, 05.05.2010&#10;http://www.presentationload.com/">
                <a:extLst>
                  <a:ext uri="{FF2B5EF4-FFF2-40B4-BE49-F238E27FC236}">
                    <a16:creationId xmlns:a16="http://schemas.microsoft.com/office/drawing/2014/main" id="{F0F39AF0-5E77-4803-A309-B0A4DD2EAFF8}"/>
                  </a:ext>
                </a:extLst>
              </p:cNvPr>
              <p:cNvSpPr>
                <a:spLocks/>
              </p:cNvSpPr>
              <p:nvPr/>
            </p:nvSpPr>
            <p:spPr bwMode="gray">
              <a:xfrm>
                <a:off x="2808" y="818"/>
                <a:ext cx="317" cy="567"/>
              </a:xfrm>
              <a:custGeom>
                <a:avLst/>
                <a:gdLst/>
                <a:ahLst/>
                <a:cxnLst>
                  <a:cxn ang="0">
                    <a:pos x="271" y="35"/>
                  </a:cxn>
                  <a:cxn ang="0">
                    <a:pos x="250" y="20"/>
                  </a:cxn>
                  <a:cxn ang="0">
                    <a:pos x="242" y="22"/>
                  </a:cxn>
                  <a:cxn ang="0">
                    <a:pos x="225" y="13"/>
                  </a:cxn>
                  <a:cxn ang="0">
                    <a:pos x="206" y="12"/>
                  </a:cxn>
                  <a:cxn ang="0">
                    <a:pos x="172" y="14"/>
                  </a:cxn>
                  <a:cxn ang="0">
                    <a:pos x="164" y="2"/>
                  </a:cxn>
                  <a:cxn ang="0">
                    <a:pos x="152" y="4"/>
                  </a:cxn>
                  <a:cxn ang="0">
                    <a:pos x="148" y="0"/>
                  </a:cxn>
                  <a:cxn ang="0">
                    <a:pos x="107" y="33"/>
                  </a:cxn>
                  <a:cxn ang="0">
                    <a:pos x="67" y="29"/>
                  </a:cxn>
                  <a:cxn ang="0">
                    <a:pos x="39" y="25"/>
                  </a:cxn>
                  <a:cxn ang="0">
                    <a:pos x="30" y="3"/>
                  </a:cxn>
                  <a:cxn ang="0">
                    <a:pos x="24" y="2"/>
                  </a:cxn>
                  <a:cxn ang="0">
                    <a:pos x="18" y="41"/>
                  </a:cxn>
                  <a:cxn ang="0">
                    <a:pos x="3" y="59"/>
                  </a:cxn>
                  <a:cxn ang="0">
                    <a:pos x="31" y="69"/>
                  </a:cxn>
                  <a:cxn ang="0">
                    <a:pos x="23" y="79"/>
                  </a:cxn>
                  <a:cxn ang="0">
                    <a:pos x="31" y="94"/>
                  </a:cxn>
                  <a:cxn ang="0">
                    <a:pos x="51" y="78"/>
                  </a:cxn>
                  <a:cxn ang="0">
                    <a:pos x="79" y="98"/>
                  </a:cxn>
                  <a:cxn ang="0">
                    <a:pos x="82" y="135"/>
                  </a:cxn>
                  <a:cxn ang="0">
                    <a:pos x="54" y="174"/>
                  </a:cxn>
                  <a:cxn ang="0">
                    <a:pos x="32" y="179"/>
                  </a:cxn>
                  <a:cxn ang="0">
                    <a:pos x="46" y="185"/>
                  </a:cxn>
                  <a:cxn ang="0">
                    <a:pos x="43" y="235"/>
                  </a:cxn>
                  <a:cxn ang="0">
                    <a:pos x="63" y="238"/>
                  </a:cxn>
                  <a:cxn ang="0">
                    <a:pos x="64" y="247"/>
                  </a:cxn>
                  <a:cxn ang="0">
                    <a:pos x="43" y="302"/>
                  </a:cxn>
                  <a:cxn ang="0">
                    <a:pos x="46" y="306"/>
                  </a:cxn>
                  <a:cxn ang="0">
                    <a:pos x="16" y="350"/>
                  </a:cxn>
                  <a:cxn ang="0">
                    <a:pos x="15" y="381"/>
                  </a:cxn>
                  <a:cxn ang="0">
                    <a:pos x="11" y="386"/>
                  </a:cxn>
                  <a:cxn ang="0">
                    <a:pos x="16" y="395"/>
                  </a:cxn>
                  <a:cxn ang="0">
                    <a:pos x="2" y="406"/>
                  </a:cxn>
                  <a:cxn ang="0">
                    <a:pos x="0" y="406"/>
                  </a:cxn>
                  <a:cxn ang="0">
                    <a:pos x="4" y="417"/>
                  </a:cxn>
                  <a:cxn ang="0">
                    <a:pos x="43" y="471"/>
                  </a:cxn>
                  <a:cxn ang="0">
                    <a:pos x="66" y="496"/>
                  </a:cxn>
                  <a:cxn ang="0">
                    <a:pos x="90" y="499"/>
                  </a:cxn>
                  <a:cxn ang="0">
                    <a:pos x="113" y="510"/>
                  </a:cxn>
                  <a:cxn ang="0">
                    <a:pos x="143" y="491"/>
                  </a:cxn>
                  <a:cxn ang="0">
                    <a:pos x="152" y="503"/>
                  </a:cxn>
                  <a:cxn ang="0">
                    <a:pos x="161" y="493"/>
                  </a:cxn>
                  <a:cxn ang="0">
                    <a:pos x="174" y="463"/>
                  </a:cxn>
                  <a:cxn ang="0">
                    <a:pos x="165" y="419"/>
                  </a:cxn>
                  <a:cxn ang="0">
                    <a:pos x="167" y="386"/>
                  </a:cxn>
                  <a:cxn ang="0">
                    <a:pos x="176" y="349"/>
                  </a:cxn>
                  <a:cxn ang="0">
                    <a:pos x="176" y="336"/>
                  </a:cxn>
                  <a:cxn ang="0">
                    <a:pos x="185" y="262"/>
                  </a:cxn>
                  <a:cxn ang="0">
                    <a:pos x="199" y="229"/>
                  </a:cxn>
                  <a:cxn ang="0">
                    <a:pos x="209" y="177"/>
                  </a:cxn>
                  <a:cxn ang="0">
                    <a:pos x="218" y="138"/>
                  </a:cxn>
                  <a:cxn ang="0">
                    <a:pos x="245" y="104"/>
                  </a:cxn>
                  <a:cxn ang="0">
                    <a:pos x="261" y="93"/>
                  </a:cxn>
                  <a:cxn ang="0">
                    <a:pos x="279" y="58"/>
                  </a:cxn>
                  <a:cxn ang="0">
                    <a:pos x="294" y="35"/>
                  </a:cxn>
                  <a:cxn ang="0">
                    <a:pos x="271" y="35"/>
                  </a:cxn>
                </a:cxnLst>
                <a:rect l="0" t="0" r="r" b="b"/>
                <a:pathLst>
                  <a:path w="294" h="526">
                    <a:moveTo>
                      <a:pt x="271" y="35"/>
                    </a:moveTo>
                    <a:cubicBezTo>
                      <a:pt x="250" y="20"/>
                      <a:pt x="250" y="20"/>
                      <a:pt x="250" y="20"/>
                    </a:cubicBezTo>
                    <a:cubicBezTo>
                      <a:pt x="242" y="22"/>
                      <a:pt x="242" y="22"/>
                      <a:pt x="242" y="22"/>
                    </a:cubicBezTo>
                    <a:cubicBezTo>
                      <a:pt x="233" y="7"/>
                      <a:pt x="232" y="15"/>
                      <a:pt x="225" y="13"/>
                    </a:cubicBezTo>
                    <a:cubicBezTo>
                      <a:pt x="215" y="25"/>
                      <a:pt x="206" y="12"/>
                      <a:pt x="206" y="12"/>
                    </a:cubicBezTo>
                    <a:cubicBezTo>
                      <a:pt x="172" y="14"/>
                      <a:pt x="172" y="14"/>
                      <a:pt x="172" y="14"/>
                    </a:cubicBezTo>
                    <a:cubicBezTo>
                      <a:pt x="164" y="2"/>
                      <a:pt x="164" y="2"/>
                      <a:pt x="164" y="2"/>
                    </a:cubicBezTo>
                    <a:cubicBezTo>
                      <a:pt x="152" y="4"/>
                      <a:pt x="152" y="4"/>
                      <a:pt x="152" y="4"/>
                    </a:cubicBezTo>
                    <a:cubicBezTo>
                      <a:pt x="148" y="0"/>
                      <a:pt x="148" y="0"/>
                      <a:pt x="148" y="0"/>
                    </a:cubicBezTo>
                    <a:cubicBezTo>
                      <a:pt x="127" y="65"/>
                      <a:pt x="107" y="33"/>
                      <a:pt x="107" y="33"/>
                    </a:cubicBezTo>
                    <a:cubicBezTo>
                      <a:pt x="72" y="53"/>
                      <a:pt x="67" y="29"/>
                      <a:pt x="67" y="29"/>
                    </a:cubicBezTo>
                    <a:cubicBezTo>
                      <a:pt x="39" y="25"/>
                      <a:pt x="39" y="25"/>
                      <a:pt x="39" y="25"/>
                    </a:cubicBezTo>
                    <a:cubicBezTo>
                      <a:pt x="30" y="3"/>
                      <a:pt x="30" y="3"/>
                      <a:pt x="30" y="3"/>
                    </a:cubicBezTo>
                    <a:cubicBezTo>
                      <a:pt x="24" y="2"/>
                      <a:pt x="24" y="2"/>
                      <a:pt x="24" y="2"/>
                    </a:cubicBezTo>
                    <a:cubicBezTo>
                      <a:pt x="18" y="41"/>
                      <a:pt x="18" y="41"/>
                      <a:pt x="18" y="41"/>
                    </a:cubicBezTo>
                    <a:cubicBezTo>
                      <a:pt x="8" y="39"/>
                      <a:pt x="3" y="59"/>
                      <a:pt x="3" y="59"/>
                    </a:cubicBezTo>
                    <a:cubicBezTo>
                      <a:pt x="31" y="69"/>
                      <a:pt x="31" y="69"/>
                      <a:pt x="31" y="69"/>
                    </a:cubicBezTo>
                    <a:cubicBezTo>
                      <a:pt x="23" y="79"/>
                      <a:pt x="23" y="79"/>
                      <a:pt x="23" y="79"/>
                    </a:cubicBezTo>
                    <a:cubicBezTo>
                      <a:pt x="31" y="94"/>
                      <a:pt x="31" y="94"/>
                      <a:pt x="31" y="94"/>
                    </a:cubicBezTo>
                    <a:cubicBezTo>
                      <a:pt x="31" y="94"/>
                      <a:pt x="44" y="75"/>
                      <a:pt x="51" y="78"/>
                    </a:cubicBezTo>
                    <a:cubicBezTo>
                      <a:pt x="57" y="80"/>
                      <a:pt x="76" y="96"/>
                      <a:pt x="79" y="98"/>
                    </a:cubicBezTo>
                    <a:cubicBezTo>
                      <a:pt x="61" y="130"/>
                      <a:pt x="80" y="140"/>
                      <a:pt x="82" y="135"/>
                    </a:cubicBezTo>
                    <a:cubicBezTo>
                      <a:pt x="79" y="173"/>
                      <a:pt x="54" y="174"/>
                      <a:pt x="54" y="174"/>
                    </a:cubicBezTo>
                    <a:cubicBezTo>
                      <a:pt x="32" y="179"/>
                      <a:pt x="32" y="179"/>
                      <a:pt x="32" y="179"/>
                    </a:cubicBezTo>
                    <a:cubicBezTo>
                      <a:pt x="46" y="185"/>
                      <a:pt x="46" y="185"/>
                      <a:pt x="46" y="185"/>
                    </a:cubicBezTo>
                    <a:cubicBezTo>
                      <a:pt x="46" y="185"/>
                      <a:pt x="43" y="223"/>
                      <a:pt x="43" y="235"/>
                    </a:cubicBezTo>
                    <a:cubicBezTo>
                      <a:pt x="43" y="247"/>
                      <a:pt x="63" y="238"/>
                      <a:pt x="63" y="238"/>
                    </a:cubicBezTo>
                    <a:cubicBezTo>
                      <a:pt x="64" y="247"/>
                      <a:pt x="64" y="247"/>
                      <a:pt x="64" y="247"/>
                    </a:cubicBezTo>
                    <a:cubicBezTo>
                      <a:pt x="43" y="302"/>
                      <a:pt x="43" y="302"/>
                      <a:pt x="43" y="302"/>
                    </a:cubicBezTo>
                    <a:cubicBezTo>
                      <a:pt x="43" y="302"/>
                      <a:pt x="50" y="306"/>
                      <a:pt x="46" y="306"/>
                    </a:cubicBezTo>
                    <a:cubicBezTo>
                      <a:pt x="34" y="347"/>
                      <a:pt x="16" y="350"/>
                      <a:pt x="16" y="350"/>
                    </a:cubicBezTo>
                    <a:cubicBezTo>
                      <a:pt x="15" y="381"/>
                      <a:pt x="15" y="381"/>
                      <a:pt x="15" y="381"/>
                    </a:cubicBezTo>
                    <a:cubicBezTo>
                      <a:pt x="11" y="386"/>
                      <a:pt x="11" y="386"/>
                      <a:pt x="11" y="386"/>
                    </a:cubicBezTo>
                    <a:cubicBezTo>
                      <a:pt x="16" y="395"/>
                      <a:pt x="16" y="395"/>
                      <a:pt x="16" y="395"/>
                    </a:cubicBezTo>
                    <a:cubicBezTo>
                      <a:pt x="16" y="395"/>
                      <a:pt x="7" y="403"/>
                      <a:pt x="2" y="406"/>
                    </a:cubicBezTo>
                    <a:cubicBezTo>
                      <a:pt x="1" y="406"/>
                      <a:pt x="1" y="406"/>
                      <a:pt x="0" y="406"/>
                    </a:cubicBezTo>
                    <a:cubicBezTo>
                      <a:pt x="4" y="417"/>
                      <a:pt x="4" y="417"/>
                      <a:pt x="4" y="417"/>
                    </a:cubicBezTo>
                    <a:cubicBezTo>
                      <a:pt x="4" y="417"/>
                      <a:pt x="52" y="414"/>
                      <a:pt x="43" y="471"/>
                    </a:cubicBezTo>
                    <a:cubicBezTo>
                      <a:pt x="45" y="477"/>
                      <a:pt x="61" y="476"/>
                      <a:pt x="66" y="496"/>
                    </a:cubicBezTo>
                    <a:cubicBezTo>
                      <a:pt x="76" y="498"/>
                      <a:pt x="87" y="500"/>
                      <a:pt x="90" y="499"/>
                    </a:cubicBezTo>
                    <a:cubicBezTo>
                      <a:pt x="92" y="526"/>
                      <a:pt x="116" y="512"/>
                      <a:pt x="113" y="510"/>
                    </a:cubicBezTo>
                    <a:cubicBezTo>
                      <a:pt x="153" y="521"/>
                      <a:pt x="143" y="491"/>
                      <a:pt x="143" y="491"/>
                    </a:cubicBezTo>
                    <a:cubicBezTo>
                      <a:pt x="152" y="503"/>
                      <a:pt x="152" y="503"/>
                      <a:pt x="152" y="503"/>
                    </a:cubicBezTo>
                    <a:cubicBezTo>
                      <a:pt x="152" y="503"/>
                      <a:pt x="152" y="503"/>
                      <a:pt x="161" y="493"/>
                    </a:cubicBezTo>
                    <a:cubicBezTo>
                      <a:pt x="158" y="468"/>
                      <a:pt x="174" y="468"/>
                      <a:pt x="174" y="463"/>
                    </a:cubicBezTo>
                    <a:cubicBezTo>
                      <a:pt x="154" y="435"/>
                      <a:pt x="165" y="419"/>
                      <a:pt x="165" y="419"/>
                    </a:cubicBezTo>
                    <a:cubicBezTo>
                      <a:pt x="165" y="419"/>
                      <a:pt x="159" y="406"/>
                      <a:pt x="167" y="386"/>
                    </a:cubicBezTo>
                    <a:cubicBezTo>
                      <a:pt x="166" y="363"/>
                      <a:pt x="176" y="349"/>
                      <a:pt x="176" y="349"/>
                    </a:cubicBezTo>
                    <a:cubicBezTo>
                      <a:pt x="176" y="336"/>
                      <a:pt x="176" y="336"/>
                      <a:pt x="176" y="336"/>
                    </a:cubicBezTo>
                    <a:cubicBezTo>
                      <a:pt x="144" y="322"/>
                      <a:pt x="179" y="281"/>
                      <a:pt x="185" y="262"/>
                    </a:cubicBezTo>
                    <a:cubicBezTo>
                      <a:pt x="180" y="238"/>
                      <a:pt x="199" y="232"/>
                      <a:pt x="199" y="229"/>
                    </a:cubicBezTo>
                    <a:cubicBezTo>
                      <a:pt x="191" y="200"/>
                      <a:pt x="207" y="183"/>
                      <a:pt x="209" y="177"/>
                    </a:cubicBezTo>
                    <a:cubicBezTo>
                      <a:pt x="200" y="156"/>
                      <a:pt x="215" y="141"/>
                      <a:pt x="218" y="138"/>
                    </a:cubicBezTo>
                    <a:cubicBezTo>
                      <a:pt x="247" y="113"/>
                      <a:pt x="245" y="104"/>
                      <a:pt x="245" y="104"/>
                    </a:cubicBezTo>
                    <a:cubicBezTo>
                      <a:pt x="251" y="104"/>
                      <a:pt x="261" y="93"/>
                      <a:pt x="261" y="93"/>
                    </a:cubicBezTo>
                    <a:cubicBezTo>
                      <a:pt x="270" y="94"/>
                      <a:pt x="279" y="58"/>
                      <a:pt x="279" y="58"/>
                    </a:cubicBezTo>
                    <a:cubicBezTo>
                      <a:pt x="294" y="35"/>
                      <a:pt x="294" y="35"/>
                      <a:pt x="294" y="35"/>
                    </a:cubicBezTo>
                    <a:lnTo>
                      <a:pt x="271" y="35"/>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97" name="Franche-Comté" descr="© INSCALE GmbH, 05.05.2010&#10;http://www.presentationload.com/">
                <a:extLst>
                  <a:ext uri="{FF2B5EF4-FFF2-40B4-BE49-F238E27FC236}">
                    <a16:creationId xmlns:a16="http://schemas.microsoft.com/office/drawing/2014/main" id="{1F490D34-6D95-4776-8198-C2E5920D6864}"/>
                  </a:ext>
                </a:extLst>
              </p:cNvPr>
              <p:cNvSpPr>
                <a:spLocks/>
              </p:cNvSpPr>
              <p:nvPr/>
            </p:nvSpPr>
            <p:spPr bwMode="gray">
              <a:xfrm>
                <a:off x="2452" y="1199"/>
                <a:ext cx="435" cy="623"/>
              </a:xfrm>
              <a:custGeom>
                <a:avLst/>
                <a:gdLst/>
                <a:ahLst/>
                <a:cxnLst>
                  <a:cxn ang="0">
                    <a:pos x="40" y="136"/>
                  </a:cxn>
                  <a:cxn ang="0">
                    <a:pos x="17" y="186"/>
                  </a:cxn>
                  <a:cxn ang="0">
                    <a:pos x="30" y="212"/>
                  </a:cxn>
                  <a:cxn ang="0">
                    <a:pos x="46" y="228"/>
                  </a:cxn>
                  <a:cxn ang="0">
                    <a:pos x="13" y="312"/>
                  </a:cxn>
                  <a:cxn ang="0">
                    <a:pos x="12" y="326"/>
                  </a:cxn>
                  <a:cxn ang="0">
                    <a:pos x="14" y="353"/>
                  </a:cxn>
                  <a:cxn ang="0">
                    <a:pos x="46" y="380"/>
                  </a:cxn>
                  <a:cxn ang="0">
                    <a:pos x="25" y="402"/>
                  </a:cxn>
                  <a:cxn ang="0">
                    <a:pos x="36" y="418"/>
                  </a:cxn>
                  <a:cxn ang="0">
                    <a:pos x="37" y="465"/>
                  </a:cxn>
                  <a:cxn ang="0">
                    <a:pos x="40" y="498"/>
                  </a:cxn>
                  <a:cxn ang="0">
                    <a:pos x="18" y="524"/>
                  </a:cxn>
                  <a:cxn ang="0">
                    <a:pos x="32" y="542"/>
                  </a:cxn>
                  <a:cxn ang="0">
                    <a:pos x="53" y="566"/>
                  </a:cxn>
                  <a:cxn ang="0">
                    <a:pos x="109" y="548"/>
                  </a:cxn>
                  <a:cxn ang="0">
                    <a:pos x="145" y="562"/>
                  </a:cxn>
                  <a:cxn ang="0">
                    <a:pos x="200" y="497"/>
                  </a:cxn>
                  <a:cxn ang="0">
                    <a:pos x="201" y="425"/>
                  </a:cxn>
                  <a:cxn ang="0">
                    <a:pos x="257" y="358"/>
                  </a:cxn>
                  <a:cxn ang="0">
                    <a:pos x="272" y="305"/>
                  </a:cxn>
                  <a:cxn ang="0">
                    <a:pos x="312" y="288"/>
                  </a:cxn>
                  <a:cxn ang="0">
                    <a:pos x="370" y="218"/>
                  </a:cxn>
                  <a:cxn ang="0">
                    <a:pos x="373" y="202"/>
                  </a:cxn>
                  <a:cxn ang="0">
                    <a:pos x="386" y="180"/>
                  </a:cxn>
                  <a:cxn ang="0">
                    <a:pos x="364" y="161"/>
                  </a:cxn>
                  <a:cxn ang="0">
                    <a:pos x="378" y="139"/>
                  </a:cxn>
                  <a:cxn ang="0">
                    <a:pos x="373" y="118"/>
                  </a:cxn>
                  <a:cxn ang="0">
                    <a:pos x="330" y="53"/>
                  </a:cxn>
                  <a:cxn ang="0">
                    <a:pos x="285" y="32"/>
                  </a:cxn>
                  <a:cxn ang="0">
                    <a:pos x="250" y="37"/>
                  </a:cxn>
                  <a:cxn ang="0">
                    <a:pos x="189" y="26"/>
                  </a:cxn>
                  <a:cxn ang="0">
                    <a:pos x="177" y="16"/>
                  </a:cxn>
                  <a:cxn ang="0">
                    <a:pos x="153" y="6"/>
                  </a:cxn>
                  <a:cxn ang="0">
                    <a:pos x="134" y="26"/>
                  </a:cxn>
                  <a:cxn ang="0">
                    <a:pos x="128" y="16"/>
                  </a:cxn>
                  <a:cxn ang="0">
                    <a:pos x="124" y="36"/>
                  </a:cxn>
                  <a:cxn ang="0">
                    <a:pos x="113" y="56"/>
                  </a:cxn>
                  <a:cxn ang="0">
                    <a:pos x="93" y="69"/>
                  </a:cxn>
                  <a:cxn ang="0">
                    <a:pos x="80" y="78"/>
                  </a:cxn>
                  <a:cxn ang="0">
                    <a:pos x="88" y="109"/>
                  </a:cxn>
                  <a:cxn ang="0">
                    <a:pos x="57" y="106"/>
                  </a:cxn>
                  <a:cxn ang="0">
                    <a:pos x="26" y="112"/>
                  </a:cxn>
                  <a:cxn ang="0">
                    <a:pos x="24" y="140"/>
                  </a:cxn>
                </a:cxnLst>
                <a:rect l="0" t="0" r="r" b="b"/>
                <a:pathLst>
                  <a:path w="403" h="577">
                    <a:moveTo>
                      <a:pt x="32" y="132"/>
                    </a:moveTo>
                    <a:cubicBezTo>
                      <a:pt x="40" y="136"/>
                      <a:pt x="40" y="136"/>
                      <a:pt x="40" y="136"/>
                    </a:cubicBezTo>
                    <a:cubicBezTo>
                      <a:pt x="40" y="136"/>
                      <a:pt x="45" y="176"/>
                      <a:pt x="29" y="176"/>
                    </a:cubicBezTo>
                    <a:cubicBezTo>
                      <a:pt x="13" y="176"/>
                      <a:pt x="25" y="186"/>
                      <a:pt x="17" y="186"/>
                    </a:cubicBezTo>
                    <a:cubicBezTo>
                      <a:pt x="9" y="186"/>
                      <a:pt x="30" y="190"/>
                      <a:pt x="30" y="190"/>
                    </a:cubicBezTo>
                    <a:cubicBezTo>
                      <a:pt x="30" y="212"/>
                      <a:pt x="30" y="212"/>
                      <a:pt x="30" y="212"/>
                    </a:cubicBezTo>
                    <a:cubicBezTo>
                      <a:pt x="49" y="208"/>
                      <a:pt x="49" y="208"/>
                      <a:pt x="49" y="208"/>
                    </a:cubicBezTo>
                    <a:cubicBezTo>
                      <a:pt x="46" y="228"/>
                      <a:pt x="46" y="228"/>
                      <a:pt x="46" y="228"/>
                    </a:cubicBezTo>
                    <a:cubicBezTo>
                      <a:pt x="54" y="236"/>
                      <a:pt x="54" y="236"/>
                      <a:pt x="54" y="236"/>
                    </a:cubicBezTo>
                    <a:cubicBezTo>
                      <a:pt x="54" y="236"/>
                      <a:pt x="34" y="301"/>
                      <a:pt x="13" y="312"/>
                    </a:cubicBezTo>
                    <a:cubicBezTo>
                      <a:pt x="10" y="316"/>
                      <a:pt x="5" y="325"/>
                      <a:pt x="5" y="325"/>
                    </a:cubicBezTo>
                    <a:cubicBezTo>
                      <a:pt x="12" y="326"/>
                      <a:pt x="12" y="326"/>
                      <a:pt x="12" y="326"/>
                    </a:cubicBezTo>
                    <a:cubicBezTo>
                      <a:pt x="12" y="326"/>
                      <a:pt x="0" y="340"/>
                      <a:pt x="0" y="352"/>
                    </a:cubicBezTo>
                    <a:cubicBezTo>
                      <a:pt x="14" y="353"/>
                      <a:pt x="14" y="353"/>
                      <a:pt x="14" y="353"/>
                    </a:cubicBezTo>
                    <a:cubicBezTo>
                      <a:pt x="18" y="364"/>
                      <a:pt x="18" y="364"/>
                      <a:pt x="18" y="364"/>
                    </a:cubicBezTo>
                    <a:cubicBezTo>
                      <a:pt x="18" y="364"/>
                      <a:pt x="30" y="368"/>
                      <a:pt x="46" y="380"/>
                    </a:cubicBezTo>
                    <a:cubicBezTo>
                      <a:pt x="13" y="392"/>
                      <a:pt x="13" y="392"/>
                      <a:pt x="13" y="392"/>
                    </a:cubicBezTo>
                    <a:cubicBezTo>
                      <a:pt x="25" y="402"/>
                      <a:pt x="25" y="402"/>
                      <a:pt x="25" y="402"/>
                    </a:cubicBezTo>
                    <a:cubicBezTo>
                      <a:pt x="25" y="422"/>
                      <a:pt x="25" y="422"/>
                      <a:pt x="25" y="422"/>
                    </a:cubicBezTo>
                    <a:cubicBezTo>
                      <a:pt x="36" y="418"/>
                      <a:pt x="36" y="418"/>
                      <a:pt x="36" y="418"/>
                    </a:cubicBezTo>
                    <a:cubicBezTo>
                      <a:pt x="36" y="418"/>
                      <a:pt x="28" y="436"/>
                      <a:pt x="45" y="445"/>
                    </a:cubicBezTo>
                    <a:cubicBezTo>
                      <a:pt x="40" y="445"/>
                      <a:pt x="37" y="465"/>
                      <a:pt x="37" y="465"/>
                    </a:cubicBezTo>
                    <a:cubicBezTo>
                      <a:pt x="37" y="465"/>
                      <a:pt x="16" y="484"/>
                      <a:pt x="41" y="490"/>
                    </a:cubicBezTo>
                    <a:cubicBezTo>
                      <a:pt x="44" y="492"/>
                      <a:pt x="40" y="498"/>
                      <a:pt x="40" y="498"/>
                    </a:cubicBezTo>
                    <a:cubicBezTo>
                      <a:pt x="21" y="504"/>
                      <a:pt x="21" y="504"/>
                      <a:pt x="21" y="504"/>
                    </a:cubicBezTo>
                    <a:cubicBezTo>
                      <a:pt x="18" y="524"/>
                      <a:pt x="18" y="524"/>
                      <a:pt x="18" y="524"/>
                    </a:cubicBezTo>
                    <a:cubicBezTo>
                      <a:pt x="32" y="529"/>
                      <a:pt x="32" y="529"/>
                      <a:pt x="32" y="529"/>
                    </a:cubicBezTo>
                    <a:cubicBezTo>
                      <a:pt x="32" y="542"/>
                      <a:pt x="32" y="542"/>
                      <a:pt x="32" y="542"/>
                    </a:cubicBezTo>
                    <a:cubicBezTo>
                      <a:pt x="56" y="553"/>
                      <a:pt x="56" y="553"/>
                      <a:pt x="56" y="553"/>
                    </a:cubicBezTo>
                    <a:cubicBezTo>
                      <a:pt x="53" y="566"/>
                      <a:pt x="53" y="566"/>
                      <a:pt x="53" y="566"/>
                    </a:cubicBezTo>
                    <a:cubicBezTo>
                      <a:pt x="53" y="566"/>
                      <a:pt x="76" y="577"/>
                      <a:pt x="93" y="538"/>
                    </a:cubicBezTo>
                    <a:cubicBezTo>
                      <a:pt x="89" y="545"/>
                      <a:pt x="109" y="548"/>
                      <a:pt x="109" y="548"/>
                    </a:cubicBezTo>
                    <a:cubicBezTo>
                      <a:pt x="113" y="564"/>
                      <a:pt x="113" y="564"/>
                      <a:pt x="113" y="564"/>
                    </a:cubicBezTo>
                    <a:cubicBezTo>
                      <a:pt x="145" y="562"/>
                      <a:pt x="145" y="562"/>
                      <a:pt x="145" y="562"/>
                    </a:cubicBezTo>
                    <a:cubicBezTo>
                      <a:pt x="202" y="503"/>
                      <a:pt x="202" y="503"/>
                      <a:pt x="202" y="503"/>
                    </a:cubicBezTo>
                    <a:cubicBezTo>
                      <a:pt x="201" y="500"/>
                      <a:pt x="200" y="497"/>
                      <a:pt x="200" y="497"/>
                    </a:cubicBezTo>
                    <a:cubicBezTo>
                      <a:pt x="166" y="487"/>
                      <a:pt x="201" y="445"/>
                      <a:pt x="201" y="445"/>
                    </a:cubicBezTo>
                    <a:cubicBezTo>
                      <a:pt x="188" y="434"/>
                      <a:pt x="201" y="425"/>
                      <a:pt x="201" y="425"/>
                    </a:cubicBezTo>
                    <a:cubicBezTo>
                      <a:pt x="201" y="425"/>
                      <a:pt x="253" y="379"/>
                      <a:pt x="253" y="376"/>
                    </a:cubicBezTo>
                    <a:cubicBezTo>
                      <a:pt x="261" y="375"/>
                      <a:pt x="271" y="367"/>
                      <a:pt x="257" y="358"/>
                    </a:cubicBezTo>
                    <a:cubicBezTo>
                      <a:pt x="276" y="339"/>
                      <a:pt x="259" y="323"/>
                      <a:pt x="259" y="323"/>
                    </a:cubicBezTo>
                    <a:cubicBezTo>
                      <a:pt x="272" y="305"/>
                      <a:pt x="272" y="305"/>
                      <a:pt x="272" y="305"/>
                    </a:cubicBezTo>
                    <a:cubicBezTo>
                      <a:pt x="302" y="298"/>
                      <a:pt x="302" y="298"/>
                      <a:pt x="302" y="298"/>
                    </a:cubicBezTo>
                    <a:cubicBezTo>
                      <a:pt x="312" y="288"/>
                      <a:pt x="312" y="288"/>
                      <a:pt x="312" y="288"/>
                    </a:cubicBezTo>
                    <a:cubicBezTo>
                      <a:pt x="315" y="277"/>
                      <a:pt x="315" y="277"/>
                      <a:pt x="315" y="277"/>
                    </a:cubicBezTo>
                    <a:cubicBezTo>
                      <a:pt x="315" y="277"/>
                      <a:pt x="368" y="222"/>
                      <a:pt x="370" y="218"/>
                    </a:cubicBezTo>
                    <a:cubicBezTo>
                      <a:pt x="365" y="210"/>
                      <a:pt x="376" y="203"/>
                      <a:pt x="375" y="202"/>
                    </a:cubicBezTo>
                    <a:cubicBezTo>
                      <a:pt x="374" y="202"/>
                      <a:pt x="374" y="202"/>
                      <a:pt x="373" y="202"/>
                    </a:cubicBezTo>
                    <a:cubicBezTo>
                      <a:pt x="374" y="202"/>
                      <a:pt x="374" y="202"/>
                      <a:pt x="375" y="202"/>
                    </a:cubicBezTo>
                    <a:cubicBezTo>
                      <a:pt x="403" y="203"/>
                      <a:pt x="386" y="180"/>
                      <a:pt x="386" y="180"/>
                    </a:cubicBezTo>
                    <a:cubicBezTo>
                      <a:pt x="354" y="184"/>
                      <a:pt x="354" y="184"/>
                      <a:pt x="354" y="184"/>
                    </a:cubicBezTo>
                    <a:cubicBezTo>
                      <a:pt x="364" y="161"/>
                      <a:pt x="364" y="161"/>
                      <a:pt x="364" y="161"/>
                    </a:cubicBezTo>
                    <a:cubicBezTo>
                      <a:pt x="380" y="152"/>
                      <a:pt x="380" y="152"/>
                      <a:pt x="380" y="152"/>
                    </a:cubicBezTo>
                    <a:cubicBezTo>
                      <a:pt x="378" y="139"/>
                      <a:pt x="378" y="139"/>
                      <a:pt x="378" y="139"/>
                    </a:cubicBezTo>
                    <a:cubicBezTo>
                      <a:pt x="378" y="139"/>
                      <a:pt x="387" y="141"/>
                      <a:pt x="396" y="143"/>
                    </a:cubicBezTo>
                    <a:cubicBezTo>
                      <a:pt x="391" y="123"/>
                      <a:pt x="375" y="124"/>
                      <a:pt x="373" y="118"/>
                    </a:cubicBezTo>
                    <a:cubicBezTo>
                      <a:pt x="382" y="61"/>
                      <a:pt x="334" y="64"/>
                      <a:pt x="334" y="64"/>
                    </a:cubicBezTo>
                    <a:cubicBezTo>
                      <a:pt x="330" y="53"/>
                      <a:pt x="330" y="53"/>
                      <a:pt x="330" y="53"/>
                    </a:cubicBezTo>
                    <a:cubicBezTo>
                      <a:pt x="325" y="54"/>
                      <a:pt x="318" y="45"/>
                      <a:pt x="318" y="45"/>
                    </a:cubicBezTo>
                    <a:cubicBezTo>
                      <a:pt x="285" y="32"/>
                      <a:pt x="285" y="32"/>
                      <a:pt x="285" y="32"/>
                    </a:cubicBezTo>
                    <a:cubicBezTo>
                      <a:pt x="276" y="20"/>
                      <a:pt x="276" y="20"/>
                      <a:pt x="276" y="20"/>
                    </a:cubicBezTo>
                    <a:cubicBezTo>
                      <a:pt x="250" y="37"/>
                      <a:pt x="250" y="37"/>
                      <a:pt x="250" y="37"/>
                    </a:cubicBezTo>
                    <a:cubicBezTo>
                      <a:pt x="250" y="37"/>
                      <a:pt x="245" y="30"/>
                      <a:pt x="241" y="20"/>
                    </a:cubicBezTo>
                    <a:cubicBezTo>
                      <a:pt x="237" y="9"/>
                      <a:pt x="189" y="26"/>
                      <a:pt x="189" y="26"/>
                    </a:cubicBezTo>
                    <a:cubicBezTo>
                      <a:pt x="190" y="17"/>
                      <a:pt x="190" y="17"/>
                      <a:pt x="190" y="17"/>
                    </a:cubicBezTo>
                    <a:cubicBezTo>
                      <a:pt x="177" y="16"/>
                      <a:pt x="177" y="16"/>
                      <a:pt x="177" y="16"/>
                    </a:cubicBezTo>
                    <a:cubicBezTo>
                      <a:pt x="178" y="0"/>
                      <a:pt x="178" y="0"/>
                      <a:pt x="178" y="0"/>
                    </a:cubicBezTo>
                    <a:cubicBezTo>
                      <a:pt x="153" y="6"/>
                      <a:pt x="153" y="6"/>
                      <a:pt x="153" y="6"/>
                    </a:cubicBezTo>
                    <a:cubicBezTo>
                      <a:pt x="148" y="20"/>
                      <a:pt x="148" y="20"/>
                      <a:pt x="148" y="20"/>
                    </a:cubicBezTo>
                    <a:cubicBezTo>
                      <a:pt x="134" y="26"/>
                      <a:pt x="134" y="26"/>
                      <a:pt x="134" y="26"/>
                    </a:cubicBezTo>
                    <a:cubicBezTo>
                      <a:pt x="138" y="17"/>
                      <a:pt x="138" y="17"/>
                      <a:pt x="138" y="17"/>
                    </a:cubicBezTo>
                    <a:cubicBezTo>
                      <a:pt x="128" y="16"/>
                      <a:pt x="128" y="16"/>
                      <a:pt x="128" y="16"/>
                    </a:cubicBezTo>
                    <a:cubicBezTo>
                      <a:pt x="121" y="27"/>
                      <a:pt x="121" y="27"/>
                      <a:pt x="121" y="27"/>
                    </a:cubicBezTo>
                    <a:cubicBezTo>
                      <a:pt x="124" y="36"/>
                      <a:pt x="124" y="36"/>
                      <a:pt x="124" y="36"/>
                    </a:cubicBezTo>
                    <a:cubicBezTo>
                      <a:pt x="116" y="41"/>
                      <a:pt x="116" y="41"/>
                      <a:pt x="116" y="41"/>
                    </a:cubicBezTo>
                    <a:cubicBezTo>
                      <a:pt x="113" y="56"/>
                      <a:pt x="113" y="56"/>
                      <a:pt x="113" y="56"/>
                    </a:cubicBezTo>
                    <a:cubicBezTo>
                      <a:pt x="100" y="54"/>
                      <a:pt x="100" y="54"/>
                      <a:pt x="100" y="54"/>
                    </a:cubicBezTo>
                    <a:cubicBezTo>
                      <a:pt x="93" y="69"/>
                      <a:pt x="93" y="69"/>
                      <a:pt x="93" y="69"/>
                    </a:cubicBezTo>
                    <a:cubicBezTo>
                      <a:pt x="85" y="68"/>
                      <a:pt x="85" y="68"/>
                      <a:pt x="85" y="68"/>
                    </a:cubicBezTo>
                    <a:cubicBezTo>
                      <a:pt x="80" y="78"/>
                      <a:pt x="80" y="78"/>
                      <a:pt x="80" y="78"/>
                    </a:cubicBezTo>
                    <a:cubicBezTo>
                      <a:pt x="90" y="78"/>
                      <a:pt x="90" y="78"/>
                      <a:pt x="90" y="78"/>
                    </a:cubicBezTo>
                    <a:cubicBezTo>
                      <a:pt x="88" y="109"/>
                      <a:pt x="88" y="109"/>
                      <a:pt x="88" y="109"/>
                    </a:cubicBezTo>
                    <a:cubicBezTo>
                      <a:pt x="69" y="114"/>
                      <a:pt x="69" y="114"/>
                      <a:pt x="69" y="114"/>
                    </a:cubicBezTo>
                    <a:cubicBezTo>
                      <a:pt x="57" y="106"/>
                      <a:pt x="57" y="106"/>
                      <a:pt x="57" y="106"/>
                    </a:cubicBezTo>
                    <a:cubicBezTo>
                      <a:pt x="56" y="113"/>
                      <a:pt x="56" y="113"/>
                      <a:pt x="56" y="113"/>
                    </a:cubicBezTo>
                    <a:cubicBezTo>
                      <a:pt x="26" y="112"/>
                      <a:pt x="26" y="112"/>
                      <a:pt x="26" y="112"/>
                    </a:cubicBezTo>
                    <a:cubicBezTo>
                      <a:pt x="26" y="112"/>
                      <a:pt x="24" y="129"/>
                      <a:pt x="21" y="136"/>
                    </a:cubicBezTo>
                    <a:cubicBezTo>
                      <a:pt x="24" y="140"/>
                      <a:pt x="24" y="140"/>
                      <a:pt x="24" y="140"/>
                    </a:cubicBezTo>
                    <a:lnTo>
                      <a:pt x="32" y="132"/>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98" name="Bourgogne" descr="© INSCALE GmbH, 05.05.2010&#10;http://www.presentationload.com/">
                <a:extLst>
                  <a:ext uri="{FF2B5EF4-FFF2-40B4-BE49-F238E27FC236}">
                    <a16:creationId xmlns:a16="http://schemas.microsoft.com/office/drawing/2014/main" id="{67CEE325-8000-4C18-B665-933A28B6F9A2}"/>
                  </a:ext>
                </a:extLst>
              </p:cNvPr>
              <p:cNvSpPr>
                <a:spLocks/>
              </p:cNvSpPr>
              <p:nvPr/>
            </p:nvSpPr>
            <p:spPr bwMode="gray">
              <a:xfrm>
                <a:off x="1885" y="1086"/>
                <a:ext cx="625" cy="772"/>
              </a:xfrm>
              <a:custGeom>
                <a:avLst/>
                <a:gdLst/>
                <a:ahLst/>
                <a:cxnLst>
                  <a:cxn ang="0">
                    <a:pos x="43" y="156"/>
                  </a:cxn>
                  <a:cxn ang="0">
                    <a:pos x="36" y="170"/>
                  </a:cxn>
                  <a:cxn ang="0">
                    <a:pos x="0" y="220"/>
                  </a:cxn>
                  <a:cxn ang="0">
                    <a:pos x="19" y="253"/>
                  </a:cxn>
                  <a:cxn ang="0">
                    <a:pos x="20" y="309"/>
                  </a:cxn>
                  <a:cxn ang="0">
                    <a:pos x="40" y="429"/>
                  </a:cxn>
                  <a:cxn ang="0">
                    <a:pos x="43" y="512"/>
                  </a:cxn>
                  <a:cxn ang="0">
                    <a:pos x="111" y="545"/>
                  </a:cxn>
                  <a:cxn ang="0">
                    <a:pos x="138" y="558"/>
                  </a:cxn>
                  <a:cxn ang="0">
                    <a:pos x="164" y="521"/>
                  </a:cxn>
                  <a:cxn ang="0">
                    <a:pos x="219" y="597"/>
                  </a:cxn>
                  <a:cxn ang="0">
                    <a:pos x="255" y="658"/>
                  </a:cxn>
                  <a:cxn ang="0">
                    <a:pos x="235" y="669"/>
                  </a:cxn>
                  <a:cxn ang="0">
                    <a:pos x="256" y="710"/>
                  </a:cxn>
                  <a:cxn ang="0">
                    <a:pos x="304" y="703"/>
                  </a:cxn>
                  <a:cxn ang="0">
                    <a:pos x="319" y="714"/>
                  </a:cxn>
                  <a:cxn ang="0">
                    <a:pos x="346" y="666"/>
                  </a:cxn>
                  <a:cxn ang="0">
                    <a:pos x="382" y="666"/>
                  </a:cxn>
                  <a:cxn ang="0">
                    <a:pos x="411" y="678"/>
                  </a:cxn>
                  <a:cxn ang="0">
                    <a:pos x="431" y="704"/>
                  </a:cxn>
                  <a:cxn ang="0">
                    <a:pos x="520" y="594"/>
                  </a:cxn>
                  <a:cxn ang="0">
                    <a:pos x="547" y="608"/>
                  </a:cxn>
                  <a:cxn ang="0">
                    <a:pos x="563" y="569"/>
                  </a:cxn>
                  <a:cxn ang="0">
                    <a:pos x="551" y="526"/>
                  </a:cxn>
                  <a:cxn ang="0">
                    <a:pos x="572" y="484"/>
                  </a:cxn>
                  <a:cxn ang="0">
                    <a:pos x="526" y="456"/>
                  </a:cxn>
                  <a:cxn ang="0">
                    <a:pos x="539" y="416"/>
                  </a:cxn>
                  <a:cxn ang="0">
                    <a:pos x="575" y="312"/>
                  </a:cxn>
                  <a:cxn ang="0">
                    <a:pos x="543" y="290"/>
                  </a:cxn>
                  <a:cxn ang="0">
                    <a:pos x="558" y="236"/>
                  </a:cxn>
                  <a:cxn ang="0">
                    <a:pos x="544" y="244"/>
                  </a:cxn>
                  <a:cxn ang="0">
                    <a:pos x="518" y="240"/>
                  </a:cxn>
                  <a:cxn ang="0">
                    <a:pos x="488" y="226"/>
                  </a:cxn>
                  <a:cxn ang="0">
                    <a:pos x="455" y="194"/>
                  </a:cxn>
                  <a:cxn ang="0">
                    <a:pos x="456" y="173"/>
                  </a:cxn>
                  <a:cxn ang="0">
                    <a:pos x="426" y="146"/>
                  </a:cxn>
                  <a:cxn ang="0">
                    <a:pos x="414" y="133"/>
                  </a:cxn>
                  <a:cxn ang="0">
                    <a:pos x="311" y="136"/>
                  </a:cxn>
                  <a:cxn ang="0">
                    <a:pos x="296" y="132"/>
                  </a:cxn>
                  <a:cxn ang="0">
                    <a:pos x="283" y="137"/>
                  </a:cxn>
                  <a:cxn ang="0">
                    <a:pos x="256" y="146"/>
                  </a:cxn>
                  <a:cxn ang="0">
                    <a:pos x="208" y="109"/>
                  </a:cxn>
                  <a:cxn ang="0">
                    <a:pos x="182" y="69"/>
                  </a:cxn>
                  <a:cxn ang="0">
                    <a:pos x="167" y="66"/>
                  </a:cxn>
                  <a:cxn ang="0">
                    <a:pos x="155" y="33"/>
                  </a:cxn>
                  <a:cxn ang="0">
                    <a:pos x="118" y="0"/>
                  </a:cxn>
                  <a:cxn ang="0">
                    <a:pos x="36" y="28"/>
                  </a:cxn>
                  <a:cxn ang="0">
                    <a:pos x="39" y="84"/>
                  </a:cxn>
                </a:cxnLst>
                <a:rect l="0" t="0" r="r" b="b"/>
                <a:pathLst>
                  <a:path w="580" h="715">
                    <a:moveTo>
                      <a:pt x="58" y="114"/>
                    </a:moveTo>
                    <a:cubicBezTo>
                      <a:pt x="59" y="133"/>
                      <a:pt x="59" y="133"/>
                      <a:pt x="59" y="133"/>
                    </a:cubicBezTo>
                    <a:cubicBezTo>
                      <a:pt x="43" y="156"/>
                      <a:pt x="43" y="156"/>
                      <a:pt x="43" y="156"/>
                    </a:cubicBezTo>
                    <a:cubicBezTo>
                      <a:pt x="34" y="157"/>
                      <a:pt x="34" y="157"/>
                      <a:pt x="34" y="157"/>
                    </a:cubicBezTo>
                    <a:cubicBezTo>
                      <a:pt x="31" y="170"/>
                      <a:pt x="31" y="170"/>
                      <a:pt x="31" y="170"/>
                    </a:cubicBezTo>
                    <a:cubicBezTo>
                      <a:pt x="36" y="170"/>
                      <a:pt x="36" y="170"/>
                      <a:pt x="36" y="170"/>
                    </a:cubicBezTo>
                    <a:cubicBezTo>
                      <a:pt x="36" y="194"/>
                      <a:pt x="36" y="194"/>
                      <a:pt x="36" y="194"/>
                    </a:cubicBezTo>
                    <a:cubicBezTo>
                      <a:pt x="2" y="204"/>
                      <a:pt x="2" y="204"/>
                      <a:pt x="2" y="204"/>
                    </a:cubicBezTo>
                    <a:cubicBezTo>
                      <a:pt x="0" y="220"/>
                      <a:pt x="0" y="220"/>
                      <a:pt x="0" y="220"/>
                    </a:cubicBezTo>
                    <a:cubicBezTo>
                      <a:pt x="10" y="218"/>
                      <a:pt x="10" y="218"/>
                      <a:pt x="10" y="218"/>
                    </a:cubicBezTo>
                    <a:cubicBezTo>
                      <a:pt x="23" y="240"/>
                      <a:pt x="23" y="240"/>
                      <a:pt x="23" y="240"/>
                    </a:cubicBezTo>
                    <a:cubicBezTo>
                      <a:pt x="19" y="253"/>
                      <a:pt x="19" y="253"/>
                      <a:pt x="19" y="253"/>
                    </a:cubicBezTo>
                    <a:cubicBezTo>
                      <a:pt x="27" y="265"/>
                      <a:pt x="27" y="265"/>
                      <a:pt x="27" y="265"/>
                    </a:cubicBezTo>
                    <a:cubicBezTo>
                      <a:pt x="4" y="270"/>
                      <a:pt x="4" y="270"/>
                      <a:pt x="4" y="270"/>
                    </a:cubicBezTo>
                    <a:cubicBezTo>
                      <a:pt x="20" y="309"/>
                      <a:pt x="20" y="309"/>
                      <a:pt x="20" y="309"/>
                    </a:cubicBezTo>
                    <a:cubicBezTo>
                      <a:pt x="6" y="344"/>
                      <a:pt x="6" y="344"/>
                      <a:pt x="6" y="344"/>
                    </a:cubicBezTo>
                    <a:cubicBezTo>
                      <a:pt x="31" y="365"/>
                      <a:pt x="31" y="365"/>
                      <a:pt x="31" y="365"/>
                    </a:cubicBezTo>
                    <a:cubicBezTo>
                      <a:pt x="31" y="365"/>
                      <a:pt x="40" y="385"/>
                      <a:pt x="40" y="429"/>
                    </a:cubicBezTo>
                    <a:cubicBezTo>
                      <a:pt x="50" y="437"/>
                      <a:pt x="50" y="437"/>
                      <a:pt x="50" y="437"/>
                    </a:cubicBezTo>
                    <a:cubicBezTo>
                      <a:pt x="50" y="437"/>
                      <a:pt x="51" y="469"/>
                      <a:pt x="46" y="474"/>
                    </a:cubicBezTo>
                    <a:cubicBezTo>
                      <a:pt x="40" y="480"/>
                      <a:pt x="56" y="497"/>
                      <a:pt x="43" y="512"/>
                    </a:cubicBezTo>
                    <a:cubicBezTo>
                      <a:pt x="47" y="514"/>
                      <a:pt x="67" y="546"/>
                      <a:pt x="76" y="548"/>
                    </a:cubicBezTo>
                    <a:cubicBezTo>
                      <a:pt x="86" y="549"/>
                      <a:pt x="91" y="538"/>
                      <a:pt x="95" y="538"/>
                    </a:cubicBezTo>
                    <a:cubicBezTo>
                      <a:pt x="99" y="538"/>
                      <a:pt x="107" y="545"/>
                      <a:pt x="111" y="545"/>
                    </a:cubicBezTo>
                    <a:cubicBezTo>
                      <a:pt x="115" y="545"/>
                      <a:pt x="126" y="537"/>
                      <a:pt x="126" y="537"/>
                    </a:cubicBezTo>
                    <a:cubicBezTo>
                      <a:pt x="138" y="544"/>
                      <a:pt x="138" y="544"/>
                      <a:pt x="138" y="544"/>
                    </a:cubicBezTo>
                    <a:cubicBezTo>
                      <a:pt x="138" y="558"/>
                      <a:pt x="138" y="558"/>
                      <a:pt x="138" y="558"/>
                    </a:cubicBezTo>
                    <a:cubicBezTo>
                      <a:pt x="150" y="544"/>
                      <a:pt x="150" y="544"/>
                      <a:pt x="150" y="544"/>
                    </a:cubicBezTo>
                    <a:cubicBezTo>
                      <a:pt x="159" y="545"/>
                      <a:pt x="159" y="545"/>
                      <a:pt x="159" y="545"/>
                    </a:cubicBezTo>
                    <a:cubicBezTo>
                      <a:pt x="159" y="545"/>
                      <a:pt x="160" y="517"/>
                      <a:pt x="164" y="521"/>
                    </a:cubicBezTo>
                    <a:cubicBezTo>
                      <a:pt x="168" y="525"/>
                      <a:pt x="198" y="576"/>
                      <a:pt x="198" y="576"/>
                    </a:cubicBezTo>
                    <a:cubicBezTo>
                      <a:pt x="202" y="594"/>
                      <a:pt x="202" y="594"/>
                      <a:pt x="202" y="594"/>
                    </a:cubicBezTo>
                    <a:cubicBezTo>
                      <a:pt x="219" y="597"/>
                      <a:pt x="219" y="597"/>
                      <a:pt x="219" y="597"/>
                    </a:cubicBezTo>
                    <a:cubicBezTo>
                      <a:pt x="230" y="610"/>
                      <a:pt x="230" y="610"/>
                      <a:pt x="230" y="610"/>
                    </a:cubicBezTo>
                    <a:cubicBezTo>
                      <a:pt x="230" y="610"/>
                      <a:pt x="258" y="600"/>
                      <a:pt x="256" y="614"/>
                    </a:cubicBezTo>
                    <a:cubicBezTo>
                      <a:pt x="255" y="629"/>
                      <a:pt x="255" y="658"/>
                      <a:pt x="255" y="658"/>
                    </a:cubicBezTo>
                    <a:cubicBezTo>
                      <a:pt x="248" y="658"/>
                      <a:pt x="248" y="658"/>
                      <a:pt x="248" y="658"/>
                    </a:cubicBezTo>
                    <a:cubicBezTo>
                      <a:pt x="243" y="672"/>
                      <a:pt x="243" y="672"/>
                      <a:pt x="243" y="672"/>
                    </a:cubicBezTo>
                    <a:cubicBezTo>
                      <a:pt x="235" y="669"/>
                      <a:pt x="235" y="669"/>
                      <a:pt x="235" y="669"/>
                    </a:cubicBezTo>
                    <a:cubicBezTo>
                      <a:pt x="236" y="697"/>
                      <a:pt x="236" y="697"/>
                      <a:pt x="236" y="697"/>
                    </a:cubicBezTo>
                    <a:cubicBezTo>
                      <a:pt x="250" y="697"/>
                      <a:pt x="250" y="697"/>
                      <a:pt x="250" y="697"/>
                    </a:cubicBezTo>
                    <a:cubicBezTo>
                      <a:pt x="256" y="710"/>
                      <a:pt x="256" y="710"/>
                      <a:pt x="256" y="710"/>
                    </a:cubicBezTo>
                    <a:cubicBezTo>
                      <a:pt x="280" y="704"/>
                      <a:pt x="280" y="704"/>
                      <a:pt x="280" y="704"/>
                    </a:cubicBezTo>
                    <a:cubicBezTo>
                      <a:pt x="280" y="704"/>
                      <a:pt x="280" y="705"/>
                      <a:pt x="295" y="706"/>
                    </a:cubicBezTo>
                    <a:cubicBezTo>
                      <a:pt x="305" y="707"/>
                      <a:pt x="305" y="705"/>
                      <a:pt x="304" y="703"/>
                    </a:cubicBezTo>
                    <a:cubicBezTo>
                      <a:pt x="303" y="702"/>
                      <a:pt x="303" y="701"/>
                      <a:pt x="303" y="701"/>
                    </a:cubicBezTo>
                    <a:cubicBezTo>
                      <a:pt x="303" y="701"/>
                      <a:pt x="304" y="702"/>
                      <a:pt x="304" y="703"/>
                    </a:cubicBezTo>
                    <a:cubicBezTo>
                      <a:pt x="307" y="707"/>
                      <a:pt x="314" y="715"/>
                      <a:pt x="319" y="714"/>
                    </a:cubicBezTo>
                    <a:cubicBezTo>
                      <a:pt x="326" y="713"/>
                      <a:pt x="320" y="706"/>
                      <a:pt x="326" y="706"/>
                    </a:cubicBezTo>
                    <a:cubicBezTo>
                      <a:pt x="331" y="706"/>
                      <a:pt x="342" y="705"/>
                      <a:pt x="342" y="705"/>
                    </a:cubicBezTo>
                    <a:cubicBezTo>
                      <a:pt x="346" y="666"/>
                      <a:pt x="346" y="666"/>
                      <a:pt x="346" y="666"/>
                    </a:cubicBezTo>
                    <a:cubicBezTo>
                      <a:pt x="358" y="665"/>
                      <a:pt x="358" y="665"/>
                      <a:pt x="358" y="665"/>
                    </a:cubicBezTo>
                    <a:cubicBezTo>
                      <a:pt x="367" y="678"/>
                      <a:pt x="367" y="678"/>
                      <a:pt x="367" y="678"/>
                    </a:cubicBezTo>
                    <a:cubicBezTo>
                      <a:pt x="382" y="666"/>
                      <a:pt x="382" y="666"/>
                      <a:pt x="382" y="666"/>
                    </a:cubicBezTo>
                    <a:cubicBezTo>
                      <a:pt x="382" y="666"/>
                      <a:pt x="382" y="676"/>
                      <a:pt x="387" y="676"/>
                    </a:cubicBezTo>
                    <a:cubicBezTo>
                      <a:pt x="392" y="676"/>
                      <a:pt x="391" y="660"/>
                      <a:pt x="402" y="664"/>
                    </a:cubicBezTo>
                    <a:cubicBezTo>
                      <a:pt x="412" y="668"/>
                      <a:pt x="411" y="678"/>
                      <a:pt x="411" y="678"/>
                    </a:cubicBezTo>
                    <a:cubicBezTo>
                      <a:pt x="419" y="686"/>
                      <a:pt x="419" y="686"/>
                      <a:pt x="419" y="686"/>
                    </a:cubicBezTo>
                    <a:cubicBezTo>
                      <a:pt x="420" y="702"/>
                      <a:pt x="420" y="702"/>
                      <a:pt x="420" y="702"/>
                    </a:cubicBezTo>
                    <a:cubicBezTo>
                      <a:pt x="431" y="704"/>
                      <a:pt x="431" y="704"/>
                      <a:pt x="431" y="704"/>
                    </a:cubicBezTo>
                    <a:cubicBezTo>
                      <a:pt x="459" y="596"/>
                      <a:pt x="459" y="596"/>
                      <a:pt x="459" y="596"/>
                    </a:cubicBezTo>
                    <a:cubicBezTo>
                      <a:pt x="459" y="596"/>
                      <a:pt x="476" y="602"/>
                      <a:pt x="490" y="602"/>
                    </a:cubicBezTo>
                    <a:cubicBezTo>
                      <a:pt x="503" y="602"/>
                      <a:pt x="518" y="589"/>
                      <a:pt x="520" y="594"/>
                    </a:cubicBezTo>
                    <a:cubicBezTo>
                      <a:pt x="523" y="600"/>
                      <a:pt x="524" y="612"/>
                      <a:pt x="528" y="612"/>
                    </a:cubicBezTo>
                    <a:cubicBezTo>
                      <a:pt x="530" y="612"/>
                      <a:pt x="538" y="613"/>
                      <a:pt x="546" y="614"/>
                    </a:cubicBezTo>
                    <a:cubicBezTo>
                      <a:pt x="547" y="608"/>
                      <a:pt x="547" y="608"/>
                      <a:pt x="547" y="608"/>
                    </a:cubicBezTo>
                    <a:cubicBezTo>
                      <a:pt x="566" y="602"/>
                      <a:pt x="566" y="602"/>
                      <a:pt x="566" y="602"/>
                    </a:cubicBezTo>
                    <a:cubicBezTo>
                      <a:pt x="566" y="602"/>
                      <a:pt x="570" y="596"/>
                      <a:pt x="567" y="594"/>
                    </a:cubicBezTo>
                    <a:cubicBezTo>
                      <a:pt x="542" y="588"/>
                      <a:pt x="563" y="569"/>
                      <a:pt x="563" y="569"/>
                    </a:cubicBezTo>
                    <a:cubicBezTo>
                      <a:pt x="563" y="569"/>
                      <a:pt x="566" y="549"/>
                      <a:pt x="571" y="549"/>
                    </a:cubicBezTo>
                    <a:cubicBezTo>
                      <a:pt x="554" y="540"/>
                      <a:pt x="562" y="522"/>
                      <a:pt x="562" y="522"/>
                    </a:cubicBezTo>
                    <a:cubicBezTo>
                      <a:pt x="551" y="526"/>
                      <a:pt x="551" y="526"/>
                      <a:pt x="551" y="526"/>
                    </a:cubicBezTo>
                    <a:cubicBezTo>
                      <a:pt x="551" y="506"/>
                      <a:pt x="551" y="506"/>
                      <a:pt x="551" y="506"/>
                    </a:cubicBezTo>
                    <a:cubicBezTo>
                      <a:pt x="539" y="496"/>
                      <a:pt x="539" y="496"/>
                      <a:pt x="539" y="496"/>
                    </a:cubicBezTo>
                    <a:cubicBezTo>
                      <a:pt x="572" y="484"/>
                      <a:pt x="572" y="484"/>
                      <a:pt x="572" y="484"/>
                    </a:cubicBezTo>
                    <a:cubicBezTo>
                      <a:pt x="556" y="472"/>
                      <a:pt x="544" y="468"/>
                      <a:pt x="544" y="468"/>
                    </a:cubicBezTo>
                    <a:cubicBezTo>
                      <a:pt x="540" y="457"/>
                      <a:pt x="540" y="457"/>
                      <a:pt x="540" y="457"/>
                    </a:cubicBezTo>
                    <a:cubicBezTo>
                      <a:pt x="526" y="456"/>
                      <a:pt x="526" y="456"/>
                      <a:pt x="526" y="456"/>
                    </a:cubicBezTo>
                    <a:cubicBezTo>
                      <a:pt x="526" y="444"/>
                      <a:pt x="538" y="430"/>
                      <a:pt x="538" y="430"/>
                    </a:cubicBezTo>
                    <a:cubicBezTo>
                      <a:pt x="531" y="429"/>
                      <a:pt x="531" y="429"/>
                      <a:pt x="531" y="429"/>
                    </a:cubicBezTo>
                    <a:cubicBezTo>
                      <a:pt x="531" y="429"/>
                      <a:pt x="536" y="420"/>
                      <a:pt x="539" y="416"/>
                    </a:cubicBezTo>
                    <a:cubicBezTo>
                      <a:pt x="560" y="405"/>
                      <a:pt x="580" y="340"/>
                      <a:pt x="580" y="340"/>
                    </a:cubicBezTo>
                    <a:cubicBezTo>
                      <a:pt x="572" y="332"/>
                      <a:pt x="572" y="332"/>
                      <a:pt x="572" y="332"/>
                    </a:cubicBezTo>
                    <a:cubicBezTo>
                      <a:pt x="575" y="312"/>
                      <a:pt x="575" y="312"/>
                      <a:pt x="575" y="312"/>
                    </a:cubicBezTo>
                    <a:cubicBezTo>
                      <a:pt x="556" y="316"/>
                      <a:pt x="556" y="316"/>
                      <a:pt x="556" y="316"/>
                    </a:cubicBezTo>
                    <a:cubicBezTo>
                      <a:pt x="556" y="294"/>
                      <a:pt x="556" y="294"/>
                      <a:pt x="556" y="294"/>
                    </a:cubicBezTo>
                    <a:cubicBezTo>
                      <a:pt x="556" y="294"/>
                      <a:pt x="535" y="290"/>
                      <a:pt x="543" y="290"/>
                    </a:cubicBezTo>
                    <a:cubicBezTo>
                      <a:pt x="551" y="290"/>
                      <a:pt x="539" y="280"/>
                      <a:pt x="555" y="280"/>
                    </a:cubicBezTo>
                    <a:cubicBezTo>
                      <a:pt x="571" y="280"/>
                      <a:pt x="566" y="240"/>
                      <a:pt x="566" y="240"/>
                    </a:cubicBezTo>
                    <a:cubicBezTo>
                      <a:pt x="558" y="236"/>
                      <a:pt x="558" y="236"/>
                      <a:pt x="558" y="236"/>
                    </a:cubicBezTo>
                    <a:cubicBezTo>
                      <a:pt x="550" y="244"/>
                      <a:pt x="550" y="244"/>
                      <a:pt x="550" y="244"/>
                    </a:cubicBezTo>
                    <a:cubicBezTo>
                      <a:pt x="547" y="240"/>
                      <a:pt x="547" y="240"/>
                      <a:pt x="547" y="240"/>
                    </a:cubicBezTo>
                    <a:cubicBezTo>
                      <a:pt x="546" y="242"/>
                      <a:pt x="545" y="244"/>
                      <a:pt x="544" y="244"/>
                    </a:cubicBezTo>
                    <a:cubicBezTo>
                      <a:pt x="540" y="244"/>
                      <a:pt x="535" y="241"/>
                      <a:pt x="535" y="241"/>
                    </a:cubicBezTo>
                    <a:cubicBezTo>
                      <a:pt x="518" y="253"/>
                      <a:pt x="518" y="253"/>
                      <a:pt x="518" y="253"/>
                    </a:cubicBezTo>
                    <a:cubicBezTo>
                      <a:pt x="518" y="240"/>
                      <a:pt x="518" y="240"/>
                      <a:pt x="518" y="240"/>
                    </a:cubicBezTo>
                    <a:cubicBezTo>
                      <a:pt x="502" y="232"/>
                      <a:pt x="502" y="232"/>
                      <a:pt x="502" y="232"/>
                    </a:cubicBezTo>
                    <a:cubicBezTo>
                      <a:pt x="502" y="222"/>
                      <a:pt x="502" y="222"/>
                      <a:pt x="502" y="222"/>
                    </a:cubicBezTo>
                    <a:cubicBezTo>
                      <a:pt x="502" y="222"/>
                      <a:pt x="498" y="226"/>
                      <a:pt x="488" y="226"/>
                    </a:cubicBezTo>
                    <a:cubicBezTo>
                      <a:pt x="479" y="226"/>
                      <a:pt x="467" y="212"/>
                      <a:pt x="467" y="212"/>
                    </a:cubicBezTo>
                    <a:cubicBezTo>
                      <a:pt x="455" y="217"/>
                      <a:pt x="455" y="217"/>
                      <a:pt x="455" y="217"/>
                    </a:cubicBezTo>
                    <a:cubicBezTo>
                      <a:pt x="455" y="194"/>
                      <a:pt x="455" y="194"/>
                      <a:pt x="455" y="194"/>
                    </a:cubicBezTo>
                    <a:cubicBezTo>
                      <a:pt x="446" y="192"/>
                      <a:pt x="446" y="192"/>
                      <a:pt x="446" y="192"/>
                    </a:cubicBezTo>
                    <a:cubicBezTo>
                      <a:pt x="446" y="191"/>
                      <a:pt x="446" y="191"/>
                      <a:pt x="446" y="191"/>
                    </a:cubicBezTo>
                    <a:cubicBezTo>
                      <a:pt x="456" y="173"/>
                      <a:pt x="456" y="173"/>
                      <a:pt x="456" y="173"/>
                    </a:cubicBezTo>
                    <a:cubicBezTo>
                      <a:pt x="450" y="165"/>
                      <a:pt x="439" y="144"/>
                      <a:pt x="439" y="144"/>
                    </a:cubicBezTo>
                    <a:cubicBezTo>
                      <a:pt x="432" y="150"/>
                      <a:pt x="432" y="150"/>
                      <a:pt x="432" y="150"/>
                    </a:cubicBezTo>
                    <a:cubicBezTo>
                      <a:pt x="426" y="146"/>
                      <a:pt x="426" y="146"/>
                      <a:pt x="426" y="146"/>
                    </a:cubicBezTo>
                    <a:cubicBezTo>
                      <a:pt x="432" y="138"/>
                      <a:pt x="432" y="138"/>
                      <a:pt x="432" y="138"/>
                    </a:cubicBezTo>
                    <a:cubicBezTo>
                      <a:pt x="427" y="133"/>
                      <a:pt x="427" y="133"/>
                      <a:pt x="427" y="133"/>
                    </a:cubicBezTo>
                    <a:cubicBezTo>
                      <a:pt x="414" y="133"/>
                      <a:pt x="414" y="133"/>
                      <a:pt x="414" y="133"/>
                    </a:cubicBezTo>
                    <a:cubicBezTo>
                      <a:pt x="414" y="133"/>
                      <a:pt x="414" y="133"/>
                      <a:pt x="415" y="116"/>
                    </a:cubicBezTo>
                    <a:cubicBezTo>
                      <a:pt x="334" y="100"/>
                      <a:pt x="366" y="134"/>
                      <a:pt x="366" y="134"/>
                    </a:cubicBezTo>
                    <a:cubicBezTo>
                      <a:pt x="311" y="136"/>
                      <a:pt x="311" y="136"/>
                      <a:pt x="311" y="136"/>
                    </a:cubicBezTo>
                    <a:cubicBezTo>
                      <a:pt x="311" y="148"/>
                      <a:pt x="311" y="148"/>
                      <a:pt x="311" y="148"/>
                    </a:cubicBezTo>
                    <a:cubicBezTo>
                      <a:pt x="302" y="145"/>
                      <a:pt x="302" y="145"/>
                      <a:pt x="302" y="145"/>
                    </a:cubicBezTo>
                    <a:cubicBezTo>
                      <a:pt x="296" y="132"/>
                      <a:pt x="296" y="132"/>
                      <a:pt x="296" y="132"/>
                    </a:cubicBezTo>
                    <a:cubicBezTo>
                      <a:pt x="287" y="132"/>
                      <a:pt x="287" y="132"/>
                      <a:pt x="287" y="132"/>
                    </a:cubicBezTo>
                    <a:cubicBezTo>
                      <a:pt x="290" y="141"/>
                      <a:pt x="290" y="141"/>
                      <a:pt x="290" y="141"/>
                    </a:cubicBezTo>
                    <a:cubicBezTo>
                      <a:pt x="283" y="137"/>
                      <a:pt x="283" y="137"/>
                      <a:pt x="283" y="137"/>
                    </a:cubicBezTo>
                    <a:cubicBezTo>
                      <a:pt x="270" y="148"/>
                      <a:pt x="270" y="148"/>
                      <a:pt x="270" y="148"/>
                    </a:cubicBezTo>
                    <a:cubicBezTo>
                      <a:pt x="258" y="141"/>
                      <a:pt x="258" y="141"/>
                      <a:pt x="258" y="141"/>
                    </a:cubicBezTo>
                    <a:cubicBezTo>
                      <a:pt x="256" y="146"/>
                      <a:pt x="256" y="146"/>
                      <a:pt x="256" y="146"/>
                    </a:cubicBezTo>
                    <a:cubicBezTo>
                      <a:pt x="222" y="145"/>
                      <a:pt x="222" y="145"/>
                      <a:pt x="222" y="145"/>
                    </a:cubicBezTo>
                    <a:cubicBezTo>
                      <a:pt x="222" y="145"/>
                      <a:pt x="226" y="128"/>
                      <a:pt x="226" y="125"/>
                    </a:cubicBezTo>
                    <a:cubicBezTo>
                      <a:pt x="216" y="133"/>
                      <a:pt x="218" y="129"/>
                      <a:pt x="208" y="109"/>
                    </a:cubicBezTo>
                    <a:cubicBezTo>
                      <a:pt x="199" y="89"/>
                      <a:pt x="190" y="81"/>
                      <a:pt x="190" y="81"/>
                    </a:cubicBezTo>
                    <a:cubicBezTo>
                      <a:pt x="190" y="70"/>
                      <a:pt x="190" y="70"/>
                      <a:pt x="190" y="70"/>
                    </a:cubicBezTo>
                    <a:cubicBezTo>
                      <a:pt x="182" y="69"/>
                      <a:pt x="182" y="69"/>
                      <a:pt x="182" y="69"/>
                    </a:cubicBezTo>
                    <a:cubicBezTo>
                      <a:pt x="182" y="78"/>
                      <a:pt x="182" y="78"/>
                      <a:pt x="182" y="78"/>
                    </a:cubicBezTo>
                    <a:cubicBezTo>
                      <a:pt x="176" y="81"/>
                      <a:pt x="176" y="81"/>
                      <a:pt x="176" y="81"/>
                    </a:cubicBezTo>
                    <a:cubicBezTo>
                      <a:pt x="167" y="66"/>
                      <a:pt x="167" y="66"/>
                      <a:pt x="167" y="66"/>
                    </a:cubicBezTo>
                    <a:cubicBezTo>
                      <a:pt x="158" y="69"/>
                      <a:pt x="158" y="69"/>
                      <a:pt x="158" y="69"/>
                    </a:cubicBezTo>
                    <a:cubicBezTo>
                      <a:pt x="167" y="60"/>
                      <a:pt x="159" y="38"/>
                      <a:pt x="159" y="38"/>
                    </a:cubicBezTo>
                    <a:cubicBezTo>
                      <a:pt x="155" y="33"/>
                      <a:pt x="155" y="33"/>
                      <a:pt x="155" y="33"/>
                    </a:cubicBezTo>
                    <a:cubicBezTo>
                      <a:pt x="155" y="18"/>
                      <a:pt x="128" y="8"/>
                      <a:pt x="128" y="8"/>
                    </a:cubicBezTo>
                    <a:cubicBezTo>
                      <a:pt x="122" y="10"/>
                      <a:pt x="122" y="10"/>
                      <a:pt x="122" y="10"/>
                    </a:cubicBezTo>
                    <a:cubicBezTo>
                      <a:pt x="118" y="0"/>
                      <a:pt x="118" y="0"/>
                      <a:pt x="118" y="0"/>
                    </a:cubicBezTo>
                    <a:cubicBezTo>
                      <a:pt x="103" y="8"/>
                      <a:pt x="103" y="8"/>
                      <a:pt x="103" y="8"/>
                    </a:cubicBezTo>
                    <a:cubicBezTo>
                      <a:pt x="44" y="8"/>
                      <a:pt x="44" y="8"/>
                      <a:pt x="44" y="8"/>
                    </a:cubicBezTo>
                    <a:cubicBezTo>
                      <a:pt x="36" y="28"/>
                      <a:pt x="36" y="28"/>
                      <a:pt x="36" y="28"/>
                    </a:cubicBezTo>
                    <a:cubicBezTo>
                      <a:pt x="42" y="44"/>
                      <a:pt x="42" y="44"/>
                      <a:pt x="42" y="44"/>
                    </a:cubicBezTo>
                    <a:cubicBezTo>
                      <a:pt x="42" y="44"/>
                      <a:pt x="28" y="66"/>
                      <a:pt x="20" y="75"/>
                    </a:cubicBezTo>
                    <a:cubicBezTo>
                      <a:pt x="39" y="84"/>
                      <a:pt x="39" y="84"/>
                      <a:pt x="39" y="84"/>
                    </a:cubicBezTo>
                    <a:cubicBezTo>
                      <a:pt x="39" y="84"/>
                      <a:pt x="28" y="104"/>
                      <a:pt x="58" y="114"/>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99" name="Centre" descr="© INSCALE GmbH, 05.05.2010&#10;http://www.presentationload.com/">
                <a:extLst>
                  <a:ext uri="{FF2B5EF4-FFF2-40B4-BE49-F238E27FC236}">
                    <a16:creationId xmlns:a16="http://schemas.microsoft.com/office/drawing/2014/main" id="{2F93616E-9714-40DC-8DC4-1824DBEBEE72}"/>
                  </a:ext>
                </a:extLst>
              </p:cNvPr>
              <p:cNvSpPr>
                <a:spLocks/>
              </p:cNvSpPr>
              <p:nvPr/>
            </p:nvSpPr>
            <p:spPr bwMode="gray">
              <a:xfrm>
                <a:off x="1233" y="903"/>
                <a:ext cx="716" cy="887"/>
              </a:xfrm>
              <a:custGeom>
                <a:avLst/>
                <a:gdLst/>
                <a:ahLst/>
                <a:cxnLst>
                  <a:cxn ang="0">
                    <a:pos x="209" y="158"/>
                  </a:cxn>
                  <a:cxn ang="0">
                    <a:pos x="173" y="227"/>
                  </a:cxn>
                  <a:cxn ang="0">
                    <a:pos x="193" y="251"/>
                  </a:cxn>
                  <a:cxn ang="0">
                    <a:pos x="168" y="275"/>
                  </a:cxn>
                  <a:cxn ang="0">
                    <a:pos x="179" y="314"/>
                  </a:cxn>
                  <a:cxn ang="0">
                    <a:pos x="144" y="367"/>
                  </a:cxn>
                  <a:cxn ang="0">
                    <a:pos x="79" y="406"/>
                  </a:cxn>
                  <a:cxn ang="0">
                    <a:pos x="43" y="418"/>
                  </a:cxn>
                  <a:cxn ang="0">
                    <a:pos x="29" y="494"/>
                  </a:cxn>
                  <a:cxn ang="0">
                    <a:pos x="29" y="594"/>
                  </a:cxn>
                  <a:cxn ang="0">
                    <a:pos x="56" y="598"/>
                  </a:cxn>
                  <a:cxn ang="0">
                    <a:pos x="79" y="632"/>
                  </a:cxn>
                  <a:cxn ang="0">
                    <a:pos x="108" y="611"/>
                  </a:cxn>
                  <a:cxn ang="0">
                    <a:pos x="185" y="712"/>
                  </a:cxn>
                  <a:cxn ang="0">
                    <a:pos x="233" y="788"/>
                  </a:cxn>
                  <a:cxn ang="0">
                    <a:pos x="251" y="820"/>
                  </a:cxn>
                  <a:cxn ang="0">
                    <a:pos x="287" y="811"/>
                  </a:cxn>
                  <a:cxn ang="0">
                    <a:pos x="320" y="814"/>
                  </a:cxn>
                  <a:cxn ang="0">
                    <a:pos x="353" y="806"/>
                  </a:cxn>
                  <a:cxn ang="0">
                    <a:pos x="404" y="802"/>
                  </a:cxn>
                  <a:cxn ang="0">
                    <a:pos x="539" y="771"/>
                  </a:cxn>
                  <a:cxn ang="0">
                    <a:pos x="559" y="719"/>
                  </a:cxn>
                  <a:cxn ang="0">
                    <a:pos x="650" y="684"/>
                  </a:cxn>
                  <a:cxn ang="0">
                    <a:pos x="655" y="607"/>
                  </a:cxn>
                  <a:cxn ang="0">
                    <a:pos x="611" y="514"/>
                  </a:cxn>
                  <a:cxn ang="0">
                    <a:pos x="632" y="435"/>
                  </a:cxn>
                  <a:cxn ang="0">
                    <a:pos x="615" y="388"/>
                  </a:cxn>
                  <a:cxn ang="0">
                    <a:pos x="641" y="364"/>
                  </a:cxn>
                  <a:cxn ang="0">
                    <a:pos x="639" y="327"/>
                  </a:cxn>
                  <a:cxn ang="0">
                    <a:pos x="663" y="284"/>
                  </a:cxn>
                  <a:cxn ang="0">
                    <a:pos x="624" y="246"/>
                  </a:cxn>
                  <a:cxn ang="0">
                    <a:pos x="581" y="247"/>
                  </a:cxn>
                  <a:cxn ang="0">
                    <a:pos x="520" y="254"/>
                  </a:cxn>
                  <a:cxn ang="0">
                    <a:pos x="513" y="214"/>
                  </a:cxn>
                  <a:cxn ang="0">
                    <a:pos x="491" y="194"/>
                  </a:cxn>
                  <a:cxn ang="0">
                    <a:pos x="468" y="188"/>
                  </a:cxn>
                  <a:cxn ang="0">
                    <a:pos x="419" y="204"/>
                  </a:cxn>
                  <a:cxn ang="0">
                    <a:pos x="405" y="154"/>
                  </a:cxn>
                  <a:cxn ang="0">
                    <a:pos x="364" y="115"/>
                  </a:cxn>
                  <a:cxn ang="0">
                    <a:pos x="341" y="88"/>
                  </a:cxn>
                  <a:cxn ang="0">
                    <a:pos x="344" y="59"/>
                  </a:cxn>
                  <a:cxn ang="0">
                    <a:pos x="331" y="23"/>
                  </a:cxn>
                  <a:cxn ang="0">
                    <a:pos x="312" y="3"/>
                  </a:cxn>
                  <a:cxn ang="0">
                    <a:pos x="287" y="51"/>
                  </a:cxn>
                  <a:cxn ang="0">
                    <a:pos x="225" y="54"/>
                  </a:cxn>
                  <a:cxn ang="0">
                    <a:pos x="177" y="98"/>
                  </a:cxn>
                </a:cxnLst>
                <a:rect l="0" t="0" r="r" b="b"/>
                <a:pathLst>
                  <a:path w="664" h="822">
                    <a:moveTo>
                      <a:pt x="205" y="131"/>
                    </a:moveTo>
                    <a:cubicBezTo>
                      <a:pt x="205" y="136"/>
                      <a:pt x="201" y="144"/>
                      <a:pt x="201" y="144"/>
                    </a:cubicBezTo>
                    <a:cubicBezTo>
                      <a:pt x="209" y="158"/>
                      <a:pt x="209" y="158"/>
                      <a:pt x="209" y="158"/>
                    </a:cubicBezTo>
                    <a:cubicBezTo>
                      <a:pt x="197" y="172"/>
                      <a:pt x="197" y="172"/>
                      <a:pt x="197" y="172"/>
                    </a:cubicBezTo>
                    <a:cubicBezTo>
                      <a:pt x="197" y="172"/>
                      <a:pt x="171" y="179"/>
                      <a:pt x="168" y="190"/>
                    </a:cubicBezTo>
                    <a:cubicBezTo>
                      <a:pt x="165" y="200"/>
                      <a:pt x="173" y="227"/>
                      <a:pt x="173" y="227"/>
                    </a:cubicBezTo>
                    <a:cubicBezTo>
                      <a:pt x="173" y="235"/>
                      <a:pt x="173" y="235"/>
                      <a:pt x="173" y="235"/>
                    </a:cubicBezTo>
                    <a:cubicBezTo>
                      <a:pt x="193" y="242"/>
                      <a:pt x="193" y="242"/>
                      <a:pt x="193" y="242"/>
                    </a:cubicBezTo>
                    <a:cubicBezTo>
                      <a:pt x="193" y="251"/>
                      <a:pt x="193" y="251"/>
                      <a:pt x="193" y="251"/>
                    </a:cubicBezTo>
                    <a:cubicBezTo>
                      <a:pt x="179" y="252"/>
                      <a:pt x="179" y="252"/>
                      <a:pt x="179" y="252"/>
                    </a:cubicBezTo>
                    <a:cubicBezTo>
                      <a:pt x="179" y="270"/>
                      <a:pt x="179" y="270"/>
                      <a:pt x="179" y="270"/>
                    </a:cubicBezTo>
                    <a:cubicBezTo>
                      <a:pt x="168" y="275"/>
                      <a:pt x="168" y="275"/>
                      <a:pt x="168" y="275"/>
                    </a:cubicBezTo>
                    <a:cubicBezTo>
                      <a:pt x="176" y="287"/>
                      <a:pt x="176" y="287"/>
                      <a:pt x="176" y="287"/>
                    </a:cubicBezTo>
                    <a:cubicBezTo>
                      <a:pt x="172" y="300"/>
                      <a:pt x="172" y="300"/>
                      <a:pt x="172" y="300"/>
                    </a:cubicBezTo>
                    <a:cubicBezTo>
                      <a:pt x="179" y="314"/>
                      <a:pt x="179" y="314"/>
                      <a:pt x="179" y="314"/>
                    </a:cubicBezTo>
                    <a:cubicBezTo>
                      <a:pt x="171" y="324"/>
                      <a:pt x="171" y="324"/>
                      <a:pt x="171" y="324"/>
                    </a:cubicBezTo>
                    <a:cubicBezTo>
                      <a:pt x="171" y="324"/>
                      <a:pt x="161" y="328"/>
                      <a:pt x="161" y="343"/>
                    </a:cubicBezTo>
                    <a:cubicBezTo>
                      <a:pt x="157" y="347"/>
                      <a:pt x="144" y="367"/>
                      <a:pt x="144" y="367"/>
                    </a:cubicBezTo>
                    <a:cubicBezTo>
                      <a:pt x="144" y="367"/>
                      <a:pt x="112" y="388"/>
                      <a:pt x="128" y="394"/>
                    </a:cubicBezTo>
                    <a:cubicBezTo>
                      <a:pt x="124" y="395"/>
                      <a:pt x="95" y="402"/>
                      <a:pt x="95" y="402"/>
                    </a:cubicBezTo>
                    <a:cubicBezTo>
                      <a:pt x="95" y="402"/>
                      <a:pt x="96" y="424"/>
                      <a:pt x="79" y="406"/>
                    </a:cubicBezTo>
                    <a:cubicBezTo>
                      <a:pt x="80" y="408"/>
                      <a:pt x="69" y="415"/>
                      <a:pt x="69" y="415"/>
                    </a:cubicBezTo>
                    <a:cubicBezTo>
                      <a:pt x="80" y="430"/>
                      <a:pt x="80" y="430"/>
                      <a:pt x="80" y="430"/>
                    </a:cubicBezTo>
                    <a:cubicBezTo>
                      <a:pt x="43" y="418"/>
                      <a:pt x="43" y="418"/>
                      <a:pt x="43" y="418"/>
                    </a:cubicBezTo>
                    <a:cubicBezTo>
                      <a:pt x="43" y="418"/>
                      <a:pt x="32" y="446"/>
                      <a:pt x="39" y="454"/>
                    </a:cubicBezTo>
                    <a:cubicBezTo>
                      <a:pt x="35" y="464"/>
                      <a:pt x="23" y="482"/>
                      <a:pt x="23" y="482"/>
                    </a:cubicBezTo>
                    <a:cubicBezTo>
                      <a:pt x="29" y="494"/>
                      <a:pt x="29" y="494"/>
                      <a:pt x="29" y="494"/>
                    </a:cubicBezTo>
                    <a:cubicBezTo>
                      <a:pt x="29" y="494"/>
                      <a:pt x="0" y="528"/>
                      <a:pt x="3" y="556"/>
                    </a:cubicBezTo>
                    <a:cubicBezTo>
                      <a:pt x="5" y="584"/>
                      <a:pt x="29" y="580"/>
                      <a:pt x="29" y="580"/>
                    </a:cubicBezTo>
                    <a:cubicBezTo>
                      <a:pt x="29" y="594"/>
                      <a:pt x="29" y="594"/>
                      <a:pt x="29" y="594"/>
                    </a:cubicBezTo>
                    <a:cubicBezTo>
                      <a:pt x="43" y="587"/>
                      <a:pt x="43" y="587"/>
                      <a:pt x="43" y="587"/>
                    </a:cubicBezTo>
                    <a:cubicBezTo>
                      <a:pt x="47" y="594"/>
                      <a:pt x="47" y="594"/>
                      <a:pt x="47" y="594"/>
                    </a:cubicBezTo>
                    <a:cubicBezTo>
                      <a:pt x="56" y="598"/>
                      <a:pt x="56" y="598"/>
                      <a:pt x="56" y="598"/>
                    </a:cubicBezTo>
                    <a:cubicBezTo>
                      <a:pt x="56" y="598"/>
                      <a:pt x="44" y="624"/>
                      <a:pt x="56" y="628"/>
                    </a:cubicBezTo>
                    <a:cubicBezTo>
                      <a:pt x="68" y="632"/>
                      <a:pt x="67" y="626"/>
                      <a:pt x="67" y="626"/>
                    </a:cubicBezTo>
                    <a:cubicBezTo>
                      <a:pt x="79" y="632"/>
                      <a:pt x="79" y="632"/>
                      <a:pt x="79" y="632"/>
                    </a:cubicBezTo>
                    <a:cubicBezTo>
                      <a:pt x="93" y="624"/>
                      <a:pt x="93" y="624"/>
                      <a:pt x="93" y="624"/>
                    </a:cubicBezTo>
                    <a:cubicBezTo>
                      <a:pt x="116" y="624"/>
                      <a:pt x="116" y="624"/>
                      <a:pt x="116" y="624"/>
                    </a:cubicBezTo>
                    <a:cubicBezTo>
                      <a:pt x="108" y="611"/>
                      <a:pt x="108" y="611"/>
                      <a:pt x="108" y="611"/>
                    </a:cubicBezTo>
                    <a:cubicBezTo>
                      <a:pt x="140" y="622"/>
                      <a:pt x="140" y="622"/>
                      <a:pt x="140" y="622"/>
                    </a:cubicBezTo>
                    <a:cubicBezTo>
                      <a:pt x="140" y="622"/>
                      <a:pt x="143" y="654"/>
                      <a:pt x="160" y="670"/>
                    </a:cubicBezTo>
                    <a:cubicBezTo>
                      <a:pt x="177" y="686"/>
                      <a:pt x="153" y="679"/>
                      <a:pt x="185" y="712"/>
                    </a:cubicBezTo>
                    <a:cubicBezTo>
                      <a:pt x="184" y="726"/>
                      <a:pt x="179" y="755"/>
                      <a:pt x="207" y="756"/>
                    </a:cubicBezTo>
                    <a:cubicBezTo>
                      <a:pt x="211" y="758"/>
                      <a:pt x="208" y="767"/>
                      <a:pt x="208" y="767"/>
                    </a:cubicBezTo>
                    <a:cubicBezTo>
                      <a:pt x="208" y="767"/>
                      <a:pt x="227" y="746"/>
                      <a:pt x="233" y="788"/>
                    </a:cubicBezTo>
                    <a:cubicBezTo>
                      <a:pt x="237" y="795"/>
                      <a:pt x="248" y="800"/>
                      <a:pt x="248" y="800"/>
                    </a:cubicBezTo>
                    <a:cubicBezTo>
                      <a:pt x="244" y="811"/>
                      <a:pt x="244" y="811"/>
                      <a:pt x="244" y="811"/>
                    </a:cubicBezTo>
                    <a:cubicBezTo>
                      <a:pt x="251" y="820"/>
                      <a:pt x="251" y="820"/>
                      <a:pt x="251" y="820"/>
                    </a:cubicBezTo>
                    <a:cubicBezTo>
                      <a:pt x="269" y="818"/>
                      <a:pt x="269" y="818"/>
                      <a:pt x="269" y="818"/>
                    </a:cubicBezTo>
                    <a:cubicBezTo>
                      <a:pt x="269" y="811"/>
                      <a:pt x="269" y="811"/>
                      <a:pt x="269" y="811"/>
                    </a:cubicBezTo>
                    <a:cubicBezTo>
                      <a:pt x="287" y="811"/>
                      <a:pt x="287" y="811"/>
                      <a:pt x="287" y="811"/>
                    </a:cubicBezTo>
                    <a:cubicBezTo>
                      <a:pt x="292" y="822"/>
                      <a:pt x="292" y="822"/>
                      <a:pt x="292" y="822"/>
                    </a:cubicBezTo>
                    <a:cubicBezTo>
                      <a:pt x="319" y="802"/>
                      <a:pt x="319" y="802"/>
                      <a:pt x="319" y="802"/>
                    </a:cubicBezTo>
                    <a:cubicBezTo>
                      <a:pt x="320" y="814"/>
                      <a:pt x="320" y="814"/>
                      <a:pt x="320" y="814"/>
                    </a:cubicBezTo>
                    <a:cubicBezTo>
                      <a:pt x="337" y="803"/>
                      <a:pt x="337" y="803"/>
                      <a:pt x="337" y="803"/>
                    </a:cubicBezTo>
                    <a:cubicBezTo>
                      <a:pt x="340" y="811"/>
                      <a:pt x="340" y="811"/>
                      <a:pt x="340" y="811"/>
                    </a:cubicBezTo>
                    <a:cubicBezTo>
                      <a:pt x="353" y="806"/>
                      <a:pt x="353" y="806"/>
                      <a:pt x="353" y="806"/>
                    </a:cubicBezTo>
                    <a:cubicBezTo>
                      <a:pt x="363" y="812"/>
                      <a:pt x="363" y="812"/>
                      <a:pt x="363" y="812"/>
                    </a:cubicBezTo>
                    <a:cubicBezTo>
                      <a:pt x="368" y="794"/>
                      <a:pt x="368" y="794"/>
                      <a:pt x="368" y="794"/>
                    </a:cubicBezTo>
                    <a:cubicBezTo>
                      <a:pt x="368" y="794"/>
                      <a:pt x="392" y="804"/>
                      <a:pt x="404" y="802"/>
                    </a:cubicBezTo>
                    <a:cubicBezTo>
                      <a:pt x="416" y="799"/>
                      <a:pt x="411" y="790"/>
                      <a:pt x="436" y="803"/>
                    </a:cubicBezTo>
                    <a:cubicBezTo>
                      <a:pt x="441" y="812"/>
                      <a:pt x="483" y="802"/>
                      <a:pt x="483" y="802"/>
                    </a:cubicBezTo>
                    <a:cubicBezTo>
                      <a:pt x="483" y="802"/>
                      <a:pt x="505" y="759"/>
                      <a:pt x="539" y="771"/>
                    </a:cubicBezTo>
                    <a:cubicBezTo>
                      <a:pt x="555" y="760"/>
                      <a:pt x="555" y="760"/>
                      <a:pt x="555" y="760"/>
                    </a:cubicBezTo>
                    <a:cubicBezTo>
                      <a:pt x="555" y="760"/>
                      <a:pt x="545" y="738"/>
                      <a:pt x="552" y="732"/>
                    </a:cubicBezTo>
                    <a:cubicBezTo>
                      <a:pt x="559" y="727"/>
                      <a:pt x="559" y="719"/>
                      <a:pt x="559" y="719"/>
                    </a:cubicBezTo>
                    <a:cubicBezTo>
                      <a:pt x="559" y="719"/>
                      <a:pt x="577" y="700"/>
                      <a:pt x="581" y="700"/>
                    </a:cubicBezTo>
                    <a:cubicBezTo>
                      <a:pt x="585" y="700"/>
                      <a:pt x="600" y="722"/>
                      <a:pt x="608" y="706"/>
                    </a:cubicBezTo>
                    <a:cubicBezTo>
                      <a:pt x="615" y="691"/>
                      <a:pt x="625" y="683"/>
                      <a:pt x="650" y="684"/>
                    </a:cubicBezTo>
                    <a:cubicBezTo>
                      <a:pt x="649" y="683"/>
                      <a:pt x="649" y="682"/>
                      <a:pt x="648" y="682"/>
                    </a:cubicBezTo>
                    <a:cubicBezTo>
                      <a:pt x="661" y="667"/>
                      <a:pt x="645" y="650"/>
                      <a:pt x="651" y="644"/>
                    </a:cubicBezTo>
                    <a:cubicBezTo>
                      <a:pt x="656" y="639"/>
                      <a:pt x="655" y="607"/>
                      <a:pt x="655" y="607"/>
                    </a:cubicBezTo>
                    <a:cubicBezTo>
                      <a:pt x="645" y="599"/>
                      <a:pt x="645" y="599"/>
                      <a:pt x="645" y="599"/>
                    </a:cubicBezTo>
                    <a:cubicBezTo>
                      <a:pt x="645" y="555"/>
                      <a:pt x="636" y="535"/>
                      <a:pt x="636" y="535"/>
                    </a:cubicBezTo>
                    <a:cubicBezTo>
                      <a:pt x="611" y="514"/>
                      <a:pt x="611" y="514"/>
                      <a:pt x="611" y="514"/>
                    </a:cubicBezTo>
                    <a:cubicBezTo>
                      <a:pt x="625" y="479"/>
                      <a:pt x="625" y="479"/>
                      <a:pt x="625" y="479"/>
                    </a:cubicBezTo>
                    <a:cubicBezTo>
                      <a:pt x="609" y="440"/>
                      <a:pt x="609" y="440"/>
                      <a:pt x="609" y="440"/>
                    </a:cubicBezTo>
                    <a:cubicBezTo>
                      <a:pt x="632" y="435"/>
                      <a:pt x="632" y="435"/>
                      <a:pt x="632" y="435"/>
                    </a:cubicBezTo>
                    <a:cubicBezTo>
                      <a:pt x="624" y="423"/>
                      <a:pt x="624" y="423"/>
                      <a:pt x="624" y="423"/>
                    </a:cubicBezTo>
                    <a:cubicBezTo>
                      <a:pt x="628" y="410"/>
                      <a:pt x="628" y="410"/>
                      <a:pt x="628" y="410"/>
                    </a:cubicBezTo>
                    <a:cubicBezTo>
                      <a:pt x="615" y="388"/>
                      <a:pt x="615" y="388"/>
                      <a:pt x="615" y="388"/>
                    </a:cubicBezTo>
                    <a:cubicBezTo>
                      <a:pt x="605" y="390"/>
                      <a:pt x="605" y="390"/>
                      <a:pt x="605" y="390"/>
                    </a:cubicBezTo>
                    <a:cubicBezTo>
                      <a:pt x="607" y="374"/>
                      <a:pt x="607" y="374"/>
                      <a:pt x="607" y="374"/>
                    </a:cubicBezTo>
                    <a:cubicBezTo>
                      <a:pt x="641" y="364"/>
                      <a:pt x="641" y="364"/>
                      <a:pt x="641" y="364"/>
                    </a:cubicBezTo>
                    <a:cubicBezTo>
                      <a:pt x="641" y="340"/>
                      <a:pt x="641" y="340"/>
                      <a:pt x="641" y="340"/>
                    </a:cubicBezTo>
                    <a:cubicBezTo>
                      <a:pt x="636" y="340"/>
                      <a:pt x="636" y="340"/>
                      <a:pt x="636" y="340"/>
                    </a:cubicBezTo>
                    <a:cubicBezTo>
                      <a:pt x="639" y="327"/>
                      <a:pt x="639" y="327"/>
                      <a:pt x="639" y="327"/>
                    </a:cubicBezTo>
                    <a:cubicBezTo>
                      <a:pt x="648" y="326"/>
                      <a:pt x="648" y="326"/>
                      <a:pt x="648" y="326"/>
                    </a:cubicBezTo>
                    <a:cubicBezTo>
                      <a:pt x="664" y="303"/>
                      <a:pt x="664" y="303"/>
                      <a:pt x="664" y="303"/>
                    </a:cubicBezTo>
                    <a:cubicBezTo>
                      <a:pt x="663" y="284"/>
                      <a:pt x="663" y="284"/>
                      <a:pt x="663" y="284"/>
                    </a:cubicBezTo>
                    <a:cubicBezTo>
                      <a:pt x="633" y="274"/>
                      <a:pt x="644" y="254"/>
                      <a:pt x="644" y="254"/>
                    </a:cubicBezTo>
                    <a:cubicBezTo>
                      <a:pt x="625" y="245"/>
                      <a:pt x="625" y="245"/>
                      <a:pt x="625" y="245"/>
                    </a:cubicBezTo>
                    <a:cubicBezTo>
                      <a:pt x="625" y="245"/>
                      <a:pt x="624" y="246"/>
                      <a:pt x="624" y="246"/>
                    </a:cubicBezTo>
                    <a:cubicBezTo>
                      <a:pt x="616" y="254"/>
                      <a:pt x="593" y="258"/>
                      <a:pt x="593" y="258"/>
                    </a:cubicBezTo>
                    <a:cubicBezTo>
                      <a:pt x="593" y="247"/>
                      <a:pt x="593" y="247"/>
                      <a:pt x="593" y="247"/>
                    </a:cubicBezTo>
                    <a:cubicBezTo>
                      <a:pt x="581" y="247"/>
                      <a:pt x="581" y="247"/>
                      <a:pt x="581" y="247"/>
                    </a:cubicBezTo>
                    <a:cubicBezTo>
                      <a:pt x="581" y="255"/>
                      <a:pt x="581" y="255"/>
                      <a:pt x="581" y="255"/>
                    </a:cubicBezTo>
                    <a:cubicBezTo>
                      <a:pt x="526" y="254"/>
                      <a:pt x="526" y="254"/>
                      <a:pt x="526" y="254"/>
                    </a:cubicBezTo>
                    <a:cubicBezTo>
                      <a:pt x="523" y="254"/>
                      <a:pt x="520" y="254"/>
                      <a:pt x="520" y="254"/>
                    </a:cubicBezTo>
                    <a:cubicBezTo>
                      <a:pt x="526" y="254"/>
                      <a:pt x="526" y="254"/>
                      <a:pt x="526" y="254"/>
                    </a:cubicBezTo>
                    <a:cubicBezTo>
                      <a:pt x="530" y="253"/>
                      <a:pt x="536" y="250"/>
                      <a:pt x="537" y="239"/>
                    </a:cubicBezTo>
                    <a:cubicBezTo>
                      <a:pt x="540" y="220"/>
                      <a:pt x="513" y="214"/>
                      <a:pt x="513" y="214"/>
                    </a:cubicBezTo>
                    <a:cubicBezTo>
                      <a:pt x="509" y="198"/>
                      <a:pt x="509" y="198"/>
                      <a:pt x="509" y="198"/>
                    </a:cubicBezTo>
                    <a:cubicBezTo>
                      <a:pt x="507" y="199"/>
                      <a:pt x="507" y="199"/>
                      <a:pt x="507" y="199"/>
                    </a:cubicBezTo>
                    <a:cubicBezTo>
                      <a:pt x="491" y="194"/>
                      <a:pt x="491" y="194"/>
                      <a:pt x="491" y="194"/>
                    </a:cubicBezTo>
                    <a:cubicBezTo>
                      <a:pt x="477" y="202"/>
                      <a:pt x="477" y="202"/>
                      <a:pt x="477" y="202"/>
                    </a:cubicBezTo>
                    <a:cubicBezTo>
                      <a:pt x="475" y="191"/>
                      <a:pt x="475" y="191"/>
                      <a:pt x="475" y="191"/>
                    </a:cubicBezTo>
                    <a:cubicBezTo>
                      <a:pt x="468" y="188"/>
                      <a:pt x="468" y="188"/>
                      <a:pt x="468" y="188"/>
                    </a:cubicBezTo>
                    <a:cubicBezTo>
                      <a:pt x="461" y="202"/>
                      <a:pt x="461" y="202"/>
                      <a:pt x="461" y="202"/>
                    </a:cubicBezTo>
                    <a:cubicBezTo>
                      <a:pt x="461" y="202"/>
                      <a:pt x="451" y="202"/>
                      <a:pt x="443" y="202"/>
                    </a:cubicBezTo>
                    <a:cubicBezTo>
                      <a:pt x="435" y="202"/>
                      <a:pt x="428" y="212"/>
                      <a:pt x="419" y="204"/>
                    </a:cubicBezTo>
                    <a:cubicBezTo>
                      <a:pt x="409" y="196"/>
                      <a:pt x="421" y="170"/>
                      <a:pt x="421" y="170"/>
                    </a:cubicBezTo>
                    <a:cubicBezTo>
                      <a:pt x="411" y="168"/>
                      <a:pt x="411" y="168"/>
                      <a:pt x="411" y="168"/>
                    </a:cubicBezTo>
                    <a:cubicBezTo>
                      <a:pt x="411" y="168"/>
                      <a:pt x="409" y="155"/>
                      <a:pt x="405" y="154"/>
                    </a:cubicBezTo>
                    <a:cubicBezTo>
                      <a:pt x="403" y="162"/>
                      <a:pt x="379" y="147"/>
                      <a:pt x="379" y="147"/>
                    </a:cubicBezTo>
                    <a:cubicBezTo>
                      <a:pt x="377" y="122"/>
                      <a:pt x="377" y="122"/>
                      <a:pt x="377" y="122"/>
                    </a:cubicBezTo>
                    <a:cubicBezTo>
                      <a:pt x="364" y="115"/>
                      <a:pt x="364" y="115"/>
                      <a:pt x="364" y="115"/>
                    </a:cubicBezTo>
                    <a:cubicBezTo>
                      <a:pt x="365" y="103"/>
                      <a:pt x="365" y="103"/>
                      <a:pt x="365" y="103"/>
                    </a:cubicBezTo>
                    <a:cubicBezTo>
                      <a:pt x="356" y="100"/>
                      <a:pt x="356" y="100"/>
                      <a:pt x="356" y="100"/>
                    </a:cubicBezTo>
                    <a:cubicBezTo>
                      <a:pt x="341" y="88"/>
                      <a:pt x="341" y="88"/>
                      <a:pt x="341" y="88"/>
                    </a:cubicBezTo>
                    <a:cubicBezTo>
                      <a:pt x="343" y="78"/>
                      <a:pt x="343" y="78"/>
                      <a:pt x="343" y="78"/>
                    </a:cubicBezTo>
                    <a:cubicBezTo>
                      <a:pt x="333" y="74"/>
                      <a:pt x="333" y="74"/>
                      <a:pt x="333" y="74"/>
                    </a:cubicBezTo>
                    <a:cubicBezTo>
                      <a:pt x="344" y="59"/>
                      <a:pt x="344" y="59"/>
                      <a:pt x="344" y="59"/>
                    </a:cubicBezTo>
                    <a:cubicBezTo>
                      <a:pt x="337" y="52"/>
                      <a:pt x="337" y="52"/>
                      <a:pt x="337" y="52"/>
                    </a:cubicBezTo>
                    <a:cubicBezTo>
                      <a:pt x="339" y="28"/>
                      <a:pt x="339" y="28"/>
                      <a:pt x="339" y="28"/>
                    </a:cubicBezTo>
                    <a:cubicBezTo>
                      <a:pt x="331" y="23"/>
                      <a:pt x="331" y="23"/>
                      <a:pt x="331" y="23"/>
                    </a:cubicBezTo>
                    <a:cubicBezTo>
                      <a:pt x="335" y="14"/>
                      <a:pt x="335" y="14"/>
                      <a:pt x="335" y="14"/>
                    </a:cubicBezTo>
                    <a:cubicBezTo>
                      <a:pt x="320" y="0"/>
                      <a:pt x="320" y="0"/>
                      <a:pt x="320" y="0"/>
                    </a:cubicBezTo>
                    <a:cubicBezTo>
                      <a:pt x="312" y="3"/>
                      <a:pt x="312" y="3"/>
                      <a:pt x="312" y="3"/>
                    </a:cubicBezTo>
                    <a:cubicBezTo>
                      <a:pt x="312" y="3"/>
                      <a:pt x="313" y="10"/>
                      <a:pt x="312" y="15"/>
                    </a:cubicBezTo>
                    <a:cubicBezTo>
                      <a:pt x="311" y="20"/>
                      <a:pt x="292" y="28"/>
                      <a:pt x="292" y="28"/>
                    </a:cubicBezTo>
                    <a:cubicBezTo>
                      <a:pt x="292" y="28"/>
                      <a:pt x="293" y="40"/>
                      <a:pt x="287" y="51"/>
                    </a:cubicBezTo>
                    <a:cubicBezTo>
                      <a:pt x="280" y="62"/>
                      <a:pt x="236" y="47"/>
                      <a:pt x="236" y="47"/>
                    </a:cubicBezTo>
                    <a:cubicBezTo>
                      <a:pt x="235" y="58"/>
                      <a:pt x="235" y="58"/>
                      <a:pt x="235" y="58"/>
                    </a:cubicBezTo>
                    <a:cubicBezTo>
                      <a:pt x="235" y="58"/>
                      <a:pt x="227" y="58"/>
                      <a:pt x="225" y="54"/>
                    </a:cubicBezTo>
                    <a:cubicBezTo>
                      <a:pt x="203" y="76"/>
                      <a:pt x="195" y="64"/>
                      <a:pt x="191" y="64"/>
                    </a:cubicBezTo>
                    <a:cubicBezTo>
                      <a:pt x="187" y="74"/>
                      <a:pt x="182" y="78"/>
                      <a:pt x="176" y="79"/>
                    </a:cubicBezTo>
                    <a:cubicBezTo>
                      <a:pt x="177" y="98"/>
                      <a:pt x="177" y="98"/>
                      <a:pt x="177" y="98"/>
                    </a:cubicBezTo>
                    <a:cubicBezTo>
                      <a:pt x="177" y="98"/>
                      <a:pt x="205" y="126"/>
                      <a:pt x="205" y="13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00" name="Basse Normandie" descr="© INSCALE GmbH, 05.05.2010&#10;http://www.presentationload.com/">
                <a:extLst>
                  <a:ext uri="{FF2B5EF4-FFF2-40B4-BE49-F238E27FC236}">
                    <a16:creationId xmlns:a16="http://schemas.microsoft.com/office/drawing/2014/main" id="{96C755B5-878D-43B1-9DB9-C3827DF7190E}"/>
                  </a:ext>
                </a:extLst>
              </p:cNvPr>
              <p:cNvSpPr>
                <a:spLocks/>
              </p:cNvSpPr>
              <p:nvPr/>
            </p:nvSpPr>
            <p:spPr bwMode="gray">
              <a:xfrm>
                <a:off x="801" y="585"/>
                <a:ext cx="657" cy="573"/>
              </a:xfrm>
              <a:custGeom>
                <a:avLst/>
                <a:gdLst/>
                <a:ahLst/>
                <a:cxnLst>
                  <a:cxn ang="0">
                    <a:pos x="197" y="413"/>
                  </a:cxn>
                  <a:cxn ang="0">
                    <a:pos x="245" y="437"/>
                  </a:cxn>
                  <a:cxn ang="0">
                    <a:pos x="265" y="435"/>
                  </a:cxn>
                  <a:cxn ang="0">
                    <a:pos x="315" y="422"/>
                  </a:cxn>
                  <a:cxn ang="0">
                    <a:pos x="336" y="415"/>
                  </a:cxn>
                  <a:cxn ang="0">
                    <a:pos x="348" y="405"/>
                  </a:cxn>
                  <a:cxn ang="0">
                    <a:pos x="373" y="439"/>
                  </a:cxn>
                  <a:cxn ang="0">
                    <a:pos x="395" y="465"/>
                  </a:cxn>
                  <a:cxn ang="0">
                    <a:pos x="485" y="481"/>
                  </a:cxn>
                  <a:cxn ang="0">
                    <a:pos x="512" y="513"/>
                  </a:cxn>
                  <a:cxn ang="0">
                    <a:pos x="561" y="531"/>
                  </a:cxn>
                  <a:cxn ang="0">
                    <a:pos x="573" y="522"/>
                  </a:cxn>
                  <a:cxn ang="0">
                    <a:pos x="597" y="467"/>
                  </a:cxn>
                  <a:cxn ang="0">
                    <a:pos x="601" y="439"/>
                  </a:cxn>
                  <a:cxn ang="0">
                    <a:pos x="577" y="393"/>
                  </a:cxn>
                  <a:cxn ang="0">
                    <a:pos x="563" y="374"/>
                  </a:cxn>
                  <a:cxn ang="0">
                    <a:pos x="536" y="325"/>
                  </a:cxn>
                  <a:cxn ang="0">
                    <a:pos x="496" y="303"/>
                  </a:cxn>
                  <a:cxn ang="0">
                    <a:pos x="496" y="259"/>
                  </a:cxn>
                  <a:cxn ang="0">
                    <a:pos x="495" y="246"/>
                  </a:cxn>
                  <a:cxn ang="0">
                    <a:pos x="491" y="218"/>
                  </a:cxn>
                  <a:cxn ang="0">
                    <a:pos x="477" y="186"/>
                  </a:cxn>
                  <a:cxn ang="0">
                    <a:pos x="463" y="93"/>
                  </a:cxn>
                  <a:cxn ang="0">
                    <a:pos x="357" y="137"/>
                  </a:cxn>
                  <a:cxn ang="0">
                    <a:pos x="239" y="114"/>
                  </a:cxn>
                  <a:cxn ang="0">
                    <a:pos x="168" y="123"/>
                  </a:cxn>
                  <a:cxn ang="0">
                    <a:pos x="157" y="102"/>
                  </a:cxn>
                  <a:cxn ang="0">
                    <a:pos x="130" y="51"/>
                  </a:cxn>
                  <a:cxn ang="0">
                    <a:pos x="140" y="11"/>
                  </a:cxn>
                  <a:cxn ang="0">
                    <a:pos x="91" y="21"/>
                  </a:cxn>
                  <a:cxn ang="0">
                    <a:pos x="1" y="0"/>
                  </a:cxn>
                  <a:cxn ang="0">
                    <a:pos x="16" y="23"/>
                  </a:cxn>
                  <a:cxn ang="0">
                    <a:pos x="22" y="85"/>
                  </a:cxn>
                  <a:cxn ang="0">
                    <a:pos x="66" y="158"/>
                  </a:cxn>
                  <a:cxn ang="0">
                    <a:pos x="73" y="216"/>
                  </a:cxn>
                  <a:cxn ang="0">
                    <a:pos x="78" y="239"/>
                  </a:cxn>
                  <a:cxn ang="0">
                    <a:pos x="69" y="294"/>
                  </a:cxn>
                  <a:cxn ang="0">
                    <a:pos x="83" y="331"/>
                  </a:cxn>
                  <a:cxn ang="0">
                    <a:pos x="58" y="332"/>
                  </a:cxn>
                  <a:cxn ang="0">
                    <a:pos x="136" y="402"/>
                  </a:cxn>
                </a:cxnLst>
                <a:rect l="0" t="0" r="r" b="b"/>
                <a:pathLst>
                  <a:path w="609" h="531">
                    <a:moveTo>
                      <a:pt x="136" y="402"/>
                    </a:moveTo>
                    <a:cubicBezTo>
                      <a:pt x="173" y="418"/>
                      <a:pt x="187" y="426"/>
                      <a:pt x="197" y="413"/>
                    </a:cubicBezTo>
                    <a:cubicBezTo>
                      <a:pt x="207" y="418"/>
                      <a:pt x="220" y="422"/>
                      <a:pt x="220" y="422"/>
                    </a:cubicBezTo>
                    <a:cubicBezTo>
                      <a:pt x="220" y="422"/>
                      <a:pt x="245" y="446"/>
                      <a:pt x="245" y="437"/>
                    </a:cubicBezTo>
                    <a:cubicBezTo>
                      <a:pt x="245" y="427"/>
                      <a:pt x="261" y="426"/>
                      <a:pt x="261" y="426"/>
                    </a:cubicBezTo>
                    <a:cubicBezTo>
                      <a:pt x="265" y="435"/>
                      <a:pt x="265" y="435"/>
                      <a:pt x="265" y="435"/>
                    </a:cubicBezTo>
                    <a:cubicBezTo>
                      <a:pt x="265" y="435"/>
                      <a:pt x="288" y="435"/>
                      <a:pt x="293" y="421"/>
                    </a:cubicBezTo>
                    <a:cubicBezTo>
                      <a:pt x="300" y="421"/>
                      <a:pt x="315" y="422"/>
                      <a:pt x="315" y="422"/>
                    </a:cubicBezTo>
                    <a:cubicBezTo>
                      <a:pt x="321" y="427"/>
                      <a:pt x="321" y="427"/>
                      <a:pt x="321" y="427"/>
                    </a:cubicBezTo>
                    <a:cubicBezTo>
                      <a:pt x="336" y="415"/>
                      <a:pt x="336" y="415"/>
                      <a:pt x="336" y="415"/>
                    </a:cubicBezTo>
                    <a:cubicBezTo>
                      <a:pt x="336" y="415"/>
                      <a:pt x="344" y="426"/>
                      <a:pt x="348" y="418"/>
                    </a:cubicBezTo>
                    <a:cubicBezTo>
                      <a:pt x="352" y="410"/>
                      <a:pt x="344" y="405"/>
                      <a:pt x="348" y="405"/>
                    </a:cubicBezTo>
                    <a:cubicBezTo>
                      <a:pt x="352" y="405"/>
                      <a:pt x="375" y="414"/>
                      <a:pt x="375" y="414"/>
                    </a:cubicBezTo>
                    <a:cubicBezTo>
                      <a:pt x="375" y="414"/>
                      <a:pt x="361" y="439"/>
                      <a:pt x="373" y="439"/>
                    </a:cubicBezTo>
                    <a:cubicBezTo>
                      <a:pt x="385" y="439"/>
                      <a:pt x="391" y="438"/>
                      <a:pt x="391" y="438"/>
                    </a:cubicBezTo>
                    <a:cubicBezTo>
                      <a:pt x="395" y="465"/>
                      <a:pt x="395" y="465"/>
                      <a:pt x="395" y="465"/>
                    </a:cubicBezTo>
                    <a:cubicBezTo>
                      <a:pt x="415" y="465"/>
                      <a:pt x="415" y="465"/>
                      <a:pt x="415" y="465"/>
                    </a:cubicBezTo>
                    <a:cubicBezTo>
                      <a:pt x="415" y="465"/>
                      <a:pt x="477" y="390"/>
                      <a:pt x="485" y="481"/>
                    </a:cubicBezTo>
                    <a:cubicBezTo>
                      <a:pt x="492" y="486"/>
                      <a:pt x="505" y="493"/>
                      <a:pt x="505" y="493"/>
                    </a:cubicBezTo>
                    <a:cubicBezTo>
                      <a:pt x="512" y="513"/>
                      <a:pt x="512" y="513"/>
                      <a:pt x="512" y="513"/>
                    </a:cubicBezTo>
                    <a:cubicBezTo>
                      <a:pt x="537" y="507"/>
                      <a:pt x="537" y="507"/>
                      <a:pt x="537" y="507"/>
                    </a:cubicBezTo>
                    <a:cubicBezTo>
                      <a:pt x="561" y="531"/>
                      <a:pt x="561" y="531"/>
                      <a:pt x="561" y="531"/>
                    </a:cubicBezTo>
                    <a:cubicBezTo>
                      <a:pt x="573" y="529"/>
                      <a:pt x="573" y="529"/>
                      <a:pt x="573" y="529"/>
                    </a:cubicBezTo>
                    <a:cubicBezTo>
                      <a:pt x="573" y="522"/>
                      <a:pt x="573" y="522"/>
                      <a:pt x="573" y="522"/>
                    </a:cubicBezTo>
                    <a:cubicBezTo>
                      <a:pt x="573" y="522"/>
                      <a:pt x="565" y="495"/>
                      <a:pt x="568" y="485"/>
                    </a:cubicBezTo>
                    <a:cubicBezTo>
                      <a:pt x="571" y="474"/>
                      <a:pt x="597" y="467"/>
                      <a:pt x="597" y="467"/>
                    </a:cubicBezTo>
                    <a:cubicBezTo>
                      <a:pt x="609" y="453"/>
                      <a:pt x="609" y="453"/>
                      <a:pt x="609" y="453"/>
                    </a:cubicBezTo>
                    <a:cubicBezTo>
                      <a:pt x="601" y="439"/>
                      <a:pt x="601" y="439"/>
                      <a:pt x="601" y="439"/>
                    </a:cubicBezTo>
                    <a:cubicBezTo>
                      <a:pt x="601" y="439"/>
                      <a:pt x="605" y="431"/>
                      <a:pt x="605" y="426"/>
                    </a:cubicBezTo>
                    <a:cubicBezTo>
                      <a:pt x="605" y="421"/>
                      <a:pt x="577" y="393"/>
                      <a:pt x="577" y="393"/>
                    </a:cubicBezTo>
                    <a:cubicBezTo>
                      <a:pt x="576" y="374"/>
                      <a:pt x="576" y="374"/>
                      <a:pt x="576" y="374"/>
                    </a:cubicBezTo>
                    <a:cubicBezTo>
                      <a:pt x="569" y="376"/>
                      <a:pt x="563" y="374"/>
                      <a:pt x="563" y="374"/>
                    </a:cubicBezTo>
                    <a:cubicBezTo>
                      <a:pt x="563" y="374"/>
                      <a:pt x="556" y="363"/>
                      <a:pt x="560" y="363"/>
                    </a:cubicBezTo>
                    <a:cubicBezTo>
                      <a:pt x="581" y="349"/>
                      <a:pt x="536" y="325"/>
                      <a:pt x="536" y="325"/>
                    </a:cubicBezTo>
                    <a:cubicBezTo>
                      <a:pt x="529" y="305"/>
                      <a:pt x="529" y="305"/>
                      <a:pt x="529" y="305"/>
                    </a:cubicBezTo>
                    <a:cubicBezTo>
                      <a:pt x="496" y="303"/>
                      <a:pt x="496" y="303"/>
                      <a:pt x="496" y="303"/>
                    </a:cubicBezTo>
                    <a:cubicBezTo>
                      <a:pt x="496" y="303"/>
                      <a:pt x="483" y="299"/>
                      <a:pt x="489" y="294"/>
                    </a:cubicBezTo>
                    <a:cubicBezTo>
                      <a:pt x="496" y="289"/>
                      <a:pt x="496" y="259"/>
                      <a:pt x="496" y="259"/>
                    </a:cubicBezTo>
                    <a:cubicBezTo>
                      <a:pt x="487" y="247"/>
                      <a:pt x="487" y="247"/>
                      <a:pt x="487" y="247"/>
                    </a:cubicBezTo>
                    <a:cubicBezTo>
                      <a:pt x="495" y="246"/>
                      <a:pt x="495" y="246"/>
                      <a:pt x="495" y="246"/>
                    </a:cubicBezTo>
                    <a:cubicBezTo>
                      <a:pt x="496" y="226"/>
                      <a:pt x="496" y="226"/>
                      <a:pt x="496" y="226"/>
                    </a:cubicBezTo>
                    <a:cubicBezTo>
                      <a:pt x="491" y="218"/>
                      <a:pt x="491" y="218"/>
                      <a:pt x="491" y="218"/>
                    </a:cubicBezTo>
                    <a:cubicBezTo>
                      <a:pt x="491" y="203"/>
                      <a:pt x="491" y="203"/>
                      <a:pt x="491" y="203"/>
                    </a:cubicBezTo>
                    <a:cubicBezTo>
                      <a:pt x="491" y="203"/>
                      <a:pt x="475" y="193"/>
                      <a:pt x="477" y="186"/>
                    </a:cubicBezTo>
                    <a:cubicBezTo>
                      <a:pt x="508" y="175"/>
                      <a:pt x="476" y="178"/>
                      <a:pt x="476" y="178"/>
                    </a:cubicBezTo>
                    <a:cubicBezTo>
                      <a:pt x="463" y="93"/>
                      <a:pt x="463" y="93"/>
                      <a:pt x="463" y="93"/>
                    </a:cubicBezTo>
                    <a:cubicBezTo>
                      <a:pt x="458" y="95"/>
                      <a:pt x="436" y="105"/>
                      <a:pt x="435" y="102"/>
                    </a:cubicBezTo>
                    <a:cubicBezTo>
                      <a:pt x="418" y="138"/>
                      <a:pt x="357" y="137"/>
                      <a:pt x="357" y="137"/>
                    </a:cubicBezTo>
                    <a:cubicBezTo>
                      <a:pt x="325" y="122"/>
                      <a:pt x="325" y="122"/>
                      <a:pt x="325" y="122"/>
                    </a:cubicBezTo>
                    <a:cubicBezTo>
                      <a:pt x="325" y="122"/>
                      <a:pt x="286" y="117"/>
                      <a:pt x="239" y="114"/>
                    </a:cubicBezTo>
                    <a:cubicBezTo>
                      <a:pt x="194" y="93"/>
                      <a:pt x="170" y="107"/>
                      <a:pt x="170" y="107"/>
                    </a:cubicBezTo>
                    <a:cubicBezTo>
                      <a:pt x="168" y="123"/>
                      <a:pt x="168" y="123"/>
                      <a:pt x="168" y="123"/>
                    </a:cubicBezTo>
                    <a:cubicBezTo>
                      <a:pt x="160" y="116"/>
                      <a:pt x="160" y="116"/>
                      <a:pt x="160" y="116"/>
                    </a:cubicBezTo>
                    <a:cubicBezTo>
                      <a:pt x="160" y="116"/>
                      <a:pt x="150" y="108"/>
                      <a:pt x="157" y="102"/>
                    </a:cubicBezTo>
                    <a:cubicBezTo>
                      <a:pt x="164" y="96"/>
                      <a:pt x="152" y="88"/>
                      <a:pt x="152" y="88"/>
                    </a:cubicBezTo>
                    <a:cubicBezTo>
                      <a:pt x="130" y="51"/>
                      <a:pt x="130" y="51"/>
                      <a:pt x="130" y="51"/>
                    </a:cubicBezTo>
                    <a:cubicBezTo>
                      <a:pt x="150" y="35"/>
                      <a:pt x="150" y="35"/>
                      <a:pt x="150" y="35"/>
                    </a:cubicBezTo>
                    <a:cubicBezTo>
                      <a:pt x="140" y="11"/>
                      <a:pt x="140" y="11"/>
                      <a:pt x="140" y="11"/>
                    </a:cubicBezTo>
                    <a:cubicBezTo>
                      <a:pt x="104" y="7"/>
                      <a:pt x="104" y="7"/>
                      <a:pt x="104" y="7"/>
                    </a:cubicBezTo>
                    <a:cubicBezTo>
                      <a:pt x="91" y="21"/>
                      <a:pt x="91" y="21"/>
                      <a:pt x="91" y="21"/>
                    </a:cubicBezTo>
                    <a:cubicBezTo>
                      <a:pt x="91" y="21"/>
                      <a:pt x="82" y="30"/>
                      <a:pt x="59" y="24"/>
                    </a:cubicBezTo>
                    <a:cubicBezTo>
                      <a:pt x="36" y="18"/>
                      <a:pt x="1" y="0"/>
                      <a:pt x="1" y="0"/>
                    </a:cubicBezTo>
                    <a:cubicBezTo>
                      <a:pt x="0" y="16"/>
                      <a:pt x="0" y="16"/>
                      <a:pt x="0" y="16"/>
                    </a:cubicBezTo>
                    <a:cubicBezTo>
                      <a:pt x="0" y="16"/>
                      <a:pt x="4" y="16"/>
                      <a:pt x="16" y="23"/>
                    </a:cubicBezTo>
                    <a:cubicBezTo>
                      <a:pt x="28" y="30"/>
                      <a:pt x="12" y="63"/>
                      <a:pt x="12" y="63"/>
                    </a:cubicBezTo>
                    <a:cubicBezTo>
                      <a:pt x="12" y="63"/>
                      <a:pt x="21" y="81"/>
                      <a:pt x="22" y="85"/>
                    </a:cubicBezTo>
                    <a:cubicBezTo>
                      <a:pt x="22" y="112"/>
                      <a:pt x="34" y="108"/>
                      <a:pt x="34" y="108"/>
                    </a:cubicBezTo>
                    <a:cubicBezTo>
                      <a:pt x="66" y="158"/>
                      <a:pt x="66" y="158"/>
                      <a:pt x="66" y="158"/>
                    </a:cubicBezTo>
                    <a:cubicBezTo>
                      <a:pt x="65" y="214"/>
                      <a:pt x="65" y="214"/>
                      <a:pt x="65" y="214"/>
                    </a:cubicBezTo>
                    <a:cubicBezTo>
                      <a:pt x="73" y="216"/>
                      <a:pt x="73" y="216"/>
                      <a:pt x="73" y="216"/>
                    </a:cubicBezTo>
                    <a:cubicBezTo>
                      <a:pt x="69" y="232"/>
                      <a:pt x="69" y="232"/>
                      <a:pt x="69" y="232"/>
                    </a:cubicBezTo>
                    <a:cubicBezTo>
                      <a:pt x="78" y="239"/>
                      <a:pt x="78" y="239"/>
                      <a:pt x="78" y="239"/>
                    </a:cubicBezTo>
                    <a:cubicBezTo>
                      <a:pt x="70" y="245"/>
                      <a:pt x="70" y="245"/>
                      <a:pt x="70" y="245"/>
                    </a:cubicBezTo>
                    <a:cubicBezTo>
                      <a:pt x="70" y="245"/>
                      <a:pt x="66" y="280"/>
                      <a:pt x="69" y="294"/>
                    </a:cubicBezTo>
                    <a:cubicBezTo>
                      <a:pt x="71" y="315"/>
                      <a:pt x="108" y="326"/>
                      <a:pt x="108" y="326"/>
                    </a:cubicBezTo>
                    <a:cubicBezTo>
                      <a:pt x="83" y="331"/>
                      <a:pt x="83" y="331"/>
                      <a:pt x="83" y="331"/>
                    </a:cubicBezTo>
                    <a:cubicBezTo>
                      <a:pt x="83" y="331"/>
                      <a:pt x="75" y="328"/>
                      <a:pt x="68" y="329"/>
                    </a:cubicBezTo>
                    <a:cubicBezTo>
                      <a:pt x="66" y="330"/>
                      <a:pt x="62" y="331"/>
                      <a:pt x="58" y="332"/>
                    </a:cubicBezTo>
                    <a:cubicBezTo>
                      <a:pt x="77" y="377"/>
                      <a:pt x="77" y="377"/>
                      <a:pt x="77" y="377"/>
                    </a:cubicBezTo>
                    <a:cubicBezTo>
                      <a:pt x="77" y="377"/>
                      <a:pt x="87" y="470"/>
                      <a:pt x="136" y="402"/>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01" name="Bretagne" descr="© INSCALE GmbH, 05.05.2010&#10;http://www.presentationload.com/">
                <a:extLst>
                  <a:ext uri="{FF2B5EF4-FFF2-40B4-BE49-F238E27FC236}">
                    <a16:creationId xmlns:a16="http://schemas.microsoft.com/office/drawing/2014/main" id="{F823883D-B803-4C7E-982B-A6EA279E0036}"/>
                  </a:ext>
                </a:extLst>
              </p:cNvPr>
              <p:cNvSpPr>
                <a:spLocks noEditPoints="1"/>
              </p:cNvSpPr>
              <p:nvPr/>
            </p:nvSpPr>
            <p:spPr bwMode="gray">
              <a:xfrm>
                <a:off x="48" y="857"/>
                <a:ext cx="953" cy="536"/>
              </a:xfrm>
              <a:custGeom>
                <a:avLst/>
                <a:gdLst/>
                <a:ahLst/>
                <a:cxnLst>
                  <a:cxn ang="0">
                    <a:pos x="459" y="18"/>
                  </a:cxn>
                  <a:cxn ang="0">
                    <a:pos x="5" y="133"/>
                  </a:cxn>
                  <a:cxn ang="0">
                    <a:pos x="355" y="388"/>
                  </a:cxn>
                  <a:cxn ang="0">
                    <a:pos x="355" y="388"/>
                  </a:cxn>
                  <a:cxn ang="0">
                    <a:pos x="394" y="465"/>
                  </a:cxn>
                  <a:cxn ang="0">
                    <a:pos x="422" y="494"/>
                  </a:cxn>
                  <a:cxn ang="0">
                    <a:pos x="413" y="479"/>
                  </a:cxn>
                  <a:cxn ang="0">
                    <a:pos x="448" y="462"/>
                  </a:cxn>
                  <a:cxn ang="0">
                    <a:pos x="467" y="479"/>
                  </a:cxn>
                  <a:cxn ang="0">
                    <a:pos x="55" y="259"/>
                  </a:cxn>
                  <a:cxn ang="0">
                    <a:pos x="36" y="144"/>
                  </a:cxn>
                  <a:cxn ang="0">
                    <a:pos x="56" y="163"/>
                  </a:cxn>
                  <a:cxn ang="0">
                    <a:pos x="246" y="42"/>
                  </a:cxn>
                  <a:cxn ang="0">
                    <a:pos x="874" y="165"/>
                  </a:cxn>
                  <a:cxn ang="0">
                    <a:pos x="757" y="79"/>
                  </a:cxn>
                  <a:cxn ang="0">
                    <a:pos x="705" y="58"/>
                  </a:cxn>
                  <a:cxn ang="0">
                    <a:pos x="628" y="92"/>
                  </a:cxn>
                  <a:cxn ang="0">
                    <a:pos x="606" y="63"/>
                  </a:cxn>
                  <a:cxn ang="0">
                    <a:pos x="570" y="80"/>
                  </a:cxn>
                  <a:cxn ang="0">
                    <a:pos x="526" y="116"/>
                  </a:cxn>
                  <a:cxn ang="0">
                    <a:pos x="496" y="71"/>
                  </a:cxn>
                  <a:cxn ang="0">
                    <a:pos x="458" y="31"/>
                  </a:cxn>
                  <a:cxn ang="0">
                    <a:pos x="446" y="0"/>
                  </a:cxn>
                  <a:cxn ang="0">
                    <a:pos x="401" y="13"/>
                  </a:cxn>
                  <a:cxn ang="0">
                    <a:pos x="347" y="22"/>
                  </a:cxn>
                  <a:cxn ang="0">
                    <a:pos x="333" y="59"/>
                  </a:cxn>
                  <a:cxn ang="0">
                    <a:pos x="268" y="58"/>
                  </a:cxn>
                  <a:cxn ang="0">
                    <a:pos x="237" y="58"/>
                  </a:cxn>
                  <a:cxn ang="0">
                    <a:pos x="186" y="70"/>
                  </a:cxn>
                  <a:cxn ang="0">
                    <a:pos x="147" y="76"/>
                  </a:cxn>
                  <a:cxn ang="0">
                    <a:pos x="115" y="80"/>
                  </a:cxn>
                  <a:cxn ang="0">
                    <a:pos x="84" y="106"/>
                  </a:cxn>
                  <a:cxn ang="0">
                    <a:pos x="79" y="148"/>
                  </a:cxn>
                  <a:cxn ang="0">
                    <a:pos x="98" y="154"/>
                  </a:cxn>
                  <a:cxn ang="0">
                    <a:pos x="156" y="145"/>
                  </a:cxn>
                  <a:cxn ang="0">
                    <a:pos x="172" y="160"/>
                  </a:cxn>
                  <a:cxn ang="0">
                    <a:pos x="155" y="185"/>
                  </a:cxn>
                  <a:cxn ang="0">
                    <a:pos x="122" y="172"/>
                  </a:cxn>
                  <a:cxn ang="0">
                    <a:pos x="125" y="211"/>
                  </a:cxn>
                  <a:cxn ang="0">
                    <a:pos x="171" y="237"/>
                  </a:cxn>
                  <a:cxn ang="0">
                    <a:pos x="156" y="329"/>
                  </a:cxn>
                  <a:cxn ang="0">
                    <a:pos x="235" y="316"/>
                  </a:cxn>
                  <a:cxn ang="0">
                    <a:pos x="294" y="333"/>
                  </a:cxn>
                  <a:cxn ang="0">
                    <a:pos x="384" y="364"/>
                  </a:cxn>
                  <a:cxn ang="0">
                    <a:pos x="414" y="432"/>
                  </a:cxn>
                  <a:cxn ang="0">
                    <a:pos x="425" y="403"/>
                  </a:cxn>
                  <a:cxn ang="0">
                    <a:pos x="460" y="391"/>
                  </a:cxn>
                  <a:cxn ang="0">
                    <a:pos x="522" y="390"/>
                  </a:cxn>
                  <a:cxn ang="0">
                    <a:pos x="462" y="407"/>
                  </a:cxn>
                  <a:cxn ang="0">
                    <a:pos x="513" y="428"/>
                  </a:cxn>
                  <a:cxn ang="0">
                    <a:pos x="555" y="424"/>
                  </a:cxn>
                  <a:cxn ang="0">
                    <a:pos x="566" y="454"/>
                  </a:cxn>
                  <a:cxn ang="0">
                    <a:pos x="554" y="487"/>
                  </a:cxn>
                  <a:cxn ang="0">
                    <a:pos x="595" y="481"/>
                  </a:cxn>
                  <a:cxn ang="0">
                    <a:pos x="666" y="409"/>
                  </a:cxn>
                  <a:cxn ang="0">
                    <a:pos x="752" y="389"/>
                  </a:cxn>
                  <a:cxn ang="0">
                    <a:pos x="796" y="377"/>
                  </a:cxn>
                  <a:cxn ang="0">
                    <a:pos x="838" y="366"/>
                  </a:cxn>
                  <a:cxn ang="0">
                    <a:pos x="879" y="220"/>
                  </a:cxn>
                </a:cxnLst>
                <a:rect l="0" t="0" r="r" b="b"/>
                <a:pathLst>
                  <a:path w="884" h="496">
                    <a:moveTo>
                      <a:pt x="459" y="18"/>
                    </a:moveTo>
                    <a:cubicBezTo>
                      <a:pt x="460" y="17"/>
                      <a:pt x="460" y="17"/>
                      <a:pt x="460" y="15"/>
                    </a:cubicBezTo>
                    <a:cubicBezTo>
                      <a:pt x="460" y="12"/>
                      <a:pt x="459" y="14"/>
                      <a:pt x="459" y="18"/>
                    </a:cubicBezTo>
                    <a:close/>
                    <a:moveTo>
                      <a:pt x="17" y="117"/>
                    </a:moveTo>
                    <a:cubicBezTo>
                      <a:pt x="11" y="117"/>
                      <a:pt x="0" y="125"/>
                      <a:pt x="0" y="125"/>
                    </a:cubicBezTo>
                    <a:cubicBezTo>
                      <a:pt x="5" y="133"/>
                      <a:pt x="5" y="133"/>
                      <a:pt x="5" y="133"/>
                    </a:cubicBezTo>
                    <a:cubicBezTo>
                      <a:pt x="21" y="123"/>
                      <a:pt x="21" y="123"/>
                      <a:pt x="21" y="123"/>
                    </a:cubicBezTo>
                    <a:cubicBezTo>
                      <a:pt x="21" y="123"/>
                      <a:pt x="23" y="117"/>
                      <a:pt x="17" y="117"/>
                    </a:cubicBezTo>
                    <a:close/>
                    <a:moveTo>
                      <a:pt x="355" y="388"/>
                    </a:moveTo>
                    <a:cubicBezTo>
                      <a:pt x="346" y="382"/>
                      <a:pt x="339" y="378"/>
                      <a:pt x="339" y="378"/>
                    </a:cubicBezTo>
                    <a:cubicBezTo>
                      <a:pt x="339" y="378"/>
                      <a:pt x="333" y="390"/>
                      <a:pt x="344" y="389"/>
                    </a:cubicBezTo>
                    <a:cubicBezTo>
                      <a:pt x="355" y="388"/>
                      <a:pt x="364" y="394"/>
                      <a:pt x="355" y="388"/>
                    </a:cubicBezTo>
                    <a:close/>
                    <a:moveTo>
                      <a:pt x="413" y="479"/>
                    </a:moveTo>
                    <a:cubicBezTo>
                      <a:pt x="409" y="469"/>
                      <a:pt x="409" y="469"/>
                      <a:pt x="409" y="469"/>
                    </a:cubicBezTo>
                    <a:cubicBezTo>
                      <a:pt x="394" y="465"/>
                      <a:pt x="394" y="465"/>
                      <a:pt x="394" y="465"/>
                    </a:cubicBezTo>
                    <a:cubicBezTo>
                      <a:pt x="384" y="466"/>
                      <a:pt x="393" y="490"/>
                      <a:pt x="393" y="490"/>
                    </a:cubicBezTo>
                    <a:cubicBezTo>
                      <a:pt x="413" y="490"/>
                      <a:pt x="413" y="490"/>
                      <a:pt x="413" y="490"/>
                    </a:cubicBezTo>
                    <a:cubicBezTo>
                      <a:pt x="422" y="494"/>
                      <a:pt x="422" y="494"/>
                      <a:pt x="422" y="494"/>
                    </a:cubicBezTo>
                    <a:cubicBezTo>
                      <a:pt x="427" y="485"/>
                      <a:pt x="427" y="485"/>
                      <a:pt x="427" y="485"/>
                    </a:cubicBezTo>
                    <a:cubicBezTo>
                      <a:pt x="425" y="480"/>
                      <a:pt x="425" y="480"/>
                      <a:pt x="425" y="480"/>
                    </a:cubicBezTo>
                    <a:lnTo>
                      <a:pt x="413" y="479"/>
                    </a:lnTo>
                    <a:close/>
                    <a:moveTo>
                      <a:pt x="448" y="462"/>
                    </a:moveTo>
                    <a:cubicBezTo>
                      <a:pt x="448" y="462"/>
                      <a:pt x="454" y="467"/>
                      <a:pt x="454" y="465"/>
                    </a:cubicBezTo>
                    <a:cubicBezTo>
                      <a:pt x="454" y="462"/>
                      <a:pt x="454" y="462"/>
                      <a:pt x="448" y="462"/>
                    </a:cubicBezTo>
                    <a:close/>
                    <a:moveTo>
                      <a:pt x="467" y="479"/>
                    </a:moveTo>
                    <a:cubicBezTo>
                      <a:pt x="467" y="479"/>
                      <a:pt x="473" y="479"/>
                      <a:pt x="473" y="476"/>
                    </a:cubicBezTo>
                    <a:cubicBezTo>
                      <a:pt x="473" y="473"/>
                      <a:pt x="467" y="479"/>
                      <a:pt x="467" y="479"/>
                    </a:cubicBezTo>
                    <a:close/>
                    <a:moveTo>
                      <a:pt x="55" y="259"/>
                    </a:moveTo>
                    <a:cubicBezTo>
                      <a:pt x="58" y="258"/>
                      <a:pt x="53" y="251"/>
                      <a:pt x="53" y="251"/>
                    </a:cubicBezTo>
                    <a:cubicBezTo>
                      <a:pt x="53" y="251"/>
                      <a:pt x="52" y="260"/>
                      <a:pt x="55" y="259"/>
                    </a:cubicBezTo>
                    <a:close/>
                    <a:moveTo>
                      <a:pt x="36" y="144"/>
                    </a:moveTo>
                    <a:cubicBezTo>
                      <a:pt x="41" y="150"/>
                      <a:pt x="40" y="142"/>
                      <a:pt x="40" y="142"/>
                    </a:cubicBezTo>
                    <a:cubicBezTo>
                      <a:pt x="40" y="142"/>
                      <a:pt x="31" y="139"/>
                      <a:pt x="36" y="144"/>
                    </a:cubicBezTo>
                    <a:close/>
                    <a:moveTo>
                      <a:pt x="56" y="163"/>
                    </a:moveTo>
                    <a:cubicBezTo>
                      <a:pt x="56" y="163"/>
                      <a:pt x="64" y="161"/>
                      <a:pt x="59" y="156"/>
                    </a:cubicBezTo>
                    <a:cubicBezTo>
                      <a:pt x="54" y="152"/>
                      <a:pt x="56" y="163"/>
                      <a:pt x="56" y="163"/>
                    </a:cubicBezTo>
                    <a:close/>
                    <a:moveTo>
                      <a:pt x="247" y="36"/>
                    </a:moveTo>
                    <a:cubicBezTo>
                      <a:pt x="242" y="39"/>
                      <a:pt x="242" y="39"/>
                      <a:pt x="242" y="39"/>
                    </a:cubicBezTo>
                    <a:cubicBezTo>
                      <a:pt x="246" y="42"/>
                      <a:pt x="246" y="42"/>
                      <a:pt x="246" y="42"/>
                    </a:cubicBezTo>
                    <a:lnTo>
                      <a:pt x="247" y="36"/>
                    </a:lnTo>
                    <a:close/>
                    <a:moveTo>
                      <a:pt x="872" y="188"/>
                    </a:moveTo>
                    <a:cubicBezTo>
                      <a:pt x="874" y="165"/>
                      <a:pt x="874" y="165"/>
                      <a:pt x="874" y="165"/>
                    </a:cubicBezTo>
                    <a:cubicBezTo>
                      <a:pt x="865" y="163"/>
                      <a:pt x="853" y="157"/>
                      <a:pt x="835" y="149"/>
                    </a:cubicBezTo>
                    <a:cubicBezTo>
                      <a:pt x="786" y="217"/>
                      <a:pt x="776" y="124"/>
                      <a:pt x="776" y="124"/>
                    </a:cubicBezTo>
                    <a:cubicBezTo>
                      <a:pt x="757" y="79"/>
                      <a:pt x="757" y="79"/>
                      <a:pt x="757" y="79"/>
                    </a:cubicBezTo>
                    <a:cubicBezTo>
                      <a:pt x="750" y="81"/>
                      <a:pt x="742" y="83"/>
                      <a:pt x="742" y="83"/>
                    </a:cubicBezTo>
                    <a:cubicBezTo>
                      <a:pt x="742" y="83"/>
                      <a:pt x="722" y="85"/>
                      <a:pt x="710" y="84"/>
                    </a:cubicBezTo>
                    <a:cubicBezTo>
                      <a:pt x="698" y="83"/>
                      <a:pt x="705" y="58"/>
                      <a:pt x="705" y="58"/>
                    </a:cubicBezTo>
                    <a:cubicBezTo>
                      <a:pt x="692" y="58"/>
                      <a:pt x="664" y="78"/>
                      <a:pt x="664" y="78"/>
                    </a:cubicBezTo>
                    <a:cubicBezTo>
                      <a:pt x="647" y="76"/>
                      <a:pt x="647" y="76"/>
                      <a:pt x="647" y="76"/>
                    </a:cubicBezTo>
                    <a:cubicBezTo>
                      <a:pt x="647" y="76"/>
                      <a:pt x="636" y="91"/>
                      <a:pt x="628" y="92"/>
                    </a:cubicBezTo>
                    <a:cubicBezTo>
                      <a:pt x="620" y="93"/>
                      <a:pt x="616" y="75"/>
                      <a:pt x="616" y="75"/>
                    </a:cubicBezTo>
                    <a:cubicBezTo>
                      <a:pt x="601" y="80"/>
                      <a:pt x="601" y="80"/>
                      <a:pt x="601" y="80"/>
                    </a:cubicBezTo>
                    <a:cubicBezTo>
                      <a:pt x="601" y="80"/>
                      <a:pt x="609" y="67"/>
                      <a:pt x="606" y="63"/>
                    </a:cubicBezTo>
                    <a:cubicBezTo>
                      <a:pt x="603" y="59"/>
                      <a:pt x="584" y="75"/>
                      <a:pt x="584" y="75"/>
                    </a:cubicBezTo>
                    <a:cubicBezTo>
                      <a:pt x="571" y="72"/>
                      <a:pt x="571" y="72"/>
                      <a:pt x="571" y="72"/>
                    </a:cubicBezTo>
                    <a:cubicBezTo>
                      <a:pt x="570" y="80"/>
                      <a:pt x="570" y="80"/>
                      <a:pt x="570" y="80"/>
                    </a:cubicBezTo>
                    <a:cubicBezTo>
                      <a:pt x="533" y="109"/>
                      <a:pt x="533" y="109"/>
                      <a:pt x="533" y="109"/>
                    </a:cubicBezTo>
                    <a:cubicBezTo>
                      <a:pt x="529" y="106"/>
                      <a:pt x="529" y="106"/>
                      <a:pt x="529" y="106"/>
                    </a:cubicBezTo>
                    <a:cubicBezTo>
                      <a:pt x="526" y="116"/>
                      <a:pt x="526" y="116"/>
                      <a:pt x="526" y="116"/>
                    </a:cubicBezTo>
                    <a:cubicBezTo>
                      <a:pt x="516" y="96"/>
                      <a:pt x="516" y="96"/>
                      <a:pt x="516" y="96"/>
                    </a:cubicBezTo>
                    <a:cubicBezTo>
                      <a:pt x="499" y="88"/>
                      <a:pt x="499" y="88"/>
                      <a:pt x="499" y="88"/>
                    </a:cubicBezTo>
                    <a:cubicBezTo>
                      <a:pt x="496" y="71"/>
                      <a:pt x="496" y="71"/>
                      <a:pt x="496" y="71"/>
                    </a:cubicBezTo>
                    <a:cubicBezTo>
                      <a:pt x="473" y="49"/>
                      <a:pt x="473" y="49"/>
                      <a:pt x="473" y="49"/>
                    </a:cubicBezTo>
                    <a:cubicBezTo>
                      <a:pt x="473" y="36"/>
                      <a:pt x="473" y="36"/>
                      <a:pt x="473" y="36"/>
                    </a:cubicBezTo>
                    <a:cubicBezTo>
                      <a:pt x="473" y="36"/>
                      <a:pt x="459" y="35"/>
                      <a:pt x="458" y="31"/>
                    </a:cubicBezTo>
                    <a:cubicBezTo>
                      <a:pt x="457" y="29"/>
                      <a:pt x="458" y="22"/>
                      <a:pt x="459" y="18"/>
                    </a:cubicBezTo>
                    <a:cubicBezTo>
                      <a:pt x="455" y="21"/>
                      <a:pt x="444" y="18"/>
                      <a:pt x="444" y="18"/>
                    </a:cubicBezTo>
                    <a:cubicBezTo>
                      <a:pt x="446" y="0"/>
                      <a:pt x="446" y="0"/>
                      <a:pt x="446" y="0"/>
                    </a:cubicBezTo>
                    <a:cubicBezTo>
                      <a:pt x="426" y="10"/>
                      <a:pt x="426" y="10"/>
                      <a:pt x="426" y="10"/>
                    </a:cubicBezTo>
                    <a:cubicBezTo>
                      <a:pt x="415" y="4"/>
                      <a:pt x="415" y="4"/>
                      <a:pt x="415" y="4"/>
                    </a:cubicBezTo>
                    <a:cubicBezTo>
                      <a:pt x="415" y="4"/>
                      <a:pt x="411" y="10"/>
                      <a:pt x="401" y="13"/>
                    </a:cubicBezTo>
                    <a:cubicBezTo>
                      <a:pt x="387" y="15"/>
                      <a:pt x="372" y="26"/>
                      <a:pt x="372" y="26"/>
                    </a:cubicBezTo>
                    <a:cubicBezTo>
                      <a:pt x="371" y="19"/>
                      <a:pt x="356" y="12"/>
                      <a:pt x="351" y="12"/>
                    </a:cubicBezTo>
                    <a:cubicBezTo>
                      <a:pt x="346" y="12"/>
                      <a:pt x="347" y="22"/>
                      <a:pt x="347" y="22"/>
                    </a:cubicBezTo>
                    <a:cubicBezTo>
                      <a:pt x="341" y="25"/>
                      <a:pt x="341" y="25"/>
                      <a:pt x="341" y="25"/>
                    </a:cubicBezTo>
                    <a:cubicBezTo>
                      <a:pt x="347" y="40"/>
                      <a:pt x="347" y="40"/>
                      <a:pt x="347" y="40"/>
                    </a:cubicBezTo>
                    <a:cubicBezTo>
                      <a:pt x="347" y="40"/>
                      <a:pt x="336" y="60"/>
                      <a:pt x="333" y="59"/>
                    </a:cubicBezTo>
                    <a:cubicBezTo>
                      <a:pt x="300" y="51"/>
                      <a:pt x="285" y="50"/>
                      <a:pt x="282" y="56"/>
                    </a:cubicBezTo>
                    <a:cubicBezTo>
                      <a:pt x="279" y="62"/>
                      <a:pt x="280" y="72"/>
                      <a:pt x="277" y="72"/>
                    </a:cubicBezTo>
                    <a:cubicBezTo>
                      <a:pt x="274" y="72"/>
                      <a:pt x="268" y="58"/>
                      <a:pt x="268" y="58"/>
                    </a:cubicBezTo>
                    <a:cubicBezTo>
                      <a:pt x="258" y="63"/>
                      <a:pt x="258" y="63"/>
                      <a:pt x="258" y="63"/>
                    </a:cubicBezTo>
                    <a:cubicBezTo>
                      <a:pt x="258" y="63"/>
                      <a:pt x="251" y="44"/>
                      <a:pt x="245" y="47"/>
                    </a:cubicBezTo>
                    <a:cubicBezTo>
                      <a:pt x="239" y="50"/>
                      <a:pt x="237" y="58"/>
                      <a:pt x="237" y="58"/>
                    </a:cubicBezTo>
                    <a:cubicBezTo>
                      <a:pt x="237" y="58"/>
                      <a:pt x="226" y="55"/>
                      <a:pt x="217" y="54"/>
                    </a:cubicBezTo>
                    <a:cubicBezTo>
                      <a:pt x="208" y="53"/>
                      <a:pt x="200" y="64"/>
                      <a:pt x="200" y="64"/>
                    </a:cubicBezTo>
                    <a:cubicBezTo>
                      <a:pt x="186" y="70"/>
                      <a:pt x="186" y="70"/>
                      <a:pt x="186" y="70"/>
                    </a:cubicBezTo>
                    <a:cubicBezTo>
                      <a:pt x="173" y="60"/>
                      <a:pt x="173" y="60"/>
                      <a:pt x="173" y="60"/>
                    </a:cubicBezTo>
                    <a:cubicBezTo>
                      <a:pt x="173" y="60"/>
                      <a:pt x="168" y="65"/>
                      <a:pt x="161" y="69"/>
                    </a:cubicBezTo>
                    <a:cubicBezTo>
                      <a:pt x="154" y="73"/>
                      <a:pt x="147" y="76"/>
                      <a:pt x="147" y="76"/>
                    </a:cubicBezTo>
                    <a:cubicBezTo>
                      <a:pt x="147" y="76"/>
                      <a:pt x="131" y="70"/>
                      <a:pt x="126" y="70"/>
                    </a:cubicBezTo>
                    <a:cubicBezTo>
                      <a:pt x="121" y="70"/>
                      <a:pt x="134" y="84"/>
                      <a:pt x="134" y="84"/>
                    </a:cubicBezTo>
                    <a:cubicBezTo>
                      <a:pt x="115" y="80"/>
                      <a:pt x="115" y="80"/>
                      <a:pt x="115" y="80"/>
                    </a:cubicBezTo>
                    <a:cubicBezTo>
                      <a:pt x="115" y="85"/>
                      <a:pt x="115" y="85"/>
                      <a:pt x="115" y="85"/>
                    </a:cubicBezTo>
                    <a:cubicBezTo>
                      <a:pt x="105" y="87"/>
                      <a:pt x="105" y="87"/>
                      <a:pt x="105" y="87"/>
                    </a:cubicBezTo>
                    <a:cubicBezTo>
                      <a:pt x="105" y="87"/>
                      <a:pt x="96" y="98"/>
                      <a:pt x="84" y="106"/>
                    </a:cubicBezTo>
                    <a:cubicBezTo>
                      <a:pt x="72" y="114"/>
                      <a:pt x="86" y="121"/>
                      <a:pt x="86" y="121"/>
                    </a:cubicBezTo>
                    <a:cubicBezTo>
                      <a:pt x="86" y="121"/>
                      <a:pt x="76" y="131"/>
                      <a:pt x="75" y="139"/>
                    </a:cubicBezTo>
                    <a:cubicBezTo>
                      <a:pt x="74" y="147"/>
                      <a:pt x="79" y="148"/>
                      <a:pt x="79" y="148"/>
                    </a:cubicBezTo>
                    <a:cubicBezTo>
                      <a:pt x="79" y="148"/>
                      <a:pt x="74" y="150"/>
                      <a:pt x="75" y="160"/>
                    </a:cubicBezTo>
                    <a:cubicBezTo>
                      <a:pt x="76" y="170"/>
                      <a:pt x="86" y="164"/>
                      <a:pt x="86" y="164"/>
                    </a:cubicBezTo>
                    <a:cubicBezTo>
                      <a:pt x="98" y="154"/>
                      <a:pt x="98" y="154"/>
                      <a:pt x="98" y="154"/>
                    </a:cubicBezTo>
                    <a:cubicBezTo>
                      <a:pt x="107" y="157"/>
                      <a:pt x="107" y="157"/>
                      <a:pt x="107" y="157"/>
                    </a:cubicBezTo>
                    <a:cubicBezTo>
                      <a:pt x="107" y="157"/>
                      <a:pt x="112" y="161"/>
                      <a:pt x="122" y="156"/>
                    </a:cubicBezTo>
                    <a:cubicBezTo>
                      <a:pt x="132" y="151"/>
                      <a:pt x="156" y="145"/>
                      <a:pt x="156" y="145"/>
                    </a:cubicBezTo>
                    <a:cubicBezTo>
                      <a:pt x="145" y="163"/>
                      <a:pt x="145" y="163"/>
                      <a:pt x="145" y="163"/>
                    </a:cubicBezTo>
                    <a:cubicBezTo>
                      <a:pt x="157" y="168"/>
                      <a:pt x="157" y="168"/>
                      <a:pt x="157" y="168"/>
                    </a:cubicBezTo>
                    <a:cubicBezTo>
                      <a:pt x="172" y="160"/>
                      <a:pt x="172" y="160"/>
                      <a:pt x="172" y="160"/>
                    </a:cubicBezTo>
                    <a:cubicBezTo>
                      <a:pt x="174" y="166"/>
                      <a:pt x="186" y="174"/>
                      <a:pt x="183" y="174"/>
                    </a:cubicBezTo>
                    <a:cubicBezTo>
                      <a:pt x="180" y="174"/>
                      <a:pt x="166" y="183"/>
                      <a:pt x="166" y="183"/>
                    </a:cubicBezTo>
                    <a:cubicBezTo>
                      <a:pt x="155" y="185"/>
                      <a:pt x="155" y="185"/>
                      <a:pt x="155" y="185"/>
                    </a:cubicBezTo>
                    <a:cubicBezTo>
                      <a:pt x="145" y="173"/>
                      <a:pt x="145" y="173"/>
                      <a:pt x="145" y="173"/>
                    </a:cubicBezTo>
                    <a:cubicBezTo>
                      <a:pt x="137" y="178"/>
                      <a:pt x="137" y="178"/>
                      <a:pt x="137" y="178"/>
                    </a:cubicBezTo>
                    <a:cubicBezTo>
                      <a:pt x="122" y="172"/>
                      <a:pt x="122" y="172"/>
                      <a:pt x="122" y="172"/>
                    </a:cubicBezTo>
                    <a:cubicBezTo>
                      <a:pt x="109" y="181"/>
                      <a:pt x="109" y="181"/>
                      <a:pt x="109" y="181"/>
                    </a:cubicBezTo>
                    <a:cubicBezTo>
                      <a:pt x="120" y="189"/>
                      <a:pt x="120" y="189"/>
                      <a:pt x="120" y="189"/>
                    </a:cubicBezTo>
                    <a:cubicBezTo>
                      <a:pt x="120" y="189"/>
                      <a:pt x="124" y="208"/>
                      <a:pt x="125" y="211"/>
                    </a:cubicBezTo>
                    <a:cubicBezTo>
                      <a:pt x="126" y="214"/>
                      <a:pt x="130" y="192"/>
                      <a:pt x="141" y="191"/>
                    </a:cubicBezTo>
                    <a:cubicBezTo>
                      <a:pt x="152" y="190"/>
                      <a:pt x="135" y="190"/>
                      <a:pt x="164" y="204"/>
                    </a:cubicBezTo>
                    <a:cubicBezTo>
                      <a:pt x="193" y="218"/>
                      <a:pt x="171" y="237"/>
                      <a:pt x="171" y="237"/>
                    </a:cubicBezTo>
                    <a:cubicBezTo>
                      <a:pt x="144" y="227"/>
                      <a:pt x="79" y="254"/>
                      <a:pt x="79" y="254"/>
                    </a:cubicBezTo>
                    <a:cubicBezTo>
                      <a:pt x="139" y="267"/>
                      <a:pt x="141" y="276"/>
                      <a:pt x="153" y="293"/>
                    </a:cubicBezTo>
                    <a:cubicBezTo>
                      <a:pt x="165" y="310"/>
                      <a:pt x="156" y="329"/>
                      <a:pt x="156" y="329"/>
                    </a:cubicBezTo>
                    <a:cubicBezTo>
                      <a:pt x="197" y="333"/>
                      <a:pt x="197" y="333"/>
                      <a:pt x="197" y="333"/>
                    </a:cubicBezTo>
                    <a:cubicBezTo>
                      <a:pt x="197" y="333"/>
                      <a:pt x="207" y="310"/>
                      <a:pt x="214" y="310"/>
                    </a:cubicBezTo>
                    <a:cubicBezTo>
                      <a:pt x="221" y="310"/>
                      <a:pt x="231" y="316"/>
                      <a:pt x="235" y="316"/>
                    </a:cubicBezTo>
                    <a:cubicBezTo>
                      <a:pt x="239" y="316"/>
                      <a:pt x="249" y="301"/>
                      <a:pt x="249" y="301"/>
                    </a:cubicBezTo>
                    <a:cubicBezTo>
                      <a:pt x="268" y="334"/>
                      <a:pt x="268" y="334"/>
                      <a:pt x="268" y="334"/>
                    </a:cubicBezTo>
                    <a:cubicBezTo>
                      <a:pt x="294" y="333"/>
                      <a:pt x="294" y="333"/>
                      <a:pt x="294" y="333"/>
                    </a:cubicBezTo>
                    <a:cubicBezTo>
                      <a:pt x="296" y="338"/>
                      <a:pt x="335" y="344"/>
                      <a:pt x="335" y="344"/>
                    </a:cubicBezTo>
                    <a:cubicBezTo>
                      <a:pt x="335" y="344"/>
                      <a:pt x="355" y="365"/>
                      <a:pt x="358" y="365"/>
                    </a:cubicBezTo>
                    <a:cubicBezTo>
                      <a:pt x="361" y="365"/>
                      <a:pt x="384" y="364"/>
                      <a:pt x="384" y="364"/>
                    </a:cubicBezTo>
                    <a:cubicBezTo>
                      <a:pt x="414" y="401"/>
                      <a:pt x="414" y="401"/>
                      <a:pt x="414" y="401"/>
                    </a:cubicBezTo>
                    <a:cubicBezTo>
                      <a:pt x="410" y="421"/>
                      <a:pt x="410" y="421"/>
                      <a:pt x="410" y="421"/>
                    </a:cubicBezTo>
                    <a:cubicBezTo>
                      <a:pt x="414" y="432"/>
                      <a:pt x="414" y="432"/>
                      <a:pt x="414" y="432"/>
                    </a:cubicBezTo>
                    <a:cubicBezTo>
                      <a:pt x="414" y="432"/>
                      <a:pt x="426" y="438"/>
                      <a:pt x="422" y="432"/>
                    </a:cubicBezTo>
                    <a:cubicBezTo>
                      <a:pt x="418" y="426"/>
                      <a:pt x="421" y="398"/>
                      <a:pt x="421" y="398"/>
                    </a:cubicBezTo>
                    <a:cubicBezTo>
                      <a:pt x="425" y="403"/>
                      <a:pt x="425" y="403"/>
                      <a:pt x="425" y="403"/>
                    </a:cubicBezTo>
                    <a:cubicBezTo>
                      <a:pt x="442" y="399"/>
                      <a:pt x="442" y="399"/>
                      <a:pt x="442" y="399"/>
                    </a:cubicBezTo>
                    <a:cubicBezTo>
                      <a:pt x="452" y="403"/>
                      <a:pt x="452" y="403"/>
                      <a:pt x="452" y="403"/>
                    </a:cubicBezTo>
                    <a:cubicBezTo>
                      <a:pt x="460" y="391"/>
                      <a:pt x="460" y="391"/>
                      <a:pt x="460" y="391"/>
                    </a:cubicBezTo>
                    <a:cubicBezTo>
                      <a:pt x="466" y="399"/>
                      <a:pt x="466" y="399"/>
                      <a:pt x="466" y="399"/>
                    </a:cubicBezTo>
                    <a:cubicBezTo>
                      <a:pt x="481" y="388"/>
                      <a:pt x="481" y="388"/>
                      <a:pt x="481" y="388"/>
                    </a:cubicBezTo>
                    <a:cubicBezTo>
                      <a:pt x="481" y="388"/>
                      <a:pt x="518" y="389"/>
                      <a:pt x="522" y="390"/>
                    </a:cubicBezTo>
                    <a:cubicBezTo>
                      <a:pt x="517" y="392"/>
                      <a:pt x="502" y="416"/>
                      <a:pt x="502" y="416"/>
                    </a:cubicBezTo>
                    <a:cubicBezTo>
                      <a:pt x="502" y="416"/>
                      <a:pt x="503" y="411"/>
                      <a:pt x="495" y="411"/>
                    </a:cubicBezTo>
                    <a:cubicBezTo>
                      <a:pt x="487" y="411"/>
                      <a:pt x="462" y="407"/>
                      <a:pt x="462" y="407"/>
                    </a:cubicBezTo>
                    <a:cubicBezTo>
                      <a:pt x="487" y="429"/>
                      <a:pt x="487" y="429"/>
                      <a:pt x="487" y="429"/>
                    </a:cubicBezTo>
                    <a:cubicBezTo>
                      <a:pt x="505" y="422"/>
                      <a:pt x="505" y="422"/>
                      <a:pt x="505" y="422"/>
                    </a:cubicBezTo>
                    <a:cubicBezTo>
                      <a:pt x="513" y="428"/>
                      <a:pt x="513" y="428"/>
                      <a:pt x="513" y="428"/>
                    </a:cubicBezTo>
                    <a:cubicBezTo>
                      <a:pt x="517" y="419"/>
                      <a:pt x="517" y="419"/>
                      <a:pt x="517" y="419"/>
                    </a:cubicBezTo>
                    <a:cubicBezTo>
                      <a:pt x="538" y="427"/>
                      <a:pt x="538" y="427"/>
                      <a:pt x="538" y="427"/>
                    </a:cubicBezTo>
                    <a:cubicBezTo>
                      <a:pt x="538" y="427"/>
                      <a:pt x="548" y="420"/>
                      <a:pt x="555" y="424"/>
                    </a:cubicBezTo>
                    <a:cubicBezTo>
                      <a:pt x="562" y="428"/>
                      <a:pt x="557" y="444"/>
                      <a:pt x="557" y="444"/>
                    </a:cubicBezTo>
                    <a:cubicBezTo>
                      <a:pt x="563" y="444"/>
                      <a:pt x="563" y="444"/>
                      <a:pt x="563" y="444"/>
                    </a:cubicBezTo>
                    <a:cubicBezTo>
                      <a:pt x="566" y="454"/>
                      <a:pt x="566" y="454"/>
                      <a:pt x="566" y="454"/>
                    </a:cubicBezTo>
                    <a:cubicBezTo>
                      <a:pt x="555" y="452"/>
                      <a:pt x="555" y="452"/>
                      <a:pt x="555" y="452"/>
                    </a:cubicBezTo>
                    <a:cubicBezTo>
                      <a:pt x="545" y="463"/>
                      <a:pt x="545" y="463"/>
                      <a:pt x="545" y="463"/>
                    </a:cubicBezTo>
                    <a:cubicBezTo>
                      <a:pt x="554" y="487"/>
                      <a:pt x="554" y="487"/>
                      <a:pt x="554" y="487"/>
                    </a:cubicBezTo>
                    <a:cubicBezTo>
                      <a:pt x="567" y="476"/>
                      <a:pt x="567" y="476"/>
                      <a:pt x="567" y="476"/>
                    </a:cubicBezTo>
                    <a:cubicBezTo>
                      <a:pt x="575" y="481"/>
                      <a:pt x="575" y="481"/>
                      <a:pt x="575" y="481"/>
                    </a:cubicBezTo>
                    <a:cubicBezTo>
                      <a:pt x="595" y="481"/>
                      <a:pt x="595" y="481"/>
                      <a:pt x="595" y="481"/>
                    </a:cubicBezTo>
                    <a:cubicBezTo>
                      <a:pt x="596" y="469"/>
                      <a:pt x="596" y="469"/>
                      <a:pt x="596" y="469"/>
                    </a:cubicBezTo>
                    <a:cubicBezTo>
                      <a:pt x="596" y="469"/>
                      <a:pt x="635" y="496"/>
                      <a:pt x="642" y="436"/>
                    </a:cubicBezTo>
                    <a:cubicBezTo>
                      <a:pt x="666" y="409"/>
                      <a:pt x="666" y="409"/>
                      <a:pt x="666" y="409"/>
                    </a:cubicBezTo>
                    <a:cubicBezTo>
                      <a:pt x="674" y="418"/>
                      <a:pt x="674" y="418"/>
                      <a:pt x="674" y="418"/>
                    </a:cubicBezTo>
                    <a:cubicBezTo>
                      <a:pt x="674" y="418"/>
                      <a:pt x="706" y="416"/>
                      <a:pt x="734" y="410"/>
                    </a:cubicBezTo>
                    <a:cubicBezTo>
                      <a:pt x="752" y="389"/>
                      <a:pt x="752" y="389"/>
                      <a:pt x="752" y="389"/>
                    </a:cubicBezTo>
                    <a:cubicBezTo>
                      <a:pt x="778" y="385"/>
                      <a:pt x="778" y="385"/>
                      <a:pt x="778" y="385"/>
                    </a:cubicBezTo>
                    <a:cubicBezTo>
                      <a:pt x="780" y="370"/>
                      <a:pt x="780" y="370"/>
                      <a:pt x="780" y="370"/>
                    </a:cubicBezTo>
                    <a:cubicBezTo>
                      <a:pt x="796" y="377"/>
                      <a:pt x="796" y="377"/>
                      <a:pt x="796" y="377"/>
                    </a:cubicBezTo>
                    <a:cubicBezTo>
                      <a:pt x="799" y="386"/>
                      <a:pt x="799" y="386"/>
                      <a:pt x="799" y="386"/>
                    </a:cubicBezTo>
                    <a:cubicBezTo>
                      <a:pt x="830" y="392"/>
                      <a:pt x="830" y="392"/>
                      <a:pt x="830" y="392"/>
                    </a:cubicBezTo>
                    <a:cubicBezTo>
                      <a:pt x="830" y="392"/>
                      <a:pt x="832" y="378"/>
                      <a:pt x="838" y="366"/>
                    </a:cubicBezTo>
                    <a:cubicBezTo>
                      <a:pt x="843" y="354"/>
                      <a:pt x="848" y="328"/>
                      <a:pt x="870" y="328"/>
                    </a:cubicBezTo>
                    <a:cubicBezTo>
                      <a:pt x="884" y="316"/>
                      <a:pt x="875" y="334"/>
                      <a:pt x="867" y="242"/>
                    </a:cubicBezTo>
                    <a:cubicBezTo>
                      <a:pt x="875" y="214"/>
                      <a:pt x="879" y="220"/>
                      <a:pt x="879" y="220"/>
                    </a:cubicBezTo>
                    <a:lnTo>
                      <a:pt x="872" y="188"/>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02" name="Pays-de-la-Loire" descr="© INSCALE GmbH, 05.05.2010&#10;http://www.presentationload.com/">
                <a:extLst>
                  <a:ext uri="{FF2B5EF4-FFF2-40B4-BE49-F238E27FC236}">
                    <a16:creationId xmlns:a16="http://schemas.microsoft.com/office/drawing/2014/main" id="{85508898-E58C-4F8D-BC43-AB4DB22941C3}"/>
                  </a:ext>
                </a:extLst>
              </p:cNvPr>
              <p:cNvSpPr>
                <a:spLocks noEditPoints="1"/>
              </p:cNvSpPr>
              <p:nvPr/>
            </p:nvSpPr>
            <p:spPr bwMode="gray">
              <a:xfrm>
                <a:off x="644" y="1006"/>
                <a:ext cx="797" cy="790"/>
              </a:xfrm>
              <a:custGeom>
                <a:avLst/>
                <a:gdLst/>
                <a:ahLst/>
                <a:cxnLst>
                  <a:cxn ang="0">
                    <a:pos x="16" y="534"/>
                  </a:cxn>
                  <a:cxn ang="0">
                    <a:pos x="51" y="448"/>
                  </a:cxn>
                  <a:cxn ang="0">
                    <a:pos x="219" y="694"/>
                  </a:cxn>
                  <a:cxn ang="0">
                    <a:pos x="191" y="687"/>
                  </a:cxn>
                  <a:cxn ang="0">
                    <a:pos x="211" y="706"/>
                  </a:cxn>
                  <a:cxn ang="0">
                    <a:pos x="222" y="703"/>
                  </a:cxn>
                  <a:cxn ang="0">
                    <a:pos x="707" y="141"/>
                  </a:cxn>
                  <a:cxn ang="0">
                    <a:pos x="651" y="103"/>
                  </a:cxn>
                  <a:cxn ang="0">
                    <a:pos x="541" y="75"/>
                  </a:cxn>
                  <a:cxn ang="0">
                    <a:pos x="521" y="24"/>
                  </a:cxn>
                  <a:cxn ang="0">
                    <a:pos x="482" y="25"/>
                  </a:cxn>
                  <a:cxn ang="0">
                    <a:pos x="439" y="31"/>
                  </a:cxn>
                  <a:cxn ang="0">
                    <a:pos x="391" y="47"/>
                  </a:cxn>
                  <a:cxn ang="0">
                    <a:pos x="321" y="28"/>
                  </a:cxn>
                  <a:cxn ang="0">
                    <a:pos x="314" y="105"/>
                  </a:cxn>
                  <a:cxn ang="0">
                    <a:pos x="277" y="255"/>
                  </a:cxn>
                  <a:cxn ang="0">
                    <a:pos x="227" y="233"/>
                  </a:cxn>
                  <a:cxn ang="0">
                    <a:pos x="181" y="273"/>
                  </a:cxn>
                  <a:cxn ang="0">
                    <a:pos x="89" y="299"/>
                  </a:cxn>
                  <a:cxn ang="0">
                    <a:pos x="22" y="344"/>
                  </a:cxn>
                  <a:cxn ang="0">
                    <a:pos x="3" y="354"/>
                  </a:cxn>
                  <a:cxn ang="0">
                    <a:pos x="24" y="359"/>
                  </a:cxn>
                  <a:cxn ang="0">
                    <a:pos x="105" y="349"/>
                  </a:cxn>
                  <a:cxn ang="0">
                    <a:pos x="67" y="376"/>
                  </a:cxn>
                  <a:cxn ang="0">
                    <a:pos x="52" y="399"/>
                  </a:cxn>
                  <a:cxn ang="0">
                    <a:pos x="104" y="444"/>
                  </a:cxn>
                  <a:cxn ang="0">
                    <a:pos x="72" y="483"/>
                  </a:cxn>
                  <a:cxn ang="0">
                    <a:pos x="55" y="465"/>
                  </a:cxn>
                  <a:cxn ang="0">
                    <a:pos x="72" y="511"/>
                  </a:cxn>
                  <a:cxn ang="0">
                    <a:pos x="135" y="611"/>
                  </a:cxn>
                  <a:cxn ang="0">
                    <a:pos x="210" y="658"/>
                  </a:cxn>
                  <a:cxn ang="0">
                    <a:pos x="251" y="669"/>
                  </a:cxn>
                  <a:cxn ang="0">
                    <a:pos x="287" y="680"/>
                  </a:cxn>
                  <a:cxn ang="0">
                    <a:pos x="289" y="723"/>
                  </a:cxn>
                  <a:cxn ang="0">
                    <a:pos x="337" y="729"/>
                  </a:cxn>
                  <a:cxn ang="0">
                    <a:pos x="385" y="728"/>
                  </a:cxn>
                  <a:cxn ang="0">
                    <a:pos x="389" y="707"/>
                  </a:cxn>
                  <a:cxn ang="0">
                    <a:pos x="394" y="664"/>
                  </a:cxn>
                  <a:cxn ang="0">
                    <a:pos x="386" y="605"/>
                  </a:cxn>
                  <a:cxn ang="0">
                    <a:pos x="353" y="548"/>
                  </a:cxn>
                  <a:cxn ang="0">
                    <a:pos x="378" y="511"/>
                  </a:cxn>
                  <a:cxn ang="0">
                    <a:pos x="434" y="488"/>
                  </a:cxn>
                  <a:cxn ang="0">
                    <a:pos x="502" y="480"/>
                  </a:cxn>
                  <a:cxn ang="0">
                    <a:pos x="514" y="483"/>
                  </a:cxn>
                  <a:cxn ang="0">
                    <a:pos x="549" y="461"/>
                  </a:cxn>
                  <a:cxn ang="0">
                    <a:pos x="585" y="359"/>
                  </a:cxn>
                  <a:cxn ang="0">
                    <a:pos x="615" y="320"/>
                  </a:cxn>
                  <a:cxn ang="0">
                    <a:pos x="674" y="299"/>
                  </a:cxn>
                  <a:cxn ang="0">
                    <a:pos x="717" y="229"/>
                  </a:cxn>
                  <a:cxn ang="0">
                    <a:pos x="722" y="192"/>
                  </a:cxn>
                  <a:cxn ang="0">
                    <a:pos x="725" y="157"/>
                  </a:cxn>
                  <a:cxn ang="0">
                    <a:pos x="719" y="140"/>
                  </a:cxn>
                </a:cxnLst>
                <a:rect l="0" t="0" r="r" b="b"/>
                <a:pathLst>
                  <a:path w="739" h="732">
                    <a:moveTo>
                      <a:pt x="16" y="534"/>
                    </a:moveTo>
                    <a:cubicBezTo>
                      <a:pt x="10" y="548"/>
                      <a:pt x="22" y="548"/>
                      <a:pt x="37" y="548"/>
                    </a:cubicBezTo>
                    <a:cubicBezTo>
                      <a:pt x="32" y="535"/>
                      <a:pt x="16" y="534"/>
                      <a:pt x="16" y="534"/>
                    </a:cubicBezTo>
                    <a:close/>
                    <a:moveTo>
                      <a:pt x="38" y="440"/>
                    </a:moveTo>
                    <a:cubicBezTo>
                      <a:pt x="36" y="461"/>
                      <a:pt x="44" y="460"/>
                      <a:pt x="47" y="462"/>
                    </a:cubicBezTo>
                    <a:cubicBezTo>
                      <a:pt x="50" y="464"/>
                      <a:pt x="51" y="458"/>
                      <a:pt x="51" y="448"/>
                    </a:cubicBezTo>
                    <a:cubicBezTo>
                      <a:pt x="51" y="438"/>
                      <a:pt x="38" y="440"/>
                      <a:pt x="38" y="440"/>
                    </a:cubicBezTo>
                    <a:close/>
                    <a:moveTo>
                      <a:pt x="222" y="703"/>
                    </a:moveTo>
                    <a:cubicBezTo>
                      <a:pt x="219" y="694"/>
                      <a:pt x="219" y="694"/>
                      <a:pt x="219" y="694"/>
                    </a:cubicBezTo>
                    <a:cubicBezTo>
                      <a:pt x="201" y="701"/>
                      <a:pt x="201" y="701"/>
                      <a:pt x="201" y="701"/>
                    </a:cubicBezTo>
                    <a:cubicBezTo>
                      <a:pt x="203" y="686"/>
                      <a:pt x="203" y="686"/>
                      <a:pt x="203" y="686"/>
                    </a:cubicBezTo>
                    <a:cubicBezTo>
                      <a:pt x="191" y="687"/>
                      <a:pt x="191" y="687"/>
                      <a:pt x="191" y="687"/>
                    </a:cubicBezTo>
                    <a:cubicBezTo>
                      <a:pt x="190" y="693"/>
                      <a:pt x="190" y="693"/>
                      <a:pt x="190" y="693"/>
                    </a:cubicBezTo>
                    <a:cubicBezTo>
                      <a:pt x="200" y="708"/>
                      <a:pt x="200" y="708"/>
                      <a:pt x="200" y="708"/>
                    </a:cubicBezTo>
                    <a:cubicBezTo>
                      <a:pt x="211" y="706"/>
                      <a:pt x="211" y="706"/>
                      <a:pt x="211" y="706"/>
                    </a:cubicBezTo>
                    <a:cubicBezTo>
                      <a:pt x="230" y="714"/>
                      <a:pt x="230" y="714"/>
                      <a:pt x="230" y="714"/>
                    </a:cubicBezTo>
                    <a:cubicBezTo>
                      <a:pt x="238" y="725"/>
                      <a:pt x="246" y="718"/>
                      <a:pt x="250" y="719"/>
                    </a:cubicBezTo>
                    <a:cubicBezTo>
                      <a:pt x="241" y="705"/>
                      <a:pt x="222" y="703"/>
                      <a:pt x="222" y="703"/>
                    </a:cubicBezTo>
                    <a:close/>
                    <a:moveTo>
                      <a:pt x="719" y="140"/>
                    </a:moveTo>
                    <a:cubicBezTo>
                      <a:pt x="719" y="139"/>
                      <a:pt x="719" y="139"/>
                      <a:pt x="719" y="139"/>
                    </a:cubicBezTo>
                    <a:cubicBezTo>
                      <a:pt x="707" y="141"/>
                      <a:pt x="707" y="141"/>
                      <a:pt x="707" y="141"/>
                    </a:cubicBezTo>
                    <a:cubicBezTo>
                      <a:pt x="683" y="117"/>
                      <a:pt x="683" y="117"/>
                      <a:pt x="683" y="117"/>
                    </a:cubicBezTo>
                    <a:cubicBezTo>
                      <a:pt x="658" y="123"/>
                      <a:pt x="658" y="123"/>
                      <a:pt x="658" y="123"/>
                    </a:cubicBezTo>
                    <a:cubicBezTo>
                      <a:pt x="651" y="103"/>
                      <a:pt x="651" y="103"/>
                      <a:pt x="651" y="103"/>
                    </a:cubicBezTo>
                    <a:cubicBezTo>
                      <a:pt x="651" y="103"/>
                      <a:pt x="638" y="96"/>
                      <a:pt x="631" y="91"/>
                    </a:cubicBezTo>
                    <a:cubicBezTo>
                      <a:pt x="623" y="0"/>
                      <a:pt x="561" y="75"/>
                      <a:pt x="561" y="75"/>
                    </a:cubicBezTo>
                    <a:cubicBezTo>
                      <a:pt x="541" y="75"/>
                      <a:pt x="541" y="75"/>
                      <a:pt x="541" y="75"/>
                    </a:cubicBezTo>
                    <a:cubicBezTo>
                      <a:pt x="537" y="48"/>
                      <a:pt x="537" y="48"/>
                      <a:pt x="537" y="48"/>
                    </a:cubicBezTo>
                    <a:cubicBezTo>
                      <a:pt x="537" y="48"/>
                      <a:pt x="531" y="49"/>
                      <a:pt x="519" y="49"/>
                    </a:cubicBezTo>
                    <a:cubicBezTo>
                      <a:pt x="507" y="49"/>
                      <a:pt x="521" y="24"/>
                      <a:pt x="521" y="24"/>
                    </a:cubicBezTo>
                    <a:cubicBezTo>
                      <a:pt x="521" y="24"/>
                      <a:pt x="498" y="15"/>
                      <a:pt x="494" y="15"/>
                    </a:cubicBezTo>
                    <a:cubicBezTo>
                      <a:pt x="490" y="15"/>
                      <a:pt x="498" y="20"/>
                      <a:pt x="494" y="28"/>
                    </a:cubicBezTo>
                    <a:cubicBezTo>
                      <a:pt x="490" y="36"/>
                      <a:pt x="482" y="25"/>
                      <a:pt x="482" y="25"/>
                    </a:cubicBezTo>
                    <a:cubicBezTo>
                      <a:pt x="467" y="37"/>
                      <a:pt x="467" y="37"/>
                      <a:pt x="467" y="37"/>
                    </a:cubicBezTo>
                    <a:cubicBezTo>
                      <a:pt x="461" y="32"/>
                      <a:pt x="461" y="32"/>
                      <a:pt x="461" y="32"/>
                    </a:cubicBezTo>
                    <a:cubicBezTo>
                      <a:pt x="461" y="32"/>
                      <a:pt x="446" y="31"/>
                      <a:pt x="439" y="31"/>
                    </a:cubicBezTo>
                    <a:cubicBezTo>
                      <a:pt x="434" y="45"/>
                      <a:pt x="411" y="45"/>
                      <a:pt x="411" y="45"/>
                    </a:cubicBezTo>
                    <a:cubicBezTo>
                      <a:pt x="407" y="36"/>
                      <a:pt x="407" y="36"/>
                      <a:pt x="407" y="36"/>
                    </a:cubicBezTo>
                    <a:cubicBezTo>
                      <a:pt x="407" y="36"/>
                      <a:pt x="391" y="37"/>
                      <a:pt x="391" y="47"/>
                    </a:cubicBezTo>
                    <a:cubicBezTo>
                      <a:pt x="391" y="56"/>
                      <a:pt x="366" y="32"/>
                      <a:pt x="366" y="32"/>
                    </a:cubicBezTo>
                    <a:cubicBezTo>
                      <a:pt x="366" y="32"/>
                      <a:pt x="353" y="28"/>
                      <a:pt x="343" y="23"/>
                    </a:cubicBezTo>
                    <a:cubicBezTo>
                      <a:pt x="338" y="30"/>
                      <a:pt x="331" y="31"/>
                      <a:pt x="321" y="28"/>
                    </a:cubicBezTo>
                    <a:cubicBezTo>
                      <a:pt x="319" y="51"/>
                      <a:pt x="319" y="51"/>
                      <a:pt x="319" y="51"/>
                    </a:cubicBezTo>
                    <a:cubicBezTo>
                      <a:pt x="326" y="83"/>
                      <a:pt x="326" y="83"/>
                      <a:pt x="326" y="83"/>
                    </a:cubicBezTo>
                    <a:cubicBezTo>
                      <a:pt x="326" y="83"/>
                      <a:pt x="322" y="77"/>
                      <a:pt x="314" y="105"/>
                    </a:cubicBezTo>
                    <a:cubicBezTo>
                      <a:pt x="322" y="197"/>
                      <a:pt x="331" y="179"/>
                      <a:pt x="317" y="191"/>
                    </a:cubicBezTo>
                    <a:cubicBezTo>
                      <a:pt x="295" y="191"/>
                      <a:pt x="290" y="217"/>
                      <a:pt x="285" y="229"/>
                    </a:cubicBezTo>
                    <a:cubicBezTo>
                      <a:pt x="279" y="241"/>
                      <a:pt x="277" y="255"/>
                      <a:pt x="277" y="255"/>
                    </a:cubicBezTo>
                    <a:cubicBezTo>
                      <a:pt x="246" y="249"/>
                      <a:pt x="246" y="249"/>
                      <a:pt x="246" y="249"/>
                    </a:cubicBezTo>
                    <a:cubicBezTo>
                      <a:pt x="243" y="240"/>
                      <a:pt x="243" y="240"/>
                      <a:pt x="243" y="240"/>
                    </a:cubicBezTo>
                    <a:cubicBezTo>
                      <a:pt x="227" y="233"/>
                      <a:pt x="227" y="233"/>
                      <a:pt x="227" y="233"/>
                    </a:cubicBezTo>
                    <a:cubicBezTo>
                      <a:pt x="225" y="248"/>
                      <a:pt x="225" y="248"/>
                      <a:pt x="225" y="248"/>
                    </a:cubicBezTo>
                    <a:cubicBezTo>
                      <a:pt x="199" y="252"/>
                      <a:pt x="199" y="252"/>
                      <a:pt x="199" y="252"/>
                    </a:cubicBezTo>
                    <a:cubicBezTo>
                      <a:pt x="199" y="252"/>
                      <a:pt x="199" y="252"/>
                      <a:pt x="181" y="273"/>
                    </a:cubicBezTo>
                    <a:cubicBezTo>
                      <a:pt x="153" y="279"/>
                      <a:pt x="121" y="281"/>
                      <a:pt x="121" y="281"/>
                    </a:cubicBezTo>
                    <a:cubicBezTo>
                      <a:pt x="113" y="272"/>
                      <a:pt x="113" y="272"/>
                      <a:pt x="113" y="272"/>
                    </a:cubicBezTo>
                    <a:cubicBezTo>
                      <a:pt x="113" y="272"/>
                      <a:pt x="113" y="272"/>
                      <a:pt x="89" y="299"/>
                    </a:cubicBezTo>
                    <a:cubicBezTo>
                      <a:pt x="82" y="359"/>
                      <a:pt x="43" y="332"/>
                      <a:pt x="43" y="332"/>
                    </a:cubicBezTo>
                    <a:cubicBezTo>
                      <a:pt x="42" y="344"/>
                      <a:pt x="42" y="344"/>
                      <a:pt x="42" y="344"/>
                    </a:cubicBezTo>
                    <a:cubicBezTo>
                      <a:pt x="22" y="344"/>
                      <a:pt x="22" y="344"/>
                      <a:pt x="22" y="344"/>
                    </a:cubicBezTo>
                    <a:cubicBezTo>
                      <a:pt x="14" y="339"/>
                      <a:pt x="14" y="339"/>
                      <a:pt x="14" y="339"/>
                    </a:cubicBezTo>
                    <a:cubicBezTo>
                      <a:pt x="1" y="350"/>
                      <a:pt x="1" y="350"/>
                      <a:pt x="1" y="350"/>
                    </a:cubicBezTo>
                    <a:cubicBezTo>
                      <a:pt x="3" y="354"/>
                      <a:pt x="3" y="354"/>
                      <a:pt x="3" y="354"/>
                    </a:cubicBezTo>
                    <a:cubicBezTo>
                      <a:pt x="0" y="355"/>
                      <a:pt x="0" y="355"/>
                      <a:pt x="0" y="355"/>
                    </a:cubicBezTo>
                    <a:cubicBezTo>
                      <a:pt x="2" y="357"/>
                      <a:pt x="4" y="360"/>
                      <a:pt x="7" y="364"/>
                    </a:cubicBezTo>
                    <a:cubicBezTo>
                      <a:pt x="14" y="363"/>
                      <a:pt x="24" y="359"/>
                      <a:pt x="24" y="359"/>
                    </a:cubicBezTo>
                    <a:cubicBezTo>
                      <a:pt x="24" y="359"/>
                      <a:pt x="39" y="374"/>
                      <a:pt x="45" y="374"/>
                    </a:cubicBezTo>
                    <a:cubicBezTo>
                      <a:pt x="51" y="374"/>
                      <a:pt x="70" y="351"/>
                      <a:pt x="70" y="351"/>
                    </a:cubicBezTo>
                    <a:cubicBezTo>
                      <a:pt x="70" y="351"/>
                      <a:pt x="103" y="344"/>
                      <a:pt x="105" y="349"/>
                    </a:cubicBezTo>
                    <a:cubicBezTo>
                      <a:pt x="107" y="354"/>
                      <a:pt x="96" y="361"/>
                      <a:pt x="96" y="361"/>
                    </a:cubicBezTo>
                    <a:cubicBezTo>
                      <a:pt x="72" y="363"/>
                      <a:pt x="72" y="363"/>
                      <a:pt x="72" y="363"/>
                    </a:cubicBezTo>
                    <a:cubicBezTo>
                      <a:pt x="67" y="376"/>
                      <a:pt x="67" y="376"/>
                      <a:pt x="67" y="376"/>
                    </a:cubicBezTo>
                    <a:cubicBezTo>
                      <a:pt x="71" y="385"/>
                      <a:pt x="71" y="385"/>
                      <a:pt x="71" y="385"/>
                    </a:cubicBezTo>
                    <a:cubicBezTo>
                      <a:pt x="65" y="399"/>
                      <a:pt x="65" y="399"/>
                      <a:pt x="65" y="399"/>
                    </a:cubicBezTo>
                    <a:cubicBezTo>
                      <a:pt x="52" y="399"/>
                      <a:pt x="52" y="399"/>
                      <a:pt x="52" y="399"/>
                    </a:cubicBezTo>
                    <a:cubicBezTo>
                      <a:pt x="52" y="408"/>
                      <a:pt x="52" y="408"/>
                      <a:pt x="52" y="408"/>
                    </a:cubicBezTo>
                    <a:cubicBezTo>
                      <a:pt x="91" y="415"/>
                      <a:pt x="91" y="415"/>
                      <a:pt x="91" y="415"/>
                    </a:cubicBezTo>
                    <a:cubicBezTo>
                      <a:pt x="104" y="444"/>
                      <a:pt x="104" y="444"/>
                      <a:pt x="104" y="444"/>
                    </a:cubicBezTo>
                    <a:cubicBezTo>
                      <a:pt x="95" y="445"/>
                      <a:pt x="95" y="445"/>
                      <a:pt x="95" y="445"/>
                    </a:cubicBezTo>
                    <a:cubicBezTo>
                      <a:pt x="92" y="462"/>
                      <a:pt x="92" y="462"/>
                      <a:pt x="92" y="462"/>
                    </a:cubicBezTo>
                    <a:cubicBezTo>
                      <a:pt x="72" y="483"/>
                      <a:pt x="72" y="483"/>
                      <a:pt x="72" y="483"/>
                    </a:cubicBezTo>
                    <a:cubicBezTo>
                      <a:pt x="69" y="468"/>
                      <a:pt x="69" y="468"/>
                      <a:pt x="69" y="468"/>
                    </a:cubicBezTo>
                    <a:cubicBezTo>
                      <a:pt x="55" y="458"/>
                      <a:pt x="55" y="458"/>
                      <a:pt x="55" y="458"/>
                    </a:cubicBezTo>
                    <a:cubicBezTo>
                      <a:pt x="55" y="465"/>
                      <a:pt x="55" y="465"/>
                      <a:pt x="55" y="465"/>
                    </a:cubicBezTo>
                    <a:cubicBezTo>
                      <a:pt x="55" y="465"/>
                      <a:pt x="62" y="463"/>
                      <a:pt x="63" y="469"/>
                    </a:cubicBezTo>
                    <a:cubicBezTo>
                      <a:pt x="64" y="475"/>
                      <a:pt x="68" y="489"/>
                      <a:pt x="68" y="489"/>
                    </a:cubicBezTo>
                    <a:cubicBezTo>
                      <a:pt x="68" y="489"/>
                      <a:pt x="73" y="508"/>
                      <a:pt x="72" y="511"/>
                    </a:cubicBezTo>
                    <a:cubicBezTo>
                      <a:pt x="91" y="521"/>
                      <a:pt x="103" y="549"/>
                      <a:pt x="103" y="549"/>
                    </a:cubicBezTo>
                    <a:cubicBezTo>
                      <a:pt x="111" y="549"/>
                      <a:pt x="111" y="549"/>
                      <a:pt x="111" y="549"/>
                    </a:cubicBezTo>
                    <a:cubicBezTo>
                      <a:pt x="126" y="569"/>
                      <a:pt x="135" y="611"/>
                      <a:pt x="135" y="611"/>
                    </a:cubicBezTo>
                    <a:cubicBezTo>
                      <a:pt x="135" y="611"/>
                      <a:pt x="135" y="603"/>
                      <a:pt x="149" y="617"/>
                    </a:cubicBezTo>
                    <a:cubicBezTo>
                      <a:pt x="163" y="631"/>
                      <a:pt x="200" y="642"/>
                      <a:pt x="200" y="642"/>
                    </a:cubicBezTo>
                    <a:cubicBezTo>
                      <a:pt x="210" y="658"/>
                      <a:pt x="210" y="658"/>
                      <a:pt x="210" y="658"/>
                    </a:cubicBezTo>
                    <a:cubicBezTo>
                      <a:pt x="210" y="658"/>
                      <a:pt x="229" y="658"/>
                      <a:pt x="235" y="660"/>
                    </a:cubicBezTo>
                    <a:cubicBezTo>
                      <a:pt x="241" y="662"/>
                      <a:pt x="248" y="678"/>
                      <a:pt x="248" y="678"/>
                    </a:cubicBezTo>
                    <a:cubicBezTo>
                      <a:pt x="251" y="669"/>
                      <a:pt x="251" y="669"/>
                      <a:pt x="251" y="669"/>
                    </a:cubicBezTo>
                    <a:cubicBezTo>
                      <a:pt x="265" y="682"/>
                      <a:pt x="265" y="682"/>
                      <a:pt x="265" y="682"/>
                    </a:cubicBezTo>
                    <a:cubicBezTo>
                      <a:pt x="274" y="666"/>
                      <a:pt x="274" y="666"/>
                      <a:pt x="274" y="666"/>
                    </a:cubicBezTo>
                    <a:cubicBezTo>
                      <a:pt x="274" y="666"/>
                      <a:pt x="284" y="675"/>
                      <a:pt x="287" y="680"/>
                    </a:cubicBezTo>
                    <a:cubicBezTo>
                      <a:pt x="290" y="685"/>
                      <a:pt x="262" y="717"/>
                      <a:pt x="262" y="717"/>
                    </a:cubicBezTo>
                    <a:cubicBezTo>
                      <a:pt x="267" y="720"/>
                      <a:pt x="271" y="724"/>
                      <a:pt x="275" y="728"/>
                    </a:cubicBezTo>
                    <a:cubicBezTo>
                      <a:pt x="289" y="723"/>
                      <a:pt x="289" y="723"/>
                      <a:pt x="289" y="723"/>
                    </a:cubicBezTo>
                    <a:cubicBezTo>
                      <a:pt x="322" y="712"/>
                      <a:pt x="322" y="712"/>
                      <a:pt x="322" y="712"/>
                    </a:cubicBezTo>
                    <a:cubicBezTo>
                      <a:pt x="322" y="728"/>
                      <a:pt x="322" y="728"/>
                      <a:pt x="322" y="728"/>
                    </a:cubicBezTo>
                    <a:cubicBezTo>
                      <a:pt x="337" y="729"/>
                      <a:pt x="337" y="729"/>
                      <a:pt x="337" y="729"/>
                    </a:cubicBezTo>
                    <a:cubicBezTo>
                      <a:pt x="346" y="723"/>
                      <a:pt x="346" y="723"/>
                      <a:pt x="346" y="723"/>
                    </a:cubicBezTo>
                    <a:cubicBezTo>
                      <a:pt x="361" y="732"/>
                      <a:pt x="361" y="732"/>
                      <a:pt x="361" y="732"/>
                    </a:cubicBezTo>
                    <a:cubicBezTo>
                      <a:pt x="361" y="732"/>
                      <a:pt x="378" y="728"/>
                      <a:pt x="385" y="728"/>
                    </a:cubicBezTo>
                    <a:cubicBezTo>
                      <a:pt x="391" y="728"/>
                      <a:pt x="391" y="717"/>
                      <a:pt x="391" y="717"/>
                    </a:cubicBezTo>
                    <a:cubicBezTo>
                      <a:pt x="391" y="717"/>
                      <a:pt x="421" y="719"/>
                      <a:pt x="398" y="699"/>
                    </a:cubicBezTo>
                    <a:cubicBezTo>
                      <a:pt x="389" y="707"/>
                      <a:pt x="389" y="707"/>
                      <a:pt x="389" y="707"/>
                    </a:cubicBezTo>
                    <a:cubicBezTo>
                      <a:pt x="393" y="684"/>
                      <a:pt x="393" y="684"/>
                      <a:pt x="393" y="684"/>
                    </a:cubicBezTo>
                    <a:cubicBezTo>
                      <a:pt x="383" y="664"/>
                      <a:pt x="383" y="664"/>
                      <a:pt x="383" y="664"/>
                    </a:cubicBezTo>
                    <a:cubicBezTo>
                      <a:pt x="394" y="664"/>
                      <a:pt x="394" y="664"/>
                      <a:pt x="394" y="664"/>
                    </a:cubicBezTo>
                    <a:cubicBezTo>
                      <a:pt x="394" y="627"/>
                      <a:pt x="394" y="627"/>
                      <a:pt x="394" y="627"/>
                    </a:cubicBezTo>
                    <a:cubicBezTo>
                      <a:pt x="383" y="627"/>
                      <a:pt x="383" y="627"/>
                      <a:pt x="383" y="627"/>
                    </a:cubicBezTo>
                    <a:cubicBezTo>
                      <a:pt x="386" y="605"/>
                      <a:pt x="386" y="605"/>
                      <a:pt x="386" y="605"/>
                    </a:cubicBezTo>
                    <a:cubicBezTo>
                      <a:pt x="371" y="585"/>
                      <a:pt x="371" y="585"/>
                      <a:pt x="371" y="585"/>
                    </a:cubicBezTo>
                    <a:cubicBezTo>
                      <a:pt x="378" y="573"/>
                      <a:pt x="378" y="573"/>
                      <a:pt x="378" y="573"/>
                    </a:cubicBezTo>
                    <a:cubicBezTo>
                      <a:pt x="353" y="548"/>
                      <a:pt x="353" y="548"/>
                      <a:pt x="353" y="548"/>
                    </a:cubicBezTo>
                    <a:cubicBezTo>
                      <a:pt x="357" y="537"/>
                      <a:pt x="357" y="537"/>
                      <a:pt x="357" y="537"/>
                    </a:cubicBezTo>
                    <a:cubicBezTo>
                      <a:pt x="357" y="537"/>
                      <a:pt x="337" y="532"/>
                      <a:pt x="339" y="523"/>
                    </a:cubicBezTo>
                    <a:cubicBezTo>
                      <a:pt x="342" y="513"/>
                      <a:pt x="371" y="503"/>
                      <a:pt x="378" y="511"/>
                    </a:cubicBezTo>
                    <a:cubicBezTo>
                      <a:pt x="385" y="519"/>
                      <a:pt x="413" y="501"/>
                      <a:pt x="413" y="501"/>
                    </a:cubicBezTo>
                    <a:cubicBezTo>
                      <a:pt x="415" y="485"/>
                      <a:pt x="415" y="485"/>
                      <a:pt x="415" y="485"/>
                    </a:cubicBezTo>
                    <a:cubicBezTo>
                      <a:pt x="434" y="488"/>
                      <a:pt x="434" y="488"/>
                      <a:pt x="434" y="488"/>
                    </a:cubicBezTo>
                    <a:cubicBezTo>
                      <a:pt x="433" y="496"/>
                      <a:pt x="433" y="496"/>
                      <a:pt x="433" y="496"/>
                    </a:cubicBezTo>
                    <a:cubicBezTo>
                      <a:pt x="459" y="481"/>
                      <a:pt x="459" y="481"/>
                      <a:pt x="459" y="481"/>
                    </a:cubicBezTo>
                    <a:cubicBezTo>
                      <a:pt x="502" y="480"/>
                      <a:pt x="502" y="480"/>
                      <a:pt x="502" y="480"/>
                    </a:cubicBezTo>
                    <a:cubicBezTo>
                      <a:pt x="499" y="492"/>
                      <a:pt x="499" y="492"/>
                      <a:pt x="499" y="492"/>
                    </a:cubicBezTo>
                    <a:cubicBezTo>
                      <a:pt x="509" y="492"/>
                      <a:pt x="509" y="492"/>
                      <a:pt x="509" y="492"/>
                    </a:cubicBezTo>
                    <a:cubicBezTo>
                      <a:pt x="514" y="483"/>
                      <a:pt x="514" y="483"/>
                      <a:pt x="514" y="483"/>
                    </a:cubicBezTo>
                    <a:cubicBezTo>
                      <a:pt x="519" y="484"/>
                      <a:pt x="519" y="484"/>
                      <a:pt x="519" y="484"/>
                    </a:cubicBezTo>
                    <a:cubicBezTo>
                      <a:pt x="519" y="484"/>
                      <a:pt x="518" y="464"/>
                      <a:pt x="549" y="464"/>
                    </a:cubicBezTo>
                    <a:cubicBezTo>
                      <a:pt x="549" y="463"/>
                      <a:pt x="549" y="462"/>
                      <a:pt x="549" y="461"/>
                    </a:cubicBezTo>
                    <a:cubicBezTo>
                      <a:pt x="546" y="433"/>
                      <a:pt x="575" y="399"/>
                      <a:pt x="575" y="399"/>
                    </a:cubicBezTo>
                    <a:cubicBezTo>
                      <a:pt x="569" y="387"/>
                      <a:pt x="569" y="387"/>
                      <a:pt x="569" y="387"/>
                    </a:cubicBezTo>
                    <a:cubicBezTo>
                      <a:pt x="569" y="387"/>
                      <a:pt x="581" y="369"/>
                      <a:pt x="585" y="359"/>
                    </a:cubicBezTo>
                    <a:cubicBezTo>
                      <a:pt x="578" y="351"/>
                      <a:pt x="589" y="323"/>
                      <a:pt x="589" y="323"/>
                    </a:cubicBezTo>
                    <a:cubicBezTo>
                      <a:pt x="626" y="335"/>
                      <a:pt x="626" y="335"/>
                      <a:pt x="626" y="335"/>
                    </a:cubicBezTo>
                    <a:cubicBezTo>
                      <a:pt x="615" y="320"/>
                      <a:pt x="615" y="320"/>
                      <a:pt x="615" y="320"/>
                    </a:cubicBezTo>
                    <a:cubicBezTo>
                      <a:pt x="615" y="320"/>
                      <a:pt x="626" y="313"/>
                      <a:pt x="625" y="311"/>
                    </a:cubicBezTo>
                    <a:cubicBezTo>
                      <a:pt x="642" y="329"/>
                      <a:pt x="641" y="307"/>
                      <a:pt x="641" y="307"/>
                    </a:cubicBezTo>
                    <a:cubicBezTo>
                      <a:pt x="641" y="307"/>
                      <a:pt x="670" y="300"/>
                      <a:pt x="674" y="299"/>
                    </a:cubicBezTo>
                    <a:cubicBezTo>
                      <a:pt x="658" y="293"/>
                      <a:pt x="690" y="272"/>
                      <a:pt x="690" y="272"/>
                    </a:cubicBezTo>
                    <a:cubicBezTo>
                      <a:pt x="690" y="272"/>
                      <a:pt x="703" y="252"/>
                      <a:pt x="707" y="248"/>
                    </a:cubicBezTo>
                    <a:cubicBezTo>
                      <a:pt x="707" y="233"/>
                      <a:pt x="717" y="229"/>
                      <a:pt x="717" y="229"/>
                    </a:cubicBezTo>
                    <a:cubicBezTo>
                      <a:pt x="725" y="219"/>
                      <a:pt x="725" y="219"/>
                      <a:pt x="725" y="219"/>
                    </a:cubicBezTo>
                    <a:cubicBezTo>
                      <a:pt x="718" y="205"/>
                      <a:pt x="718" y="205"/>
                      <a:pt x="718" y="205"/>
                    </a:cubicBezTo>
                    <a:cubicBezTo>
                      <a:pt x="722" y="192"/>
                      <a:pt x="722" y="192"/>
                      <a:pt x="722" y="192"/>
                    </a:cubicBezTo>
                    <a:cubicBezTo>
                      <a:pt x="714" y="180"/>
                      <a:pt x="714" y="180"/>
                      <a:pt x="714" y="180"/>
                    </a:cubicBezTo>
                    <a:cubicBezTo>
                      <a:pt x="725" y="175"/>
                      <a:pt x="725" y="175"/>
                      <a:pt x="725" y="175"/>
                    </a:cubicBezTo>
                    <a:cubicBezTo>
                      <a:pt x="725" y="157"/>
                      <a:pt x="725" y="157"/>
                      <a:pt x="725" y="157"/>
                    </a:cubicBezTo>
                    <a:cubicBezTo>
                      <a:pt x="739" y="156"/>
                      <a:pt x="739" y="156"/>
                      <a:pt x="739" y="156"/>
                    </a:cubicBezTo>
                    <a:cubicBezTo>
                      <a:pt x="739" y="147"/>
                      <a:pt x="739" y="147"/>
                      <a:pt x="739" y="147"/>
                    </a:cubicBezTo>
                    <a:lnTo>
                      <a:pt x="719" y="140"/>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03" name="POitou-Charentes" descr="© INSCALE GmbH, 05.05.2010&#10;http://www.presentationload.com/">
                <a:extLst>
                  <a:ext uri="{FF2B5EF4-FFF2-40B4-BE49-F238E27FC236}">
                    <a16:creationId xmlns:a16="http://schemas.microsoft.com/office/drawing/2014/main" id="{3AE2A17A-E1A4-415C-BCBD-27B07359DE41}"/>
                  </a:ext>
                </a:extLst>
              </p:cNvPr>
              <p:cNvSpPr>
                <a:spLocks noEditPoints="1"/>
              </p:cNvSpPr>
              <p:nvPr/>
            </p:nvSpPr>
            <p:spPr bwMode="gray">
              <a:xfrm>
                <a:off x="881" y="1507"/>
                <a:ext cx="619" cy="717"/>
              </a:xfrm>
              <a:custGeom>
                <a:avLst/>
                <a:gdLst/>
                <a:ahLst/>
                <a:cxnLst>
                  <a:cxn ang="0">
                    <a:pos x="39" y="333"/>
                  </a:cxn>
                  <a:cxn ang="0">
                    <a:pos x="19" y="308"/>
                  </a:cxn>
                  <a:cxn ang="0">
                    <a:pos x="6" y="327"/>
                  </a:cxn>
                  <a:cxn ang="0">
                    <a:pos x="32" y="355"/>
                  </a:cxn>
                  <a:cxn ang="0">
                    <a:pos x="46" y="345"/>
                  </a:cxn>
                  <a:cxn ang="0">
                    <a:pos x="559" y="229"/>
                  </a:cxn>
                  <a:cxn ang="0">
                    <a:pos x="533" y="197"/>
                  </a:cxn>
                  <a:cxn ang="0">
                    <a:pos x="486" y="111"/>
                  </a:cxn>
                  <a:cxn ang="0">
                    <a:pos x="434" y="52"/>
                  </a:cxn>
                  <a:cxn ang="0">
                    <a:pos x="419" y="65"/>
                  </a:cxn>
                  <a:cxn ang="0">
                    <a:pos x="393" y="67"/>
                  </a:cxn>
                  <a:cxn ang="0">
                    <a:pos x="382" y="39"/>
                  </a:cxn>
                  <a:cxn ang="0">
                    <a:pos x="369" y="28"/>
                  </a:cxn>
                  <a:cxn ang="0">
                    <a:pos x="355" y="21"/>
                  </a:cxn>
                  <a:cxn ang="0">
                    <a:pos x="299" y="20"/>
                  </a:cxn>
                  <a:cxn ang="0">
                    <a:pos x="289" y="28"/>
                  </a:cxn>
                  <a:cxn ang="0">
                    <a:pos x="282" y="16"/>
                  </a:cxn>
                  <a:cxn ang="0">
                    <a:pos x="213" y="32"/>
                  </a:cxn>
                  <a:cxn ang="0">
                    <a:pos x="195" y="21"/>
                  </a:cxn>
                  <a:cxn ang="0">
                    <a:pos x="158" y="47"/>
                  </a:cxn>
                  <a:cxn ang="0">
                    <a:pos x="137" y="73"/>
                  </a:cxn>
                  <a:cxn ang="0">
                    <a:pos x="158" y="109"/>
                  </a:cxn>
                  <a:cxn ang="0">
                    <a:pos x="166" y="141"/>
                  </a:cxn>
                  <a:cxn ang="0">
                    <a:pos x="174" y="163"/>
                  </a:cxn>
                  <a:cxn ang="0">
                    <a:pos x="163" y="200"/>
                  </a:cxn>
                  <a:cxn ang="0">
                    <a:pos x="169" y="243"/>
                  </a:cxn>
                  <a:cxn ang="0">
                    <a:pos x="171" y="253"/>
                  </a:cxn>
                  <a:cxn ang="0">
                    <a:pos x="141" y="268"/>
                  </a:cxn>
                  <a:cxn ang="0">
                    <a:pos x="117" y="265"/>
                  </a:cxn>
                  <a:cxn ang="0">
                    <a:pos x="102" y="248"/>
                  </a:cxn>
                  <a:cxn ang="0">
                    <a:pos x="55" y="264"/>
                  </a:cxn>
                  <a:cxn ang="0">
                    <a:pos x="64" y="309"/>
                  </a:cxn>
                  <a:cxn ang="0">
                    <a:pos x="69" y="324"/>
                  </a:cxn>
                  <a:cxn ang="0">
                    <a:pos x="63" y="352"/>
                  </a:cxn>
                  <a:cxn ang="0">
                    <a:pos x="58" y="367"/>
                  </a:cxn>
                  <a:cxn ang="0">
                    <a:pos x="44" y="372"/>
                  </a:cxn>
                  <a:cxn ang="0">
                    <a:pos x="37" y="406"/>
                  </a:cxn>
                  <a:cxn ang="0">
                    <a:pos x="80" y="427"/>
                  </a:cxn>
                  <a:cxn ang="0">
                    <a:pos x="103" y="454"/>
                  </a:cxn>
                  <a:cxn ang="0">
                    <a:pos x="147" y="539"/>
                  </a:cxn>
                  <a:cxn ang="0">
                    <a:pos x="152" y="564"/>
                  </a:cxn>
                  <a:cxn ang="0">
                    <a:pos x="151" y="581"/>
                  </a:cxn>
                  <a:cxn ang="0">
                    <a:pos x="171" y="593"/>
                  </a:cxn>
                  <a:cxn ang="0">
                    <a:pos x="210" y="643"/>
                  </a:cxn>
                  <a:cxn ang="0">
                    <a:pos x="293" y="652"/>
                  </a:cxn>
                  <a:cxn ang="0">
                    <a:pos x="327" y="625"/>
                  </a:cxn>
                  <a:cxn ang="0">
                    <a:pos x="357" y="597"/>
                  </a:cxn>
                  <a:cxn ang="0">
                    <a:pos x="405" y="524"/>
                  </a:cxn>
                  <a:cxn ang="0">
                    <a:pos x="411" y="495"/>
                  </a:cxn>
                  <a:cxn ang="0">
                    <a:pos x="461" y="451"/>
                  </a:cxn>
                  <a:cxn ang="0">
                    <a:pos x="481" y="439"/>
                  </a:cxn>
                  <a:cxn ang="0">
                    <a:pos x="487" y="395"/>
                  </a:cxn>
                  <a:cxn ang="0">
                    <a:pos x="513" y="391"/>
                  </a:cxn>
                  <a:cxn ang="0">
                    <a:pos x="490" y="332"/>
                  </a:cxn>
                  <a:cxn ang="0">
                    <a:pos x="494" y="301"/>
                  </a:cxn>
                  <a:cxn ang="0">
                    <a:pos x="529" y="287"/>
                  </a:cxn>
                  <a:cxn ang="0">
                    <a:pos x="555" y="263"/>
                  </a:cxn>
                  <a:cxn ang="0">
                    <a:pos x="570" y="252"/>
                  </a:cxn>
                </a:cxnLst>
                <a:rect l="0" t="0" r="r" b="b"/>
                <a:pathLst>
                  <a:path w="574" h="665">
                    <a:moveTo>
                      <a:pt x="46" y="345"/>
                    </a:moveTo>
                    <a:cubicBezTo>
                      <a:pt x="39" y="333"/>
                      <a:pt x="39" y="333"/>
                      <a:pt x="39" y="333"/>
                    </a:cubicBezTo>
                    <a:cubicBezTo>
                      <a:pt x="38" y="311"/>
                      <a:pt x="38" y="311"/>
                      <a:pt x="38" y="311"/>
                    </a:cubicBezTo>
                    <a:cubicBezTo>
                      <a:pt x="19" y="308"/>
                      <a:pt x="19" y="308"/>
                      <a:pt x="19" y="308"/>
                    </a:cubicBezTo>
                    <a:cubicBezTo>
                      <a:pt x="4" y="289"/>
                      <a:pt x="4" y="289"/>
                      <a:pt x="4" y="289"/>
                    </a:cubicBezTo>
                    <a:cubicBezTo>
                      <a:pt x="0" y="293"/>
                      <a:pt x="6" y="327"/>
                      <a:pt x="6" y="327"/>
                    </a:cubicBezTo>
                    <a:cubicBezTo>
                      <a:pt x="19" y="337"/>
                      <a:pt x="19" y="337"/>
                      <a:pt x="19" y="337"/>
                    </a:cubicBezTo>
                    <a:cubicBezTo>
                      <a:pt x="32" y="355"/>
                      <a:pt x="32" y="355"/>
                      <a:pt x="32" y="355"/>
                    </a:cubicBezTo>
                    <a:cubicBezTo>
                      <a:pt x="36" y="368"/>
                      <a:pt x="36" y="368"/>
                      <a:pt x="36" y="368"/>
                    </a:cubicBezTo>
                    <a:lnTo>
                      <a:pt x="46" y="345"/>
                    </a:lnTo>
                    <a:close/>
                    <a:moveTo>
                      <a:pt x="574" y="241"/>
                    </a:moveTo>
                    <a:cubicBezTo>
                      <a:pt x="574" y="241"/>
                      <a:pt x="563" y="236"/>
                      <a:pt x="559" y="229"/>
                    </a:cubicBezTo>
                    <a:cubicBezTo>
                      <a:pt x="553" y="187"/>
                      <a:pt x="534" y="208"/>
                      <a:pt x="534" y="208"/>
                    </a:cubicBezTo>
                    <a:cubicBezTo>
                      <a:pt x="534" y="208"/>
                      <a:pt x="537" y="199"/>
                      <a:pt x="533" y="197"/>
                    </a:cubicBezTo>
                    <a:cubicBezTo>
                      <a:pt x="505" y="196"/>
                      <a:pt x="510" y="167"/>
                      <a:pt x="511" y="153"/>
                    </a:cubicBezTo>
                    <a:cubicBezTo>
                      <a:pt x="479" y="120"/>
                      <a:pt x="503" y="127"/>
                      <a:pt x="486" y="111"/>
                    </a:cubicBezTo>
                    <a:cubicBezTo>
                      <a:pt x="469" y="95"/>
                      <a:pt x="466" y="63"/>
                      <a:pt x="466" y="63"/>
                    </a:cubicBezTo>
                    <a:cubicBezTo>
                      <a:pt x="434" y="52"/>
                      <a:pt x="434" y="52"/>
                      <a:pt x="434" y="52"/>
                    </a:cubicBezTo>
                    <a:cubicBezTo>
                      <a:pt x="442" y="65"/>
                      <a:pt x="442" y="65"/>
                      <a:pt x="442" y="65"/>
                    </a:cubicBezTo>
                    <a:cubicBezTo>
                      <a:pt x="419" y="65"/>
                      <a:pt x="419" y="65"/>
                      <a:pt x="419" y="65"/>
                    </a:cubicBezTo>
                    <a:cubicBezTo>
                      <a:pt x="405" y="73"/>
                      <a:pt x="405" y="73"/>
                      <a:pt x="405" y="73"/>
                    </a:cubicBezTo>
                    <a:cubicBezTo>
                      <a:pt x="393" y="67"/>
                      <a:pt x="393" y="67"/>
                      <a:pt x="393" y="67"/>
                    </a:cubicBezTo>
                    <a:cubicBezTo>
                      <a:pt x="393" y="67"/>
                      <a:pt x="394" y="73"/>
                      <a:pt x="382" y="69"/>
                    </a:cubicBezTo>
                    <a:cubicBezTo>
                      <a:pt x="370" y="65"/>
                      <a:pt x="382" y="39"/>
                      <a:pt x="382" y="39"/>
                    </a:cubicBezTo>
                    <a:cubicBezTo>
                      <a:pt x="373" y="35"/>
                      <a:pt x="373" y="35"/>
                      <a:pt x="373" y="35"/>
                    </a:cubicBezTo>
                    <a:cubicBezTo>
                      <a:pt x="369" y="28"/>
                      <a:pt x="369" y="28"/>
                      <a:pt x="369" y="28"/>
                    </a:cubicBezTo>
                    <a:cubicBezTo>
                      <a:pt x="355" y="35"/>
                      <a:pt x="355" y="35"/>
                      <a:pt x="355" y="35"/>
                    </a:cubicBezTo>
                    <a:cubicBezTo>
                      <a:pt x="355" y="21"/>
                      <a:pt x="355" y="21"/>
                      <a:pt x="355" y="21"/>
                    </a:cubicBezTo>
                    <a:cubicBezTo>
                      <a:pt x="355" y="21"/>
                      <a:pt x="333" y="25"/>
                      <a:pt x="329" y="0"/>
                    </a:cubicBezTo>
                    <a:cubicBezTo>
                      <a:pt x="298" y="0"/>
                      <a:pt x="299" y="20"/>
                      <a:pt x="299" y="20"/>
                    </a:cubicBezTo>
                    <a:cubicBezTo>
                      <a:pt x="294" y="19"/>
                      <a:pt x="294" y="19"/>
                      <a:pt x="294" y="19"/>
                    </a:cubicBezTo>
                    <a:cubicBezTo>
                      <a:pt x="289" y="28"/>
                      <a:pt x="289" y="28"/>
                      <a:pt x="289" y="28"/>
                    </a:cubicBezTo>
                    <a:cubicBezTo>
                      <a:pt x="279" y="28"/>
                      <a:pt x="279" y="28"/>
                      <a:pt x="279" y="28"/>
                    </a:cubicBezTo>
                    <a:cubicBezTo>
                      <a:pt x="282" y="16"/>
                      <a:pt x="282" y="16"/>
                      <a:pt x="282" y="16"/>
                    </a:cubicBezTo>
                    <a:cubicBezTo>
                      <a:pt x="239" y="17"/>
                      <a:pt x="239" y="17"/>
                      <a:pt x="239" y="17"/>
                    </a:cubicBezTo>
                    <a:cubicBezTo>
                      <a:pt x="213" y="32"/>
                      <a:pt x="213" y="32"/>
                      <a:pt x="213" y="32"/>
                    </a:cubicBezTo>
                    <a:cubicBezTo>
                      <a:pt x="214" y="24"/>
                      <a:pt x="214" y="24"/>
                      <a:pt x="214" y="24"/>
                    </a:cubicBezTo>
                    <a:cubicBezTo>
                      <a:pt x="195" y="21"/>
                      <a:pt x="195" y="21"/>
                      <a:pt x="195" y="21"/>
                    </a:cubicBezTo>
                    <a:cubicBezTo>
                      <a:pt x="193" y="37"/>
                      <a:pt x="193" y="37"/>
                      <a:pt x="193" y="37"/>
                    </a:cubicBezTo>
                    <a:cubicBezTo>
                      <a:pt x="193" y="37"/>
                      <a:pt x="165" y="55"/>
                      <a:pt x="158" y="47"/>
                    </a:cubicBezTo>
                    <a:cubicBezTo>
                      <a:pt x="151" y="39"/>
                      <a:pt x="122" y="49"/>
                      <a:pt x="119" y="59"/>
                    </a:cubicBezTo>
                    <a:cubicBezTo>
                      <a:pt x="117" y="68"/>
                      <a:pt x="137" y="73"/>
                      <a:pt x="137" y="73"/>
                    </a:cubicBezTo>
                    <a:cubicBezTo>
                      <a:pt x="133" y="84"/>
                      <a:pt x="133" y="84"/>
                      <a:pt x="133" y="84"/>
                    </a:cubicBezTo>
                    <a:cubicBezTo>
                      <a:pt x="158" y="109"/>
                      <a:pt x="158" y="109"/>
                      <a:pt x="158" y="109"/>
                    </a:cubicBezTo>
                    <a:cubicBezTo>
                      <a:pt x="151" y="121"/>
                      <a:pt x="151" y="121"/>
                      <a:pt x="151" y="121"/>
                    </a:cubicBezTo>
                    <a:cubicBezTo>
                      <a:pt x="166" y="141"/>
                      <a:pt x="166" y="141"/>
                      <a:pt x="166" y="141"/>
                    </a:cubicBezTo>
                    <a:cubicBezTo>
                      <a:pt x="163" y="163"/>
                      <a:pt x="163" y="163"/>
                      <a:pt x="163" y="163"/>
                    </a:cubicBezTo>
                    <a:cubicBezTo>
                      <a:pt x="174" y="163"/>
                      <a:pt x="174" y="163"/>
                      <a:pt x="174" y="163"/>
                    </a:cubicBezTo>
                    <a:cubicBezTo>
                      <a:pt x="174" y="200"/>
                      <a:pt x="174" y="200"/>
                      <a:pt x="174" y="200"/>
                    </a:cubicBezTo>
                    <a:cubicBezTo>
                      <a:pt x="163" y="200"/>
                      <a:pt x="163" y="200"/>
                      <a:pt x="163" y="200"/>
                    </a:cubicBezTo>
                    <a:cubicBezTo>
                      <a:pt x="173" y="220"/>
                      <a:pt x="173" y="220"/>
                      <a:pt x="173" y="220"/>
                    </a:cubicBezTo>
                    <a:cubicBezTo>
                      <a:pt x="169" y="243"/>
                      <a:pt x="169" y="243"/>
                      <a:pt x="169" y="243"/>
                    </a:cubicBezTo>
                    <a:cubicBezTo>
                      <a:pt x="178" y="235"/>
                      <a:pt x="178" y="235"/>
                      <a:pt x="178" y="235"/>
                    </a:cubicBezTo>
                    <a:cubicBezTo>
                      <a:pt x="201" y="255"/>
                      <a:pt x="171" y="253"/>
                      <a:pt x="171" y="253"/>
                    </a:cubicBezTo>
                    <a:cubicBezTo>
                      <a:pt x="171" y="253"/>
                      <a:pt x="171" y="264"/>
                      <a:pt x="165" y="264"/>
                    </a:cubicBezTo>
                    <a:cubicBezTo>
                      <a:pt x="158" y="264"/>
                      <a:pt x="141" y="268"/>
                      <a:pt x="141" y="268"/>
                    </a:cubicBezTo>
                    <a:cubicBezTo>
                      <a:pt x="126" y="259"/>
                      <a:pt x="126" y="259"/>
                      <a:pt x="126" y="259"/>
                    </a:cubicBezTo>
                    <a:cubicBezTo>
                      <a:pt x="117" y="265"/>
                      <a:pt x="117" y="265"/>
                      <a:pt x="117" y="265"/>
                    </a:cubicBezTo>
                    <a:cubicBezTo>
                      <a:pt x="102" y="264"/>
                      <a:pt x="102" y="264"/>
                      <a:pt x="102" y="264"/>
                    </a:cubicBezTo>
                    <a:cubicBezTo>
                      <a:pt x="102" y="248"/>
                      <a:pt x="102" y="248"/>
                      <a:pt x="102" y="248"/>
                    </a:cubicBezTo>
                    <a:cubicBezTo>
                      <a:pt x="69" y="259"/>
                      <a:pt x="69" y="259"/>
                      <a:pt x="69" y="259"/>
                    </a:cubicBezTo>
                    <a:cubicBezTo>
                      <a:pt x="55" y="264"/>
                      <a:pt x="55" y="264"/>
                      <a:pt x="55" y="264"/>
                    </a:cubicBezTo>
                    <a:cubicBezTo>
                      <a:pt x="71" y="282"/>
                      <a:pt x="78" y="307"/>
                      <a:pt x="78" y="307"/>
                    </a:cubicBezTo>
                    <a:cubicBezTo>
                      <a:pt x="64" y="309"/>
                      <a:pt x="64" y="309"/>
                      <a:pt x="64" y="309"/>
                    </a:cubicBezTo>
                    <a:cubicBezTo>
                      <a:pt x="69" y="320"/>
                      <a:pt x="69" y="320"/>
                      <a:pt x="69" y="320"/>
                    </a:cubicBezTo>
                    <a:cubicBezTo>
                      <a:pt x="69" y="324"/>
                      <a:pt x="69" y="324"/>
                      <a:pt x="69" y="324"/>
                    </a:cubicBezTo>
                    <a:cubicBezTo>
                      <a:pt x="71" y="335"/>
                      <a:pt x="71" y="335"/>
                      <a:pt x="71" y="335"/>
                    </a:cubicBezTo>
                    <a:cubicBezTo>
                      <a:pt x="63" y="352"/>
                      <a:pt x="63" y="352"/>
                      <a:pt x="63" y="352"/>
                    </a:cubicBezTo>
                    <a:cubicBezTo>
                      <a:pt x="52" y="352"/>
                      <a:pt x="52" y="352"/>
                      <a:pt x="52" y="352"/>
                    </a:cubicBezTo>
                    <a:cubicBezTo>
                      <a:pt x="58" y="367"/>
                      <a:pt x="58" y="367"/>
                      <a:pt x="58" y="367"/>
                    </a:cubicBezTo>
                    <a:cubicBezTo>
                      <a:pt x="67" y="382"/>
                      <a:pt x="67" y="382"/>
                      <a:pt x="67" y="382"/>
                    </a:cubicBezTo>
                    <a:cubicBezTo>
                      <a:pt x="67" y="382"/>
                      <a:pt x="51" y="372"/>
                      <a:pt x="44" y="372"/>
                    </a:cubicBezTo>
                    <a:cubicBezTo>
                      <a:pt x="37" y="372"/>
                      <a:pt x="35" y="378"/>
                      <a:pt x="33" y="389"/>
                    </a:cubicBezTo>
                    <a:cubicBezTo>
                      <a:pt x="31" y="400"/>
                      <a:pt x="37" y="406"/>
                      <a:pt x="37" y="406"/>
                    </a:cubicBezTo>
                    <a:cubicBezTo>
                      <a:pt x="70" y="427"/>
                      <a:pt x="70" y="427"/>
                      <a:pt x="70" y="427"/>
                    </a:cubicBezTo>
                    <a:cubicBezTo>
                      <a:pt x="80" y="427"/>
                      <a:pt x="80" y="427"/>
                      <a:pt x="80" y="427"/>
                    </a:cubicBezTo>
                    <a:cubicBezTo>
                      <a:pt x="93" y="454"/>
                      <a:pt x="93" y="454"/>
                      <a:pt x="93" y="454"/>
                    </a:cubicBezTo>
                    <a:cubicBezTo>
                      <a:pt x="103" y="454"/>
                      <a:pt x="103" y="454"/>
                      <a:pt x="103" y="454"/>
                    </a:cubicBezTo>
                    <a:cubicBezTo>
                      <a:pt x="103" y="454"/>
                      <a:pt x="104" y="457"/>
                      <a:pt x="114" y="462"/>
                    </a:cubicBezTo>
                    <a:cubicBezTo>
                      <a:pt x="124" y="467"/>
                      <a:pt x="147" y="539"/>
                      <a:pt x="147" y="539"/>
                    </a:cubicBezTo>
                    <a:cubicBezTo>
                      <a:pt x="145" y="553"/>
                      <a:pt x="145" y="553"/>
                      <a:pt x="145" y="553"/>
                    </a:cubicBezTo>
                    <a:cubicBezTo>
                      <a:pt x="152" y="564"/>
                      <a:pt x="152" y="564"/>
                      <a:pt x="152" y="564"/>
                    </a:cubicBezTo>
                    <a:cubicBezTo>
                      <a:pt x="148" y="576"/>
                      <a:pt x="148" y="576"/>
                      <a:pt x="148" y="576"/>
                    </a:cubicBezTo>
                    <a:cubicBezTo>
                      <a:pt x="148" y="576"/>
                      <a:pt x="149" y="578"/>
                      <a:pt x="151" y="581"/>
                    </a:cubicBezTo>
                    <a:cubicBezTo>
                      <a:pt x="165" y="580"/>
                      <a:pt x="165" y="580"/>
                      <a:pt x="165" y="580"/>
                    </a:cubicBezTo>
                    <a:cubicBezTo>
                      <a:pt x="171" y="593"/>
                      <a:pt x="171" y="593"/>
                      <a:pt x="171" y="593"/>
                    </a:cubicBezTo>
                    <a:cubicBezTo>
                      <a:pt x="171" y="593"/>
                      <a:pt x="211" y="604"/>
                      <a:pt x="205" y="619"/>
                    </a:cubicBezTo>
                    <a:cubicBezTo>
                      <a:pt x="210" y="637"/>
                      <a:pt x="210" y="643"/>
                      <a:pt x="210" y="643"/>
                    </a:cubicBezTo>
                    <a:cubicBezTo>
                      <a:pt x="210" y="643"/>
                      <a:pt x="218" y="628"/>
                      <a:pt x="235" y="645"/>
                    </a:cubicBezTo>
                    <a:cubicBezTo>
                      <a:pt x="253" y="663"/>
                      <a:pt x="286" y="665"/>
                      <a:pt x="293" y="652"/>
                    </a:cubicBezTo>
                    <a:cubicBezTo>
                      <a:pt x="299" y="639"/>
                      <a:pt x="315" y="616"/>
                      <a:pt x="315" y="616"/>
                    </a:cubicBezTo>
                    <a:cubicBezTo>
                      <a:pt x="315" y="616"/>
                      <a:pt x="323" y="625"/>
                      <a:pt x="327" y="625"/>
                    </a:cubicBezTo>
                    <a:cubicBezTo>
                      <a:pt x="331" y="625"/>
                      <a:pt x="350" y="597"/>
                      <a:pt x="350" y="597"/>
                    </a:cubicBezTo>
                    <a:cubicBezTo>
                      <a:pt x="357" y="597"/>
                      <a:pt x="357" y="597"/>
                      <a:pt x="357" y="597"/>
                    </a:cubicBezTo>
                    <a:cubicBezTo>
                      <a:pt x="357" y="597"/>
                      <a:pt x="345" y="544"/>
                      <a:pt x="397" y="537"/>
                    </a:cubicBezTo>
                    <a:cubicBezTo>
                      <a:pt x="401" y="523"/>
                      <a:pt x="405" y="524"/>
                      <a:pt x="405" y="524"/>
                    </a:cubicBezTo>
                    <a:cubicBezTo>
                      <a:pt x="417" y="523"/>
                      <a:pt x="417" y="523"/>
                      <a:pt x="417" y="523"/>
                    </a:cubicBezTo>
                    <a:cubicBezTo>
                      <a:pt x="417" y="523"/>
                      <a:pt x="407" y="495"/>
                      <a:pt x="411" y="495"/>
                    </a:cubicBezTo>
                    <a:cubicBezTo>
                      <a:pt x="415" y="495"/>
                      <a:pt x="426" y="493"/>
                      <a:pt x="426" y="493"/>
                    </a:cubicBezTo>
                    <a:cubicBezTo>
                      <a:pt x="461" y="451"/>
                      <a:pt x="461" y="451"/>
                      <a:pt x="461" y="451"/>
                    </a:cubicBezTo>
                    <a:cubicBezTo>
                      <a:pt x="461" y="443"/>
                      <a:pt x="461" y="443"/>
                      <a:pt x="461" y="443"/>
                    </a:cubicBezTo>
                    <a:cubicBezTo>
                      <a:pt x="481" y="439"/>
                      <a:pt x="481" y="439"/>
                      <a:pt x="481" y="439"/>
                    </a:cubicBezTo>
                    <a:cubicBezTo>
                      <a:pt x="489" y="413"/>
                      <a:pt x="489" y="413"/>
                      <a:pt x="489" y="413"/>
                    </a:cubicBezTo>
                    <a:cubicBezTo>
                      <a:pt x="489" y="413"/>
                      <a:pt x="483" y="393"/>
                      <a:pt x="487" y="395"/>
                    </a:cubicBezTo>
                    <a:cubicBezTo>
                      <a:pt x="491" y="396"/>
                      <a:pt x="501" y="399"/>
                      <a:pt x="501" y="399"/>
                    </a:cubicBezTo>
                    <a:cubicBezTo>
                      <a:pt x="513" y="391"/>
                      <a:pt x="513" y="391"/>
                      <a:pt x="513" y="391"/>
                    </a:cubicBezTo>
                    <a:cubicBezTo>
                      <a:pt x="506" y="371"/>
                      <a:pt x="506" y="371"/>
                      <a:pt x="506" y="371"/>
                    </a:cubicBezTo>
                    <a:cubicBezTo>
                      <a:pt x="506" y="371"/>
                      <a:pt x="478" y="372"/>
                      <a:pt x="490" y="332"/>
                    </a:cubicBezTo>
                    <a:cubicBezTo>
                      <a:pt x="482" y="311"/>
                      <a:pt x="482" y="311"/>
                      <a:pt x="482" y="311"/>
                    </a:cubicBezTo>
                    <a:cubicBezTo>
                      <a:pt x="494" y="301"/>
                      <a:pt x="494" y="301"/>
                      <a:pt x="494" y="301"/>
                    </a:cubicBezTo>
                    <a:cubicBezTo>
                      <a:pt x="510" y="285"/>
                      <a:pt x="510" y="285"/>
                      <a:pt x="510" y="285"/>
                    </a:cubicBezTo>
                    <a:cubicBezTo>
                      <a:pt x="529" y="287"/>
                      <a:pt x="529" y="287"/>
                      <a:pt x="529" y="287"/>
                    </a:cubicBezTo>
                    <a:cubicBezTo>
                      <a:pt x="541" y="261"/>
                      <a:pt x="541" y="261"/>
                      <a:pt x="541" y="261"/>
                    </a:cubicBezTo>
                    <a:cubicBezTo>
                      <a:pt x="555" y="263"/>
                      <a:pt x="555" y="263"/>
                      <a:pt x="555" y="263"/>
                    </a:cubicBezTo>
                    <a:cubicBezTo>
                      <a:pt x="573" y="256"/>
                      <a:pt x="573" y="256"/>
                      <a:pt x="573" y="256"/>
                    </a:cubicBezTo>
                    <a:cubicBezTo>
                      <a:pt x="570" y="252"/>
                      <a:pt x="570" y="252"/>
                      <a:pt x="570" y="252"/>
                    </a:cubicBezTo>
                    <a:lnTo>
                      <a:pt x="574" y="241"/>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04" name="Limousin" descr="© INSCALE GmbH, 05.05.2010&#10;http://www.presentationload.com/">
                <a:extLst>
                  <a:ext uri="{FF2B5EF4-FFF2-40B4-BE49-F238E27FC236}">
                    <a16:creationId xmlns:a16="http://schemas.microsoft.com/office/drawing/2014/main" id="{4FA2DC5F-8B28-45E5-99F2-EB35462EE5EB}"/>
                  </a:ext>
                </a:extLst>
              </p:cNvPr>
              <p:cNvSpPr>
                <a:spLocks/>
              </p:cNvSpPr>
              <p:nvPr/>
            </p:nvSpPr>
            <p:spPr bwMode="gray">
              <a:xfrm>
                <a:off x="1360" y="1756"/>
                <a:ext cx="473" cy="536"/>
              </a:xfrm>
              <a:custGeom>
                <a:avLst/>
                <a:gdLst/>
                <a:ahLst/>
                <a:cxnLst>
                  <a:cxn ang="0">
                    <a:pos x="50" y="266"/>
                  </a:cxn>
                  <a:cxn ang="0">
                    <a:pos x="97" y="293"/>
                  </a:cxn>
                  <a:cxn ang="0">
                    <a:pos x="110" y="314"/>
                  </a:cxn>
                  <a:cxn ang="0">
                    <a:pos x="135" y="337"/>
                  </a:cxn>
                  <a:cxn ang="0">
                    <a:pos x="133" y="369"/>
                  </a:cxn>
                  <a:cxn ang="0">
                    <a:pos x="141" y="386"/>
                  </a:cxn>
                  <a:cxn ang="0">
                    <a:pos x="142" y="404"/>
                  </a:cxn>
                  <a:cxn ang="0">
                    <a:pos x="169" y="426"/>
                  </a:cxn>
                  <a:cxn ang="0">
                    <a:pos x="175" y="461"/>
                  </a:cxn>
                  <a:cxn ang="0">
                    <a:pos x="258" y="493"/>
                  </a:cxn>
                  <a:cxn ang="0">
                    <a:pos x="286" y="481"/>
                  </a:cxn>
                  <a:cxn ang="0">
                    <a:pos x="319" y="474"/>
                  </a:cxn>
                  <a:cxn ang="0">
                    <a:pos x="343" y="440"/>
                  </a:cxn>
                  <a:cxn ang="0">
                    <a:pos x="350" y="412"/>
                  </a:cxn>
                  <a:cxn ang="0">
                    <a:pos x="363" y="374"/>
                  </a:cxn>
                  <a:cxn ang="0">
                    <a:pos x="385" y="365"/>
                  </a:cxn>
                  <a:cxn ang="0">
                    <a:pos x="402" y="348"/>
                  </a:cxn>
                  <a:cxn ang="0">
                    <a:pos x="410" y="330"/>
                  </a:cxn>
                  <a:cxn ang="0">
                    <a:pos x="419" y="265"/>
                  </a:cxn>
                  <a:cxn ang="0">
                    <a:pos x="403" y="193"/>
                  </a:cxn>
                  <a:cxn ang="0">
                    <a:pos x="438" y="161"/>
                  </a:cxn>
                  <a:cxn ang="0">
                    <a:pos x="430" y="105"/>
                  </a:cxn>
                  <a:cxn ang="0">
                    <a:pos x="397" y="54"/>
                  </a:cxn>
                  <a:cxn ang="0">
                    <a:pos x="375" y="28"/>
                  </a:cxn>
                  <a:cxn ang="0">
                    <a:pos x="365" y="11"/>
                  </a:cxn>
                  <a:cxn ang="0">
                    <a:pos x="318" y="13"/>
                  </a:cxn>
                  <a:cxn ang="0">
                    <a:pos x="250" y="4"/>
                  </a:cxn>
                  <a:cxn ang="0">
                    <a:pos x="235" y="16"/>
                  </a:cxn>
                  <a:cxn ang="0">
                    <a:pos x="219" y="13"/>
                  </a:cxn>
                  <a:cxn ang="0">
                    <a:pos x="201" y="12"/>
                  </a:cxn>
                  <a:cxn ang="0">
                    <a:pos x="169" y="21"/>
                  </a:cxn>
                  <a:cxn ang="0">
                    <a:pos x="151" y="28"/>
                  </a:cxn>
                  <a:cxn ang="0">
                    <a:pos x="129" y="25"/>
                  </a:cxn>
                  <a:cxn ang="0">
                    <a:pos x="97" y="30"/>
                  </a:cxn>
                  <a:cxn ang="0">
                    <a:pos x="66" y="54"/>
                  </a:cxn>
                  <a:cxn ang="0">
                    <a:pos x="38" y="80"/>
                  </a:cxn>
                  <a:cxn ang="0">
                    <a:pos x="62" y="140"/>
                  </a:cxn>
                  <a:cxn ang="0">
                    <a:pos x="57" y="168"/>
                  </a:cxn>
                  <a:cxn ang="0">
                    <a:pos x="45" y="182"/>
                  </a:cxn>
                  <a:cxn ang="0">
                    <a:pos x="17" y="212"/>
                  </a:cxn>
                  <a:cxn ang="0">
                    <a:pos x="0" y="240"/>
                  </a:cxn>
                  <a:cxn ang="0">
                    <a:pos x="31" y="277"/>
                  </a:cxn>
                </a:cxnLst>
                <a:rect l="0" t="0" r="r" b="b"/>
                <a:pathLst>
                  <a:path w="439" h="497">
                    <a:moveTo>
                      <a:pt x="31" y="277"/>
                    </a:moveTo>
                    <a:cubicBezTo>
                      <a:pt x="38" y="281"/>
                      <a:pt x="50" y="266"/>
                      <a:pt x="50" y="266"/>
                    </a:cubicBezTo>
                    <a:cubicBezTo>
                      <a:pt x="85" y="270"/>
                      <a:pt x="85" y="270"/>
                      <a:pt x="85" y="270"/>
                    </a:cubicBezTo>
                    <a:cubicBezTo>
                      <a:pt x="85" y="270"/>
                      <a:pt x="90" y="293"/>
                      <a:pt x="97" y="293"/>
                    </a:cubicBezTo>
                    <a:cubicBezTo>
                      <a:pt x="103" y="293"/>
                      <a:pt x="115" y="294"/>
                      <a:pt x="115" y="294"/>
                    </a:cubicBezTo>
                    <a:cubicBezTo>
                      <a:pt x="110" y="314"/>
                      <a:pt x="110" y="314"/>
                      <a:pt x="110" y="314"/>
                    </a:cubicBezTo>
                    <a:cubicBezTo>
                      <a:pt x="142" y="336"/>
                      <a:pt x="142" y="336"/>
                      <a:pt x="142" y="336"/>
                    </a:cubicBezTo>
                    <a:cubicBezTo>
                      <a:pt x="135" y="337"/>
                      <a:pt x="135" y="337"/>
                      <a:pt x="135" y="337"/>
                    </a:cubicBezTo>
                    <a:cubicBezTo>
                      <a:pt x="135" y="337"/>
                      <a:pt x="149" y="341"/>
                      <a:pt x="149" y="348"/>
                    </a:cubicBezTo>
                    <a:cubicBezTo>
                      <a:pt x="149" y="354"/>
                      <a:pt x="133" y="369"/>
                      <a:pt x="133" y="369"/>
                    </a:cubicBezTo>
                    <a:cubicBezTo>
                      <a:pt x="133" y="380"/>
                      <a:pt x="133" y="380"/>
                      <a:pt x="133" y="380"/>
                    </a:cubicBezTo>
                    <a:cubicBezTo>
                      <a:pt x="141" y="386"/>
                      <a:pt x="141" y="386"/>
                      <a:pt x="141" y="386"/>
                    </a:cubicBezTo>
                    <a:cubicBezTo>
                      <a:pt x="134" y="402"/>
                      <a:pt x="134" y="402"/>
                      <a:pt x="134" y="402"/>
                    </a:cubicBezTo>
                    <a:cubicBezTo>
                      <a:pt x="142" y="404"/>
                      <a:pt x="142" y="404"/>
                      <a:pt x="142" y="404"/>
                    </a:cubicBezTo>
                    <a:cubicBezTo>
                      <a:pt x="138" y="414"/>
                      <a:pt x="138" y="414"/>
                      <a:pt x="138" y="414"/>
                    </a:cubicBezTo>
                    <a:cubicBezTo>
                      <a:pt x="169" y="426"/>
                      <a:pt x="169" y="426"/>
                      <a:pt x="169" y="426"/>
                    </a:cubicBezTo>
                    <a:cubicBezTo>
                      <a:pt x="163" y="436"/>
                      <a:pt x="163" y="436"/>
                      <a:pt x="163" y="436"/>
                    </a:cubicBezTo>
                    <a:cubicBezTo>
                      <a:pt x="175" y="461"/>
                      <a:pt x="175" y="461"/>
                      <a:pt x="175" y="461"/>
                    </a:cubicBezTo>
                    <a:cubicBezTo>
                      <a:pt x="186" y="454"/>
                      <a:pt x="218" y="458"/>
                      <a:pt x="218" y="458"/>
                    </a:cubicBezTo>
                    <a:cubicBezTo>
                      <a:pt x="218" y="458"/>
                      <a:pt x="247" y="489"/>
                      <a:pt x="258" y="493"/>
                    </a:cubicBezTo>
                    <a:cubicBezTo>
                      <a:pt x="269" y="497"/>
                      <a:pt x="283" y="474"/>
                      <a:pt x="283" y="474"/>
                    </a:cubicBezTo>
                    <a:cubicBezTo>
                      <a:pt x="286" y="481"/>
                      <a:pt x="286" y="481"/>
                      <a:pt x="286" y="481"/>
                    </a:cubicBezTo>
                    <a:cubicBezTo>
                      <a:pt x="298" y="476"/>
                      <a:pt x="298" y="476"/>
                      <a:pt x="298" y="476"/>
                    </a:cubicBezTo>
                    <a:cubicBezTo>
                      <a:pt x="319" y="474"/>
                      <a:pt x="319" y="474"/>
                      <a:pt x="319" y="474"/>
                    </a:cubicBezTo>
                    <a:cubicBezTo>
                      <a:pt x="319" y="474"/>
                      <a:pt x="323" y="468"/>
                      <a:pt x="331" y="466"/>
                    </a:cubicBezTo>
                    <a:cubicBezTo>
                      <a:pt x="319" y="444"/>
                      <a:pt x="343" y="440"/>
                      <a:pt x="343" y="440"/>
                    </a:cubicBezTo>
                    <a:cubicBezTo>
                      <a:pt x="342" y="421"/>
                      <a:pt x="342" y="421"/>
                      <a:pt x="342" y="421"/>
                    </a:cubicBezTo>
                    <a:cubicBezTo>
                      <a:pt x="350" y="412"/>
                      <a:pt x="350" y="412"/>
                      <a:pt x="350" y="412"/>
                    </a:cubicBezTo>
                    <a:cubicBezTo>
                      <a:pt x="346" y="401"/>
                      <a:pt x="346" y="401"/>
                      <a:pt x="346" y="401"/>
                    </a:cubicBezTo>
                    <a:cubicBezTo>
                      <a:pt x="363" y="374"/>
                      <a:pt x="363" y="374"/>
                      <a:pt x="363" y="374"/>
                    </a:cubicBezTo>
                    <a:cubicBezTo>
                      <a:pt x="371" y="366"/>
                      <a:pt x="371" y="366"/>
                      <a:pt x="371" y="366"/>
                    </a:cubicBezTo>
                    <a:cubicBezTo>
                      <a:pt x="385" y="365"/>
                      <a:pt x="385" y="365"/>
                      <a:pt x="385" y="365"/>
                    </a:cubicBezTo>
                    <a:cubicBezTo>
                      <a:pt x="385" y="365"/>
                      <a:pt x="378" y="336"/>
                      <a:pt x="385" y="334"/>
                    </a:cubicBezTo>
                    <a:cubicBezTo>
                      <a:pt x="391" y="333"/>
                      <a:pt x="402" y="348"/>
                      <a:pt x="402" y="348"/>
                    </a:cubicBezTo>
                    <a:cubicBezTo>
                      <a:pt x="421" y="342"/>
                      <a:pt x="421" y="342"/>
                      <a:pt x="421" y="342"/>
                    </a:cubicBezTo>
                    <a:cubicBezTo>
                      <a:pt x="410" y="330"/>
                      <a:pt x="410" y="330"/>
                      <a:pt x="410" y="330"/>
                    </a:cubicBezTo>
                    <a:cubicBezTo>
                      <a:pt x="410" y="330"/>
                      <a:pt x="415" y="325"/>
                      <a:pt x="418" y="293"/>
                    </a:cubicBezTo>
                    <a:cubicBezTo>
                      <a:pt x="399" y="269"/>
                      <a:pt x="419" y="265"/>
                      <a:pt x="419" y="265"/>
                    </a:cubicBezTo>
                    <a:cubicBezTo>
                      <a:pt x="419" y="265"/>
                      <a:pt x="426" y="258"/>
                      <a:pt x="403" y="226"/>
                    </a:cubicBezTo>
                    <a:cubicBezTo>
                      <a:pt x="381" y="194"/>
                      <a:pt x="403" y="193"/>
                      <a:pt x="403" y="193"/>
                    </a:cubicBezTo>
                    <a:cubicBezTo>
                      <a:pt x="403" y="193"/>
                      <a:pt x="414" y="208"/>
                      <a:pt x="419" y="185"/>
                    </a:cubicBezTo>
                    <a:cubicBezTo>
                      <a:pt x="425" y="162"/>
                      <a:pt x="438" y="161"/>
                      <a:pt x="438" y="161"/>
                    </a:cubicBezTo>
                    <a:cubicBezTo>
                      <a:pt x="438" y="161"/>
                      <a:pt x="437" y="145"/>
                      <a:pt x="439" y="141"/>
                    </a:cubicBezTo>
                    <a:cubicBezTo>
                      <a:pt x="410" y="118"/>
                      <a:pt x="430" y="105"/>
                      <a:pt x="430" y="105"/>
                    </a:cubicBezTo>
                    <a:cubicBezTo>
                      <a:pt x="411" y="56"/>
                      <a:pt x="411" y="56"/>
                      <a:pt x="411" y="56"/>
                    </a:cubicBezTo>
                    <a:cubicBezTo>
                      <a:pt x="397" y="54"/>
                      <a:pt x="397" y="54"/>
                      <a:pt x="397" y="54"/>
                    </a:cubicBezTo>
                    <a:cubicBezTo>
                      <a:pt x="397" y="54"/>
                      <a:pt x="395" y="45"/>
                      <a:pt x="393" y="44"/>
                    </a:cubicBezTo>
                    <a:cubicBezTo>
                      <a:pt x="354" y="56"/>
                      <a:pt x="375" y="28"/>
                      <a:pt x="375" y="28"/>
                    </a:cubicBezTo>
                    <a:cubicBezTo>
                      <a:pt x="369" y="28"/>
                      <a:pt x="369" y="28"/>
                      <a:pt x="369" y="28"/>
                    </a:cubicBezTo>
                    <a:cubicBezTo>
                      <a:pt x="365" y="11"/>
                      <a:pt x="365" y="11"/>
                      <a:pt x="365" y="11"/>
                    </a:cubicBezTo>
                    <a:cubicBezTo>
                      <a:pt x="365" y="11"/>
                      <a:pt x="365" y="12"/>
                      <a:pt x="365" y="12"/>
                    </a:cubicBezTo>
                    <a:cubicBezTo>
                      <a:pt x="365" y="12"/>
                      <a:pt x="323" y="22"/>
                      <a:pt x="318" y="13"/>
                    </a:cubicBezTo>
                    <a:cubicBezTo>
                      <a:pt x="293" y="0"/>
                      <a:pt x="298" y="9"/>
                      <a:pt x="286" y="12"/>
                    </a:cubicBezTo>
                    <a:cubicBezTo>
                      <a:pt x="274" y="14"/>
                      <a:pt x="250" y="4"/>
                      <a:pt x="250" y="4"/>
                    </a:cubicBezTo>
                    <a:cubicBezTo>
                      <a:pt x="245" y="22"/>
                      <a:pt x="245" y="22"/>
                      <a:pt x="245" y="22"/>
                    </a:cubicBezTo>
                    <a:cubicBezTo>
                      <a:pt x="235" y="16"/>
                      <a:pt x="235" y="16"/>
                      <a:pt x="235" y="16"/>
                    </a:cubicBezTo>
                    <a:cubicBezTo>
                      <a:pt x="222" y="21"/>
                      <a:pt x="222" y="21"/>
                      <a:pt x="222" y="21"/>
                    </a:cubicBezTo>
                    <a:cubicBezTo>
                      <a:pt x="219" y="13"/>
                      <a:pt x="219" y="13"/>
                      <a:pt x="219" y="13"/>
                    </a:cubicBezTo>
                    <a:cubicBezTo>
                      <a:pt x="202" y="24"/>
                      <a:pt x="202" y="24"/>
                      <a:pt x="202" y="24"/>
                    </a:cubicBezTo>
                    <a:cubicBezTo>
                      <a:pt x="201" y="12"/>
                      <a:pt x="201" y="12"/>
                      <a:pt x="201" y="12"/>
                    </a:cubicBezTo>
                    <a:cubicBezTo>
                      <a:pt x="174" y="32"/>
                      <a:pt x="174" y="32"/>
                      <a:pt x="174" y="32"/>
                    </a:cubicBezTo>
                    <a:cubicBezTo>
                      <a:pt x="169" y="21"/>
                      <a:pt x="169" y="21"/>
                      <a:pt x="169" y="21"/>
                    </a:cubicBezTo>
                    <a:cubicBezTo>
                      <a:pt x="151" y="21"/>
                      <a:pt x="151" y="21"/>
                      <a:pt x="151" y="21"/>
                    </a:cubicBezTo>
                    <a:cubicBezTo>
                      <a:pt x="151" y="28"/>
                      <a:pt x="151" y="28"/>
                      <a:pt x="151" y="28"/>
                    </a:cubicBezTo>
                    <a:cubicBezTo>
                      <a:pt x="133" y="30"/>
                      <a:pt x="133" y="30"/>
                      <a:pt x="133" y="30"/>
                    </a:cubicBezTo>
                    <a:cubicBezTo>
                      <a:pt x="129" y="25"/>
                      <a:pt x="129" y="25"/>
                      <a:pt x="129" y="25"/>
                    </a:cubicBezTo>
                    <a:cubicBezTo>
                      <a:pt x="111" y="32"/>
                      <a:pt x="111" y="32"/>
                      <a:pt x="111" y="32"/>
                    </a:cubicBezTo>
                    <a:cubicBezTo>
                      <a:pt x="97" y="30"/>
                      <a:pt x="97" y="30"/>
                      <a:pt x="97" y="30"/>
                    </a:cubicBezTo>
                    <a:cubicBezTo>
                      <a:pt x="85" y="56"/>
                      <a:pt x="85" y="56"/>
                      <a:pt x="85" y="56"/>
                    </a:cubicBezTo>
                    <a:cubicBezTo>
                      <a:pt x="66" y="54"/>
                      <a:pt x="66" y="54"/>
                      <a:pt x="66" y="54"/>
                    </a:cubicBezTo>
                    <a:cubicBezTo>
                      <a:pt x="50" y="70"/>
                      <a:pt x="50" y="70"/>
                      <a:pt x="50" y="70"/>
                    </a:cubicBezTo>
                    <a:cubicBezTo>
                      <a:pt x="38" y="80"/>
                      <a:pt x="38" y="80"/>
                      <a:pt x="38" y="80"/>
                    </a:cubicBezTo>
                    <a:cubicBezTo>
                      <a:pt x="46" y="101"/>
                      <a:pt x="46" y="101"/>
                      <a:pt x="46" y="101"/>
                    </a:cubicBezTo>
                    <a:cubicBezTo>
                      <a:pt x="34" y="141"/>
                      <a:pt x="62" y="140"/>
                      <a:pt x="62" y="140"/>
                    </a:cubicBezTo>
                    <a:cubicBezTo>
                      <a:pt x="69" y="160"/>
                      <a:pt x="69" y="160"/>
                      <a:pt x="69" y="160"/>
                    </a:cubicBezTo>
                    <a:cubicBezTo>
                      <a:pt x="57" y="168"/>
                      <a:pt x="57" y="168"/>
                      <a:pt x="57" y="168"/>
                    </a:cubicBezTo>
                    <a:cubicBezTo>
                      <a:pt x="57" y="168"/>
                      <a:pt x="47" y="165"/>
                      <a:pt x="43" y="164"/>
                    </a:cubicBezTo>
                    <a:cubicBezTo>
                      <a:pt x="39" y="162"/>
                      <a:pt x="45" y="182"/>
                      <a:pt x="45" y="182"/>
                    </a:cubicBezTo>
                    <a:cubicBezTo>
                      <a:pt x="37" y="208"/>
                      <a:pt x="37" y="208"/>
                      <a:pt x="37" y="208"/>
                    </a:cubicBezTo>
                    <a:cubicBezTo>
                      <a:pt x="17" y="212"/>
                      <a:pt x="17" y="212"/>
                      <a:pt x="17" y="212"/>
                    </a:cubicBezTo>
                    <a:cubicBezTo>
                      <a:pt x="17" y="220"/>
                      <a:pt x="17" y="220"/>
                      <a:pt x="17" y="220"/>
                    </a:cubicBezTo>
                    <a:cubicBezTo>
                      <a:pt x="0" y="240"/>
                      <a:pt x="0" y="240"/>
                      <a:pt x="0" y="240"/>
                    </a:cubicBezTo>
                    <a:cubicBezTo>
                      <a:pt x="18" y="243"/>
                      <a:pt x="31" y="249"/>
                      <a:pt x="31" y="249"/>
                    </a:cubicBezTo>
                    <a:cubicBezTo>
                      <a:pt x="31" y="249"/>
                      <a:pt x="25" y="273"/>
                      <a:pt x="31" y="2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05" name="Auvergne" descr="© INSCALE GmbH, 05.05.2010&#10;http://www.presentationload.com/">
                <a:extLst>
                  <a:ext uri="{FF2B5EF4-FFF2-40B4-BE49-F238E27FC236}">
                    <a16:creationId xmlns:a16="http://schemas.microsoft.com/office/drawing/2014/main" id="{9BD5E988-15D3-4B08-876C-E8948F7A9579}"/>
                  </a:ext>
                </a:extLst>
              </p:cNvPr>
              <p:cNvSpPr>
                <a:spLocks/>
              </p:cNvSpPr>
              <p:nvPr/>
            </p:nvSpPr>
            <p:spPr bwMode="gray">
              <a:xfrm>
                <a:off x="1704" y="1640"/>
                <a:ext cx="593" cy="753"/>
              </a:xfrm>
              <a:custGeom>
                <a:avLst/>
                <a:gdLst/>
                <a:ahLst/>
                <a:cxnLst>
                  <a:cxn ang="0">
                    <a:pos x="15" y="669"/>
                  </a:cxn>
                  <a:cxn ang="0">
                    <a:pos x="31" y="697"/>
                  </a:cxn>
                  <a:cxn ang="0">
                    <a:pos x="60" y="689"/>
                  </a:cxn>
                  <a:cxn ang="0">
                    <a:pos x="111" y="665"/>
                  </a:cxn>
                  <a:cxn ang="0">
                    <a:pos x="122" y="617"/>
                  </a:cxn>
                  <a:cxn ang="0">
                    <a:pos x="186" y="636"/>
                  </a:cxn>
                  <a:cxn ang="0">
                    <a:pos x="218" y="663"/>
                  </a:cxn>
                  <a:cxn ang="0">
                    <a:pos x="231" y="607"/>
                  </a:cxn>
                  <a:cxn ang="0">
                    <a:pos x="266" y="611"/>
                  </a:cxn>
                  <a:cxn ang="0">
                    <a:pos x="266" y="603"/>
                  </a:cxn>
                  <a:cxn ang="0">
                    <a:pos x="318" y="635"/>
                  </a:cxn>
                  <a:cxn ang="0">
                    <a:pos x="378" y="629"/>
                  </a:cxn>
                  <a:cxn ang="0">
                    <a:pos x="424" y="628"/>
                  </a:cxn>
                  <a:cxn ang="0">
                    <a:pos x="472" y="612"/>
                  </a:cxn>
                  <a:cxn ang="0">
                    <a:pos x="504" y="560"/>
                  </a:cxn>
                  <a:cxn ang="0">
                    <a:pos x="522" y="535"/>
                  </a:cxn>
                  <a:cxn ang="0">
                    <a:pos x="536" y="517"/>
                  </a:cxn>
                  <a:cxn ang="0">
                    <a:pos x="507" y="467"/>
                  </a:cxn>
                  <a:cxn ang="0">
                    <a:pos x="450" y="463"/>
                  </a:cxn>
                  <a:cxn ang="0">
                    <a:pos x="430" y="449"/>
                  </a:cxn>
                  <a:cxn ang="0">
                    <a:pos x="408" y="445"/>
                  </a:cxn>
                  <a:cxn ang="0">
                    <a:pos x="364" y="320"/>
                  </a:cxn>
                  <a:cxn ang="0">
                    <a:pos x="362" y="273"/>
                  </a:cxn>
                  <a:cxn ang="0">
                    <a:pos x="386" y="217"/>
                  </a:cxn>
                  <a:cxn ang="0">
                    <a:pos x="378" y="176"/>
                  </a:cxn>
                  <a:cxn ang="0">
                    <a:pos x="411" y="159"/>
                  </a:cxn>
                  <a:cxn ang="0">
                    <a:pos x="424" y="101"/>
                  </a:cxn>
                  <a:cxn ang="0">
                    <a:pos x="370" y="81"/>
                  </a:cxn>
                  <a:cxn ang="0">
                    <a:pos x="327" y="32"/>
                  </a:cxn>
                  <a:cxn ang="0">
                    <a:pos x="306" y="31"/>
                  </a:cxn>
                  <a:cxn ang="0">
                    <a:pos x="263" y="25"/>
                  </a:cxn>
                  <a:cxn ang="0">
                    <a:pos x="171" y="23"/>
                  </a:cxn>
                  <a:cxn ang="0">
                    <a:pos x="115" y="49"/>
                  </a:cxn>
                  <a:cxn ang="0">
                    <a:pos x="46" y="118"/>
                  </a:cxn>
                  <a:cxn ang="0">
                    <a:pos x="74" y="151"/>
                  </a:cxn>
                  <a:cxn ang="0">
                    <a:pos x="111" y="212"/>
                  </a:cxn>
                  <a:cxn ang="0">
                    <a:pos x="100" y="292"/>
                  </a:cxn>
                  <a:cxn ang="0">
                    <a:pos x="100" y="372"/>
                  </a:cxn>
                  <a:cxn ang="0">
                    <a:pos x="102" y="449"/>
                  </a:cxn>
                  <a:cxn ang="0">
                    <a:pos x="66" y="472"/>
                  </a:cxn>
                  <a:cxn ang="0">
                    <a:pos x="27" y="508"/>
                  </a:cxn>
                  <a:cxn ang="0">
                    <a:pos x="24" y="547"/>
                  </a:cxn>
                  <a:cxn ang="0">
                    <a:pos x="4" y="608"/>
                  </a:cxn>
                </a:cxnLst>
                <a:rect l="0" t="0" r="r" b="b"/>
                <a:pathLst>
                  <a:path w="550" h="697">
                    <a:moveTo>
                      <a:pt x="4" y="608"/>
                    </a:moveTo>
                    <a:cubicBezTo>
                      <a:pt x="20" y="635"/>
                      <a:pt x="20" y="635"/>
                      <a:pt x="20" y="635"/>
                    </a:cubicBezTo>
                    <a:cubicBezTo>
                      <a:pt x="15" y="669"/>
                      <a:pt x="15" y="669"/>
                      <a:pt x="15" y="669"/>
                    </a:cubicBezTo>
                    <a:cubicBezTo>
                      <a:pt x="24" y="675"/>
                      <a:pt x="24" y="675"/>
                      <a:pt x="24" y="675"/>
                    </a:cubicBezTo>
                    <a:cubicBezTo>
                      <a:pt x="26" y="691"/>
                      <a:pt x="26" y="691"/>
                      <a:pt x="26" y="691"/>
                    </a:cubicBezTo>
                    <a:cubicBezTo>
                      <a:pt x="31" y="697"/>
                      <a:pt x="31" y="697"/>
                      <a:pt x="31" y="697"/>
                    </a:cubicBezTo>
                    <a:cubicBezTo>
                      <a:pt x="30" y="685"/>
                      <a:pt x="30" y="685"/>
                      <a:pt x="30" y="685"/>
                    </a:cubicBezTo>
                    <a:cubicBezTo>
                      <a:pt x="59" y="684"/>
                      <a:pt x="59" y="684"/>
                      <a:pt x="59" y="684"/>
                    </a:cubicBezTo>
                    <a:cubicBezTo>
                      <a:pt x="60" y="689"/>
                      <a:pt x="60" y="689"/>
                      <a:pt x="60" y="689"/>
                    </a:cubicBezTo>
                    <a:cubicBezTo>
                      <a:pt x="94" y="687"/>
                      <a:pt x="94" y="687"/>
                      <a:pt x="94" y="687"/>
                    </a:cubicBezTo>
                    <a:cubicBezTo>
                      <a:pt x="98" y="675"/>
                      <a:pt x="98" y="675"/>
                      <a:pt x="98" y="675"/>
                    </a:cubicBezTo>
                    <a:cubicBezTo>
                      <a:pt x="111" y="665"/>
                      <a:pt x="111" y="665"/>
                      <a:pt x="111" y="665"/>
                    </a:cubicBezTo>
                    <a:cubicBezTo>
                      <a:pt x="112" y="645"/>
                      <a:pt x="112" y="645"/>
                      <a:pt x="112" y="645"/>
                    </a:cubicBezTo>
                    <a:cubicBezTo>
                      <a:pt x="120" y="639"/>
                      <a:pt x="120" y="639"/>
                      <a:pt x="120" y="639"/>
                    </a:cubicBezTo>
                    <a:cubicBezTo>
                      <a:pt x="122" y="617"/>
                      <a:pt x="122" y="617"/>
                      <a:pt x="122" y="617"/>
                    </a:cubicBezTo>
                    <a:cubicBezTo>
                      <a:pt x="122" y="617"/>
                      <a:pt x="122" y="624"/>
                      <a:pt x="131" y="616"/>
                    </a:cubicBezTo>
                    <a:cubicBezTo>
                      <a:pt x="157" y="579"/>
                      <a:pt x="163" y="607"/>
                      <a:pt x="161" y="614"/>
                    </a:cubicBezTo>
                    <a:cubicBezTo>
                      <a:pt x="172" y="606"/>
                      <a:pt x="186" y="636"/>
                      <a:pt x="186" y="636"/>
                    </a:cubicBezTo>
                    <a:cubicBezTo>
                      <a:pt x="195" y="647"/>
                      <a:pt x="195" y="647"/>
                      <a:pt x="195" y="647"/>
                    </a:cubicBezTo>
                    <a:cubicBezTo>
                      <a:pt x="204" y="687"/>
                      <a:pt x="204" y="687"/>
                      <a:pt x="204" y="687"/>
                    </a:cubicBezTo>
                    <a:cubicBezTo>
                      <a:pt x="218" y="663"/>
                      <a:pt x="218" y="663"/>
                      <a:pt x="218" y="663"/>
                    </a:cubicBezTo>
                    <a:cubicBezTo>
                      <a:pt x="224" y="636"/>
                      <a:pt x="224" y="636"/>
                      <a:pt x="224" y="636"/>
                    </a:cubicBezTo>
                    <a:cubicBezTo>
                      <a:pt x="232" y="627"/>
                      <a:pt x="232" y="627"/>
                      <a:pt x="232" y="627"/>
                    </a:cubicBezTo>
                    <a:cubicBezTo>
                      <a:pt x="231" y="607"/>
                      <a:pt x="231" y="607"/>
                      <a:pt x="231" y="607"/>
                    </a:cubicBezTo>
                    <a:cubicBezTo>
                      <a:pt x="240" y="603"/>
                      <a:pt x="240" y="603"/>
                      <a:pt x="240" y="603"/>
                    </a:cubicBezTo>
                    <a:cubicBezTo>
                      <a:pt x="248" y="616"/>
                      <a:pt x="248" y="616"/>
                      <a:pt x="248" y="616"/>
                    </a:cubicBezTo>
                    <a:cubicBezTo>
                      <a:pt x="266" y="611"/>
                      <a:pt x="266" y="611"/>
                      <a:pt x="266" y="611"/>
                    </a:cubicBezTo>
                    <a:cubicBezTo>
                      <a:pt x="266" y="603"/>
                      <a:pt x="266" y="603"/>
                      <a:pt x="266" y="603"/>
                    </a:cubicBezTo>
                    <a:cubicBezTo>
                      <a:pt x="263" y="603"/>
                      <a:pt x="267" y="593"/>
                      <a:pt x="267" y="593"/>
                    </a:cubicBezTo>
                    <a:cubicBezTo>
                      <a:pt x="266" y="603"/>
                      <a:pt x="266" y="603"/>
                      <a:pt x="266" y="603"/>
                    </a:cubicBezTo>
                    <a:cubicBezTo>
                      <a:pt x="267" y="603"/>
                      <a:pt x="269" y="602"/>
                      <a:pt x="271" y="600"/>
                    </a:cubicBezTo>
                    <a:cubicBezTo>
                      <a:pt x="282" y="591"/>
                      <a:pt x="300" y="584"/>
                      <a:pt x="300" y="584"/>
                    </a:cubicBezTo>
                    <a:cubicBezTo>
                      <a:pt x="318" y="635"/>
                      <a:pt x="318" y="635"/>
                      <a:pt x="318" y="635"/>
                    </a:cubicBezTo>
                    <a:cubicBezTo>
                      <a:pt x="318" y="635"/>
                      <a:pt x="318" y="635"/>
                      <a:pt x="342" y="627"/>
                    </a:cubicBezTo>
                    <a:cubicBezTo>
                      <a:pt x="346" y="600"/>
                      <a:pt x="356" y="624"/>
                      <a:pt x="356" y="624"/>
                    </a:cubicBezTo>
                    <a:cubicBezTo>
                      <a:pt x="378" y="629"/>
                      <a:pt x="378" y="629"/>
                      <a:pt x="378" y="629"/>
                    </a:cubicBezTo>
                    <a:cubicBezTo>
                      <a:pt x="399" y="655"/>
                      <a:pt x="399" y="655"/>
                      <a:pt x="399" y="655"/>
                    </a:cubicBezTo>
                    <a:cubicBezTo>
                      <a:pt x="424" y="644"/>
                      <a:pt x="424" y="644"/>
                      <a:pt x="424" y="644"/>
                    </a:cubicBezTo>
                    <a:cubicBezTo>
                      <a:pt x="424" y="628"/>
                      <a:pt x="424" y="628"/>
                      <a:pt x="424" y="628"/>
                    </a:cubicBezTo>
                    <a:cubicBezTo>
                      <a:pt x="443" y="619"/>
                      <a:pt x="443" y="619"/>
                      <a:pt x="443" y="619"/>
                    </a:cubicBezTo>
                    <a:cubicBezTo>
                      <a:pt x="444" y="613"/>
                      <a:pt x="444" y="613"/>
                      <a:pt x="444" y="613"/>
                    </a:cubicBezTo>
                    <a:cubicBezTo>
                      <a:pt x="472" y="612"/>
                      <a:pt x="472" y="612"/>
                      <a:pt x="472" y="612"/>
                    </a:cubicBezTo>
                    <a:cubicBezTo>
                      <a:pt x="484" y="584"/>
                      <a:pt x="484" y="584"/>
                      <a:pt x="484" y="584"/>
                    </a:cubicBezTo>
                    <a:cubicBezTo>
                      <a:pt x="504" y="580"/>
                      <a:pt x="504" y="580"/>
                      <a:pt x="504" y="580"/>
                    </a:cubicBezTo>
                    <a:cubicBezTo>
                      <a:pt x="504" y="560"/>
                      <a:pt x="504" y="560"/>
                      <a:pt x="504" y="560"/>
                    </a:cubicBezTo>
                    <a:cubicBezTo>
                      <a:pt x="519" y="560"/>
                      <a:pt x="519" y="560"/>
                      <a:pt x="519" y="560"/>
                    </a:cubicBezTo>
                    <a:cubicBezTo>
                      <a:pt x="519" y="560"/>
                      <a:pt x="512" y="548"/>
                      <a:pt x="512" y="544"/>
                    </a:cubicBezTo>
                    <a:cubicBezTo>
                      <a:pt x="512" y="540"/>
                      <a:pt x="522" y="535"/>
                      <a:pt x="522" y="535"/>
                    </a:cubicBezTo>
                    <a:cubicBezTo>
                      <a:pt x="519" y="523"/>
                      <a:pt x="519" y="523"/>
                      <a:pt x="519" y="523"/>
                    </a:cubicBezTo>
                    <a:cubicBezTo>
                      <a:pt x="533" y="534"/>
                      <a:pt x="533" y="534"/>
                      <a:pt x="533" y="534"/>
                    </a:cubicBezTo>
                    <a:cubicBezTo>
                      <a:pt x="532" y="533"/>
                      <a:pt x="532" y="529"/>
                      <a:pt x="536" y="517"/>
                    </a:cubicBezTo>
                    <a:cubicBezTo>
                      <a:pt x="550" y="468"/>
                      <a:pt x="519" y="489"/>
                      <a:pt x="519" y="489"/>
                    </a:cubicBezTo>
                    <a:cubicBezTo>
                      <a:pt x="512" y="471"/>
                      <a:pt x="512" y="471"/>
                      <a:pt x="512" y="471"/>
                    </a:cubicBezTo>
                    <a:cubicBezTo>
                      <a:pt x="507" y="467"/>
                      <a:pt x="507" y="467"/>
                      <a:pt x="507" y="467"/>
                    </a:cubicBezTo>
                    <a:cubicBezTo>
                      <a:pt x="520" y="456"/>
                      <a:pt x="495" y="459"/>
                      <a:pt x="488" y="449"/>
                    </a:cubicBezTo>
                    <a:cubicBezTo>
                      <a:pt x="482" y="440"/>
                      <a:pt x="452" y="455"/>
                      <a:pt x="452" y="455"/>
                    </a:cubicBezTo>
                    <a:cubicBezTo>
                      <a:pt x="450" y="463"/>
                      <a:pt x="450" y="463"/>
                      <a:pt x="450" y="463"/>
                    </a:cubicBezTo>
                    <a:cubicBezTo>
                      <a:pt x="444" y="456"/>
                      <a:pt x="444" y="456"/>
                      <a:pt x="444" y="456"/>
                    </a:cubicBezTo>
                    <a:cubicBezTo>
                      <a:pt x="434" y="461"/>
                      <a:pt x="434" y="461"/>
                      <a:pt x="434" y="461"/>
                    </a:cubicBezTo>
                    <a:cubicBezTo>
                      <a:pt x="430" y="449"/>
                      <a:pt x="430" y="449"/>
                      <a:pt x="430" y="449"/>
                    </a:cubicBezTo>
                    <a:cubicBezTo>
                      <a:pt x="418" y="449"/>
                      <a:pt x="418" y="449"/>
                      <a:pt x="418" y="449"/>
                    </a:cubicBezTo>
                    <a:cubicBezTo>
                      <a:pt x="412" y="468"/>
                      <a:pt x="412" y="468"/>
                      <a:pt x="412" y="468"/>
                    </a:cubicBezTo>
                    <a:cubicBezTo>
                      <a:pt x="408" y="445"/>
                      <a:pt x="408" y="445"/>
                      <a:pt x="408" y="445"/>
                    </a:cubicBezTo>
                    <a:cubicBezTo>
                      <a:pt x="408" y="445"/>
                      <a:pt x="422" y="439"/>
                      <a:pt x="424" y="432"/>
                    </a:cubicBezTo>
                    <a:cubicBezTo>
                      <a:pt x="436" y="412"/>
                      <a:pt x="396" y="376"/>
                      <a:pt x="391" y="376"/>
                    </a:cubicBezTo>
                    <a:cubicBezTo>
                      <a:pt x="387" y="356"/>
                      <a:pt x="364" y="320"/>
                      <a:pt x="364" y="320"/>
                    </a:cubicBezTo>
                    <a:cubicBezTo>
                      <a:pt x="366" y="292"/>
                      <a:pt x="366" y="292"/>
                      <a:pt x="366" y="292"/>
                    </a:cubicBezTo>
                    <a:cubicBezTo>
                      <a:pt x="374" y="289"/>
                      <a:pt x="374" y="289"/>
                      <a:pt x="374" y="289"/>
                    </a:cubicBezTo>
                    <a:cubicBezTo>
                      <a:pt x="362" y="273"/>
                      <a:pt x="362" y="273"/>
                      <a:pt x="362" y="273"/>
                    </a:cubicBezTo>
                    <a:cubicBezTo>
                      <a:pt x="362" y="261"/>
                      <a:pt x="362" y="261"/>
                      <a:pt x="362" y="261"/>
                    </a:cubicBezTo>
                    <a:cubicBezTo>
                      <a:pt x="387" y="252"/>
                      <a:pt x="387" y="252"/>
                      <a:pt x="387" y="252"/>
                    </a:cubicBezTo>
                    <a:cubicBezTo>
                      <a:pt x="386" y="217"/>
                      <a:pt x="386" y="217"/>
                      <a:pt x="386" y="217"/>
                    </a:cubicBezTo>
                    <a:cubicBezTo>
                      <a:pt x="379" y="204"/>
                      <a:pt x="379" y="204"/>
                      <a:pt x="379" y="204"/>
                    </a:cubicBezTo>
                    <a:cubicBezTo>
                      <a:pt x="383" y="189"/>
                      <a:pt x="383" y="189"/>
                      <a:pt x="383" y="189"/>
                    </a:cubicBezTo>
                    <a:cubicBezTo>
                      <a:pt x="378" y="176"/>
                      <a:pt x="378" y="176"/>
                      <a:pt x="378" y="176"/>
                    </a:cubicBezTo>
                    <a:cubicBezTo>
                      <a:pt x="403" y="165"/>
                      <a:pt x="403" y="165"/>
                      <a:pt x="403" y="165"/>
                    </a:cubicBezTo>
                    <a:cubicBezTo>
                      <a:pt x="403" y="156"/>
                      <a:pt x="403" y="156"/>
                      <a:pt x="403" y="156"/>
                    </a:cubicBezTo>
                    <a:cubicBezTo>
                      <a:pt x="411" y="159"/>
                      <a:pt x="411" y="159"/>
                      <a:pt x="411" y="159"/>
                    </a:cubicBezTo>
                    <a:cubicBezTo>
                      <a:pt x="416" y="145"/>
                      <a:pt x="416" y="145"/>
                      <a:pt x="416" y="145"/>
                    </a:cubicBezTo>
                    <a:cubicBezTo>
                      <a:pt x="423" y="145"/>
                      <a:pt x="423" y="145"/>
                      <a:pt x="423" y="145"/>
                    </a:cubicBezTo>
                    <a:cubicBezTo>
                      <a:pt x="423" y="145"/>
                      <a:pt x="423" y="116"/>
                      <a:pt x="424" y="101"/>
                    </a:cubicBezTo>
                    <a:cubicBezTo>
                      <a:pt x="426" y="87"/>
                      <a:pt x="398" y="97"/>
                      <a:pt x="398" y="97"/>
                    </a:cubicBezTo>
                    <a:cubicBezTo>
                      <a:pt x="387" y="84"/>
                      <a:pt x="387" y="84"/>
                      <a:pt x="387" y="84"/>
                    </a:cubicBezTo>
                    <a:cubicBezTo>
                      <a:pt x="370" y="81"/>
                      <a:pt x="370" y="81"/>
                      <a:pt x="370" y="81"/>
                    </a:cubicBezTo>
                    <a:cubicBezTo>
                      <a:pt x="366" y="63"/>
                      <a:pt x="366" y="63"/>
                      <a:pt x="366" y="63"/>
                    </a:cubicBezTo>
                    <a:cubicBezTo>
                      <a:pt x="366" y="63"/>
                      <a:pt x="336" y="12"/>
                      <a:pt x="332" y="8"/>
                    </a:cubicBezTo>
                    <a:cubicBezTo>
                      <a:pt x="328" y="4"/>
                      <a:pt x="327" y="32"/>
                      <a:pt x="327" y="32"/>
                    </a:cubicBezTo>
                    <a:cubicBezTo>
                      <a:pt x="318" y="31"/>
                      <a:pt x="318" y="31"/>
                      <a:pt x="318" y="31"/>
                    </a:cubicBezTo>
                    <a:cubicBezTo>
                      <a:pt x="306" y="45"/>
                      <a:pt x="306" y="45"/>
                      <a:pt x="306" y="45"/>
                    </a:cubicBezTo>
                    <a:cubicBezTo>
                      <a:pt x="306" y="31"/>
                      <a:pt x="306" y="31"/>
                      <a:pt x="306" y="31"/>
                    </a:cubicBezTo>
                    <a:cubicBezTo>
                      <a:pt x="294" y="24"/>
                      <a:pt x="294" y="24"/>
                      <a:pt x="294" y="24"/>
                    </a:cubicBezTo>
                    <a:cubicBezTo>
                      <a:pt x="294" y="24"/>
                      <a:pt x="283" y="32"/>
                      <a:pt x="279" y="32"/>
                    </a:cubicBezTo>
                    <a:cubicBezTo>
                      <a:pt x="275" y="32"/>
                      <a:pt x="267" y="25"/>
                      <a:pt x="263" y="25"/>
                    </a:cubicBezTo>
                    <a:cubicBezTo>
                      <a:pt x="259" y="25"/>
                      <a:pt x="254" y="36"/>
                      <a:pt x="244" y="35"/>
                    </a:cubicBezTo>
                    <a:cubicBezTo>
                      <a:pt x="236" y="34"/>
                      <a:pt x="220" y="9"/>
                      <a:pt x="213" y="1"/>
                    </a:cubicBezTo>
                    <a:cubicBezTo>
                      <a:pt x="188" y="0"/>
                      <a:pt x="178" y="8"/>
                      <a:pt x="171" y="23"/>
                    </a:cubicBezTo>
                    <a:cubicBezTo>
                      <a:pt x="163" y="39"/>
                      <a:pt x="148" y="17"/>
                      <a:pt x="144" y="17"/>
                    </a:cubicBezTo>
                    <a:cubicBezTo>
                      <a:pt x="140" y="17"/>
                      <a:pt x="122" y="36"/>
                      <a:pt x="122" y="36"/>
                    </a:cubicBezTo>
                    <a:cubicBezTo>
                      <a:pt x="122" y="36"/>
                      <a:pt x="122" y="44"/>
                      <a:pt x="115" y="49"/>
                    </a:cubicBezTo>
                    <a:cubicBezTo>
                      <a:pt x="108" y="55"/>
                      <a:pt x="118" y="77"/>
                      <a:pt x="118" y="77"/>
                    </a:cubicBezTo>
                    <a:cubicBezTo>
                      <a:pt x="118" y="77"/>
                      <a:pt x="118" y="77"/>
                      <a:pt x="102" y="88"/>
                    </a:cubicBezTo>
                    <a:cubicBezTo>
                      <a:pt x="72" y="77"/>
                      <a:pt x="50" y="111"/>
                      <a:pt x="46" y="118"/>
                    </a:cubicBezTo>
                    <a:cubicBezTo>
                      <a:pt x="50" y="135"/>
                      <a:pt x="50" y="135"/>
                      <a:pt x="50" y="135"/>
                    </a:cubicBezTo>
                    <a:cubicBezTo>
                      <a:pt x="56" y="135"/>
                      <a:pt x="56" y="135"/>
                      <a:pt x="56" y="135"/>
                    </a:cubicBezTo>
                    <a:cubicBezTo>
                      <a:pt x="56" y="135"/>
                      <a:pt x="35" y="163"/>
                      <a:pt x="74" y="151"/>
                    </a:cubicBezTo>
                    <a:cubicBezTo>
                      <a:pt x="76" y="152"/>
                      <a:pt x="78" y="161"/>
                      <a:pt x="78" y="161"/>
                    </a:cubicBezTo>
                    <a:cubicBezTo>
                      <a:pt x="92" y="163"/>
                      <a:pt x="92" y="163"/>
                      <a:pt x="92" y="163"/>
                    </a:cubicBezTo>
                    <a:cubicBezTo>
                      <a:pt x="111" y="212"/>
                      <a:pt x="111" y="212"/>
                      <a:pt x="111" y="212"/>
                    </a:cubicBezTo>
                    <a:cubicBezTo>
                      <a:pt x="111" y="212"/>
                      <a:pt x="91" y="225"/>
                      <a:pt x="120" y="248"/>
                    </a:cubicBezTo>
                    <a:cubicBezTo>
                      <a:pt x="118" y="252"/>
                      <a:pt x="119" y="268"/>
                      <a:pt x="119" y="268"/>
                    </a:cubicBezTo>
                    <a:cubicBezTo>
                      <a:pt x="119" y="268"/>
                      <a:pt x="106" y="269"/>
                      <a:pt x="100" y="292"/>
                    </a:cubicBezTo>
                    <a:cubicBezTo>
                      <a:pt x="95" y="315"/>
                      <a:pt x="84" y="300"/>
                      <a:pt x="84" y="300"/>
                    </a:cubicBezTo>
                    <a:cubicBezTo>
                      <a:pt x="84" y="300"/>
                      <a:pt x="62" y="301"/>
                      <a:pt x="84" y="333"/>
                    </a:cubicBezTo>
                    <a:cubicBezTo>
                      <a:pt x="107" y="365"/>
                      <a:pt x="100" y="372"/>
                      <a:pt x="100" y="372"/>
                    </a:cubicBezTo>
                    <a:cubicBezTo>
                      <a:pt x="100" y="372"/>
                      <a:pt x="80" y="376"/>
                      <a:pt x="99" y="400"/>
                    </a:cubicBezTo>
                    <a:cubicBezTo>
                      <a:pt x="96" y="432"/>
                      <a:pt x="91" y="437"/>
                      <a:pt x="91" y="437"/>
                    </a:cubicBezTo>
                    <a:cubicBezTo>
                      <a:pt x="102" y="449"/>
                      <a:pt x="102" y="449"/>
                      <a:pt x="102" y="449"/>
                    </a:cubicBezTo>
                    <a:cubicBezTo>
                      <a:pt x="83" y="455"/>
                      <a:pt x="83" y="455"/>
                      <a:pt x="83" y="455"/>
                    </a:cubicBezTo>
                    <a:cubicBezTo>
                      <a:pt x="83" y="455"/>
                      <a:pt x="72" y="440"/>
                      <a:pt x="66" y="441"/>
                    </a:cubicBezTo>
                    <a:cubicBezTo>
                      <a:pt x="59" y="443"/>
                      <a:pt x="66" y="472"/>
                      <a:pt x="66" y="472"/>
                    </a:cubicBezTo>
                    <a:cubicBezTo>
                      <a:pt x="52" y="473"/>
                      <a:pt x="52" y="473"/>
                      <a:pt x="52" y="473"/>
                    </a:cubicBezTo>
                    <a:cubicBezTo>
                      <a:pt x="44" y="481"/>
                      <a:pt x="44" y="481"/>
                      <a:pt x="44" y="481"/>
                    </a:cubicBezTo>
                    <a:cubicBezTo>
                      <a:pt x="27" y="508"/>
                      <a:pt x="27" y="508"/>
                      <a:pt x="27" y="508"/>
                    </a:cubicBezTo>
                    <a:cubicBezTo>
                      <a:pt x="31" y="519"/>
                      <a:pt x="31" y="519"/>
                      <a:pt x="31" y="519"/>
                    </a:cubicBezTo>
                    <a:cubicBezTo>
                      <a:pt x="23" y="528"/>
                      <a:pt x="23" y="528"/>
                      <a:pt x="23" y="528"/>
                    </a:cubicBezTo>
                    <a:cubicBezTo>
                      <a:pt x="24" y="547"/>
                      <a:pt x="24" y="547"/>
                      <a:pt x="24" y="547"/>
                    </a:cubicBezTo>
                    <a:cubicBezTo>
                      <a:pt x="24" y="547"/>
                      <a:pt x="0" y="551"/>
                      <a:pt x="12" y="573"/>
                    </a:cubicBezTo>
                    <a:cubicBezTo>
                      <a:pt x="8" y="574"/>
                      <a:pt x="5" y="576"/>
                      <a:pt x="3" y="578"/>
                    </a:cubicBezTo>
                    <a:cubicBezTo>
                      <a:pt x="6" y="591"/>
                      <a:pt x="4" y="608"/>
                      <a:pt x="4" y="608"/>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06" name="Provence" descr="© INSCALE GmbH, 05.05.2010&#10;http://www.presentationload.com/">
                <a:extLst>
                  <a:ext uri="{FF2B5EF4-FFF2-40B4-BE49-F238E27FC236}">
                    <a16:creationId xmlns:a16="http://schemas.microsoft.com/office/drawing/2014/main" id="{9A4171FE-BD58-4F57-89AE-DD2732B8B4B6}"/>
                  </a:ext>
                </a:extLst>
              </p:cNvPr>
              <p:cNvSpPr>
                <a:spLocks/>
              </p:cNvSpPr>
              <p:nvPr/>
            </p:nvSpPr>
            <p:spPr bwMode="gray">
              <a:xfrm>
                <a:off x="2233" y="2198"/>
                <a:ext cx="838" cy="739"/>
              </a:xfrm>
              <a:custGeom>
                <a:avLst/>
                <a:gdLst/>
                <a:ahLst/>
                <a:cxnLst>
                  <a:cxn ang="0">
                    <a:pos x="68" y="539"/>
                  </a:cxn>
                  <a:cxn ang="0">
                    <a:pos x="78" y="572"/>
                  </a:cxn>
                  <a:cxn ang="0">
                    <a:pos x="129" y="586"/>
                  </a:cxn>
                  <a:cxn ang="0">
                    <a:pos x="134" y="565"/>
                  </a:cxn>
                  <a:cxn ang="0">
                    <a:pos x="161" y="554"/>
                  </a:cxn>
                  <a:cxn ang="0">
                    <a:pos x="214" y="585"/>
                  </a:cxn>
                  <a:cxn ang="0">
                    <a:pos x="251" y="596"/>
                  </a:cxn>
                  <a:cxn ang="0">
                    <a:pos x="255" y="612"/>
                  </a:cxn>
                  <a:cxn ang="0">
                    <a:pos x="295" y="632"/>
                  </a:cxn>
                  <a:cxn ang="0">
                    <a:pos x="332" y="649"/>
                  </a:cxn>
                  <a:cxn ang="0">
                    <a:pos x="364" y="684"/>
                  </a:cxn>
                  <a:cxn ang="0">
                    <a:pos x="407" y="679"/>
                  </a:cxn>
                  <a:cxn ang="0">
                    <a:pos x="426" y="679"/>
                  </a:cxn>
                  <a:cxn ang="0">
                    <a:pos x="465" y="665"/>
                  </a:cxn>
                  <a:cxn ang="0">
                    <a:pos x="526" y="641"/>
                  </a:cxn>
                  <a:cxn ang="0">
                    <a:pos x="549" y="634"/>
                  </a:cxn>
                  <a:cxn ang="0">
                    <a:pos x="532" y="604"/>
                  </a:cxn>
                  <a:cxn ang="0">
                    <a:pos x="569" y="558"/>
                  </a:cxn>
                  <a:cxn ang="0">
                    <a:pos x="631" y="523"/>
                  </a:cxn>
                  <a:cxn ang="0">
                    <a:pos x="667" y="477"/>
                  </a:cxn>
                  <a:cxn ang="0">
                    <a:pos x="691" y="466"/>
                  </a:cxn>
                  <a:cxn ang="0">
                    <a:pos x="715" y="460"/>
                  </a:cxn>
                  <a:cxn ang="0">
                    <a:pos x="723" y="445"/>
                  </a:cxn>
                  <a:cxn ang="0">
                    <a:pos x="727" y="410"/>
                  </a:cxn>
                  <a:cxn ang="0">
                    <a:pos x="749" y="384"/>
                  </a:cxn>
                  <a:cxn ang="0">
                    <a:pos x="764" y="325"/>
                  </a:cxn>
                  <a:cxn ang="0">
                    <a:pos x="758" y="308"/>
                  </a:cxn>
                  <a:cxn ang="0">
                    <a:pos x="725" y="323"/>
                  </a:cxn>
                  <a:cxn ang="0">
                    <a:pos x="630" y="285"/>
                  </a:cxn>
                  <a:cxn ang="0">
                    <a:pos x="612" y="282"/>
                  </a:cxn>
                  <a:cxn ang="0">
                    <a:pos x="589" y="238"/>
                  </a:cxn>
                  <a:cxn ang="0">
                    <a:pos x="579" y="182"/>
                  </a:cxn>
                  <a:cxn ang="0">
                    <a:pos x="609" y="133"/>
                  </a:cxn>
                  <a:cxn ang="0">
                    <a:pos x="614" y="82"/>
                  </a:cxn>
                  <a:cxn ang="0">
                    <a:pos x="548" y="49"/>
                  </a:cxn>
                  <a:cxn ang="0">
                    <a:pos x="534" y="16"/>
                  </a:cxn>
                  <a:cxn ang="0">
                    <a:pos x="528" y="2"/>
                  </a:cxn>
                  <a:cxn ang="0">
                    <a:pos x="501" y="14"/>
                  </a:cxn>
                  <a:cxn ang="0">
                    <a:pos x="476" y="0"/>
                  </a:cxn>
                  <a:cxn ang="0">
                    <a:pos x="449" y="11"/>
                  </a:cxn>
                  <a:cxn ang="0">
                    <a:pos x="468" y="40"/>
                  </a:cxn>
                  <a:cxn ang="0">
                    <a:pos x="413" y="94"/>
                  </a:cxn>
                  <a:cxn ang="0">
                    <a:pos x="361" y="116"/>
                  </a:cxn>
                  <a:cxn ang="0">
                    <a:pos x="321" y="162"/>
                  </a:cxn>
                  <a:cxn ang="0">
                    <a:pos x="325" y="198"/>
                  </a:cxn>
                  <a:cxn ang="0">
                    <a:pos x="281" y="206"/>
                  </a:cxn>
                  <a:cxn ang="0">
                    <a:pos x="286" y="230"/>
                  </a:cxn>
                  <a:cxn ang="0">
                    <a:pos x="286" y="256"/>
                  </a:cxn>
                  <a:cxn ang="0">
                    <a:pos x="334" y="278"/>
                  </a:cxn>
                  <a:cxn ang="0">
                    <a:pos x="322" y="311"/>
                  </a:cxn>
                  <a:cxn ang="0">
                    <a:pos x="288" y="326"/>
                  </a:cxn>
                  <a:cxn ang="0">
                    <a:pos x="265" y="314"/>
                  </a:cxn>
                  <a:cxn ang="0">
                    <a:pos x="237" y="295"/>
                  </a:cxn>
                  <a:cxn ang="0">
                    <a:pos x="213" y="294"/>
                  </a:cxn>
                  <a:cxn ang="0">
                    <a:pos x="201" y="276"/>
                  </a:cxn>
                  <a:cxn ang="0">
                    <a:pos x="136" y="296"/>
                  </a:cxn>
                  <a:cxn ang="0">
                    <a:pos x="100" y="283"/>
                  </a:cxn>
                  <a:cxn ang="0">
                    <a:pos x="104" y="303"/>
                  </a:cxn>
                  <a:cxn ang="0">
                    <a:pos x="114" y="343"/>
                  </a:cxn>
                  <a:cxn ang="0">
                    <a:pos x="145" y="371"/>
                  </a:cxn>
                  <a:cxn ang="0">
                    <a:pos x="94" y="472"/>
                  </a:cxn>
                  <a:cxn ang="0">
                    <a:pos x="54" y="490"/>
                  </a:cxn>
                  <a:cxn ang="0">
                    <a:pos x="0" y="540"/>
                  </a:cxn>
                </a:cxnLst>
                <a:rect l="0" t="0" r="r" b="b"/>
                <a:pathLst>
                  <a:path w="778" h="684">
                    <a:moveTo>
                      <a:pt x="2" y="541"/>
                    </a:moveTo>
                    <a:cubicBezTo>
                      <a:pt x="3" y="544"/>
                      <a:pt x="54" y="539"/>
                      <a:pt x="68" y="539"/>
                    </a:cubicBezTo>
                    <a:cubicBezTo>
                      <a:pt x="82" y="539"/>
                      <a:pt x="80" y="555"/>
                      <a:pt x="80" y="555"/>
                    </a:cubicBezTo>
                    <a:cubicBezTo>
                      <a:pt x="57" y="564"/>
                      <a:pt x="80" y="563"/>
                      <a:pt x="78" y="572"/>
                    </a:cubicBezTo>
                    <a:cubicBezTo>
                      <a:pt x="76" y="581"/>
                      <a:pt x="119" y="577"/>
                      <a:pt x="119" y="577"/>
                    </a:cubicBezTo>
                    <a:cubicBezTo>
                      <a:pt x="119" y="577"/>
                      <a:pt x="127" y="583"/>
                      <a:pt x="129" y="586"/>
                    </a:cubicBezTo>
                    <a:cubicBezTo>
                      <a:pt x="131" y="589"/>
                      <a:pt x="138" y="577"/>
                      <a:pt x="144" y="575"/>
                    </a:cubicBezTo>
                    <a:cubicBezTo>
                      <a:pt x="150" y="573"/>
                      <a:pt x="138" y="576"/>
                      <a:pt x="134" y="565"/>
                    </a:cubicBezTo>
                    <a:cubicBezTo>
                      <a:pt x="130" y="554"/>
                      <a:pt x="139" y="558"/>
                      <a:pt x="139" y="554"/>
                    </a:cubicBezTo>
                    <a:cubicBezTo>
                      <a:pt x="139" y="550"/>
                      <a:pt x="151" y="554"/>
                      <a:pt x="161" y="554"/>
                    </a:cubicBezTo>
                    <a:cubicBezTo>
                      <a:pt x="171" y="554"/>
                      <a:pt x="177" y="583"/>
                      <a:pt x="177" y="583"/>
                    </a:cubicBezTo>
                    <a:cubicBezTo>
                      <a:pt x="214" y="585"/>
                      <a:pt x="214" y="585"/>
                      <a:pt x="214" y="585"/>
                    </a:cubicBezTo>
                    <a:cubicBezTo>
                      <a:pt x="214" y="585"/>
                      <a:pt x="233" y="578"/>
                      <a:pt x="240" y="569"/>
                    </a:cubicBezTo>
                    <a:cubicBezTo>
                      <a:pt x="247" y="560"/>
                      <a:pt x="251" y="596"/>
                      <a:pt x="251" y="596"/>
                    </a:cubicBezTo>
                    <a:cubicBezTo>
                      <a:pt x="251" y="596"/>
                      <a:pt x="248" y="600"/>
                      <a:pt x="245" y="600"/>
                    </a:cubicBezTo>
                    <a:cubicBezTo>
                      <a:pt x="242" y="600"/>
                      <a:pt x="252" y="608"/>
                      <a:pt x="255" y="612"/>
                    </a:cubicBezTo>
                    <a:cubicBezTo>
                      <a:pt x="258" y="616"/>
                      <a:pt x="248" y="623"/>
                      <a:pt x="248" y="623"/>
                    </a:cubicBezTo>
                    <a:cubicBezTo>
                      <a:pt x="248" y="623"/>
                      <a:pt x="291" y="631"/>
                      <a:pt x="295" y="632"/>
                    </a:cubicBezTo>
                    <a:cubicBezTo>
                      <a:pt x="305" y="651"/>
                      <a:pt x="316" y="636"/>
                      <a:pt x="322" y="637"/>
                    </a:cubicBezTo>
                    <a:cubicBezTo>
                      <a:pt x="328" y="638"/>
                      <a:pt x="320" y="648"/>
                      <a:pt x="332" y="649"/>
                    </a:cubicBezTo>
                    <a:cubicBezTo>
                      <a:pt x="344" y="650"/>
                      <a:pt x="354" y="671"/>
                      <a:pt x="348" y="676"/>
                    </a:cubicBezTo>
                    <a:cubicBezTo>
                      <a:pt x="342" y="681"/>
                      <a:pt x="356" y="680"/>
                      <a:pt x="364" y="684"/>
                    </a:cubicBezTo>
                    <a:cubicBezTo>
                      <a:pt x="372" y="671"/>
                      <a:pt x="393" y="669"/>
                      <a:pt x="399" y="666"/>
                    </a:cubicBezTo>
                    <a:cubicBezTo>
                      <a:pt x="405" y="663"/>
                      <a:pt x="404" y="681"/>
                      <a:pt x="407" y="679"/>
                    </a:cubicBezTo>
                    <a:cubicBezTo>
                      <a:pt x="410" y="677"/>
                      <a:pt x="418" y="669"/>
                      <a:pt x="424" y="674"/>
                    </a:cubicBezTo>
                    <a:cubicBezTo>
                      <a:pt x="426" y="676"/>
                      <a:pt x="426" y="678"/>
                      <a:pt x="426" y="679"/>
                    </a:cubicBezTo>
                    <a:cubicBezTo>
                      <a:pt x="427" y="679"/>
                      <a:pt x="437" y="672"/>
                      <a:pt x="443" y="663"/>
                    </a:cubicBezTo>
                    <a:cubicBezTo>
                      <a:pt x="449" y="654"/>
                      <a:pt x="443" y="663"/>
                      <a:pt x="465" y="665"/>
                    </a:cubicBezTo>
                    <a:cubicBezTo>
                      <a:pt x="472" y="679"/>
                      <a:pt x="481" y="671"/>
                      <a:pt x="481" y="671"/>
                    </a:cubicBezTo>
                    <a:cubicBezTo>
                      <a:pt x="469" y="660"/>
                      <a:pt x="520" y="642"/>
                      <a:pt x="526" y="641"/>
                    </a:cubicBezTo>
                    <a:cubicBezTo>
                      <a:pt x="532" y="640"/>
                      <a:pt x="538" y="646"/>
                      <a:pt x="538" y="646"/>
                    </a:cubicBezTo>
                    <a:cubicBezTo>
                      <a:pt x="538" y="646"/>
                      <a:pt x="547" y="639"/>
                      <a:pt x="549" y="634"/>
                    </a:cubicBezTo>
                    <a:cubicBezTo>
                      <a:pt x="551" y="629"/>
                      <a:pt x="551" y="618"/>
                      <a:pt x="548" y="610"/>
                    </a:cubicBezTo>
                    <a:cubicBezTo>
                      <a:pt x="518" y="622"/>
                      <a:pt x="535" y="604"/>
                      <a:pt x="532" y="604"/>
                    </a:cubicBezTo>
                    <a:cubicBezTo>
                      <a:pt x="529" y="604"/>
                      <a:pt x="552" y="584"/>
                      <a:pt x="560" y="578"/>
                    </a:cubicBezTo>
                    <a:cubicBezTo>
                      <a:pt x="559" y="561"/>
                      <a:pt x="569" y="558"/>
                      <a:pt x="569" y="558"/>
                    </a:cubicBezTo>
                    <a:cubicBezTo>
                      <a:pt x="581" y="586"/>
                      <a:pt x="609" y="532"/>
                      <a:pt x="609" y="532"/>
                    </a:cubicBezTo>
                    <a:cubicBezTo>
                      <a:pt x="603" y="509"/>
                      <a:pt x="629" y="516"/>
                      <a:pt x="631" y="523"/>
                    </a:cubicBezTo>
                    <a:cubicBezTo>
                      <a:pt x="630" y="511"/>
                      <a:pt x="644" y="515"/>
                      <a:pt x="648" y="508"/>
                    </a:cubicBezTo>
                    <a:cubicBezTo>
                      <a:pt x="647" y="480"/>
                      <a:pt x="667" y="477"/>
                      <a:pt x="667" y="477"/>
                    </a:cubicBezTo>
                    <a:cubicBezTo>
                      <a:pt x="675" y="465"/>
                      <a:pt x="675" y="465"/>
                      <a:pt x="675" y="465"/>
                    </a:cubicBezTo>
                    <a:cubicBezTo>
                      <a:pt x="691" y="466"/>
                      <a:pt x="691" y="466"/>
                      <a:pt x="691" y="466"/>
                    </a:cubicBezTo>
                    <a:cubicBezTo>
                      <a:pt x="696" y="456"/>
                      <a:pt x="696" y="456"/>
                      <a:pt x="696" y="456"/>
                    </a:cubicBezTo>
                    <a:cubicBezTo>
                      <a:pt x="715" y="460"/>
                      <a:pt x="715" y="460"/>
                      <a:pt x="715" y="460"/>
                    </a:cubicBezTo>
                    <a:cubicBezTo>
                      <a:pt x="713" y="442"/>
                      <a:pt x="713" y="442"/>
                      <a:pt x="713" y="442"/>
                    </a:cubicBezTo>
                    <a:cubicBezTo>
                      <a:pt x="723" y="445"/>
                      <a:pt x="723" y="445"/>
                      <a:pt x="723" y="445"/>
                    </a:cubicBezTo>
                    <a:cubicBezTo>
                      <a:pt x="736" y="435"/>
                      <a:pt x="736" y="435"/>
                      <a:pt x="736" y="435"/>
                    </a:cubicBezTo>
                    <a:cubicBezTo>
                      <a:pt x="727" y="410"/>
                      <a:pt x="727" y="410"/>
                      <a:pt x="727" y="410"/>
                    </a:cubicBezTo>
                    <a:cubicBezTo>
                      <a:pt x="746" y="398"/>
                      <a:pt x="746" y="398"/>
                      <a:pt x="746" y="398"/>
                    </a:cubicBezTo>
                    <a:cubicBezTo>
                      <a:pt x="749" y="384"/>
                      <a:pt x="749" y="384"/>
                      <a:pt x="749" y="384"/>
                    </a:cubicBezTo>
                    <a:cubicBezTo>
                      <a:pt x="763" y="390"/>
                      <a:pt x="778" y="338"/>
                      <a:pt x="778" y="338"/>
                    </a:cubicBezTo>
                    <a:cubicBezTo>
                      <a:pt x="764" y="325"/>
                      <a:pt x="764" y="325"/>
                      <a:pt x="764" y="325"/>
                    </a:cubicBezTo>
                    <a:cubicBezTo>
                      <a:pt x="768" y="311"/>
                      <a:pt x="768" y="311"/>
                      <a:pt x="768" y="311"/>
                    </a:cubicBezTo>
                    <a:cubicBezTo>
                      <a:pt x="758" y="308"/>
                      <a:pt x="758" y="308"/>
                      <a:pt x="758" y="308"/>
                    </a:cubicBezTo>
                    <a:cubicBezTo>
                      <a:pt x="751" y="316"/>
                      <a:pt x="751" y="316"/>
                      <a:pt x="751" y="316"/>
                    </a:cubicBezTo>
                    <a:cubicBezTo>
                      <a:pt x="751" y="316"/>
                      <a:pt x="730" y="316"/>
                      <a:pt x="725" y="323"/>
                    </a:cubicBezTo>
                    <a:cubicBezTo>
                      <a:pt x="717" y="339"/>
                      <a:pt x="690" y="316"/>
                      <a:pt x="690" y="316"/>
                    </a:cubicBezTo>
                    <a:cubicBezTo>
                      <a:pt x="630" y="285"/>
                      <a:pt x="630" y="285"/>
                      <a:pt x="630" y="285"/>
                    </a:cubicBezTo>
                    <a:cubicBezTo>
                      <a:pt x="623" y="288"/>
                      <a:pt x="623" y="288"/>
                      <a:pt x="623" y="288"/>
                    </a:cubicBezTo>
                    <a:cubicBezTo>
                      <a:pt x="612" y="282"/>
                      <a:pt x="612" y="282"/>
                      <a:pt x="612" y="282"/>
                    </a:cubicBezTo>
                    <a:cubicBezTo>
                      <a:pt x="613" y="271"/>
                      <a:pt x="613" y="271"/>
                      <a:pt x="613" y="271"/>
                    </a:cubicBezTo>
                    <a:cubicBezTo>
                      <a:pt x="589" y="238"/>
                      <a:pt x="589" y="238"/>
                      <a:pt x="589" y="238"/>
                    </a:cubicBezTo>
                    <a:cubicBezTo>
                      <a:pt x="598" y="219"/>
                      <a:pt x="598" y="219"/>
                      <a:pt x="598" y="219"/>
                    </a:cubicBezTo>
                    <a:cubicBezTo>
                      <a:pt x="579" y="182"/>
                      <a:pt x="579" y="182"/>
                      <a:pt x="579" y="182"/>
                    </a:cubicBezTo>
                    <a:cubicBezTo>
                      <a:pt x="579" y="182"/>
                      <a:pt x="601" y="155"/>
                      <a:pt x="604" y="152"/>
                    </a:cubicBezTo>
                    <a:cubicBezTo>
                      <a:pt x="598" y="134"/>
                      <a:pt x="611" y="136"/>
                      <a:pt x="609" y="133"/>
                    </a:cubicBezTo>
                    <a:cubicBezTo>
                      <a:pt x="622" y="140"/>
                      <a:pt x="620" y="121"/>
                      <a:pt x="624" y="123"/>
                    </a:cubicBezTo>
                    <a:cubicBezTo>
                      <a:pt x="611" y="113"/>
                      <a:pt x="614" y="82"/>
                      <a:pt x="614" y="82"/>
                    </a:cubicBezTo>
                    <a:cubicBezTo>
                      <a:pt x="577" y="74"/>
                      <a:pt x="577" y="74"/>
                      <a:pt x="577" y="74"/>
                    </a:cubicBezTo>
                    <a:cubicBezTo>
                      <a:pt x="548" y="49"/>
                      <a:pt x="548" y="49"/>
                      <a:pt x="548" y="49"/>
                    </a:cubicBezTo>
                    <a:cubicBezTo>
                      <a:pt x="550" y="19"/>
                      <a:pt x="550" y="19"/>
                      <a:pt x="550" y="19"/>
                    </a:cubicBezTo>
                    <a:cubicBezTo>
                      <a:pt x="534" y="16"/>
                      <a:pt x="534" y="16"/>
                      <a:pt x="534" y="16"/>
                    </a:cubicBezTo>
                    <a:cubicBezTo>
                      <a:pt x="532" y="7"/>
                      <a:pt x="532" y="7"/>
                      <a:pt x="532" y="7"/>
                    </a:cubicBezTo>
                    <a:cubicBezTo>
                      <a:pt x="530" y="6"/>
                      <a:pt x="529" y="4"/>
                      <a:pt x="528" y="2"/>
                    </a:cubicBezTo>
                    <a:cubicBezTo>
                      <a:pt x="504" y="6"/>
                      <a:pt x="504" y="6"/>
                      <a:pt x="504" y="6"/>
                    </a:cubicBezTo>
                    <a:cubicBezTo>
                      <a:pt x="501" y="14"/>
                      <a:pt x="501" y="14"/>
                      <a:pt x="501" y="14"/>
                    </a:cubicBezTo>
                    <a:cubicBezTo>
                      <a:pt x="477" y="14"/>
                      <a:pt x="477" y="14"/>
                      <a:pt x="477" y="14"/>
                    </a:cubicBezTo>
                    <a:cubicBezTo>
                      <a:pt x="476" y="0"/>
                      <a:pt x="476" y="0"/>
                      <a:pt x="476" y="0"/>
                    </a:cubicBezTo>
                    <a:cubicBezTo>
                      <a:pt x="446" y="3"/>
                      <a:pt x="446" y="3"/>
                      <a:pt x="446" y="3"/>
                    </a:cubicBezTo>
                    <a:cubicBezTo>
                      <a:pt x="449" y="11"/>
                      <a:pt x="449" y="11"/>
                      <a:pt x="449" y="11"/>
                    </a:cubicBezTo>
                    <a:cubicBezTo>
                      <a:pt x="449" y="11"/>
                      <a:pt x="444" y="24"/>
                      <a:pt x="444" y="35"/>
                    </a:cubicBezTo>
                    <a:cubicBezTo>
                      <a:pt x="444" y="46"/>
                      <a:pt x="468" y="40"/>
                      <a:pt x="468" y="40"/>
                    </a:cubicBezTo>
                    <a:cubicBezTo>
                      <a:pt x="468" y="40"/>
                      <a:pt x="469" y="59"/>
                      <a:pt x="476" y="82"/>
                    </a:cubicBezTo>
                    <a:cubicBezTo>
                      <a:pt x="410" y="80"/>
                      <a:pt x="420" y="100"/>
                      <a:pt x="413" y="94"/>
                    </a:cubicBezTo>
                    <a:cubicBezTo>
                      <a:pt x="406" y="87"/>
                      <a:pt x="397" y="110"/>
                      <a:pt x="397" y="110"/>
                    </a:cubicBezTo>
                    <a:cubicBezTo>
                      <a:pt x="397" y="110"/>
                      <a:pt x="373" y="116"/>
                      <a:pt x="361" y="116"/>
                    </a:cubicBezTo>
                    <a:cubicBezTo>
                      <a:pt x="349" y="116"/>
                      <a:pt x="354" y="128"/>
                      <a:pt x="358" y="138"/>
                    </a:cubicBezTo>
                    <a:cubicBezTo>
                      <a:pt x="362" y="147"/>
                      <a:pt x="321" y="162"/>
                      <a:pt x="321" y="162"/>
                    </a:cubicBezTo>
                    <a:cubicBezTo>
                      <a:pt x="308" y="188"/>
                      <a:pt x="308" y="188"/>
                      <a:pt x="308" y="188"/>
                    </a:cubicBezTo>
                    <a:cubicBezTo>
                      <a:pt x="325" y="198"/>
                      <a:pt x="325" y="198"/>
                      <a:pt x="325" y="198"/>
                    </a:cubicBezTo>
                    <a:cubicBezTo>
                      <a:pt x="310" y="210"/>
                      <a:pt x="310" y="210"/>
                      <a:pt x="310" y="210"/>
                    </a:cubicBezTo>
                    <a:cubicBezTo>
                      <a:pt x="281" y="206"/>
                      <a:pt x="281" y="206"/>
                      <a:pt x="281" y="206"/>
                    </a:cubicBezTo>
                    <a:cubicBezTo>
                      <a:pt x="278" y="218"/>
                      <a:pt x="278" y="218"/>
                      <a:pt x="278" y="218"/>
                    </a:cubicBezTo>
                    <a:cubicBezTo>
                      <a:pt x="286" y="230"/>
                      <a:pt x="286" y="230"/>
                      <a:pt x="286" y="230"/>
                    </a:cubicBezTo>
                    <a:cubicBezTo>
                      <a:pt x="270" y="231"/>
                      <a:pt x="270" y="231"/>
                      <a:pt x="270" y="231"/>
                    </a:cubicBezTo>
                    <a:cubicBezTo>
                      <a:pt x="286" y="256"/>
                      <a:pt x="286" y="256"/>
                      <a:pt x="286" y="256"/>
                    </a:cubicBezTo>
                    <a:cubicBezTo>
                      <a:pt x="317" y="258"/>
                      <a:pt x="317" y="258"/>
                      <a:pt x="317" y="258"/>
                    </a:cubicBezTo>
                    <a:cubicBezTo>
                      <a:pt x="334" y="278"/>
                      <a:pt x="334" y="278"/>
                      <a:pt x="334" y="278"/>
                    </a:cubicBezTo>
                    <a:cubicBezTo>
                      <a:pt x="334" y="300"/>
                      <a:pt x="334" y="300"/>
                      <a:pt x="334" y="300"/>
                    </a:cubicBezTo>
                    <a:cubicBezTo>
                      <a:pt x="334" y="300"/>
                      <a:pt x="320" y="314"/>
                      <a:pt x="322" y="311"/>
                    </a:cubicBezTo>
                    <a:cubicBezTo>
                      <a:pt x="298" y="303"/>
                      <a:pt x="308" y="314"/>
                      <a:pt x="308" y="314"/>
                    </a:cubicBezTo>
                    <a:cubicBezTo>
                      <a:pt x="288" y="326"/>
                      <a:pt x="288" y="326"/>
                      <a:pt x="288" y="326"/>
                    </a:cubicBezTo>
                    <a:cubicBezTo>
                      <a:pt x="278" y="319"/>
                      <a:pt x="278" y="319"/>
                      <a:pt x="278" y="319"/>
                    </a:cubicBezTo>
                    <a:cubicBezTo>
                      <a:pt x="278" y="319"/>
                      <a:pt x="265" y="323"/>
                      <a:pt x="265" y="314"/>
                    </a:cubicBezTo>
                    <a:cubicBezTo>
                      <a:pt x="265" y="304"/>
                      <a:pt x="258" y="300"/>
                      <a:pt x="258" y="300"/>
                    </a:cubicBezTo>
                    <a:cubicBezTo>
                      <a:pt x="237" y="295"/>
                      <a:pt x="237" y="295"/>
                      <a:pt x="237" y="295"/>
                    </a:cubicBezTo>
                    <a:cubicBezTo>
                      <a:pt x="238" y="302"/>
                      <a:pt x="238" y="302"/>
                      <a:pt x="238" y="302"/>
                    </a:cubicBezTo>
                    <a:cubicBezTo>
                      <a:pt x="213" y="294"/>
                      <a:pt x="213" y="294"/>
                      <a:pt x="213" y="294"/>
                    </a:cubicBezTo>
                    <a:cubicBezTo>
                      <a:pt x="213" y="270"/>
                      <a:pt x="213" y="270"/>
                      <a:pt x="213" y="270"/>
                    </a:cubicBezTo>
                    <a:cubicBezTo>
                      <a:pt x="201" y="276"/>
                      <a:pt x="201" y="276"/>
                      <a:pt x="201" y="276"/>
                    </a:cubicBezTo>
                    <a:cubicBezTo>
                      <a:pt x="190" y="272"/>
                      <a:pt x="190" y="272"/>
                      <a:pt x="190" y="272"/>
                    </a:cubicBezTo>
                    <a:cubicBezTo>
                      <a:pt x="136" y="296"/>
                      <a:pt x="136" y="296"/>
                      <a:pt x="136" y="296"/>
                    </a:cubicBezTo>
                    <a:cubicBezTo>
                      <a:pt x="134" y="260"/>
                      <a:pt x="100" y="268"/>
                      <a:pt x="100" y="268"/>
                    </a:cubicBezTo>
                    <a:cubicBezTo>
                      <a:pt x="100" y="283"/>
                      <a:pt x="100" y="283"/>
                      <a:pt x="100" y="283"/>
                    </a:cubicBezTo>
                    <a:cubicBezTo>
                      <a:pt x="95" y="281"/>
                      <a:pt x="95" y="281"/>
                      <a:pt x="95" y="281"/>
                    </a:cubicBezTo>
                    <a:cubicBezTo>
                      <a:pt x="104" y="303"/>
                      <a:pt x="104" y="303"/>
                      <a:pt x="104" y="303"/>
                    </a:cubicBezTo>
                    <a:cubicBezTo>
                      <a:pt x="114" y="304"/>
                      <a:pt x="114" y="304"/>
                      <a:pt x="114" y="304"/>
                    </a:cubicBezTo>
                    <a:cubicBezTo>
                      <a:pt x="114" y="343"/>
                      <a:pt x="114" y="343"/>
                      <a:pt x="114" y="343"/>
                    </a:cubicBezTo>
                    <a:cubicBezTo>
                      <a:pt x="125" y="339"/>
                      <a:pt x="125" y="339"/>
                      <a:pt x="125" y="339"/>
                    </a:cubicBezTo>
                    <a:cubicBezTo>
                      <a:pt x="145" y="371"/>
                      <a:pt x="145" y="371"/>
                      <a:pt x="145" y="371"/>
                    </a:cubicBezTo>
                    <a:cubicBezTo>
                      <a:pt x="102" y="415"/>
                      <a:pt x="102" y="415"/>
                      <a:pt x="102" y="415"/>
                    </a:cubicBezTo>
                    <a:cubicBezTo>
                      <a:pt x="94" y="472"/>
                      <a:pt x="94" y="472"/>
                      <a:pt x="94" y="472"/>
                    </a:cubicBezTo>
                    <a:cubicBezTo>
                      <a:pt x="69" y="466"/>
                      <a:pt x="69" y="466"/>
                      <a:pt x="69" y="466"/>
                    </a:cubicBezTo>
                    <a:cubicBezTo>
                      <a:pt x="54" y="490"/>
                      <a:pt x="54" y="490"/>
                      <a:pt x="54" y="490"/>
                    </a:cubicBezTo>
                    <a:cubicBezTo>
                      <a:pt x="58" y="500"/>
                      <a:pt x="58" y="500"/>
                      <a:pt x="58" y="500"/>
                    </a:cubicBezTo>
                    <a:cubicBezTo>
                      <a:pt x="0" y="540"/>
                      <a:pt x="0" y="540"/>
                      <a:pt x="0" y="540"/>
                    </a:cubicBezTo>
                    <a:cubicBezTo>
                      <a:pt x="1" y="541"/>
                      <a:pt x="2" y="541"/>
                      <a:pt x="2" y="54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07" name="Languedoc-Roussillon" descr="© INSCALE GmbH, 05.05.2010&#10;http://www.presentationload.com/">
                <a:extLst>
                  <a:ext uri="{FF2B5EF4-FFF2-40B4-BE49-F238E27FC236}">
                    <a16:creationId xmlns:a16="http://schemas.microsoft.com/office/drawing/2014/main" id="{50A5143E-E69F-488B-AEDD-AD9B91FA6B95}"/>
                  </a:ext>
                </a:extLst>
              </p:cNvPr>
              <p:cNvSpPr>
                <a:spLocks/>
              </p:cNvSpPr>
              <p:nvPr/>
            </p:nvSpPr>
            <p:spPr bwMode="gray">
              <a:xfrm>
                <a:off x="1594" y="2270"/>
                <a:ext cx="795" cy="930"/>
              </a:xfrm>
              <a:custGeom>
                <a:avLst/>
                <a:gdLst/>
                <a:ahLst/>
                <a:cxnLst>
                  <a:cxn ang="0">
                    <a:pos x="20" y="800"/>
                  </a:cxn>
                  <a:cxn ang="0">
                    <a:pos x="61" y="817"/>
                  </a:cxn>
                  <a:cxn ang="0">
                    <a:pos x="99" y="847"/>
                  </a:cxn>
                  <a:cxn ang="0">
                    <a:pos x="151" y="830"/>
                  </a:cxn>
                  <a:cxn ang="0">
                    <a:pos x="230" y="858"/>
                  </a:cxn>
                  <a:cxn ang="0">
                    <a:pos x="248" y="831"/>
                  </a:cxn>
                  <a:cxn ang="0">
                    <a:pos x="282" y="817"/>
                  </a:cxn>
                  <a:cxn ang="0">
                    <a:pos x="318" y="812"/>
                  </a:cxn>
                  <a:cxn ang="0">
                    <a:pos x="347" y="824"/>
                  </a:cxn>
                  <a:cxn ang="0">
                    <a:pos x="335" y="788"/>
                  </a:cxn>
                  <a:cxn ang="0">
                    <a:pos x="322" y="658"/>
                  </a:cxn>
                  <a:cxn ang="0">
                    <a:pos x="319" y="622"/>
                  </a:cxn>
                  <a:cxn ang="0">
                    <a:pos x="466" y="488"/>
                  </a:cxn>
                  <a:cxn ang="0">
                    <a:pos x="564" y="442"/>
                  </a:cxn>
                  <a:cxn ang="0">
                    <a:pos x="650" y="433"/>
                  </a:cxn>
                  <a:cxn ang="0">
                    <a:pos x="661" y="399"/>
                  </a:cxn>
                  <a:cxn ang="0">
                    <a:pos x="694" y="348"/>
                  </a:cxn>
                  <a:cxn ang="0">
                    <a:pos x="717" y="272"/>
                  </a:cxn>
                  <a:cxn ang="0">
                    <a:pos x="706" y="237"/>
                  </a:cxn>
                  <a:cxn ang="0">
                    <a:pos x="687" y="214"/>
                  </a:cxn>
                  <a:cxn ang="0">
                    <a:pos x="641" y="209"/>
                  </a:cxn>
                  <a:cxn ang="0">
                    <a:pos x="634" y="195"/>
                  </a:cxn>
                  <a:cxn ang="0">
                    <a:pos x="600" y="225"/>
                  </a:cxn>
                  <a:cxn ang="0">
                    <a:pos x="549" y="208"/>
                  </a:cxn>
                  <a:cxn ang="0">
                    <a:pos x="536" y="159"/>
                  </a:cxn>
                  <a:cxn ang="0">
                    <a:pos x="518" y="121"/>
                  </a:cxn>
                  <a:cxn ang="0">
                    <a:pos x="501" y="71"/>
                  </a:cxn>
                  <a:cxn ang="0">
                    <a:pos x="458" y="40"/>
                  </a:cxn>
                  <a:cxn ang="0">
                    <a:pos x="420" y="51"/>
                  </a:cxn>
                  <a:cxn ang="0">
                    <a:pos x="373" y="16"/>
                  </a:cxn>
                  <a:cxn ang="0">
                    <a:pos x="368" y="27"/>
                  </a:cxn>
                  <a:cxn ang="0">
                    <a:pos x="342" y="19"/>
                  </a:cxn>
                  <a:cxn ang="0">
                    <a:pos x="334" y="43"/>
                  </a:cxn>
                  <a:cxn ang="0">
                    <a:pos x="320" y="79"/>
                  </a:cxn>
                  <a:cxn ang="0">
                    <a:pos x="308" y="108"/>
                  </a:cxn>
                  <a:cxn ang="0">
                    <a:pos x="325" y="155"/>
                  </a:cxn>
                  <a:cxn ang="0">
                    <a:pos x="348" y="208"/>
                  </a:cxn>
                  <a:cxn ang="0">
                    <a:pos x="361" y="232"/>
                  </a:cxn>
                  <a:cxn ang="0">
                    <a:pos x="393" y="256"/>
                  </a:cxn>
                  <a:cxn ang="0">
                    <a:pos x="393" y="285"/>
                  </a:cxn>
                  <a:cxn ang="0">
                    <a:pos x="418" y="303"/>
                  </a:cxn>
                  <a:cxn ang="0">
                    <a:pos x="394" y="345"/>
                  </a:cxn>
                  <a:cxn ang="0">
                    <a:pos x="373" y="364"/>
                  </a:cxn>
                  <a:cxn ang="0">
                    <a:pos x="328" y="405"/>
                  </a:cxn>
                  <a:cxn ang="0">
                    <a:pos x="253" y="427"/>
                  </a:cxn>
                  <a:cxn ang="0">
                    <a:pos x="198" y="492"/>
                  </a:cxn>
                  <a:cxn ang="0">
                    <a:pos x="130" y="509"/>
                  </a:cxn>
                  <a:cxn ang="0">
                    <a:pos x="96" y="496"/>
                  </a:cxn>
                  <a:cxn ang="0">
                    <a:pos x="62" y="508"/>
                  </a:cxn>
                  <a:cxn ang="0">
                    <a:pos x="37" y="520"/>
                  </a:cxn>
                  <a:cxn ang="0">
                    <a:pos x="14" y="572"/>
                  </a:cxn>
                  <a:cxn ang="0">
                    <a:pos x="68" y="612"/>
                  </a:cxn>
                  <a:cxn ang="0">
                    <a:pos x="64" y="651"/>
                  </a:cxn>
                  <a:cxn ang="0">
                    <a:pos x="77" y="669"/>
                  </a:cxn>
                  <a:cxn ang="0">
                    <a:pos x="53" y="693"/>
                  </a:cxn>
                  <a:cxn ang="0">
                    <a:pos x="101" y="713"/>
                  </a:cxn>
                  <a:cxn ang="0">
                    <a:pos x="76" y="743"/>
                  </a:cxn>
                  <a:cxn ang="0">
                    <a:pos x="57" y="760"/>
                  </a:cxn>
                  <a:cxn ang="0">
                    <a:pos x="26" y="768"/>
                  </a:cxn>
                  <a:cxn ang="0">
                    <a:pos x="25" y="777"/>
                  </a:cxn>
                </a:cxnLst>
                <a:rect l="0" t="0" r="r" b="b"/>
                <a:pathLst>
                  <a:path w="737" h="861">
                    <a:moveTo>
                      <a:pt x="25" y="777"/>
                    </a:moveTo>
                    <a:cubicBezTo>
                      <a:pt x="20" y="781"/>
                      <a:pt x="20" y="800"/>
                      <a:pt x="20" y="800"/>
                    </a:cubicBezTo>
                    <a:cubicBezTo>
                      <a:pt x="20" y="800"/>
                      <a:pt x="41" y="808"/>
                      <a:pt x="43" y="805"/>
                    </a:cubicBezTo>
                    <a:cubicBezTo>
                      <a:pt x="47" y="818"/>
                      <a:pt x="61" y="817"/>
                      <a:pt x="61" y="817"/>
                    </a:cubicBezTo>
                    <a:cubicBezTo>
                      <a:pt x="79" y="848"/>
                      <a:pt x="79" y="848"/>
                      <a:pt x="79" y="848"/>
                    </a:cubicBezTo>
                    <a:cubicBezTo>
                      <a:pt x="99" y="847"/>
                      <a:pt x="99" y="847"/>
                      <a:pt x="99" y="847"/>
                    </a:cubicBezTo>
                    <a:cubicBezTo>
                      <a:pt x="119" y="828"/>
                      <a:pt x="119" y="828"/>
                      <a:pt x="119" y="828"/>
                    </a:cubicBezTo>
                    <a:cubicBezTo>
                      <a:pt x="151" y="830"/>
                      <a:pt x="151" y="830"/>
                      <a:pt x="151" y="830"/>
                    </a:cubicBezTo>
                    <a:cubicBezTo>
                      <a:pt x="151" y="830"/>
                      <a:pt x="194" y="861"/>
                      <a:pt x="205" y="857"/>
                    </a:cubicBezTo>
                    <a:cubicBezTo>
                      <a:pt x="216" y="853"/>
                      <a:pt x="230" y="858"/>
                      <a:pt x="230" y="858"/>
                    </a:cubicBezTo>
                    <a:cubicBezTo>
                      <a:pt x="234" y="844"/>
                      <a:pt x="234" y="844"/>
                      <a:pt x="234" y="844"/>
                    </a:cubicBezTo>
                    <a:cubicBezTo>
                      <a:pt x="248" y="831"/>
                      <a:pt x="248" y="831"/>
                      <a:pt x="248" y="831"/>
                    </a:cubicBezTo>
                    <a:cubicBezTo>
                      <a:pt x="265" y="830"/>
                      <a:pt x="265" y="830"/>
                      <a:pt x="265" y="830"/>
                    </a:cubicBezTo>
                    <a:cubicBezTo>
                      <a:pt x="282" y="817"/>
                      <a:pt x="282" y="817"/>
                      <a:pt x="282" y="817"/>
                    </a:cubicBezTo>
                    <a:cubicBezTo>
                      <a:pt x="313" y="812"/>
                      <a:pt x="313" y="812"/>
                      <a:pt x="313" y="812"/>
                    </a:cubicBezTo>
                    <a:cubicBezTo>
                      <a:pt x="318" y="812"/>
                      <a:pt x="318" y="812"/>
                      <a:pt x="318" y="812"/>
                    </a:cubicBezTo>
                    <a:cubicBezTo>
                      <a:pt x="328" y="830"/>
                      <a:pt x="328" y="830"/>
                      <a:pt x="328" y="830"/>
                    </a:cubicBezTo>
                    <a:cubicBezTo>
                      <a:pt x="347" y="824"/>
                      <a:pt x="347" y="824"/>
                      <a:pt x="347" y="824"/>
                    </a:cubicBezTo>
                    <a:cubicBezTo>
                      <a:pt x="352" y="815"/>
                      <a:pt x="340" y="807"/>
                      <a:pt x="340" y="807"/>
                    </a:cubicBezTo>
                    <a:cubicBezTo>
                      <a:pt x="335" y="788"/>
                      <a:pt x="335" y="788"/>
                      <a:pt x="335" y="788"/>
                    </a:cubicBezTo>
                    <a:cubicBezTo>
                      <a:pt x="318" y="785"/>
                      <a:pt x="318" y="785"/>
                      <a:pt x="318" y="785"/>
                    </a:cubicBezTo>
                    <a:cubicBezTo>
                      <a:pt x="322" y="658"/>
                      <a:pt x="322" y="658"/>
                      <a:pt x="322" y="658"/>
                    </a:cubicBezTo>
                    <a:cubicBezTo>
                      <a:pt x="312" y="643"/>
                      <a:pt x="312" y="643"/>
                      <a:pt x="312" y="643"/>
                    </a:cubicBezTo>
                    <a:cubicBezTo>
                      <a:pt x="312" y="643"/>
                      <a:pt x="319" y="627"/>
                      <a:pt x="319" y="622"/>
                    </a:cubicBezTo>
                    <a:cubicBezTo>
                      <a:pt x="380" y="492"/>
                      <a:pt x="416" y="533"/>
                      <a:pt x="416" y="533"/>
                    </a:cubicBezTo>
                    <a:cubicBezTo>
                      <a:pt x="416" y="533"/>
                      <a:pt x="445" y="505"/>
                      <a:pt x="466" y="488"/>
                    </a:cubicBezTo>
                    <a:cubicBezTo>
                      <a:pt x="487" y="471"/>
                      <a:pt x="490" y="472"/>
                      <a:pt x="496" y="458"/>
                    </a:cubicBezTo>
                    <a:cubicBezTo>
                      <a:pt x="559" y="418"/>
                      <a:pt x="561" y="439"/>
                      <a:pt x="564" y="442"/>
                    </a:cubicBezTo>
                    <a:cubicBezTo>
                      <a:pt x="546" y="458"/>
                      <a:pt x="582" y="469"/>
                      <a:pt x="592" y="473"/>
                    </a:cubicBezTo>
                    <a:cubicBezTo>
                      <a:pt x="650" y="433"/>
                      <a:pt x="650" y="433"/>
                      <a:pt x="650" y="433"/>
                    </a:cubicBezTo>
                    <a:cubicBezTo>
                      <a:pt x="646" y="423"/>
                      <a:pt x="646" y="423"/>
                      <a:pt x="646" y="423"/>
                    </a:cubicBezTo>
                    <a:cubicBezTo>
                      <a:pt x="661" y="399"/>
                      <a:pt x="661" y="399"/>
                      <a:pt x="661" y="399"/>
                    </a:cubicBezTo>
                    <a:cubicBezTo>
                      <a:pt x="686" y="405"/>
                      <a:pt x="686" y="405"/>
                      <a:pt x="686" y="405"/>
                    </a:cubicBezTo>
                    <a:cubicBezTo>
                      <a:pt x="694" y="348"/>
                      <a:pt x="694" y="348"/>
                      <a:pt x="694" y="348"/>
                    </a:cubicBezTo>
                    <a:cubicBezTo>
                      <a:pt x="737" y="304"/>
                      <a:pt x="737" y="304"/>
                      <a:pt x="737" y="304"/>
                    </a:cubicBezTo>
                    <a:cubicBezTo>
                      <a:pt x="717" y="272"/>
                      <a:pt x="717" y="272"/>
                      <a:pt x="717" y="272"/>
                    </a:cubicBezTo>
                    <a:cubicBezTo>
                      <a:pt x="706" y="276"/>
                      <a:pt x="706" y="276"/>
                      <a:pt x="706" y="276"/>
                    </a:cubicBezTo>
                    <a:cubicBezTo>
                      <a:pt x="706" y="237"/>
                      <a:pt x="706" y="237"/>
                      <a:pt x="706" y="237"/>
                    </a:cubicBezTo>
                    <a:cubicBezTo>
                      <a:pt x="696" y="236"/>
                      <a:pt x="696" y="236"/>
                      <a:pt x="696" y="236"/>
                    </a:cubicBezTo>
                    <a:cubicBezTo>
                      <a:pt x="687" y="214"/>
                      <a:pt x="687" y="214"/>
                      <a:pt x="687" y="214"/>
                    </a:cubicBezTo>
                    <a:cubicBezTo>
                      <a:pt x="649" y="197"/>
                      <a:pt x="649" y="197"/>
                      <a:pt x="649" y="197"/>
                    </a:cubicBezTo>
                    <a:cubicBezTo>
                      <a:pt x="641" y="209"/>
                      <a:pt x="641" y="209"/>
                      <a:pt x="641" y="209"/>
                    </a:cubicBezTo>
                    <a:cubicBezTo>
                      <a:pt x="634" y="209"/>
                      <a:pt x="634" y="209"/>
                      <a:pt x="634" y="209"/>
                    </a:cubicBezTo>
                    <a:cubicBezTo>
                      <a:pt x="634" y="195"/>
                      <a:pt x="634" y="195"/>
                      <a:pt x="634" y="195"/>
                    </a:cubicBezTo>
                    <a:cubicBezTo>
                      <a:pt x="620" y="195"/>
                      <a:pt x="620" y="195"/>
                      <a:pt x="620" y="195"/>
                    </a:cubicBezTo>
                    <a:cubicBezTo>
                      <a:pt x="600" y="225"/>
                      <a:pt x="600" y="225"/>
                      <a:pt x="600" y="225"/>
                    </a:cubicBezTo>
                    <a:cubicBezTo>
                      <a:pt x="568" y="197"/>
                      <a:pt x="568" y="197"/>
                      <a:pt x="568" y="197"/>
                    </a:cubicBezTo>
                    <a:cubicBezTo>
                      <a:pt x="549" y="208"/>
                      <a:pt x="549" y="208"/>
                      <a:pt x="549" y="208"/>
                    </a:cubicBezTo>
                    <a:cubicBezTo>
                      <a:pt x="556" y="177"/>
                      <a:pt x="556" y="177"/>
                      <a:pt x="556" y="177"/>
                    </a:cubicBezTo>
                    <a:cubicBezTo>
                      <a:pt x="536" y="159"/>
                      <a:pt x="536" y="159"/>
                      <a:pt x="536" y="159"/>
                    </a:cubicBezTo>
                    <a:cubicBezTo>
                      <a:pt x="532" y="128"/>
                      <a:pt x="532" y="128"/>
                      <a:pt x="532" y="128"/>
                    </a:cubicBezTo>
                    <a:cubicBezTo>
                      <a:pt x="518" y="121"/>
                      <a:pt x="518" y="121"/>
                      <a:pt x="518" y="121"/>
                    </a:cubicBezTo>
                    <a:cubicBezTo>
                      <a:pt x="505" y="69"/>
                      <a:pt x="505" y="69"/>
                      <a:pt x="505" y="69"/>
                    </a:cubicBezTo>
                    <a:cubicBezTo>
                      <a:pt x="501" y="71"/>
                      <a:pt x="501" y="71"/>
                      <a:pt x="501" y="71"/>
                    </a:cubicBezTo>
                    <a:cubicBezTo>
                      <a:pt x="480" y="45"/>
                      <a:pt x="480" y="45"/>
                      <a:pt x="480" y="45"/>
                    </a:cubicBezTo>
                    <a:cubicBezTo>
                      <a:pt x="458" y="40"/>
                      <a:pt x="458" y="40"/>
                      <a:pt x="458" y="40"/>
                    </a:cubicBezTo>
                    <a:cubicBezTo>
                      <a:pt x="458" y="40"/>
                      <a:pt x="448" y="16"/>
                      <a:pt x="444" y="43"/>
                    </a:cubicBezTo>
                    <a:cubicBezTo>
                      <a:pt x="420" y="51"/>
                      <a:pt x="420" y="51"/>
                      <a:pt x="420" y="51"/>
                    </a:cubicBezTo>
                    <a:cubicBezTo>
                      <a:pt x="402" y="0"/>
                      <a:pt x="402" y="0"/>
                      <a:pt x="402" y="0"/>
                    </a:cubicBezTo>
                    <a:cubicBezTo>
                      <a:pt x="402" y="0"/>
                      <a:pt x="384" y="7"/>
                      <a:pt x="373" y="16"/>
                    </a:cubicBezTo>
                    <a:cubicBezTo>
                      <a:pt x="371" y="18"/>
                      <a:pt x="369" y="19"/>
                      <a:pt x="368" y="19"/>
                    </a:cubicBezTo>
                    <a:cubicBezTo>
                      <a:pt x="368" y="27"/>
                      <a:pt x="368" y="27"/>
                      <a:pt x="368" y="27"/>
                    </a:cubicBezTo>
                    <a:cubicBezTo>
                      <a:pt x="350" y="32"/>
                      <a:pt x="350" y="32"/>
                      <a:pt x="350" y="32"/>
                    </a:cubicBezTo>
                    <a:cubicBezTo>
                      <a:pt x="342" y="19"/>
                      <a:pt x="342" y="19"/>
                      <a:pt x="342" y="19"/>
                    </a:cubicBezTo>
                    <a:cubicBezTo>
                      <a:pt x="333" y="23"/>
                      <a:pt x="333" y="23"/>
                      <a:pt x="333" y="23"/>
                    </a:cubicBezTo>
                    <a:cubicBezTo>
                      <a:pt x="334" y="43"/>
                      <a:pt x="334" y="43"/>
                      <a:pt x="334" y="43"/>
                    </a:cubicBezTo>
                    <a:cubicBezTo>
                      <a:pt x="326" y="52"/>
                      <a:pt x="326" y="52"/>
                      <a:pt x="326" y="52"/>
                    </a:cubicBezTo>
                    <a:cubicBezTo>
                      <a:pt x="320" y="79"/>
                      <a:pt x="320" y="79"/>
                      <a:pt x="320" y="79"/>
                    </a:cubicBezTo>
                    <a:cubicBezTo>
                      <a:pt x="308" y="99"/>
                      <a:pt x="308" y="99"/>
                      <a:pt x="308" y="99"/>
                    </a:cubicBezTo>
                    <a:cubicBezTo>
                      <a:pt x="308" y="108"/>
                      <a:pt x="308" y="108"/>
                      <a:pt x="308" y="108"/>
                    </a:cubicBezTo>
                    <a:cubicBezTo>
                      <a:pt x="329" y="123"/>
                      <a:pt x="329" y="123"/>
                      <a:pt x="329" y="123"/>
                    </a:cubicBezTo>
                    <a:cubicBezTo>
                      <a:pt x="325" y="155"/>
                      <a:pt x="325" y="155"/>
                      <a:pt x="325" y="155"/>
                    </a:cubicBezTo>
                    <a:cubicBezTo>
                      <a:pt x="346" y="168"/>
                      <a:pt x="346" y="168"/>
                      <a:pt x="346" y="168"/>
                    </a:cubicBezTo>
                    <a:cubicBezTo>
                      <a:pt x="348" y="208"/>
                      <a:pt x="348" y="208"/>
                      <a:pt x="348" y="208"/>
                    </a:cubicBezTo>
                    <a:cubicBezTo>
                      <a:pt x="338" y="224"/>
                      <a:pt x="338" y="224"/>
                      <a:pt x="338" y="224"/>
                    </a:cubicBezTo>
                    <a:cubicBezTo>
                      <a:pt x="361" y="232"/>
                      <a:pt x="361" y="232"/>
                      <a:pt x="361" y="232"/>
                    </a:cubicBezTo>
                    <a:cubicBezTo>
                      <a:pt x="357" y="244"/>
                      <a:pt x="357" y="244"/>
                      <a:pt x="357" y="244"/>
                    </a:cubicBezTo>
                    <a:cubicBezTo>
                      <a:pt x="357" y="244"/>
                      <a:pt x="398" y="251"/>
                      <a:pt x="393" y="256"/>
                    </a:cubicBezTo>
                    <a:cubicBezTo>
                      <a:pt x="388" y="261"/>
                      <a:pt x="373" y="279"/>
                      <a:pt x="373" y="279"/>
                    </a:cubicBezTo>
                    <a:cubicBezTo>
                      <a:pt x="393" y="285"/>
                      <a:pt x="393" y="285"/>
                      <a:pt x="393" y="285"/>
                    </a:cubicBezTo>
                    <a:cubicBezTo>
                      <a:pt x="405" y="295"/>
                      <a:pt x="405" y="295"/>
                      <a:pt x="405" y="295"/>
                    </a:cubicBezTo>
                    <a:cubicBezTo>
                      <a:pt x="418" y="303"/>
                      <a:pt x="418" y="303"/>
                      <a:pt x="418" y="303"/>
                    </a:cubicBezTo>
                    <a:cubicBezTo>
                      <a:pt x="397" y="328"/>
                      <a:pt x="397" y="328"/>
                      <a:pt x="397" y="328"/>
                    </a:cubicBezTo>
                    <a:cubicBezTo>
                      <a:pt x="394" y="345"/>
                      <a:pt x="394" y="345"/>
                      <a:pt x="394" y="345"/>
                    </a:cubicBezTo>
                    <a:cubicBezTo>
                      <a:pt x="373" y="347"/>
                      <a:pt x="373" y="347"/>
                      <a:pt x="373" y="347"/>
                    </a:cubicBezTo>
                    <a:cubicBezTo>
                      <a:pt x="373" y="364"/>
                      <a:pt x="373" y="364"/>
                      <a:pt x="373" y="364"/>
                    </a:cubicBezTo>
                    <a:cubicBezTo>
                      <a:pt x="329" y="365"/>
                      <a:pt x="329" y="365"/>
                      <a:pt x="329" y="365"/>
                    </a:cubicBezTo>
                    <a:cubicBezTo>
                      <a:pt x="328" y="405"/>
                      <a:pt x="328" y="405"/>
                      <a:pt x="328" y="405"/>
                    </a:cubicBezTo>
                    <a:cubicBezTo>
                      <a:pt x="328" y="405"/>
                      <a:pt x="306" y="399"/>
                      <a:pt x="297" y="417"/>
                    </a:cubicBezTo>
                    <a:cubicBezTo>
                      <a:pt x="276" y="427"/>
                      <a:pt x="253" y="427"/>
                      <a:pt x="253" y="427"/>
                    </a:cubicBezTo>
                    <a:cubicBezTo>
                      <a:pt x="253" y="427"/>
                      <a:pt x="202" y="425"/>
                      <a:pt x="241" y="464"/>
                    </a:cubicBezTo>
                    <a:cubicBezTo>
                      <a:pt x="232" y="469"/>
                      <a:pt x="232" y="497"/>
                      <a:pt x="198" y="492"/>
                    </a:cubicBezTo>
                    <a:cubicBezTo>
                      <a:pt x="165" y="487"/>
                      <a:pt x="173" y="499"/>
                      <a:pt x="173" y="499"/>
                    </a:cubicBezTo>
                    <a:cubicBezTo>
                      <a:pt x="173" y="499"/>
                      <a:pt x="130" y="476"/>
                      <a:pt x="130" y="509"/>
                    </a:cubicBezTo>
                    <a:cubicBezTo>
                      <a:pt x="130" y="509"/>
                      <a:pt x="108" y="504"/>
                      <a:pt x="102" y="505"/>
                    </a:cubicBezTo>
                    <a:cubicBezTo>
                      <a:pt x="97" y="507"/>
                      <a:pt x="96" y="496"/>
                      <a:pt x="96" y="496"/>
                    </a:cubicBezTo>
                    <a:cubicBezTo>
                      <a:pt x="68" y="495"/>
                      <a:pt x="68" y="495"/>
                      <a:pt x="68" y="495"/>
                    </a:cubicBezTo>
                    <a:cubicBezTo>
                      <a:pt x="62" y="508"/>
                      <a:pt x="62" y="508"/>
                      <a:pt x="62" y="508"/>
                    </a:cubicBezTo>
                    <a:cubicBezTo>
                      <a:pt x="49" y="487"/>
                      <a:pt x="49" y="487"/>
                      <a:pt x="49" y="487"/>
                    </a:cubicBezTo>
                    <a:cubicBezTo>
                      <a:pt x="49" y="487"/>
                      <a:pt x="37" y="495"/>
                      <a:pt x="37" y="520"/>
                    </a:cubicBezTo>
                    <a:cubicBezTo>
                      <a:pt x="34" y="525"/>
                      <a:pt x="0" y="531"/>
                      <a:pt x="18" y="553"/>
                    </a:cubicBezTo>
                    <a:cubicBezTo>
                      <a:pt x="12" y="553"/>
                      <a:pt x="14" y="572"/>
                      <a:pt x="14" y="572"/>
                    </a:cubicBezTo>
                    <a:cubicBezTo>
                      <a:pt x="64" y="591"/>
                      <a:pt x="64" y="591"/>
                      <a:pt x="64" y="591"/>
                    </a:cubicBezTo>
                    <a:cubicBezTo>
                      <a:pt x="64" y="591"/>
                      <a:pt x="73" y="607"/>
                      <a:pt x="68" y="612"/>
                    </a:cubicBezTo>
                    <a:cubicBezTo>
                      <a:pt x="62" y="617"/>
                      <a:pt x="78" y="644"/>
                      <a:pt x="78" y="644"/>
                    </a:cubicBezTo>
                    <a:cubicBezTo>
                      <a:pt x="64" y="651"/>
                      <a:pt x="64" y="651"/>
                      <a:pt x="64" y="651"/>
                    </a:cubicBezTo>
                    <a:cubicBezTo>
                      <a:pt x="80" y="655"/>
                      <a:pt x="80" y="655"/>
                      <a:pt x="80" y="655"/>
                    </a:cubicBezTo>
                    <a:cubicBezTo>
                      <a:pt x="80" y="655"/>
                      <a:pt x="77" y="665"/>
                      <a:pt x="77" y="669"/>
                    </a:cubicBezTo>
                    <a:cubicBezTo>
                      <a:pt x="77" y="673"/>
                      <a:pt x="54" y="679"/>
                      <a:pt x="54" y="679"/>
                    </a:cubicBezTo>
                    <a:cubicBezTo>
                      <a:pt x="53" y="693"/>
                      <a:pt x="53" y="693"/>
                      <a:pt x="53" y="693"/>
                    </a:cubicBezTo>
                    <a:cubicBezTo>
                      <a:pt x="62" y="697"/>
                      <a:pt x="62" y="697"/>
                      <a:pt x="62" y="697"/>
                    </a:cubicBezTo>
                    <a:cubicBezTo>
                      <a:pt x="62" y="697"/>
                      <a:pt x="48" y="717"/>
                      <a:pt x="101" y="713"/>
                    </a:cubicBezTo>
                    <a:cubicBezTo>
                      <a:pt x="122" y="735"/>
                      <a:pt x="120" y="741"/>
                      <a:pt x="120" y="741"/>
                    </a:cubicBezTo>
                    <a:cubicBezTo>
                      <a:pt x="76" y="743"/>
                      <a:pt x="76" y="743"/>
                      <a:pt x="76" y="743"/>
                    </a:cubicBezTo>
                    <a:cubicBezTo>
                      <a:pt x="78" y="755"/>
                      <a:pt x="78" y="755"/>
                      <a:pt x="78" y="755"/>
                    </a:cubicBezTo>
                    <a:cubicBezTo>
                      <a:pt x="57" y="760"/>
                      <a:pt x="57" y="760"/>
                      <a:pt x="57" y="760"/>
                    </a:cubicBezTo>
                    <a:cubicBezTo>
                      <a:pt x="50" y="769"/>
                      <a:pt x="50" y="769"/>
                      <a:pt x="50" y="769"/>
                    </a:cubicBezTo>
                    <a:cubicBezTo>
                      <a:pt x="26" y="768"/>
                      <a:pt x="26" y="768"/>
                      <a:pt x="26" y="768"/>
                    </a:cubicBezTo>
                    <a:cubicBezTo>
                      <a:pt x="25" y="771"/>
                      <a:pt x="25" y="771"/>
                      <a:pt x="25" y="771"/>
                    </a:cubicBezTo>
                    <a:cubicBezTo>
                      <a:pt x="26" y="774"/>
                      <a:pt x="26" y="776"/>
                      <a:pt x="25" y="7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08" name="Midi-Pyrénnées" descr="© INSCALE GmbH, 05.05.2010&#10;http://www.presentationload.com/">
                <a:extLst>
                  <a:ext uri="{FF2B5EF4-FFF2-40B4-BE49-F238E27FC236}">
                    <a16:creationId xmlns:a16="http://schemas.microsoft.com/office/drawing/2014/main" id="{A2F3FD82-C7EE-4A6F-8CF6-1DEA7DAD94F2}"/>
                  </a:ext>
                </a:extLst>
              </p:cNvPr>
              <p:cNvSpPr>
                <a:spLocks/>
              </p:cNvSpPr>
              <p:nvPr/>
            </p:nvSpPr>
            <p:spPr bwMode="gray">
              <a:xfrm>
                <a:off x="1092" y="2246"/>
                <a:ext cx="953" cy="857"/>
              </a:xfrm>
              <a:custGeom>
                <a:avLst/>
                <a:gdLst/>
                <a:ahLst/>
                <a:cxnLst>
                  <a:cxn ang="0">
                    <a:pos x="839" y="302"/>
                  </a:cxn>
                  <a:cxn ang="0">
                    <a:pos x="827" y="255"/>
                  </a:cxn>
                  <a:cxn ang="0">
                    <a:pos x="812" y="191"/>
                  </a:cxn>
                  <a:cxn ang="0">
                    <a:pos x="774" y="131"/>
                  </a:cxn>
                  <a:cxn ang="0">
                    <a:pos x="763" y="86"/>
                  </a:cxn>
                  <a:cxn ang="0">
                    <a:pos x="727" y="55"/>
                  </a:cxn>
                  <a:cxn ang="0">
                    <a:pos x="690" y="56"/>
                  </a:cxn>
                  <a:cxn ang="0">
                    <a:pos x="679" y="104"/>
                  </a:cxn>
                  <a:cxn ang="0">
                    <a:pos x="628" y="128"/>
                  </a:cxn>
                  <a:cxn ang="0">
                    <a:pos x="599" y="136"/>
                  </a:cxn>
                  <a:cxn ang="0">
                    <a:pos x="583" y="108"/>
                  </a:cxn>
                  <a:cxn ang="0">
                    <a:pos x="571" y="17"/>
                  </a:cxn>
                  <a:cxn ang="0">
                    <a:pos x="535" y="27"/>
                  </a:cxn>
                  <a:cxn ang="0">
                    <a:pos x="467" y="4"/>
                  </a:cxn>
                  <a:cxn ang="0">
                    <a:pos x="420" y="8"/>
                  </a:cxn>
                  <a:cxn ang="0">
                    <a:pos x="424" y="54"/>
                  </a:cxn>
                  <a:cxn ang="0">
                    <a:pos x="390" y="75"/>
                  </a:cxn>
                  <a:cxn ang="0">
                    <a:pos x="363" y="118"/>
                  </a:cxn>
                  <a:cxn ang="0">
                    <a:pos x="327" y="190"/>
                  </a:cxn>
                  <a:cxn ang="0">
                    <a:pos x="291" y="234"/>
                  </a:cxn>
                  <a:cxn ang="0">
                    <a:pos x="296" y="287"/>
                  </a:cxn>
                  <a:cxn ang="0">
                    <a:pos x="227" y="306"/>
                  </a:cxn>
                  <a:cxn ang="0">
                    <a:pos x="140" y="319"/>
                  </a:cxn>
                  <a:cxn ang="0">
                    <a:pos x="104" y="343"/>
                  </a:cxn>
                  <a:cxn ang="0">
                    <a:pos x="83" y="335"/>
                  </a:cxn>
                  <a:cxn ang="0">
                    <a:pos x="42" y="390"/>
                  </a:cxn>
                  <a:cxn ang="0">
                    <a:pos x="30" y="423"/>
                  </a:cxn>
                  <a:cxn ang="0">
                    <a:pos x="34" y="458"/>
                  </a:cxn>
                  <a:cxn ang="0">
                    <a:pos x="72" y="498"/>
                  </a:cxn>
                  <a:cxn ang="0">
                    <a:pos x="90" y="538"/>
                  </a:cxn>
                  <a:cxn ang="0">
                    <a:pos x="67" y="578"/>
                  </a:cxn>
                  <a:cxn ang="0">
                    <a:pos x="38" y="614"/>
                  </a:cxn>
                  <a:cxn ang="0">
                    <a:pos x="0" y="699"/>
                  </a:cxn>
                  <a:cxn ang="0">
                    <a:pos x="53" y="712"/>
                  </a:cxn>
                  <a:cxn ang="0">
                    <a:pos x="129" y="735"/>
                  </a:cxn>
                  <a:cxn ang="0">
                    <a:pos x="245" y="753"/>
                  </a:cxn>
                  <a:cxn ang="0">
                    <a:pos x="321" y="721"/>
                  </a:cxn>
                  <a:cxn ang="0">
                    <a:pos x="467" y="782"/>
                  </a:cxn>
                  <a:cxn ang="0">
                    <a:pos x="492" y="791"/>
                  </a:cxn>
                  <a:cxn ang="0">
                    <a:pos x="544" y="778"/>
                  </a:cxn>
                  <a:cxn ang="0">
                    <a:pos x="567" y="736"/>
                  </a:cxn>
                  <a:cxn ang="0">
                    <a:pos x="520" y="702"/>
                  </a:cxn>
                  <a:cxn ang="0">
                    <a:pos x="530" y="674"/>
                  </a:cxn>
                  <a:cxn ang="0">
                    <a:pos x="530" y="614"/>
                  </a:cxn>
                  <a:cxn ang="0">
                    <a:pos x="503" y="543"/>
                  </a:cxn>
                  <a:cxn ang="0">
                    <a:pos x="534" y="518"/>
                  </a:cxn>
                  <a:cxn ang="0">
                    <a:pos x="596" y="532"/>
                  </a:cxn>
                  <a:cxn ang="0">
                    <a:pos x="707" y="487"/>
                  </a:cxn>
                  <a:cxn ang="0">
                    <a:pos x="794" y="428"/>
                  </a:cxn>
                  <a:cxn ang="0">
                    <a:pos x="839" y="370"/>
                  </a:cxn>
                  <a:cxn ang="0">
                    <a:pos x="884" y="326"/>
                  </a:cxn>
                </a:cxnLst>
                <a:rect l="0" t="0" r="r" b="b"/>
                <a:pathLst>
                  <a:path w="884" h="794">
                    <a:moveTo>
                      <a:pt x="871" y="318"/>
                    </a:moveTo>
                    <a:cubicBezTo>
                      <a:pt x="859" y="308"/>
                      <a:pt x="859" y="308"/>
                      <a:pt x="859" y="308"/>
                    </a:cubicBezTo>
                    <a:cubicBezTo>
                      <a:pt x="839" y="302"/>
                      <a:pt x="839" y="302"/>
                      <a:pt x="839" y="302"/>
                    </a:cubicBezTo>
                    <a:cubicBezTo>
                      <a:pt x="839" y="302"/>
                      <a:pt x="854" y="284"/>
                      <a:pt x="859" y="279"/>
                    </a:cubicBezTo>
                    <a:cubicBezTo>
                      <a:pt x="864" y="274"/>
                      <a:pt x="823" y="267"/>
                      <a:pt x="823" y="267"/>
                    </a:cubicBezTo>
                    <a:cubicBezTo>
                      <a:pt x="827" y="255"/>
                      <a:pt x="827" y="255"/>
                      <a:pt x="827" y="255"/>
                    </a:cubicBezTo>
                    <a:cubicBezTo>
                      <a:pt x="804" y="247"/>
                      <a:pt x="804" y="247"/>
                      <a:pt x="804" y="247"/>
                    </a:cubicBezTo>
                    <a:cubicBezTo>
                      <a:pt x="814" y="231"/>
                      <a:pt x="814" y="231"/>
                      <a:pt x="814" y="231"/>
                    </a:cubicBezTo>
                    <a:cubicBezTo>
                      <a:pt x="812" y="191"/>
                      <a:pt x="812" y="191"/>
                      <a:pt x="812" y="191"/>
                    </a:cubicBezTo>
                    <a:cubicBezTo>
                      <a:pt x="791" y="178"/>
                      <a:pt x="791" y="178"/>
                      <a:pt x="791" y="178"/>
                    </a:cubicBezTo>
                    <a:cubicBezTo>
                      <a:pt x="795" y="146"/>
                      <a:pt x="795" y="146"/>
                      <a:pt x="795" y="146"/>
                    </a:cubicBezTo>
                    <a:cubicBezTo>
                      <a:pt x="774" y="131"/>
                      <a:pt x="774" y="131"/>
                      <a:pt x="774" y="131"/>
                    </a:cubicBezTo>
                    <a:cubicBezTo>
                      <a:pt x="774" y="122"/>
                      <a:pt x="774" y="122"/>
                      <a:pt x="774" y="122"/>
                    </a:cubicBezTo>
                    <a:cubicBezTo>
                      <a:pt x="772" y="126"/>
                      <a:pt x="772" y="126"/>
                      <a:pt x="772" y="126"/>
                    </a:cubicBezTo>
                    <a:cubicBezTo>
                      <a:pt x="763" y="86"/>
                      <a:pt x="763" y="86"/>
                      <a:pt x="763" y="86"/>
                    </a:cubicBezTo>
                    <a:cubicBezTo>
                      <a:pt x="754" y="75"/>
                      <a:pt x="754" y="75"/>
                      <a:pt x="754" y="75"/>
                    </a:cubicBezTo>
                    <a:cubicBezTo>
                      <a:pt x="754" y="75"/>
                      <a:pt x="740" y="45"/>
                      <a:pt x="729" y="53"/>
                    </a:cubicBezTo>
                    <a:cubicBezTo>
                      <a:pt x="729" y="55"/>
                      <a:pt x="728" y="56"/>
                      <a:pt x="727" y="55"/>
                    </a:cubicBezTo>
                    <a:cubicBezTo>
                      <a:pt x="728" y="54"/>
                      <a:pt x="728" y="54"/>
                      <a:pt x="729" y="53"/>
                    </a:cubicBezTo>
                    <a:cubicBezTo>
                      <a:pt x="731" y="46"/>
                      <a:pt x="725" y="18"/>
                      <a:pt x="699" y="55"/>
                    </a:cubicBezTo>
                    <a:cubicBezTo>
                      <a:pt x="690" y="63"/>
                      <a:pt x="690" y="56"/>
                      <a:pt x="690" y="56"/>
                    </a:cubicBezTo>
                    <a:cubicBezTo>
                      <a:pt x="688" y="78"/>
                      <a:pt x="688" y="78"/>
                      <a:pt x="688" y="78"/>
                    </a:cubicBezTo>
                    <a:cubicBezTo>
                      <a:pt x="680" y="84"/>
                      <a:pt x="680" y="84"/>
                      <a:pt x="680" y="84"/>
                    </a:cubicBezTo>
                    <a:cubicBezTo>
                      <a:pt x="679" y="104"/>
                      <a:pt x="679" y="104"/>
                      <a:pt x="679" y="104"/>
                    </a:cubicBezTo>
                    <a:cubicBezTo>
                      <a:pt x="666" y="114"/>
                      <a:pt x="666" y="114"/>
                      <a:pt x="666" y="114"/>
                    </a:cubicBezTo>
                    <a:cubicBezTo>
                      <a:pt x="662" y="126"/>
                      <a:pt x="662" y="126"/>
                      <a:pt x="662" y="126"/>
                    </a:cubicBezTo>
                    <a:cubicBezTo>
                      <a:pt x="628" y="128"/>
                      <a:pt x="628" y="128"/>
                      <a:pt x="628" y="128"/>
                    </a:cubicBezTo>
                    <a:cubicBezTo>
                      <a:pt x="627" y="123"/>
                      <a:pt x="627" y="123"/>
                      <a:pt x="627" y="123"/>
                    </a:cubicBezTo>
                    <a:cubicBezTo>
                      <a:pt x="598" y="124"/>
                      <a:pt x="598" y="124"/>
                      <a:pt x="598" y="124"/>
                    </a:cubicBezTo>
                    <a:cubicBezTo>
                      <a:pt x="599" y="136"/>
                      <a:pt x="599" y="136"/>
                      <a:pt x="599" y="136"/>
                    </a:cubicBezTo>
                    <a:cubicBezTo>
                      <a:pt x="594" y="130"/>
                      <a:pt x="594" y="130"/>
                      <a:pt x="594" y="130"/>
                    </a:cubicBezTo>
                    <a:cubicBezTo>
                      <a:pt x="592" y="114"/>
                      <a:pt x="592" y="114"/>
                      <a:pt x="592" y="114"/>
                    </a:cubicBezTo>
                    <a:cubicBezTo>
                      <a:pt x="583" y="108"/>
                      <a:pt x="583" y="108"/>
                      <a:pt x="583" y="108"/>
                    </a:cubicBezTo>
                    <a:cubicBezTo>
                      <a:pt x="588" y="74"/>
                      <a:pt x="588" y="74"/>
                      <a:pt x="588" y="74"/>
                    </a:cubicBezTo>
                    <a:cubicBezTo>
                      <a:pt x="572" y="47"/>
                      <a:pt x="572" y="47"/>
                      <a:pt x="572" y="47"/>
                    </a:cubicBezTo>
                    <a:cubicBezTo>
                      <a:pt x="572" y="47"/>
                      <a:pt x="574" y="30"/>
                      <a:pt x="571" y="17"/>
                    </a:cubicBezTo>
                    <a:cubicBezTo>
                      <a:pt x="569" y="19"/>
                      <a:pt x="568" y="20"/>
                      <a:pt x="568" y="20"/>
                    </a:cubicBezTo>
                    <a:cubicBezTo>
                      <a:pt x="547" y="22"/>
                      <a:pt x="547" y="22"/>
                      <a:pt x="547" y="22"/>
                    </a:cubicBezTo>
                    <a:cubicBezTo>
                      <a:pt x="535" y="27"/>
                      <a:pt x="535" y="27"/>
                      <a:pt x="535" y="27"/>
                    </a:cubicBezTo>
                    <a:cubicBezTo>
                      <a:pt x="532" y="20"/>
                      <a:pt x="532" y="20"/>
                      <a:pt x="532" y="20"/>
                    </a:cubicBezTo>
                    <a:cubicBezTo>
                      <a:pt x="532" y="20"/>
                      <a:pt x="518" y="43"/>
                      <a:pt x="507" y="39"/>
                    </a:cubicBezTo>
                    <a:cubicBezTo>
                      <a:pt x="496" y="35"/>
                      <a:pt x="467" y="4"/>
                      <a:pt x="467" y="4"/>
                    </a:cubicBezTo>
                    <a:cubicBezTo>
                      <a:pt x="467" y="4"/>
                      <a:pt x="435" y="0"/>
                      <a:pt x="424" y="7"/>
                    </a:cubicBezTo>
                    <a:cubicBezTo>
                      <a:pt x="423" y="4"/>
                      <a:pt x="423" y="4"/>
                      <a:pt x="423" y="4"/>
                    </a:cubicBezTo>
                    <a:cubicBezTo>
                      <a:pt x="420" y="8"/>
                      <a:pt x="420" y="8"/>
                      <a:pt x="420" y="8"/>
                    </a:cubicBezTo>
                    <a:cubicBezTo>
                      <a:pt x="426" y="39"/>
                      <a:pt x="426" y="39"/>
                      <a:pt x="426" y="39"/>
                    </a:cubicBezTo>
                    <a:cubicBezTo>
                      <a:pt x="419" y="44"/>
                      <a:pt x="419" y="44"/>
                      <a:pt x="419" y="44"/>
                    </a:cubicBezTo>
                    <a:cubicBezTo>
                      <a:pt x="424" y="54"/>
                      <a:pt x="424" y="54"/>
                      <a:pt x="424" y="54"/>
                    </a:cubicBezTo>
                    <a:cubicBezTo>
                      <a:pt x="407" y="60"/>
                      <a:pt x="407" y="60"/>
                      <a:pt x="407" y="60"/>
                    </a:cubicBezTo>
                    <a:cubicBezTo>
                      <a:pt x="406" y="74"/>
                      <a:pt x="406" y="74"/>
                      <a:pt x="406" y="74"/>
                    </a:cubicBezTo>
                    <a:cubicBezTo>
                      <a:pt x="390" y="75"/>
                      <a:pt x="390" y="75"/>
                      <a:pt x="390" y="75"/>
                    </a:cubicBezTo>
                    <a:cubicBezTo>
                      <a:pt x="398" y="92"/>
                      <a:pt x="398" y="92"/>
                      <a:pt x="398" y="92"/>
                    </a:cubicBezTo>
                    <a:cubicBezTo>
                      <a:pt x="384" y="112"/>
                      <a:pt x="384" y="112"/>
                      <a:pt x="384" y="112"/>
                    </a:cubicBezTo>
                    <a:cubicBezTo>
                      <a:pt x="363" y="118"/>
                      <a:pt x="363" y="118"/>
                      <a:pt x="363" y="118"/>
                    </a:cubicBezTo>
                    <a:cubicBezTo>
                      <a:pt x="344" y="147"/>
                      <a:pt x="344" y="147"/>
                      <a:pt x="344" y="147"/>
                    </a:cubicBezTo>
                    <a:cubicBezTo>
                      <a:pt x="316" y="156"/>
                      <a:pt x="316" y="156"/>
                      <a:pt x="316" y="156"/>
                    </a:cubicBezTo>
                    <a:cubicBezTo>
                      <a:pt x="316" y="156"/>
                      <a:pt x="327" y="186"/>
                      <a:pt x="327" y="190"/>
                    </a:cubicBezTo>
                    <a:cubicBezTo>
                      <a:pt x="327" y="194"/>
                      <a:pt x="334" y="198"/>
                      <a:pt x="334" y="198"/>
                    </a:cubicBezTo>
                    <a:cubicBezTo>
                      <a:pt x="334" y="198"/>
                      <a:pt x="331" y="223"/>
                      <a:pt x="312" y="216"/>
                    </a:cubicBezTo>
                    <a:cubicBezTo>
                      <a:pt x="294" y="210"/>
                      <a:pt x="291" y="234"/>
                      <a:pt x="291" y="234"/>
                    </a:cubicBezTo>
                    <a:cubicBezTo>
                      <a:pt x="308" y="246"/>
                      <a:pt x="308" y="246"/>
                      <a:pt x="308" y="246"/>
                    </a:cubicBezTo>
                    <a:cubicBezTo>
                      <a:pt x="291" y="270"/>
                      <a:pt x="291" y="270"/>
                      <a:pt x="291" y="270"/>
                    </a:cubicBezTo>
                    <a:cubicBezTo>
                      <a:pt x="296" y="287"/>
                      <a:pt x="296" y="287"/>
                      <a:pt x="296" y="287"/>
                    </a:cubicBezTo>
                    <a:cubicBezTo>
                      <a:pt x="274" y="286"/>
                      <a:pt x="274" y="286"/>
                      <a:pt x="274" y="286"/>
                    </a:cubicBezTo>
                    <a:cubicBezTo>
                      <a:pt x="274" y="286"/>
                      <a:pt x="262" y="322"/>
                      <a:pt x="247" y="322"/>
                    </a:cubicBezTo>
                    <a:cubicBezTo>
                      <a:pt x="232" y="322"/>
                      <a:pt x="227" y="306"/>
                      <a:pt x="227" y="306"/>
                    </a:cubicBezTo>
                    <a:cubicBezTo>
                      <a:pt x="214" y="311"/>
                      <a:pt x="214" y="311"/>
                      <a:pt x="214" y="311"/>
                    </a:cubicBezTo>
                    <a:cubicBezTo>
                      <a:pt x="214" y="311"/>
                      <a:pt x="183" y="326"/>
                      <a:pt x="168" y="327"/>
                    </a:cubicBezTo>
                    <a:cubicBezTo>
                      <a:pt x="154" y="328"/>
                      <a:pt x="140" y="319"/>
                      <a:pt x="140" y="319"/>
                    </a:cubicBezTo>
                    <a:cubicBezTo>
                      <a:pt x="127" y="328"/>
                      <a:pt x="127" y="328"/>
                      <a:pt x="127" y="328"/>
                    </a:cubicBezTo>
                    <a:cubicBezTo>
                      <a:pt x="118" y="326"/>
                      <a:pt x="118" y="326"/>
                      <a:pt x="118" y="326"/>
                    </a:cubicBezTo>
                    <a:cubicBezTo>
                      <a:pt x="118" y="326"/>
                      <a:pt x="103" y="338"/>
                      <a:pt x="104" y="343"/>
                    </a:cubicBezTo>
                    <a:cubicBezTo>
                      <a:pt x="106" y="348"/>
                      <a:pt x="112" y="362"/>
                      <a:pt x="104" y="359"/>
                    </a:cubicBezTo>
                    <a:cubicBezTo>
                      <a:pt x="96" y="356"/>
                      <a:pt x="91" y="348"/>
                      <a:pt x="88" y="342"/>
                    </a:cubicBezTo>
                    <a:cubicBezTo>
                      <a:pt x="86" y="335"/>
                      <a:pt x="83" y="335"/>
                      <a:pt x="83" y="335"/>
                    </a:cubicBezTo>
                    <a:cubicBezTo>
                      <a:pt x="83" y="335"/>
                      <a:pt x="74" y="344"/>
                      <a:pt x="67" y="344"/>
                    </a:cubicBezTo>
                    <a:cubicBezTo>
                      <a:pt x="60" y="344"/>
                      <a:pt x="38" y="358"/>
                      <a:pt x="38" y="358"/>
                    </a:cubicBezTo>
                    <a:cubicBezTo>
                      <a:pt x="42" y="390"/>
                      <a:pt x="42" y="390"/>
                      <a:pt x="42" y="390"/>
                    </a:cubicBezTo>
                    <a:cubicBezTo>
                      <a:pt x="38" y="387"/>
                      <a:pt x="38" y="387"/>
                      <a:pt x="38" y="387"/>
                    </a:cubicBezTo>
                    <a:cubicBezTo>
                      <a:pt x="43" y="408"/>
                      <a:pt x="43" y="408"/>
                      <a:pt x="43" y="408"/>
                    </a:cubicBezTo>
                    <a:cubicBezTo>
                      <a:pt x="30" y="423"/>
                      <a:pt x="30" y="423"/>
                      <a:pt x="30" y="423"/>
                    </a:cubicBezTo>
                    <a:cubicBezTo>
                      <a:pt x="31" y="442"/>
                      <a:pt x="31" y="442"/>
                      <a:pt x="31" y="442"/>
                    </a:cubicBezTo>
                    <a:cubicBezTo>
                      <a:pt x="22" y="446"/>
                      <a:pt x="22" y="446"/>
                      <a:pt x="22" y="446"/>
                    </a:cubicBezTo>
                    <a:cubicBezTo>
                      <a:pt x="34" y="458"/>
                      <a:pt x="34" y="458"/>
                      <a:pt x="34" y="458"/>
                    </a:cubicBezTo>
                    <a:cubicBezTo>
                      <a:pt x="34" y="458"/>
                      <a:pt x="72" y="471"/>
                      <a:pt x="76" y="480"/>
                    </a:cubicBezTo>
                    <a:cubicBezTo>
                      <a:pt x="80" y="490"/>
                      <a:pt x="83" y="494"/>
                      <a:pt x="83" y="494"/>
                    </a:cubicBezTo>
                    <a:cubicBezTo>
                      <a:pt x="72" y="498"/>
                      <a:pt x="72" y="498"/>
                      <a:pt x="72" y="498"/>
                    </a:cubicBezTo>
                    <a:cubicBezTo>
                      <a:pt x="72" y="514"/>
                      <a:pt x="72" y="514"/>
                      <a:pt x="72" y="514"/>
                    </a:cubicBezTo>
                    <a:cubicBezTo>
                      <a:pt x="88" y="508"/>
                      <a:pt x="88" y="508"/>
                      <a:pt x="88" y="508"/>
                    </a:cubicBezTo>
                    <a:cubicBezTo>
                      <a:pt x="90" y="538"/>
                      <a:pt x="90" y="538"/>
                      <a:pt x="90" y="538"/>
                    </a:cubicBezTo>
                    <a:cubicBezTo>
                      <a:pt x="78" y="543"/>
                      <a:pt x="78" y="543"/>
                      <a:pt x="78" y="543"/>
                    </a:cubicBezTo>
                    <a:cubicBezTo>
                      <a:pt x="78" y="543"/>
                      <a:pt x="72" y="555"/>
                      <a:pt x="79" y="563"/>
                    </a:cubicBezTo>
                    <a:cubicBezTo>
                      <a:pt x="79" y="568"/>
                      <a:pt x="67" y="578"/>
                      <a:pt x="67" y="578"/>
                    </a:cubicBezTo>
                    <a:cubicBezTo>
                      <a:pt x="67" y="588"/>
                      <a:pt x="67" y="588"/>
                      <a:pt x="67" y="588"/>
                    </a:cubicBezTo>
                    <a:cubicBezTo>
                      <a:pt x="58" y="588"/>
                      <a:pt x="58" y="588"/>
                      <a:pt x="58" y="588"/>
                    </a:cubicBezTo>
                    <a:cubicBezTo>
                      <a:pt x="38" y="614"/>
                      <a:pt x="38" y="614"/>
                      <a:pt x="38" y="614"/>
                    </a:cubicBezTo>
                    <a:cubicBezTo>
                      <a:pt x="38" y="632"/>
                      <a:pt x="38" y="632"/>
                      <a:pt x="38" y="632"/>
                    </a:cubicBezTo>
                    <a:cubicBezTo>
                      <a:pt x="22" y="634"/>
                      <a:pt x="22" y="634"/>
                      <a:pt x="22" y="634"/>
                    </a:cubicBezTo>
                    <a:cubicBezTo>
                      <a:pt x="0" y="699"/>
                      <a:pt x="0" y="699"/>
                      <a:pt x="0" y="699"/>
                    </a:cubicBezTo>
                    <a:cubicBezTo>
                      <a:pt x="0" y="699"/>
                      <a:pt x="1" y="701"/>
                      <a:pt x="1" y="705"/>
                    </a:cubicBezTo>
                    <a:cubicBezTo>
                      <a:pt x="24" y="689"/>
                      <a:pt x="48" y="712"/>
                      <a:pt x="48" y="712"/>
                    </a:cubicBezTo>
                    <a:cubicBezTo>
                      <a:pt x="53" y="712"/>
                      <a:pt x="53" y="712"/>
                      <a:pt x="53" y="712"/>
                    </a:cubicBezTo>
                    <a:cubicBezTo>
                      <a:pt x="79" y="748"/>
                      <a:pt x="79" y="748"/>
                      <a:pt x="79" y="748"/>
                    </a:cubicBezTo>
                    <a:cubicBezTo>
                      <a:pt x="119" y="746"/>
                      <a:pt x="119" y="746"/>
                      <a:pt x="119" y="746"/>
                    </a:cubicBezTo>
                    <a:cubicBezTo>
                      <a:pt x="129" y="735"/>
                      <a:pt x="129" y="735"/>
                      <a:pt x="129" y="735"/>
                    </a:cubicBezTo>
                    <a:cubicBezTo>
                      <a:pt x="129" y="735"/>
                      <a:pt x="153" y="752"/>
                      <a:pt x="162" y="757"/>
                    </a:cubicBezTo>
                    <a:cubicBezTo>
                      <a:pt x="170" y="733"/>
                      <a:pt x="192" y="748"/>
                      <a:pt x="192" y="748"/>
                    </a:cubicBezTo>
                    <a:cubicBezTo>
                      <a:pt x="192" y="748"/>
                      <a:pt x="239" y="752"/>
                      <a:pt x="245" y="753"/>
                    </a:cubicBezTo>
                    <a:cubicBezTo>
                      <a:pt x="251" y="754"/>
                      <a:pt x="245" y="741"/>
                      <a:pt x="245" y="741"/>
                    </a:cubicBezTo>
                    <a:cubicBezTo>
                      <a:pt x="234" y="718"/>
                      <a:pt x="253" y="691"/>
                      <a:pt x="253" y="691"/>
                    </a:cubicBezTo>
                    <a:cubicBezTo>
                      <a:pt x="253" y="691"/>
                      <a:pt x="302" y="721"/>
                      <a:pt x="321" y="721"/>
                    </a:cubicBezTo>
                    <a:cubicBezTo>
                      <a:pt x="340" y="721"/>
                      <a:pt x="364" y="744"/>
                      <a:pt x="364" y="744"/>
                    </a:cubicBezTo>
                    <a:cubicBezTo>
                      <a:pt x="398" y="728"/>
                      <a:pt x="420" y="779"/>
                      <a:pt x="421" y="782"/>
                    </a:cubicBezTo>
                    <a:cubicBezTo>
                      <a:pt x="442" y="756"/>
                      <a:pt x="467" y="782"/>
                      <a:pt x="467" y="782"/>
                    </a:cubicBezTo>
                    <a:cubicBezTo>
                      <a:pt x="479" y="774"/>
                      <a:pt x="479" y="774"/>
                      <a:pt x="479" y="774"/>
                    </a:cubicBezTo>
                    <a:cubicBezTo>
                      <a:pt x="479" y="774"/>
                      <a:pt x="488" y="786"/>
                      <a:pt x="491" y="794"/>
                    </a:cubicBezTo>
                    <a:cubicBezTo>
                      <a:pt x="492" y="791"/>
                      <a:pt x="492" y="791"/>
                      <a:pt x="492" y="791"/>
                    </a:cubicBezTo>
                    <a:cubicBezTo>
                      <a:pt x="516" y="792"/>
                      <a:pt x="516" y="792"/>
                      <a:pt x="516" y="792"/>
                    </a:cubicBezTo>
                    <a:cubicBezTo>
                      <a:pt x="523" y="783"/>
                      <a:pt x="523" y="783"/>
                      <a:pt x="523" y="783"/>
                    </a:cubicBezTo>
                    <a:cubicBezTo>
                      <a:pt x="544" y="778"/>
                      <a:pt x="544" y="778"/>
                      <a:pt x="544" y="778"/>
                    </a:cubicBezTo>
                    <a:cubicBezTo>
                      <a:pt x="542" y="766"/>
                      <a:pt x="542" y="766"/>
                      <a:pt x="542" y="766"/>
                    </a:cubicBezTo>
                    <a:cubicBezTo>
                      <a:pt x="586" y="764"/>
                      <a:pt x="586" y="764"/>
                      <a:pt x="586" y="764"/>
                    </a:cubicBezTo>
                    <a:cubicBezTo>
                      <a:pt x="586" y="764"/>
                      <a:pt x="588" y="758"/>
                      <a:pt x="567" y="736"/>
                    </a:cubicBezTo>
                    <a:cubicBezTo>
                      <a:pt x="514" y="740"/>
                      <a:pt x="528" y="720"/>
                      <a:pt x="528" y="720"/>
                    </a:cubicBezTo>
                    <a:cubicBezTo>
                      <a:pt x="519" y="716"/>
                      <a:pt x="519" y="716"/>
                      <a:pt x="519" y="716"/>
                    </a:cubicBezTo>
                    <a:cubicBezTo>
                      <a:pt x="520" y="702"/>
                      <a:pt x="520" y="702"/>
                      <a:pt x="520" y="702"/>
                    </a:cubicBezTo>
                    <a:cubicBezTo>
                      <a:pt x="520" y="702"/>
                      <a:pt x="543" y="696"/>
                      <a:pt x="543" y="692"/>
                    </a:cubicBezTo>
                    <a:cubicBezTo>
                      <a:pt x="543" y="688"/>
                      <a:pt x="546" y="678"/>
                      <a:pt x="546" y="678"/>
                    </a:cubicBezTo>
                    <a:cubicBezTo>
                      <a:pt x="530" y="674"/>
                      <a:pt x="530" y="674"/>
                      <a:pt x="530" y="674"/>
                    </a:cubicBezTo>
                    <a:cubicBezTo>
                      <a:pt x="544" y="667"/>
                      <a:pt x="544" y="667"/>
                      <a:pt x="544" y="667"/>
                    </a:cubicBezTo>
                    <a:cubicBezTo>
                      <a:pt x="544" y="667"/>
                      <a:pt x="528" y="640"/>
                      <a:pt x="534" y="635"/>
                    </a:cubicBezTo>
                    <a:cubicBezTo>
                      <a:pt x="539" y="630"/>
                      <a:pt x="530" y="614"/>
                      <a:pt x="530" y="614"/>
                    </a:cubicBezTo>
                    <a:cubicBezTo>
                      <a:pt x="480" y="595"/>
                      <a:pt x="480" y="595"/>
                      <a:pt x="480" y="595"/>
                    </a:cubicBezTo>
                    <a:cubicBezTo>
                      <a:pt x="480" y="595"/>
                      <a:pt x="478" y="576"/>
                      <a:pt x="484" y="576"/>
                    </a:cubicBezTo>
                    <a:cubicBezTo>
                      <a:pt x="466" y="554"/>
                      <a:pt x="500" y="548"/>
                      <a:pt x="503" y="543"/>
                    </a:cubicBezTo>
                    <a:cubicBezTo>
                      <a:pt x="503" y="518"/>
                      <a:pt x="515" y="510"/>
                      <a:pt x="515" y="510"/>
                    </a:cubicBezTo>
                    <a:cubicBezTo>
                      <a:pt x="528" y="531"/>
                      <a:pt x="528" y="531"/>
                      <a:pt x="528" y="531"/>
                    </a:cubicBezTo>
                    <a:cubicBezTo>
                      <a:pt x="534" y="518"/>
                      <a:pt x="534" y="518"/>
                      <a:pt x="534" y="518"/>
                    </a:cubicBezTo>
                    <a:cubicBezTo>
                      <a:pt x="562" y="519"/>
                      <a:pt x="562" y="519"/>
                      <a:pt x="562" y="519"/>
                    </a:cubicBezTo>
                    <a:cubicBezTo>
                      <a:pt x="562" y="519"/>
                      <a:pt x="563" y="530"/>
                      <a:pt x="568" y="528"/>
                    </a:cubicBezTo>
                    <a:cubicBezTo>
                      <a:pt x="574" y="527"/>
                      <a:pt x="596" y="532"/>
                      <a:pt x="596" y="532"/>
                    </a:cubicBezTo>
                    <a:cubicBezTo>
                      <a:pt x="596" y="499"/>
                      <a:pt x="639" y="522"/>
                      <a:pt x="639" y="522"/>
                    </a:cubicBezTo>
                    <a:cubicBezTo>
                      <a:pt x="639" y="522"/>
                      <a:pt x="631" y="510"/>
                      <a:pt x="664" y="515"/>
                    </a:cubicBezTo>
                    <a:cubicBezTo>
                      <a:pt x="698" y="520"/>
                      <a:pt x="698" y="492"/>
                      <a:pt x="707" y="487"/>
                    </a:cubicBezTo>
                    <a:cubicBezTo>
                      <a:pt x="668" y="448"/>
                      <a:pt x="719" y="450"/>
                      <a:pt x="719" y="450"/>
                    </a:cubicBezTo>
                    <a:cubicBezTo>
                      <a:pt x="719" y="450"/>
                      <a:pt x="742" y="450"/>
                      <a:pt x="763" y="440"/>
                    </a:cubicBezTo>
                    <a:cubicBezTo>
                      <a:pt x="772" y="422"/>
                      <a:pt x="794" y="428"/>
                      <a:pt x="794" y="428"/>
                    </a:cubicBezTo>
                    <a:cubicBezTo>
                      <a:pt x="795" y="388"/>
                      <a:pt x="795" y="388"/>
                      <a:pt x="795" y="388"/>
                    </a:cubicBezTo>
                    <a:cubicBezTo>
                      <a:pt x="839" y="387"/>
                      <a:pt x="839" y="387"/>
                      <a:pt x="839" y="387"/>
                    </a:cubicBezTo>
                    <a:cubicBezTo>
                      <a:pt x="839" y="370"/>
                      <a:pt x="839" y="370"/>
                      <a:pt x="839" y="370"/>
                    </a:cubicBezTo>
                    <a:cubicBezTo>
                      <a:pt x="860" y="368"/>
                      <a:pt x="860" y="368"/>
                      <a:pt x="860" y="368"/>
                    </a:cubicBezTo>
                    <a:cubicBezTo>
                      <a:pt x="863" y="351"/>
                      <a:pt x="863" y="351"/>
                      <a:pt x="863" y="351"/>
                    </a:cubicBezTo>
                    <a:cubicBezTo>
                      <a:pt x="884" y="326"/>
                      <a:pt x="884" y="326"/>
                      <a:pt x="884" y="326"/>
                    </a:cubicBezTo>
                    <a:lnTo>
                      <a:pt x="871" y="318"/>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09" name="Aquitaine" descr="© INSCALE GmbH, 05.05.2010&#10;http://www.presentationload.com/">
                <a:extLst>
                  <a:ext uri="{FF2B5EF4-FFF2-40B4-BE49-F238E27FC236}">
                    <a16:creationId xmlns:a16="http://schemas.microsoft.com/office/drawing/2014/main" id="{97CDBFD3-5115-4B18-AE8A-FC35BD36554B}"/>
                  </a:ext>
                </a:extLst>
              </p:cNvPr>
              <p:cNvSpPr>
                <a:spLocks/>
              </p:cNvSpPr>
              <p:nvPr/>
            </p:nvSpPr>
            <p:spPr bwMode="gray">
              <a:xfrm>
                <a:off x="758" y="1992"/>
                <a:ext cx="793" cy="1021"/>
              </a:xfrm>
              <a:custGeom>
                <a:avLst/>
                <a:gdLst/>
                <a:ahLst/>
                <a:cxnLst>
                  <a:cxn ang="0">
                    <a:pos x="347" y="849"/>
                  </a:cxn>
                  <a:cxn ang="0">
                    <a:pos x="376" y="813"/>
                  </a:cxn>
                  <a:cxn ang="0">
                    <a:pos x="399" y="773"/>
                  </a:cxn>
                  <a:cxn ang="0">
                    <a:pos x="381" y="733"/>
                  </a:cxn>
                  <a:cxn ang="0">
                    <a:pos x="343" y="693"/>
                  </a:cxn>
                  <a:cxn ang="0">
                    <a:pos x="339" y="658"/>
                  </a:cxn>
                  <a:cxn ang="0">
                    <a:pos x="351" y="625"/>
                  </a:cxn>
                  <a:cxn ang="0">
                    <a:pos x="392" y="570"/>
                  </a:cxn>
                  <a:cxn ang="0">
                    <a:pos x="413" y="578"/>
                  </a:cxn>
                  <a:cxn ang="0">
                    <a:pos x="449" y="554"/>
                  </a:cxn>
                  <a:cxn ang="0">
                    <a:pos x="536" y="541"/>
                  </a:cxn>
                  <a:cxn ang="0">
                    <a:pos x="605" y="522"/>
                  </a:cxn>
                  <a:cxn ang="0">
                    <a:pos x="600" y="469"/>
                  </a:cxn>
                  <a:cxn ang="0">
                    <a:pos x="636" y="425"/>
                  </a:cxn>
                  <a:cxn ang="0">
                    <a:pos x="672" y="353"/>
                  </a:cxn>
                  <a:cxn ang="0">
                    <a:pos x="699" y="310"/>
                  </a:cxn>
                  <a:cxn ang="0">
                    <a:pos x="733" y="289"/>
                  </a:cxn>
                  <a:cxn ang="0">
                    <a:pos x="729" y="243"/>
                  </a:cxn>
                  <a:cxn ang="0">
                    <a:pos x="727" y="207"/>
                  </a:cxn>
                  <a:cxn ang="0">
                    <a:pos x="692" y="183"/>
                  </a:cxn>
                  <a:cxn ang="0">
                    <a:pos x="691" y="150"/>
                  </a:cxn>
                  <a:cxn ang="0">
                    <a:pos x="700" y="117"/>
                  </a:cxn>
                  <a:cxn ang="0">
                    <a:pos x="655" y="74"/>
                  </a:cxn>
                  <a:cxn ang="0">
                    <a:pos x="589" y="58"/>
                  </a:cxn>
                  <a:cxn ang="0">
                    <a:pos x="540" y="43"/>
                  </a:cxn>
                  <a:cxn ang="0">
                    <a:pos x="519" y="74"/>
                  </a:cxn>
                  <a:cxn ang="0">
                    <a:pos x="464" y="147"/>
                  </a:cxn>
                  <a:cxn ang="0">
                    <a:pos x="407" y="202"/>
                  </a:cxn>
                  <a:cxn ang="0">
                    <a:pos x="319" y="169"/>
                  </a:cxn>
                  <a:cxn ang="0">
                    <a:pos x="265" y="131"/>
                  </a:cxn>
                  <a:cxn ang="0">
                    <a:pos x="279" y="178"/>
                  </a:cxn>
                  <a:cxn ang="0">
                    <a:pos x="239" y="76"/>
                  </a:cxn>
                  <a:cxn ang="0">
                    <a:pos x="185" y="0"/>
                  </a:cxn>
                  <a:cxn ang="0">
                    <a:pos x="133" y="309"/>
                  </a:cxn>
                  <a:cxn ang="0">
                    <a:pos x="147" y="302"/>
                  </a:cxn>
                  <a:cxn ang="0">
                    <a:pos x="23" y="730"/>
                  </a:cxn>
                  <a:cxn ang="0">
                    <a:pos x="34" y="764"/>
                  </a:cxn>
                  <a:cxn ang="0">
                    <a:pos x="86" y="787"/>
                  </a:cxn>
                  <a:cxn ang="0">
                    <a:pos x="110" y="831"/>
                  </a:cxn>
                  <a:cxn ang="0">
                    <a:pos x="142" y="869"/>
                  </a:cxn>
                  <a:cxn ang="0">
                    <a:pos x="228" y="882"/>
                  </a:cxn>
                  <a:cxn ang="0">
                    <a:pos x="293" y="943"/>
                  </a:cxn>
                  <a:cxn ang="0">
                    <a:pos x="309" y="934"/>
                  </a:cxn>
                </a:cxnLst>
                <a:rect l="0" t="0" r="r" b="b"/>
                <a:pathLst>
                  <a:path w="735" h="946">
                    <a:moveTo>
                      <a:pt x="331" y="869"/>
                    </a:moveTo>
                    <a:cubicBezTo>
                      <a:pt x="347" y="867"/>
                      <a:pt x="347" y="867"/>
                      <a:pt x="347" y="867"/>
                    </a:cubicBezTo>
                    <a:cubicBezTo>
                      <a:pt x="347" y="849"/>
                      <a:pt x="347" y="849"/>
                      <a:pt x="347" y="849"/>
                    </a:cubicBezTo>
                    <a:cubicBezTo>
                      <a:pt x="367" y="823"/>
                      <a:pt x="367" y="823"/>
                      <a:pt x="367" y="823"/>
                    </a:cubicBezTo>
                    <a:cubicBezTo>
                      <a:pt x="376" y="823"/>
                      <a:pt x="376" y="823"/>
                      <a:pt x="376" y="823"/>
                    </a:cubicBezTo>
                    <a:cubicBezTo>
                      <a:pt x="376" y="813"/>
                      <a:pt x="376" y="813"/>
                      <a:pt x="376" y="813"/>
                    </a:cubicBezTo>
                    <a:cubicBezTo>
                      <a:pt x="376" y="813"/>
                      <a:pt x="388" y="803"/>
                      <a:pt x="388" y="798"/>
                    </a:cubicBezTo>
                    <a:cubicBezTo>
                      <a:pt x="381" y="790"/>
                      <a:pt x="387" y="778"/>
                      <a:pt x="387" y="778"/>
                    </a:cubicBezTo>
                    <a:cubicBezTo>
                      <a:pt x="399" y="773"/>
                      <a:pt x="399" y="773"/>
                      <a:pt x="399" y="773"/>
                    </a:cubicBezTo>
                    <a:cubicBezTo>
                      <a:pt x="397" y="743"/>
                      <a:pt x="397" y="743"/>
                      <a:pt x="397" y="743"/>
                    </a:cubicBezTo>
                    <a:cubicBezTo>
                      <a:pt x="381" y="749"/>
                      <a:pt x="381" y="749"/>
                      <a:pt x="381" y="749"/>
                    </a:cubicBezTo>
                    <a:cubicBezTo>
                      <a:pt x="381" y="733"/>
                      <a:pt x="381" y="733"/>
                      <a:pt x="381" y="733"/>
                    </a:cubicBezTo>
                    <a:cubicBezTo>
                      <a:pt x="392" y="729"/>
                      <a:pt x="392" y="729"/>
                      <a:pt x="392" y="729"/>
                    </a:cubicBezTo>
                    <a:cubicBezTo>
                      <a:pt x="392" y="729"/>
                      <a:pt x="389" y="725"/>
                      <a:pt x="385" y="715"/>
                    </a:cubicBezTo>
                    <a:cubicBezTo>
                      <a:pt x="381" y="706"/>
                      <a:pt x="343" y="693"/>
                      <a:pt x="343" y="693"/>
                    </a:cubicBezTo>
                    <a:cubicBezTo>
                      <a:pt x="331" y="681"/>
                      <a:pt x="331" y="681"/>
                      <a:pt x="331" y="681"/>
                    </a:cubicBezTo>
                    <a:cubicBezTo>
                      <a:pt x="340" y="677"/>
                      <a:pt x="340" y="677"/>
                      <a:pt x="340" y="677"/>
                    </a:cubicBezTo>
                    <a:cubicBezTo>
                      <a:pt x="339" y="658"/>
                      <a:pt x="339" y="658"/>
                      <a:pt x="339" y="658"/>
                    </a:cubicBezTo>
                    <a:cubicBezTo>
                      <a:pt x="352" y="643"/>
                      <a:pt x="352" y="643"/>
                      <a:pt x="352" y="643"/>
                    </a:cubicBezTo>
                    <a:cubicBezTo>
                      <a:pt x="347" y="622"/>
                      <a:pt x="347" y="622"/>
                      <a:pt x="347" y="622"/>
                    </a:cubicBezTo>
                    <a:cubicBezTo>
                      <a:pt x="351" y="625"/>
                      <a:pt x="351" y="625"/>
                      <a:pt x="351" y="625"/>
                    </a:cubicBezTo>
                    <a:cubicBezTo>
                      <a:pt x="347" y="593"/>
                      <a:pt x="347" y="593"/>
                      <a:pt x="347" y="593"/>
                    </a:cubicBezTo>
                    <a:cubicBezTo>
                      <a:pt x="347" y="593"/>
                      <a:pt x="369" y="579"/>
                      <a:pt x="376" y="579"/>
                    </a:cubicBezTo>
                    <a:cubicBezTo>
                      <a:pt x="383" y="579"/>
                      <a:pt x="392" y="570"/>
                      <a:pt x="392" y="570"/>
                    </a:cubicBezTo>
                    <a:cubicBezTo>
                      <a:pt x="392" y="570"/>
                      <a:pt x="395" y="570"/>
                      <a:pt x="397" y="577"/>
                    </a:cubicBezTo>
                    <a:cubicBezTo>
                      <a:pt x="400" y="583"/>
                      <a:pt x="405" y="591"/>
                      <a:pt x="413" y="594"/>
                    </a:cubicBezTo>
                    <a:cubicBezTo>
                      <a:pt x="421" y="597"/>
                      <a:pt x="415" y="583"/>
                      <a:pt x="413" y="578"/>
                    </a:cubicBezTo>
                    <a:cubicBezTo>
                      <a:pt x="412" y="573"/>
                      <a:pt x="427" y="561"/>
                      <a:pt x="427" y="561"/>
                    </a:cubicBezTo>
                    <a:cubicBezTo>
                      <a:pt x="436" y="563"/>
                      <a:pt x="436" y="563"/>
                      <a:pt x="436" y="563"/>
                    </a:cubicBezTo>
                    <a:cubicBezTo>
                      <a:pt x="449" y="554"/>
                      <a:pt x="449" y="554"/>
                      <a:pt x="449" y="554"/>
                    </a:cubicBezTo>
                    <a:cubicBezTo>
                      <a:pt x="449" y="554"/>
                      <a:pt x="463" y="563"/>
                      <a:pt x="477" y="562"/>
                    </a:cubicBezTo>
                    <a:cubicBezTo>
                      <a:pt x="492" y="561"/>
                      <a:pt x="523" y="546"/>
                      <a:pt x="523" y="546"/>
                    </a:cubicBezTo>
                    <a:cubicBezTo>
                      <a:pt x="536" y="541"/>
                      <a:pt x="536" y="541"/>
                      <a:pt x="536" y="541"/>
                    </a:cubicBezTo>
                    <a:cubicBezTo>
                      <a:pt x="536" y="541"/>
                      <a:pt x="541" y="557"/>
                      <a:pt x="556" y="557"/>
                    </a:cubicBezTo>
                    <a:cubicBezTo>
                      <a:pt x="571" y="557"/>
                      <a:pt x="583" y="521"/>
                      <a:pt x="583" y="521"/>
                    </a:cubicBezTo>
                    <a:cubicBezTo>
                      <a:pt x="605" y="522"/>
                      <a:pt x="605" y="522"/>
                      <a:pt x="605" y="522"/>
                    </a:cubicBezTo>
                    <a:cubicBezTo>
                      <a:pt x="600" y="505"/>
                      <a:pt x="600" y="505"/>
                      <a:pt x="600" y="505"/>
                    </a:cubicBezTo>
                    <a:cubicBezTo>
                      <a:pt x="617" y="481"/>
                      <a:pt x="617" y="481"/>
                      <a:pt x="617" y="481"/>
                    </a:cubicBezTo>
                    <a:cubicBezTo>
                      <a:pt x="600" y="469"/>
                      <a:pt x="600" y="469"/>
                      <a:pt x="600" y="469"/>
                    </a:cubicBezTo>
                    <a:cubicBezTo>
                      <a:pt x="600" y="469"/>
                      <a:pt x="603" y="445"/>
                      <a:pt x="621" y="451"/>
                    </a:cubicBezTo>
                    <a:cubicBezTo>
                      <a:pt x="640" y="458"/>
                      <a:pt x="643" y="433"/>
                      <a:pt x="643" y="433"/>
                    </a:cubicBezTo>
                    <a:cubicBezTo>
                      <a:pt x="643" y="433"/>
                      <a:pt x="636" y="429"/>
                      <a:pt x="636" y="425"/>
                    </a:cubicBezTo>
                    <a:cubicBezTo>
                      <a:pt x="636" y="421"/>
                      <a:pt x="625" y="391"/>
                      <a:pt x="625" y="391"/>
                    </a:cubicBezTo>
                    <a:cubicBezTo>
                      <a:pt x="653" y="382"/>
                      <a:pt x="653" y="382"/>
                      <a:pt x="653" y="382"/>
                    </a:cubicBezTo>
                    <a:cubicBezTo>
                      <a:pt x="672" y="353"/>
                      <a:pt x="672" y="353"/>
                      <a:pt x="672" y="353"/>
                    </a:cubicBezTo>
                    <a:cubicBezTo>
                      <a:pt x="693" y="347"/>
                      <a:pt x="693" y="347"/>
                      <a:pt x="693" y="347"/>
                    </a:cubicBezTo>
                    <a:cubicBezTo>
                      <a:pt x="707" y="327"/>
                      <a:pt x="707" y="327"/>
                      <a:pt x="707" y="327"/>
                    </a:cubicBezTo>
                    <a:cubicBezTo>
                      <a:pt x="699" y="310"/>
                      <a:pt x="699" y="310"/>
                      <a:pt x="699" y="310"/>
                    </a:cubicBezTo>
                    <a:cubicBezTo>
                      <a:pt x="715" y="309"/>
                      <a:pt x="715" y="309"/>
                      <a:pt x="715" y="309"/>
                    </a:cubicBezTo>
                    <a:cubicBezTo>
                      <a:pt x="716" y="295"/>
                      <a:pt x="716" y="295"/>
                      <a:pt x="716" y="295"/>
                    </a:cubicBezTo>
                    <a:cubicBezTo>
                      <a:pt x="733" y="289"/>
                      <a:pt x="733" y="289"/>
                      <a:pt x="733" y="289"/>
                    </a:cubicBezTo>
                    <a:cubicBezTo>
                      <a:pt x="728" y="279"/>
                      <a:pt x="728" y="279"/>
                      <a:pt x="728" y="279"/>
                    </a:cubicBezTo>
                    <a:cubicBezTo>
                      <a:pt x="735" y="274"/>
                      <a:pt x="735" y="274"/>
                      <a:pt x="735" y="274"/>
                    </a:cubicBezTo>
                    <a:cubicBezTo>
                      <a:pt x="729" y="243"/>
                      <a:pt x="729" y="243"/>
                      <a:pt x="729" y="243"/>
                    </a:cubicBezTo>
                    <a:cubicBezTo>
                      <a:pt x="732" y="239"/>
                      <a:pt x="732" y="239"/>
                      <a:pt x="732" y="239"/>
                    </a:cubicBezTo>
                    <a:cubicBezTo>
                      <a:pt x="721" y="217"/>
                      <a:pt x="721" y="217"/>
                      <a:pt x="721" y="217"/>
                    </a:cubicBezTo>
                    <a:cubicBezTo>
                      <a:pt x="727" y="207"/>
                      <a:pt x="727" y="207"/>
                      <a:pt x="727" y="207"/>
                    </a:cubicBezTo>
                    <a:cubicBezTo>
                      <a:pt x="696" y="195"/>
                      <a:pt x="696" y="195"/>
                      <a:pt x="696" y="195"/>
                    </a:cubicBezTo>
                    <a:cubicBezTo>
                      <a:pt x="700" y="185"/>
                      <a:pt x="700" y="185"/>
                      <a:pt x="700" y="185"/>
                    </a:cubicBezTo>
                    <a:cubicBezTo>
                      <a:pt x="692" y="183"/>
                      <a:pt x="692" y="183"/>
                      <a:pt x="692" y="183"/>
                    </a:cubicBezTo>
                    <a:cubicBezTo>
                      <a:pt x="699" y="167"/>
                      <a:pt x="699" y="167"/>
                      <a:pt x="699" y="167"/>
                    </a:cubicBezTo>
                    <a:cubicBezTo>
                      <a:pt x="691" y="161"/>
                      <a:pt x="691" y="161"/>
                      <a:pt x="691" y="161"/>
                    </a:cubicBezTo>
                    <a:cubicBezTo>
                      <a:pt x="691" y="150"/>
                      <a:pt x="691" y="150"/>
                      <a:pt x="691" y="150"/>
                    </a:cubicBezTo>
                    <a:cubicBezTo>
                      <a:pt x="691" y="150"/>
                      <a:pt x="707" y="135"/>
                      <a:pt x="707" y="129"/>
                    </a:cubicBezTo>
                    <a:cubicBezTo>
                      <a:pt x="707" y="122"/>
                      <a:pt x="693" y="118"/>
                      <a:pt x="693" y="118"/>
                    </a:cubicBezTo>
                    <a:cubicBezTo>
                      <a:pt x="700" y="117"/>
                      <a:pt x="700" y="117"/>
                      <a:pt x="700" y="117"/>
                    </a:cubicBezTo>
                    <a:cubicBezTo>
                      <a:pt x="668" y="95"/>
                      <a:pt x="668" y="95"/>
                      <a:pt x="668" y="95"/>
                    </a:cubicBezTo>
                    <a:cubicBezTo>
                      <a:pt x="673" y="75"/>
                      <a:pt x="673" y="75"/>
                      <a:pt x="673" y="75"/>
                    </a:cubicBezTo>
                    <a:cubicBezTo>
                      <a:pt x="673" y="75"/>
                      <a:pt x="661" y="74"/>
                      <a:pt x="655" y="74"/>
                    </a:cubicBezTo>
                    <a:cubicBezTo>
                      <a:pt x="648" y="74"/>
                      <a:pt x="643" y="51"/>
                      <a:pt x="643" y="51"/>
                    </a:cubicBezTo>
                    <a:cubicBezTo>
                      <a:pt x="608" y="47"/>
                      <a:pt x="608" y="47"/>
                      <a:pt x="608" y="47"/>
                    </a:cubicBezTo>
                    <a:cubicBezTo>
                      <a:pt x="608" y="47"/>
                      <a:pt x="596" y="62"/>
                      <a:pt x="589" y="58"/>
                    </a:cubicBezTo>
                    <a:cubicBezTo>
                      <a:pt x="583" y="54"/>
                      <a:pt x="589" y="30"/>
                      <a:pt x="589" y="30"/>
                    </a:cubicBezTo>
                    <a:cubicBezTo>
                      <a:pt x="589" y="30"/>
                      <a:pt x="576" y="24"/>
                      <a:pt x="558" y="21"/>
                    </a:cubicBezTo>
                    <a:cubicBezTo>
                      <a:pt x="540" y="43"/>
                      <a:pt x="540" y="43"/>
                      <a:pt x="540" y="43"/>
                    </a:cubicBezTo>
                    <a:cubicBezTo>
                      <a:pt x="540" y="43"/>
                      <a:pt x="529" y="45"/>
                      <a:pt x="525" y="45"/>
                    </a:cubicBezTo>
                    <a:cubicBezTo>
                      <a:pt x="521" y="45"/>
                      <a:pt x="531" y="73"/>
                      <a:pt x="531" y="73"/>
                    </a:cubicBezTo>
                    <a:cubicBezTo>
                      <a:pt x="519" y="74"/>
                      <a:pt x="519" y="74"/>
                      <a:pt x="519" y="74"/>
                    </a:cubicBezTo>
                    <a:cubicBezTo>
                      <a:pt x="519" y="74"/>
                      <a:pt x="515" y="73"/>
                      <a:pt x="511" y="87"/>
                    </a:cubicBezTo>
                    <a:cubicBezTo>
                      <a:pt x="459" y="94"/>
                      <a:pt x="471" y="147"/>
                      <a:pt x="471" y="147"/>
                    </a:cubicBezTo>
                    <a:cubicBezTo>
                      <a:pt x="464" y="147"/>
                      <a:pt x="464" y="147"/>
                      <a:pt x="464" y="147"/>
                    </a:cubicBezTo>
                    <a:cubicBezTo>
                      <a:pt x="464" y="147"/>
                      <a:pt x="445" y="175"/>
                      <a:pt x="441" y="175"/>
                    </a:cubicBezTo>
                    <a:cubicBezTo>
                      <a:pt x="437" y="175"/>
                      <a:pt x="429" y="166"/>
                      <a:pt x="429" y="166"/>
                    </a:cubicBezTo>
                    <a:cubicBezTo>
                      <a:pt x="429" y="166"/>
                      <a:pt x="413" y="189"/>
                      <a:pt x="407" y="202"/>
                    </a:cubicBezTo>
                    <a:cubicBezTo>
                      <a:pt x="400" y="215"/>
                      <a:pt x="367" y="213"/>
                      <a:pt x="349" y="195"/>
                    </a:cubicBezTo>
                    <a:cubicBezTo>
                      <a:pt x="332" y="178"/>
                      <a:pt x="324" y="193"/>
                      <a:pt x="324" y="193"/>
                    </a:cubicBezTo>
                    <a:cubicBezTo>
                      <a:pt x="324" y="193"/>
                      <a:pt x="324" y="187"/>
                      <a:pt x="319" y="169"/>
                    </a:cubicBezTo>
                    <a:cubicBezTo>
                      <a:pt x="325" y="154"/>
                      <a:pt x="285" y="143"/>
                      <a:pt x="285" y="143"/>
                    </a:cubicBezTo>
                    <a:cubicBezTo>
                      <a:pt x="279" y="130"/>
                      <a:pt x="279" y="130"/>
                      <a:pt x="279" y="130"/>
                    </a:cubicBezTo>
                    <a:cubicBezTo>
                      <a:pt x="265" y="131"/>
                      <a:pt x="265" y="131"/>
                      <a:pt x="265" y="131"/>
                    </a:cubicBezTo>
                    <a:cubicBezTo>
                      <a:pt x="267" y="136"/>
                      <a:pt x="270" y="143"/>
                      <a:pt x="272" y="153"/>
                    </a:cubicBezTo>
                    <a:cubicBezTo>
                      <a:pt x="276" y="171"/>
                      <a:pt x="290" y="171"/>
                      <a:pt x="290" y="171"/>
                    </a:cubicBezTo>
                    <a:cubicBezTo>
                      <a:pt x="279" y="178"/>
                      <a:pt x="279" y="178"/>
                      <a:pt x="279" y="178"/>
                    </a:cubicBezTo>
                    <a:cubicBezTo>
                      <a:pt x="279" y="178"/>
                      <a:pt x="262" y="147"/>
                      <a:pt x="258" y="143"/>
                    </a:cubicBezTo>
                    <a:cubicBezTo>
                      <a:pt x="254" y="140"/>
                      <a:pt x="250" y="104"/>
                      <a:pt x="242" y="83"/>
                    </a:cubicBezTo>
                    <a:cubicBezTo>
                      <a:pt x="239" y="76"/>
                      <a:pt x="239" y="76"/>
                      <a:pt x="239" y="76"/>
                    </a:cubicBezTo>
                    <a:cubicBezTo>
                      <a:pt x="239" y="75"/>
                      <a:pt x="239" y="75"/>
                      <a:pt x="239" y="75"/>
                    </a:cubicBezTo>
                    <a:cubicBezTo>
                      <a:pt x="229" y="55"/>
                      <a:pt x="184" y="19"/>
                      <a:pt x="184" y="19"/>
                    </a:cubicBezTo>
                    <a:cubicBezTo>
                      <a:pt x="185" y="0"/>
                      <a:pt x="185" y="0"/>
                      <a:pt x="185" y="0"/>
                    </a:cubicBezTo>
                    <a:cubicBezTo>
                      <a:pt x="162" y="28"/>
                      <a:pt x="162" y="28"/>
                      <a:pt x="162" y="28"/>
                    </a:cubicBezTo>
                    <a:cubicBezTo>
                      <a:pt x="162" y="28"/>
                      <a:pt x="164" y="82"/>
                      <a:pt x="159" y="107"/>
                    </a:cubicBezTo>
                    <a:cubicBezTo>
                      <a:pt x="155" y="130"/>
                      <a:pt x="136" y="279"/>
                      <a:pt x="133" y="309"/>
                    </a:cubicBezTo>
                    <a:cubicBezTo>
                      <a:pt x="136" y="291"/>
                      <a:pt x="155" y="262"/>
                      <a:pt x="155" y="262"/>
                    </a:cubicBezTo>
                    <a:cubicBezTo>
                      <a:pt x="155" y="262"/>
                      <a:pt x="187" y="292"/>
                      <a:pt x="180" y="304"/>
                    </a:cubicBezTo>
                    <a:cubicBezTo>
                      <a:pt x="173" y="316"/>
                      <a:pt x="147" y="302"/>
                      <a:pt x="147" y="302"/>
                    </a:cubicBezTo>
                    <a:cubicBezTo>
                      <a:pt x="145" y="322"/>
                      <a:pt x="131" y="339"/>
                      <a:pt x="131" y="339"/>
                    </a:cubicBezTo>
                    <a:cubicBezTo>
                      <a:pt x="131" y="339"/>
                      <a:pt x="115" y="435"/>
                      <a:pt x="93" y="567"/>
                    </a:cubicBezTo>
                    <a:cubicBezTo>
                      <a:pt x="71" y="699"/>
                      <a:pt x="23" y="730"/>
                      <a:pt x="23" y="730"/>
                    </a:cubicBezTo>
                    <a:cubicBezTo>
                      <a:pt x="0" y="733"/>
                      <a:pt x="0" y="733"/>
                      <a:pt x="0" y="733"/>
                    </a:cubicBezTo>
                    <a:cubicBezTo>
                      <a:pt x="13" y="763"/>
                      <a:pt x="13" y="763"/>
                      <a:pt x="13" y="763"/>
                    </a:cubicBezTo>
                    <a:cubicBezTo>
                      <a:pt x="34" y="764"/>
                      <a:pt x="34" y="764"/>
                      <a:pt x="34" y="764"/>
                    </a:cubicBezTo>
                    <a:cubicBezTo>
                      <a:pt x="34" y="764"/>
                      <a:pt x="37" y="773"/>
                      <a:pt x="42" y="779"/>
                    </a:cubicBezTo>
                    <a:cubicBezTo>
                      <a:pt x="47" y="785"/>
                      <a:pt x="48" y="774"/>
                      <a:pt x="56" y="771"/>
                    </a:cubicBezTo>
                    <a:cubicBezTo>
                      <a:pt x="64" y="768"/>
                      <a:pt x="74" y="776"/>
                      <a:pt x="86" y="787"/>
                    </a:cubicBezTo>
                    <a:cubicBezTo>
                      <a:pt x="98" y="798"/>
                      <a:pt x="71" y="830"/>
                      <a:pt x="69" y="843"/>
                    </a:cubicBezTo>
                    <a:cubicBezTo>
                      <a:pt x="67" y="856"/>
                      <a:pt x="92" y="859"/>
                      <a:pt x="92" y="859"/>
                    </a:cubicBezTo>
                    <a:cubicBezTo>
                      <a:pt x="92" y="859"/>
                      <a:pt x="100" y="831"/>
                      <a:pt x="110" y="831"/>
                    </a:cubicBezTo>
                    <a:cubicBezTo>
                      <a:pt x="120" y="831"/>
                      <a:pt x="107" y="846"/>
                      <a:pt x="107" y="846"/>
                    </a:cubicBezTo>
                    <a:cubicBezTo>
                      <a:pt x="136" y="857"/>
                      <a:pt x="136" y="857"/>
                      <a:pt x="136" y="857"/>
                    </a:cubicBezTo>
                    <a:cubicBezTo>
                      <a:pt x="142" y="869"/>
                      <a:pt x="142" y="869"/>
                      <a:pt x="142" y="869"/>
                    </a:cubicBezTo>
                    <a:cubicBezTo>
                      <a:pt x="149" y="864"/>
                      <a:pt x="149" y="864"/>
                      <a:pt x="149" y="864"/>
                    </a:cubicBezTo>
                    <a:cubicBezTo>
                      <a:pt x="182" y="884"/>
                      <a:pt x="182" y="884"/>
                      <a:pt x="182" y="884"/>
                    </a:cubicBezTo>
                    <a:cubicBezTo>
                      <a:pt x="228" y="882"/>
                      <a:pt x="228" y="882"/>
                      <a:pt x="228" y="882"/>
                    </a:cubicBezTo>
                    <a:cubicBezTo>
                      <a:pt x="228" y="882"/>
                      <a:pt x="230" y="909"/>
                      <a:pt x="239" y="912"/>
                    </a:cubicBezTo>
                    <a:cubicBezTo>
                      <a:pt x="248" y="915"/>
                      <a:pt x="277" y="946"/>
                      <a:pt x="277" y="946"/>
                    </a:cubicBezTo>
                    <a:cubicBezTo>
                      <a:pt x="293" y="936"/>
                      <a:pt x="293" y="943"/>
                      <a:pt x="293" y="943"/>
                    </a:cubicBezTo>
                    <a:cubicBezTo>
                      <a:pt x="293" y="943"/>
                      <a:pt x="309" y="946"/>
                      <a:pt x="306" y="942"/>
                    </a:cubicBezTo>
                    <a:cubicBezTo>
                      <a:pt x="307" y="941"/>
                      <a:pt x="308" y="940"/>
                      <a:pt x="310" y="940"/>
                    </a:cubicBezTo>
                    <a:cubicBezTo>
                      <a:pt x="310" y="936"/>
                      <a:pt x="309" y="934"/>
                      <a:pt x="309" y="934"/>
                    </a:cubicBezTo>
                    <a:lnTo>
                      <a:pt x="331" y="869"/>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10" name="Rhône-Alpes" descr="© INSCALE GmbH, 05.05.2010&#10;http://www.presentationload.com/">
                <a:extLst>
                  <a:ext uri="{FF2B5EF4-FFF2-40B4-BE49-F238E27FC236}">
                    <a16:creationId xmlns:a16="http://schemas.microsoft.com/office/drawing/2014/main" id="{C96232F3-AA0D-4686-B8F3-177F16EC3D67}"/>
                  </a:ext>
                </a:extLst>
              </p:cNvPr>
              <p:cNvSpPr>
                <a:spLocks/>
              </p:cNvSpPr>
              <p:nvPr/>
            </p:nvSpPr>
            <p:spPr bwMode="gray">
              <a:xfrm>
                <a:off x="2094" y="1710"/>
                <a:ext cx="833" cy="840"/>
              </a:xfrm>
              <a:custGeom>
                <a:avLst/>
                <a:gdLst/>
                <a:ahLst/>
                <a:cxnLst>
                  <a:cxn ang="0">
                    <a:pos x="92" y="696"/>
                  </a:cxn>
                  <a:cxn ang="0">
                    <a:pos x="136" y="744"/>
                  </a:cxn>
                  <a:cxn ang="0">
                    <a:pos x="170" y="728"/>
                  </a:cxn>
                  <a:cxn ang="0">
                    <a:pos x="228" y="735"/>
                  </a:cxn>
                  <a:cxn ang="0">
                    <a:pos x="318" y="724"/>
                  </a:cxn>
                  <a:cxn ang="0">
                    <a:pos x="341" y="746"/>
                  </a:cxn>
                  <a:cxn ang="0">
                    <a:pos x="386" y="752"/>
                  </a:cxn>
                  <a:cxn ang="0">
                    <a:pos x="416" y="778"/>
                  </a:cxn>
                  <a:cxn ang="0">
                    <a:pos x="462" y="752"/>
                  </a:cxn>
                  <a:cxn ang="0">
                    <a:pos x="414" y="708"/>
                  </a:cxn>
                  <a:cxn ang="0">
                    <a:pos x="406" y="670"/>
                  </a:cxn>
                  <a:cxn ang="0">
                    <a:pos x="453" y="650"/>
                  </a:cxn>
                  <a:cxn ang="0">
                    <a:pos x="486" y="590"/>
                  </a:cxn>
                  <a:cxn ang="0">
                    <a:pos x="541" y="546"/>
                  </a:cxn>
                  <a:cxn ang="0">
                    <a:pos x="572" y="487"/>
                  </a:cxn>
                  <a:cxn ang="0">
                    <a:pos x="604" y="452"/>
                  </a:cxn>
                  <a:cxn ang="0">
                    <a:pos x="632" y="458"/>
                  </a:cxn>
                  <a:cxn ang="0">
                    <a:pos x="685" y="426"/>
                  </a:cxn>
                  <a:cxn ang="0">
                    <a:pos x="772" y="342"/>
                  </a:cxn>
                  <a:cxn ang="0">
                    <a:pos x="686" y="232"/>
                  </a:cxn>
                  <a:cxn ang="0">
                    <a:pos x="706" y="121"/>
                  </a:cxn>
                  <a:cxn ang="0">
                    <a:pos x="684" y="108"/>
                  </a:cxn>
                  <a:cxn ang="0">
                    <a:pos x="670" y="33"/>
                  </a:cxn>
                  <a:cxn ang="0">
                    <a:pos x="611" y="0"/>
                  </a:cxn>
                  <a:cxn ang="0">
                    <a:pos x="560" y="31"/>
                  </a:cxn>
                  <a:cxn ang="0">
                    <a:pos x="569" y="68"/>
                  </a:cxn>
                  <a:cxn ang="0">
                    <a:pos x="517" y="99"/>
                  </a:cxn>
                  <a:cxn ang="0">
                    <a:pos x="512" y="67"/>
                  </a:cxn>
                  <a:cxn ang="0">
                    <a:pos x="534" y="29"/>
                  </a:cxn>
                  <a:cxn ang="0">
                    <a:pos x="441" y="74"/>
                  </a:cxn>
                  <a:cxn ang="0">
                    <a:pos x="388" y="79"/>
                  </a:cxn>
                  <a:cxn ang="0">
                    <a:pos x="350" y="50"/>
                  </a:cxn>
                  <a:cxn ang="0">
                    <a:pos x="326" y="16"/>
                  </a:cxn>
                  <a:cxn ang="0">
                    <a:pos x="237" y="126"/>
                  </a:cxn>
                  <a:cxn ang="0">
                    <a:pos x="217" y="100"/>
                  </a:cxn>
                  <a:cxn ang="0">
                    <a:pos x="188" y="88"/>
                  </a:cxn>
                  <a:cxn ang="0">
                    <a:pos x="152" y="88"/>
                  </a:cxn>
                  <a:cxn ang="0">
                    <a:pos x="125" y="136"/>
                  </a:cxn>
                  <a:cxn ang="0">
                    <a:pos x="86" y="126"/>
                  </a:cxn>
                  <a:cxn ang="0">
                    <a:pos x="42" y="119"/>
                  </a:cxn>
                  <a:cxn ang="0">
                    <a:pos x="21" y="124"/>
                  </a:cxn>
                  <a:cxn ang="0">
                    <a:pos x="25" y="187"/>
                  </a:cxn>
                  <a:cxn ang="0">
                    <a:pos x="12" y="224"/>
                  </a:cxn>
                  <a:cxn ang="0">
                    <a:pos x="29" y="311"/>
                  </a:cxn>
                  <a:cxn ang="0">
                    <a:pos x="50" y="403"/>
                  </a:cxn>
                  <a:cxn ang="0">
                    <a:pos x="72" y="396"/>
                  </a:cxn>
                  <a:cxn ang="0">
                    <a:pos x="90" y="390"/>
                  </a:cxn>
                  <a:cxn ang="0">
                    <a:pos x="150" y="406"/>
                  </a:cxn>
                  <a:cxn ang="0">
                    <a:pos x="171" y="469"/>
                  </a:cxn>
                  <a:cxn ang="0">
                    <a:pos x="157" y="458"/>
                  </a:cxn>
                  <a:cxn ang="0">
                    <a:pos x="157" y="495"/>
                  </a:cxn>
                  <a:cxn ang="0">
                    <a:pos x="122" y="519"/>
                  </a:cxn>
                  <a:cxn ang="0">
                    <a:pos x="81" y="554"/>
                  </a:cxn>
                  <a:cxn ang="0">
                    <a:pos x="41" y="588"/>
                  </a:cxn>
                </a:cxnLst>
                <a:rect l="0" t="0" r="r" b="b"/>
                <a:pathLst>
                  <a:path w="772" h="778">
                    <a:moveTo>
                      <a:pt x="68" y="647"/>
                    </a:moveTo>
                    <a:cubicBezTo>
                      <a:pt x="72" y="678"/>
                      <a:pt x="72" y="678"/>
                      <a:pt x="72" y="678"/>
                    </a:cubicBezTo>
                    <a:cubicBezTo>
                      <a:pt x="92" y="696"/>
                      <a:pt x="92" y="696"/>
                      <a:pt x="92" y="696"/>
                    </a:cubicBezTo>
                    <a:cubicBezTo>
                      <a:pt x="85" y="727"/>
                      <a:pt x="85" y="727"/>
                      <a:pt x="85" y="727"/>
                    </a:cubicBezTo>
                    <a:cubicBezTo>
                      <a:pt x="104" y="716"/>
                      <a:pt x="104" y="716"/>
                      <a:pt x="104" y="716"/>
                    </a:cubicBezTo>
                    <a:cubicBezTo>
                      <a:pt x="136" y="744"/>
                      <a:pt x="136" y="744"/>
                      <a:pt x="136" y="744"/>
                    </a:cubicBezTo>
                    <a:cubicBezTo>
                      <a:pt x="156" y="714"/>
                      <a:pt x="156" y="714"/>
                      <a:pt x="156" y="714"/>
                    </a:cubicBezTo>
                    <a:cubicBezTo>
                      <a:pt x="170" y="714"/>
                      <a:pt x="170" y="714"/>
                      <a:pt x="170" y="714"/>
                    </a:cubicBezTo>
                    <a:cubicBezTo>
                      <a:pt x="170" y="728"/>
                      <a:pt x="170" y="728"/>
                      <a:pt x="170" y="728"/>
                    </a:cubicBezTo>
                    <a:cubicBezTo>
                      <a:pt x="177" y="728"/>
                      <a:pt x="177" y="728"/>
                      <a:pt x="177" y="728"/>
                    </a:cubicBezTo>
                    <a:cubicBezTo>
                      <a:pt x="185" y="716"/>
                      <a:pt x="185" y="716"/>
                      <a:pt x="185" y="716"/>
                    </a:cubicBezTo>
                    <a:cubicBezTo>
                      <a:pt x="228" y="735"/>
                      <a:pt x="228" y="735"/>
                      <a:pt x="228" y="735"/>
                    </a:cubicBezTo>
                    <a:cubicBezTo>
                      <a:pt x="228" y="720"/>
                      <a:pt x="228" y="720"/>
                      <a:pt x="228" y="720"/>
                    </a:cubicBezTo>
                    <a:cubicBezTo>
                      <a:pt x="228" y="720"/>
                      <a:pt x="262" y="712"/>
                      <a:pt x="264" y="748"/>
                    </a:cubicBezTo>
                    <a:cubicBezTo>
                      <a:pt x="318" y="724"/>
                      <a:pt x="318" y="724"/>
                      <a:pt x="318" y="724"/>
                    </a:cubicBezTo>
                    <a:cubicBezTo>
                      <a:pt x="329" y="728"/>
                      <a:pt x="329" y="728"/>
                      <a:pt x="329" y="728"/>
                    </a:cubicBezTo>
                    <a:cubicBezTo>
                      <a:pt x="341" y="722"/>
                      <a:pt x="341" y="722"/>
                      <a:pt x="341" y="722"/>
                    </a:cubicBezTo>
                    <a:cubicBezTo>
                      <a:pt x="341" y="746"/>
                      <a:pt x="341" y="746"/>
                      <a:pt x="341" y="746"/>
                    </a:cubicBezTo>
                    <a:cubicBezTo>
                      <a:pt x="366" y="754"/>
                      <a:pt x="366" y="754"/>
                      <a:pt x="366" y="754"/>
                    </a:cubicBezTo>
                    <a:cubicBezTo>
                      <a:pt x="365" y="747"/>
                      <a:pt x="365" y="747"/>
                      <a:pt x="365" y="747"/>
                    </a:cubicBezTo>
                    <a:cubicBezTo>
                      <a:pt x="386" y="752"/>
                      <a:pt x="386" y="752"/>
                      <a:pt x="386" y="752"/>
                    </a:cubicBezTo>
                    <a:cubicBezTo>
                      <a:pt x="386" y="752"/>
                      <a:pt x="393" y="756"/>
                      <a:pt x="393" y="766"/>
                    </a:cubicBezTo>
                    <a:cubicBezTo>
                      <a:pt x="393" y="775"/>
                      <a:pt x="406" y="771"/>
                      <a:pt x="406" y="771"/>
                    </a:cubicBezTo>
                    <a:cubicBezTo>
                      <a:pt x="416" y="778"/>
                      <a:pt x="416" y="778"/>
                      <a:pt x="416" y="778"/>
                    </a:cubicBezTo>
                    <a:cubicBezTo>
                      <a:pt x="436" y="766"/>
                      <a:pt x="436" y="766"/>
                      <a:pt x="436" y="766"/>
                    </a:cubicBezTo>
                    <a:cubicBezTo>
                      <a:pt x="436" y="766"/>
                      <a:pt x="426" y="755"/>
                      <a:pt x="450" y="763"/>
                    </a:cubicBezTo>
                    <a:cubicBezTo>
                      <a:pt x="448" y="766"/>
                      <a:pt x="462" y="752"/>
                      <a:pt x="462" y="752"/>
                    </a:cubicBezTo>
                    <a:cubicBezTo>
                      <a:pt x="462" y="730"/>
                      <a:pt x="462" y="730"/>
                      <a:pt x="462" y="730"/>
                    </a:cubicBezTo>
                    <a:cubicBezTo>
                      <a:pt x="445" y="710"/>
                      <a:pt x="445" y="710"/>
                      <a:pt x="445" y="710"/>
                    </a:cubicBezTo>
                    <a:cubicBezTo>
                      <a:pt x="414" y="708"/>
                      <a:pt x="414" y="708"/>
                      <a:pt x="414" y="708"/>
                    </a:cubicBezTo>
                    <a:cubicBezTo>
                      <a:pt x="398" y="683"/>
                      <a:pt x="398" y="683"/>
                      <a:pt x="398" y="683"/>
                    </a:cubicBezTo>
                    <a:cubicBezTo>
                      <a:pt x="414" y="682"/>
                      <a:pt x="414" y="682"/>
                      <a:pt x="414" y="682"/>
                    </a:cubicBezTo>
                    <a:cubicBezTo>
                      <a:pt x="406" y="670"/>
                      <a:pt x="406" y="670"/>
                      <a:pt x="406" y="670"/>
                    </a:cubicBezTo>
                    <a:cubicBezTo>
                      <a:pt x="409" y="658"/>
                      <a:pt x="409" y="658"/>
                      <a:pt x="409" y="658"/>
                    </a:cubicBezTo>
                    <a:cubicBezTo>
                      <a:pt x="438" y="662"/>
                      <a:pt x="438" y="662"/>
                      <a:pt x="438" y="662"/>
                    </a:cubicBezTo>
                    <a:cubicBezTo>
                      <a:pt x="453" y="650"/>
                      <a:pt x="453" y="650"/>
                      <a:pt x="453" y="650"/>
                    </a:cubicBezTo>
                    <a:cubicBezTo>
                      <a:pt x="436" y="640"/>
                      <a:pt x="436" y="640"/>
                      <a:pt x="436" y="640"/>
                    </a:cubicBezTo>
                    <a:cubicBezTo>
                      <a:pt x="449" y="614"/>
                      <a:pt x="449" y="614"/>
                      <a:pt x="449" y="614"/>
                    </a:cubicBezTo>
                    <a:cubicBezTo>
                      <a:pt x="449" y="614"/>
                      <a:pt x="490" y="599"/>
                      <a:pt x="486" y="590"/>
                    </a:cubicBezTo>
                    <a:cubicBezTo>
                      <a:pt x="482" y="580"/>
                      <a:pt x="477" y="568"/>
                      <a:pt x="489" y="568"/>
                    </a:cubicBezTo>
                    <a:cubicBezTo>
                      <a:pt x="501" y="568"/>
                      <a:pt x="525" y="562"/>
                      <a:pt x="525" y="562"/>
                    </a:cubicBezTo>
                    <a:cubicBezTo>
                      <a:pt x="525" y="562"/>
                      <a:pt x="534" y="539"/>
                      <a:pt x="541" y="546"/>
                    </a:cubicBezTo>
                    <a:cubicBezTo>
                      <a:pt x="548" y="552"/>
                      <a:pt x="538" y="532"/>
                      <a:pt x="604" y="534"/>
                    </a:cubicBezTo>
                    <a:cubicBezTo>
                      <a:pt x="597" y="511"/>
                      <a:pt x="596" y="492"/>
                      <a:pt x="596" y="492"/>
                    </a:cubicBezTo>
                    <a:cubicBezTo>
                      <a:pt x="596" y="492"/>
                      <a:pt x="572" y="498"/>
                      <a:pt x="572" y="487"/>
                    </a:cubicBezTo>
                    <a:cubicBezTo>
                      <a:pt x="572" y="476"/>
                      <a:pt x="577" y="463"/>
                      <a:pt x="577" y="463"/>
                    </a:cubicBezTo>
                    <a:cubicBezTo>
                      <a:pt x="574" y="455"/>
                      <a:pt x="574" y="455"/>
                      <a:pt x="574" y="455"/>
                    </a:cubicBezTo>
                    <a:cubicBezTo>
                      <a:pt x="604" y="452"/>
                      <a:pt x="604" y="452"/>
                      <a:pt x="604" y="452"/>
                    </a:cubicBezTo>
                    <a:cubicBezTo>
                      <a:pt x="605" y="466"/>
                      <a:pt x="605" y="466"/>
                      <a:pt x="605" y="466"/>
                    </a:cubicBezTo>
                    <a:cubicBezTo>
                      <a:pt x="629" y="466"/>
                      <a:pt x="629" y="466"/>
                      <a:pt x="629" y="466"/>
                    </a:cubicBezTo>
                    <a:cubicBezTo>
                      <a:pt x="632" y="458"/>
                      <a:pt x="632" y="458"/>
                      <a:pt x="632" y="458"/>
                    </a:cubicBezTo>
                    <a:cubicBezTo>
                      <a:pt x="656" y="454"/>
                      <a:pt x="656" y="454"/>
                      <a:pt x="656" y="454"/>
                    </a:cubicBezTo>
                    <a:cubicBezTo>
                      <a:pt x="648" y="442"/>
                      <a:pt x="660" y="431"/>
                      <a:pt x="660" y="431"/>
                    </a:cubicBezTo>
                    <a:cubicBezTo>
                      <a:pt x="670" y="445"/>
                      <a:pt x="685" y="426"/>
                      <a:pt x="685" y="426"/>
                    </a:cubicBezTo>
                    <a:cubicBezTo>
                      <a:pt x="704" y="448"/>
                      <a:pt x="725" y="407"/>
                      <a:pt x="725" y="407"/>
                    </a:cubicBezTo>
                    <a:cubicBezTo>
                      <a:pt x="725" y="407"/>
                      <a:pt x="757" y="400"/>
                      <a:pt x="758" y="394"/>
                    </a:cubicBezTo>
                    <a:cubicBezTo>
                      <a:pt x="755" y="371"/>
                      <a:pt x="772" y="342"/>
                      <a:pt x="772" y="342"/>
                    </a:cubicBezTo>
                    <a:cubicBezTo>
                      <a:pt x="764" y="342"/>
                      <a:pt x="744" y="317"/>
                      <a:pt x="741" y="313"/>
                    </a:cubicBezTo>
                    <a:cubicBezTo>
                      <a:pt x="705" y="284"/>
                      <a:pt x="737" y="269"/>
                      <a:pt x="733" y="267"/>
                    </a:cubicBezTo>
                    <a:cubicBezTo>
                      <a:pt x="704" y="274"/>
                      <a:pt x="688" y="235"/>
                      <a:pt x="686" y="232"/>
                    </a:cubicBezTo>
                    <a:cubicBezTo>
                      <a:pt x="678" y="230"/>
                      <a:pt x="684" y="206"/>
                      <a:pt x="684" y="200"/>
                    </a:cubicBezTo>
                    <a:cubicBezTo>
                      <a:pt x="698" y="224"/>
                      <a:pt x="737" y="172"/>
                      <a:pt x="737" y="172"/>
                    </a:cubicBezTo>
                    <a:cubicBezTo>
                      <a:pt x="706" y="121"/>
                      <a:pt x="706" y="121"/>
                      <a:pt x="706" y="121"/>
                    </a:cubicBezTo>
                    <a:cubicBezTo>
                      <a:pt x="701" y="129"/>
                      <a:pt x="701" y="129"/>
                      <a:pt x="701" y="129"/>
                    </a:cubicBezTo>
                    <a:cubicBezTo>
                      <a:pt x="698" y="120"/>
                      <a:pt x="698" y="120"/>
                      <a:pt x="698" y="120"/>
                    </a:cubicBezTo>
                    <a:cubicBezTo>
                      <a:pt x="706" y="98"/>
                      <a:pt x="684" y="108"/>
                      <a:pt x="684" y="108"/>
                    </a:cubicBezTo>
                    <a:cubicBezTo>
                      <a:pt x="675" y="97"/>
                      <a:pt x="675" y="97"/>
                      <a:pt x="675" y="97"/>
                    </a:cubicBezTo>
                    <a:cubicBezTo>
                      <a:pt x="691" y="55"/>
                      <a:pt x="691" y="55"/>
                      <a:pt x="691" y="55"/>
                    </a:cubicBezTo>
                    <a:cubicBezTo>
                      <a:pt x="670" y="33"/>
                      <a:pt x="670" y="33"/>
                      <a:pt x="670" y="33"/>
                    </a:cubicBezTo>
                    <a:cubicBezTo>
                      <a:pt x="680" y="10"/>
                      <a:pt x="680" y="10"/>
                      <a:pt x="680" y="10"/>
                    </a:cubicBezTo>
                    <a:cubicBezTo>
                      <a:pt x="674" y="3"/>
                      <a:pt x="674" y="3"/>
                      <a:pt x="674" y="3"/>
                    </a:cubicBezTo>
                    <a:cubicBezTo>
                      <a:pt x="611" y="0"/>
                      <a:pt x="611" y="0"/>
                      <a:pt x="611" y="0"/>
                    </a:cubicBezTo>
                    <a:cubicBezTo>
                      <a:pt x="593" y="12"/>
                      <a:pt x="593" y="12"/>
                      <a:pt x="593" y="12"/>
                    </a:cubicBezTo>
                    <a:cubicBezTo>
                      <a:pt x="577" y="12"/>
                      <a:pt x="577" y="12"/>
                      <a:pt x="577" y="12"/>
                    </a:cubicBezTo>
                    <a:cubicBezTo>
                      <a:pt x="577" y="12"/>
                      <a:pt x="570" y="21"/>
                      <a:pt x="560" y="31"/>
                    </a:cubicBezTo>
                    <a:cubicBezTo>
                      <a:pt x="550" y="30"/>
                      <a:pt x="553" y="57"/>
                      <a:pt x="553" y="57"/>
                    </a:cubicBezTo>
                    <a:cubicBezTo>
                      <a:pt x="559" y="63"/>
                      <a:pt x="559" y="63"/>
                      <a:pt x="559" y="63"/>
                    </a:cubicBezTo>
                    <a:cubicBezTo>
                      <a:pt x="559" y="63"/>
                      <a:pt x="564" y="60"/>
                      <a:pt x="569" y="68"/>
                    </a:cubicBezTo>
                    <a:cubicBezTo>
                      <a:pt x="574" y="76"/>
                      <a:pt x="558" y="76"/>
                      <a:pt x="558" y="76"/>
                    </a:cubicBezTo>
                    <a:cubicBezTo>
                      <a:pt x="527" y="100"/>
                      <a:pt x="527" y="100"/>
                      <a:pt x="527" y="100"/>
                    </a:cubicBezTo>
                    <a:cubicBezTo>
                      <a:pt x="521" y="93"/>
                      <a:pt x="517" y="99"/>
                      <a:pt x="517" y="99"/>
                    </a:cubicBezTo>
                    <a:cubicBezTo>
                      <a:pt x="499" y="98"/>
                      <a:pt x="499" y="98"/>
                      <a:pt x="499" y="98"/>
                    </a:cubicBezTo>
                    <a:cubicBezTo>
                      <a:pt x="497" y="82"/>
                      <a:pt x="497" y="82"/>
                      <a:pt x="497" y="82"/>
                    </a:cubicBezTo>
                    <a:cubicBezTo>
                      <a:pt x="512" y="67"/>
                      <a:pt x="512" y="67"/>
                      <a:pt x="512" y="67"/>
                    </a:cubicBezTo>
                    <a:cubicBezTo>
                      <a:pt x="525" y="66"/>
                      <a:pt x="525" y="66"/>
                      <a:pt x="525" y="66"/>
                    </a:cubicBezTo>
                    <a:cubicBezTo>
                      <a:pt x="525" y="48"/>
                      <a:pt x="525" y="48"/>
                      <a:pt x="525" y="48"/>
                    </a:cubicBezTo>
                    <a:cubicBezTo>
                      <a:pt x="534" y="41"/>
                      <a:pt x="535" y="34"/>
                      <a:pt x="534" y="29"/>
                    </a:cubicBezTo>
                    <a:cubicBezTo>
                      <a:pt x="477" y="88"/>
                      <a:pt x="477" y="88"/>
                      <a:pt x="477" y="88"/>
                    </a:cubicBezTo>
                    <a:cubicBezTo>
                      <a:pt x="445" y="90"/>
                      <a:pt x="445" y="90"/>
                      <a:pt x="445" y="90"/>
                    </a:cubicBezTo>
                    <a:cubicBezTo>
                      <a:pt x="441" y="74"/>
                      <a:pt x="441" y="74"/>
                      <a:pt x="441" y="74"/>
                    </a:cubicBezTo>
                    <a:cubicBezTo>
                      <a:pt x="441" y="74"/>
                      <a:pt x="421" y="71"/>
                      <a:pt x="425" y="64"/>
                    </a:cubicBezTo>
                    <a:cubicBezTo>
                      <a:pt x="408" y="103"/>
                      <a:pt x="385" y="92"/>
                      <a:pt x="385" y="92"/>
                    </a:cubicBezTo>
                    <a:cubicBezTo>
                      <a:pt x="388" y="79"/>
                      <a:pt x="388" y="79"/>
                      <a:pt x="388" y="79"/>
                    </a:cubicBezTo>
                    <a:cubicBezTo>
                      <a:pt x="364" y="68"/>
                      <a:pt x="364" y="68"/>
                      <a:pt x="364" y="68"/>
                    </a:cubicBezTo>
                    <a:cubicBezTo>
                      <a:pt x="364" y="55"/>
                      <a:pt x="364" y="55"/>
                      <a:pt x="364" y="55"/>
                    </a:cubicBezTo>
                    <a:cubicBezTo>
                      <a:pt x="350" y="50"/>
                      <a:pt x="350" y="50"/>
                      <a:pt x="350" y="50"/>
                    </a:cubicBezTo>
                    <a:cubicBezTo>
                      <a:pt x="352" y="36"/>
                      <a:pt x="352" y="36"/>
                      <a:pt x="352" y="36"/>
                    </a:cubicBezTo>
                    <a:cubicBezTo>
                      <a:pt x="344" y="35"/>
                      <a:pt x="336" y="34"/>
                      <a:pt x="334" y="34"/>
                    </a:cubicBezTo>
                    <a:cubicBezTo>
                      <a:pt x="330" y="34"/>
                      <a:pt x="329" y="22"/>
                      <a:pt x="326" y="16"/>
                    </a:cubicBezTo>
                    <a:cubicBezTo>
                      <a:pt x="324" y="11"/>
                      <a:pt x="309" y="24"/>
                      <a:pt x="296" y="24"/>
                    </a:cubicBezTo>
                    <a:cubicBezTo>
                      <a:pt x="282" y="24"/>
                      <a:pt x="265" y="18"/>
                      <a:pt x="265" y="18"/>
                    </a:cubicBezTo>
                    <a:cubicBezTo>
                      <a:pt x="237" y="126"/>
                      <a:pt x="237" y="126"/>
                      <a:pt x="237" y="126"/>
                    </a:cubicBezTo>
                    <a:cubicBezTo>
                      <a:pt x="226" y="124"/>
                      <a:pt x="226" y="124"/>
                      <a:pt x="226" y="124"/>
                    </a:cubicBezTo>
                    <a:cubicBezTo>
                      <a:pt x="225" y="108"/>
                      <a:pt x="225" y="108"/>
                      <a:pt x="225" y="108"/>
                    </a:cubicBezTo>
                    <a:cubicBezTo>
                      <a:pt x="217" y="100"/>
                      <a:pt x="217" y="100"/>
                      <a:pt x="217" y="100"/>
                    </a:cubicBezTo>
                    <a:cubicBezTo>
                      <a:pt x="217" y="100"/>
                      <a:pt x="218" y="90"/>
                      <a:pt x="208" y="86"/>
                    </a:cubicBezTo>
                    <a:cubicBezTo>
                      <a:pt x="197" y="82"/>
                      <a:pt x="198" y="98"/>
                      <a:pt x="193" y="98"/>
                    </a:cubicBezTo>
                    <a:cubicBezTo>
                      <a:pt x="188" y="98"/>
                      <a:pt x="188" y="88"/>
                      <a:pt x="188" y="88"/>
                    </a:cubicBezTo>
                    <a:cubicBezTo>
                      <a:pt x="173" y="100"/>
                      <a:pt x="173" y="100"/>
                      <a:pt x="173" y="100"/>
                    </a:cubicBezTo>
                    <a:cubicBezTo>
                      <a:pt x="164" y="87"/>
                      <a:pt x="164" y="87"/>
                      <a:pt x="164" y="87"/>
                    </a:cubicBezTo>
                    <a:cubicBezTo>
                      <a:pt x="152" y="88"/>
                      <a:pt x="152" y="88"/>
                      <a:pt x="152" y="88"/>
                    </a:cubicBezTo>
                    <a:cubicBezTo>
                      <a:pt x="148" y="127"/>
                      <a:pt x="148" y="127"/>
                      <a:pt x="148" y="127"/>
                    </a:cubicBezTo>
                    <a:cubicBezTo>
                      <a:pt x="148" y="127"/>
                      <a:pt x="137" y="128"/>
                      <a:pt x="132" y="128"/>
                    </a:cubicBezTo>
                    <a:cubicBezTo>
                      <a:pt x="126" y="128"/>
                      <a:pt x="132" y="135"/>
                      <a:pt x="125" y="136"/>
                    </a:cubicBezTo>
                    <a:cubicBezTo>
                      <a:pt x="120" y="137"/>
                      <a:pt x="113" y="129"/>
                      <a:pt x="110" y="125"/>
                    </a:cubicBezTo>
                    <a:cubicBezTo>
                      <a:pt x="111" y="127"/>
                      <a:pt x="111" y="129"/>
                      <a:pt x="101" y="128"/>
                    </a:cubicBezTo>
                    <a:cubicBezTo>
                      <a:pt x="86" y="127"/>
                      <a:pt x="86" y="126"/>
                      <a:pt x="86" y="126"/>
                    </a:cubicBezTo>
                    <a:cubicBezTo>
                      <a:pt x="62" y="132"/>
                      <a:pt x="62" y="132"/>
                      <a:pt x="62" y="132"/>
                    </a:cubicBezTo>
                    <a:cubicBezTo>
                      <a:pt x="56" y="119"/>
                      <a:pt x="56" y="119"/>
                      <a:pt x="56" y="119"/>
                    </a:cubicBezTo>
                    <a:cubicBezTo>
                      <a:pt x="42" y="119"/>
                      <a:pt x="42" y="119"/>
                      <a:pt x="42" y="119"/>
                    </a:cubicBezTo>
                    <a:cubicBezTo>
                      <a:pt x="41" y="100"/>
                      <a:pt x="41" y="100"/>
                      <a:pt x="41" y="100"/>
                    </a:cubicBezTo>
                    <a:cubicBezTo>
                      <a:pt x="16" y="111"/>
                      <a:pt x="16" y="111"/>
                      <a:pt x="16" y="111"/>
                    </a:cubicBezTo>
                    <a:cubicBezTo>
                      <a:pt x="21" y="124"/>
                      <a:pt x="21" y="124"/>
                      <a:pt x="21" y="124"/>
                    </a:cubicBezTo>
                    <a:cubicBezTo>
                      <a:pt x="17" y="139"/>
                      <a:pt x="17" y="139"/>
                      <a:pt x="17" y="139"/>
                    </a:cubicBezTo>
                    <a:cubicBezTo>
                      <a:pt x="24" y="152"/>
                      <a:pt x="24" y="152"/>
                      <a:pt x="24" y="152"/>
                    </a:cubicBezTo>
                    <a:cubicBezTo>
                      <a:pt x="25" y="187"/>
                      <a:pt x="25" y="187"/>
                      <a:pt x="25" y="187"/>
                    </a:cubicBezTo>
                    <a:cubicBezTo>
                      <a:pt x="0" y="196"/>
                      <a:pt x="0" y="196"/>
                      <a:pt x="0" y="196"/>
                    </a:cubicBezTo>
                    <a:cubicBezTo>
                      <a:pt x="0" y="208"/>
                      <a:pt x="0" y="208"/>
                      <a:pt x="0" y="208"/>
                    </a:cubicBezTo>
                    <a:cubicBezTo>
                      <a:pt x="12" y="224"/>
                      <a:pt x="12" y="224"/>
                      <a:pt x="12" y="224"/>
                    </a:cubicBezTo>
                    <a:cubicBezTo>
                      <a:pt x="4" y="227"/>
                      <a:pt x="4" y="227"/>
                      <a:pt x="4" y="227"/>
                    </a:cubicBezTo>
                    <a:cubicBezTo>
                      <a:pt x="2" y="255"/>
                      <a:pt x="2" y="255"/>
                      <a:pt x="2" y="255"/>
                    </a:cubicBezTo>
                    <a:cubicBezTo>
                      <a:pt x="2" y="255"/>
                      <a:pt x="25" y="291"/>
                      <a:pt x="29" y="311"/>
                    </a:cubicBezTo>
                    <a:cubicBezTo>
                      <a:pt x="34" y="311"/>
                      <a:pt x="74" y="347"/>
                      <a:pt x="62" y="367"/>
                    </a:cubicBezTo>
                    <a:cubicBezTo>
                      <a:pt x="60" y="374"/>
                      <a:pt x="46" y="380"/>
                      <a:pt x="46" y="380"/>
                    </a:cubicBezTo>
                    <a:cubicBezTo>
                      <a:pt x="50" y="403"/>
                      <a:pt x="50" y="403"/>
                      <a:pt x="50" y="403"/>
                    </a:cubicBezTo>
                    <a:cubicBezTo>
                      <a:pt x="56" y="384"/>
                      <a:pt x="56" y="384"/>
                      <a:pt x="56" y="384"/>
                    </a:cubicBezTo>
                    <a:cubicBezTo>
                      <a:pt x="68" y="384"/>
                      <a:pt x="68" y="384"/>
                      <a:pt x="68" y="384"/>
                    </a:cubicBezTo>
                    <a:cubicBezTo>
                      <a:pt x="72" y="396"/>
                      <a:pt x="72" y="396"/>
                      <a:pt x="72" y="396"/>
                    </a:cubicBezTo>
                    <a:cubicBezTo>
                      <a:pt x="82" y="391"/>
                      <a:pt x="82" y="391"/>
                      <a:pt x="82" y="391"/>
                    </a:cubicBezTo>
                    <a:cubicBezTo>
                      <a:pt x="88" y="398"/>
                      <a:pt x="88" y="398"/>
                      <a:pt x="88" y="398"/>
                    </a:cubicBezTo>
                    <a:cubicBezTo>
                      <a:pt x="90" y="390"/>
                      <a:pt x="90" y="390"/>
                      <a:pt x="90" y="390"/>
                    </a:cubicBezTo>
                    <a:cubicBezTo>
                      <a:pt x="90" y="390"/>
                      <a:pt x="120" y="375"/>
                      <a:pt x="126" y="384"/>
                    </a:cubicBezTo>
                    <a:cubicBezTo>
                      <a:pt x="133" y="394"/>
                      <a:pt x="158" y="391"/>
                      <a:pt x="145" y="402"/>
                    </a:cubicBezTo>
                    <a:cubicBezTo>
                      <a:pt x="150" y="406"/>
                      <a:pt x="150" y="406"/>
                      <a:pt x="150" y="406"/>
                    </a:cubicBezTo>
                    <a:cubicBezTo>
                      <a:pt x="157" y="424"/>
                      <a:pt x="157" y="424"/>
                      <a:pt x="157" y="424"/>
                    </a:cubicBezTo>
                    <a:cubicBezTo>
                      <a:pt x="157" y="424"/>
                      <a:pt x="188" y="403"/>
                      <a:pt x="174" y="452"/>
                    </a:cubicBezTo>
                    <a:cubicBezTo>
                      <a:pt x="170" y="464"/>
                      <a:pt x="170" y="468"/>
                      <a:pt x="171" y="469"/>
                    </a:cubicBezTo>
                    <a:cubicBezTo>
                      <a:pt x="172" y="470"/>
                      <a:pt x="172" y="470"/>
                      <a:pt x="172" y="470"/>
                    </a:cubicBezTo>
                    <a:cubicBezTo>
                      <a:pt x="172" y="470"/>
                      <a:pt x="171" y="470"/>
                      <a:pt x="171" y="469"/>
                    </a:cubicBezTo>
                    <a:cubicBezTo>
                      <a:pt x="157" y="458"/>
                      <a:pt x="157" y="458"/>
                      <a:pt x="157" y="458"/>
                    </a:cubicBezTo>
                    <a:cubicBezTo>
                      <a:pt x="160" y="470"/>
                      <a:pt x="160" y="470"/>
                      <a:pt x="160" y="470"/>
                    </a:cubicBezTo>
                    <a:cubicBezTo>
                      <a:pt x="160" y="470"/>
                      <a:pt x="150" y="475"/>
                      <a:pt x="150" y="479"/>
                    </a:cubicBezTo>
                    <a:cubicBezTo>
                      <a:pt x="150" y="483"/>
                      <a:pt x="157" y="495"/>
                      <a:pt x="157" y="495"/>
                    </a:cubicBezTo>
                    <a:cubicBezTo>
                      <a:pt x="142" y="495"/>
                      <a:pt x="142" y="495"/>
                      <a:pt x="142" y="495"/>
                    </a:cubicBezTo>
                    <a:cubicBezTo>
                      <a:pt x="142" y="515"/>
                      <a:pt x="142" y="515"/>
                      <a:pt x="142" y="515"/>
                    </a:cubicBezTo>
                    <a:cubicBezTo>
                      <a:pt x="122" y="519"/>
                      <a:pt x="122" y="519"/>
                      <a:pt x="122" y="519"/>
                    </a:cubicBezTo>
                    <a:cubicBezTo>
                      <a:pt x="110" y="547"/>
                      <a:pt x="110" y="547"/>
                      <a:pt x="110" y="547"/>
                    </a:cubicBezTo>
                    <a:cubicBezTo>
                      <a:pt x="82" y="548"/>
                      <a:pt x="82" y="548"/>
                      <a:pt x="82" y="548"/>
                    </a:cubicBezTo>
                    <a:cubicBezTo>
                      <a:pt x="81" y="554"/>
                      <a:pt x="81" y="554"/>
                      <a:pt x="81" y="554"/>
                    </a:cubicBezTo>
                    <a:cubicBezTo>
                      <a:pt x="62" y="563"/>
                      <a:pt x="62" y="563"/>
                      <a:pt x="62" y="563"/>
                    </a:cubicBezTo>
                    <a:cubicBezTo>
                      <a:pt x="62" y="579"/>
                      <a:pt x="62" y="579"/>
                      <a:pt x="62" y="579"/>
                    </a:cubicBezTo>
                    <a:cubicBezTo>
                      <a:pt x="41" y="588"/>
                      <a:pt x="41" y="588"/>
                      <a:pt x="41" y="588"/>
                    </a:cubicBezTo>
                    <a:cubicBezTo>
                      <a:pt x="54" y="640"/>
                      <a:pt x="54" y="640"/>
                      <a:pt x="54" y="640"/>
                    </a:cubicBezTo>
                    <a:lnTo>
                      <a:pt x="68" y="647"/>
                    </a:lnTo>
                    <a:close/>
                  </a:path>
                </a:pathLst>
              </a:custGeom>
              <a:solidFill>
                <a:srgbClr val="F4F3F0"/>
              </a:solid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grpSp>
        <p:pic>
          <p:nvPicPr>
            <p:cNvPr id="86" name="Location-White-Background">
              <a:extLst>
                <a:ext uri="{FF2B5EF4-FFF2-40B4-BE49-F238E27FC236}">
                  <a16:creationId xmlns:a16="http://schemas.microsoft.com/office/drawing/2014/main" id="{765A01EE-12E7-4BDD-96D7-55EB277FC788}"/>
                </a:ext>
              </a:extLst>
            </p:cNvPr>
            <p:cNvPicPr>
              <a:picLocks noChangeAspect="1"/>
            </p:cNvPicPr>
            <p:nvPr/>
          </p:nvPicPr>
          <p:blipFill>
            <a:blip r:embed="rId3" cstate="print">
              <a:extLst>
                <a:ext uri="{BEBA8EAE-BF5A-486C-A8C5-ECC9F3942E4B}">
                  <a14:imgProps xmlns:a14="http://schemas.microsoft.com/office/drawing/2010/main">
                    <a14:imgLayer r:embed="rId4">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7388806" y="3472820"/>
              <a:ext cx="161684" cy="161684"/>
            </a:xfrm>
            <a:prstGeom prst="rect">
              <a:avLst/>
            </a:prstGeom>
          </p:spPr>
        </p:pic>
        <p:sp>
          <p:nvSpPr>
            <p:cNvPr id="21" name="ZoneTexte 20">
              <a:extLst>
                <a:ext uri="{FF2B5EF4-FFF2-40B4-BE49-F238E27FC236}">
                  <a16:creationId xmlns:a16="http://schemas.microsoft.com/office/drawing/2014/main" id="{7ED7CA66-6EDC-4B49-9F56-B86626AAACEB}"/>
                </a:ext>
              </a:extLst>
            </p:cNvPr>
            <p:cNvSpPr txBox="1"/>
            <p:nvPr/>
          </p:nvSpPr>
          <p:spPr>
            <a:xfrm>
              <a:off x="6587170" y="3248318"/>
              <a:ext cx="1058208" cy="609128"/>
            </a:xfrm>
            <a:prstGeom prst="rect">
              <a:avLst/>
            </a:prstGeom>
            <a:noFill/>
          </p:spPr>
          <p:txBody>
            <a:bodyPr wrap="square" lIns="108000" rIns="108000" rtlCol="0">
              <a:spAutoFit/>
            </a:bodyPr>
            <a:lstStyle/>
            <a:p>
              <a:endParaRPr lang="fr-FR" sz="900">
                <a:solidFill>
                  <a:srgbClr val="5F5F5F"/>
                </a:solidFill>
                <a:latin typeface="Tahoma"/>
              </a:endParaRPr>
            </a:p>
            <a:p>
              <a:pPr algn="ctr"/>
              <a:r>
                <a:rPr lang="fr-FR" sz="900" b="1">
                  <a:solidFill>
                    <a:srgbClr val="503078"/>
                  </a:solidFill>
                  <a:latin typeface="Tahoma"/>
                </a:rPr>
                <a:t>VRF La Salamandre</a:t>
              </a:r>
            </a:p>
            <a:p>
              <a:pPr algn="ctr"/>
              <a:r>
                <a:rPr lang="fr-FR" sz="900">
                  <a:solidFill>
                    <a:srgbClr val="5F5F5F"/>
                  </a:solidFill>
                  <a:latin typeface="Tahoma"/>
                </a:rPr>
                <a:t>Saint-Georges-sur-Loire (49)</a:t>
              </a:r>
            </a:p>
            <a:p>
              <a:endParaRPr lang="fr-FR" sz="900">
                <a:solidFill>
                  <a:srgbClr val="5F5F5F"/>
                </a:solidFill>
                <a:latin typeface="Tahoma"/>
              </a:endParaRPr>
            </a:p>
          </p:txBody>
        </p:sp>
        <p:pic>
          <p:nvPicPr>
            <p:cNvPr id="112" name="Location-White-Background">
              <a:extLst>
                <a:ext uri="{FF2B5EF4-FFF2-40B4-BE49-F238E27FC236}">
                  <a16:creationId xmlns:a16="http://schemas.microsoft.com/office/drawing/2014/main" id="{59025969-389C-4823-82D7-89688758F6FF}"/>
                </a:ext>
              </a:extLst>
            </p:cNvPr>
            <p:cNvPicPr>
              <a:picLocks noChangeAspect="1"/>
            </p:cNvPicPr>
            <p:nvPr/>
          </p:nvPicPr>
          <p:blipFill>
            <a:blip r:embed="rId3" cstate="print">
              <a:extLst>
                <a:ext uri="{BEBA8EAE-BF5A-486C-A8C5-ECC9F3942E4B}">
                  <a14:imgProps xmlns:a14="http://schemas.microsoft.com/office/drawing/2010/main">
                    <a14:imgLayer r:embed="rId4">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8030759" y="3599616"/>
              <a:ext cx="161684" cy="161684"/>
            </a:xfrm>
            <a:prstGeom prst="rect">
              <a:avLst/>
            </a:prstGeom>
          </p:spPr>
        </p:pic>
        <p:sp>
          <p:nvSpPr>
            <p:cNvPr id="113" name="ZoneTexte 112">
              <a:extLst>
                <a:ext uri="{FF2B5EF4-FFF2-40B4-BE49-F238E27FC236}">
                  <a16:creationId xmlns:a16="http://schemas.microsoft.com/office/drawing/2014/main" id="{94117F0A-A392-4888-9339-D5058588A674}"/>
                </a:ext>
              </a:extLst>
            </p:cNvPr>
            <p:cNvSpPr txBox="1"/>
            <p:nvPr/>
          </p:nvSpPr>
          <p:spPr>
            <a:xfrm>
              <a:off x="7669760" y="3650270"/>
              <a:ext cx="875608" cy="501635"/>
            </a:xfrm>
            <a:prstGeom prst="rect">
              <a:avLst/>
            </a:prstGeom>
            <a:noFill/>
          </p:spPr>
          <p:txBody>
            <a:bodyPr wrap="square" lIns="108000" rIns="108000" rtlCol="0">
              <a:spAutoFit/>
            </a:bodyPr>
            <a:lstStyle/>
            <a:p>
              <a:endParaRPr lang="fr-FR" sz="900">
                <a:solidFill>
                  <a:srgbClr val="5F5F5F"/>
                </a:solidFill>
                <a:latin typeface="Tahoma"/>
              </a:endParaRPr>
            </a:p>
            <a:p>
              <a:pPr algn="ctr"/>
              <a:r>
                <a:rPr lang="fr-FR" sz="900" b="1">
                  <a:solidFill>
                    <a:srgbClr val="503078"/>
                  </a:solidFill>
                  <a:latin typeface="Tahoma"/>
                </a:rPr>
                <a:t>VRF Les </a:t>
              </a:r>
              <a:r>
                <a:rPr lang="fr-FR" sz="900" b="1" err="1">
                  <a:solidFill>
                    <a:srgbClr val="503078"/>
                  </a:solidFill>
                  <a:latin typeface="Tahoma"/>
                </a:rPr>
                <a:t>Cizes</a:t>
              </a:r>
              <a:endParaRPr lang="fr-FR" sz="900" b="1">
                <a:solidFill>
                  <a:srgbClr val="503078"/>
                </a:solidFill>
                <a:latin typeface="Tahoma"/>
              </a:endParaRPr>
            </a:p>
            <a:p>
              <a:pPr algn="ctr"/>
              <a:r>
                <a:rPr lang="fr-FR" sz="900">
                  <a:solidFill>
                    <a:srgbClr val="5F5F5F"/>
                  </a:solidFill>
                  <a:latin typeface="Tahoma"/>
                </a:rPr>
                <a:t>Saint-Lupicin (39)</a:t>
              </a:r>
            </a:p>
            <a:p>
              <a:endParaRPr lang="fr-FR" sz="900">
                <a:solidFill>
                  <a:srgbClr val="5F5F5F"/>
                </a:solidFill>
                <a:latin typeface="Tahoma"/>
              </a:endParaRPr>
            </a:p>
          </p:txBody>
        </p:sp>
        <p:pic>
          <p:nvPicPr>
            <p:cNvPr id="114" name="Location-White-Background">
              <a:extLst>
                <a:ext uri="{FF2B5EF4-FFF2-40B4-BE49-F238E27FC236}">
                  <a16:creationId xmlns:a16="http://schemas.microsoft.com/office/drawing/2014/main" id="{6750ADB0-9E53-4D7F-9119-AB03DFBDE9DC}"/>
                </a:ext>
              </a:extLst>
            </p:cNvPr>
            <p:cNvPicPr>
              <a:picLocks noChangeAspect="1"/>
            </p:cNvPicPr>
            <p:nvPr/>
          </p:nvPicPr>
          <p:blipFill>
            <a:blip r:embed="rId3" cstate="print">
              <a:extLst>
                <a:ext uri="{BEBA8EAE-BF5A-486C-A8C5-ECC9F3942E4B}">
                  <a14:imgProps xmlns:a14="http://schemas.microsoft.com/office/drawing/2010/main">
                    <a14:imgLayer r:embed="rId4">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7530263" y="3489909"/>
              <a:ext cx="161684" cy="161684"/>
            </a:xfrm>
            <a:prstGeom prst="rect">
              <a:avLst/>
            </a:prstGeom>
          </p:spPr>
        </p:pic>
        <p:sp>
          <p:nvSpPr>
            <p:cNvPr id="115" name="ZoneTexte 114">
              <a:extLst>
                <a:ext uri="{FF2B5EF4-FFF2-40B4-BE49-F238E27FC236}">
                  <a16:creationId xmlns:a16="http://schemas.microsoft.com/office/drawing/2014/main" id="{F245CDDF-3377-4AA4-BD99-AEB795ED946E}"/>
                </a:ext>
              </a:extLst>
            </p:cNvPr>
            <p:cNvSpPr txBox="1"/>
            <p:nvPr/>
          </p:nvSpPr>
          <p:spPr>
            <a:xfrm>
              <a:off x="7476653" y="3170983"/>
              <a:ext cx="797089" cy="501635"/>
            </a:xfrm>
            <a:prstGeom prst="rect">
              <a:avLst/>
            </a:prstGeom>
            <a:noFill/>
          </p:spPr>
          <p:txBody>
            <a:bodyPr wrap="square" lIns="108000" rIns="108000" rtlCol="0">
              <a:spAutoFit/>
            </a:bodyPr>
            <a:lstStyle/>
            <a:p>
              <a:endParaRPr lang="fr-FR" sz="900">
                <a:solidFill>
                  <a:srgbClr val="5F5F5F"/>
                </a:solidFill>
                <a:latin typeface="Tahoma"/>
              </a:endParaRPr>
            </a:p>
            <a:p>
              <a:pPr algn="ctr"/>
              <a:r>
                <a:rPr lang="fr-FR" sz="900" b="1">
                  <a:solidFill>
                    <a:srgbClr val="503078"/>
                  </a:solidFill>
                  <a:latin typeface="Tahoma"/>
                </a:rPr>
                <a:t>VRF Touraine </a:t>
              </a:r>
            </a:p>
            <a:p>
              <a:pPr algn="ctr"/>
              <a:r>
                <a:rPr lang="fr-FR" sz="900">
                  <a:solidFill>
                    <a:srgbClr val="5F5F5F"/>
                  </a:solidFill>
                  <a:latin typeface="Tahoma"/>
                </a:rPr>
                <a:t>Fondettes (37)</a:t>
              </a:r>
            </a:p>
            <a:p>
              <a:endParaRPr lang="fr-FR" sz="900">
                <a:solidFill>
                  <a:srgbClr val="5F5F5F"/>
                </a:solidFill>
                <a:latin typeface="Tahoma"/>
              </a:endParaRPr>
            </a:p>
          </p:txBody>
        </p:sp>
      </p:grpSp>
      <p:sp>
        <p:nvSpPr>
          <p:cNvPr id="119" name="ZoneTexte 118">
            <a:extLst>
              <a:ext uri="{FF2B5EF4-FFF2-40B4-BE49-F238E27FC236}">
                <a16:creationId xmlns:a16="http://schemas.microsoft.com/office/drawing/2014/main" id="{D563ABE8-BF72-4E77-BC77-124A8C59668C}"/>
              </a:ext>
            </a:extLst>
          </p:cNvPr>
          <p:cNvSpPr txBox="1"/>
          <p:nvPr/>
        </p:nvSpPr>
        <p:spPr>
          <a:xfrm>
            <a:off x="4746217" y="3243035"/>
            <a:ext cx="5975316" cy="3658437"/>
          </a:xfrm>
          <a:prstGeom prst="rect">
            <a:avLst/>
          </a:prstGeom>
          <a:noFill/>
        </p:spPr>
        <p:txBody>
          <a:bodyPr wrap="square">
            <a:spAutoFit/>
          </a:bodyPr>
          <a:lstStyle/>
          <a:p>
            <a:pPr marL="171450" indent="-171450">
              <a:spcAft>
                <a:spcPts val="300"/>
              </a:spcAft>
              <a:buClr>
                <a:srgbClr val="503078"/>
              </a:buClr>
              <a:buFont typeface="Tahoma" panose="020B0604030504040204" pitchFamily="34" charset="0"/>
              <a:buChar char="⁄"/>
            </a:pPr>
            <a:r>
              <a:rPr lang="fr-FR" sz="1050">
                <a:solidFill>
                  <a:srgbClr val="5F5F5F"/>
                </a:solidFill>
                <a:latin typeface="Tahoma"/>
              </a:rPr>
              <a:t>Via ses 3 villages-vacances, VRF a expérimenté trois modèles de gestion distincts (cf. slides suivantes). Forte de ces retours d’expérience, l’association envisage désormais de nouveaux modèles, basés sur la </a:t>
            </a:r>
            <a:r>
              <a:rPr lang="fr-FR" sz="1050" b="1">
                <a:solidFill>
                  <a:srgbClr val="5F5F5F"/>
                </a:solidFill>
                <a:latin typeface="Tahoma"/>
              </a:rPr>
              <a:t>mutualisation</a:t>
            </a:r>
            <a:r>
              <a:rPr lang="fr-FR" sz="1050">
                <a:solidFill>
                  <a:srgbClr val="5F5F5F"/>
                </a:solidFill>
                <a:latin typeface="Tahoma"/>
              </a:rPr>
              <a:t> et les </a:t>
            </a:r>
            <a:r>
              <a:rPr lang="fr-FR" sz="1050" b="1">
                <a:solidFill>
                  <a:srgbClr val="5F5F5F"/>
                </a:solidFill>
                <a:latin typeface="Tahoma"/>
              </a:rPr>
              <a:t>partenariats</a:t>
            </a:r>
            <a:r>
              <a:rPr lang="fr-FR" sz="1050">
                <a:solidFill>
                  <a:srgbClr val="5F5F5F"/>
                </a:solidFill>
                <a:latin typeface="Tahoma"/>
              </a:rPr>
              <a:t> : </a:t>
            </a:r>
          </a:p>
          <a:p>
            <a:pPr marL="628650" lvl="1" indent="-171450">
              <a:lnSpc>
                <a:spcPct val="107000"/>
              </a:lnSpc>
              <a:spcAft>
                <a:spcPts val="300"/>
              </a:spcAft>
              <a:buClr>
                <a:srgbClr val="503078"/>
              </a:buClr>
              <a:buFont typeface="Courier New" panose="02070309020205020404" pitchFamily="49" charset="0"/>
              <a:buChar char="o"/>
            </a:pPr>
            <a:r>
              <a:rPr lang="fr-FR" sz="1050">
                <a:solidFill>
                  <a:srgbClr val="5F5F5F"/>
                </a:solidFill>
                <a:latin typeface="Tahoma"/>
              </a:rPr>
              <a:t>VRF souhaite développer une franchise pour permettre à d’autres structures d’ouvrir des établissements</a:t>
            </a:r>
          </a:p>
          <a:p>
            <a:pPr marL="628650" lvl="1" indent="-171450">
              <a:lnSpc>
                <a:spcPct val="107000"/>
              </a:lnSpc>
              <a:buClr>
                <a:srgbClr val="503078"/>
              </a:buClr>
              <a:buFont typeface="Courier New" panose="02070309020205020404" pitchFamily="49" charset="0"/>
              <a:buChar char="o"/>
            </a:pPr>
            <a:r>
              <a:rPr lang="fr-FR" sz="1050">
                <a:solidFill>
                  <a:srgbClr val="5F5F5F"/>
                </a:solidFill>
                <a:latin typeface="Tahoma"/>
              </a:rPr>
              <a:t>A terme, VRF imagine 10 établissements pour 300 places sur le territoire national </a:t>
            </a:r>
          </a:p>
          <a:p>
            <a:pPr marL="628650" lvl="1" indent="-171450">
              <a:lnSpc>
                <a:spcPct val="107000"/>
              </a:lnSpc>
              <a:spcAft>
                <a:spcPts val="300"/>
              </a:spcAft>
              <a:buClr>
                <a:srgbClr val="503078"/>
              </a:buClr>
              <a:buFont typeface="Courier New" panose="02070309020205020404" pitchFamily="49" charset="0"/>
              <a:buChar char="o"/>
            </a:pPr>
            <a:r>
              <a:rPr lang="fr-FR" sz="1050">
                <a:solidFill>
                  <a:srgbClr val="5F5F5F"/>
                </a:solidFill>
                <a:latin typeface="Tahoma"/>
              </a:rPr>
              <a:t>VRF souhaite diversifier ses activités pour assurer un TO suffisant (formations, accueils de séminaires, accueil de jour en périodes creuses…)</a:t>
            </a:r>
          </a:p>
          <a:p>
            <a:pPr marL="171450" lvl="1" indent="-171450">
              <a:lnSpc>
                <a:spcPct val="107000"/>
              </a:lnSpc>
              <a:spcAft>
                <a:spcPts val="300"/>
              </a:spcAft>
              <a:buClr>
                <a:srgbClr val="503078"/>
              </a:buClr>
              <a:buFont typeface="Tahoma" panose="020B0604030504040204" pitchFamily="34" charset="0"/>
              <a:buChar char="⁄"/>
            </a:pPr>
            <a:r>
              <a:rPr lang="fr-FR" sz="1050">
                <a:solidFill>
                  <a:srgbClr val="5F5F5F"/>
                </a:solidFill>
                <a:latin typeface="Tahoma"/>
              </a:rPr>
              <a:t>Pour son modèle futur, VRF identifie les facteurs clés de succès suivants:</a:t>
            </a:r>
          </a:p>
          <a:p>
            <a:pPr marL="628650" lvl="1" indent="-171450">
              <a:lnSpc>
                <a:spcPct val="107000"/>
              </a:lnSpc>
              <a:buClr>
                <a:srgbClr val="503078"/>
              </a:buClr>
              <a:buFont typeface="Courier New" panose="02070309020205020404" pitchFamily="49" charset="0"/>
              <a:buChar char="o"/>
            </a:pPr>
            <a:r>
              <a:rPr lang="fr-FR" sz="1050" b="1">
                <a:solidFill>
                  <a:srgbClr val="5F5F5F"/>
                </a:solidFill>
                <a:latin typeface="Tahoma"/>
              </a:rPr>
              <a:t>Porter des structures plus petites, adossées à des ESMS ou mutualisées </a:t>
            </a:r>
            <a:r>
              <a:rPr lang="fr-FR" sz="1050">
                <a:solidFill>
                  <a:srgbClr val="5F5F5F"/>
                </a:solidFill>
                <a:latin typeface="Tahoma"/>
              </a:rPr>
              <a:t>avec d’autres structures (20 à 40 lits maximum)</a:t>
            </a:r>
          </a:p>
          <a:p>
            <a:pPr marL="628650" lvl="1" indent="-171450">
              <a:lnSpc>
                <a:spcPct val="107000"/>
              </a:lnSpc>
              <a:buClr>
                <a:srgbClr val="503078"/>
              </a:buClr>
              <a:buFont typeface="Courier New" panose="02070309020205020404" pitchFamily="49" charset="0"/>
              <a:buChar char="o"/>
            </a:pPr>
            <a:r>
              <a:rPr lang="fr-FR" sz="1050" b="1">
                <a:solidFill>
                  <a:srgbClr val="5F5F5F"/>
                </a:solidFill>
                <a:latin typeface="Tahoma"/>
              </a:rPr>
              <a:t>Conserver une activité en tant que gestionnaire de site </a:t>
            </a:r>
            <a:r>
              <a:rPr lang="fr-FR" sz="1050">
                <a:solidFill>
                  <a:srgbClr val="5F5F5F"/>
                </a:solidFill>
                <a:latin typeface="Tahoma"/>
              </a:rPr>
              <a:t>plutôt qu’en tant qu’investisseur (en sollicitant des promoteurs immobiliers / bailleurs sociaux)</a:t>
            </a:r>
          </a:p>
          <a:p>
            <a:pPr marL="628650" lvl="1" indent="-171450">
              <a:lnSpc>
                <a:spcPct val="107000"/>
              </a:lnSpc>
              <a:buClr>
                <a:srgbClr val="503078"/>
              </a:buClr>
              <a:buFont typeface="Courier New" panose="02070309020205020404" pitchFamily="49" charset="0"/>
              <a:buChar char="o"/>
            </a:pPr>
            <a:r>
              <a:rPr lang="fr-FR" sz="1050" b="1">
                <a:solidFill>
                  <a:srgbClr val="5F5F5F"/>
                </a:solidFill>
                <a:latin typeface="Tahoma"/>
              </a:rPr>
              <a:t>Diversifier les porteurs de projets </a:t>
            </a:r>
            <a:r>
              <a:rPr lang="fr-FR" sz="1050">
                <a:solidFill>
                  <a:srgbClr val="5F5F5F"/>
                </a:solidFill>
                <a:latin typeface="Tahoma"/>
              </a:rPr>
              <a:t>(Croix Rouge, ADAPEI, …) et les accompagner / les former sur le montage et la gestion d’un centre de répit </a:t>
            </a:r>
          </a:p>
          <a:p>
            <a:pPr marL="628650" lvl="1" indent="-171450">
              <a:lnSpc>
                <a:spcPct val="107000"/>
              </a:lnSpc>
              <a:buClr>
                <a:srgbClr val="503078"/>
              </a:buClr>
              <a:buFont typeface="Courier New" panose="02070309020205020404" pitchFamily="49" charset="0"/>
              <a:buChar char="o"/>
            </a:pPr>
            <a:r>
              <a:rPr lang="fr-FR" sz="1050" b="1">
                <a:solidFill>
                  <a:srgbClr val="5F5F5F"/>
                </a:solidFill>
                <a:latin typeface="Tahoma"/>
              </a:rPr>
              <a:t>Se rapprocher d’acteurs du public et du privé </a:t>
            </a:r>
            <a:r>
              <a:rPr lang="fr-FR" sz="1050">
                <a:solidFill>
                  <a:srgbClr val="5F5F5F"/>
                </a:solidFill>
                <a:latin typeface="Tahoma"/>
              </a:rPr>
              <a:t>pour développer des projets intégrés de restructurations de territoires, en lien avec l’ensemble des parties prenantes</a:t>
            </a:r>
          </a:p>
          <a:p>
            <a:pPr marL="628650" lvl="1" indent="-171450">
              <a:lnSpc>
                <a:spcPct val="107000"/>
              </a:lnSpc>
              <a:buClr>
                <a:srgbClr val="503078"/>
              </a:buClr>
              <a:buFont typeface="Courier New" panose="02070309020205020404" pitchFamily="49" charset="0"/>
              <a:buChar char="o"/>
            </a:pPr>
            <a:r>
              <a:rPr lang="fr-FR" sz="1050" b="1">
                <a:solidFill>
                  <a:srgbClr val="5F5F5F"/>
                </a:solidFill>
                <a:latin typeface="Tahoma"/>
              </a:rPr>
              <a:t>Nouer des partenariats avec des acteurs du soin </a:t>
            </a:r>
            <a:r>
              <a:rPr lang="fr-FR" sz="1050">
                <a:solidFill>
                  <a:srgbClr val="5F5F5F"/>
                </a:solidFill>
                <a:latin typeface="Tahoma"/>
              </a:rPr>
              <a:t>(pôle de soin, maison médicale, hôpitaux)</a:t>
            </a:r>
          </a:p>
          <a:p>
            <a:pPr marL="171450" indent="-171450">
              <a:buClr>
                <a:srgbClr val="503078"/>
              </a:buClr>
              <a:buFont typeface="Tahoma" panose="020B0604030504040204" pitchFamily="34" charset="0"/>
              <a:buChar char="⁄"/>
            </a:pPr>
            <a:endParaRPr lang="fr-FR" sz="1050">
              <a:solidFill>
                <a:srgbClr val="5F5F5F"/>
              </a:solidFill>
              <a:latin typeface="Tahoma"/>
            </a:endParaRPr>
          </a:p>
        </p:txBody>
      </p:sp>
      <p:sp>
        <p:nvSpPr>
          <p:cNvPr id="59" name="ZoneTexte 58">
            <a:extLst>
              <a:ext uri="{FF2B5EF4-FFF2-40B4-BE49-F238E27FC236}">
                <a16:creationId xmlns:a16="http://schemas.microsoft.com/office/drawing/2014/main" id="{725A4739-C626-457A-9D20-F831DA05A57D}"/>
              </a:ext>
            </a:extLst>
          </p:cNvPr>
          <p:cNvSpPr txBox="1"/>
          <p:nvPr/>
        </p:nvSpPr>
        <p:spPr>
          <a:xfrm>
            <a:off x="1495669" y="1194638"/>
            <a:ext cx="3152281" cy="1546577"/>
          </a:xfrm>
          <a:prstGeom prst="rect">
            <a:avLst/>
          </a:prstGeom>
          <a:noFill/>
        </p:spPr>
        <p:txBody>
          <a:bodyPr wrap="square">
            <a:spAutoFit/>
          </a:bodyPr>
          <a:lstStyle/>
          <a:p>
            <a:pPr marL="171450" indent="-171450">
              <a:buClr>
                <a:srgbClr val="503078"/>
              </a:buClr>
              <a:buFont typeface="Tahoma" panose="020B0604030504040204" pitchFamily="34" charset="0"/>
              <a:buChar char="⁄"/>
              <a:defRPr/>
            </a:pPr>
            <a:r>
              <a:rPr lang="fr-FR" sz="1050">
                <a:solidFill>
                  <a:srgbClr val="5F5F5F"/>
                </a:solidFill>
                <a:latin typeface="Tahoma"/>
              </a:rPr>
              <a:t>Personnes âgées dépendantes de plus de 60 ans toutes pathologies confondues - VRF Touraine</a:t>
            </a:r>
          </a:p>
          <a:p>
            <a:pPr marL="171450" indent="-171450">
              <a:buClr>
                <a:srgbClr val="503078"/>
              </a:buClr>
              <a:buFont typeface="Tahoma" panose="020B0604030504040204" pitchFamily="34" charset="0"/>
              <a:buChar char="⁄"/>
              <a:defRPr/>
            </a:pPr>
            <a:r>
              <a:rPr lang="fr-FR" sz="1050">
                <a:solidFill>
                  <a:srgbClr val="5F5F5F"/>
                </a:solidFill>
                <a:latin typeface="Tahoma"/>
              </a:rPr>
              <a:t>Enfants et adultes atteintes de maladies invalidantes rares dont maladies neurologiques / neuromusculaires– VRF la Salamandre</a:t>
            </a:r>
          </a:p>
          <a:p>
            <a:pPr marL="171450" indent="-171450">
              <a:buClr>
                <a:srgbClr val="503078"/>
              </a:buClr>
              <a:buFont typeface="Tahoma" panose="020B0604030504040204" pitchFamily="34" charset="0"/>
              <a:buChar char="⁄"/>
              <a:defRPr/>
            </a:pPr>
            <a:r>
              <a:rPr lang="fr-FR" sz="1050">
                <a:solidFill>
                  <a:srgbClr val="5F5F5F"/>
                </a:solidFill>
                <a:latin typeface="Tahoma"/>
              </a:rPr>
              <a:t>Adultes et enfants handicapés moteurs - VRF les </a:t>
            </a:r>
            <a:r>
              <a:rPr lang="fr-FR" sz="1050" err="1">
                <a:solidFill>
                  <a:srgbClr val="5F5F5F"/>
                </a:solidFill>
                <a:latin typeface="Tahoma"/>
              </a:rPr>
              <a:t>Cizes</a:t>
            </a:r>
            <a:endParaRPr lang="fr-FR" sz="1050">
              <a:solidFill>
                <a:srgbClr val="5F5F5F"/>
              </a:solidFill>
              <a:latin typeface="Tahoma"/>
            </a:endParaRPr>
          </a:p>
          <a:p>
            <a:pPr marL="171450" indent="-171450">
              <a:buClr>
                <a:srgbClr val="503078"/>
              </a:buClr>
              <a:buFont typeface="Tahoma" panose="020B0604030504040204" pitchFamily="34" charset="0"/>
              <a:buChar char="⁄"/>
              <a:defRPr/>
            </a:pPr>
            <a:r>
              <a:rPr lang="fr-FR" sz="1050">
                <a:solidFill>
                  <a:srgbClr val="5F5F5F"/>
                </a:solidFill>
                <a:latin typeface="Tahoma"/>
              </a:rPr>
              <a:t>Aidants</a:t>
            </a:r>
          </a:p>
        </p:txBody>
      </p:sp>
      <p:sp>
        <p:nvSpPr>
          <p:cNvPr id="63" name="ZoneTexte 62">
            <a:extLst>
              <a:ext uri="{FF2B5EF4-FFF2-40B4-BE49-F238E27FC236}">
                <a16:creationId xmlns:a16="http://schemas.microsoft.com/office/drawing/2014/main" id="{B58FC518-97C0-4765-AE9F-30D66719E3EC}"/>
              </a:ext>
            </a:extLst>
          </p:cNvPr>
          <p:cNvSpPr txBox="1"/>
          <p:nvPr/>
        </p:nvSpPr>
        <p:spPr>
          <a:xfrm>
            <a:off x="1470467" y="4959881"/>
            <a:ext cx="3119496" cy="307777"/>
          </a:xfrm>
          <a:prstGeom prst="rect">
            <a:avLst/>
          </a:prstGeom>
          <a:noFill/>
          <a:ln>
            <a:solidFill>
              <a:schemeClr val="bg1"/>
            </a:solidFill>
          </a:ln>
        </p:spPr>
        <p:txBody>
          <a:bodyPr wrap="square" lIns="108000" rIns="108000" rtlCol="0">
            <a:spAutoFit/>
          </a:bodyPr>
          <a:lstStyle/>
          <a:p>
            <a:r>
              <a:rPr lang="fr-FR" sz="1400" b="1">
                <a:solidFill>
                  <a:srgbClr val="503078"/>
                </a:solidFill>
                <a:latin typeface="Tahoma"/>
              </a:rPr>
              <a:t>Points divers </a:t>
            </a:r>
          </a:p>
        </p:txBody>
      </p:sp>
      <p:sp>
        <p:nvSpPr>
          <p:cNvPr id="64" name="ZoneTexte 63">
            <a:extLst>
              <a:ext uri="{FF2B5EF4-FFF2-40B4-BE49-F238E27FC236}">
                <a16:creationId xmlns:a16="http://schemas.microsoft.com/office/drawing/2014/main" id="{0C142F94-8D74-4D33-893F-06E978376E45}"/>
              </a:ext>
            </a:extLst>
          </p:cNvPr>
          <p:cNvSpPr txBox="1"/>
          <p:nvPr/>
        </p:nvSpPr>
        <p:spPr>
          <a:xfrm>
            <a:off x="1478737" y="5216423"/>
            <a:ext cx="3111226" cy="1384995"/>
          </a:xfrm>
          <a:prstGeom prst="rect">
            <a:avLst/>
          </a:prstGeom>
          <a:noFill/>
        </p:spPr>
        <p:txBody>
          <a:bodyPr wrap="square">
            <a:spAutoFit/>
          </a:bodyPr>
          <a:lstStyle/>
          <a:p>
            <a:pPr marL="171450" indent="-171450">
              <a:buClr>
                <a:srgbClr val="503078"/>
              </a:buClr>
              <a:buFont typeface="Tahoma" panose="020B0604030504040204" pitchFamily="34" charset="0"/>
              <a:buChar char="⁄"/>
            </a:pPr>
            <a:r>
              <a:rPr lang="fr-FR" sz="1050">
                <a:solidFill>
                  <a:srgbClr val="5F5F5F"/>
                </a:solidFill>
                <a:latin typeface="Tahoma"/>
              </a:rPr>
              <a:t>En 2017 puis en 2019, VRF a commandé une étude auprès de l’association Vacances Ouvertes qui a montré des effets très positifs des séjours VRF sur les aidants et qui a permis d’identifier les principaux irritants : le transport (pour les </a:t>
            </a:r>
            <a:r>
              <a:rPr lang="fr-FR" sz="1050" err="1">
                <a:solidFill>
                  <a:srgbClr val="5F5F5F"/>
                </a:solidFill>
                <a:latin typeface="Tahoma"/>
              </a:rPr>
              <a:t>Cizes</a:t>
            </a:r>
            <a:r>
              <a:rPr lang="fr-FR" sz="1050">
                <a:solidFill>
                  <a:srgbClr val="5F5F5F"/>
                </a:solidFill>
                <a:latin typeface="Tahoma"/>
              </a:rPr>
              <a:t> et la Touraine), le sentiment de ne pas être réellement en vacances, la prise en charge financière pour la Salamandre.</a:t>
            </a:r>
          </a:p>
        </p:txBody>
      </p:sp>
      <p:sp>
        <p:nvSpPr>
          <p:cNvPr id="65" name="Rectangle 64">
            <a:extLst>
              <a:ext uri="{FF2B5EF4-FFF2-40B4-BE49-F238E27FC236}">
                <a16:creationId xmlns:a16="http://schemas.microsoft.com/office/drawing/2014/main" id="{499CF90D-F9D1-4FF8-BB06-8173D54E5712}"/>
              </a:ext>
            </a:extLst>
          </p:cNvPr>
          <p:cNvSpPr/>
          <p:nvPr/>
        </p:nvSpPr>
        <p:spPr>
          <a:xfrm>
            <a:off x="1478737" y="4924086"/>
            <a:ext cx="3160552" cy="1803119"/>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Tree>
    <p:extLst>
      <p:ext uri="{BB962C8B-B14F-4D97-AF65-F5344CB8AC3E}">
        <p14:creationId xmlns:p14="http://schemas.microsoft.com/office/powerpoint/2010/main" val="23113473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DDB96D-5870-433E-8224-8BA70AB31D5A}"/>
              </a:ext>
            </a:extLst>
          </p:cNvPr>
          <p:cNvSpPr>
            <a:spLocks noGrp="1"/>
          </p:cNvSpPr>
          <p:nvPr>
            <p:ph type="title"/>
          </p:nvPr>
        </p:nvSpPr>
        <p:spPr/>
        <p:txBody>
          <a:bodyPr/>
          <a:lstStyle/>
          <a:p>
            <a:r>
              <a:rPr lang="fr-FR"/>
              <a:t>VRF Touraine</a:t>
            </a:r>
          </a:p>
        </p:txBody>
      </p:sp>
      <p:sp>
        <p:nvSpPr>
          <p:cNvPr id="3" name="Espace réservé du texte 2">
            <a:extLst>
              <a:ext uri="{FF2B5EF4-FFF2-40B4-BE49-F238E27FC236}">
                <a16:creationId xmlns:a16="http://schemas.microsoft.com/office/drawing/2014/main" id="{9C630387-01A6-4667-A171-E57EE95EAA8D}"/>
              </a:ext>
            </a:extLst>
          </p:cNvPr>
          <p:cNvSpPr>
            <a:spLocks noGrp="1"/>
          </p:cNvSpPr>
          <p:nvPr>
            <p:ph type="body" sz="quarter" idx="13"/>
          </p:nvPr>
        </p:nvSpPr>
        <p:spPr/>
        <p:txBody>
          <a:bodyPr/>
          <a:lstStyle/>
          <a:p>
            <a:r>
              <a:rPr lang="fr-FR"/>
              <a:t>fiches initiatives</a:t>
            </a:r>
          </a:p>
        </p:txBody>
      </p:sp>
      <p:pic>
        <p:nvPicPr>
          <p:cNvPr id="1026" name="Picture 2" descr="Accueil">
            <a:extLst>
              <a:ext uri="{FF2B5EF4-FFF2-40B4-BE49-F238E27FC236}">
                <a16:creationId xmlns:a16="http://schemas.microsoft.com/office/drawing/2014/main" id="{246FA698-26EA-47C7-B5AC-FC5B02C27AF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186" r="72972"/>
          <a:stretch/>
        </p:blipFill>
        <p:spPr bwMode="auto">
          <a:xfrm>
            <a:off x="9393576" y="91117"/>
            <a:ext cx="1309825" cy="698611"/>
          </a:xfrm>
          <a:prstGeom prst="rect">
            <a:avLst/>
          </a:prstGeom>
          <a:noFill/>
          <a:extLst>
            <a:ext uri="{909E8E84-426E-40DD-AFC4-6F175D3DCCD1}">
              <a14:hiddenFill xmlns:a14="http://schemas.microsoft.com/office/drawing/2010/main">
                <a:solidFill>
                  <a:srgbClr val="FFFFFF"/>
                </a:solidFill>
              </a14:hiddenFill>
            </a:ext>
          </a:extLst>
        </p:spPr>
      </p:pic>
      <p:grpSp>
        <p:nvGrpSpPr>
          <p:cNvPr id="111" name="Groupe 110">
            <a:extLst>
              <a:ext uri="{FF2B5EF4-FFF2-40B4-BE49-F238E27FC236}">
                <a16:creationId xmlns:a16="http://schemas.microsoft.com/office/drawing/2014/main" id="{CB17F894-0331-4C10-951D-20467BC8947F}"/>
              </a:ext>
            </a:extLst>
          </p:cNvPr>
          <p:cNvGrpSpPr/>
          <p:nvPr/>
        </p:nvGrpSpPr>
        <p:grpSpPr>
          <a:xfrm>
            <a:off x="1498105" y="972493"/>
            <a:ext cx="1564753" cy="933665"/>
            <a:chOff x="7058874" y="3087071"/>
            <a:chExt cx="1946091" cy="1244392"/>
          </a:xfrm>
        </p:grpSpPr>
        <p:grpSp>
          <p:nvGrpSpPr>
            <p:cNvPr id="89" name="Group 219">
              <a:extLst>
                <a:ext uri="{FF2B5EF4-FFF2-40B4-BE49-F238E27FC236}">
                  <a16:creationId xmlns:a16="http://schemas.microsoft.com/office/drawing/2014/main" id="{23563D0E-A6E2-449B-BBEF-8098E393884C}"/>
                </a:ext>
              </a:extLst>
            </p:cNvPr>
            <p:cNvGrpSpPr>
              <a:grpSpLocks/>
            </p:cNvGrpSpPr>
            <p:nvPr/>
          </p:nvGrpSpPr>
          <p:grpSpPr bwMode="gray">
            <a:xfrm>
              <a:off x="7058874" y="3087071"/>
              <a:ext cx="1262860" cy="1244392"/>
              <a:chOff x="48" y="168"/>
              <a:chExt cx="3077" cy="3032"/>
            </a:xfrm>
            <a:solidFill>
              <a:schemeClr val="tx2"/>
            </a:solidFill>
            <a:effectLst>
              <a:outerShdw blurRad="127000" dist="50800" dir="2700000" algn="ctr" rotWithShape="0">
                <a:schemeClr val="tx1">
                  <a:alpha val="40000"/>
                </a:schemeClr>
              </a:outerShdw>
            </a:effectLst>
          </p:grpSpPr>
          <p:sp>
            <p:nvSpPr>
              <p:cNvPr id="90" name="Nord-Pas-de-Calais" descr="© INSCALE GmbH, 05.05.2010&#10;http://www.presentationload.com/">
                <a:extLst>
                  <a:ext uri="{FF2B5EF4-FFF2-40B4-BE49-F238E27FC236}">
                    <a16:creationId xmlns:a16="http://schemas.microsoft.com/office/drawing/2014/main" id="{AB720DBB-1E99-4155-8615-016531D8396C}"/>
                  </a:ext>
                </a:extLst>
              </p:cNvPr>
              <p:cNvSpPr>
                <a:spLocks/>
              </p:cNvSpPr>
              <p:nvPr/>
            </p:nvSpPr>
            <p:spPr bwMode="gray">
              <a:xfrm>
                <a:off x="1600" y="168"/>
                <a:ext cx="608" cy="383"/>
              </a:xfrm>
              <a:custGeom>
                <a:avLst/>
                <a:gdLst/>
                <a:ahLst/>
                <a:cxnLst>
                  <a:cxn ang="0">
                    <a:pos x="77" y="236"/>
                  </a:cxn>
                  <a:cxn ang="0">
                    <a:pos x="101" y="257"/>
                  </a:cxn>
                  <a:cxn ang="0">
                    <a:pos x="117" y="279"/>
                  </a:cxn>
                  <a:cxn ang="0">
                    <a:pos x="159" y="269"/>
                  </a:cxn>
                  <a:cxn ang="0">
                    <a:pos x="187" y="273"/>
                  </a:cxn>
                  <a:cxn ang="0">
                    <a:pos x="173" y="309"/>
                  </a:cxn>
                  <a:cxn ang="0">
                    <a:pos x="208" y="304"/>
                  </a:cxn>
                  <a:cxn ang="0">
                    <a:pos x="232" y="300"/>
                  </a:cxn>
                  <a:cxn ang="0">
                    <a:pos x="244" y="323"/>
                  </a:cxn>
                  <a:cxn ang="0">
                    <a:pos x="272" y="324"/>
                  </a:cxn>
                  <a:cxn ang="0">
                    <a:pos x="279" y="321"/>
                  </a:cxn>
                  <a:cxn ang="0">
                    <a:pos x="343" y="329"/>
                  </a:cxn>
                  <a:cxn ang="0">
                    <a:pos x="364" y="327"/>
                  </a:cxn>
                  <a:cxn ang="0">
                    <a:pos x="440" y="317"/>
                  </a:cxn>
                  <a:cxn ang="0">
                    <a:pos x="473" y="333"/>
                  </a:cxn>
                  <a:cxn ang="0">
                    <a:pos x="492" y="335"/>
                  </a:cxn>
                  <a:cxn ang="0">
                    <a:pos x="548" y="320"/>
                  </a:cxn>
                  <a:cxn ang="0">
                    <a:pos x="556" y="283"/>
                  </a:cxn>
                  <a:cxn ang="0">
                    <a:pos x="545" y="269"/>
                  </a:cxn>
                  <a:cxn ang="0">
                    <a:pos x="559" y="243"/>
                  </a:cxn>
                  <a:cxn ang="0">
                    <a:pos x="543" y="243"/>
                  </a:cxn>
                  <a:cxn ang="0">
                    <a:pos x="517" y="215"/>
                  </a:cxn>
                  <a:cxn ang="0">
                    <a:pos x="500" y="219"/>
                  </a:cxn>
                  <a:cxn ang="0">
                    <a:pos x="486" y="217"/>
                  </a:cxn>
                  <a:cxn ang="0">
                    <a:pos x="452" y="228"/>
                  </a:cxn>
                  <a:cxn ang="0">
                    <a:pos x="442" y="201"/>
                  </a:cxn>
                  <a:cxn ang="0">
                    <a:pos x="436" y="174"/>
                  </a:cxn>
                  <a:cxn ang="0">
                    <a:pos x="409" y="165"/>
                  </a:cxn>
                  <a:cxn ang="0">
                    <a:pos x="362" y="157"/>
                  </a:cxn>
                  <a:cxn ang="0">
                    <a:pos x="353" y="124"/>
                  </a:cxn>
                  <a:cxn ang="0">
                    <a:pos x="350" y="110"/>
                  </a:cxn>
                  <a:cxn ang="0">
                    <a:pos x="325" y="90"/>
                  </a:cxn>
                  <a:cxn ang="0">
                    <a:pos x="283" y="114"/>
                  </a:cxn>
                  <a:cxn ang="0">
                    <a:pos x="262" y="106"/>
                  </a:cxn>
                  <a:cxn ang="0">
                    <a:pos x="245" y="76"/>
                  </a:cxn>
                  <a:cxn ang="0">
                    <a:pos x="221" y="67"/>
                  </a:cxn>
                  <a:cxn ang="0">
                    <a:pos x="224" y="42"/>
                  </a:cxn>
                  <a:cxn ang="0">
                    <a:pos x="212" y="9"/>
                  </a:cxn>
                  <a:cxn ang="0">
                    <a:pos x="157" y="7"/>
                  </a:cxn>
                  <a:cxn ang="0">
                    <a:pos x="54" y="31"/>
                  </a:cxn>
                  <a:cxn ang="0">
                    <a:pos x="7" y="57"/>
                  </a:cxn>
                  <a:cxn ang="0">
                    <a:pos x="5" y="106"/>
                  </a:cxn>
                  <a:cxn ang="0">
                    <a:pos x="4" y="192"/>
                  </a:cxn>
                  <a:cxn ang="0">
                    <a:pos x="1" y="228"/>
                  </a:cxn>
                  <a:cxn ang="0">
                    <a:pos x="12" y="235"/>
                  </a:cxn>
                  <a:cxn ang="0">
                    <a:pos x="65" y="237"/>
                  </a:cxn>
                </a:cxnLst>
                <a:rect l="0" t="0" r="r" b="b"/>
                <a:pathLst>
                  <a:path w="564" h="355">
                    <a:moveTo>
                      <a:pt x="65" y="237"/>
                    </a:moveTo>
                    <a:cubicBezTo>
                      <a:pt x="77" y="236"/>
                      <a:pt x="77" y="236"/>
                      <a:pt x="77" y="236"/>
                    </a:cubicBezTo>
                    <a:cubicBezTo>
                      <a:pt x="79" y="247"/>
                      <a:pt x="79" y="247"/>
                      <a:pt x="79" y="247"/>
                    </a:cubicBezTo>
                    <a:cubicBezTo>
                      <a:pt x="101" y="257"/>
                      <a:pt x="101" y="257"/>
                      <a:pt x="101" y="257"/>
                    </a:cubicBezTo>
                    <a:cubicBezTo>
                      <a:pt x="109" y="275"/>
                      <a:pt x="109" y="275"/>
                      <a:pt x="109" y="275"/>
                    </a:cubicBezTo>
                    <a:cubicBezTo>
                      <a:pt x="117" y="279"/>
                      <a:pt x="117" y="279"/>
                      <a:pt x="117" y="279"/>
                    </a:cubicBezTo>
                    <a:cubicBezTo>
                      <a:pt x="143" y="265"/>
                      <a:pt x="143" y="265"/>
                      <a:pt x="143" y="265"/>
                    </a:cubicBezTo>
                    <a:cubicBezTo>
                      <a:pt x="159" y="269"/>
                      <a:pt x="159" y="269"/>
                      <a:pt x="159" y="269"/>
                    </a:cubicBezTo>
                    <a:cubicBezTo>
                      <a:pt x="180" y="263"/>
                      <a:pt x="180" y="263"/>
                      <a:pt x="180" y="263"/>
                    </a:cubicBezTo>
                    <a:cubicBezTo>
                      <a:pt x="187" y="273"/>
                      <a:pt x="187" y="273"/>
                      <a:pt x="187" y="273"/>
                    </a:cubicBezTo>
                    <a:cubicBezTo>
                      <a:pt x="187" y="273"/>
                      <a:pt x="163" y="293"/>
                      <a:pt x="163" y="304"/>
                    </a:cubicBezTo>
                    <a:cubicBezTo>
                      <a:pt x="163" y="315"/>
                      <a:pt x="173" y="309"/>
                      <a:pt x="173" y="309"/>
                    </a:cubicBezTo>
                    <a:cubicBezTo>
                      <a:pt x="173" y="309"/>
                      <a:pt x="193" y="289"/>
                      <a:pt x="193" y="300"/>
                    </a:cubicBezTo>
                    <a:cubicBezTo>
                      <a:pt x="193" y="300"/>
                      <a:pt x="208" y="297"/>
                      <a:pt x="208" y="304"/>
                    </a:cubicBezTo>
                    <a:cubicBezTo>
                      <a:pt x="208" y="311"/>
                      <a:pt x="227" y="313"/>
                      <a:pt x="227" y="313"/>
                    </a:cubicBezTo>
                    <a:cubicBezTo>
                      <a:pt x="232" y="300"/>
                      <a:pt x="232" y="300"/>
                      <a:pt x="232" y="300"/>
                    </a:cubicBezTo>
                    <a:cubicBezTo>
                      <a:pt x="248" y="303"/>
                      <a:pt x="248" y="303"/>
                      <a:pt x="248" y="303"/>
                    </a:cubicBezTo>
                    <a:cubicBezTo>
                      <a:pt x="244" y="323"/>
                      <a:pt x="244" y="323"/>
                      <a:pt x="244" y="323"/>
                    </a:cubicBezTo>
                    <a:cubicBezTo>
                      <a:pt x="263" y="313"/>
                      <a:pt x="263" y="313"/>
                      <a:pt x="263" y="313"/>
                    </a:cubicBezTo>
                    <a:cubicBezTo>
                      <a:pt x="272" y="324"/>
                      <a:pt x="272" y="324"/>
                      <a:pt x="272" y="324"/>
                    </a:cubicBezTo>
                    <a:cubicBezTo>
                      <a:pt x="265" y="332"/>
                      <a:pt x="265" y="332"/>
                      <a:pt x="265" y="332"/>
                    </a:cubicBezTo>
                    <a:cubicBezTo>
                      <a:pt x="279" y="321"/>
                      <a:pt x="279" y="321"/>
                      <a:pt x="279" y="321"/>
                    </a:cubicBezTo>
                    <a:cubicBezTo>
                      <a:pt x="313" y="321"/>
                      <a:pt x="313" y="321"/>
                      <a:pt x="313" y="321"/>
                    </a:cubicBezTo>
                    <a:cubicBezTo>
                      <a:pt x="313" y="321"/>
                      <a:pt x="320" y="341"/>
                      <a:pt x="343" y="329"/>
                    </a:cubicBezTo>
                    <a:cubicBezTo>
                      <a:pt x="348" y="331"/>
                      <a:pt x="348" y="335"/>
                      <a:pt x="348" y="335"/>
                    </a:cubicBezTo>
                    <a:cubicBezTo>
                      <a:pt x="348" y="335"/>
                      <a:pt x="359" y="339"/>
                      <a:pt x="364" y="327"/>
                    </a:cubicBezTo>
                    <a:cubicBezTo>
                      <a:pt x="364" y="327"/>
                      <a:pt x="400" y="337"/>
                      <a:pt x="404" y="319"/>
                    </a:cubicBezTo>
                    <a:cubicBezTo>
                      <a:pt x="403" y="323"/>
                      <a:pt x="413" y="339"/>
                      <a:pt x="440" y="317"/>
                    </a:cubicBezTo>
                    <a:cubicBezTo>
                      <a:pt x="473" y="327"/>
                      <a:pt x="473" y="327"/>
                      <a:pt x="473" y="327"/>
                    </a:cubicBezTo>
                    <a:cubicBezTo>
                      <a:pt x="473" y="333"/>
                      <a:pt x="473" y="333"/>
                      <a:pt x="473" y="333"/>
                    </a:cubicBezTo>
                    <a:cubicBezTo>
                      <a:pt x="492" y="321"/>
                      <a:pt x="492" y="321"/>
                      <a:pt x="492" y="321"/>
                    </a:cubicBezTo>
                    <a:cubicBezTo>
                      <a:pt x="492" y="335"/>
                      <a:pt x="492" y="335"/>
                      <a:pt x="492" y="335"/>
                    </a:cubicBezTo>
                    <a:cubicBezTo>
                      <a:pt x="492" y="335"/>
                      <a:pt x="522" y="355"/>
                      <a:pt x="554" y="333"/>
                    </a:cubicBezTo>
                    <a:cubicBezTo>
                      <a:pt x="551" y="330"/>
                      <a:pt x="549" y="325"/>
                      <a:pt x="548" y="320"/>
                    </a:cubicBezTo>
                    <a:cubicBezTo>
                      <a:pt x="547" y="313"/>
                      <a:pt x="558" y="305"/>
                      <a:pt x="561" y="303"/>
                    </a:cubicBezTo>
                    <a:cubicBezTo>
                      <a:pt x="564" y="301"/>
                      <a:pt x="556" y="283"/>
                      <a:pt x="556" y="283"/>
                    </a:cubicBezTo>
                    <a:cubicBezTo>
                      <a:pt x="556" y="283"/>
                      <a:pt x="553" y="283"/>
                      <a:pt x="547" y="283"/>
                    </a:cubicBezTo>
                    <a:cubicBezTo>
                      <a:pt x="541" y="283"/>
                      <a:pt x="545" y="269"/>
                      <a:pt x="545" y="269"/>
                    </a:cubicBezTo>
                    <a:cubicBezTo>
                      <a:pt x="547" y="260"/>
                      <a:pt x="547" y="260"/>
                      <a:pt x="547" y="260"/>
                    </a:cubicBezTo>
                    <a:cubicBezTo>
                      <a:pt x="547" y="260"/>
                      <a:pt x="558" y="246"/>
                      <a:pt x="559" y="243"/>
                    </a:cubicBezTo>
                    <a:cubicBezTo>
                      <a:pt x="560" y="240"/>
                      <a:pt x="554" y="236"/>
                      <a:pt x="554" y="236"/>
                    </a:cubicBezTo>
                    <a:cubicBezTo>
                      <a:pt x="543" y="243"/>
                      <a:pt x="543" y="243"/>
                      <a:pt x="543" y="243"/>
                    </a:cubicBezTo>
                    <a:cubicBezTo>
                      <a:pt x="542" y="233"/>
                      <a:pt x="542" y="233"/>
                      <a:pt x="542" y="233"/>
                    </a:cubicBezTo>
                    <a:cubicBezTo>
                      <a:pt x="517" y="215"/>
                      <a:pt x="517" y="215"/>
                      <a:pt x="517" y="215"/>
                    </a:cubicBezTo>
                    <a:cubicBezTo>
                      <a:pt x="514" y="219"/>
                      <a:pt x="514" y="219"/>
                      <a:pt x="514" y="219"/>
                    </a:cubicBezTo>
                    <a:cubicBezTo>
                      <a:pt x="500" y="219"/>
                      <a:pt x="500" y="219"/>
                      <a:pt x="500" y="219"/>
                    </a:cubicBezTo>
                    <a:cubicBezTo>
                      <a:pt x="493" y="225"/>
                      <a:pt x="493" y="225"/>
                      <a:pt x="493" y="225"/>
                    </a:cubicBezTo>
                    <a:cubicBezTo>
                      <a:pt x="486" y="217"/>
                      <a:pt x="486" y="217"/>
                      <a:pt x="486" y="217"/>
                    </a:cubicBezTo>
                    <a:cubicBezTo>
                      <a:pt x="460" y="216"/>
                      <a:pt x="460" y="216"/>
                      <a:pt x="460" y="216"/>
                    </a:cubicBezTo>
                    <a:cubicBezTo>
                      <a:pt x="452" y="228"/>
                      <a:pt x="452" y="228"/>
                      <a:pt x="452" y="228"/>
                    </a:cubicBezTo>
                    <a:cubicBezTo>
                      <a:pt x="443" y="216"/>
                      <a:pt x="443" y="216"/>
                      <a:pt x="443" y="216"/>
                    </a:cubicBezTo>
                    <a:cubicBezTo>
                      <a:pt x="442" y="201"/>
                      <a:pt x="442" y="201"/>
                      <a:pt x="442" y="201"/>
                    </a:cubicBezTo>
                    <a:cubicBezTo>
                      <a:pt x="449" y="195"/>
                      <a:pt x="449" y="195"/>
                      <a:pt x="449" y="195"/>
                    </a:cubicBezTo>
                    <a:cubicBezTo>
                      <a:pt x="436" y="174"/>
                      <a:pt x="436" y="174"/>
                      <a:pt x="436" y="174"/>
                    </a:cubicBezTo>
                    <a:cubicBezTo>
                      <a:pt x="410" y="172"/>
                      <a:pt x="410" y="172"/>
                      <a:pt x="410" y="172"/>
                    </a:cubicBezTo>
                    <a:cubicBezTo>
                      <a:pt x="409" y="165"/>
                      <a:pt x="409" y="165"/>
                      <a:pt x="409" y="165"/>
                    </a:cubicBezTo>
                    <a:cubicBezTo>
                      <a:pt x="409" y="165"/>
                      <a:pt x="390" y="174"/>
                      <a:pt x="383" y="174"/>
                    </a:cubicBezTo>
                    <a:cubicBezTo>
                      <a:pt x="376" y="174"/>
                      <a:pt x="362" y="157"/>
                      <a:pt x="362" y="157"/>
                    </a:cubicBezTo>
                    <a:cubicBezTo>
                      <a:pt x="362" y="141"/>
                      <a:pt x="362" y="141"/>
                      <a:pt x="362" y="141"/>
                    </a:cubicBezTo>
                    <a:cubicBezTo>
                      <a:pt x="353" y="124"/>
                      <a:pt x="353" y="124"/>
                      <a:pt x="353" y="124"/>
                    </a:cubicBezTo>
                    <a:cubicBezTo>
                      <a:pt x="353" y="124"/>
                      <a:pt x="360" y="119"/>
                      <a:pt x="359" y="116"/>
                    </a:cubicBezTo>
                    <a:cubicBezTo>
                      <a:pt x="358" y="113"/>
                      <a:pt x="350" y="110"/>
                      <a:pt x="350" y="110"/>
                    </a:cubicBezTo>
                    <a:cubicBezTo>
                      <a:pt x="335" y="85"/>
                      <a:pt x="335" y="85"/>
                      <a:pt x="335" y="85"/>
                    </a:cubicBezTo>
                    <a:cubicBezTo>
                      <a:pt x="325" y="90"/>
                      <a:pt x="325" y="90"/>
                      <a:pt x="325" y="90"/>
                    </a:cubicBezTo>
                    <a:cubicBezTo>
                      <a:pt x="325" y="90"/>
                      <a:pt x="291" y="99"/>
                      <a:pt x="291" y="106"/>
                    </a:cubicBezTo>
                    <a:cubicBezTo>
                      <a:pt x="291" y="113"/>
                      <a:pt x="283" y="114"/>
                      <a:pt x="283" y="114"/>
                    </a:cubicBezTo>
                    <a:cubicBezTo>
                      <a:pt x="273" y="106"/>
                      <a:pt x="273" y="106"/>
                      <a:pt x="273" y="106"/>
                    </a:cubicBezTo>
                    <a:cubicBezTo>
                      <a:pt x="262" y="106"/>
                      <a:pt x="262" y="106"/>
                      <a:pt x="262" y="106"/>
                    </a:cubicBezTo>
                    <a:cubicBezTo>
                      <a:pt x="262" y="106"/>
                      <a:pt x="253" y="99"/>
                      <a:pt x="253" y="95"/>
                    </a:cubicBezTo>
                    <a:cubicBezTo>
                      <a:pt x="253" y="91"/>
                      <a:pt x="245" y="76"/>
                      <a:pt x="245" y="76"/>
                    </a:cubicBezTo>
                    <a:cubicBezTo>
                      <a:pt x="231" y="77"/>
                      <a:pt x="231" y="77"/>
                      <a:pt x="231" y="77"/>
                    </a:cubicBezTo>
                    <a:cubicBezTo>
                      <a:pt x="221" y="67"/>
                      <a:pt x="221" y="67"/>
                      <a:pt x="221" y="67"/>
                    </a:cubicBezTo>
                    <a:cubicBezTo>
                      <a:pt x="223" y="56"/>
                      <a:pt x="223" y="56"/>
                      <a:pt x="223" y="56"/>
                    </a:cubicBezTo>
                    <a:cubicBezTo>
                      <a:pt x="223" y="56"/>
                      <a:pt x="221" y="42"/>
                      <a:pt x="224" y="42"/>
                    </a:cubicBezTo>
                    <a:cubicBezTo>
                      <a:pt x="227" y="42"/>
                      <a:pt x="221" y="27"/>
                      <a:pt x="221" y="27"/>
                    </a:cubicBezTo>
                    <a:cubicBezTo>
                      <a:pt x="221" y="27"/>
                      <a:pt x="212" y="15"/>
                      <a:pt x="212" y="9"/>
                    </a:cubicBezTo>
                    <a:cubicBezTo>
                      <a:pt x="212" y="3"/>
                      <a:pt x="207" y="0"/>
                      <a:pt x="207" y="0"/>
                    </a:cubicBezTo>
                    <a:cubicBezTo>
                      <a:pt x="207" y="0"/>
                      <a:pt x="174" y="6"/>
                      <a:pt x="157" y="7"/>
                    </a:cubicBezTo>
                    <a:cubicBezTo>
                      <a:pt x="140" y="8"/>
                      <a:pt x="143" y="8"/>
                      <a:pt x="115" y="17"/>
                    </a:cubicBezTo>
                    <a:cubicBezTo>
                      <a:pt x="87" y="26"/>
                      <a:pt x="75" y="27"/>
                      <a:pt x="54" y="31"/>
                    </a:cubicBezTo>
                    <a:cubicBezTo>
                      <a:pt x="33" y="35"/>
                      <a:pt x="26" y="54"/>
                      <a:pt x="26" y="54"/>
                    </a:cubicBezTo>
                    <a:cubicBezTo>
                      <a:pt x="7" y="57"/>
                      <a:pt x="7" y="57"/>
                      <a:pt x="7" y="57"/>
                    </a:cubicBezTo>
                    <a:cubicBezTo>
                      <a:pt x="7" y="57"/>
                      <a:pt x="16" y="74"/>
                      <a:pt x="15" y="87"/>
                    </a:cubicBezTo>
                    <a:cubicBezTo>
                      <a:pt x="14" y="100"/>
                      <a:pt x="5" y="100"/>
                      <a:pt x="5" y="106"/>
                    </a:cubicBezTo>
                    <a:cubicBezTo>
                      <a:pt x="5" y="112"/>
                      <a:pt x="14" y="157"/>
                      <a:pt x="14" y="157"/>
                    </a:cubicBezTo>
                    <a:cubicBezTo>
                      <a:pt x="4" y="192"/>
                      <a:pt x="4" y="192"/>
                      <a:pt x="4" y="192"/>
                    </a:cubicBezTo>
                    <a:cubicBezTo>
                      <a:pt x="4" y="192"/>
                      <a:pt x="7" y="201"/>
                      <a:pt x="12" y="203"/>
                    </a:cubicBezTo>
                    <a:cubicBezTo>
                      <a:pt x="4" y="203"/>
                      <a:pt x="0" y="217"/>
                      <a:pt x="1" y="228"/>
                    </a:cubicBezTo>
                    <a:cubicBezTo>
                      <a:pt x="2" y="239"/>
                      <a:pt x="9" y="232"/>
                      <a:pt x="9" y="232"/>
                    </a:cubicBezTo>
                    <a:cubicBezTo>
                      <a:pt x="9" y="232"/>
                      <a:pt x="10" y="233"/>
                      <a:pt x="12" y="235"/>
                    </a:cubicBezTo>
                    <a:cubicBezTo>
                      <a:pt x="21" y="231"/>
                      <a:pt x="35" y="224"/>
                      <a:pt x="39" y="224"/>
                    </a:cubicBezTo>
                    <a:cubicBezTo>
                      <a:pt x="44" y="224"/>
                      <a:pt x="65" y="237"/>
                      <a:pt x="65" y="23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1" name="Picardie" descr="© INSCALE GmbH, 05.05.2010&#10;http://www.presentationload.com/">
                <a:extLst>
                  <a:ext uri="{FF2B5EF4-FFF2-40B4-BE49-F238E27FC236}">
                    <a16:creationId xmlns:a16="http://schemas.microsoft.com/office/drawing/2014/main" id="{2A78403A-7F28-4A1F-B641-DECB4BC24BE4}"/>
                  </a:ext>
                </a:extLst>
              </p:cNvPr>
              <p:cNvSpPr>
                <a:spLocks/>
              </p:cNvSpPr>
              <p:nvPr/>
            </p:nvSpPr>
            <p:spPr bwMode="gray">
              <a:xfrm>
                <a:off x="1552" y="410"/>
                <a:ext cx="644" cy="519"/>
              </a:xfrm>
              <a:custGeom>
                <a:avLst/>
                <a:gdLst/>
                <a:ahLst/>
                <a:cxnLst>
                  <a:cxn ang="0">
                    <a:pos x="17" y="99"/>
                  </a:cxn>
                  <a:cxn ang="0">
                    <a:pos x="85" y="189"/>
                  </a:cxn>
                  <a:cxn ang="0">
                    <a:pos x="79" y="213"/>
                  </a:cxn>
                  <a:cxn ang="0">
                    <a:pos x="79" y="264"/>
                  </a:cxn>
                  <a:cxn ang="0">
                    <a:pos x="83" y="275"/>
                  </a:cxn>
                  <a:cxn ang="0">
                    <a:pos x="84" y="355"/>
                  </a:cxn>
                  <a:cxn ang="0">
                    <a:pos x="76" y="379"/>
                  </a:cxn>
                  <a:cxn ang="0">
                    <a:pos x="144" y="371"/>
                  </a:cxn>
                  <a:cxn ang="0">
                    <a:pos x="160" y="373"/>
                  </a:cxn>
                  <a:cxn ang="0">
                    <a:pos x="173" y="376"/>
                  </a:cxn>
                  <a:cxn ang="0">
                    <a:pos x="196" y="375"/>
                  </a:cxn>
                  <a:cxn ang="0">
                    <a:pos x="196" y="375"/>
                  </a:cxn>
                  <a:cxn ang="0">
                    <a:pos x="232" y="403"/>
                  </a:cxn>
                  <a:cxn ang="0">
                    <a:pos x="251" y="409"/>
                  </a:cxn>
                  <a:cxn ang="0">
                    <a:pos x="280" y="412"/>
                  </a:cxn>
                  <a:cxn ang="0">
                    <a:pos x="311" y="413"/>
                  </a:cxn>
                  <a:cxn ang="0">
                    <a:pos x="356" y="397"/>
                  </a:cxn>
                  <a:cxn ang="0">
                    <a:pos x="392" y="451"/>
                  </a:cxn>
                  <a:cxn ang="0">
                    <a:pos x="407" y="457"/>
                  </a:cxn>
                  <a:cxn ang="0">
                    <a:pos x="421" y="476"/>
                  </a:cxn>
                  <a:cxn ang="0">
                    <a:pos x="451" y="461"/>
                  </a:cxn>
                  <a:cxn ang="0">
                    <a:pos x="480" y="424"/>
                  </a:cxn>
                  <a:cxn ang="0">
                    <a:pos x="463" y="415"/>
                  </a:cxn>
                  <a:cxn ang="0">
                    <a:pos x="465" y="391"/>
                  </a:cxn>
                  <a:cxn ang="0">
                    <a:pos x="473" y="364"/>
                  </a:cxn>
                  <a:cxn ang="0">
                    <a:pos x="473" y="333"/>
                  </a:cxn>
                  <a:cxn ang="0">
                    <a:pos x="517" y="309"/>
                  </a:cxn>
                  <a:cxn ang="0">
                    <a:pos x="552" y="316"/>
                  </a:cxn>
                  <a:cxn ang="0">
                    <a:pos x="560" y="260"/>
                  </a:cxn>
                  <a:cxn ang="0">
                    <a:pos x="564" y="229"/>
                  </a:cxn>
                  <a:cxn ang="0">
                    <a:pos x="593" y="187"/>
                  </a:cxn>
                  <a:cxn ang="0">
                    <a:pos x="592" y="143"/>
                  </a:cxn>
                  <a:cxn ang="0">
                    <a:pos x="536" y="111"/>
                  </a:cxn>
                  <a:cxn ang="0">
                    <a:pos x="517" y="109"/>
                  </a:cxn>
                  <a:cxn ang="0">
                    <a:pos x="484" y="93"/>
                  </a:cxn>
                  <a:cxn ang="0">
                    <a:pos x="408" y="103"/>
                  </a:cxn>
                  <a:cxn ang="0">
                    <a:pos x="387" y="105"/>
                  </a:cxn>
                  <a:cxn ang="0">
                    <a:pos x="323" y="97"/>
                  </a:cxn>
                  <a:cxn ang="0">
                    <a:pos x="316" y="100"/>
                  </a:cxn>
                  <a:cxn ang="0">
                    <a:pos x="288" y="99"/>
                  </a:cxn>
                  <a:cxn ang="0">
                    <a:pos x="276" y="76"/>
                  </a:cxn>
                  <a:cxn ang="0">
                    <a:pos x="252" y="80"/>
                  </a:cxn>
                  <a:cxn ang="0">
                    <a:pos x="217" y="85"/>
                  </a:cxn>
                  <a:cxn ang="0">
                    <a:pos x="231" y="49"/>
                  </a:cxn>
                  <a:cxn ang="0">
                    <a:pos x="203" y="45"/>
                  </a:cxn>
                  <a:cxn ang="0">
                    <a:pos x="161" y="55"/>
                  </a:cxn>
                  <a:cxn ang="0">
                    <a:pos x="145" y="33"/>
                  </a:cxn>
                  <a:cxn ang="0">
                    <a:pos x="121" y="12"/>
                  </a:cxn>
                  <a:cxn ang="0">
                    <a:pos x="83" y="0"/>
                  </a:cxn>
                  <a:cxn ang="0">
                    <a:pos x="63" y="30"/>
                  </a:cxn>
                  <a:cxn ang="0">
                    <a:pos x="25" y="60"/>
                  </a:cxn>
                  <a:cxn ang="0">
                    <a:pos x="5" y="92"/>
                  </a:cxn>
                </a:cxnLst>
                <a:rect l="0" t="0" r="r" b="b"/>
                <a:pathLst>
                  <a:path w="597" h="481">
                    <a:moveTo>
                      <a:pt x="17" y="95"/>
                    </a:moveTo>
                    <a:cubicBezTo>
                      <a:pt x="17" y="99"/>
                      <a:pt x="17" y="99"/>
                      <a:pt x="17" y="99"/>
                    </a:cubicBezTo>
                    <a:cubicBezTo>
                      <a:pt x="17" y="99"/>
                      <a:pt x="43" y="136"/>
                      <a:pt x="61" y="139"/>
                    </a:cubicBezTo>
                    <a:cubicBezTo>
                      <a:pt x="85" y="189"/>
                      <a:pt x="85" y="189"/>
                      <a:pt x="85" y="189"/>
                    </a:cubicBezTo>
                    <a:cubicBezTo>
                      <a:pt x="85" y="189"/>
                      <a:pt x="64" y="211"/>
                      <a:pt x="68" y="212"/>
                    </a:cubicBezTo>
                    <a:cubicBezTo>
                      <a:pt x="72" y="213"/>
                      <a:pt x="79" y="213"/>
                      <a:pt x="79" y="213"/>
                    </a:cubicBezTo>
                    <a:cubicBezTo>
                      <a:pt x="69" y="244"/>
                      <a:pt x="69" y="244"/>
                      <a:pt x="69" y="244"/>
                    </a:cubicBezTo>
                    <a:cubicBezTo>
                      <a:pt x="79" y="264"/>
                      <a:pt x="79" y="264"/>
                      <a:pt x="79" y="264"/>
                    </a:cubicBezTo>
                    <a:cubicBezTo>
                      <a:pt x="73" y="276"/>
                      <a:pt x="73" y="276"/>
                      <a:pt x="73" y="276"/>
                    </a:cubicBezTo>
                    <a:cubicBezTo>
                      <a:pt x="83" y="275"/>
                      <a:pt x="83" y="275"/>
                      <a:pt x="83" y="275"/>
                    </a:cubicBezTo>
                    <a:cubicBezTo>
                      <a:pt x="73" y="303"/>
                      <a:pt x="73" y="303"/>
                      <a:pt x="73" y="303"/>
                    </a:cubicBezTo>
                    <a:cubicBezTo>
                      <a:pt x="73" y="303"/>
                      <a:pt x="85" y="340"/>
                      <a:pt x="84" y="355"/>
                    </a:cubicBezTo>
                    <a:cubicBezTo>
                      <a:pt x="65" y="349"/>
                      <a:pt x="65" y="349"/>
                      <a:pt x="65" y="349"/>
                    </a:cubicBezTo>
                    <a:cubicBezTo>
                      <a:pt x="76" y="379"/>
                      <a:pt x="76" y="379"/>
                      <a:pt x="76" y="379"/>
                    </a:cubicBezTo>
                    <a:cubicBezTo>
                      <a:pt x="128" y="375"/>
                      <a:pt x="128" y="375"/>
                      <a:pt x="128" y="375"/>
                    </a:cubicBezTo>
                    <a:cubicBezTo>
                      <a:pt x="144" y="371"/>
                      <a:pt x="144" y="371"/>
                      <a:pt x="144" y="371"/>
                    </a:cubicBezTo>
                    <a:cubicBezTo>
                      <a:pt x="151" y="376"/>
                      <a:pt x="151" y="376"/>
                      <a:pt x="151" y="376"/>
                    </a:cubicBezTo>
                    <a:cubicBezTo>
                      <a:pt x="160" y="373"/>
                      <a:pt x="160" y="373"/>
                      <a:pt x="160" y="373"/>
                    </a:cubicBezTo>
                    <a:cubicBezTo>
                      <a:pt x="169" y="383"/>
                      <a:pt x="169" y="383"/>
                      <a:pt x="169" y="383"/>
                    </a:cubicBezTo>
                    <a:cubicBezTo>
                      <a:pt x="173" y="376"/>
                      <a:pt x="173" y="376"/>
                      <a:pt x="173" y="376"/>
                    </a:cubicBezTo>
                    <a:cubicBezTo>
                      <a:pt x="177" y="384"/>
                      <a:pt x="177" y="384"/>
                      <a:pt x="177" y="384"/>
                    </a:cubicBezTo>
                    <a:cubicBezTo>
                      <a:pt x="196" y="375"/>
                      <a:pt x="196" y="375"/>
                      <a:pt x="196" y="375"/>
                    </a:cubicBezTo>
                    <a:cubicBezTo>
                      <a:pt x="197" y="375"/>
                      <a:pt x="197" y="375"/>
                      <a:pt x="197" y="375"/>
                    </a:cubicBezTo>
                    <a:cubicBezTo>
                      <a:pt x="196" y="375"/>
                      <a:pt x="196" y="375"/>
                      <a:pt x="196" y="375"/>
                    </a:cubicBezTo>
                    <a:cubicBezTo>
                      <a:pt x="194" y="376"/>
                      <a:pt x="190" y="380"/>
                      <a:pt x="203" y="383"/>
                    </a:cubicBezTo>
                    <a:cubicBezTo>
                      <a:pt x="219" y="387"/>
                      <a:pt x="237" y="399"/>
                      <a:pt x="232" y="403"/>
                    </a:cubicBezTo>
                    <a:cubicBezTo>
                      <a:pt x="227" y="407"/>
                      <a:pt x="245" y="399"/>
                      <a:pt x="245" y="399"/>
                    </a:cubicBezTo>
                    <a:cubicBezTo>
                      <a:pt x="251" y="409"/>
                      <a:pt x="251" y="409"/>
                      <a:pt x="251" y="409"/>
                    </a:cubicBezTo>
                    <a:cubicBezTo>
                      <a:pt x="251" y="409"/>
                      <a:pt x="253" y="397"/>
                      <a:pt x="260" y="401"/>
                    </a:cubicBezTo>
                    <a:cubicBezTo>
                      <a:pt x="267" y="405"/>
                      <a:pt x="272" y="409"/>
                      <a:pt x="280" y="412"/>
                    </a:cubicBezTo>
                    <a:cubicBezTo>
                      <a:pt x="288" y="415"/>
                      <a:pt x="297" y="405"/>
                      <a:pt x="297" y="405"/>
                    </a:cubicBezTo>
                    <a:cubicBezTo>
                      <a:pt x="311" y="413"/>
                      <a:pt x="311" y="413"/>
                      <a:pt x="311" y="413"/>
                    </a:cubicBezTo>
                    <a:cubicBezTo>
                      <a:pt x="349" y="403"/>
                      <a:pt x="349" y="403"/>
                      <a:pt x="349" y="403"/>
                    </a:cubicBezTo>
                    <a:cubicBezTo>
                      <a:pt x="356" y="397"/>
                      <a:pt x="356" y="397"/>
                      <a:pt x="356" y="397"/>
                    </a:cubicBezTo>
                    <a:cubicBezTo>
                      <a:pt x="356" y="397"/>
                      <a:pt x="380" y="399"/>
                      <a:pt x="376" y="431"/>
                    </a:cubicBezTo>
                    <a:cubicBezTo>
                      <a:pt x="377" y="436"/>
                      <a:pt x="393" y="443"/>
                      <a:pt x="392" y="451"/>
                    </a:cubicBezTo>
                    <a:cubicBezTo>
                      <a:pt x="391" y="459"/>
                      <a:pt x="404" y="449"/>
                      <a:pt x="404" y="449"/>
                    </a:cubicBezTo>
                    <a:cubicBezTo>
                      <a:pt x="407" y="457"/>
                      <a:pt x="407" y="457"/>
                      <a:pt x="407" y="457"/>
                    </a:cubicBezTo>
                    <a:cubicBezTo>
                      <a:pt x="417" y="457"/>
                      <a:pt x="417" y="457"/>
                      <a:pt x="417" y="457"/>
                    </a:cubicBezTo>
                    <a:cubicBezTo>
                      <a:pt x="417" y="457"/>
                      <a:pt x="417" y="476"/>
                      <a:pt x="421" y="476"/>
                    </a:cubicBezTo>
                    <a:cubicBezTo>
                      <a:pt x="425" y="476"/>
                      <a:pt x="441" y="481"/>
                      <a:pt x="441" y="481"/>
                    </a:cubicBezTo>
                    <a:cubicBezTo>
                      <a:pt x="451" y="461"/>
                      <a:pt x="451" y="461"/>
                      <a:pt x="451" y="461"/>
                    </a:cubicBezTo>
                    <a:cubicBezTo>
                      <a:pt x="457" y="459"/>
                      <a:pt x="457" y="459"/>
                      <a:pt x="457" y="459"/>
                    </a:cubicBezTo>
                    <a:cubicBezTo>
                      <a:pt x="457" y="459"/>
                      <a:pt x="487" y="429"/>
                      <a:pt x="480" y="424"/>
                    </a:cubicBezTo>
                    <a:cubicBezTo>
                      <a:pt x="473" y="419"/>
                      <a:pt x="461" y="420"/>
                      <a:pt x="461" y="420"/>
                    </a:cubicBezTo>
                    <a:cubicBezTo>
                      <a:pt x="463" y="415"/>
                      <a:pt x="463" y="415"/>
                      <a:pt x="463" y="415"/>
                    </a:cubicBezTo>
                    <a:cubicBezTo>
                      <a:pt x="471" y="408"/>
                      <a:pt x="471" y="408"/>
                      <a:pt x="471" y="408"/>
                    </a:cubicBezTo>
                    <a:cubicBezTo>
                      <a:pt x="471" y="408"/>
                      <a:pt x="463" y="396"/>
                      <a:pt x="465" y="391"/>
                    </a:cubicBezTo>
                    <a:cubicBezTo>
                      <a:pt x="468" y="385"/>
                      <a:pt x="492" y="380"/>
                      <a:pt x="492" y="380"/>
                    </a:cubicBezTo>
                    <a:cubicBezTo>
                      <a:pt x="473" y="364"/>
                      <a:pt x="473" y="364"/>
                      <a:pt x="473" y="364"/>
                    </a:cubicBezTo>
                    <a:cubicBezTo>
                      <a:pt x="479" y="353"/>
                      <a:pt x="479" y="353"/>
                      <a:pt x="479" y="353"/>
                    </a:cubicBezTo>
                    <a:cubicBezTo>
                      <a:pt x="473" y="333"/>
                      <a:pt x="473" y="333"/>
                      <a:pt x="473" y="333"/>
                    </a:cubicBezTo>
                    <a:cubicBezTo>
                      <a:pt x="473" y="333"/>
                      <a:pt x="495" y="315"/>
                      <a:pt x="512" y="320"/>
                    </a:cubicBezTo>
                    <a:cubicBezTo>
                      <a:pt x="516" y="319"/>
                      <a:pt x="517" y="309"/>
                      <a:pt x="517" y="309"/>
                    </a:cubicBezTo>
                    <a:cubicBezTo>
                      <a:pt x="528" y="303"/>
                      <a:pt x="528" y="303"/>
                      <a:pt x="528" y="303"/>
                    </a:cubicBezTo>
                    <a:cubicBezTo>
                      <a:pt x="528" y="303"/>
                      <a:pt x="547" y="316"/>
                      <a:pt x="552" y="316"/>
                    </a:cubicBezTo>
                    <a:cubicBezTo>
                      <a:pt x="557" y="316"/>
                      <a:pt x="552" y="267"/>
                      <a:pt x="552" y="267"/>
                    </a:cubicBezTo>
                    <a:cubicBezTo>
                      <a:pt x="560" y="260"/>
                      <a:pt x="560" y="260"/>
                      <a:pt x="560" y="260"/>
                    </a:cubicBezTo>
                    <a:cubicBezTo>
                      <a:pt x="548" y="231"/>
                      <a:pt x="548" y="231"/>
                      <a:pt x="548" y="231"/>
                    </a:cubicBezTo>
                    <a:cubicBezTo>
                      <a:pt x="564" y="229"/>
                      <a:pt x="564" y="229"/>
                      <a:pt x="564" y="229"/>
                    </a:cubicBezTo>
                    <a:cubicBezTo>
                      <a:pt x="571" y="215"/>
                      <a:pt x="571" y="215"/>
                      <a:pt x="571" y="215"/>
                    </a:cubicBezTo>
                    <a:cubicBezTo>
                      <a:pt x="593" y="187"/>
                      <a:pt x="593" y="187"/>
                      <a:pt x="593" y="187"/>
                    </a:cubicBezTo>
                    <a:cubicBezTo>
                      <a:pt x="587" y="180"/>
                      <a:pt x="587" y="180"/>
                      <a:pt x="587" y="180"/>
                    </a:cubicBezTo>
                    <a:cubicBezTo>
                      <a:pt x="592" y="143"/>
                      <a:pt x="592" y="143"/>
                      <a:pt x="592" y="143"/>
                    </a:cubicBezTo>
                    <a:cubicBezTo>
                      <a:pt x="592" y="143"/>
                      <a:pt x="583" y="130"/>
                      <a:pt x="597" y="110"/>
                    </a:cubicBezTo>
                    <a:cubicBezTo>
                      <a:pt x="566" y="131"/>
                      <a:pt x="536" y="111"/>
                      <a:pt x="536" y="111"/>
                    </a:cubicBezTo>
                    <a:cubicBezTo>
                      <a:pt x="536" y="97"/>
                      <a:pt x="536" y="97"/>
                      <a:pt x="536" y="97"/>
                    </a:cubicBezTo>
                    <a:cubicBezTo>
                      <a:pt x="517" y="109"/>
                      <a:pt x="517" y="109"/>
                      <a:pt x="517" y="109"/>
                    </a:cubicBezTo>
                    <a:cubicBezTo>
                      <a:pt x="517" y="103"/>
                      <a:pt x="517" y="103"/>
                      <a:pt x="517" y="103"/>
                    </a:cubicBezTo>
                    <a:cubicBezTo>
                      <a:pt x="484" y="93"/>
                      <a:pt x="484" y="93"/>
                      <a:pt x="484" y="93"/>
                    </a:cubicBezTo>
                    <a:cubicBezTo>
                      <a:pt x="457" y="115"/>
                      <a:pt x="447" y="99"/>
                      <a:pt x="448" y="95"/>
                    </a:cubicBezTo>
                    <a:cubicBezTo>
                      <a:pt x="444" y="113"/>
                      <a:pt x="408" y="103"/>
                      <a:pt x="408" y="103"/>
                    </a:cubicBezTo>
                    <a:cubicBezTo>
                      <a:pt x="403" y="115"/>
                      <a:pt x="392" y="111"/>
                      <a:pt x="392" y="111"/>
                    </a:cubicBezTo>
                    <a:cubicBezTo>
                      <a:pt x="392" y="111"/>
                      <a:pt x="392" y="107"/>
                      <a:pt x="387" y="105"/>
                    </a:cubicBezTo>
                    <a:cubicBezTo>
                      <a:pt x="364" y="117"/>
                      <a:pt x="357" y="97"/>
                      <a:pt x="357" y="97"/>
                    </a:cubicBezTo>
                    <a:cubicBezTo>
                      <a:pt x="323" y="97"/>
                      <a:pt x="323" y="97"/>
                      <a:pt x="323" y="97"/>
                    </a:cubicBezTo>
                    <a:cubicBezTo>
                      <a:pt x="309" y="108"/>
                      <a:pt x="309" y="108"/>
                      <a:pt x="309" y="108"/>
                    </a:cubicBezTo>
                    <a:cubicBezTo>
                      <a:pt x="316" y="100"/>
                      <a:pt x="316" y="100"/>
                      <a:pt x="316" y="100"/>
                    </a:cubicBezTo>
                    <a:cubicBezTo>
                      <a:pt x="307" y="89"/>
                      <a:pt x="307" y="89"/>
                      <a:pt x="307" y="89"/>
                    </a:cubicBezTo>
                    <a:cubicBezTo>
                      <a:pt x="288" y="99"/>
                      <a:pt x="288" y="99"/>
                      <a:pt x="288" y="99"/>
                    </a:cubicBezTo>
                    <a:cubicBezTo>
                      <a:pt x="292" y="79"/>
                      <a:pt x="292" y="79"/>
                      <a:pt x="292" y="79"/>
                    </a:cubicBezTo>
                    <a:cubicBezTo>
                      <a:pt x="276" y="76"/>
                      <a:pt x="276" y="76"/>
                      <a:pt x="276" y="76"/>
                    </a:cubicBezTo>
                    <a:cubicBezTo>
                      <a:pt x="271" y="89"/>
                      <a:pt x="271" y="89"/>
                      <a:pt x="271" y="89"/>
                    </a:cubicBezTo>
                    <a:cubicBezTo>
                      <a:pt x="271" y="89"/>
                      <a:pt x="252" y="87"/>
                      <a:pt x="252" y="80"/>
                    </a:cubicBezTo>
                    <a:cubicBezTo>
                      <a:pt x="252" y="73"/>
                      <a:pt x="237" y="76"/>
                      <a:pt x="237" y="76"/>
                    </a:cubicBezTo>
                    <a:cubicBezTo>
                      <a:pt x="237" y="65"/>
                      <a:pt x="217" y="85"/>
                      <a:pt x="217" y="85"/>
                    </a:cubicBezTo>
                    <a:cubicBezTo>
                      <a:pt x="217" y="85"/>
                      <a:pt x="207" y="91"/>
                      <a:pt x="207" y="80"/>
                    </a:cubicBezTo>
                    <a:cubicBezTo>
                      <a:pt x="207" y="69"/>
                      <a:pt x="231" y="49"/>
                      <a:pt x="231" y="49"/>
                    </a:cubicBezTo>
                    <a:cubicBezTo>
                      <a:pt x="224" y="39"/>
                      <a:pt x="224" y="39"/>
                      <a:pt x="224" y="39"/>
                    </a:cubicBezTo>
                    <a:cubicBezTo>
                      <a:pt x="203" y="45"/>
                      <a:pt x="203" y="45"/>
                      <a:pt x="203" y="45"/>
                    </a:cubicBezTo>
                    <a:cubicBezTo>
                      <a:pt x="187" y="41"/>
                      <a:pt x="187" y="41"/>
                      <a:pt x="187" y="41"/>
                    </a:cubicBezTo>
                    <a:cubicBezTo>
                      <a:pt x="161" y="55"/>
                      <a:pt x="161" y="55"/>
                      <a:pt x="161" y="55"/>
                    </a:cubicBezTo>
                    <a:cubicBezTo>
                      <a:pt x="153" y="51"/>
                      <a:pt x="153" y="51"/>
                      <a:pt x="153" y="51"/>
                    </a:cubicBezTo>
                    <a:cubicBezTo>
                      <a:pt x="145" y="33"/>
                      <a:pt x="145" y="33"/>
                      <a:pt x="145" y="33"/>
                    </a:cubicBezTo>
                    <a:cubicBezTo>
                      <a:pt x="123" y="23"/>
                      <a:pt x="123" y="23"/>
                      <a:pt x="123" y="23"/>
                    </a:cubicBezTo>
                    <a:cubicBezTo>
                      <a:pt x="121" y="12"/>
                      <a:pt x="121" y="12"/>
                      <a:pt x="121" y="12"/>
                    </a:cubicBezTo>
                    <a:cubicBezTo>
                      <a:pt x="109" y="13"/>
                      <a:pt x="109" y="13"/>
                      <a:pt x="109" y="13"/>
                    </a:cubicBezTo>
                    <a:cubicBezTo>
                      <a:pt x="109" y="13"/>
                      <a:pt x="88" y="0"/>
                      <a:pt x="83" y="0"/>
                    </a:cubicBezTo>
                    <a:cubicBezTo>
                      <a:pt x="79" y="0"/>
                      <a:pt x="65" y="7"/>
                      <a:pt x="56" y="11"/>
                    </a:cubicBezTo>
                    <a:cubicBezTo>
                      <a:pt x="60" y="16"/>
                      <a:pt x="69" y="27"/>
                      <a:pt x="63" y="30"/>
                    </a:cubicBezTo>
                    <a:cubicBezTo>
                      <a:pt x="55" y="34"/>
                      <a:pt x="45" y="21"/>
                      <a:pt x="45" y="21"/>
                    </a:cubicBezTo>
                    <a:cubicBezTo>
                      <a:pt x="35" y="27"/>
                      <a:pt x="25" y="60"/>
                      <a:pt x="25" y="60"/>
                    </a:cubicBezTo>
                    <a:cubicBezTo>
                      <a:pt x="25" y="60"/>
                      <a:pt x="14" y="68"/>
                      <a:pt x="0" y="77"/>
                    </a:cubicBezTo>
                    <a:cubicBezTo>
                      <a:pt x="5" y="92"/>
                      <a:pt x="5" y="92"/>
                      <a:pt x="5" y="92"/>
                    </a:cubicBezTo>
                    <a:lnTo>
                      <a:pt x="17" y="9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2" name="Haute Normandie" descr="© INSCALE GmbH, 05.05.2010&#10;http://www.presentationload.com/">
                <a:extLst>
                  <a:ext uri="{FF2B5EF4-FFF2-40B4-BE49-F238E27FC236}">
                    <a16:creationId xmlns:a16="http://schemas.microsoft.com/office/drawing/2014/main" id="{67DE9D41-AD0D-42D6-AE91-CBB98FF22C82}"/>
                  </a:ext>
                </a:extLst>
              </p:cNvPr>
              <p:cNvSpPr>
                <a:spLocks/>
              </p:cNvSpPr>
              <p:nvPr/>
            </p:nvSpPr>
            <p:spPr bwMode="gray">
              <a:xfrm>
                <a:off x="1259" y="493"/>
                <a:ext cx="385" cy="503"/>
              </a:xfrm>
              <a:custGeom>
                <a:avLst/>
                <a:gdLst/>
                <a:ahLst/>
                <a:cxnLst>
                  <a:cxn ang="0">
                    <a:pos x="355" y="198"/>
                  </a:cxn>
                  <a:cxn ang="0">
                    <a:pos x="345" y="199"/>
                  </a:cxn>
                  <a:cxn ang="0">
                    <a:pos x="351" y="187"/>
                  </a:cxn>
                  <a:cxn ang="0">
                    <a:pos x="341" y="167"/>
                  </a:cxn>
                  <a:cxn ang="0">
                    <a:pos x="351" y="136"/>
                  </a:cxn>
                  <a:cxn ang="0">
                    <a:pos x="340" y="135"/>
                  </a:cxn>
                  <a:cxn ang="0">
                    <a:pos x="357" y="112"/>
                  </a:cxn>
                  <a:cxn ang="0">
                    <a:pos x="333" y="62"/>
                  </a:cxn>
                  <a:cxn ang="0">
                    <a:pos x="289" y="22"/>
                  </a:cxn>
                  <a:cxn ang="0">
                    <a:pos x="289" y="18"/>
                  </a:cxn>
                  <a:cxn ang="0">
                    <a:pos x="277" y="15"/>
                  </a:cxn>
                  <a:cxn ang="0">
                    <a:pos x="272" y="0"/>
                  </a:cxn>
                  <a:cxn ang="0">
                    <a:pos x="220" y="29"/>
                  </a:cxn>
                  <a:cxn ang="0">
                    <a:pos x="155" y="47"/>
                  </a:cxn>
                  <a:cxn ang="0">
                    <a:pos x="108" y="50"/>
                  </a:cxn>
                  <a:cxn ang="0">
                    <a:pos x="30" y="93"/>
                  </a:cxn>
                  <a:cxn ang="0">
                    <a:pos x="0" y="150"/>
                  </a:cxn>
                  <a:cxn ang="0">
                    <a:pos x="10" y="167"/>
                  </a:cxn>
                  <a:cxn ang="0">
                    <a:pos x="39" y="178"/>
                  </a:cxn>
                  <a:cxn ang="0">
                    <a:pos x="52" y="263"/>
                  </a:cxn>
                  <a:cxn ang="0">
                    <a:pos x="53" y="271"/>
                  </a:cxn>
                  <a:cxn ang="0">
                    <a:pos x="67" y="288"/>
                  </a:cxn>
                  <a:cxn ang="0">
                    <a:pos x="67" y="303"/>
                  </a:cxn>
                  <a:cxn ang="0">
                    <a:pos x="72" y="311"/>
                  </a:cxn>
                  <a:cxn ang="0">
                    <a:pos x="71" y="331"/>
                  </a:cxn>
                  <a:cxn ang="0">
                    <a:pos x="63" y="332"/>
                  </a:cxn>
                  <a:cxn ang="0">
                    <a:pos x="72" y="344"/>
                  </a:cxn>
                  <a:cxn ang="0">
                    <a:pos x="65" y="379"/>
                  </a:cxn>
                  <a:cxn ang="0">
                    <a:pos x="72" y="388"/>
                  </a:cxn>
                  <a:cxn ang="0">
                    <a:pos x="105" y="390"/>
                  </a:cxn>
                  <a:cxn ang="0">
                    <a:pos x="112" y="410"/>
                  </a:cxn>
                  <a:cxn ang="0">
                    <a:pos x="136" y="448"/>
                  </a:cxn>
                  <a:cxn ang="0">
                    <a:pos x="139" y="459"/>
                  </a:cxn>
                  <a:cxn ang="0">
                    <a:pos x="167" y="444"/>
                  </a:cxn>
                  <a:cxn ang="0">
                    <a:pos x="201" y="434"/>
                  </a:cxn>
                  <a:cxn ang="0">
                    <a:pos x="211" y="438"/>
                  </a:cxn>
                  <a:cxn ang="0">
                    <a:pos x="212" y="427"/>
                  </a:cxn>
                  <a:cxn ang="0">
                    <a:pos x="263" y="431"/>
                  </a:cxn>
                  <a:cxn ang="0">
                    <a:pos x="268" y="408"/>
                  </a:cxn>
                  <a:cxn ang="0">
                    <a:pos x="288" y="395"/>
                  </a:cxn>
                  <a:cxn ang="0">
                    <a:pos x="288" y="383"/>
                  </a:cxn>
                  <a:cxn ang="0">
                    <a:pos x="297" y="379"/>
                  </a:cxn>
                  <a:cxn ang="0">
                    <a:pos x="284" y="343"/>
                  </a:cxn>
                  <a:cxn ang="0">
                    <a:pos x="297" y="338"/>
                  </a:cxn>
                  <a:cxn ang="0">
                    <a:pos x="295" y="331"/>
                  </a:cxn>
                  <a:cxn ang="0">
                    <a:pos x="323" y="328"/>
                  </a:cxn>
                  <a:cxn ang="0">
                    <a:pos x="340" y="281"/>
                  </a:cxn>
                  <a:cxn ang="0">
                    <a:pos x="337" y="272"/>
                  </a:cxn>
                  <a:cxn ang="0">
                    <a:pos x="354" y="277"/>
                  </a:cxn>
                  <a:cxn ang="0">
                    <a:pos x="356" y="278"/>
                  </a:cxn>
                  <a:cxn ang="0">
                    <a:pos x="356" y="277"/>
                  </a:cxn>
                  <a:cxn ang="0">
                    <a:pos x="345" y="226"/>
                  </a:cxn>
                  <a:cxn ang="0">
                    <a:pos x="355" y="198"/>
                  </a:cxn>
                </a:cxnLst>
                <a:rect l="0" t="0" r="r" b="b"/>
                <a:pathLst>
                  <a:path w="357" h="466">
                    <a:moveTo>
                      <a:pt x="355" y="198"/>
                    </a:moveTo>
                    <a:cubicBezTo>
                      <a:pt x="345" y="199"/>
                      <a:pt x="345" y="199"/>
                      <a:pt x="345" y="199"/>
                    </a:cubicBezTo>
                    <a:cubicBezTo>
                      <a:pt x="351" y="187"/>
                      <a:pt x="351" y="187"/>
                      <a:pt x="351" y="187"/>
                    </a:cubicBezTo>
                    <a:cubicBezTo>
                      <a:pt x="341" y="167"/>
                      <a:pt x="341" y="167"/>
                      <a:pt x="341" y="167"/>
                    </a:cubicBezTo>
                    <a:cubicBezTo>
                      <a:pt x="351" y="136"/>
                      <a:pt x="351" y="136"/>
                      <a:pt x="351" y="136"/>
                    </a:cubicBezTo>
                    <a:cubicBezTo>
                      <a:pt x="351" y="136"/>
                      <a:pt x="344" y="136"/>
                      <a:pt x="340" y="135"/>
                    </a:cubicBezTo>
                    <a:cubicBezTo>
                      <a:pt x="336" y="134"/>
                      <a:pt x="357" y="112"/>
                      <a:pt x="357" y="112"/>
                    </a:cubicBezTo>
                    <a:cubicBezTo>
                      <a:pt x="333" y="62"/>
                      <a:pt x="333" y="62"/>
                      <a:pt x="333" y="62"/>
                    </a:cubicBezTo>
                    <a:cubicBezTo>
                      <a:pt x="315" y="59"/>
                      <a:pt x="289" y="22"/>
                      <a:pt x="289" y="22"/>
                    </a:cubicBezTo>
                    <a:cubicBezTo>
                      <a:pt x="289" y="18"/>
                      <a:pt x="289" y="18"/>
                      <a:pt x="289" y="18"/>
                    </a:cubicBezTo>
                    <a:cubicBezTo>
                      <a:pt x="277" y="15"/>
                      <a:pt x="277" y="15"/>
                      <a:pt x="277" y="15"/>
                    </a:cubicBezTo>
                    <a:cubicBezTo>
                      <a:pt x="272" y="0"/>
                      <a:pt x="272" y="0"/>
                      <a:pt x="272" y="0"/>
                    </a:cubicBezTo>
                    <a:cubicBezTo>
                      <a:pt x="255" y="11"/>
                      <a:pt x="233" y="25"/>
                      <a:pt x="220" y="29"/>
                    </a:cubicBezTo>
                    <a:cubicBezTo>
                      <a:pt x="196" y="38"/>
                      <a:pt x="155" y="47"/>
                      <a:pt x="155" y="47"/>
                    </a:cubicBezTo>
                    <a:cubicBezTo>
                      <a:pt x="155" y="47"/>
                      <a:pt x="110" y="54"/>
                      <a:pt x="108" y="50"/>
                    </a:cubicBezTo>
                    <a:cubicBezTo>
                      <a:pt x="81" y="78"/>
                      <a:pt x="30" y="93"/>
                      <a:pt x="30" y="93"/>
                    </a:cubicBezTo>
                    <a:cubicBezTo>
                      <a:pt x="0" y="150"/>
                      <a:pt x="0" y="150"/>
                      <a:pt x="0" y="150"/>
                    </a:cubicBezTo>
                    <a:cubicBezTo>
                      <a:pt x="10" y="167"/>
                      <a:pt x="10" y="167"/>
                      <a:pt x="10" y="167"/>
                    </a:cubicBezTo>
                    <a:cubicBezTo>
                      <a:pt x="10" y="167"/>
                      <a:pt x="44" y="176"/>
                      <a:pt x="39" y="178"/>
                    </a:cubicBezTo>
                    <a:cubicBezTo>
                      <a:pt x="52" y="263"/>
                      <a:pt x="52" y="263"/>
                      <a:pt x="52" y="263"/>
                    </a:cubicBezTo>
                    <a:cubicBezTo>
                      <a:pt x="52" y="263"/>
                      <a:pt x="84" y="260"/>
                      <a:pt x="53" y="271"/>
                    </a:cubicBezTo>
                    <a:cubicBezTo>
                      <a:pt x="51" y="278"/>
                      <a:pt x="67" y="288"/>
                      <a:pt x="67" y="288"/>
                    </a:cubicBezTo>
                    <a:cubicBezTo>
                      <a:pt x="67" y="303"/>
                      <a:pt x="67" y="303"/>
                      <a:pt x="67" y="303"/>
                    </a:cubicBezTo>
                    <a:cubicBezTo>
                      <a:pt x="72" y="311"/>
                      <a:pt x="72" y="311"/>
                      <a:pt x="72" y="311"/>
                    </a:cubicBezTo>
                    <a:cubicBezTo>
                      <a:pt x="71" y="331"/>
                      <a:pt x="71" y="331"/>
                      <a:pt x="71" y="331"/>
                    </a:cubicBezTo>
                    <a:cubicBezTo>
                      <a:pt x="63" y="332"/>
                      <a:pt x="63" y="332"/>
                      <a:pt x="63" y="332"/>
                    </a:cubicBezTo>
                    <a:cubicBezTo>
                      <a:pt x="72" y="344"/>
                      <a:pt x="72" y="344"/>
                      <a:pt x="72" y="344"/>
                    </a:cubicBezTo>
                    <a:cubicBezTo>
                      <a:pt x="72" y="344"/>
                      <a:pt x="72" y="374"/>
                      <a:pt x="65" y="379"/>
                    </a:cubicBezTo>
                    <a:cubicBezTo>
                      <a:pt x="59" y="384"/>
                      <a:pt x="72" y="388"/>
                      <a:pt x="72" y="388"/>
                    </a:cubicBezTo>
                    <a:cubicBezTo>
                      <a:pt x="105" y="390"/>
                      <a:pt x="105" y="390"/>
                      <a:pt x="105" y="390"/>
                    </a:cubicBezTo>
                    <a:cubicBezTo>
                      <a:pt x="112" y="410"/>
                      <a:pt x="112" y="410"/>
                      <a:pt x="112" y="410"/>
                    </a:cubicBezTo>
                    <a:cubicBezTo>
                      <a:pt x="112" y="410"/>
                      <a:pt x="157" y="434"/>
                      <a:pt x="136" y="448"/>
                    </a:cubicBezTo>
                    <a:cubicBezTo>
                      <a:pt x="132" y="448"/>
                      <a:pt x="139" y="459"/>
                      <a:pt x="139" y="459"/>
                    </a:cubicBezTo>
                    <a:cubicBezTo>
                      <a:pt x="139" y="459"/>
                      <a:pt x="159" y="466"/>
                      <a:pt x="167" y="444"/>
                    </a:cubicBezTo>
                    <a:cubicBezTo>
                      <a:pt x="171" y="444"/>
                      <a:pt x="179" y="456"/>
                      <a:pt x="201" y="434"/>
                    </a:cubicBezTo>
                    <a:cubicBezTo>
                      <a:pt x="203" y="438"/>
                      <a:pt x="211" y="438"/>
                      <a:pt x="211" y="438"/>
                    </a:cubicBezTo>
                    <a:cubicBezTo>
                      <a:pt x="212" y="427"/>
                      <a:pt x="212" y="427"/>
                      <a:pt x="212" y="427"/>
                    </a:cubicBezTo>
                    <a:cubicBezTo>
                      <a:pt x="212" y="427"/>
                      <a:pt x="256" y="442"/>
                      <a:pt x="263" y="431"/>
                    </a:cubicBezTo>
                    <a:cubicBezTo>
                      <a:pt x="269" y="420"/>
                      <a:pt x="268" y="408"/>
                      <a:pt x="268" y="408"/>
                    </a:cubicBezTo>
                    <a:cubicBezTo>
                      <a:pt x="268" y="408"/>
                      <a:pt x="287" y="400"/>
                      <a:pt x="288" y="395"/>
                    </a:cubicBezTo>
                    <a:cubicBezTo>
                      <a:pt x="289" y="390"/>
                      <a:pt x="288" y="383"/>
                      <a:pt x="288" y="383"/>
                    </a:cubicBezTo>
                    <a:cubicBezTo>
                      <a:pt x="297" y="379"/>
                      <a:pt x="297" y="379"/>
                      <a:pt x="297" y="379"/>
                    </a:cubicBezTo>
                    <a:cubicBezTo>
                      <a:pt x="284" y="343"/>
                      <a:pt x="284" y="343"/>
                      <a:pt x="284" y="343"/>
                    </a:cubicBezTo>
                    <a:cubicBezTo>
                      <a:pt x="284" y="343"/>
                      <a:pt x="301" y="338"/>
                      <a:pt x="297" y="338"/>
                    </a:cubicBezTo>
                    <a:cubicBezTo>
                      <a:pt x="293" y="338"/>
                      <a:pt x="295" y="331"/>
                      <a:pt x="295" y="331"/>
                    </a:cubicBezTo>
                    <a:cubicBezTo>
                      <a:pt x="323" y="328"/>
                      <a:pt x="323" y="328"/>
                      <a:pt x="323" y="328"/>
                    </a:cubicBezTo>
                    <a:cubicBezTo>
                      <a:pt x="340" y="281"/>
                      <a:pt x="340" y="281"/>
                      <a:pt x="340" y="281"/>
                    </a:cubicBezTo>
                    <a:cubicBezTo>
                      <a:pt x="337" y="272"/>
                      <a:pt x="337" y="272"/>
                      <a:pt x="337" y="272"/>
                    </a:cubicBezTo>
                    <a:cubicBezTo>
                      <a:pt x="354" y="277"/>
                      <a:pt x="354" y="277"/>
                      <a:pt x="354" y="277"/>
                    </a:cubicBezTo>
                    <a:cubicBezTo>
                      <a:pt x="356" y="278"/>
                      <a:pt x="356" y="278"/>
                      <a:pt x="356" y="278"/>
                    </a:cubicBezTo>
                    <a:cubicBezTo>
                      <a:pt x="356" y="278"/>
                      <a:pt x="356" y="277"/>
                      <a:pt x="356" y="277"/>
                    </a:cubicBezTo>
                    <a:cubicBezTo>
                      <a:pt x="357" y="262"/>
                      <a:pt x="345" y="226"/>
                      <a:pt x="345" y="226"/>
                    </a:cubicBezTo>
                    <a:lnTo>
                      <a:pt x="355" y="19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3" name="Ile-de-France" descr="© INSCALE GmbH, 05.05.2010&#10;http://www.presentationload.com/">
                <a:extLst>
                  <a:ext uri="{FF2B5EF4-FFF2-40B4-BE49-F238E27FC236}">
                    <a16:creationId xmlns:a16="http://schemas.microsoft.com/office/drawing/2014/main" id="{AC31993E-D426-4B7A-9900-2091A79541F4}"/>
                  </a:ext>
                </a:extLst>
              </p:cNvPr>
              <p:cNvSpPr>
                <a:spLocks/>
              </p:cNvSpPr>
              <p:nvPr/>
            </p:nvSpPr>
            <p:spPr bwMode="gray">
              <a:xfrm>
                <a:off x="1565" y="796"/>
                <a:ext cx="483" cy="386"/>
              </a:xfrm>
              <a:custGeom>
                <a:avLst/>
                <a:gdLst/>
                <a:ahLst/>
                <a:cxnLst>
                  <a:cxn ang="0">
                    <a:pos x="31" y="127"/>
                  </a:cxn>
                  <a:cxn ang="0">
                    <a:pos x="36" y="158"/>
                  </a:cxn>
                  <a:cxn ang="0">
                    <a:pos x="35" y="177"/>
                  </a:cxn>
                  <a:cxn ang="0">
                    <a:pos x="48" y="199"/>
                  </a:cxn>
                  <a:cxn ang="0">
                    <a:pos x="56" y="214"/>
                  </a:cxn>
                  <a:cxn ang="0">
                    <a:pos x="71" y="246"/>
                  </a:cxn>
                  <a:cxn ang="0">
                    <a:pos x="103" y="267"/>
                  </a:cxn>
                  <a:cxn ang="0">
                    <a:pos x="111" y="303"/>
                  </a:cxn>
                  <a:cxn ang="0">
                    <a:pos x="153" y="301"/>
                  </a:cxn>
                  <a:cxn ang="0">
                    <a:pos x="167" y="290"/>
                  </a:cxn>
                  <a:cxn ang="0">
                    <a:pos x="183" y="293"/>
                  </a:cxn>
                  <a:cxn ang="0">
                    <a:pos x="201" y="297"/>
                  </a:cxn>
                  <a:cxn ang="0">
                    <a:pos x="229" y="338"/>
                  </a:cxn>
                  <a:cxn ang="0">
                    <a:pos x="273" y="354"/>
                  </a:cxn>
                  <a:cxn ang="0">
                    <a:pos x="285" y="346"/>
                  </a:cxn>
                  <a:cxn ang="0">
                    <a:pos x="316" y="345"/>
                  </a:cxn>
                  <a:cxn ang="0">
                    <a:pos x="333" y="297"/>
                  </a:cxn>
                  <a:cxn ang="0">
                    <a:pos x="400" y="277"/>
                  </a:cxn>
                  <a:cxn ang="0">
                    <a:pos x="411" y="243"/>
                  </a:cxn>
                  <a:cxn ang="0">
                    <a:pos x="413" y="225"/>
                  </a:cxn>
                  <a:cxn ang="0">
                    <a:pos x="424" y="210"/>
                  </a:cxn>
                  <a:cxn ang="0">
                    <a:pos x="437" y="199"/>
                  </a:cxn>
                  <a:cxn ang="0">
                    <a:pos x="440" y="191"/>
                  </a:cxn>
                  <a:cxn ang="0">
                    <a:pos x="425" y="158"/>
                  </a:cxn>
                  <a:cxn ang="0">
                    <a:pos x="411" y="147"/>
                  </a:cxn>
                  <a:cxn ang="0">
                    <a:pos x="412" y="137"/>
                  </a:cxn>
                  <a:cxn ang="0">
                    <a:pos x="428" y="123"/>
                  </a:cxn>
                  <a:cxn ang="0">
                    <a:pos x="405" y="99"/>
                  </a:cxn>
                  <a:cxn ang="0">
                    <a:pos x="392" y="91"/>
                  </a:cxn>
                  <a:cxn ang="0">
                    <a:pos x="364" y="73"/>
                  </a:cxn>
                  <a:cxn ang="0">
                    <a:pos x="337" y="45"/>
                  </a:cxn>
                  <a:cxn ang="0">
                    <a:pos x="285" y="47"/>
                  </a:cxn>
                  <a:cxn ang="0">
                    <a:pos x="248" y="43"/>
                  </a:cxn>
                  <a:cxn ang="0">
                    <a:pos x="233" y="41"/>
                  </a:cxn>
                  <a:cxn ang="0">
                    <a:pos x="191" y="25"/>
                  </a:cxn>
                  <a:cxn ang="0">
                    <a:pos x="165" y="26"/>
                  </a:cxn>
                  <a:cxn ang="0">
                    <a:pos x="157" y="25"/>
                  </a:cxn>
                  <a:cxn ang="0">
                    <a:pos x="139" y="18"/>
                  </a:cxn>
                  <a:cxn ang="0">
                    <a:pos x="116" y="17"/>
                  </a:cxn>
                  <a:cxn ang="0">
                    <a:pos x="56" y="0"/>
                  </a:cxn>
                  <a:cxn ang="0">
                    <a:pos x="11" y="50"/>
                  </a:cxn>
                  <a:cxn ang="0">
                    <a:pos x="0" y="62"/>
                  </a:cxn>
                  <a:cxn ang="0">
                    <a:pos x="12" y="99"/>
                  </a:cxn>
                  <a:cxn ang="0">
                    <a:pos x="23" y="122"/>
                  </a:cxn>
                </a:cxnLst>
                <a:rect l="0" t="0" r="r" b="b"/>
                <a:pathLst>
                  <a:path w="448" h="357">
                    <a:moveTo>
                      <a:pt x="23" y="122"/>
                    </a:moveTo>
                    <a:cubicBezTo>
                      <a:pt x="31" y="127"/>
                      <a:pt x="31" y="127"/>
                      <a:pt x="31" y="127"/>
                    </a:cubicBezTo>
                    <a:cubicBezTo>
                      <a:pt x="29" y="151"/>
                      <a:pt x="29" y="151"/>
                      <a:pt x="29" y="151"/>
                    </a:cubicBezTo>
                    <a:cubicBezTo>
                      <a:pt x="36" y="158"/>
                      <a:pt x="36" y="158"/>
                      <a:pt x="36" y="158"/>
                    </a:cubicBezTo>
                    <a:cubicBezTo>
                      <a:pt x="25" y="173"/>
                      <a:pt x="25" y="173"/>
                      <a:pt x="25" y="173"/>
                    </a:cubicBezTo>
                    <a:cubicBezTo>
                      <a:pt x="35" y="177"/>
                      <a:pt x="35" y="177"/>
                      <a:pt x="35" y="177"/>
                    </a:cubicBezTo>
                    <a:cubicBezTo>
                      <a:pt x="33" y="187"/>
                      <a:pt x="33" y="187"/>
                      <a:pt x="33" y="187"/>
                    </a:cubicBezTo>
                    <a:cubicBezTo>
                      <a:pt x="48" y="199"/>
                      <a:pt x="48" y="199"/>
                      <a:pt x="48" y="199"/>
                    </a:cubicBezTo>
                    <a:cubicBezTo>
                      <a:pt x="57" y="202"/>
                      <a:pt x="57" y="202"/>
                      <a:pt x="57" y="202"/>
                    </a:cubicBezTo>
                    <a:cubicBezTo>
                      <a:pt x="56" y="214"/>
                      <a:pt x="56" y="214"/>
                      <a:pt x="56" y="214"/>
                    </a:cubicBezTo>
                    <a:cubicBezTo>
                      <a:pt x="69" y="221"/>
                      <a:pt x="69" y="221"/>
                      <a:pt x="69" y="221"/>
                    </a:cubicBezTo>
                    <a:cubicBezTo>
                      <a:pt x="71" y="246"/>
                      <a:pt x="71" y="246"/>
                      <a:pt x="71" y="246"/>
                    </a:cubicBezTo>
                    <a:cubicBezTo>
                      <a:pt x="71" y="246"/>
                      <a:pt x="95" y="261"/>
                      <a:pt x="97" y="253"/>
                    </a:cubicBezTo>
                    <a:cubicBezTo>
                      <a:pt x="101" y="254"/>
                      <a:pt x="103" y="267"/>
                      <a:pt x="103" y="267"/>
                    </a:cubicBezTo>
                    <a:cubicBezTo>
                      <a:pt x="113" y="269"/>
                      <a:pt x="113" y="269"/>
                      <a:pt x="113" y="269"/>
                    </a:cubicBezTo>
                    <a:cubicBezTo>
                      <a:pt x="113" y="269"/>
                      <a:pt x="101" y="295"/>
                      <a:pt x="111" y="303"/>
                    </a:cubicBezTo>
                    <a:cubicBezTo>
                      <a:pt x="120" y="311"/>
                      <a:pt x="127" y="301"/>
                      <a:pt x="135" y="301"/>
                    </a:cubicBezTo>
                    <a:cubicBezTo>
                      <a:pt x="143" y="301"/>
                      <a:pt x="153" y="301"/>
                      <a:pt x="153" y="301"/>
                    </a:cubicBezTo>
                    <a:cubicBezTo>
                      <a:pt x="160" y="287"/>
                      <a:pt x="160" y="287"/>
                      <a:pt x="160" y="287"/>
                    </a:cubicBezTo>
                    <a:cubicBezTo>
                      <a:pt x="167" y="290"/>
                      <a:pt x="167" y="290"/>
                      <a:pt x="167" y="290"/>
                    </a:cubicBezTo>
                    <a:cubicBezTo>
                      <a:pt x="169" y="301"/>
                      <a:pt x="169" y="301"/>
                      <a:pt x="169" y="301"/>
                    </a:cubicBezTo>
                    <a:cubicBezTo>
                      <a:pt x="183" y="293"/>
                      <a:pt x="183" y="293"/>
                      <a:pt x="183" y="293"/>
                    </a:cubicBezTo>
                    <a:cubicBezTo>
                      <a:pt x="199" y="298"/>
                      <a:pt x="199" y="298"/>
                      <a:pt x="199" y="298"/>
                    </a:cubicBezTo>
                    <a:cubicBezTo>
                      <a:pt x="201" y="297"/>
                      <a:pt x="201" y="297"/>
                      <a:pt x="201" y="297"/>
                    </a:cubicBezTo>
                    <a:cubicBezTo>
                      <a:pt x="205" y="313"/>
                      <a:pt x="205" y="313"/>
                      <a:pt x="205" y="313"/>
                    </a:cubicBezTo>
                    <a:cubicBezTo>
                      <a:pt x="205" y="313"/>
                      <a:pt x="232" y="319"/>
                      <a:pt x="229" y="338"/>
                    </a:cubicBezTo>
                    <a:cubicBezTo>
                      <a:pt x="228" y="349"/>
                      <a:pt x="222" y="352"/>
                      <a:pt x="218" y="353"/>
                    </a:cubicBezTo>
                    <a:cubicBezTo>
                      <a:pt x="273" y="354"/>
                      <a:pt x="273" y="354"/>
                      <a:pt x="273" y="354"/>
                    </a:cubicBezTo>
                    <a:cubicBezTo>
                      <a:pt x="273" y="346"/>
                      <a:pt x="273" y="346"/>
                      <a:pt x="273" y="346"/>
                    </a:cubicBezTo>
                    <a:cubicBezTo>
                      <a:pt x="285" y="346"/>
                      <a:pt x="285" y="346"/>
                      <a:pt x="285" y="346"/>
                    </a:cubicBezTo>
                    <a:cubicBezTo>
                      <a:pt x="285" y="357"/>
                      <a:pt x="285" y="357"/>
                      <a:pt x="285" y="357"/>
                    </a:cubicBezTo>
                    <a:cubicBezTo>
                      <a:pt x="285" y="357"/>
                      <a:pt x="308" y="353"/>
                      <a:pt x="316" y="345"/>
                    </a:cubicBezTo>
                    <a:cubicBezTo>
                      <a:pt x="324" y="337"/>
                      <a:pt x="339" y="313"/>
                      <a:pt x="339" y="313"/>
                    </a:cubicBezTo>
                    <a:cubicBezTo>
                      <a:pt x="333" y="297"/>
                      <a:pt x="333" y="297"/>
                      <a:pt x="333" y="297"/>
                    </a:cubicBezTo>
                    <a:cubicBezTo>
                      <a:pt x="341" y="277"/>
                      <a:pt x="341" y="277"/>
                      <a:pt x="341" y="277"/>
                    </a:cubicBezTo>
                    <a:cubicBezTo>
                      <a:pt x="400" y="277"/>
                      <a:pt x="400" y="277"/>
                      <a:pt x="400" y="277"/>
                    </a:cubicBezTo>
                    <a:cubicBezTo>
                      <a:pt x="415" y="269"/>
                      <a:pt x="415" y="269"/>
                      <a:pt x="415" y="269"/>
                    </a:cubicBezTo>
                    <a:cubicBezTo>
                      <a:pt x="411" y="243"/>
                      <a:pt x="411" y="243"/>
                      <a:pt x="411" y="243"/>
                    </a:cubicBezTo>
                    <a:cubicBezTo>
                      <a:pt x="420" y="234"/>
                      <a:pt x="420" y="234"/>
                      <a:pt x="420" y="234"/>
                    </a:cubicBezTo>
                    <a:cubicBezTo>
                      <a:pt x="413" y="225"/>
                      <a:pt x="413" y="225"/>
                      <a:pt x="413" y="225"/>
                    </a:cubicBezTo>
                    <a:cubicBezTo>
                      <a:pt x="428" y="222"/>
                      <a:pt x="428" y="222"/>
                      <a:pt x="428" y="222"/>
                    </a:cubicBezTo>
                    <a:cubicBezTo>
                      <a:pt x="424" y="210"/>
                      <a:pt x="424" y="210"/>
                      <a:pt x="424" y="210"/>
                    </a:cubicBezTo>
                    <a:cubicBezTo>
                      <a:pt x="436" y="210"/>
                      <a:pt x="436" y="210"/>
                      <a:pt x="436" y="210"/>
                    </a:cubicBezTo>
                    <a:cubicBezTo>
                      <a:pt x="437" y="199"/>
                      <a:pt x="437" y="199"/>
                      <a:pt x="437" y="199"/>
                    </a:cubicBezTo>
                    <a:cubicBezTo>
                      <a:pt x="448" y="201"/>
                      <a:pt x="448" y="201"/>
                      <a:pt x="448" y="201"/>
                    </a:cubicBezTo>
                    <a:cubicBezTo>
                      <a:pt x="440" y="191"/>
                      <a:pt x="440" y="191"/>
                      <a:pt x="440" y="191"/>
                    </a:cubicBezTo>
                    <a:cubicBezTo>
                      <a:pt x="424" y="190"/>
                      <a:pt x="424" y="190"/>
                      <a:pt x="424" y="190"/>
                    </a:cubicBezTo>
                    <a:cubicBezTo>
                      <a:pt x="425" y="158"/>
                      <a:pt x="425" y="158"/>
                      <a:pt x="425" y="158"/>
                    </a:cubicBezTo>
                    <a:cubicBezTo>
                      <a:pt x="411" y="157"/>
                      <a:pt x="411" y="157"/>
                      <a:pt x="411" y="157"/>
                    </a:cubicBezTo>
                    <a:cubicBezTo>
                      <a:pt x="411" y="147"/>
                      <a:pt x="411" y="147"/>
                      <a:pt x="411" y="147"/>
                    </a:cubicBezTo>
                    <a:cubicBezTo>
                      <a:pt x="419" y="146"/>
                      <a:pt x="419" y="146"/>
                      <a:pt x="419" y="146"/>
                    </a:cubicBezTo>
                    <a:cubicBezTo>
                      <a:pt x="412" y="137"/>
                      <a:pt x="412" y="137"/>
                      <a:pt x="412" y="137"/>
                    </a:cubicBezTo>
                    <a:cubicBezTo>
                      <a:pt x="428" y="130"/>
                      <a:pt x="428" y="130"/>
                      <a:pt x="428" y="130"/>
                    </a:cubicBezTo>
                    <a:cubicBezTo>
                      <a:pt x="428" y="123"/>
                      <a:pt x="428" y="123"/>
                      <a:pt x="428" y="123"/>
                    </a:cubicBezTo>
                    <a:cubicBezTo>
                      <a:pt x="424" y="122"/>
                      <a:pt x="413" y="118"/>
                      <a:pt x="409" y="118"/>
                    </a:cubicBezTo>
                    <a:cubicBezTo>
                      <a:pt x="405" y="118"/>
                      <a:pt x="405" y="99"/>
                      <a:pt x="405" y="99"/>
                    </a:cubicBezTo>
                    <a:cubicBezTo>
                      <a:pt x="395" y="99"/>
                      <a:pt x="395" y="99"/>
                      <a:pt x="395" y="99"/>
                    </a:cubicBezTo>
                    <a:cubicBezTo>
                      <a:pt x="392" y="91"/>
                      <a:pt x="392" y="91"/>
                      <a:pt x="392" y="91"/>
                    </a:cubicBezTo>
                    <a:cubicBezTo>
                      <a:pt x="392" y="91"/>
                      <a:pt x="379" y="101"/>
                      <a:pt x="380" y="93"/>
                    </a:cubicBezTo>
                    <a:cubicBezTo>
                      <a:pt x="381" y="85"/>
                      <a:pt x="365" y="78"/>
                      <a:pt x="364" y="73"/>
                    </a:cubicBezTo>
                    <a:cubicBezTo>
                      <a:pt x="368" y="41"/>
                      <a:pt x="344" y="39"/>
                      <a:pt x="344" y="39"/>
                    </a:cubicBezTo>
                    <a:cubicBezTo>
                      <a:pt x="337" y="45"/>
                      <a:pt x="337" y="45"/>
                      <a:pt x="337" y="45"/>
                    </a:cubicBezTo>
                    <a:cubicBezTo>
                      <a:pt x="299" y="55"/>
                      <a:pt x="299" y="55"/>
                      <a:pt x="299" y="55"/>
                    </a:cubicBezTo>
                    <a:cubicBezTo>
                      <a:pt x="285" y="47"/>
                      <a:pt x="285" y="47"/>
                      <a:pt x="285" y="47"/>
                    </a:cubicBezTo>
                    <a:cubicBezTo>
                      <a:pt x="285" y="47"/>
                      <a:pt x="276" y="57"/>
                      <a:pt x="268" y="54"/>
                    </a:cubicBezTo>
                    <a:cubicBezTo>
                      <a:pt x="260" y="51"/>
                      <a:pt x="255" y="47"/>
                      <a:pt x="248" y="43"/>
                    </a:cubicBezTo>
                    <a:cubicBezTo>
                      <a:pt x="241" y="39"/>
                      <a:pt x="239" y="51"/>
                      <a:pt x="239" y="51"/>
                    </a:cubicBezTo>
                    <a:cubicBezTo>
                      <a:pt x="233" y="41"/>
                      <a:pt x="233" y="41"/>
                      <a:pt x="233" y="41"/>
                    </a:cubicBezTo>
                    <a:cubicBezTo>
                      <a:pt x="233" y="41"/>
                      <a:pt x="215" y="49"/>
                      <a:pt x="220" y="45"/>
                    </a:cubicBezTo>
                    <a:cubicBezTo>
                      <a:pt x="225" y="41"/>
                      <a:pt x="207" y="29"/>
                      <a:pt x="191" y="25"/>
                    </a:cubicBezTo>
                    <a:cubicBezTo>
                      <a:pt x="178" y="22"/>
                      <a:pt x="182" y="18"/>
                      <a:pt x="184" y="17"/>
                    </a:cubicBezTo>
                    <a:cubicBezTo>
                      <a:pt x="165" y="26"/>
                      <a:pt x="165" y="26"/>
                      <a:pt x="165" y="26"/>
                    </a:cubicBezTo>
                    <a:cubicBezTo>
                      <a:pt x="161" y="18"/>
                      <a:pt x="161" y="18"/>
                      <a:pt x="161" y="18"/>
                    </a:cubicBezTo>
                    <a:cubicBezTo>
                      <a:pt x="157" y="25"/>
                      <a:pt x="157" y="25"/>
                      <a:pt x="157" y="25"/>
                    </a:cubicBezTo>
                    <a:cubicBezTo>
                      <a:pt x="148" y="15"/>
                      <a:pt x="148" y="15"/>
                      <a:pt x="148" y="15"/>
                    </a:cubicBezTo>
                    <a:cubicBezTo>
                      <a:pt x="139" y="18"/>
                      <a:pt x="139" y="18"/>
                      <a:pt x="139" y="18"/>
                    </a:cubicBezTo>
                    <a:cubicBezTo>
                      <a:pt x="132" y="13"/>
                      <a:pt x="132" y="13"/>
                      <a:pt x="132" y="13"/>
                    </a:cubicBezTo>
                    <a:cubicBezTo>
                      <a:pt x="116" y="17"/>
                      <a:pt x="116" y="17"/>
                      <a:pt x="116" y="17"/>
                    </a:cubicBezTo>
                    <a:cubicBezTo>
                      <a:pt x="64" y="21"/>
                      <a:pt x="64" y="21"/>
                      <a:pt x="64" y="21"/>
                    </a:cubicBezTo>
                    <a:cubicBezTo>
                      <a:pt x="56" y="0"/>
                      <a:pt x="56" y="0"/>
                      <a:pt x="56" y="0"/>
                    </a:cubicBezTo>
                    <a:cubicBezTo>
                      <a:pt x="39" y="47"/>
                      <a:pt x="39" y="47"/>
                      <a:pt x="39" y="47"/>
                    </a:cubicBezTo>
                    <a:cubicBezTo>
                      <a:pt x="11" y="50"/>
                      <a:pt x="11" y="50"/>
                      <a:pt x="11" y="50"/>
                    </a:cubicBezTo>
                    <a:cubicBezTo>
                      <a:pt x="11" y="50"/>
                      <a:pt x="9" y="57"/>
                      <a:pt x="13" y="57"/>
                    </a:cubicBezTo>
                    <a:cubicBezTo>
                      <a:pt x="17" y="57"/>
                      <a:pt x="0" y="62"/>
                      <a:pt x="0" y="62"/>
                    </a:cubicBezTo>
                    <a:cubicBezTo>
                      <a:pt x="13" y="98"/>
                      <a:pt x="13" y="98"/>
                      <a:pt x="13" y="98"/>
                    </a:cubicBezTo>
                    <a:cubicBezTo>
                      <a:pt x="12" y="99"/>
                      <a:pt x="12" y="99"/>
                      <a:pt x="12" y="99"/>
                    </a:cubicBezTo>
                    <a:cubicBezTo>
                      <a:pt x="27" y="113"/>
                      <a:pt x="27" y="113"/>
                      <a:pt x="27" y="113"/>
                    </a:cubicBezTo>
                    <a:lnTo>
                      <a:pt x="23" y="12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4" name="Champagne-Ardenne" descr="© INSCALE GmbH, 05.05.2010&#10;http://www.presentationload.com/">
                <a:extLst>
                  <a:ext uri="{FF2B5EF4-FFF2-40B4-BE49-F238E27FC236}">
                    <a16:creationId xmlns:a16="http://schemas.microsoft.com/office/drawing/2014/main" id="{42702F3F-420E-4857-A133-B4AD3E556CC4}"/>
                  </a:ext>
                </a:extLst>
              </p:cNvPr>
              <p:cNvSpPr>
                <a:spLocks/>
              </p:cNvSpPr>
              <p:nvPr/>
            </p:nvSpPr>
            <p:spPr bwMode="gray">
              <a:xfrm>
                <a:off x="2008" y="466"/>
                <a:ext cx="578" cy="893"/>
              </a:xfrm>
              <a:custGeom>
                <a:avLst/>
                <a:gdLst/>
                <a:ahLst/>
                <a:cxnLst>
                  <a:cxn ang="0">
                    <a:pos x="514" y="699"/>
                  </a:cxn>
                  <a:cxn ang="0">
                    <a:pos x="493" y="668"/>
                  </a:cxn>
                  <a:cxn ang="0">
                    <a:pos x="497" y="623"/>
                  </a:cxn>
                  <a:cxn ang="0">
                    <a:pos x="465" y="599"/>
                  </a:cxn>
                  <a:cxn ang="0">
                    <a:pos x="432" y="580"/>
                  </a:cxn>
                  <a:cxn ang="0">
                    <a:pos x="429" y="563"/>
                  </a:cxn>
                  <a:cxn ang="0">
                    <a:pos x="381" y="521"/>
                  </a:cxn>
                  <a:cxn ang="0">
                    <a:pos x="341" y="497"/>
                  </a:cxn>
                  <a:cxn ang="0">
                    <a:pos x="322" y="425"/>
                  </a:cxn>
                  <a:cxn ang="0">
                    <a:pos x="333" y="363"/>
                  </a:cxn>
                  <a:cxn ang="0">
                    <a:pos x="324" y="299"/>
                  </a:cxn>
                  <a:cxn ang="0">
                    <a:pos x="354" y="240"/>
                  </a:cxn>
                  <a:cxn ang="0">
                    <a:pos x="365" y="192"/>
                  </a:cxn>
                  <a:cxn ang="0">
                    <a:pos x="394" y="184"/>
                  </a:cxn>
                  <a:cxn ang="0">
                    <a:pos x="416" y="161"/>
                  </a:cxn>
                  <a:cxn ang="0">
                    <a:pos x="351" y="115"/>
                  </a:cxn>
                  <a:cxn ang="0">
                    <a:pos x="321" y="99"/>
                  </a:cxn>
                  <a:cxn ang="0">
                    <a:pos x="301" y="55"/>
                  </a:cxn>
                  <a:cxn ang="0">
                    <a:pos x="320" y="8"/>
                  </a:cxn>
                  <a:cxn ang="0">
                    <a:pos x="282" y="21"/>
                  </a:cxn>
                  <a:cxn ang="0">
                    <a:pos x="230" y="63"/>
                  </a:cxn>
                  <a:cxn ang="0">
                    <a:pos x="175" y="57"/>
                  </a:cxn>
                  <a:cxn ang="0">
                    <a:pos x="164" y="128"/>
                  </a:cxn>
                  <a:cxn ang="0">
                    <a:pos x="141" y="177"/>
                  </a:cxn>
                  <a:cxn ang="0">
                    <a:pos x="129" y="215"/>
                  </a:cxn>
                  <a:cxn ang="0">
                    <a:pos x="94" y="257"/>
                  </a:cxn>
                  <a:cxn ang="0">
                    <a:pos x="56" y="301"/>
                  </a:cxn>
                  <a:cxn ang="0">
                    <a:pos x="42" y="339"/>
                  </a:cxn>
                  <a:cxn ang="0">
                    <a:pos x="38" y="368"/>
                  </a:cxn>
                  <a:cxn ang="0">
                    <a:pos x="28" y="409"/>
                  </a:cxn>
                  <a:cxn ang="0">
                    <a:pos x="17" y="436"/>
                  </a:cxn>
                  <a:cxn ang="0">
                    <a:pos x="0" y="453"/>
                  </a:cxn>
                  <a:cxn ang="0">
                    <a:pos x="13" y="496"/>
                  </a:cxn>
                  <a:cxn ang="0">
                    <a:pos x="26" y="505"/>
                  </a:cxn>
                  <a:cxn ang="0">
                    <a:pos x="17" y="528"/>
                  </a:cxn>
                  <a:cxn ang="0">
                    <a:pos x="0" y="549"/>
                  </a:cxn>
                  <a:cxn ang="0">
                    <a:pos x="14" y="583"/>
                  </a:cxn>
                  <a:cxn ang="0">
                    <a:pos x="44" y="644"/>
                  </a:cxn>
                  <a:cxn ang="0">
                    <a:pos x="68" y="653"/>
                  </a:cxn>
                  <a:cxn ang="0">
                    <a:pos x="76" y="656"/>
                  </a:cxn>
                  <a:cxn ang="0">
                    <a:pos x="108" y="720"/>
                  </a:cxn>
                  <a:cxn ang="0">
                    <a:pos x="156" y="723"/>
                  </a:cxn>
                  <a:cxn ang="0">
                    <a:pos x="173" y="707"/>
                  </a:cxn>
                  <a:cxn ang="0">
                    <a:pos x="197" y="723"/>
                  </a:cxn>
                  <a:cxn ang="0">
                    <a:pos x="301" y="691"/>
                  </a:cxn>
                  <a:cxn ang="0">
                    <a:pos x="318" y="713"/>
                  </a:cxn>
                  <a:cxn ang="0">
                    <a:pos x="325" y="719"/>
                  </a:cxn>
                  <a:cxn ang="0">
                    <a:pos x="332" y="767"/>
                  </a:cxn>
                  <a:cxn ang="0">
                    <a:pos x="353" y="787"/>
                  </a:cxn>
                  <a:cxn ang="0">
                    <a:pos x="388" y="807"/>
                  </a:cxn>
                  <a:cxn ang="0">
                    <a:pos x="421" y="816"/>
                  </a:cxn>
                  <a:cxn ang="0">
                    <a:pos x="468" y="792"/>
                  </a:cxn>
                  <a:cxn ang="0">
                    <a:pos x="500" y="788"/>
                  </a:cxn>
                  <a:cxn ang="0">
                    <a:pos x="497" y="747"/>
                  </a:cxn>
                  <a:cxn ang="0">
                    <a:pos x="525" y="735"/>
                  </a:cxn>
                  <a:cxn ang="0">
                    <a:pos x="530" y="697"/>
                  </a:cxn>
                </a:cxnLst>
                <a:rect l="0" t="0" r="r" b="b"/>
                <a:pathLst>
                  <a:path w="536" h="828">
                    <a:moveTo>
                      <a:pt x="530" y="697"/>
                    </a:moveTo>
                    <a:cubicBezTo>
                      <a:pt x="517" y="701"/>
                      <a:pt x="517" y="701"/>
                      <a:pt x="517" y="701"/>
                    </a:cubicBezTo>
                    <a:cubicBezTo>
                      <a:pt x="514" y="699"/>
                      <a:pt x="514" y="699"/>
                      <a:pt x="514" y="699"/>
                    </a:cubicBezTo>
                    <a:cubicBezTo>
                      <a:pt x="514" y="701"/>
                      <a:pt x="514" y="701"/>
                      <a:pt x="514" y="701"/>
                    </a:cubicBezTo>
                    <a:cubicBezTo>
                      <a:pt x="513" y="681"/>
                      <a:pt x="513" y="681"/>
                      <a:pt x="513" y="681"/>
                    </a:cubicBezTo>
                    <a:cubicBezTo>
                      <a:pt x="493" y="668"/>
                      <a:pt x="493" y="668"/>
                      <a:pt x="493" y="668"/>
                    </a:cubicBezTo>
                    <a:cubicBezTo>
                      <a:pt x="476" y="664"/>
                      <a:pt x="476" y="664"/>
                      <a:pt x="476" y="664"/>
                    </a:cubicBezTo>
                    <a:cubicBezTo>
                      <a:pt x="486" y="652"/>
                      <a:pt x="486" y="652"/>
                      <a:pt x="486" y="652"/>
                    </a:cubicBezTo>
                    <a:cubicBezTo>
                      <a:pt x="486" y="652"/>
                      <a:pt x="486" y="628"/>
                      <a:pt x="497" y="623"/>
                    </a:cubicBezTo>
                    <a:cubicBezTo>
                      <a:pt x="490" y="612"/>
                      <a:pt x="490" y="612"/>
                      <a:pt x="490" y="612"/>
                    </a:cubicBezTo>
                    <a:cubicBezTo>
                      <a:pt x="481" y="611"/>
                      <a:pt x="481" y="611"/>
                      <a:pt x="481" y="611"/>
                    </a:cubicBezTo>
                    <a:cubicBezTo>
                      <a:pt x="481" y="611"/>
                      <a:pt x="481" y="588"/>
                      <a:pt x="465" y="599"/>
                    </a:cubicBezTo>
                    <a:cubicBezTo>
                      <a:pt x="452" y="576"/>
                      <a:pt x="452" y="576"/>
                      <a:pt x="452" y="576"/>
                    </a:cubicBezTo>
                    <a:cubicBezTo>
                      <a:pt x="452" y="576"/>
                      <a:pt x="442" y="573"/>
                      <a:pt x="436" y="577"/>
                    </a:cubicBezTo>
                    <a:cubicBezTo>
                      <a:pt x="435" y="579"/>
                      <a:pt x="434" y="581"/>
                      <a:pt x="432" y="580"/>
                    </a:cubicBezTo>
                    <a:cubicBezTo>
                      <a:pt x="433" y="579"/>
                      <a:pt x="434" y="578"/>
                      <a:pt x="436" y="577"/>
                    </a:cubicBezTo>
                    <a:cubicBezTo>
                      <a:pt x="436" y="574"/>
                      <a:pt x="434" y="571"/>
                      <a:pt x="434" y="571"/>
                    </a:cubicBezTo>
                    <a:cubicBezTo>
                      <a:pt x="429" y="563"/>
                      <a:pt x="429" y="563"/>
                      <a:pt x="429" y="563"/>
                    </a:cubicBezTo>
                    <a:cubicBezTo>
                      <a:pt x="441" y="557"/>
                      <a:pt x="441" y="557"/>
                      <a:pt x="441" y="557"/>
                    </a:cubicBezTo>
                    <a:cubicBezTo>
                      <a:pt x="441" y="557"/>
                      <a:pt x="400" y="521"/>
                      <a:pt x="383" y="521"/>
                    </a:cubicBezTo>
                    <a:cubicBezTo>
                      <a:pt x="383" y="522"/>
                      <a:pt x="382" y="522"/>
                      <a:pt x="381" y="521"/>
                    </a:cubicBezTo>
                    <a:cubicBezTo>
                      <a:pt x="382" y="521"/>
                      <a:pt x="382" y="521"/>
                      <a:pt x="383" y="521"/>
                    </a:cubicBezTo>
                    <a:cubicBezTo>
                      <a:pt x="384" y="518"/>
                      <a:pt x="349" y="491"/>
                      <a:pt x="349" y="491"/>
                    </a:cubicBezTo>
                    <a:cubicBezTo>
                      <a:pt x="341" y="497"/>
                      <a:pt x="341" y="497"/>
                      <a:pt x="341" y="497"/>
                    </a:cubicBezTo>
                    <a:cubicBezTo>
                      <a:pt x="342" y="457"/>
                      <a:pt x="342" y="457"/>
                      <a:pt x="342" y="457"/>
                    </a:cubicBezTo>
                    <a:cubicBezTo>
                      <a:pt x="316" y="439"/>
                      <a:pt x="316" y="439"/>
                      <a:pt x="316" y="439"/>
                    </a:cubicBezTo>
                    <a:cubicBezTo>
                      <a:pt x="322" y="425"/>
                      <a:pt x="322" y="425"/>
                      <a:pt x="322" y="425"/>
                    </a:cubicBezTo>
                    <a:cubicBezTo>
                      <a:pt x="320" y="404"/>
                      <a:pt x="320" y="404"/>
                      <a:pt x="320" y="404"/>
                    </a:cubicBezTo>
                    <a:cubicBezTo>
                      <a:pt x="320" y="404"/>
                      <a:pt x="344" y="395"/>
                      <a:pt x="342" y="385"/>
                    </a:cubicBezTo>
                    <a:cubicBezTo>
                      <a:pt x="341" y="376"/>
                      <a:pt x="344" y="357"/>
                      <a:pt x="333" y="363"/>
                    </a:cubicBezTo>
                    <a:cubicBezTo>
                      <a:pt x="336" y="359"/>
                      <a:pt x="320" y="313"/>
                      <a:pt x="320" y="313"/>
                    </a:cubicBezTo>
                    <a:cubicBezTo>
                      <a:pt x="330" y="305"/>
                      <a:pt x="330" y="305"/>
                      <a:pt x="330" y="305"/>
                    </a:cubicBezTo>
                    <a:cubicBezTo>
                      <a:pt x="324" y="299"/>
                      <a:pt x="324" y="299"/>
                      <a:pt x="324" y="299"/>
                    </a:cubicBezTo>
                    <a:cubicBezTo>
                      <a:pt x="341" y="287"/>
                      <a:pt x="341" y="287"/>
                      <a:pt x="341" y="287"/>
                    </a:cubicBezTo>
                    <a:cubicBezTo>
                      <a:pt x="341" y="287"/>
                      <a:pt x="333" y="275"/>
                      <a:pt x="337" y="269"/>
                    </a:cubicBezTo>
                    <a:cubicBezTo>
                      <a:pt x="341" y="264"/>
                      <a:pt x="354" y="240"/>
                      <a:pt x="354" y="240"/>
                    </a:cubicBezTo>
                    <a:cubicBezTo>
                      <a:pt x="354" y="240"/>
                      <a:pt x="354" y="225"/>
                      <a:pt x="342" y="211"/>
                    </a:cubicBezTo>
                    <a:cubicBezTo>
                      <a:pt x="346" y="213"/>
                      <a:pt x="348" y="187"/>
                      <a:pt x="348" y="187"/>
                    </a:cubicBezTo>
                    <a:cubicBezTo>
                      <a:pt x="365" y="192"/>
                      <a:pt x="365" y="192"/>
                      <a:pt x="365" y="192"/>
                    </a:cubicBezTo>
                    <a:cubicBezTo>
                      <a:pt x="374" y="192"/>
                      <a:pt x="374" y="192"/>
                      <a:pt x="374" y="192"/>
                    </a:cubicBezTo>
                    <a:cubicBezTo>
                      <a:pt x="386" y="199"/>
                      <a:pt x="386" y="199"/>
                      <a:pt x="386" y="199"/>
                    </a:cubicBezTo>
                    <a:cubicBezTo>
                      <a:pt x="394" y="184"/>
                      <a:pt x="394" y="184"/>
                      <a:pt x="394" y="184"/>
                    </a:cubicBezTo>
                    <a:cubicBezTo>
                      <a:pt x="408" y="183"/>
                      <a:pt x="408" y="183"/>
                      <a:pt x="408" y="183"/>
                    </a:cubicBezTo>
                    <a:cubicBezTo>
                      <a:pt x="420" y="162"/>
                      <a:pt x="420" y="162"/>
                      <a:pt x="420" y="162"/>
                    </a:cubicBezTo>
                    <a:cubicBezTo>
                      <a:pt x="417" y="162"/>
                      <a:pt x="416" y="161"/>
                      <a:pt x="416" y="161"/>
                    </a:cubicBezTo>
                    <a:cubicBezTo>
                      <a:pt x="420" y="146"/>
                      <a:pt x="412" y="145"/>
                      <a:pt x="412" y="145"/>
                    </a:cubicBezTo>
                    <a:cubicBezTo>
                      <a:pt x="412" y="145"/>
                      <a:pt x="402" y="139"/>
                      <a:pt x="385" y="140"/>
                    </a:cubicBezTo>
                    <a:cubicBezTo>
                      <a:pt x="369" y="118"/>
                      <a:pt x="358" y="115"/>
                      <a:pt x="351" y="115"/>
                    </a:cubicBezTo>
                    <a:cubicBezTo>
                      <a:pt x="346" y="106"/>
                      <a:pt x="344" y="108"/>
                      <a:pt x="334" y="109"/>
                    </a:cubicBezTo>
                    <a:cubicBezTo>
                      <a:pt x="325" y="118"/>
                      <a:pt x="316" y="104"/>
                      <a:pt x="316" y="104"/>
                    </a:cubicBezTo>
                    <a:cubicBezTo>
                      <a:pt x="321" y="99"/>
                      <a:pt x="321" y="99"/>
                      <a:pt x="321" y="99"/>
                    </a:cubicBezTo>
                    <a:cubicBezTo>
                      <a:pt x="321" y="99"/>
                      <a:pt x="319" y="96"/>
                      <a:pt x="315" y="89"/>
                    </a:cubicBezTo>
                    <a:cubicBezTo>
                      <a:pt x="322" y="83"/>
                      <a:pt x="321" y="72"/>
                      <a:pt x="321" y="72"/>
                    </a:cubicBezTo>
                    <a:cubicBezTo>
                      <a:pt x="321" y="72"/>
                      <a:pt x="296" y="57"/>
                      <a:pt x="301" y="55"/>
                    </a:cubicBezTo>
                    <a:cubicBezTo>
                      <a:pt x="306" y="53"/>
                      <a:pt x="311" y="35"/>
                      <a:pt x="311" y="35"/>
                    </a:cubicBezTo>
                    <a:cubicBezTo>
                      <a:pt x="308" y="25"/>
                      <a:pt x="308" y="25"/>
                      <a:pt x="308" y="25"/>
                    </a:cubicBezTo>
                    <a:cubicBezTo>
                      <a:pt x="308" y="25"/>
                      <a:pt x="319" y="13"/>
                      <a:pt x="320" y="8"/>
                    </a:cubicBezTo>
                    <a:cubicBezTo>
                      <a:pt x="321" y="3"/>
                      <a:pt x="311" y="0"/>
                      <a:pt x="303" y="0"/>
                    </a:cubicBezTo>
                    <a:cubicBezTo>
                      <a:pt x="295" y="0"/>
                      <a:pt x="289" y="17"/>
                      <a:pt x="289" y="17"/>
                    </a:cubicBezTo>
                    <a:cubicBezTo>
                      <a:pt x="289" y="17"/>
                      <a:pt x="286" y="17"/>
                      <a:pt x="282" y="21"/>
                    </a:cubicBezTo>
                    <a:cubicBezTo>
                      <a:pt x="278" y="25"/>
                      <a:pt x="280" y="45"/>
                      <a:pt x="279" y="49"/>
                    </a:cubicBezTo>
                    <a:cubicBezTo>
                      <a:pt x="278" y="53"/>
                      <a:pt x="263" y="50"/>
                      <a:pt x="254" y="49"/>
                    </a:cubicBezTo>
                    <a:cubicBezTo>
                      <a:pt x="249" y="63"/>
                      <a:pt x="236" y="63"/>
                      <a:pt x="230" y="63"/>
                    </a:cubicBezTo>
                    <a:cubicBezTo>
                      <a:pt x="224" y="63"/>
                      <a:pt x="207" y="56"/>
                      <a:pt x="199" y="55"/>
                    </a:cubicBezTo>
                    <a:cubicBezTo>
                      <a:pt x="191" y="54"/>
                      <a:pt x="187" y="59"/>
                      <a:pt x="181" y="60"/>
                    </a:cubicBezTo>
                    <a:cubicBezTo>
                      <a:pt x="179" y="61"/>
                      <a:pt x="176" y="59"/>
                      <a:pt x="175" y="57"/>
                    </a:cubicBezTo>
                    <a:cubicBezTo>
                      <a:pt x="174" y="57"/>
                      <a:pt x="174" y="58"/>
                      <a:pt x="174" y="58"/>
                    </a:cubicBezTo>
                    <a:cubicBezTo>
                      <a:pt x="160" y="78"/>
                      <a:pt x="169" y="91"/>
                      <a:pt x="169" y="91"/>
                    </a:cubicBezTo>
                    <a:cubicBezTo>
                      <a:pt x="164" y="128"/>
                      <a:pt x="164" y="128"/>
                      <a:pt x="164" y="128"/>
                    </a:cubicBezTo>
                    <a:cubicBezTo>
                      <a:pt x="170" y="135"/>
                      <a:pt x="170" y="135"/>
                      <a:pt x="170" y="135"/>
                    </a:cubicBezTo>
                    <a:cubicBezTo>
                      <a:pt x="148" y="163"/>
                      <a:pt x="148" y="163"/>
                      <a:pt x="148" y="163"/>
                    </a:cubicBezTo>
                    <a:cubicBezTo>
                      <a:pt x="141" y="177"/>
                      <a:pt x="141" y="177"/>
                      <a:pt x="141" y="177"/>
                    </a:cubicBezTo>
                    <a:cubicBezTo>
                      <a:pt x="125" y="179"/>
                      <a:pt x="125" y="179"/>
                      <a:pt x="125" y="179"/>
                    </a:cubicBezTo>
                    <a:cubicBezTo>
                      <a:pt x="137" y="208"/>
                      <a:pt x="137" y="208"/>
                      <a:pt x="137" y="208"/>
                    </a:cubicBezTo>
                    <a:cubicBezTo>
                      <a:pt x="129" y="215"/>
                      <a:pt x="129" y="215"/>
                      <a:pt x="129" y="215"/>
                    </a:cubicBezTo>
                    <a:cubicBezTo>
                      <a:pt x="129" y="215"/>
                      <a:pt x="134" y="264"/>
                      <a:pt x="129" y="264"/>
                    </a:cubicBezTo>
                    <a:cubicBezTo>
                      <a:pt x="124" y="264"/>
                      <a:pt x="105" y="251"/>
                      <a:pt x="105" y="251"/>
                    </a:cubicBezTo>
                    <a:cubicBezTo>
                      <a:pt x="94" y="257"/>
                      <a:pt x="94" y="257"/>
                      <a:pt x="94" y="257"/>
                    </a:cubicBezTo>
                    <a:cubicBezTo>
                      <a:pt x="94" y="257"/>
                      <a:pt x="93" y="267"/>
                      <a:pt x="89" y="268"/>
                    </a:cubicBezTo>
                    <a:cubicBezTo>
                      <a:pt x="72" y="263"/>
                      <a:pt x="50" y="281"/>
                      <a:pt x="50" y="281"/>
                    </a:cubicBezTo>
                    <a:cubicBezTo>
                      <a:pt x="56" y="301"/>
                      <a:pt x="56" y="301"/>
                      <a:pt x="56" y="301"/>
                    </a:cubicBezTo>
                    <a:cubicBezTo>
                      <a:pt x="50" y="312"/>
                      <a:pt x="50" y="312"/>
                      <a:pt x="50" y="312"/>
                    </a:cubicBezTo>
                    <a:cubicBezTo>
                      <a:pt x="69" y="328"/>
                      <a:pt x="69" y="328"/>
                      <a:pt x="69" y="328"/>
                    </a:cubicBezTo>
                    <a:cubicBezTo>
                      <a:pt x="69" y="328"/>
                      <a:pt x="45" y="333"/>
                      <a:pt x="42" y="339"/>
                    </a:cubicBezTo>
                    <a:cubicBezTo>
                      <a:pt x="40" y="344"/>
                      <a:pt x="48" y="356"/>
                      <a:pt x="48" y="356"/>
                    </a:cubicBezTo>
                    <a:cubicBezTo>
                      <a:pt x="40" y="363"/>
                      <a:pt x="40" y="363"/>
                      <a:pt x="40" y="363"/>
                    </a:cubicBezTo>
                    <a:cubicBezTo>
                      <a:pt x="38" y="368"/>
                      <a:pt x="38" y="368"/>
                      <a:pt x="38" y="368"/>
                    </a:cubicBezTo>
                    <a:cubicBezTo>
                      <a:pt x="38" y="368"/>
                      <a:pt x="50" y="367"/>
                      <a:pt x="57" y="372"/>
                    </a:cubicBezTo>
                    <a:cubicBezTo>
                      <a:pt x="64" y="377"/>
                      <a:pt x="34" y="407"/>
                      <a:pt x="34" y="407"/>
                    </a:cubicBezTo>
                    <a:cubicBezTo>
                      <a:pt x="28" y="409"/>
                      <a:pt x="28" y="409"/>
                      <a:pt x="28" y="409"/>
                    </a:cubicBezTo>
                    <a:cubicBezTo>
                      <a:pt x="18" y="429"/>
                      <a:pt x="18" y="429"/>
                      <a:pt x="18" y="429"/>
                    </a:cubicBezTo>
                    <a:cubicBezTo>
                      <a:pt x="18" y="429"/>
                      <a:pt x="18" y="429"/>
                      <a:pt x="17" y="429"/>
                    </a:cubicBezTo>
                    <a:cubicBezTo>
                      <a:pt x="17" y="436"/>
                      <a:pt x="17" y="436"/>
                      <a:pt x="17" y="436"/>
                    </a:cubicBezTo>
                    <a:cubicBezTo>
                      <a:pt x="1" y="443"/>
                      <a:pt x="1" y="443"/>
                      <a:pt x="1" y="443"/>
                    </a:cubicBezTo>
                    <a:cubicBezTo>
                      <a:pt x="8" y="452"/>
                      <a:pt x="8" y="452"/>
                      <a:pt x="8" y="452"/>
                    </a:cubicBezTo>
                    <a:cubicBezTo>
                      <a:pt x="0" y="453"/>
                      <a:pt x="0" y="453"/>
                      <a:pt x="0" y="453"/>
                    </a:cubicBezTo>
                    <a:cubicBezTo>
                      <a:pt x="0" y="463"/>
                      <a:pt x="0" y="463"/>
                      <a:pt x="0" y="463"/>
                    </a:cubicBezTo>
                    <a:cubicBezTo>
                      <a:pt x="14" y="464"/>
                      <a:pt x="14" y="464"/>
                      <a:pt x="14" y="464"/>
                    </a:cubicBezTo>
                    <a:cubicBezTo>
                      <a:pt x="13" y="496"/>
                      <a:pt x="13" y="496"/>
                      <a:pt x="13" y="496"/>
                    </a:cubicBezTo>
                    <a:cubicBezTo>
                      <a:pt x="29" y="497"/>
                      <a:pt x="29" y="497"/>
                      <a:pt x="29" y="497"/>
                    </a:cubicBezTo>
                    <a:cubicBezTo>
                      <a:pt x="37" y="507"/>
                      <a:pt x="37" y="507"/>
                      <a:pt x="37" y="507"/>
                    </a:cubicBezTo>
                    <a:cubicBezTo>
                      <a:pt x="26" y="505"/>
                      <a:pt x="26" y="505"/>
                      <a:pt x="26" y="505"/>
                    </a:cubicBezTo>
                    <a:cubicBezTo>
                      <a:pt x="25" y="516"/>
                      <a:pt x="25" y="516"/>
                      <a:pt x="25" y="516"/>
                    </a:cubicBezTo>
                    <a:cubicBezTo>
                      <a:pt x="13" y="516"/>
                      <a:pt x="13" y="516"/>
                      <a:pt x="13" y="516"/>
                    </a:cubicBezTo>
                    <a:cubicBezTo>
                      <a:pt x="17" y="528"/>
                      <a:pt x="17" y="528"/>
                      <a:pt x="17" y="528"/>
                    </a:cubicBezTo>
                    <a:cubicBezTo>
                      <a:pt x="2" y="531"/>
                      <a:pt x="2" y="531"/>
                      <a:pt x="2" y="531"/>
                    </a:cubicBezTo>
                    <a:cubicBezTo>
                      <a:pt x="9" y="540"/>
                      <a:pt x="9" y="540"/>
                      <a:pt x="9" y="540"/>
                    </a:cubicBezTo>
                    <a:cubicBezTo>
                      <a:pt x="0" y="549"/>
                      <a:pt x="0" y="549"/>
                      <a:pt x="0" y="549"/>
                    </a:cubicBezTo>
                    <a:cubicBezTo>
                      <a:pt x="4" y="575"/>
                      <a:pt x="4" y="575"/>
                      <a:pt x="4" y="575"/>
                    </a:cubicBezTo>
                    <a:cubicBezTo>
                      <a:pt x="8" y="585"/>
                      <a:pt x="8" y="585"/>
                      <a:pt x="8" y="585"/>
                    </a:cubicBezTo>
                    <a:cubicBezTo>
                      <a:pt x="14" y="583"/>
                      <a:pt x="14" y="583"/>
                      <a:pt x="14" y="583"/>
                    </a:cubicBezTo>
                    <a:cubicBezTo>
                      <a:pt x="14" y="583"/>
                      <a:pt x="41" y="593"/>
                      <a:pt x="41" y="608"/>
                    </a:cubicBezTo>
                    <a:cubicBezTo>
                      <a:pt x="45" y="613"/>
                      <a:pt x="45" y="613"/>
                      <a:pt x="45" y="613"/>
                    </a:cubicBezTo>
                    <a:cubicBezTo>
                      <a:pt x="45" y="613"/>
                      <a:pt x="53" y="635"/>
                      <a:pt x="44" y="644"/>
                    </a:cubicBezTo>
                    <a:cubicBezTo>
                      <a:pt x="53" y="641"/>
                      <a:pt x="53" y="641"/>
                      <a:pt x="53" y="641"/>
                    </a:cubicBezTo>
                    <a:cubicBezTo>
                      <a:pt x="62" y="656"/>
                      <a:pt x="62" y="656"/>
                      <a:pt x="62" y="656"/>
                    </a:cubicBezTo>
                    <a:cubicBezTo>
                      <a:pt x="68" y="653"/>
                      <a:pt x="68" y="653"/>
                      <a:pt x="68" y="653"/>
                    </a:cubicBezTo>
                    <a:cubicBezTo>
                      <a:pt x="68" y="644"/>
                      <a:pt x="68" y="644"/>
                      <a:pt x="68" y="644"/>
                    </a:cubicBezTo>
                    <a:cubicBezTo>
                      <a:pt x="76" y="645"/>
                      <a:pt x="76" y="645"/>
                      <a:pt x="76" y="645"/>
                    </a:cubicBezTo>
                    <a:cubicBezTo>
                      <a:pt x="76" y="656"/>
                      <a:pt x="76" y="656"/>
                      <a:pt x="76" y="656"/>
                    </a:cubicBezTo>
                    <a:cubicBezTo>
                      <a:pt x="76" y="656"/>
                      <a:pt x="85" y="664"/>
                      <a:pt x="94" y="684"/>
                    </a:cubicBezTo>
                    <a:cubicBezTo>
                      <a:pt x="104" y="704"/>
                      <a:pt x="102" y="708"/>
                      <a:pt x="112" y="700"/>
                    </a:cubicBezTo>
                    <a:cubicBezTo>
                      <a:pt x="112" y="703"/>
                      <a:pt x="108" y="720"/>
                      <a:pt x="108" y="720"/>
                    </a:cubicBezTo>
                    <a:cubicBezTo>
                      <a:pt x="142" y="721"/>
                      <a:pt x="142" y="721"/>
                      <a:pt x="142" y="721"/>
                    </a:cubicBezTo>
                    <a:cubicBezTo>
                      <a:pt x="144" y="716"/>
                      <a:pt x="144" y="716"/>
                      <a:pt x="144" y="716"/>
                    </a:cubicBezTo>
                    <a:cubicBezTo>
                      <a:pt x="156" y="723"/>
                      <a:pt x="156" y="723"/>
                      <a:pt x="156" y="723"/>
                    </a:cubicBezTo>
                    <a:cubicBezTo>
                      <a:pt x="169" y="712"/>
                      <a:pt x="169" y="712"/>
                      <a:pt x="169" y="712"/>
                    </a:cubicBezTo>
                    <a:cubicBezTo>
                      <a:pt x="176" y="716"/>
                      <a:pt x="176" y="716"/>
                      <a:pt x="176" y="716"/>
                    </a:cubicBezTo>
                    <a:cubicBezTo>
                      <a:pt x="173" y="707"/>
                      <a:pt x="173" y="707"/>
                      <a:pt x="173" y="707"/>
                    </a:cubicBezTo>
                    <a:cubicBezTo>
                      <a:pt x="182" y="707"/>
                      <a:pt x="182" y="707"/>
                      <a:pt x="182" y="707"/>
                    </a:cubicBezTo>
                    <a:cubicBezTo>
                      <a:pt x="188" y="720"/>
                      <a:pt x="188" y="720"/>
                      <a:pt x="188" y="720"/>
                    </a:cubicBezTo>
                    <a:cubicBezTo>
                      <a:pt x="197" y="723"/>
                      <a:pt x="197" y="723"/>
                      <a:pt x="197" y="723"/>
                    </a:cubicBezTo>
                    <a:cubicBezTo>
                      <a:pt x="197" y="711"/>
                      <a:pt x="197" y="711"/>
                      <a:pt x="197" y="711"/>
                    </a:cubicBezTo>
                    <a:cubicBezTo>
                      <a:pt x="252" y="709"/>
                      <a:pt x="252" y="709"/>
                      <a:pt x="252" y="709"/>
                    </a:cubicBezTo>
                    <a:cubicBezTo>
                      <a:pt x="252" y="709"/>
                      <a:pt x="220" y="675"/>
                      <a:pt x="301" y="691"/>
                    </a:cubicBezTo>
                    <a:cubicBezTo>
                      <a:pt x="300" y="708"/>
                      <a:pt x="300" y="708"/>
                      <a:pt x="300" y="708"/>
                    </a:cubicBezTo>
                    <a:cubicBezTo>
                      <a:pt x="313" y="708"/>
                      <a:pt x="313" y="708"/>
                      <a:pt x="313" y="708"/>
                    </a:cubicBezTo>
                    <a:cubicBezTo>
                      <a:pt x="318" y="713"/>
                      <a:pt x="318" y="713"/>
                      <a:pt x="318" y="713"/>
                    </a:cubicBezTo>
                    <a:cubicBezTo>
                      <a:pt x="312" y="721"/>
                      <a:pt x="312" y="721"/>
                      <a:pt x="312" y="721"/>
                    </a:cubicBezTo>
                    <a:cubicBezTo>
                      <a:pt x="318" y="725"/>
                      <a:pt x="318" y="725"/>
                      <a:pt x="318" y="725"/>
                    </a:cubicBezTo>
                    <a:cubicBezTo>
                      <a:pt x="325" y="719"/>
                      <a:pt x="325" y="719"/>
                      <a:pt x="325" y="719"/>
                    </a:cubicBezTo>
                    <a:cubicBezTo>
                      <a:pt x="325" y="719"/>
                      <a:pt x="336" y="740"/>
                      <a:pt x="342" y="748"/>
                    </a:cubicBezTo>
                    <a:cubicBezTo>
                      <a:pt x="332" y="766"/>
                      <a:pt x="332" y="766"/>
                      <a:pt x="332" y="766"/>
                    </a:cubicBezTo>
                    <a:cubicBezTo>
                      <a:pt x="332" y="767"/>
                      <a:pt x="332" y="767"/>
                      <a:pt x="332" y="767"/>
                    </a:cubicBezTo>
                    <a:cubicBezTo>
                      <a:pt x="341" y="769"/>
                      <a:pt x="341" y="769"/>
                      <a:pt x="341" y="769"/>
                    </a:cubicBezTo>
                    <a:cubicBezTo>
                      <a:pt x="341" y="792"/>
                      <a:pt x="341" y="792"/>
                      <a:pt x="341" y="792"/>
                    </a:cubicBezTo>
                    <a:cubicBezTo>
                      <a:pt x="353" y="787"/>
                      <a:pt x="353" y="787"/>
                      <a:pt x="353" y="787"/>
                    </a:cubicBezTo>
                    <a:cubicBezTo>
                      <a:pt x="353" y="787"/>
                      <a:pt x="365" y="801"/>
                      <a:pt x="374" y="801"/>
                    </a:cubicBezTo>
                    <a:cubicBezTo>
                      <a:pt x="384" y="801"/>
                      <a:pt x="388" y="797"/>
                      <a:pt x="388" y="797"/>
                    </a:cubicBezTo>
                    <a:cubicBezTo>
                      <a:pt x="388" y="807"/>
                      <a:pt x="388" y="807"/>
                      <a:pt x="388" y="807"/>
                    </a:cubicBezTo>
                    <a:cubicBezTo>
                      <a:pt x="404" y="815"/>
                      <a:pt x="404" y="815"/>
                      <a:pt x="404" y="815"/>
                    </a:cubicBezTo>
                    <a:cubicBezTo>
                      <a:pt x="404" y="828"/>
                      <a:pt x="404" y="828"/>
                      <a:pt x="404" y="828"/>
                    </a:cubicBezTo>
                    <a:cubicBezTo>
                      <a:pt x="421" y="816"/>
                      <a:pt x="421" y="816"/>
                      <a:pt x="421" y="816"/>
                    </a:cubicBezTo>
                    <a:cubicBezTo>
                      <a:pt x="421" y="816"/>
                      <a:pt x="426" y="819"/>
                      <a:pt x="430" y="819"/>
                    </a:cubicBezTo>
                    <a:cubicBezTo>
                      <a:pt x="434" y="819"/>
                      <a:pt x="438" y="791"/>
                      <a:pt x="438" y="791"/>
                    </a:cubicBezTo>
                    <a:cubicBezTo>
                      <a:pt x="468" y="792"/>
                      <a:pt x="468" y="792"/>
                      <a:pt x="468" y="792"/>
                    </a:cubicBezTo>
                    <a:cubicBezTo>
                      <a:pt x="469" y="785"/>
                      <a:pt x="469" y="785"/>
                      <a:pt x="469" y="785"/>
                    </a:cubicBezTo>
                    <a:cubicBezTo>
                      <a:pt x="481" y="793"/>
                      <a:pt x="481" y="793"/>
                      <a:pt x="481" y="793"/>
                    </a:cubicBezTo>
                    <a:cubicBezTo>
                      <a:pt x="500" y="788"/>
                      <a:pt x="500" y="788"/>
                      <a:pt x="500" y="788"/>
                    </a:cubicBezTo>
                    <a:cubicBezTo>
                      <a:pt x="502" y="757"/>
                      <a:pt x="502" y="757"/>
                      <a:pt x="502" y="757"/>
                    </a:cubicBezTo>
                    <a:cubicBezTo>
                      <a:pt x="492" y="757"/>
                      <a:pt x="492" y="757"/>
                      <a:pt x="492" y="757"/>
                    </a:cubicBezTo>
                    <a:cubicBezTo>
                      <a:pt x="497" y="747"/>
                      <a:pt x="497" y="747"/>
                      <a:pt x="497" y="747"/>
                    </a:cubicBezTo>
                    <a:cubicBezTo>
                      <a:pt x="505" y="748"/>
                      <a:pt x="505" y="748"/>
                      <a:pt x="505" y="748"/>
                    </a:cubicBezTo>
                    <a:cubicBezTo>
                      <a:pt x="512" y="733"/>
                      <a:pt x="512" y="733"/>
                      <a:pt x="512" y="733"/>
                    </a:cubicBezTo>
                    <a:cubicBezTo>
                      <a:pt x="525" y="735"/>
                      <a:pt x="525" y="735"/>
                      <a:pt x="525" y="735"/>
                    </a:cubicBezTo>
                    <a:cubicBezTo>
                      <a:pt x="528" y="720"/>
                      <a:pt x="528" y="720"/>
                      <a:pt x="528" y="720"/>
                    </a:cubicBezTo>
                    <a:cubicBezTo>
                      <a:pt x="536" y="715"/>
                      <a:pt x="536" y="715"/>
                      <a:pt x="536" y="715"/>
                    </a:cubicBezTo>
                    <a:lnTo>
                      <a:pt x="530" y="697"/>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5" name="Lorraine" descr="© INSCALE GmbH, 05.05.2010&#10;http://www.presentationload.com/">
                <a:extLst>
                  <a:ext uri="{FF2B5EF4-FFF2-40B4-BE49-F238E27FC236}">
                    <a16:creationId xmlns:a16="http://schemas.microsoft.com/office/drawing/2014/main" id="{2ACB0F13-E462-48F4-A8B6-FD41570E9DC6}"/>
                  </a:ext>
                </a:extLst>
              </p:cNvPr>
              <p:cNvSpPr>
                <a:spLocks/>
              </p:cNvSpPr>
              <p:nvPr/>
            </p:nvSpPr>
            <p:spPr bwMode="gray">
              <a:xfrm>
                <a:off x="2349" y="641"/>
                <a:ext cx="619" cy="618"/>
              </a:xfrm>
              <a:custGeom>
                <a:avLst/>
                <a:gdLst/>
                <a:ahLst/>
                <a:cxnLst>
                  <a:cxn ang="0">
                    <a:pos x="552" y="140"/>
                  </a:cxn>
                  <a:cxn ang="0">
                    <a:pos x="524" y="152"/>
                  </a:cxn>
                  <a:cxn ang="0">
                    <a:pos x="482" y="143"/>
                  </a:cxn>
                  <a:cxn ang="0">
                    <a:pos x="464" y="142"/>
                  </a:cxn>
                  <a:cxn ang="0">
                    <a:pos x="429" y="124"/>
                  </a:cxn>
                  <a:cxn ang="0">
                    <a:pos x="423" y="143"/>
                  </a:cxn>
                  <a:cxn ang="0">
                    <a:pos x="395" y="131"/>
                  </a:cxn>
                  <a:cxn ang="0">
                    <a:pos x="388" y="114"/>
                  </a:cxn>
                  <a:cxn ang="0">
                    <a:pos x="365" y="84"/>
                  </a:cxn>
                  <a:cxn ang="0">
                    <a:pos x="368" y="71"/>
                  </a:cxn>
                  <a:cxn ang="0">
                    <a:pos x="333" y="43"/>
                  </a:cxn>
                  <a:cxn ang="0">
                    <a:pos x="281" y="38"/>
                  </a:cxn>
                  <a:cxn ang="0">
                    <a:pos x="233" y="36"/>
                  </a:cxn>
                  <a:cxn ang="0">
                    <a:pos x="191" y="20"/>
                  </a:cxn>
                  <a:cxn ang="0">
                    <a:pos x="165" y="33"/>
                  </a:cxn>
                  <a:cxn ang="0">
                    <a:pos x="128" y="21"/>
                  </a:cxn>
                  <a:cxn ang="0">
                    <a:pos x="92" y="21"/>
                  </a:cxn>
                  <a:cxn ang="0">
                    <a:pos x="70" y="37"/>
                  </a:cxn>
                  <a:cxn ang="0">
                    <a:pos x="49" y="30"/>
                  </a:cxn>
                  <a:cxn ang="0">
                    <a:pos x="26" y="49"/>
                  </a:cxn>
                  <a:cxn ang="0">
                    <a:pos x="21" y="107"/>
                  </a:cxn>
                  <a:cxn ang="0">
                    <a:pos x="8" y="137"/>
                  </a:cxn>
                  <a:cxn ang="0">
                    <a:pos x="4" y="151"/>
                  </a:cxn>
                  <a:cxn ang="0">
                    <a:pos x="26" y="223"/>
                  </a:cxn>
                  <a:cxn ang="0">
                    <a:pos x="6" y="263"/>
                  </a:cxn>
                  <a:cxn ang="0">
                    <a:pos x="26" y="295"/>
                  </a:cxn>
                  <a:cxn ang="0">
                    <a:pos x="33" y="329"/>
                  </a:cxn>
                  <a:cxn ang="0">
                    <a:pos x="125" y="395"/>
                  </a:cxn>
                  <a:cxn ang="0">
                    <a:pos x="118" y="409"/>
                  </a:cxn>
                  <a:cxn ang="0">
                    <a:pos x="136" y="414"/>
                  </a:cxn>
                  <a:cxn ang="0">
                    <a:pos x="165" y="449"/>
                  </a:cxn>
                  <a:cxn ang="0">
                    <a:pos x="181" y="461"/>
                  </a:cxn>
                  <a:cxn ang="0">
                    <a:pos x="160" y="502"/>
                  </a:cxn>
                  <a:cxn ang="0">
                    <a:pos x="197" y="519"/>
                  </a:cxn>
                  <a:cxn ang="0">
                    <a:pos x="201" y="539"/>
                  </a:cxn>
                  <a:cxn ang="0">
                    <a:pos x="217" y="544"/>
                  </a:cxn>
                  <a:cxn ang="0">
                    <a:pos x="234" y="534"/>
                  </a:cxn>
                  <a:cxn ang="0">
                    <a:pos x="244" y="537"/>
                  </a:cxn>
                  <a:cxn ang="0">
                    <a:pos x="274" y="517"/>
                  </a:cxn>
                  <a:cxn ang="0">
                    <a:pos x="286" y="534"/>
                  </a:cxn>
                  <a:cxn ang="0">
                    <a:pos x="337" y="537"/>
                  </a:cxn>
                  <a:cxn ang="0">
                    <a:pos x="372" y="537"/>
                  </a:cxn>
                  <a:cxn ang="0">
                    <a:pos x="414" y="562"/>
                  </a:cxn>
                  <a:cxn ang="0">
                    <a:pos x="442" y="559"/>
                  </a:cxn>
                  <a:cxn ang="0">
                    <a:pos x="441" y="545"/>
                  </a:cxn>
                  <a:cxn ang="0">
                    <a:pos x="472" y="470"/>
                  </a:cxn>
                  <a:cxn ang="0">
                    <a:pos x="490" y="411"/>
                  </a:cxn>
                  <a:cxn ang="0">
                    <a:pos x="469" y="399"/>
                  </a:cxn>
                  <a:cxn ang="0">
                    <a:pos x="458" y="343"/>
                  </a:cxn>
                  <a:cxn ang="0">
                    <a:pos x="508" y="299"/>
                  </a:cxn>
                  <a:cxn ang="0">
                    <a:pos x="477" y="242"/>
                  </a:cxn>
                  <a:cxn ang="0">
                    <a:pos x="449" y="243"/>
                  </a:cxn>
                  <a:cxn ang="0">
                    <a:pos x="429" y="223"/>
                  </a:cxn>
                  <a:cxn ang="0">
                    <a:pos x="450" y="166"/>
                  </a:cxn>
                  <a:cxn ang="0">
                    <a:pos x="465" y="189"/>
                  </a:cxn>
                  <a:cxn ang="0">
                    <a:pos x="533" y="197"/>
                  </a:cxn>
                  <a:cxn ang="0">
                    <a:pos x="563" y="150"/>
                  </a:cxn>
                </a:cxnLst>
                <a:rect l="0" t="0" r="r" b="b"/>
                <a:pathLst>
                  <a:path w="574" h="573">
                    <a:moveTo>
                      <a:pt x="563" y="150"/>
                    </a:moveTo>
                    <a:cubicBezTo>
                      <a:pt x="569" y="145"/>
                      <a:pt x="561" y="142"/>
                      <a:pt x="552" y="140"/>
                    </a:cubicBezTo>
                    <a:cubicBezTo>
                      <a:pt x="542" y="130"/>
                      <a:pt x="536" y="147"/>
                      <a:pt x="536" y="147"/>
                    </a:cubicBezTo>
                    <a:cubicBezTo>
                      <a:pt x="524" y="152"/>
                      <a:pt x="524" y="152"/>
                      <a:pt x="524" y="152"/>
                    </a:cubicBezTo>
                    <a:cubicBezTo>
                      <a:pt x="489" y="154"/>
                      <a:pt x="489" y="154"/>
                      <a:pt x="489" y="154"/>
                    </a:cubicBezTo>
                    <a:cubicBezTo>
                      <a:pt x="482" y="143"/>
                      <a:pt x="482" y="143"/>
                      <a:pt x="482" y="143"/>
                    </a:cubicBezTo>
                    <a:cubicBezTo>
                      <a:pt x="471" y="154"/>
                      <a:pt x="471" y="154"/>
                      <a:pt x="471" y="154"/>
                    </a:cubicBezTo>
                    <a:cubicBezTo>
                      <a:pt x="464" y="142"/>
                      <a:pt x="464" y="142"/>
                      <a:pt x="464" y="142"/>
                    </a:cubicBezTo>
                    <a:cubicBezTo>
                      <a:pt x="464" y="122"/>
                      <a:pt x="438" y="126"/>
                      <a:pt x="438" y="126"/>
                    </a:cubicBezTo>
                    <a:cubicBezTo>
                      <a:pt x="429" y="124"/>
                      <a:pt x="429" y="124"/>
                      <a:pt x="429" y="124"/>
                    </a:cubicBezTo>
                    <a:cubicBezTo>
                      <a:pt x="431" y="135"/>
                      <a:pt x="431" y="135"/>
                      <a:pt x="431" y="135"/>
                    </a:cubicBezTo>
                    <a:cubicBezTo>
                      <a:pt x="423" y="143"/>
                      <a:pt x="423" y="143"/>
                      <a:pt x="423" y="143"/>
                    </a:cubicBezTo>
                    <a:cubicBezTo>
                      <a:pt x="419" y="140"/>
                      <a:pt x="419" y="140"/>
                      <a:pt x="419" y="140"/>
                    </a:cubicBezTo>
                    <a:cubicBezTo>
                      <a:pt x="397" y="145"/>
                      <a:pt x="395" y="131"/>
                      <a:pt x="395" y="131"/>
                    </a:cubicBezTo>
                    <a:cubicBezTo>
                      <a:pt x="403" y="125"/>
                      <a:pt x="397" y="121"/>
                      <a:pt x="397" y="121"/>
                    </a:cubicBezTo>
                    <a:cubicBezTo>
                      <a:pt x="392" y="126"/>
                      <a:pt x="388" y="114"/>
                      <a:pt x="388" y="114"/>
                    </a:cubicBezTo>
                    <a:cubicBezTo>
                      <a:pt x="389" y="107"/>
                      <a:pt x="377" y="99"/>
                      <a:pt x="370" y="96"/>
                    </a:cubicBezTo>
                    <a:cubicBezTo>
                      <a:pt x="370" y="88"/>
                      <a:pt x="365" y="84"/>
                      <a:pt x="365" y="84"/>
                    </a:cubicBezTo>
                    <a:cubicBezTo>
                      <a:pt x="371" y="79"/>
                      <a:pt x="371" y="79"/>
                      <a:pt x="371" y="79"/>
                    </a:cubicBezTo>
                    <a:cubicBezTo>
                      <a:pt x="368" y="71"/>
                      <a:pt x="368" y="71"/>
                      <a:pt x="368" y="71"/>
                    </a:cubicBezTo>
                    <a:cubicBezTo>
                      <a:pt x="361" y="71"/>
                      <a:pt x="358" y="59"/>
                      <a:pt x="358" y="59"/>
                    </a:cubicBezTo>
                    <a:cubicBezTo>
                      <a:pt x="333" y="43"/>
                      <a:pt x="333" y="43"/>
                      <a:pt x="333" y="43"/>
                    </a:cubicBezTo>
                    <a:cubicBezTo>
                      <a:pt x="317" y="61"/>
                      <a:pt x="297" y="38"/>
                      <a:pt x="297" y="38"/>
                    </a:cubicBezTo>
                    <a:cubicBezTo>
                      <a:pt x="297" y="38"/>
                      <a:pt x="297" y="38"/>
                      <a:pt x="281" y="38"/>
                    </a:cubicBezTo>
                    <a:cubicBezTo>
                      <a:pt x="272" y="54"/>
                      <a:pt x="245" y="52"/>
                      <a:pt x="243" y="48"/>
                    </a:cubicBezTo>
                    <a:cubicBezTo>
                      <a:pt x="241" y="44"/>
                      <a:pt x="233" y="36"/>
                      <a:pt x="233" y="36"/>
                    </a:cubicBezTo>
                    <a:cubicBezTo>
                      <a:pt x="233" y="36"/>
                      <a:pt x="223" y="33"/>
                      <a:pt x="212" y="31"/>
                    </a:cubicBezTo>
                    <a:cubicBezTo>
                      <a:pt x="206" y="20"/>
                      <a:pt x="191" y="20"/>
                      <a:pt x="191" y="20"/>
                    </a:cubicBezTo>
                    <a:cubicBezTo>
                      <a:pt x="175" y="19"/>
                      <a:pt x="175" y="19"/>
                      <a:pt x="175" y="19"/>
                    </a:cubicBezTo>
                    <a:cubicBezTo>
                      <a:pt x="165" y="33"/>
                      <a:pt x="165" y="33"/>
                      <a:pt x="165" y="33"/>
                    </a:cubicBezTo>
                    <a:cubicBezTo>
                      <a:pt x="165" y="33"/>
                      <a:pt x="162" y="29"/>
                      <a:pt x="145" y="30"/>
                    </a:cubicBezTo>
                    <a:cubicBezTo>
                      <a:pt x="126" y="45"/>
                      <a:pt x="129" y="24"/>
                      <a:pt x="128" y="21"/>
                    </a:cubicBezTo>
                    <a:cubicBezTo>
                      <a:pt x="128" y="5"/>
                      <a:pt x="111" y="1"/>
                      <a:pt x="104" y="0"/>
                    </a:cubicBezTo>
                    <a:cubicBezTo>
                      <a:pt x="92" y="21"/>
                      <a:pt x="92" y="21"/>
                      <a:pt x="92" y="21"/>
                    </a:cubicBezTo>
                    <a:cubicBezTo>
                      <a:pt x="78" y="22"/>
                      <a:pt x="78" y="22"/>
                      <a:pt x="78" y="22"/>
                    </a:cubicBezTo>
                    <a:cubicBezTo>
                      <a:pt x="70" y="37"/>
                      <a:pt x="70" y="37"/>
                      <a:pt x="70" y="37"/>
                    </a:cubicBezTo>
                    <a:cubicBezTo>
                      <a:pt x="58" y="30"/>
                      <a:pt x="58" y="30"/>
                      <a:pt x="58" y="30"/>
                    </a:cubicBezTo>
                    <a:cubicBezTo>
                      <a:pt x="49" y="30"/>
                      <a:pt x="49" y="30"/>
                      <a:pt x="49" y="30"/>
                    </a:cubicBezTo>
                    <a:cubicBezTo>
                      <a:pt x="32" y="25"/>
                      <a:pt x="32" y="25"/>
                      <a:pt x="32" y="25"/>
                    </a:cubicBezTo>
                    <a:cubicBezTo>
                      <a:pt x="32" y="25"/>
                      <a:pt x="30" y="51"/>
                      <a:pt x="26" y="49"/>
                    </a:cubicBezTo>
                    <a:cubicBezTo>
                      <a:pt x="38" y="63"/>
                      <a:pt x="38" y="78"/>
                      <a:pt x="38" y="78"/>
                    </a:cubicBezTo>
                    <a:cubicBezTo>
                      <a:pt x="38" y="78"/>
                      <a:pt x="25" y="102"/>
                      <a:pt x="21" y="107"/>
                    </a:cubicBezTo>
                    <a:cubicBezTo>
                      <a:pt x="17" y="113"/>
                      <a:pt x="25" y="125"/>
                      <a:pt x="25" y="125"/>
                    </a:cubicBezTo>
                    <a:cubicBezTo>
                      <a:pt x="8" y="137"/>
                      <a:pt x="8" y="137"/>
                      <a:pt x="8" y="137"/>
                    </a:cubicBezTo>
                    <a:cubicBezTo>
                      <a:pt x="14" y="143"/>
                      <a:pt x="14" y="143"/>
                      <a:pt x="14" y="143"/>
                    </a:cubicBezTo>
                    <a:cubicBezTo>
                      <a:pt x="4" y="151"/>
                      <a:pt x="4" y="151"/>
                      <a:pt x="4" y="151"/>
                    </a:cubicBezTo>
                    <a:cubicBezTo>
                      <a:pt x="4" y="151"/>
                      <a:pt x="20" y="197"/>
                      <a:pt x="17" y="201"/>
                    </a:cubicBezTo>
                    <a:cubicBezTo>
                      <a:pt x="28" y="195"/>
                      <a:pt x="25" y="214"/>
                      <a:pt x="26" y="223"/>
                    </a:cubicBezTo>
                    <a:cubicBezTo>
                      <a:pt x="28" y="233"/>
                      <a:pt x="4" y="242"/>
                      <a:pt x="4" y="242"/>
                    </a:cubicBezTo>
                    <a:cubicBezTo>
                      <a:pt x="6" y="263"/>
                      <a:pt x="6" y="263"/>
                      <a:pt x="6" y="263"/>
                    </a:cubicBezTo>
                    <a:cubicBezTo>
                      <a:pt x="0" y="277"/>
                      <a:pt x="0" y="277"/>
                      <a:pt x="0" y="277"/>
                    </a:cubicBezTo>
                    <a:cubicBezTo>
                      <a:pt x="26" y="295"/>
                      <a:pt x="26" y="295"/>
                      <a:pt x="26" y="295"/>
                    </a:cubicBezTo>
                    <a:cubicBezTo>
                      <a:pt x="25" y="335"/>
                      <a:pt x="25" y="335"/>
                      <a:pt x="25" y="335"/>
                    </a:cubicBezTo>
                    <a:cubicBezTo>
                      <a:pt x="33" y="329"/>
                      <a:pt x="33" y="329"/>
                      <a:pt x="33" y="329"/>
                    </a:cubicBezTo>
                    <a:cubicBezTo>
                      <a:pt x="33" y="329"/>
                      <a:pt x="68" y="356"/>
                      <a:pt x="67" y="359"/>
                    </a:cubicBezTo>
                    <a:cubicBezTo>
                      <a:pt x="84" y="359"/>
                      <a:pt x="125" y="395"/>
                      <a:pt x="125" y="395"/>
                    </a:cubicBezTo>
                    <a:cubicBezTo>
                      <a:pt x="113" y="401"/>
                      <a:pt x="113" y="401"/>
                      <a:pt x="113" y="401"/>
                    </a:cubicBezTo>
                    <a:cubicBezTo>
                      <a:pt x="118" y="409"/>
                      <a:pt x="118" y="409"/>
                      <a:pt x="118" y="409"/>
                    </a:cubicBezTo>
                    <a:cubicBezTo>
                      <a:pt x="118" y="409"/>
                      <a:pt x="120" y="412"/>
                      <a:pt x="120" y="415"/>
                    </a:cubicBezTo>
                    <a:cubicBezTo>
                      <a:pt x="126" y="411"/>
                      <a:pt x="136" y="414"/>
                      <a:pt x="136" y="414"/>
                    </a:cubicBezTo>
                    <a:cubicBezTo>
                      <a:pt x="149" y="437"/>
                      <a:pt x="149" y="437"/>
                      <a:pt x="149" y="437"/>
                    </a:cubicBezTo>
                    <a:cubicBezTo>
                      <a:pt x="165" y="426"/>
                      <a:pt x="165" y="449"/>
                      <a:pt x="165" y="449"/>
                    </a:cubicBezTo>
                    <a:cubicBezTo>
                      <a:pt x="174" y="450"/>
                      <a:pt x="174" y="450"/>
                      <a:pt x="174" y="450"/>
                    </a:cubicBezTo>
                    <a:cubicBezTo>
                      <a:pt x="181" y="461"/>
                      <a:pt x="181" y="461"/>
                      <a:pt x="181" y="461"/>
                    </a:cubicBezTo>
                    <a:cubicBezTo>
                      <a:pt x="170" y="466"/>
                      <a:pt x="170" y="490"/>
                      <a:pt x="170" y="490"/>
                    </a:cubicBezTo>
                    <a:cubicBezTo>
                      <a:pt x="160" y="502"/>
                      <a:pt x="160" y="502"/>
                      <a:pt x="160" y="502"/>
                    </a:cubicBezTo>
                    <a:cubicBezTo>
                      <a:pt x="177" y="506"/>
                      <a:pt x="177" y="506"/>
                      <a:pt x="177" y="506"/>
                    </a:cubicBezTo>
                    <a:cubicBezTo>
                      <a:pt x="197" y="519"/>
                      <a:pt x="197" y="519"/>
                      <a:pt x="197" y="519"/>
                    </a:cubicBezTo>
                    <a:cubicBezTo>
                      <a:pt x="198" y="537"/>
                      <a:pt x="198" y="537"/>
                      <a:pt x="198" y="537"/>
                    </a:cubicBezTo>
                    <a:cubicBezTo>
                      <a:pt x="201" y="539"/>
                      <a:pt x="201" y="539"/>
                      <a:pt x="201" y="539"/>
                    </a:cubicBezTo>
                    <a:cubicBezTo>
                      <a:pt x="214" y="547"/>
                      <a:pt x="214" y="547"/>
                      <a:pt x="214" y="547"/>
                    </a:cubicBezTo>
                    <a:cubicBezTo>
                      <a:pt x="217" y="544"/>
                      <a:pt x="217" y="544"/>
                      <a:pt x="217" y="544"/>
                    </a:cubicBezTo>
                    <a:cubicBezTo>
                      <a:pt x="224" y="533"/>
                      <a:pt x="224" y="533"/>
                      <a:pt x="224" y="533"/>
                    </a:cubicBezTo>
                    <a:cubicBezTo>
                      <a:pt x="234" y="534"/>
                      <a:pt x="234" y="534"/>
                      <a:pt x="234" y="534"/>
                    </a:cubicBezTo>
                    <a:cubicBezTo>
                      <a:pt x="230" y="543"/>
                      <a:pt x="230" y="543"/>
                      <a:pt x="230" y="543"/>
                    </a:cubicBezTo>
                    <a:cubicBezTo>
                      <a:pt x="244" y="537"/>
                      <a:pt x="244" y="537"/>
                      <a:pt x="244" y="537"/>
                    </a:cubicBezTo>
                    <a:cubicBezTo>
                      <a:pt x="249" y="523"/>
                      <a:pt x="249" y="523"/>
                      <a:pt x="249" y="523"/>
                    </a:cubicBezTo>
                    <a:cubicBezTo>
                      <a:pt x="274" y="517"/>
                      <a:pt x="274" y="517"/>
                      <a:pt x="274" y="517"/>
                    </a:cubicBezTo>
                    <a:cubicBezTo>
                      <a:pt x="273" y="533"/>
                      <a:pt x="273" y="533"/>
                      <a:pt x="273" y="533"/>
                    </a:cubicBezTo>
                    <a:cubicBezTo>
                      <a:pt x="286" y="534"/>
                      <a:pt x="286" y="534"/>
                      <a:pt x="286" y="534"/>
                    </a:cubicBezTo>
                    <a:cubicBezTo>
                      <a:pt x="285" y="543"/>
                      <a:pt x="285" y="543"/>
                      <a:pt x="285" y="543"/>
                    </a:cubicBezTo>
                    <a:cubicBezTo>
                      <a:pt x="285" y="543"/>
                      <a:pt x="333" y="526"/>
                      <a:pt x="337" y="537"/>
                    </a:cubicBezTo>
                    <a:cubicBezTo>
                      <a:pt x="341" y="547"/>
                      <a:pt x="346" y="554"/>
                      <a:pt x="346" y="554"/>
                    </a:cubicBezTo>
                    <a:cubicBezTo>
                      <a:pt x="372" y="537"/>
                      <a:pt x="372" y="537"/>
                      <a:pt x="372" y="537"/>
                    </a:cubicBezTo>
                    <a:cubicBezTo>
                      <a:pt x="381" y="549"/>
                      <a:pt x="381" y="549"/>
                      <a:pt x="381" y="549"/>
                    </a:cubicBezTo>
                    <a:cubicBezTo>
                      <a:pt x="414" y="562"/>
                      <a:pt x="414" y="562"/>
                      <a:pt x="414" y="562"/>
                    </a:cubicBezTo>
                    <a:cubicBezTo>
                      <a:pt x="414" y="562"/>
                      <a:pt x="422" y="573"/>
                      <a:pt x="428" y="570"/>
                    </a:cubicBezTo>
                    <a:cubicBezTo>
                      <a:pt x="433" y="567"/>
                      <a:pt x="442" y="559"/>
                      <a:pt x="442" y="559"/>
                    </a:cubicBezTo>
                    <a:cubicBezTo>
                      <a:pt x="437" y="550"/>
                      <a:pt x="437" y="550"/>
                      <a:pt x="437" y="550"/>
                    </a:cubicBezTo>
                    <a:cubicBezTo>
                      <a:pt x="441" y="545"/>
                      <a:pt x="441" y="545"/>
                      <a:pt x="441" y="545"/>
                    </a:cubicBezTo>
                    <a:cubicBezTo>
                      <a:pt x="442" y="514"/>
                      <a:pt x="442" y="514"/>
                      <a:pt x="442" y="514"/>
                    </a:cubicBezTo>
                    <a:cubicBezTo>
                      <a:pt x="442" y="514"/>
                      <a:pt x="460" y="511"/>
                      <a:pt x="472" y="470"/>
                    </a:cubicBezTo>
                    <a:cubicBezTo>
                      <a:pt x="476" y="470"/>
                      <a:pt x="469" y="466"/>
                      <a:pt x="469" y="466"/>
                    </a:cubicBezTo>
                    <a:cubicBezTo>
                      <a:pt x="490" y="411"/>
                      <a:pt x="490" y="411"/>
                      <a:pt x="490" y="411"/>
                    </a:cubicBezTo>
                    <a:cubicBezTo>
                      <a:pt x="489" y="402"/>
                      <a:pt x="489" y="402"/>
                      <a:pt x="489" y="402"/>
                    </a:cubicBezTo>
                    <a:cubicBezTo>
                      <a:pt x="489" y="402"/>
                      <a:pt x="469" y="411"/>
                      <a:pt x="469" y="399"/>
                    </a:cubicBezTo>
                    <a:cubicBezTo>
                      <a:pt x="469" y="387"/>
                      <a:pt x="472" y="349"/>
                      <a:pt x="472" y="349"/>
                    </a:cubicBezTo>
                    <a:cubicBezTo>
                      <a:pt x="458" y="343"/>
                      <a:pt x="458" y="343"/>
                      <a:pt x="458" y="343"/>
                    </a:cubicBezTo>
                    <a:cubicBezTo>
                      <a:pt x="480" y="338"/>
                      <a:pt x="480" y="338"/>
                      <a:pt x="480" y="338"/>
                    </a:cubicBezTo>
                    <a:cubicBezTo>
                      <a:pt x="480" y="338"/>
                      <a:pt x="505" y="337"/>
                      <a:pt x="508" y="299"/>
                    </a:cubicBezTo>
                    <a:cubicBezTo>
                      <a:pt x="506" y="304"/>
                      <a:pt x="487" y="294"/>
                      <a:pt x="505" y="262"/>
                    </a:cubicBezTo>
                    <a:cubicBezTo>
                      <a:pt x="502" y="260"/>
                      <a:pt x="483" y="244"/>
                      <a:pt x="477" y="242"/>
                    </a:cubicBezTo>
                    <a:cubicBezTo>
                      <a:pt x="470" y="239"/>
                      <a:pt x="457" y="258"/>
                      <a:pt x="457" y="258"/>
                    </a:cubicBezTo>
                    <a:cubicBezTo>
                      <a:pt x="449" y="243"/>
                      <a:pt x="449" y="243"/>
                      <a:pt x="449" y="243"/>
                    </a:cubicBezTo>
                    <a:cubicBezTo>
                      <a:pt x="457" y="233"/>
                      <a:pt x="457" y="233"/>
                      <a:pt x="457" y="233"/>
                    </a:cubicBezTo>
                    <a:cubicBezTo>
                      <a:pt x="429" y="223"/>
                      <a:pt x="429" y="223"/>
                      <a:pt x="429" y="223"/>
                    </a:cubicBezTo>
                    <a:cubicBezTo>
                      <a:pt x="429" y="223"/>
                      <a:pt x="434" y="203"/>
                      <a:pt x="444" y="205"/>
                    </a:cubicBezTo>
                    <a:cubicBezTo>
                      <a:pt x="450" y="166"/>
                      <a:pt x="450" y="166"/>
                      <a:pt x="450" y="166"/>
                    </a:cubicBezTo>
                    <a:cubicBezTo>
                      <a:pt x="456" y="167"/>
                      <a:pt x="456" y="167"/>
                      <a:pt x="456" y="167"/>
                    </a:cubicBezTo>
                    <a:cubicBezTo>
                      <a:pt x="465" y="189"/>
                      <a:pt x="465" y="189"/>
                      <a:pt x="465" y="189"/>
                    </a:cubicBezTo>
                    <a:cubicBezTo>
                      <a:pt x="493" y="193"/>
                      <a:pt x="493" y="193"/>
                      <a:pt x="493" y="193"/>
                    </a:cubicBezTo>
                    <a:cubicBezTo>
                      <a:pt x="493" y="193"/>
                      <a:pt x="498" y="217"/>
                      <a:pt x="533" y="197"/>
                    </a:cubicBezTo>
                    <a:cubicBezTo>
                      <a:pt x="533" y="197"/>
                      <a:pt x="553" y="229"/>
                      <a:pt x="574" y="164"/>
                    </a:cubicBezTo>
                    <a:lnTo>
                      <a:pt x="563" y="15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6" name="Alsace" descr="© INSCALE GmbH, 05.05.2010&#10;http://www.presentationload.com/">
                <a:extLst>
                  <a:ext uri="{FF2B5EF4-FFF2-40B4-BE49-F238E27FC236}">
                    <a16:creationId xmlns:a16="http://schemas.microsoft.com/office/drawing/2014/main" id="{F0F39AF0-5E77-4803-A309-B0A4DD2EAFF8}"/>
                  </a:ext>
                </a:extLst>
              </p:cNvPr>
              <p:cNvSpPr>
                <a:spLocks/>
              </p:cNvSpPr>
              <p:nvPr/>
            </p:nvSpPr>
            <p:spPr bwMode="gray">
              <a:xfrm>
                <a:off x="2808" y="818"/>
                <a:ext cx="317" cy="567"/>
              </a:xfrm>
              <a:custGeom>
                <a:avLst/>
                <a:gdLst/>
                <a:ahLst/>
                <a:cxnLst>
                  <a:cxn ang="0">
                    <a:pos x="271" y="35"/>
                  </a:cxn>
                  <a:cxn ang="0">
                    <a:pos x="250" y="20"/>
                  </a:cxn>
                  <a:cxn ang="0">
                    <a:pos x="242" y="22"/>
                  </a:cxn>
                  <a:cxn ang="0">
                    <a:pos x="225" y="13"/>
                  </a:cxn>
                  <a:cxn ang="0">
                    <a:pos x="206" y="12"/>
                  </a:cxn>
                  <a:cxn ang="0">
                    <a:pos x="172" y="14"/>
                  </a:cxn>
                  <a:cxn ang="0">
                    <a:pos x="164" y="2"/>
                  </a:cxn>
                  <a:cxn ang="0">
                    <a:pos x="152" y="4"/>
                  </a:cxn>
                  <a:cxn ang="0">
                    <a:pos x="148" y="0"/>
                  </a:cxn>
                  <a:cxn ang="0">
                    <a:pos x="107" y="33"/>
                  </a:cxn>
                  <a:cxn ang="0">
                    <a:pos x="67" y="29"/>
                  </a:cxn>
                  <a:cxn ang="0">
                    <a:pos x="39" y="25"/>
                  </a:cxn>
                  <a:cxn ang="0">
                    <a:pos x="30" y="3"/>
                  </a:cxn>
                  <a:cxn ang="0">
                    <a:pos x="24" y="2"/>
                  </a:cxn>
                  <a:cxn ang="0">
                    <a:pos x="18" y="41"/>
                  </a:cxn>
                  <a:cxn ang="0">
                    <a:pos x="3" y="59"/>
                  </a:cxn>
                  <a:cxn ang="0">
                    <a:pos x="31" y="69"/>
                  </a:cxn>
                  <a:cxn ang="0">
                    <a:pos x="23" y="79"/>
                  </a:cxn>
                  <a:cxn ang="0">
                    <a:pos x="31" y="94"/>
                  </a:cxn>
                  <a:cxn ang="0">
                    <a:pos x="51" y="78"/>
                  </a:cxn>
                  <a:cxn ang="0">
                    <a:pos x="79" y="98"/>
                  </a:cxn>
                  <a:cxn ang="0">
                    <a:pos x="82" y="135"/>
                  </a:cxn>
                  <a:cxn ang="0">
                    <a:pos x="54" y="174"/>
                  </a:cxn>
                  <a:cxn ang="0">
                    <a:pos x="32" y="179"/>
                  </a:cxn>
                  <a:cxn ang="0">
                    <a:pos x="46" y="185"/>
                  </a:cxn>
                  <a:cxn ang="0">
                    <a:pos x="43" y="235"/>
                  </a:cxn>
                  <a:cxn ang="0">
                    <a:pos x="63" y="238"/>
                  </a:cxn>
                  <a:cxn ang="0">
                    <a:pos x="64" y="247"/>
                  </a:cxn>
                  <a:cxn ang="0">
                    <a:pos x="43" y="302"/>
                  </a:cxn>
                  <a:cxn ang="0">
                    <a:pos x="46" y="306"/>
                  </a:cxn>
                  <a:cxn ang="0">
                    <a:pos x="16" y="350"/>
                  </a:cxn>
                  <a:cxn ang="0">
                    <a:pos x="15" y="381"/>
                  </a:cxn>
                  <a:cxn ang="0">
                    <a:pos x="11" y="386"/>
                  </a:cxn>
                  <a:cxn ang="0">
                    <a:pos x="16" y="395"/>
                  </a:cxn>
                  <a:cxn ang="0">
                    <a:pos x="2" y="406"/>
                  </a:cxn>
                  <a:cxn ang="0">
                    <a:pos x="0" y="406"/>
                  </a:cxn>
                  <a:cxn ang="0">
                    <a:pos x="4" y="417"/>
                  </a:cxn>
                  <a:cxn ang="0">
                    <a:pos x="43" y="471"/>
                  </a:cxn>
                  <a:cxn ang="0">
                    <a:pos x="66" y="496"/>
                  </a:cxn>
                  <a:cxn ang="0">
                    <a:pos x="90" y="499"/>
                  </a:cxn>
                  <a:cxn ang="0">
                    <a:pos x="113" y="510"/>
                  </a:cxn>
                  <a:cxn ang="0">
                    <a:pos x="143" y="491"/>
                  </a:cxn>
                  <a:cxn ang="0">
                    <a:pos x="152" y="503"/>
                  </a:cxn>
                  <a:cxn ang="0">
                    <a:pos x="161" y="493"/>
                  </a:cxn>
                  <a:cxn ang="0">
                    <a:pos x="174" y="463"/>
                  </a:cxn>
                  <a:cxn ang="0">
                    <a:pos x="165" y="419"/>
                  </a:cxn>
                  <a:cxn ang="0">
                    <a:pos x="167" y="386"/>
                  </a:cxn>
                  <a:cxn ang="0">
                    <a:pos x="176" y="349"/>
                  </a:cxn>
                  <a:cxn ang="0">
                    <a:pos x="176" y="336"/>
                  </a:cxn>
                  <a:cxn ang="0">
                    <a:pos x="185" y="262"/>
                  </a:cxn>
                  <a:cxn ang="0">
                    <a:pos x="199" y="229"/>
                  </a:cxn>
                  <a:cxn ang="0">
                    <a:pos x="209" y="177"/>
                  </a:cxn>
                  <a:cxn ang="0">
                    <a:pos x="218" y="138"/>
                  </a:cxn>
                  <a:cxn ang="0">
                    <a:pos x="245" y="104"/>
                  </a:cxn>
                  <a:cxn ang="0">
                    <a:pos x="261" y="93"/>
                  </a:cxn>
                  <a:cxn ang="0">
                    <a:pos x="279" y="58"/>
                  </a:cxn>
                  <a:cxn ang="0">
                    <a:pos x="294" y="35"/>
                  </a:cxn>
                  <a:cxn ang="0">
                    <a:pos x="271" y="35"/>
                  </a:cxn>
                </a:cxnLst>
                <a:rect l="0" t="0" r="r" b="b"/>
                <a:pathLst>
                  <a:path w="294" h="526">
                    <a:moveTo>
                      <a:pt x="271" y="35"/>
                    </a:moveTo>
                    <a:cubicBezTo>
                      <a:pt x="250" y="20"/>
                      <a:pt x="250" y="20"/>
                      <a:pt x="250" y="20"/>
                    </a:cubicBezTo>
                    <a:cubicBezTo>
                      <a:pt x="242" y="22"/>
                      <a:pt x="242" y="22"/>
                      <a:pt x="242" y="22"/>
                    </a:cubicBezTo>
                    <a:cubicBezTo>
                      <a:pt x="233" y="7"/>
                      <a:pt x="232" y="15"/>
                      <a:pt x="225" y="13"/>
                    </a:cubicBezTo>
                    <a:cubicBezTo>
                      <a:pt x="215" y="25"/>
                      <a:pt x="206" y="12"/>
                      <a:pt x="206" y="12"/>
                    </a:cubicBezTo>
                    <a:cubicBezTo>
                      <a:pt x="172" y="14"/>
                      <a:pt x="172" y="14"/>
                      <a:pt x="172" y="14"/>
                    </a:cubicBezTo>
                    <a:cubicBezTo>
                      <a:pt x="164" y="2"/>
                      <a:pt x="164" y="2"/>
                      <a:pt x="164" y="2"/>
                    </a:cubicBezTo>
                    <a:cubicBezTo>
                      <a:pt x="152" y="4"/>
                      <a:pt x="152" y="4"/>
                      <a:pt x="152" y="4"/>
                    </a:cubicBezTo>
                    <a:cubicBezTo>
                      <a:pt x="148" y="0"/>
                      <a:pt x="148" y="0"/>
                      <a:pt x="148" y="0"/>
                    </a:cubicBezTo>
                    <a:cubicBezTo>
                      <a:pt x="127" y="65"/>
                      <a:pt x="107" y="33"/>
                      <a:pt x="107" y="33"/>
                    </a:cubicBezTo>
                    <a:cubicBezTo>
                      <a:pt x="72" y="53"/>
                      <a:pt x="67" y="29"/>
                      <a:pt x="67" y="29"/>
                    </a:cubicBezTo>
                    <a:cubicBezTo>
                      <a:pt x="39" y="25"/>
                      <a:pt x="39" y="25"/>
                      <a:pt x="39" y="25"/>
                    </a:cubicBezTo>
                    <a:cubicBezTo>
                      <a:pt x="30" y="3"/>
                      <a:pt x="30" y="3"/>
                      <a:pt x="30" y="3"/>
                    </a:cubicBezTo>
                    <a:cubicBezTo>
                      <a:pt x="24" y="2"/>
                      <a:pt x="24" y="2"/>
                      <a:pt x="24" y="2"/>
                    </a:cubicBezTo>
                    <a:cubicBezTo>
                      <a:pt x="18" y="41"/>
                      <a:pt x="18" y="41"/>
                      <a:pt x="18" y="41"/>
                    </a:cubicBezTo>
                    <a:cubicBezTo>
                      <a:pt x="8" y="39"/>
                      <a:pt x="3" y="59"/>
                      <a:pt x="3" y="59"/>
                    </a:cubicBezTo>
                    <a:cubicBezTo>
                      <a:pt x="31" y="69"/>
                      <a:pt x="31" y="69"/>
                      <a:pt x="31" y="69"/>
                    </a:cubicBezTo>
                    <a:cubicBezTo>
                      <a:pt x="23" y="79"/>
                      <a:pt x="23" y="79"/>
                      <a:pt x="23" y="79"/>
                    </a:cubicBezTo>
                    <a:cubicBezTo>
                      <a:pt x="31" y="94"/>
                      <a:pt x="31" y="94"/>
                      <a:pt x="31" y="94"/>
                    </a:cubicBezTo>
                    <a:cubicBezTo>
                      <a:pt x="31" y="94"/>
                      <a:pt x="44" y="75"/>
                      <a:pt x="51" y="78"/>
                    </a:cubicBezTo>
                    <a:cubicBezTo>
                      <a:pt x="57" y="80"/>
                      <a:pt x="76" y="96"/>
                      <a:pt x="79" y="98"/>
                    </a:cubicBezTo>
                    <a:cubicBezTo>
                      <a:pt x="61" y="130"/>
                      <a:pt x="80" y="140"/>
                      <a:pt x="82" y="135"/>
                    </a:cubicBezTo>
                    <a:cubicBezTo>
                      <a:pt x="79" y="173"/>
                      <a:pt x="54" y="174"/>
                      <a:pt x="54" y="174"/>
                    </a:cubicBezTo>
                    <a:cubicBezTo>
                      <a:pt x="32" y="179"/>
                      <a:pt x="32" y="179"/>
                      <a:pt x="32" y="179"/>
                    </a:cubicBezTo>
                    <a:cubicBezTo>
                      <a:pt x="46" y="185"/>
                      <a:pt x="46" y="185"/>
                      <a:pt x="46" y="185"/>
                    </a:cubicBezTo>
                    <a:cubicBezTo>
                      <a:pt x="46" y="185"/>
                      <a:pt x="43" y="223"/>
                      <a:pt x="43" y="235"/>
                    </a:cubicBezTo>
                    <a:cubicBezTo>
                      <a:pt x="43" y="247"/>
                      <a:pt x="63" y="238"/>
                      <a:pt x="63" y="238"/>
                    </a:cubicBezTo>
                    <a:cubicBezTo>
                      <a:pt x="64" y="247"/>
                      <a:pt x="64" y="247"/>
                      <a:pt x="64" y="247"/>
                    </a:cubicBezTo>
                    <a:cubicBezTo>
                      <a:pt x="43" y="302"/>
                      <a:pt x="43" y="302"/>
                      <a:pt x="43" y="302"/>
                    </a:cubicBezTo>
                    <a:cubicBezTo>
                      <a:pt x="43" y="302"/>
                      <a:pt x="50" y="306"/>
                      <a:pt x="46" y="306"/>
                    </a:cubicBezTo>
                    <a:cubicBezTo>
                      <a:pt x="34" y="347"/>
                      <a:pt x="16" y="350"/>
                      <a:pt x="16" y="350"/>
                    </a:cubicBezTo>
                    <a:cubicBezTo>
                      <a:pt x="15" y="381"/>
                      <a:pt x="15" y="381"/>
                      <a:pt x="15" y="381"/>
                    </a:cubicBezTo>
                    <a:cubicBezTo>
                      <a:pt x="11" y="386"/>
                      <a:pt x="11" y="386"/>
                      <a:pt x="11" y="386"/>
                    </a:cubicBezTo>
                    <a:cubicBezTo>
                      <a:pt x="16" y="395"/>
                      <a:pt x="16" y="395"/>
                      <a:pt x="16" y="395"/>
                    </a:cubicBezTo>
                    <a:cubicBezTo>
                      <a:pt x="16" y="395"/>
                      <a:pt x="7" y="403"/>
                      <a:pt x="2" y="406"/>
                    </a:cubicBezTo>
                    <a:cubicBezTo>
                      <a:pt x="1" y="406"/>
                      <a:pt x="1" y="406"/>
                      <a:pt x="0" y="406"/>
                    </a:cubicBezTo>
                    <a:cubicBezTo>
                      <a:pt x="4" y="417"/>
                      <a:pt x="4" y="417"/>
                      <a:pt x="4" y="417"/>
                    </a:cubicBezTo>
                    <a:cubicBezTo>
                      <a:pt x="4" y="417"/>
                      <a:pt x="52" y="414"/>
                      <a:pt x="43" y="471"/>
                    </a:cubicBezTo>
                    <a:cubicBezTo>
                      <a:pt x="45" y="477"/>
                      <a:pt x="61" y="476"/>
                      <a:pt x="66" y="496"/>
                    </a:cubicBezTo>
                    <a:cubicBezTo>
                      <a:pt x="76" y="498"/>
                      <a:pt x="87" y="500"/>
                      <a:pt x="90" y="499"/>
                    </a:cubicBezTo>
                    <a:cubicBezTo>
                      <a:pt x="92" y="526"/>
                      <a:pt x="116" y="512"/>
                      <a:pt x="113" y="510"/>
                    </a:cubicBezTo>
                    <a:cubicBezTo>
                      <a:pt x="153" y="521"/>
                      <a:pt x="143" y="491"/>
                      <a:pt x="143" y="491"/>
                    </a:cubicBezTo>
                    <a:cubicBezTo>
                      <a:pt x="152" y="503"/>
                      <a:pt x="152" y="503"/>
                      <a:pt x="152" y="503"/>
                    </a:cubicBezTo>
                    <a:cubicBezTo>
                      <a:pt x="152" y="503"/>
                      <a:pt x="152" y="503"/>
                      <a:pt x="161" y="493"/>
                    </a:cubicBezTo>
                    <a:cubicBezTo>
                      <a:pt x="158" y="468"/>
                      <a:pt x="174" y="468"/>
                      <a:pt x="174" y="463"/>
                    </a:cubicBezTo>
                    <a:cubicBezTo>
                      <a:pt x="154" y="435"/>
                      <a:pt x="165" y="419"/>
                      <a:pt x="165" y="419"/>
                    </a:cubicBezTo>
                    <a:cubicBezTo>
                      <a:pt x="165" y="419"/>
                      <a:pt x="159" y="406"/>
                      <a:pt x="167" y="386"/>
                    </a:cubicBezTo>
                    <a:cubicBezTo>
                      <a:pt x="166" y="363"/>
                      <a:pt x="176" y="349"/>
                      <a:pt x="176" y="349"/>
                    </a:cubicBezTo>
                    <a:cubicBezTo>
                      <a:pt x="176" y="336"/>
                      <a:pt x="176" y="336"/>
                      <a:pt x="176" y="336"/>
                    </a:cubicBezTo>
                    <a:cubicBezTo>
                      <a:pt x="144" y="322"/>
                      <a:pt x="179" y="281"/>
                      <a:pt x="185" y="262"/>
                    </a:cubicBezTo>
                    <a:cubicBezTo>
                      <a:pt x="180" y="238"/>
                      <a:pt x="199" y="232"/>
                      <a:pt x="199" y="229"/>
                    </a:cubicBezTo>
                    <a:cubicBezTo>
                      <a:pt x="191" y="200"/>
                      <a:pt x="207" y="183"/>
                      <a:pt x="209" y="177"/>
                    </a:cubicBezTo>
                    <a:cubicBezTo>
                      <a:pt x="200" y="156"/>
                      <a:pt x="215" y="141"/>
                      <a:pt x="218" y="138"/>
                    </a:cubicBezTo>
                    <a:cubicBezTo>
                      <a:pt x="247" y="113"/>
                      <a:pt x="245" y="104"/>
                      <a:pt x="245" y="104"/>
                    </a:cubicBezTo>
                    <a:cubicBezTo>
                      <a:pt x="251" y="104"/>
                      <a:pt x="261" y="93"/>
                      <a:pt x="261" y="93"/>
                    </a:cubicBezTo>
                    <a:cubicBezTo>
                      <a:pt x="270" y="94"/>
                      <a:pt x="279" y="58"/>
                      <a:pt x="279" y="58"/>
                    </a:cubicBezTo>
                    <a:cubicBezTo>
                      <a:pt x="294" y="35"/>
                      <a:pt x="294" y="35"/>
                      <a:pt x="294" y="35"/>
                    </a:cubicBezTo>
                    <a:lnTo>
                      <a:pt x="271" y="3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7" name="Franche-Comté" descr="© INSCALE GmbH, 05.05.2010&#10;http://www.presentationload.com/">
                <a:extLst>
                  <a:ext uri="{FF2B5EF4-FFF2-40B4-BE49-F238E27FC236}">
                    <a16:creationId xmlns:a16="http://schemas.microsoft.com/office/drawing/2014/main" id="{1F490D34-6D95-4776-8198-C2E5920D6864}"/>
                  </a:ext>
                </a:extLst>
              </p:cNvPr>
              <p:cNvSpPr>
                <a:spLocks/>
              </p:cNvSpPr>
              <p:nvPr/>
            </p:nvSpPr>
            <p:spPr bwMode="gray">
              <a:xfrm>
                <a:off x="2452" y="1199"/>
                <a:ext cx="435" cy="623"/>
              </a:xfrm>
              <a:custGeom>
                <a:avLst/>
                <a:gdLst/>
                <a:ahLst/>
                <a:cxnLst>
                  <a:cxn ang="0">
                    <a:pos x="40" y="136"/>
                  </a:cxn>
                  <a:cxn ang="0">
                    <a:pos x="17" y="186"/>
                  </a:cxn>
                  <a:cxn ang="0">
                    <a:pos x="30" y="212"/>
                  </a:cxn>
                  <a:cxn ang="0">
                    <a:pos x="46" y="228"/>
                  </a:cxn>
                  <a:cxn ang="0">
                    <a:pos x="13" y="312"/>
                  </a:cxn>
                  <a:cxn ang="0">
                    <a:pos x="12" y="326"/>
                  </a:cxn>
                  <a:cxn ang="0">
                    <a:pos x="14" y="353"/>
                  </a:cxn>
                  <a:cxn ang="0">
                    <a:pos x="46" y="380"/>
                  </a:cxn>
                  <a:cxn ang="0">
                    <a:pos x="25" y="402"/>
                  </a:cxn>
                  <a:cxn ang="0">
                    <a:pos x="36" y="418"/>
                  </a:cxn>
                  <a:cxn ang="0">
                    <a:pos x="37" y="465"/>
                  </a:cxn>
                  <a:cxn ang="0">
                    <a:pos x="40" y="498"/>
                  </a:cxn>
                  <a:cxn ang="0">
                    <a:pos x="18" y="524"/>
                  </a:cxn>
                  <a:cxn ang="0">
                    <a:pos x="32" y="542"/>
                  </a:cxn>
                  <a:cxn ang="0">
                    <a:pos x="53" y="566"/>
                  </a:cxn>
                  <a:cxn ang="0">
                    <a:pos x="109" y="548"/>
                  </a:cxn>
                  <a:cxn ang="0">
                    <a:pos x="145" y="562"/>
                  </a:cxn>
                  <a:cxn ang="0">
                    <a:pos x="200" y="497"/>
                  </a:cxn>
                  <a:cxn ang="0">
                    <a:pos x="201" y="425"/>
                  </a:cxn>
                  <a:cxn ang="0">
                    <a:pos x="257" y="358"/>
                  </a:cxn>
                  <a:cxn ang="0">
                    <a:pos x="272" y="305"/>
                  </a:cxn>
                  <a:cxn ang="0">
                    <a:pos x="312" y="288"/>
                  </a:cxn>
                  <a:cxn ang="0">
                    <a:pos x="370" y="218"/>
                  </a:cxn>
                  <a:cxn ang="0">
                    <a:pos x="373" y="202"/>
                  </a:cxn>
                  <a:cxn ang="0">
                    <a:pos x="386" y="180"/>
                  </a:cxn>
                  <a:cxn ang="0">
                    <a:pos x="364" y="161"/>
                  </a:cxn>
                  <a:cxn ang="0">
                    <a:pos x="378" y="139"/>
                  </a:cxn>
                  <a:cxn ang="0">
                    <a:pos x="373" y="118"/>
                  </a:cxn>
                  <a:cxn ang="0">
                    <a:pos x="330" y="53"/>
                  </a:cxn>
                  <a:cxn ang="0">
                    <a:pos x="285" y="32"/>
                  </a:cxn>
                  <a:cxn ang="0">
                    <a:pos x="250" y="37"/>
                  </a:cxn>
                  <a:cxn ang="0">
                    <a:pos x="189" y="26"/>
                  </a:cxn>
                  <a:cxn ang="0">
                    <a:pos x="177" y="16"/>
                  </a:cxn>
                  <a:cxn ang="0">
                    <a:pos x="153" y="6"/>
                  </a:cxn>
                  <a:cxn ang="0">
                    <a:pos x="134" y="26"/>
                  </a:cxn>
                  <a:cxn ang="0">
                    <a:pos x="128" y="16"/>
                  </a:cxn>
                  <a:cxn ang="0">
                    <a:pos x="124" y="36"/>
                  </a:cxn>
                  <a:cxn ang="0">
                    <a:pos x="113" y="56"/>
                  </a:cxn>
                  <a:cxn ang="0">
                    <a:pos x="93" y="69"/>
                  </a:cxn>
                  <a:cxn ang="0">
                    <a:pos x="80" y="78"/>
                  </a:cxn>
                  <a:cxn ang="0">
                    <a:pos x="88" y="109"/>
                  </a:cxn>
                  <a:cxn ang="0">
                    <a:pos x="57" y="106"/>
                  </a:cxn>
                  <a:cxn ang="0">
                    <a:pos x="26" y="112"/>
                  </a:cxn>
                  <a:cxn ang="0">
                    <a:pos x="24" y="140"/>
                  </a:cxn>
                </a:cxnLst>
                <a:rect l="0" t="0" r="r" b="b"/>
                <a:pathLst>
                  <a:path w="403" h="577">
                    <a:moveTo>
                      <a:pt x="32" y="132"/>
                    </a:moveTo>
                    <a:cubicBezTo>
                      <a:pt x="40" y="136"/>
                      <a:pt x="40" y="136"/>
                      <a:pt x="40" y="136"/>
                    </a:cubicBezTo>
                    <a:cubicBezTo>
                      <a:pt x="40" y="136"/>
                      <a:pt x="45" y="176"/>
                      <a:pt x="29" y="176"/>
                    </a:cubicBezTo>
                    <a:cubicBezTo>
                      <a:pt x="13" y="176"/>
                      <a:pt x="25" y="186"/>
                      <a:pt x="17" y="186"/>
                    </a:cubicBezTo>
                    <a:cubicBezTo>
                      <a:pt x="9" y="186"/>
                      <a:pt x="30" y="190"/>
                      <a:pt x="30" y="190"/>
                    </a:cubicBezTo>
                    <a:cubicBezTo>
                      <a:pt x="30" y="212"/>
                      <a:pt x="30" y="212"/>
                      <a:pt x="30" y="212"/>
                    </a:cubicBezTo>
                    <a:cubicBezTo>
                      <a:pt x="49" y="208"/>
                      <a:pt x="49" y="208"/>
                      <a:pt x="49" y="208"/>
                    </a:cubicBezTo>
                    <a:cubicBezTo>
                      <a:pt x="46" y="228"/>
                      <a:pt x="46" y="228"/>
                      <a:pt x="46" y="228"/>
                    </a:cubicBezTo>
                    <a:cubicBezTo>
                      <a:pt x="54" y="236"/>
                      <a:pt x="54" y="236"/>
                      <a:pt x="54" y="236"/>
                    </a:cubicBezTo>
                    <a:cubicBezTo>
                      <a:pt x="54" y="236"/>
                      <a:pt x="34" y="301"/>
                      <a:pt x="13" y="312"/>
                    </a:cubicBezTo>
                    <a:cubicBezTo>
                      <a:pt x="10" y="316"/>
                      <a:pt x="5" y="325"/>
                      <a:pt x="5" y="325"/>
                    </a:cubicBezTo>
                    <a:cubicBezTo>
                      <a:pt x="12" y="326"/>
                      <a:pt x="12" y="326"/>
                      <a:pt x="12" y="326"/>
                    </a:cubicBezTo>
                    <a:cubicBezTo>
                      <a:pt x="12" y="326"/>
                      <a:pt x="0" y="340"/>
                      <a:pt x="0" y="352"/>
                    </a:cubicBezTo>
                    <a:cubicBezTo>
                      <a:pt x="14" y="353"/>
                      <a:pt x="14" y="353"/>
                      <a:pt x="14" y="353"/>
                    </a:cubicBezTo>
                    <a:cubicBezTo>
                      <a:pt x="18" y="364"/>
                      <a:pt x="18" y="364"/>
                      <a:pt x="18" y="364"/>
                    </a:cubicBezTo>
                    <a:cubicBezTo>
                      <a:pt x="18" y="364"/>
                      <a:pt x="30" y="368"/>
                      <a:pt x="46" y="380"/>
                    </a:cubicBezTo>
                    <a:cubicBezTo>
                      <a:pt x="13" y="392"/>
                      <a:pt x="13" y="392"/>
                      <a:pt x="13" y="392"/>
                    </a:cubicBezTo>
                    <a:cubicBezTo>
                      <a:pt x="25" y="402"/>
                      <a:pt x="25" y="402"/>
                      <a:pt x="25" y="402"/>
                    </a:cubicBezTo>
                    <a:cubicBezTo>
                      <a:pt x="25" y="422"/>
                      <a:pt x="25" y="422"/>
                      <a:pt x="25" y="422"/>
                    </a:cubicBezTo>
                    <a:cubicBezTo>
                      <a:pt x="36" y="418"/>
                      <a:pt x="36" y="418"/>
                      <a:pt x="36" y="418"/>
                    </a:cubicBezTo>
                    <a:cubicBezTo>
                      <a:pt x="36" y="418"/>
                      <a:pt x="28" y="436"/>
                      <a:pt x="45" y="445"/>
                    </a:cubicBezTo>
                    <a:cubicBezTo>
                      <a:pt x="40" y="445"/>
                      <a:pt x="37" y="465"/>
                      <a:pt x="37" y="465"/>
                    </a:cubicBezTo>
                    <a:cubicBezTo>
                      <a:pt x="37" y="465"/>
                      <a:pt x="16" y="484"/>
                      <a:pt x="41" y="490"/>
                    </a:cubicBezTo>
                    <a:cubicBezTo>
                      <a:pt x="44" y="492"/>
                      <a:pt x="40" y="498"/>
                      <a:pt x="40" y="498"/>
                    </a:cubicBezTo>
                    <a:cubicBezTo>
                      <a:pt x="21" y="504"/>
                      <a:pt x="21" y="504"/>
                      <a:pt x="21" y="504"/>
                    </a:cubicBezTo>
                    <a:cubicBezTo>
                      <a:pt x="18" y="524"/>
                      <a:pt x="18" y="524"/>
                      <a:pt x="18" y="524"/>
                    </a:cubicBezTo>
                    <a:cubicBezTo>
                      <a:pt x="32" y="529"/>
                      <a:pt x="32" y="529"/>
                      <a:pt x="32" y="529"/>
                    </a:cubicBezTo>
                    <a:cubicBezTo>
                      <a:pt x="32" y="542"/>
                      <a:pt x="32" y="542"/>
                      <a:pt x="32" y="542"/>
                    </a:cubicBezTo>
                    <a:cubicBezTo>
                      <a:pt x="56" y="553"/>
                      <a:pt x="56" y="553"/>
                      <a:pt x="56" y="553"/>
                    </a:cubicBezTo>
                    <a:cubicBezTo>
                      <a:pt x="53" y="566"/>
                      <a:pt x="53" y="566"/>
                      <a:pt x="53" y="566"/>
                    </a:cubicBezTo>
                    <a:cubicBezTo>
                      <a:pt x="53" y="566"/>
                      <a:pt x="76" y="577"/>
                      <a:pt x="93" y="538"/>
                    </a:cubicBezTo>
                    <a:cubicBezTo>
                      <a:pt x="89" y="545"/>
                      <a:pt x="109" y="548"/>
                      <a:pt x="109" y="548"/>
                    </a:cubicBezTo>
                    <a:cubicBezTo>
                      <a:pt x="113" y="564"/>
                      <a:pt x="113" y="564"/>
                      <a:pt x="113" y="564"/>
                    </a:cubicBezTo>
                    <a:cubicBezTo>
                      <a:pt x="145" y="562"/>
                      <a:pt x="145" y="562"/>
                      <a:pt x="145" y="562"/>
                    </a:cubicBezTo>
                    <a:cubicBezTo>
                      <a:pt x="202" y="503"/>
                      <a:pt x="202" y="503"/>
                      <a:pt x="202" y="503"/>
                    </a:cubicBezTo>
                    <a:cubicBezTo>
                      <a:pt x="201" y="500"/>
                      <a:pt x="200" y="497"/>
                      <a:pt x="200" y="497"/>
                    </a:cubicBezTo>
                    <a:cubicBezTo>
                      <a:pt x="166" y="487"/>
                      <a:pt x="201" y="445"/>
                      <a:pt x="201" y="445"/>
                    </a:cubicBezTo>
                    <a:cubicBezTo>
                      <a:pt x="188" y="434"/>
                      <a:pt x="201" y="425"/>
                      <a:pt x="201" y="425"/>
                    </a:cubicBezTo>
                    <a:cubicBezTo>
                      <a:pt x="201" y="425"/>
                      <a:pt x="253" y="379"/>
                      <a:pt x="253" y="376"/>
                    </a:cubicBezTo>
                    <a:cubicBezTo>
                      <a:pt x="261" y="375"/>
                      <a:pt x="271" y="367"/>
                      <a:pt x="257" y="358"/>
                    </a:cubicBezTo>
                    <a:cubicBezTo>
                      <a:pt x="276" y="339"/>
                      <a:pt x="259" y="323"/>
                      <a:pt x="259" y="323"/>
                    </a:cubicBezTo>
                    <a:cubicBezTo>
                      <a:pt x="272" y="305"/>
                      <a:pt x="272" y="305"/>
                      <a:pt x="272" y="305"/>
                    </a:cubicBezTo>
                    <a:cubicBezTo>
                      <a:pt x="302" y="298"/>
                      <a:pt x="302" y="298"/>
                      <a:pt x="302" y="298"/>
                    </a:cubicBezTo>
                    <a:cubicBezTo>
                      <a:pt x="312" y="288"/>
                      <a:pt x="312" y="288"/>
                      <a:pt x="312" y="288"/>
                    </a:cubicBezTo>
                    <a:cubicBezTo>
                      <a:pt x="315" y="277"/>
                      <a:pt x="315" y="277"/>
                      <a:pt x="315" y="277"/>
                    </a:cubicBezTo>
                    <a:cubicBezTo>
                      <a:pt x="315" y="277"/>
                      <a:pt x="368" y="222"/>
                      <a:pt x="370" y="218"/>
                    </a:cubicBezTo>
                    <a:cubicBezTo>
                      <a:pt x="365" y="210"/>
                      <a:pt x="376" y="203"/>
                      <a:pt x="375" y="202"/>
                    </a:cubicBezTo>
                    <a:cubicBezTo>
                      <a:pt x="374" y="202"/>
                      <a:pt x="374" y="202"/>
                      <a:pt x="373" y="202"/>
                    </a:cubicBezTo>
                    <a:cubicBezTo>
                      <a:pt x="374" y="202"/>
                      <a:pt x="374" y="202"/>
                      <a:pt x="375" y="202"/>
                    </a:cubicBezTo>
                    <a:cubicBezTo>
                      <a:pt x="403" y="203"/>
                      <a:pt x="386" y="180"/>
                      <a:pt x="386" y="180"/>
                    </a:cubicBezTo>
                    <a:cubicBezTo>
                      <a:pt x="354" y="184"/>
                      <a:pt x="354" y="184"/>
                      <a:pt x="354" y="184"/>
                    </a:cubicBezTo>
                    <a:cubicBezTo>
                      <a:pt x="364" y="161"/>
                      <a:pt x="364" y="161"/>
                      <a:pt x="364" y="161"/>
                    </a:cubicBezTo>
                    <a:cubicBezTo>
                      <a:pt x="380" y="152"/>
                      <a:pt x="380" y="152"/>
                      <a:pt x="380" y="152"/>
                    </a:cubicBezTo>
                    <a:cubicBezTo>
                      <a:pt x="378" y="139"/>
                      <a:pt x="378" y="139"/>
                      <a:pt x="378" y="139"/>
                    </a:cubicBezTo>
                    <a:cubicBezTo>
                      <a:pt x="378" y="139"/>
                      <a:pt x="387" y="141"/>
                      <a:pt x="396" y="143"/>
                    </a:cubicBezTo>
                    <a:cubicBezTo>
                      <a:pt x="391" y="123"/>
                      <a:pt x="375" y="124"/>
                      <a:pt x="373" y="118"/>
                    </a:cubicBezTo>
                    <a:cubicBezTo>
                      <a:pt x="382" y="61"/>
                      <a:pt x="334" y="64"/>
                      <a:pt x="334" y="64"/>
                    </a:cubicBezTo>
                    <a:cubicBezTo>
                      <a:pt x="330" y="53"/>
                      <a:pt x="330" y="53"/>
                      <a:pt x="330" y="53"/>
                    </a:cubicBezTo>
                    <a:cubicBezTo>
                      <a:pt x="325" y="54"/>
                      <a:pt x="318" y="45"/>
                      <a:pt x="318" y="45"/>
                    </a:cubicBezTo>
                    <a:cubicBezTo>
                      <a:pt x="285" y="32"/>
                      <a:pt x="285" y="32"/>
                      <a:pt x="285" y="32"/>
                    </a:cubicBezTo>
                    <a:cubicBezTo>
                      <a:pt x="276" y="20"/>
                      <a:pt x="276" y="20"/>
                      <a:pt x="276" y="20"/>
                    </a:cubicBezTo>
                    <a:cubicBezTo>
                      <a:pt x="250" y="37"/>
                      <a:pt x="250" y="37"/>
                      <a:pt x="250" y="37"/>
                    </a:cubicBezTo>
                    <a:cubicBezTo>
                      <a:pt x="250" y="37"/>
                      <a:pt x="245" y="30"/>
                      <a:pt x="241" y="20"/>
                    </a:cubicBezTo>
                    <a:cubicBezTo>
                      <a:pt x="237" y="9"/>
                      <a:pt x="189" y="26"/>
                      <a:pt x="189" y="26"/>
                    </a:cubicBezTo>
                    <a:cubicBezTo>
                      <a:pt x="190" y="17"/>
                      <a:pt x="190" y="17"/>
                      <a:pt x="190" y="17"/>
                    </a:cubicBezTo>
                    <a:cubicBezTo>
                      <a:pt x="177" y="16"/>
                      <a:pt x="177" y="16"/>
                      <a:pt x="177" y="16"/>
                    </a:cubicBezTo>
                    <a:cubicBezTo>
                      <a:pt x="178" y="0"/>
                      <a:pt x="178" y="0"/>
                      <a:pt x="178" y="0"/>
                    </a:cubicBezTo>
                    <a:cubicBezTo>
                      <a:pt x="153" y="6"/>
                      <a:pt x="153" y="6"/>
                      <a:pt x="153" y="6"/>
                    </a:cubicBezTo>
                    <a:cubicBezTo>
                      <a:pt x="148" y="20"/>
                      <a:pt x="148" y="20"/>
                      <a:pt x="148" y="20"/>
                    </a:cubicBezTo>
                    <a:cubicBezTo>
                      <a:pt x="134" y="26"/>
                      <a:pt x="134" y="26"/>
                      <a:pt x="134" y="26"/>
                    </a:cubicBezTo>
                    <a:cubicBezTo>
                      <a:pt x="138" y="17"/>
                      <a:pt x="138" y="17"/>
                      <a:pt x="138" y="17"/>
                    </a:cubicBezTo>
                    <a:cubicBezTo>
                      <a:pt x="128" y="16"/>
                      <a:pt x="128" y="16"/>
                      <a:pt x="128" y="16"/>
                    </a:cubicBezTo>
                    <a:cubicBezTo>
                      <a:pt x="121" y="27"/>
                      <a:pt x="121" y="27"/>
                      <a:pt x="121" y="27"/>
                    </a:cubicBezTo>
                    <a:cubicBezTo>
                      <a:pt x="124" y="36"/>
                      <a:pt x="124" y="36"/>
                      <a:pt x="124" y="36"/>
                    </a:cubicBezTo>
                    <a:cubicBezTo>
                      <a:pt x="116" y="41"/>
                      <a:pt x="116" y="41"/>
                      <a:pt x="116" y="41"/>
                    </a:cubicBezTo>
                    <a:cubicBezTo>
                      <a:pt x="113" y="56"/>
                      <a:pt x="113" y="56"/>
                      <a:pt x="113" y="56"/>
                    </a:cubicBezTo>
                    <a:cubicBezTo>
                      <a:pt x="100" y="54"/>
                      <a:pt x="100" y="54"/>
                      <a:pt x="100" y="54"/>
                    </a:cubicBezTo>
                    <a:cubicBezTo>
                      <a:pt x="93" y="69"/>
                      <a:pt x="93" y="69"/>
                      <a:pt x="93" y="69"/>
                    </a:cubicBezTo>
                    <a:cubicBezTo>
                      <a:pt x="85" y="68"/>
                      <a:pt x="85" y="68"/>
                      <a:pt x="85" y="68"/>
                    </a:cubicBezTo>
                    <a:cubicBezTo>
                      <a:pt x="80" y="78"/>
                      <a:pt x="80" y="78"/>
                      <a:pt x="80" y="78"/>
                    </a:cubicBezTo>
                    <a:cubicBezTo>
                      <a:pt x="90" y="78"/>
                      <a:pt x="90" y="78"/>
                      <a:pt x="90" y="78"/>
                    </a:cubicBezTo>
                    <a:cubicBezTo>
                      <a:pt x="88" y="109"/>
                      <a:pt x="88" y="109"/>
                      <a:pt x="88" y="109"/>
                    </a:cubicBezTo>
                    <a:cubicBezTo>
                      <a:pt x="69" y="114"/>
                      <a:pt x="69" y="114"/>
                      <a:pt x="69" y="114"/>
                    </a:cubicBezTo>
                    <a:cubicBezTo>
                      <a:pt x="57" y="106"/>
                      <a:pt x="57" y="106"/>
                      <a:pt x="57" y="106"/>
                    </a:cubicBezTo>
                    <a:cubicBezTo>
                      <a:pt x="56" y="113"/>
                      <a:pt x="56" y="113"/>
                      <a:pt x="56" y="113"/>
                    </a:cubicBezTo>
                    <a:cubicBezTo>
                      <a:pt x="26" y="112"/>
                      <a:pt x="26" y="112"/>
                      <a:pt x="26" y="112"/>
                    </a:cubicBezTo>
                    <a:cubicBezTo>
                      <a:pt x="26" y="112"/>
                      <a:pt x="24" y="129"/>
                      <a:pt x="21" y="136"/>
                    </a:cubicBezTo>
                    <a:cubicBezTo>
                      <a:pt x="24" y="140"/>
                      <a:pt x="24" y="140"/>
                      <a:pt x="24" y="140"/>
                    </a:cubicBezTo>
                    <a:lnTo>
                      <a:pt x="32" y="13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8" name="Bourgogne" descr="© INSCALE GmbH, 05.05.2010&#10;http://www.presentationload.com/">
                <a:extLst>
                  <a:ext uri="{FF2B5EF4-FFF2-40B4-BE49-F238E27FC236}">
                    <a16:creationId xmlns:a16="http://schemas.microsoft.com/office/drawing/2014/main" id="{67CEE325-8000-4C18-B665-933A28B6F9A2}"/>
                  </a:ext>
                </a:extLst>
              </p:cNvPr>
              <p:cNvSpPr>
                <a:spLocks/>
              </p:cNvSpPr>
              <p:nvPr/>
            </p:nvSpPr>
            <p:spPr bwMode="gray">
              <a:xfrm>
                <a:off x="1885" y="1086"/>
                <a:ext cx="625" cy="772"/>
              </a:xfrm>
              <a:custGeom>
                <a:avLst/>
                <a:gdLst/>
                <a:ahLst/>
                <a:cxnLst>
                  <a:cxn ang="0">
                    <a:pos x="43" y="156"/>
                  </a:cxn>
                  <a:cxn ang="0">
                    <a:pos x="36" y="170"/>
                  </a:cxn>
                  <a:cxn ang="0">
                    <a:pos x="0" y="220"/>
                  </a:cxn>
                  <a:cxn ang="0">
                    <a:pos x="19" y="253"/>
                  </a:cxn>
                  <a:cxn ang="0">
                    <a:pos x="20" y="309"/>
                  </a:cxn>
                  <a:cxn ang="0">
                    <a:pos x="40" y="429"/>
                  </a:cxn>
                  <a:cxn ang="0">
                    <a:pos x="43" y="512"/>
                  </a:cxn>
                  <a:cxn ang="0">
                    <a:pos x="111" y="545"/>
                  </a:cxn>
                  <a:cxn ang="0">
                    <a:pos x="138" y="558"/>
                  </a:cxn>
                  <a:cxn ang="0">
                    <a:pos x="164" y="521"/>
                  </a:cxn>
                  <a:cxn ang="0">
                    <a:pos x="219" y="597"/>
                  </a:cxn>
                  <a:cxn ang="0">
                    <a:pos x="255" y="658"/>
                  </a:cxn>
                  <a:cxn ang="0">
                    <a:pos x="235" y="669"/>
                  </a:cxn>
                  <a:cxn ang="0">
                    <a:pos x="256" y="710"/>
                  </a:cxn>
                  <a:cxn ang="0">
                    <a:pos x="304" y="703"/>
                  </a:cxn>
                  <a:cxn ang="0">
                    <a:pos x="319" y="714"/>
                  </a:cxn>
                  <a:cxn ang="0">
                    <a:pos x="346" y="666"/>
                  </a:cxn>
                  <a:cxn ang="0">
                    <a:pos x="382" y="666"/>
                  </a:cxn>
                  <a:cxn ang="0">
                    <a:pos x="411" y="678"/>
                  </a:cxn>
                  <a:cxn ang="0">
                    <a:pos x="431" y="704"/>
                  </a:cxn>
                  <a:cxn ang="0">
                    <a:pos x="520" y="594"/>
                  </a:cxn>
                  <a:cxn ang="0">
                    <a:pos x="547" y="608"/>
                  </a:cxn>
                  <a:cxn ang="0">
                    <a:pos x="563" y="569"/>
                  </a:cxn>
                  <a:cxn ang="0">
                    <a:pos x="551" y="526"/>
                  </a:cxn>
                  <a:cxn ang="0">
                    <a:pos x="572" y="484"/>
                  </a:cxn>
                  <a:cxn ang="0">
                    <a:pos x="526" y="456"/>
                  </a:cxn>
                  <a:cxn ang="0">
                    <a:pos x="539" y="416"/>
                  </a:cxn>
                  <a:cxn ang="0">
                    <a:pos x="575" y="312"/>
                  </a:cxn>
                  <a:cxn ang="0">
                    <a:pos x="543" y="290"/>
                  </a:cxn>
                  <a:cxn ang="0">
                    <a:pos x="558" y="236"/>
                  </a:cxn>
                  <a:cxn ang="0">
                    <a:pos x="544" y="244"/>
                  </a:cxn>
                  <a:cxn ang="0">
                    <a:pos x="518" y="240"/>
                  </a:cxn>
                  <a:cxn ang="0">
                    <a:pos x="488" y="226"/>
                  </a:cxn>
                  <a:cxn ang="0">
                    <a:pos x="455" y="194"/>
                  </a:cxn>
                  <a:cxn ang="0">
                    <a:pos x="456" y="173"/>
                  </a:cxn>
                  <a:cxn ang="0">
                    <a:pos x="426" y="146"/>
                  </a:cxn>
                  <a:cxn ang="0">
                    <a:pos x="414" y="133"/>
                  </a:cxn>
                  <a:cxn ang="0">
                    <a:pos x="311" y="136"/>
                  </a:cxn>
                  <a:cxn ang="0">
                    <a:pos x="296" y="132"/>
                  </a:cxn>
                  <a:cxn ang="0">
                    <a:pos x="283" y="137"/>
                  </a:cxn>
                  <a:cxn ang="0">
                    <a:pos x="256" y="146"/>
                  </a:cxn>
                  <a:cxn ang="0">
                    <a:pos x="208" y="109"/>
                  </a:cxn>
                  <a:cxn ang="0">
                    <a:pos x="182" y="69"/>
                  </a:cxn>
                  <a:cxn ang="0">
                    <a:pos x="167" y="66"/>
                  </a:cxn>
                  <a:cxn ang="0">
                    <a:pos x="155" y="33"/>
                  </a:cxn>
                  <a:cxn ang="0">
                    <a:pos x="118" y="0"/>
                  </a:cxn>
                  <a:cxn ang="0">
                    <a:pos x="36" y="28"/>
                  </a:cxn>
                  <a:cxn ang="0">
                    <a:pos x="39" y="84"/>
                  </a:cxn>
                </a:cxnLst>
                <a:rect l="0" t="0" r="r" b="b"/>
                <a:pathLst>
                  <a:path w="580" h="715">
                    <a:moveTo>
                      <a:pt x="58" y="114"/>
                    </a:moveTo>
                    <a:cubicBezTo>
                      <a:pt x="59" y="133"/>
                      <a:pt x="59" y="133"/>
                      <a:pt x="59" y="133"/>
                    </a:cubicBezTo>
                    <a:cubicBezTo>
                      <a:pt x="43" y="156"/>
                      <a:pt x="43" y="156"/>
                      <a:pt x="43" y="156"/>
                    </a:cubicBezTo>
                    <a:cubicBezTo>
                      <a:pt x="34" y="157"/>
                      <a:pt x="34" y="157"/>
                      <a:pt x="34" y="157"/>
                    </a:cubicBezTo>
                    <a:cubicBezTo>
                      <a:pt x="31" y="170"/>
                      <a:pt x="31" y="170"/>
                      <a:pt x="31" y="170"/>
                    </a:cubicBezTo>
                    <a:cubicBezTo>
                      <a:pt x="36" y="170"/>
                      <a:pt x="36" y="170"/>
                      <a:pt x="36" y="170"/>
                    </a:cubicBezTo>
                    <a:cubicBezTo>
                      <a:pt x="36" y="194"/>
                      <a:pt x="36" y="194"/>
                      <a:pt x="36" y="194"/>
                    </a:cubicBezTo>
                    <a:cubicBezTo>
                      <a:pt x="2" y="204"/>
                      <a:pt x="2" y="204"/>
                      <a:pt x="2" y="204"/>
                    </a:cubicBezTo>
                    <a:cubicBezTo>
                      <a:pt x="0" y="220"/>
                      <a:pt x="0" y="220"/>
                      <a:pt x="0" y="220"/>
                    </a:cubicBezTo>
                    <a:cubicBezTo>
                      <a:pt x="10" y="218"/>
                      <a:pt x="10" y="218"/>
                      <a:pt x="10" y="218"/>
                    </a:cubicBezTo>
                    <a:cubicBezTo>
                      <a:pt x="23" y="240"/>
                      <a:pt x="23" y="240"/>
                      <a:pt x="23" y="240"/>
                    </a:cubicBezTo>
                    <a:cubicBezTo>
                      <a:pt x="19" y="253"/>
                      <a:pt x="19" y="253"/>
                      <a:pt x="19" y="253"/>
                    </a:cubicBezTo>
                    <a:cubicBezTo>
                      <a:pt x="27" y="265"/>
                      <a:pt x="27" y="265"/>
                      <a:pt x="27" y="265"/>
                    </a:cubicBezTo>
                    <a:cubicBezTo>
                      <a:pt x="4" y="270"/>
                      <a:pt x="4" y="270"/>
                      <a:pt x="4" y="270"/>
                    </a:cubicBezTo>
                    <a:cubicBezTo>
                      <a:pt x="20" y="309"/>
                      <a:pt x="20" y="309"/>
                      <a:pt x="20" y="309"/>
                    </a:cubicBezTo>
                    <a:cubicBezTo>
                      <a:pt x="6" y="344"/>
                      <a:pt x="6" y="344"/>
                      <a:pt x="6" y="344"/>
                    </a:cubicBezTo>
                    <a:cubicBezTo>
                      <a:pt x="31" y="365"/>
                      <a:pt x="31" y="365"/>
                      <a:pt x="31" y="365"/>
                    </a:cubicBezTo>
                    <a:cubicBezTo>
                      <a:pt x="31" y="365"/>
                      <a:pt x="40" y="385"/>
                      <a:pt x="40" y="429"/>
                    </a:cubicBezTo>
                    <a:cubicBezTo>
                      <a:pt x="50" y="437"/>
                      <a:pt x="50" y="437"/>
                      <a:pt x="50" y="437"/>
                    </a:cubicBezTo>
                    <a:cubicBezTo>
                      <a:pt x="50" y="437"/>
                      <a:pt x="51" y="469"/>
                      <a:pt x="46" y="474"/>
                    </a:cubicBezTo>
                    <a:cubicBezTo>
                      <a:pt x="40" y="480"/>
                      <a:pt x="56" y="497"/>
                      <a:pt x="43" y="512"/>
                    </a:cubicBezTo>
                    <a:cubicBezTo>
                      <a:pt x="47" y="514"/>
                      <a:pt x="67" y="546"/>
                      <a:pt x="76" y="548"/>
                    </a:cubicBezTo>
                    <a:cubicBezTo>
                      <a:pt x="86" y="549"/>
                      <a:pt x="91" y="538"/>
                      <a:pt x="95" y="538"/>
                    </a:cubicBezTo>
                    <a:cubicBezTo>
                      <a:pt x="99" y="538"/>
                      <a:pt x="107" y="545"/>
                      <a:pt x="111" y="545"/>
                    </a:cubicBezTo>
                    <a:cubicBezTo>
                      <a:pt x="115" y="545"/>
                      <a:pt x="126" y="537"/>
                      <a:pt x="126" y="537"/>
                    </a:cubicBezTo>
                    <a:cubicBezTo>
                      <a:pt x="138" y="544"/>
                      <a:pt x="138" y="544"/>
                      <a:pt x="138" y="544"/>
                    </a:cubicBezTo>
                    <a:cubicBezTo>
                      <a:pt x="138" y="558"/>
                      <a:pt x="138" y="558"/>
                      <a:pt x="138" y="558"/>
                    </a:cubicBezTo>
                    <a:cubicBezTo>
                      <a:pt x="150" y="544"/>
                      <a:pt x="150" y="544"/>
                      <a:pt x="150" y="544"/>
                    </a:cubicBezTo>
                    <a:cubicBezTo>
                      <a:pt x="159" y="545"/>
                      <a:pt x="159" y="545"/>
                      <a:pt x="159" y="545"/>
                    </a:cubicBezTo>
                    <a:cubicBezTo>
                      <a:pt x="159" y="545"/>
                      <a:pt x="160" y="517"/>
                      <a:pt x="164" y="521"/>
                    </a:cubicBezTo>
                    <a:cubicBezTo>
                      <a:pt x="168" y="525"/>
                      <a:pt x="198" y="576"/>
                      <a:pt x="198" y="576"/>
                    </a:cubicBezTo>
                    <a:cubicBezTo>
                      <a:pt x="202" y="594"/>
                      <a:pt x="202" y="594"/>
                      <a:pt x="202" y="594"/>
                    </a:cubicBezTo>
                    <a:cubicBezTo>
                      <a:pt x="219" y="597"/>
                      <a:pt x="219" y="597"/>
                      <a:pt x="219" y="597"/>
                    </a:cubicBezTo>
                    <a:cubicBezTo>
                      <a:pt x="230" y="610"/>
                      <a:pt x="230" y="610"/>
                      <a:pt x="230" y="610"/>
                    </a:cubicBezTo>
                    <a:cubicBezTo>
                      <a:pt x="230" y="610"/>
                      <a:pt x="258" y="600"/>
                      <a:pt x="256" y="614"/>
                    </a:cubicBezTo>
                    <a:cubicBezTo>
                      <a:pt x="255" y="629"/>
                      <a:pt x="255" y="658"/>
                      <a:pt x="255" y="658"/>
                    </a:cubicBezTo>
                    <a:cubicBezTo>
                      <a:pt x="248" y="658"/>
                      <a:pt x="248" y="658"/>
                      <a:pt x="248" y="658"/>
                    </a:cubicBezTo>
                    <a:cubicBezTo>
                      <a:pt x="243" y="672"/>
                      <a:pt x="243" y="672"/>
                      <a:pt x="243" y="672"/>
                    </a:cubicBezTo>
                    <a:cubicBezTo>
                      <a:pt x="235" y="669"/>
                      <a:pt x="235" y="669"/>
                      <a:pt x="235" y="669"/>
                    </a:cubicBezTo>
                    <a:cubicBezTo>
                      <a:pt x="236" y="697"/>
                      <a:pt x="236" y="697"/>
                      <a:pt x="236" y="697"/>
                    </a:cubicBezTo>
                    <a:cubicBezTo>
                      <a:pt x="250" y="697"/>
                      <a:pt x="250" y="697"/>
                      <a:pt x="250" y="697"/>
                    </a:cubicBezTo>
                    <a:cubicBezTo>
                      <a:pt x="256" y="710"/>
                      <a:pt x="256" y="710"/>
                      <a:pt x="256" y="710"/>
                    </a:cubicBezTo>
                    <a:cubicBezTo>
                      <a:pt x="280" y="704"/>
                      <a:pt x="280" y="704"/>
                      <a:pt x="280" y="704"/>
                    </a:cubicBezTo>
                    <a:cubicBezTo>
                      <a:pt x="280" y="704"/>
                      <a:pt x="280" y="705"/>
                      <a:pt x="295" y="706"/>
                    </a:cubicBezTo>
                    <a:cubicBezTo>
                      <a:pt x="305" y="707"/>
                      <a:pt x="305" y="705"/>
                      <a:pt x="304" y="703"/>
                    </a:cubicBezTo>
                    <a:cubicBezTo>
                      <a:pt x="303" y="702"/>
                      <a:pt x="303" y="701"/>
                      <a:pt x="303" y="701"/>
                    </a:cubicBezTo>
                    <a:cubicBezTo>
                      <a:pt x="303" y="701"/>
                      <a:pt x="304" y="702"/>
                      <a:pt x="304" y="703"/>
                    </a:cubicBezTo>
                    <a:cubicBezTo>
                      <a:pt x="307" y="707"/>
                      <a:pt x="314" y="715"/>
                      <a:pt x="319" y="714"/>
                    </a:cubicBezTo>
                    <a:cubicBezTo>
                      <a:pt x="326" y="713"/>
                      <a:pt x="320" y="706"/>
                      <a:pt x="326" y="706"/>
                    </a:cubicBezTo>
                    <a:cubicBezTo>
                      <a:pt x="331" y="706"/>
                      <a:pt x="342" y="705"/>
                      <a:pt x="342" y="705"/>
                    </a:cubicBezTo>
                    <a:cubicBezTo>
                      <a:pt x="346" y="666"/>
                      <a:pt x="346" y="666"/>
                      <a:pt x="346" y="666"/>
                    </a:cubicBezTo>
                    <a:cubicBezTo>
                      <a:pt x="358" y="665"/>
                      <a:pt x="358" y="665"/>
                      <a:pt x="358" y="665"/>
                    </a:cubicBezTo>
                    <a:cubicBezTo>
                      <a:pt x="367" y="678"/>
                      <a:pt x="367" y="678"/>
                      <a:pt x="367" y="678"/>
                    </a:cubicBezTo>
                    <a:cubicBezTo>
                      <a:pt x="382" y="666"/>
                      <a:pt x="382" y="666"/>
                      <a:pt x="382" y="666"/>
                    </a:cubicBezTo>
                    <a:cubicBezTo>
                      <a:pt x="382" y="666"/>
                      <a:pt x="382" y="676"/>
                      <a:pt x="387" y="676"/>
                    </a:cubicBezTo>
                    <a:cubicBezTo>
                      <a:pt x="392" y="676"/>
                      <a:pt x="391" y="660"/>
                      <a:pt x="402" y="664"/>
                    </a:cubicBezTo>
                    <a:cubicBezTo>
                      <a:pt x="412" y="668"/>
                      <a:pt x="411" y="678"/>
                      <a:pt x="411" y="678"/>
                    </a:cubicBezTo>
                    <a:cubicBezTo>
                      <a:pt x="419" y="686"/>
                      <a:pt x="419" y="686"/>
                      <a:pt x="419" y="686"/>
                    </a:cubicBezTo>
                    <a:cubicBezTo>
                      <a:pt x="420" y="702"/>
                      <a:pt x="420" y="702"/>
                      <a:pt x="420" y="702"/>
                    </a:cubicBezTo>
                    <a:cubicBezTo>
                      <a:pt x="431" y="704"/>
                      <a:pt x="431" y="704"/>
                      <a:pt x="431" y="704"/>
                    </a:cubicBezTo>
                    <a:cubicBezTo>
                      <a:pt x="459" y="596"/>
                      <a:pt x="459" y="596"/>
                      <a:pt x="459" y="596"/>
                    </a:cubicBezTo>
                    <a:cubicBezTo>
                      <a:pt x="459" y="596"/>
                      <a:pt x="476" y="602"/>
                      <a:pt x="490" y="602"/>
                    </a:cubicBezTo>
                    <a:cubicBezTo>
                      <a:pt x="503" y="602"/>
                      <a:pt x="518" y="589"/>
                      <a:pt x="520" y="594"/>
                    </a:cubicBezTo>
                    <a:cubicBezTo>
                      <a:pt x="523" y="600"/>
                      <a:pt x="524" y="612"/>
                      <a:pt x="528" y="612"/>
                    </a:cubicBezTo>
                    <a:cubicBezTo>
                      <a:pt x="530" y="612"/>
                      <a:pt x="538" y="613"/>
                      <a:pt x="546" y="614"/>
                    </a:cubicBezTo>
                    <a:cubicBezTo>
                      <a:pt x="547" y="608"/>
                      <a:pt x="547" y="608"/>
                      <a:pt x="547" y="608"/>
                    </a:cubicBezTo>
                    <a:cubicBezTo>
                      <a:pt x="566" y="602"/>
                      <a:pt x="566" y="602"/>
                      <a:pt x="566" y="602"/>
                    </a:cubicBezTo>
                    <a:cubicBezTo>
                      <a:pt x="566" y="602"/>
                      <a:pt x="570" y="596"/>
                      <a:pt x="567" y="594"/>
                    </a:cubicBezTo>
                    <a:cubicBezTo>
                      <a:pt x="542" y="588"/>
                      <a:pt x="563" y="569"/>
                      <a:pt x="563" y="569"/>
                    </a:cubicBezTo>
                    <a:cubicBezTo>
                      <a:pt x="563" y="569"/>
                      <a:pt x="566" y="549"/>
                      <a:pt x="571" y="549"/>
                    </a:cubicBezTo>
                    <a:cubicBezTo>
                      <a:pt x="554" y="540"/>
                      <a:pt x="562" y="522"/>
                      <a:pt x="562" y="522"/>
                    </a:cubicBezTo>
                    <a:cubicBezTo>
                      <a:pt x="551" y="526"/>
                      <a:pt x="551" y="526"/>
                      <a:pt x="551" y="526"/>
                    </a:cubicBezTo>
                    <a:cubicBezTo>
                      <a:pt x="551" y="506"/>
                      <a:pt x="551" y="506"/>
                      <a:pt x="551" y="506"/>
                    </a:cubicBezTo>
                    <a:cubicBezTo>
                      <a:pt x="539" y="496"/>
                      <a:pt x="539" y="496"/>
                      <a:pt x="539" y="496"/>
                    </a:cubicBezTo>
                    <a:cubicBezTo>
                      <a:pt x="572" y="484"/>
                      <a:pt x="572" y="484"/>
                      <a:pt x="572" y="484"/>
                    </a:cubicBezTo>
                    <a:cubicBezTo>
                      <a:pt x="556" y="472"/>
                      <a:pt x="544" y="468"/>
                      <a:pt x="544" y="468"/>
                    </a:cubicBezTo>
                    <a:cubicBezTo>
                      <a:pt x="540" y="457"/>
                      <a:pt x="540" y="457"/>
                      <a:pt x="540" y="457"/>
                    </a:cubicBezTo>
                    <a:cubicBezTo>
                      <a:pt x="526" y="456"/>
                      <a:pt x="526" y="456"/>
                      <a:pt x="526" y="456"/>
                    </a:cubicBezTo>
                    <a:cubicBezTo>
                      <a:pt x="526" y="444"/>
                      <a:pt x="538" y="430"/>
                      <a:pt x="538" y="430"/>
                    </a:cubicBezTo>
                    <a:cubicBezTo>
                      <a:pt x="531" y="429"/>
                      <a:pt x="531" y="429"/>
                      <a:pt x="531" y="429"/>
                    </a:cubicBezTo>
                    <a:cubicBezTo>
                      <a:pt x="531" y="429"/>
                      <a:pt x="536" y="420"/>
                      <a:pt x="539" y="416"/>
                    </a:cubicBezTo>
                    <a:cubicBezTo>
                      <a:pt x="560" y="405"/>
                      <a:pt x="580" y="340"/>
                      <a:pt x="580" y="340"/>
                    </a:cubicBezTo>
                    <a:cubicBezTo>
                      <a:pt x="572" y="332"/>
                      <a:pt x="572" y="332"/>
                      <a:pt x="572" y="332"/>
                    </a:cubicBezTo>
                    <a:cubicBezTo>
                      <a:pt x="575" y="312"/>
                      <a:pt x="575" y="312"/>
                      <a:pt x="575" y="312"/>
                    </a:cubicBezTo>
                    <a:cubicBezTo>
                      <a:pt x="556" y="316"/>
                      <a:pt x="556" y="316"/>
                      <a:pt x="556" y="316"/>
                    </a:cubicBezTo>
                    <a:cubicBezTo>
                      <a:pt x="556" y="294"/>
                      <a:pt x="556" y="294"/>
                      <a:pt x="556" y="294"/>
                    </a:cubicBezTo>
                    <a:cubicBezTo>
                      <a:pt x="556" y="294"/>
                      <a:pt x="535" y="290"/>
                      <a:pt x="543" y="290"/>
                    </a:cubicBezTo>
                    <a:cubicBezTo>
                      <a:pt x="551" y="290"/>
                      <a:pt x="539" y="280"/>
                      <a:pt x="555" y="280"/>
                    </a:cubicBezTo>
                    <a:cubicBezTo>
                      <a:pt x="571" y="280"/>
                      <a:pt x="566" y="240"/>
                      <a:pt x="566" y="240"/>
                    </a:cubicBezTo>
                    <a:cubicBezTo>
                      <a:pt x="558" y="236"/>
                      <a:pt x="558" y="236"/>
                      <a:pt x="558" y="236"/>
                    </a:cubicBezTo>
                    <a:cubicBezTo>
                      <a:pt x="550" y="244"/>
                      <a:pt x="550" y="244"/>
                      <a:pt x="550" y="244"/>
                    </a:cubicBezTo>
                    <a:cubicBezTo>
                      <a:pt x="547" y="240"/>
                      <a:pt x="547" y="240"/>
                      <a:pt x="547" y="240"/>
                    </a:cubicBezTo>
                    <a:cubicBezTo>
                      <a:pt x="546" y="242"/>
                      <a:pt x="545" y="244"/>
                      <a:pt x="544" y="244"/>
                    </a:cubicBezTo>
                    <a:cubicBezTo>
                      <a:pt x="540" y="244"/>
                      <a:pt x="535" y="241"/>
                      <a:pt x="535" y="241"/>
                    </a:cubicBezTo>
                    <a:cubicBezTo>
                      <a:pt x="518" y="253"/>
                      <a:pt x="518" y="253"/>
                      <a:pt x="518" y="253"/>
                    </a:cubicBezTo>
                    <a:cubicBezTo>
                      <a:pt x="518" y="240"/>
                      <a:pt x="518" y="240"/>
                      <a:pt x="518" y="240"/>
                    </a:cubicBezTo>
                    <a:cubicBezTo>
                      <a:pt x="502" y="232"/>
                      <a:pt x="502" y="232"/>
                      <a:pt x="502" y="232"/>
                    </a:cubicBezTo>
                    <a:cubicBezTo>
                      <a:pt x="502" y="222"/>
                      <a:pt x="502" y="222"/>
                      <a:pt x="502" y="222"/>
                    </a:cubicBezTo>
                    <a:cubicBezTo>
                      <a:pt x="502" y="222"/>
                      <a:pt x="498" y="226"/>
                      <a:pt x="488" y="226"/>
                    </a:cubicBezTo>
                    <a:cubicBezTo>
                      <a:pt x="479" y="226"/>
                      <a:pt x="467" y="212"/>
                      <a:pt x="467" y="212"/>
                    </a:cubicBezTo>
                    <a:cubicBezTo>
                      <a:pt x="455" y="217"/>
                      <a:pt x="455" y="217"/>
                      <a:pt x="455" y="217"/>
                    </a:cubicBezTo>
                    <a:cubicBezTo>
                      <a:pt x="455" y="194"/>
                      <a:pt x="455" y="194"/>
                      <a:pt x="455" y="194"/>
                    </a:cubicBezTo>
                    <a:cubicBezTo>
                      <a:pt x="446" y="192"/>
                      <a:pt x="446" y="192"/>
                      <a:pt x="446" y="192"/>
                    </a:cubicBezTo>
                    <a:cubicBezTo>
                      <a:pt x="446" y="191"/>
                      <a:pt x="446" y="191"/>
                      <a:pt x="446" y="191"/>
                    </a:cubicBezTo>
                    <a:cubicBezTo>
                      <a:pt x="456" y="173"/>
                      <a:pt x="456" y="173"/>
                      <a:pt x="456" y="173"/>
                    </a:cubicBezTo>
                    <a:cubicBezTo>
                      <a:pt x="450" y="165"/>
                      <a:pt x="439" y="144"/>
                      <a:pt x="439" y="144"/>
                    </a:cubicBezTo>
                    <a:cubicBezTo>
                      <a:pt x="432" y="150"/>
                      <a:pt x="432" y="150"/>
                      <a:pt x="432" y="150"/>
                    </a:cubicBezTo>
                    <a:cubicBezTo>
                      <a:pt x="426" y="146"/>
                      <a:pt x="426" y="146"/>
                      <a:pt x="426" y="146"/>
                    </a:cubicBezTo>
                    <a:cubicBezTo>
                      <a:pt x="432" y="138"/>
                      <a:pt x="432" y="138"/>
                      <a:pt x="432" y="138"/>
                    </a:cubicBezTo>
                    <a:cubicBezTo>
                      <a:pt x="427" y="133"/>
                      <a:pt x="427" y="133"/>
                      <a:pt x="427" y="133"/>
                    </a:cubicBezTo>
                    <a:cubicBezTo>
                      <a:pt x="414" y="133"/>
                      <a:pt x="414" y="133"/>
                      <a:pt x="414" y="133"/>
                    </a:cubicBezTo>
                    <a:cubicBezTo>
                      <a:pt x="414" y="133"/>
                      <a:pt x="414" y="133"/>
                      <a:pt x="415" y="116"/>
                    </a:cubicBezTo>
                    <a:cubicBezTo>
                      <a:pt x="334" y="100"/>
                      <a:pt x="366" y="134"/>
                      <a:pt x="366" y="134"/>
                    </a:cubicBezTo>
                    <a:cubicBezTo>
                      <a:pt x="311" y="136"/>
                      <a:pt x="311" y="136"/>
                      <a:pt x="311" y="136"/>
                    </a:cubicBezTo>
                    <a:cubicBezTo>
                      <a:pt x="311" y="148"/>
                      <a:pt x="311" y="148"/>
                      <a:pt x="311" y="148"/>
                    </a:cubicBezTo>
                    <a:cubicBezTo>
                      <a:pt x="302" y="145"/>
                      <a:pt x="302" y="145"/>
                      <a:pt x="302" y="145"/>
                    </a:cubicBezTo>
                    <a:cubicBezTo>
                      <a:pt x="296" y="132"/>
                      <a:pt x="296" y="132"/>
                      <a:pt x="296" y="132"/>
                    </a:cubicBezTo>
                    <a:cubicBezTo>
                      <a:pt x="287" y="132"/>
                      <a:pt x="287" y="132"/>
                      <a:pt x="287" y="132"/>
                    </a:cubicBezTo>
                    <a:cubicBezTo>
                      <a:pt x="290" y="141"/>
                      <a:pt x="290" y="141"/>
                      <a:pt x="290" y="141"/>
                    </a:cubicBezTo>
                    <a:cubicBezTo>
                      <a:pt x="283" y="137"/>
                      <a:pt x="283" y="137"/>
                      <a:pt x="283" y="137"/>
                    </a:cubicBezTo>
                    <a:cubicBezTo>
                      <a:pt x="270" y="148"/>
                      <a:pt x="270" y="148"/>
                      <a:pt x="270" y="148"/>
                    </a:cubicBezTo>
                    <a:cubicBezTo>
                      <a:pt x="258" y="141"/>
                      <a:pt x="258" y="141"/>
                      <a:pt x="258" y="141"/>
                    </a:cubicBezTo>
                    <a:cubicBezTo>
                      <a:pt x="256" y="146"/>
                      <a:pt x="256" y="146"/>
                      <a:pt x="256" y="146"/>
                    </a:cubicBezTo>
                    <a:cubicBezTo>
                      <a:pt x="222" y="145"/>
                      <a:pt x="222" y="145"/>
                      <a:pt x="222" y="145"/>
                    </a:cubicBezTo>
                    <a:cubicBezTo>
                      <a:pt x="222" y="145"/>
                      <a:pt x="226" y="128"/>
                      <a:pt x="226" y="125"/>
                    </a:cubicBezTo>
                    <a:cubicBezTo>
                      <a:pt x="216" y="133"/>
                      <a:pt x="218" y="129"/>
                      <a:pt x="208" y="109"/>
                    </a:cubicBezTo>
                    <a:cubicBezTo>
                      <a:pt x="199" y="89"/>
                      <a:pt x="190" y="81"/>
                      <a:pt x="190" y="81"/>
                    </a:cubicBezTo>
                    <a:cubicBezTo>
                      <a:pt x="190" y="70"/>
                      <a:pt x="190" y="70"/>
                      <a:pt x="190" y="70"/>
                    </a:cubicBezTo>
                    <a:cubicBezTo>
                      <a:pt x="182" y="69"/>
                      <a:pt x="182" y="69"/>
                      <a:pt x="182" y="69"/>
                    </a:cubicBezTo>
                    <a:cubicBezTo>
                      <a:pt x="182" y="78"/>
                      <a:pt x="182" y="78"/>
                      <a:pt x="182" y="78"/>
                    </a:cubicBezTo>
                    <a:cubicBezTo>
                      <a:pt x="176" y="81"/>
                      <a:pt x="176" y="81"/>
                      <a:pt x="176" y="81"/>
                    </a:cubicBezTo>
                    <a:cubicBezTo>
                      <a:pt x="167" y="66"/>
                      <a:pt x="167" y="66"/>
                      <a:pt x="167" y="66"/>
                    </a:cubicBezTo>
                    <a:cubicBezTo>
                      <a:pt x="158" y="69"/>
                      <a:pt x="158" y="69"/>
                      <a:pt x="158" y="69"/>
                    </a:cubicBezTo>
                    <a:cubicBezTo>
                      <a:pt x="167" y="60"/>
                      <a:pt x="159" y="38"/>
                      <a:pt x="159" y="38"/>
                    </a:cubicBezTo>
                    <a:cubicBezTo>
                      <a:pt x="155" y="33"/>
                      <a:pt x="155" y="33"/>
                      <a:pt x="155" y="33"/>
                    </a:cubicBezTo>
                    <a:cubicBezTo>
                      <a:pt x="155" y="18"/>
                      <a:pt x="128" y="8"/>
                      <a:pt x="128" y="8"/>
                    </a:cubicBezTo>
                    <a:cubicBezTo>
                      <a:pt x="122" y="10"/>
                      <a:pt x="122" y="10"/>
                      <a:pt x="122" y="10"/>
                    </a:cubicBezTo>
                    <a:cubicBezTo>
                      <a:pt x="118" y="0"/>
                      <a:pt x="118" y="0"/>
                      <a:pt x="118" y="0"/>
                    </a:cubicBezTo>
                    <a:cubicBezTo>
                      <a:pt x="103" y="8"/>
                      <a:pt x="103" y="8"/>
                      <a:pt x="103" y="8"/>
                    </a:cubicBezTo>
                    <a:cubicBezTo>
                      <a:pt x="44" y="8"/>
                      <a:pt x="44" y="8"/>
                      <a:pt x="44" y="8"/>
                    </a:cubicBezTo>
                    <a:cubicBezTo>
                      <a:pt x="36" y="28"/>
                      <a:pt x="36" y="28"/>
                      <a:pt x="36" y="28"/>
                    </a:cubicBezTo>
                    <a:cubicBezTo>
                      <a:pt x="42" y="44"/>
                      <a:pt x="42" y="44"/>
                      <a:pt x="42" y="44"/>
                    </a:cubicBezTo>
                    <a:cubicBezTo>
                      <a:pt x="42" y="44"/>
                      <a:pt x="28" y="66"/>
                      <a:pt x="20" y="75"/>
                    </a:cubicBezTo>
                    <a:cubicBezTo>
                      <a:pt x="39" y="84"/>
                      <a:pt x="39" y="84"/>
                      <a:pt x="39" y="84"/>
                    </a:cubicBezTo>
                    <a:cubicBezTo>
                      <a:pt x="39" y="84"/>
                      <a:pt x="28" y="104"/>
                      <a:pt x="58" y="114"/>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9" name="Centre" descr="© INSCALE GmbH, 05.05.2010&#10;http://www.presentationload.com/">
                <a:extLst>
                  <a:ext uri="{FF2B5EF4-FFF2-40B4-BE49-F238E27FC236}">
                    <a16:creationId xmlns:a16="http://schemas.microsoft.com/office/drawing/2014/main" id="{2F93616E-9714-40DC-8DC4-1824DBEBEE72}"/>
                  </a:ext>
                </a:extLst>
              </p:cNvPr>
              <p:cNvSpPr>
                <a:spLocks/>
              </p:cNvSpPr>
              <p:nvPr/>
            </p:nvSpPr>
            <p:spPr bwMode="gray">
              <a:xfrm>
                <a:off x="1233" y="903"/>
                <a:ext cx="716" cy="887"/>
              </a:xfrm>
              <a:custGeom>
                <a:avLst/>
                <a:gdLst/>
                <a:ahLst/>
                <a:cxnLst>
                  <a:cxn ang="0">
                    <a:pos x="209" y="158"/>
                  </a:cxn>
                  <a:cxn ang="0">
                    <a:pos x="173" y="227"/>
                  </a:cxn>
                  <a:cxn ang="0">
                    <a:pos x="193" y="251"/>
                  </a:cxn>
                  <a:cxn ang="0">
                    <a:pos x="168" y="275"/>
                  </a:cxn>
                  <a:cxn ang="0">
                    <a:pos x="179" y="314"/>
                  </a:cxn>
                  <a:cxn ang="0">
                    <a:pos x="144" y="367"/>
                  </a:cxn>
                  <a:cxn ang="0">
                    <a:pos x="79" y="406"/>
                  </a:cxn>
                  <a:cxn ang="0">
                    <a:pos x="43" y="418"/>
                  </a:cxn>
                  <a:cxn ang="0">
                    <a:pos x="29" y="494"/>
                  </a:cxn>
                  <a:cxn ang="0">
                    <a:pos x="29" y="594"/>
                  </a:cxn>
                  <a:cxn ang="0">
                    <a:pos x="56" y="598"/>
                  </a:cxn>
                  <a:cxn ang="0">
                    <a:pos x="79" y="632"/>
                  </a:cxn>
                  <a:cxn ang="0">
                    <a:pos x="108" y="611"/>
                  </a:cxn>
                  <a:cxn ang="0">
                    <a:pos x="185" y="712"/>
                  </a:cxn>
                  <a:cxn ang="0">
                    <a:pos x="233" y="788"/>
                  </a:cxn>
                  <a:cxn ang="0">
                    <a:pos x="251" y="820"/>
                  </a:cxn>
                  <a:cxn ang="0">
                    <a:pos x="287" y="811"/>
                  </a:cxn>
                  <a:cxn ang="0">
                    <a:pos x="320" y="814"/>
                  </a:cxn>
                  <a:cxn ang="0">
                    <a:pos x="353" y="806"/>
                  </a:cxn>
                  <a:cxn ang="0">
                    <a:pos x="404" y="802"/>
                  </a:cxn>
                  <a:cxn ang="0">
                    <a:pos x="539" y="771"/>
                  </a:cxn>
                  <a:cxn ang="0">
                    <a:pos x="559" y="719"/>
                  </a:cxn>
                  <a:cxn ang="0">
                    <a:pos x="650" y="684"/>
                  </a:cxn>
                  <a:cxn ang="0">
                    <a:pos x="655" y="607"/>
                  </a:cxn>
                  <a:cxn ang="0">
                    <a:pos x="611" y="514"/>
                  </a:cxn>
                  <a:cxn ang="0">
                    <a:pos x="632" y="435"/>
                  </a:cxn>
                  <a:cxn ang="0">
                    <a:pos x="615" y="388"/>
                  </a:cxn>
                  <a:cxn ang="0">
                    <a:pos x="641" y="364"/>
                  </a:cxn>
                  <a:cxn ang="0">
                    <a:pos x="639" y="327"/>
                  </a:cxn>
                  <a:cxn ang="0">
                    <a:pos x="663" y="284"/>
                  </a:cxn>
                  <a:cxn ang="0">
                    <a:pos x="624" y="246"/>
                  </a:cxn>
                  <a:cxn ang="0">
                    <a:pos x="581" y="247"/>
                  </a:cxn>
                  <a:cxn ang="0">
                    <a:pos x="520" y="254"/>
                  </a:cxn>
                  <a:cxn ang="0">
                    <a:pos x="513" y="214"/>
                  </a:cxn>
                  <a:cxn ang="0">
                    <a:pos x="491" y="194"/>
                  </a:cxn>
                  <a:cxn ang="0">
                    <a:pos x="468" y="188"/>
                  </a:cxn>
                  <a:cxn ang="0">
                    <a:pos x="419" y="204"/>
                  </a:cxn>
                  <a:cxn ang="0">
                    <a:pos x="405" y="154"/>
                  </a:cxn>
                  <a:cxn ang="0">
                    <a:pos x="364" y="115"/>
                  </a:cxn>
                  <a:cxn ang="0">
                    <a:pos x="341" y="88"/>
                  </a:cxn>
                  <a:cxn ang="0">
                    <a:pos x="344" y="59"/>
                  </a:cxn>
                  <a:cxn ang="0">
                    <a:pos x="331" y="23"/>
                  </a:cxn>
                  <a:cxn ang="0">
                    <a:pos x="312" y="3"/>
                  </a:cxn>
                  <a:cxn ang="0">
                    <a:pos x="287" y="51"/>
                  </a:cxn>
                  <a:cxn ang="0">
                    <a:pos x="225" y="54"/>
                  </a:cxn>
                  <a:cxn ang="0">
                    <a:pos x="177" y="98"/>
                  </a:cxn>
                </a:cxnLst>
                <a:rect l="0" t="0" r="r" b="b"/>
                <a:pathLst>
                  <a:path w="664" h="822">
                    <a:moveTo>
                      <a:pt x="205" y="131"/>
                    </a:moveTo>
                    <a:cubicBezTo>
                      <a:pt x="205" y="136"/>
                      <a:pt x="201" y="144"/>
                      <a:pt x="201" y="144"/>
                    </a:cubicBezTo>
                    <a:cubicBezTo>
                      <a:pt x="209" y="158"/>
                      <a:pt x="209" y="158"/>
                      <a:pt x="209" y="158"/>
                    </a:cubicBezTo>
                    <a:cubicBezTo>
                      <a:pt x="197" y="172"/>
                      <a:pt x="197" y="172"/>
                      <a:pt x="197" y="172"/>
                    </a:cubicBezTo>
                    <a:cubicBezTo>
                      <a:pt x="197" y="172"/>
                      <a:pt x="171" y="179"/>
                      <a:pt x="168" y="190"/>
                    </a:cubicBezTo>
                    <a:cubicBezTo>
                      <a:pt x="165" y="200"/>
                      <a:pt x="173" y="227"/>
                      <a:pt x="173" y="227"/>
                    </a:cubicBezTo>
                    <a:cubicBezTo>
                      <a:pt x="173" y="235"/>
                      <a:pt x="173" y="235"/>
                      <a:pt x="173" y="235"/>
                    </a:cubicBezTo>
                    <a:cubicBezTo>
                      <a:pt x="193" y="242"/>
                      <a:pt x="193" y="242"/>
                      <a:pt x="193" y="242"/>
                    </a:cubicBezTo>
                    <a:cubicBezTo>
                      <a:pt x="193" y="251"/>
                      <a:pt x="193" y="251"/>
                      <a:pt x="193" y="251"/>
                    </a:cubicBezTo>
                    <a:cubicBezTo>
                      <a:pt x="179" y="252"/>
                      <a:pt x="179" y="252"/>
                      <a:pt x="179" y="252"/>
                    </a:cubicBezTo>
                    <a:cubicBezTo>
                      <a:pt x="179" y="270"/>
                      <a:pt x="179" y="270"/>
                      <a:pt x="179" y="270"/>
                    </a:cubicBezTo>
                    <a:cubicBezTo>
                      <a:pt x="168" y="275"/>
                      <a:pt x="168" y="275"/>
                      <a:pt x="168" y="275"/>
                    </a:cubicBezTo>
                    <a:cubicBezTo>
                      <a:pt x="176" y="287"/>
                      <a:pt x="176" y="287"/>
                      <a:pt x="176" y="287"/>
                    </a:cubicBezTo>
                    <a:cubicBezTo>
                      <a:pt x="172" y="300"/>
                      <a:pt x="172" y="300"/>
                      <a:pt x="172" y="300"/>
                    </a:cubicBezTo>
                    <a:cubicBezTo>
                      <a:pt x="179" y="314"/>
                      <a:pt x="179" y="314"/>
                      <a:pt x="179" y="314"/>
                    </a:cubicBezTo>
                    <a:cubicBezTo>
                      <a:pt x="171" y="324"/>
                      <a:pt x="171" y="324"/>
                      <a:pt x="171" y="324"/>
                    </a:cubicBezTo>
                    <a:cubicBezTo>
                      <a:pt x="171" y="324"/>
                      <a:pt x="161" y="328"/>
                      <a:pt x="161" y="343"/>
                    </a:cubicBezTo>
                    <a:cubicBezTo>
                      <a:pt x="157" y="347"/>
                      <a:pt x="144" y="367"/>
                      <a:pt x="144" y="367"/>
                    </a:cubicBezTo>
                    <a:cubicBezTo>
                      <a:pt x="144" y="367"/>
                      <a:pt x="112" y="388"/>
                      <a:pt x="128" y="394"/>
                    </a:cubicBezTo>
                    <a:cubicBezTo>
                      <a:pt x="124" y="395"/>
                      <a:pt x="95" y="402"/>
                      <a:pt x="95" y="402"/>
                    </a:cubicBezTo>
                    <a:cubicBezTo>
                      <a:pt x="95" y="402"/>
                      <a:pt x="96" y="424"/>
                      <a:pt x="79" y="406"/>
                    </a:cubicBezTo>
                    <a:cubicBezTo>
                      <a:pt x="80" y="408"/>
                      <a:pt x="69" y="415"/>
                      <a:pt x="69" y="415"/>
                    </a:cubicBezTo>
                    <a:cubicBezTo>
                      <a:pt x="80" y="430"/>
                      <a:pt x="80" y="430"/>
                      <a:pt x="80" y="430"/>
                    </a:cubicBezTo>
                    <a:cubicBezTo>
                      <a:pt x="43" y="418"/>
                      <a:pt x="43" y="418"/>
                      <a:pt x="43" y="418"/>
                    </a:cubicBezTo>
                    <a:cubicBezTo>
                      <a:pt x="43" y="418"/>
                      <a:pt x="32" y="446"/>
                      <a:pt x="39" y="454"/>
                    </a:cubicBezTo>
                    <a:cubicBezTo>
                      <a:pt x="35" y="464"/>
                      <a:pt x="23" y="482"/>
                      <a:pt x="23" y="482"/>
                    </a:cubicBezTo>
                    <a:cubicBezTo>
                      <a:pt x="29" y="494"/>
                      <a:pt x="29" y="494"/>
                      <a:pt x="29" y="494"/>
                    </a:cubicBezTo>
                    <a:cubicBezTo>
                      <a:pt x="29" y="494"/>
                      <a:pt x="0" y="528"/>
                      <a:pt x="3" y="556"/>
                    </a:cubicBezTo>
                    <a:cubicBezTo>
                      <a:pt x="5" y="584"/>
                      <a:pt x="29" y="580"/>
                      <a:pt x="29" y="580"/>
                    </a:cubicBezTo>
                    <a:cubicBezTo>
                      <a:pt x="29" y="594"/>
                      <a:pt x="29" y="594"/>
                      <a:pt x="29" y="594"/>
                    </a:cubicBezTo>
                    <a:cubicBezTo>
                      <a:pt x="43" y="587"/>
                      <a:pt x="43" y="587"/>
                      <a:pt x="43" y="587"/>
                    </a:cubicBezTo>
                    <a:cubicBezTo>
                      <a:pt x="47" y="594"/>
                      <a:pt x="47" y="594"/>
                      <a:pt x="47" y="594"/>
                    </a:cubicBezTo>
                    <a:cubicBezTo>
                      <a:pt x="56" y="598"/>
                      <a:pt x="56" y="598"/>
                      <a:pt x="56" y="598"/>
                    </a:cubicBezTo>
                    <a:cubicBezTo>
                      <a:pt x="56" y="598"/>
                      <a:pt x="44" y="624"/>
                      <a:pt x="56" y="628"/>
                    </a:cubicBezTo>
                    <a:cubicBezTo>
                      <a:pt x="68" y="632"/>
                      <a:pt x="67" y="626"/>
                      <a:pt x="67" y="626"/>
                    </a:cubicBezTo>
                    <a:cubicBezTo>
                      <a:pt x="79" y="632"/>
                      <a:pt x="79" y="632"/>
                      <a:pt x="79" y="632"/>
                    </a:cubicBezTo>
                    <a:cubicBezTo>
                      <a:pt x="93" y="624"/>
                      <a:pt x="93" y="624"/>
                      <a:pt x="93" y="624"/>
                    </a:cubicBezTo>
                    <a:cubicBezTo>
                      <a:pt x="116" y="624"/>
                      <a:pt x="116" y="624"/>
                      <a:pt x="116" y="624"/>
                    </a:cubicBezTo>
                    <a:cubicBezTo>
                      <a:pt x="108" y="611"/>
                      <a:pt x="108" y="611"/>
                      <a:pt x="108" y="611"/>
                    </a:cubicBezTo>
                    <a:cubicBezTo>
                      <a:pt x="140" y="622"/>
                      <a:pt x="140" y="622"/>
                      <a:pt x="140" y="622"/>
                    </a:cubicBezTo>
                    <a:cubicBezTo>
                      <a:pt x="140" y="622"/>
                      <a:pt x="143" y="654"/>
                      <a:pt x="160" y="670"/>
                    </a:cubicBezTo>
                    <a:cubicBezTo>
                      <a:pt x="177" y="686"/>
                      <a:pt x="153" y="679"/>
                      <a:pt x="185" y="712"/>
                    </a:cubicBezTo>
                    <a:cubicBezTo>
                      <a:pt x="184" y="726"/>
                      <a:pt x="179" y="755"/>
                      <a:pt x="207" y="756"/>
                    </a:cubicBezTo>
                    <a:cubicBezTo>
                      <a:pt x="211" y="758"/>
                      <a:pt x="208" y="767"/>
                      <a:pt x="208" y="767"/>
                    </a:cubicBezTo>
                    <a:cubicBezTo>
                      <a:pt x="208" y="767"/>
                      <a:pt x="227" y="746"/>
                      <a:pt x="233" y="788"/>
                    </a:cubicBezTo>
                    <a:cubicBezTo>
                      <a:pt x="237" y="795"/>
                      <a:pt x="248" y="800"/>
                      <a:pt x="248" y="800"/>
                    </a:cubicBezTo>
                    <a:cubicBezTo>
                      <a:pt x="244" y="811"/>
                      <a:pt x="244" y="811"/>
                      <a:pt x="244" y="811"/>
                    </a:cubicBezTo>
                    <a:cubicBezTo>
                      <a:pt x="251" y="820"/>
                      <a:pt x="251" y="820"/>
                      <a:pt x="251" y="820"/>
                    </a:cubicBezTo>
                    <a:cubicBezTo>
                      <a:pt x="269" y="818"/>
                      <a:pt x="269" y="818"/>
                      <a:pt x="269" y="818"/>
                    </a:cubicBezTo>
                    <a:cubicBezTo>
                      <a:pt x="269" y="811"/>
                      <a:pt x="269" y="811"/>
                      <a:pt x="269" y="811"/>
                    </a:cubicBezTo>
                    <a:cubicBezTo>
                      <a:pt x="287" y="811"/>
                      <a:pt x="287" y="811"/>
                      <a:pt x="287" y="811"/>
                    </a:cubicBezTo>
                    <a:cubicBezTo>
                      <a:pt x="292" y="822"/>
                      <a:pt x="292" y="822"/>
                      <a:pt x="292" y="822"/>
                    </a:cubicBezTo>
                    <a:cubicBezTo>
                      <a:pt x="319" y="802"/>
                      <a:pt x="319" y="802"/>
                      <a:pt x="319" y="802"/>
                    </a:cubicBezTo>
                    <a:cubicBezTo>
                      <a:pt x="320" y="814"/>
                      <a:pt x="320" y="814"/>
                      <a:pt x="320" y="814"/>
                    </a:cubicBezTo>
                    <a:cubicBezTo>
                      <a:pt x="337" y="803"/>
                      <a:pt x="337" y="803"/>
                      <a:pt x="337" y="803"/>
                    </a:cubicBezTo>
                    <a:cubicBezTo>
                      <a:pt x="340" y="811"/>
                      <a:pt x="340" y="811"/>
                      <a:pt x="340" y="811"/>
                    </a:cubicBezTo>
                    <a:cubicBezTo>
                      <a:pt x="353" y="806"/>
                      <a:pt x="353" y="806"/>
                      <a:pt x="353" y="806"/>
                    </a:cubicBezTo>
                    <a:cubicBezTo>
                      <a:pt x="363" y="812"/>
                      <a:pt x="363" y="812"/>
                      <a:pt x="363" y="812"/>
                    </a:cubicBezTo>
                    <a:cubicBezTo>
                      <a:pt x="368" y="794"/>
                      <a:pt x="368" y="794"/>
                      <a:pt x="368" y="794"/>
                    </a:cubicBezTo>
                    <a:cubicBezTo>
                      <a:pt x="368" y="794"/>
                      <a:pt x="392" y="804"/>
                      <a:pt x="404" y="802"/>
                    </a:cubicBezTo>
                    <a:cubicBezTo>
                      <a:pt x="416" y="799"/>
                      <a:pt x="411" y="790"/>
                      <a:pt x="436" y="803"/>
                    </a:cubicBezTo>
                    <a:cubicBezTo>
                      <a:pt x="441" y="812"/>
                      <a:pt x="483" y="802"/>
                      <a:pt x="483" y="802"/>
                    </a:cubicBezTo>
                    <a:cubicBezTo>
                      <a:pt x="483" y="802"/>
                      <a:pt x="505" y="759"/>
                      <a:pt x="539" y="771"/>
                    </a:cubicBezTo>
                    <a:cubicBezTo>
                      <a:pt x="555" y="760"/>
                      <a:pt x="555" y="760"/>
                      <a:pt x="555" y="760"/>
                    </a:cubicBezTo>
                    <a:cubicBezTo>
                      <a:pt x="555" y="760"/>
                      <a:pt x="545" y="738"/>
                      <a:pt x="552" y="732"/>
                    </a:cubicBezTo>
                    <a:cubicBezTo>
                      <a:pt x="559" y="727"/>
                      <a:pt x="559" y="719"/>
                      <a:pt x="559" y="719"/>
                    </a:cubicBezTo>
                    <a:cubicBezTo>
                      <a:pt x="559" y="719"/>
                      <a:pt x="577" y="700"/>
                      <a:pt x="581" y="700"/>
                    </a:cubicBezTo>
                    <a:cubicBezTo>
                      <a:pt x="585" y="700"/>
                      <a:pt x="600" y="722"/>
                      <a:pt x="608" y="706"/>
                    </a:cubicBezTo>
                    <a:cubicBezTo>
                      <a:pt x="615" y="691"/>
                      <a:pt x="625" y="683"/>
                      <a:pt x="650" y="684"/>
                    </a:cubicBezTo>
                    <a:cubicBezTo>
                      <a:pt x="649" y="683"/>
                      <a:pt x="649" y="682"/>
                      <a:pt x="648" y="682"/>
                    </a:cubicBezTo>
                    <a:cubicBezTo>
                      <a:pt x="661" y="667"/>
                      <a:pt x="645" y="650"/>
                      <a:pt x="651" y="644"/>
                    </a:cubicBezTo>
                    <a:cubicBezTo>
                      <a:pt x="656" y="639"/>
                      <a:pt x="655" y="607"/>
                      <a:pt x="655" y="607"/>
                    </a:cubicBezTo>
                    <a:cubicBezTo>
                      <a:pt x="645" y="599"/>
                      <a:pt x="645" y="599"/>
                      <a:pt x="645" y="599"/>
                    </a:cubicBezTo>
                    <a:cubicBezTo>
                      <a:pt x="645" y="555"/>
                      <a:pt x="636" y="535"/>
                      <a:pt x="636" y="535"/>
                    </a:cubicBezTo>
                    <a:cubicBezTo>
                      <a:pt x="611" y="514"/>
                      <a:pt x="611" y="514"/>
                      <a:pt x="611" y="514"/>
                    </a:cubicBezTo>
                    <a:cubicBezTo>
                      <a:pt x="625" y="479"/>
                      <a:pt x="625" y="479"/>
                      <a:pt x="625" y="479"/>
                    </a:cubicBezTo>
                    <a:cubicBezTo>
                      <a:pt x="609" y="440"/>
                      <a:pt x="609" y="440"/>
                      <a:pt x="609" y="440"/>
                    </a:cubicBezTo>
                    <a:cubicBezTo>
                      <a:pt x="632" y="435"/>
                      <a:pt x="632" y="435"/>
                      <a:pt x="632" y="435"/>
                    </a:cubicBezTo>
                    <a:cubicBezTo>
                      <a:pt x="624" y="423"/>
                      <a:pt x="624" y="423"/>
                      <a:pt x="624" y="423"/>
                    </a:cubicBezTo>
                    <a:cubicBezTo>
                      <a:pt x="628" y="410"/>
                      <a:pt x="628" y="410"/>
                      <a:pt x="628" y="410"/>
                    </a:cubicBezTo>
                    <a:cubicBezTo>
                      <a:pt x="615" y="388"/>
                      <a:pt x="615" y="388"/>
                      <a:pt x="615" y="388"/>
                    </a:cubicBezTo>
                    <a:cubicBezTo>
                      <a:pt x="605" y="390"/>
                      <a:pt x="605" y="390"/>
                      <a:pt x="605" y="390"/>
                    </a:cubicBezTo>
                    <a:cubicBezTo>
                      <a:pt x="607" y="374"/>
                      <a:pt x="607" y="374"/>
                      <a:pt x="607" y="374"/>
                    </a:cubicBezTo>
                    <a:cubicBezTo>
                      <a:pt x="641" y="364"/>
                      <a:pt x="641" y="364"/>
                      <a:pt x="641" y="364"/>
                    </a:cubicBezTo>
                    <a:cubicBezTo>
                      <a:pt x="641" y="340"/>
                      <a:pt x="641" y="340"/>
                      <a:pt x="641" y="340"/>
                    </a:cubicBezTo>
                    <a:cubicBezTo>
                      <a:pt x="636" y="340"/>
                      <a:pt x="636" y="340"/>
                      <a:pt x="636" y="340"/>
                    </a:cubicBezTo>
                    <a:cubicBezTo>
                      <a:pt x="639" y="327"/>
                      <a:pt x="639" y="327"/>
                      <a:pt x="639" y="327"/>
                    </a:cubicBezTo>
                    <a:cubicBezTo>
                      <a:pt x="648" y="326"/>
                      <a:pt x="648" y="326"/>
                      <a:pt x="648" y="326"/>
                    </a:cubicBezTo>
                    <a:cubicBezTo>
                      <a:pt x="664" y="303"/>
                      <a:pt x="664" y="303"/>
                      <a:pt x="664" y="303"/>
                    </a:cubicBezTo>
                    <a:cubicBezTo>
                      <a:pt x="663" y="284"/>
                      <a:pt x="663" y="284"/>
                      <a:pt x="663" y="284"/>
                    </a:cubicBezTo>
                    <a:cubicBezTo>
                      <a:pt x="633" y="274"/>
                      <a:pt x="644" y="254"/>
                      <a:pt x="644" y="254"/>
                    </a:cubicBezTo>
                    <a:cubicBezTo>
                      <a:pt x="625" y="245"/>
                      <a:pt x="625" y="245"/>
                      <a:pt x="625" y="245"/>
                    </a:cubicBezTo>
                    <a:cubicBezTo>
                      <a:pt x="625" y="245"/>
                      <a:pt x="624" y="246"/>
                      <a:pt x="624" y="246"/>
                    </a:cubicBezTo>
                    <a:cubicBezTo>
                      <a:pt x="616" y="254"/>
                      <a:pt x="593" y="258"/>
                      <a:pt x="593" y="258"/>
                    </a:cubicBezTo>
                    <a:cubicBezTo>
                      <a:pt x="593" y="247"/>
                      <a:pt x="593" y="247"/>
                      <a:pt x="593" y="247"/>
                    </a:cubicBezTo>
                    <a:cubicBezTo>
                      <a:pt x="581" y="247"/>
                      <a:pt x="581" y="247"/>
                      <a:pt x="581" y="247"/>
                    </a:cubicBezTo>
                    <a:cubicBezTo>
                      <a:pt x="581" y="255"/>
                      <a:pt x="581" y="255"/>
                      <a:pt x="581" y="255"/>
                    </a:cubicBezTo>
                    <a:cubicBezTo>
                      <a:pt x="526" y="254"/>
                      <a:pt x="526" y="254"/>
                      <a:pt x="526" y="254"/>
                    </a:cubicBezTo>
                    <a:cubicBezTo>
                      <a:pt x="523" y="254"/>
                      <a:pt x="520" y="254"/>
                      <a:pt x="520" y="254"/>
                    </a:cubicBezTo>
                    <a:cubicBezTo>
                      <a:pt x="526" y="254"/>
                      <a:pt x="526" y="254"/>
                      <a:pt x="526" y="254"/>
                    </a:cubicBezTo>
                    <a:cubicBezTo>
                      <a:pt x="530" y="253"/>
                      <a:pt x="536" y="250"/>
                      <a:pt x="537" y="239"/>
                    </a:cubicBezTo>
                    <a:cubicBezTo>
                      <a:pt x="540" y="220"/>
                      <a:pt x="513" y="214"/>
                      <a:pt x="513" y="214"/>
                    </a:cubicBezTo>
                    <a:cubicBezTo>
                      <a:pt x="509" y="198"/>
                      <a:pt x="509" y="198"/>
                      <a:pt x="509" y="198"/>
                    </a:cubicBezTo>
                    <a:cubicBezTo>
                      <a:pt x="507" y="199"/>
                      <a:pt x="507" y="199"/>
                      <a:pt x="507" y="199"/>
                    </a:cubicBezTo>
                    <a:cubicBezTo>
                      <a:pt x="491" y="194"/>
                      <a:pt x="491" y="194"/>
                      <a:pt x="491" y="194"/>
                    </a:cubicBezTo>
                    <a:cubicBezTo>
                      <a:pt x="477" y="202"/>
                      <a:pt x="477" y="202"/>
                      <a:pt x="477" y="202"/>
                    </a:cubicBezTo>
                    <a:cubicBezTo>
                      <a:pt x="475" y="191"/>
                      <a:pt x="475" y="191"/>
                      <a:pt x="475" y="191"/>
                    </a:cubicBezTo>
                    <a:cubicBezTo>
                      <a:pt x="468" y="188"/>
                      <a:pt x="468" y="188"/>
                      <a:pt x="468" y="188"/>
                    </a:cubicBezTo>
                    <a:cubicBezTo>
                      <a:pt x="461" y="202"/>
                      <a:pt x="461" y="202"/>
                      <a:pt x="461" y="202"/>
                    </a:cubicBezTo>
                    <a:cubicBezTo>
                      <a:pt x="461" y="202"/>
                      <a:pt x="451" y="202"/>
                      <a:pt x="443" y="202"/>
                    </a:cubicBezTo>
                    <a:cubicBezTo>
                      <a:pt x="435" y="202"/>
                      <a:pt x="428" y="212"/>
                      <a:pt x="419" y="204"/>
                    </a:cubicBezTo>
                    <a:cubicBezTo>
                      <a:pt x="409" y="196"/>
                      <a:pt x="421" y="170"/>
                      <a:pt x="421" y="170"/>
                    </a:cubicBezTo>
                    <a:cubicBezTo>
                      <a:pt x="411" y="168"/>
                      <a:pt x="411" y="168"/>
                      <a:pt x="411" y="168"/>
                    </a:cubicBezTo>
                    <a:cubicBezTo>
                      <a:pt x="411" y="168"/>
                      <a:pt x="409" y="155"/>
                      <a:pt x="405" y="154"/>
                    </a:cubicBezTo>
                    <a:cubicBezTo>
                      <a:pt x="403" y="162"/>
                      <a:pt x="379" y="147"/>
                      <a:pt x="379" y="147"/>
                    </a:cubicBezTo>
                    <a:cubicBezTo>
                      <a:pt x="377" y="122"/>
                      <a:pt x="377" y="122"/>
                      <a:pt x="377" y="122"/>
                    </a:cubicBezTo>
                    <a:cubicBezTo>
                      <a:pt x="364" y="115"/>
                      <a:pt x="364" y="115"/>
                      <a:pt x="364" y="115"/>
                    </a:cubicBezTo>
                    <a:cubicBezTo>
                      <a:pt x="365" y="103"/>
                      <a:pt x="365" y="103"/>
                      <a:pt x="365" y="103"/>
                    </a:cubicBezTo>
                    <a:cubicBezTo>
                      <a:pt x="356" y="100"/>
                      <a:pt x="356" y="100"/>
                      <a:pt x="356" y="100"/>
                    </a:cubicBezTo>
                    <a:cubicBezTo>
                      <a:pt x="341" y="88"/>
                      <a:pt x="341" y="88"/>
                      <a:pt x="341" y="88"/>
                    </a:cubicBezTo>
                    <a:cubicBezTo>
                      <a:pt x="343" y="78"/>
                      <a:pt x="343" y="78"/>
                      <a:pt x="343" y="78"/>
                    </a:cubicBezTo>
                    <a:cubicBezTo>
                      <a:pt x="333" y="74"/>
                      <a:pt x="333" y="74"/>
                      <a:pt x="333" y="74"/>
                    </a:cubicBezTo>
                    <a:cubicBezTo>
                      <a:pt x="344" y="59"/>
                      <a:pt x="344" y="59"/>
                      <a:pt x="344" y="59"/>
                    </a:cubicBezTo>
                    <a:cubicBezTo>
                      <a:pt x="337" y="52"/>
                      <a:pt x="337" y="52"/>
                      <a:pt x="337" y="52"/>
                    </a:cubicBezTo>
                    <a:cubicBezTo>
                      <a:pt x="339" y="28"/>
                      <a:pt x="339" y="28"/>
                      <a:pt x="339" y="28"/>
                    </a:cubicBezTo>
                    <a:cubicBezTo>
                      <a:pt x="331" y="23"/>
                      <a:pt x="331" y="23"/>
                      <a:pt x="331" y="23"/>
                    </a:cubicBezTo>
                    <a:cubicBezTo>
                      <a:pt x="335" y="14"/>
                      <a:pt x="335" y="14"/>
                      <a:pt x="335" y="14"/>
                    </a:cubicBezTo>
                    <a:cubicBezTo>
                      <a:pt x="320" y="0"/>
                      <a:pt x="320" y="0"/>
                      <a:pt x="320" y="0"/>
                    </a:cubicBezTo>
                    <a:cubicBezTo>
                      <a:pt x="312" y="3"/>
                      <a:pt x="312" y="3"/>
                      <a:pt x="312" y="3"/>
                    </a:cubicBezTo>
                    <a:cubicBezTo>
                      <a:pt x="312" y="3"/>
                      <a:pt x="313" y="10"/>
                      <a:pt x="312" y="15"/>
                    </a:cubicBezTo>
                    <a:cubicBezTo>
                      <a:pt x="311" y="20"/>
                      <a:pt x="292" y="28"/>
                      <a:pt x="292" y="28"/>
                    </a:cubicBezTo>
                    <a:cubicBezTo>
                      <a:pt x="292" y="28"/>
                      <a:pt x="293" y="40"/>
                      <a:pt x="287" y="51"/>
                    </a:cubicBezTo>
                    <a:cubicBezTo>
                      <a:pt x="280" y="62"/>
                      <a:pt x="236" y="47"/>
                      <a:pt x="236" y="47"/>
                    </a:cubicBezTo>
                    <a:cubicBezTo>
                      <a:pt x="235" y="58"/>
                      <a:pt x="235" y="58"/>
                      <a:pt x="235" y="58"/>
                    </a:cubicBezTo>
                    <a:cubicBezTo>
                      <a:pt x="235" y="58"/>
                      <a:pt x="227" y="58"/>
                      <a:pt x="225" y="54"/>
                    </a:cubicBezTo>
                    <a:cubicBezTo>
                      <a:pt x="203" y="76"/>
                      <a:pt x="195" y="64"/>
                      <a:pt x="191" y="64"/>
                    </a:cubicBezTo>
                    <a:cubicBezTo>
                      <a:pt x="187" y="74"/>
                      <a:pt x="182" y="78"/>
                      <a:pt x="176" y="79"/>
                    </a:cubicBezTo>
                    <a:cubicBezTo>
                      <a:pt x="177" y="98"/>
                      <a:pt x="177" y="98"/>
                      <a:pt x="177" y="98"/>
                    </a:cubicBezTo>
                    <a:cubicBezTo>
                      <a:pt x="177" y="98"/>
                      <a:pt x="205" y="126"/>
                      <a:pt x="205" y="13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0" name="Basse Normandie" descr="© INSCALE GmbH, 05.05.2010&#10;http://www.presentationload.com/">
                <a:extLst>
                  <a:ext uri="{FF2B5EF4-FFF2-40B4-BE49-F238E27FC236}">
                    <a16:creationId xmlns:a16="http://schemas.microsoft.com/office/drawing/2014/main" id="{96C755B5-878D-43B1-9DB9-C3827DF7190E}"/>
                  </a:ext>
                </a:extLst>
              </p:cNvPr>
              <p:cNvSpPr>
                <a:spLocks/>
              </p:cNvSpPr>
              <p:nvPr/>
            </p:nvSpPr>
            <p:spPr bwMode="gray">
              <a:xfrm>
                <a:off x="801" y="585"/>
                <a:ext cx="657" cy="573"/>
              </a:xfrm>
              <a:custGeom>
                <a:avLst/>
                <a:gdLst/>
                <a:ahLst/>
                <a:cxnLst>
                  <a:cxn ang="0">
                    <a:pos x="197" y="413"/>
                  </a:cxn>
                  <a:cxn ang="0">
                    <a:pos x="245" y="437"/>
                  </a:cxn>
                  <a:cxn ang="0">
                    <a:pos x="265" y="435"/>
                  </a:cxn>
                  <a:cxn ang="0">
                    <a:pos x="315" y="422"/>
                  </a:cxn>
                  <a:cxn ang="0">
                    <a:pos x="336" y="415"/>
                  </a:cxn>
                  <a:cxn ang="0">
                    <a:pos x="348" y="405"/>
                  </a:cxn>
                  <a:cxn ang="0">
                    <a:pos x="373" y="439"/>
                  </a:cxn>
                  <a:cxn ang="0">
                    <a:pos x="395" y="465"/>
                  </a:cxn>
                  <a:cxn ang="0">
                    <a:pos x="485" y="481"/>
                  </a:cxn>
                  <a:cxn ang="0">
                    <a:pos x="512" y="513"/>
                  </a:cxn>
                  <a:cxn ang="0">
                    <a:pos x="561" y="531"/>
                  </a:cxn>
                  <a:cxn ang="0">
                    <a:pos x="573" y="522"/>
                  </a:cxn>
                  <a:cxn ang="0">
                    <a:pos x="597" y="467"/>
                  </a:cxn>
                  <a:cxn ang="0">
                    <a:pos x="601" y="439"/>
                  </a:cxn>
                  <a:cxn ang="0">
                    <a:pos x="577" y="393"/>
                  </a:cxn>
                  <a:cxn ang="0">
                    <a:pos x="563" y="374"/>
                  </a:cxn>
                  <a:cxn ang="0">
                    <a:pos x="536" y="325"/>
                  </a:cxn>
                  <a:cxn ang="0">
                    <a:pos x="496" y="303"/>
                  </a:cxn>
                  <a:cxn ang="0">
                    <a:pos x="496" y="259"/>
                  </a:cxn>
                  <a:cxn ang="0">
                    <a:pos x="495" y="246"/>
                  </a:cxn>
                  <a:cxn ang="0">
                    <a:pos x="491" y="218"/>
                  </a:cxn>
                  <a:cxn ang="0">
                    <a:pos x="477" y="186"/>
                  </a:cxn>
                  <a:cxn ang="0">
                    <a:pos x="463" y="93"/>
                  </a:cxn>
                  <a:cxn ang="0">
                    <a:pos x="357" y="137"/>
                  </a:cxn>
                  <a:cxn ang="0">
                    <a:pos x="239" y="114"/>
                  </a:cxn>
                  <a:cxn ang="0">
                    <a:pos x="168" y="123"/>
                  </a:cxn>
                  <a:cxn ang="0">
                    <a:pos x="157" y="102"/>
                  </a:cxn>
                  <a:cxn ang="0">
                    <a:pos x="130" y="51"/>
                  </a:cxn>
                  <a:cxn ang="0">
                    <a:pos x="140" y="11"/>
                  </a:cxn>
                  <a:cxn ang="0">
                    <a:pos x="91" y="21"/>
                  </a:cxn>
                  <a:cxn ang="0">
                    <a:pos x="1" y="0"/>
                  </a:cxn>
                  <a:cxn ang="0">
                    <a:pos x="16" y="23"/>
                  </a:cxn>
                  <a:cxn ang="0">
                    <a:pos x="22" y="85"/>
                  </a:cxn>
                  <a:cxn ang="0">
                    <a:pos x="66" y="158"/>
                  </a:cxn>
                  <a:cxn ang="0">
                    <a:pos x="73" y="216"/>
                  </a:cxn>
                  <a:cxn ang="0">
                    <a:pos x="78" y="239"/>
                  </a:cxn>
                  <a:cxn ang="0">
                    <a:pos x="69" y="294"/>
                  </a:cxn>
                  <a:cxn ang="0">
                    <a:pos x="83" y="331"/>
                  </a:cxn>
                  <a:cxn ang="0">
                    <a:pos x="58" y="332"/>
                  </a:cxn>
                  <a:cxn ang="0">
                    <a:pos x="136" y="402"/>
                  </a:cxn>
                </a:cxnLst>
                <a:rect l="0" t="0" r="r" b="b"/>
                <a:pathLst>
                  <a:path w="609" h="531">
                    <a:moveTo>
                      <a:pt x="136" y="402"/>
                    </a:moveTo>
                    <a:cubicBezTo>
                      <a:pt x="173" y="418"/>
                      <a:pt x="187" y="426"/>
                      <a:pt x="197" y="413"/>
                    </a:cubicBezTo>
                    <a:cubicBezTo>
                      <a:pt x="207" y="418"/>
                      <a:pt x="220" y="422"/>
                      <a:pt x="220" y="422"/>
                    </a:cubicBezTo>
                    <a:cubicBezTo>
                      <a:pt x="220" y="422"/>
                      <a:pt x="245" y="446"/>
                      <a:pt x="245" y="437"/>
                    </a:cubicBezTo>
                    <a:cubicBezTo>
                      <a:pt x="245" y="427"/>
                      <a:pt x="261" y="426"/>
                      <a:pt x="261" y="426"/>
                    </a:cubicBezTo>
                    <a:cubicBezTo>
                      <a:pt x="265" y="435"/>
                      <a:pt x="265" y="435"/>
                      <a:pt x="265" y="435"/>
                    </a:cubicBezTo>
                    <a:cubicBezTo>
                      <a:pt x="265" y="435"/>
                      <a:pt x="288" y="435"/>
                      <a:pt x="293" y="421"/>
                    </a:cubicBezTo>
                    <a:cubicBezTo>
                      <a:pt x="300" y="421"/>
                      <a:pt x="315" y="422"/>
                      <a:pt x="315" y="422"/>
                    </a:cubicBezTo>
                    <a:cubicBezTo>
                      <a:pt x="321" y="427"/>
                      <a:pt x="321" y="427"/>
                      <a:pt x="321" y="427"/>
                    </a:cubicBezTo>
                    <a:cubicBezTo>
                      <a:pt x="336" y="415"/>
                      <a:pt x="336" y="415"/>
                      <a:pt x="336" y="415"/>
                    </a:cubicBezTo>
                    <a:cubicBezTo>
                      <a:pt x="336" y="415"/>
                      <a:pt x="344" y="426"/>
                      <a:pt x="348" y="418"/>
                    </a:cubicBezTo>
                    <a:cubicBezTo>
                      <a:pt x="352" y="410"/>
                      <a:pt x="344" y="405"/>
                      <a:pt x="348" y="405"/>
                    </a:cubicBezTo>
                    <a:cubicBezTo>
                      <a:pt x="352" y="405"/>
                      <a:pt x="375" y="414"/>
                      <a:pt x="375" y="414"/>
                    </a:cubicBezTo>
                    <a:cubicBezTo>
                      <a:pt x="375" y="414"/>
                      <a:pt x="361" y="439"/>
                      <a:pt x="373" y="439"/>
                    </a:cubicBezTo>
                    <a:cubicBezTo>
                      <a:pt x="385" y="439"/>
                      <a:pt x="391" y="438"/>
                      <a:pt x="391" y="438"/>
                    </a:cubicBezTo>
                    <a:cubicBezTo>
                      <a:pt x="395" y="465"/>
                      <a:pt x="395" y="465"/>
                      <a:pt x="395" y="465"/>
                    </a:cubicBezTo>
                    <a:cubicBezTo>
                      <a:pt x="415" y="465"/>
                      <a:pt x="415" y="465"/>
                      <a:pt x="415" y="465"/>
                    </a:cubicBezTo>
                    <a:cubicBezTo>
                      <a:pt x="415" y="465"/>
                      <a:pt x="477" y="390"/>
                      <a:pt x="485" y="481"/>
                    </a:cubicBezTo>
                    <a:cubicBezTo>
                      <a:pt x="492" y="486"/>
                      <a:pt x="505" y="493"/>
                      <a:pt x="505" y="493"/>
                    </a:cubicBezTo>
                    <a:cubicBezTo>
                      <a:pt x="512" y="513"/>
                      <a:pt x="512" y="513"/>
                      <a:pt x="512" y="513"/>
                    </a:cubicBezTo>
                    <a:cubicBezTo>
                      <a:pt x="537" y="507"/>
                      <a:pt x="537" y="507"/>
                      <a:pt x="537" y="507"/>
                    </a:cubicBezTo>
                    <a:cubicBezTo>
                      <a:pt x="561" y="531"/>
                      <a:pt x="561" y="531"/>
                      <a:pt x="561" y="531"/>
                    </a:cubicBezTo>
                    <a:cubicBezTo>
                      <a:pt x="573" y="529"/>
                      <a:pt x="573" y="529"/>
                      <a:pt x="573" y="529"/>
                    </a:cubicBezTo>
                    <a:cubicBezTo>
                      <a:pt x="573" y="522"/>
                      <a:pt x="573" y="522"/>
                      <a:pt x="573" y="522"/>
                    </a:cubicBezTo>
                    <a:cubicBezTo>
                      <a:pt x="573" y="522"/>
                      <a:pt x="565" y="495"/>
                      <a:pt x="568" y="485"/>
                    </a:cubicBezTo>
                    <a:cubicBezTo>
                      <a:pt x="571" y="474"/>
                      <a:pt x="597" y="467"/>
                      <a:pt x="597" y="467"/>
                    </a:cubicBezTo>
                    <a:cubicBezTo>
                      <a:pt x="609" y="453"/>
                      <a:pt x="609" y="453"/>
                      <a:pt x="609" y="453"/>
                    </a:cubicBezTo>
                    <a:cubicBezTo>
                      <a:pt x="601" y="439"/>
                      <a:pt x="601" y="439"/>
                      <a:pt x="601" y="439"/>
                    </a:cubicBezTo>
                    <a:cubicBezTo>
                      <a:pt x="601" y="439"/>
                      <a:pt x="605" y="431"/>
                      <a:pt x="605" y="426"/>
                    </a:cubicBezTo>
                    <a:cubicBezTo>
                      <a:pt x="605" y="421"/>
                      <a:pt x="577" y="393"/>
                      <a:pt x="577" y="393"/>
                    </a:cubicBezTo>
                    <a:cubicBezTo>
                      <a:pt x="576" y="374"/>
                      <a:pt x="576" y="374"/>
                      <a:pt x="576" y="374"/>
                    </a:cubicBezTo>
                    <a:cubicBezTo>
                      <a:pt x="569" y="376"/>
                      <a:pt x="563" y="374"/>
                      <a:pt x="563" y="374"/>
                    </a:cubicBezTo>
                    <a:cubicBezTo>
                      <a:pt x="563" y="374"/>
                      <a:pt x="556" y="363"/>
                      <a:pt x="560" y="363"/>
                    </a:cubicBezTo>
                    <a:cubicBezTo>
                      <a:pt x="581" y="349"/>
                      <a:pt x="536" y="325"/>
                      <a:pt x="536" y="325"/>
                    </a:cubicBezTo>
                    <a:cubicBezTo>
                      <a:pt x="529" y="305"/>
                      <a:pt x="529" y="305"/>
                      <a:pt x="529" y="305"/>
                    </a:cubicBezTo>
                    <a:cubicBezTo>
                      <a:pt x="496" y="303"/>
                      <a:pt x="496" y="303"/>
                      <a:pt x="496" y="303"/>
                    </a:cubicBezTo>
                    <a:cubicBezTo>
                      <a:pt x="496" y="303"/>
                      <a:pt x="483" y="299"/>
                      <a:pt x="489" y="294"/>
                    </a:cubicBezTo>
                    <a:cubicBezTo>
                      <a:pt x="496" y="289"/>
                      <a:pt x="496" y="259"/>
                      <a:pt x="496" y="259"/>
                    </a:cubicBezTo>
                    <a:cubicBezTo>
                      <a:pt x="487" y="247"/>
                      <a:pt x="487" y="247"/>
                      <a:pt x="487" y="247"/>
                    </a:cubicBezTo>
                    <a:cubicBezTo>
                      <a:pt x="495" y="246"/>
                      <a:pt x="495" y="246"/>
                      <a:pt x="495" y="246"/>
                    </a:cubicBezTo>
                    <a:cubicBezTo>
                      <a:pt x="496" y="226"/>
                      <a:pt x="496" y="226"/>
                      <a:pt x="496" y="226"/>
                    </a:cubicBezTo>
                    <a:cubicBezTo>
                      <a:pt x="491" y="218"/>
                      <a:pt x="491" y="218"/>
                      <a:pt x="491" y="218"/>
                    </a:cubicBezTo>
                    <a:cubicBezTo>
                      <a:pt x="491" y="203"/>
                      <a:pt x="491" y="203"/>
                      <a:pt x="491" y="203"/>
                    </a:cubicBezTo>
                    <a:cubicBezTo>
                      <a:pt x="491" y="203"/>
                      <a:pt x="475" y="193"/>
                      <a:pt x="477" y="186"/>
                    </a:cubicBezTo>
                    <a:cubicBezTo>
                      <a:pt x="508" y="175"/>
                      <a:pt x="476" y="178"/>
                      <a:pt x="476" y="178"/>
                    </a:cubicBezTo>
                    <a:cubicBezTo>
                      <a:pt x="463" y="93"/>
                      <a:pt x="463" y="93"/>
                      <a:pt x="463" y="93"/>
                    </a:cubicBezTo>
                    <a:cubicBezTo>
                      <a:pt x="458" y="95"/>
                      <a:pt x="436" y="105"/>
                      <a:pt x="435" y="102"/>
                    </a:cubicBezTo>
                    <a:cubicBezTo>
                      <a:pt x="418" y="138"/>
                      <a:pt x="357" y="137"/>
                      <a:pt x="357" y="137"/>
                    </a:cubicBezTo>
                    <a:cubicBezTo>
                      <a:pt x="325" y="122"/>
                      <a:pt x="325" y="122"/>
                      <a:pt x="325" y="122"/>
                    </a:cubicBezTo>
                    <a:cubicBezTo>
                      <a:pt x="325" y="122"/>
                      <a:pt x="286" y="117"/>
                      <a:pt x="239" y="114"/>
                    </a:cubicBezTo>
                    <a:cubicBezTo>
                      <a:pt x="194" y="93"/>
                      <a:pt x="170" y="107"/>
                      <a:pt x="170" y="107"/>
                    </a:cubicBezTo>
                    <a:cubicBezTo>
                      <a:pt x="168" y="123"/>
                      <a:pt x="168" y="123"/>
                      <a:pt x="168" y="123"/>
                    </a:cubicBezTo>
                    <a:cubicBezTo>
                      <a:pt x="160" y="116"/>
                      <a:pt x="160" y="116"/>
                      <a:pt x="160" y="116"/>
                    </a:cubicBezTo>
                    <a:cubicBezTo>
                      <a:pt x="160" y="116"/>
                      <a:pt x="150" y="108"/>
                      <a:pt x="157" y="102"/>
                    </a:cubicBezTo>
                    <a:cubicBezTo>
                      <a:pt x="164" y="96"/>
                      <a:pt x="152" y="88"/>
                      <a:pt x="152" y="88"/>
                    </a:cubicBezTo>
                    <a:cubicBezTo>
                      <a:pt x="130" y="51"/>
                      <a:pt x="130" y="51"/>
                      <a:pt x="130" y="51"/>
                    </a:cubicBezTo>
                    <a:cubicBezTo>
                      <a:pt x="150" y="35"/>
                      <a:pt x="150" y="35"/>
                      <a:pt x="150" y="35"/>
                    </a:cubicBezTo>
                    <a:cubicBezTo>
                      <a:pt x="140" y="11"/>
                      <a:pt x="140" y="11"/>
                      <a:pt x="140" y="11"/>
                    </a:cubicBezTo>
                    <a:cubicBezTo>
                      <a:pt x="104" y="7"/>
                      <a:pt x="104" y="7"/>
                      <a:pt x="104" y="7"/>
                    </a:cubicBezTo>
                    <a:cubicBezTo>
                      <a:pt x="91" y="21"/>
                      <a:pt x="91" y="21"/>
                      <a:pt x="91" y="21"/>
                    </a:cubicBezTo>
                    <a:cubicBezTo>
                      <a:pt x="91" y="21"/>
                      <a:pt x="82" y="30"/>
                      <a:pt x="59" y="24"/>
                    </a:cubicBezTo>
                    <a:cubicBezTo>
                      <a:pt x="36" y="18"/>
                      <a:pt x="1" y="0"/>
                      <a:pt x="1" y="0"/>
                    </a:cubicBezTo>
                    <a:cubicBezTo>
                      <a:pt x="0" y="16"/>
                      <a:pt x="0" y="16"/>
                      <a:pt x="0" y="16"/>
                    </a:cubicBezTo>
                    <a:cubicBezTo>
                      <a:pt x="0" y="16"/>
                      <a:pt x="4" y="16"/>
                      <a:pt x="16" y="23"/>
                    </a:cubicBezTo>
                    <a:cubicBezTo>
                      <a:pt x="28" y="30"/>
                      <a:pt x="12" y="63"/>
                      <a:pt x="12" y="63"/>
                    </a:cubicBezTo>
                    <a:cubicBezTo>
                      <a:pt x="12" y="63"/>
                      <a:pt x="21" y="81"/>
                      <a:pt x="22" y="85"/>
                    </a:cubicBezTo>
                    <a:cubicBezTo>
                      <a:pt x="22" y="112"/>
                      <a:pt x="34" y="108"/>
                      <a:pt x="34" y="108"/>
                    </a:cubicBezTo>
                    <a:cubicBezTo>
                      <a:pt x="66" y="158"/>
                      <a:pt x="66" y="158"/>
                      <a:pt x="66" y="158"/>
                    </a:cubicBezTo>
                    <a:cubicBezTo>
                      <a:pt x="65" y="214"/>
                      <a:pt x="65" y="214"/>
                      <a:pt x="65" y="214"/>
                    </a:cubicBezTo>
                    <a:cubicBezTo>
                      <a:pt x="73" y="216"/>
                      <a:pt x="73" y="216"/>
                      <a:pt x="73" y="216"/>
                    </a:cubicBezTo>
                    <a:cubicBezTo>
                      <a:pt x="69" y="232"/>
                      <a:pt x="69" y="232"/>
                      <a:pt x="69" y="232"/>
                    </a:cubicBezTo>
                    <a:cubicBezTo>
                      <a:pt x="78" y="239"/>
                      <a:pt x="78" y="239"/>
                      <a:pt x="78" y="239"/>
                    </a:cubicBezTo>
                    <a:cubicBezTo>
                      <a:pt x="70" y="245"/>
                      <a:pt x="70" y="245"/>
                      <a:pt x="70" y="245"/>
                    </a:cubicBezTo>
                    <a:cubicBezTo>
                      <a:pt x="70" y="245"/>
                      <a:pt x="66" y="280"/>
                      <a:pt x="69" y="294"/>
                    </a:cubicBezTo>
                    <a:cubicBezTo>
                      <a:pt x="71" y="315"/>
                      <a:pt x="108" y="326"/>
                      <a:pt x="108" y="326"/>
                    </a:cubicBezTo>
                    <a:cubicBezTo>
                      <a:pt x="83" y="331"/>
                      <a:pt x="83" y="331"/>
                      <a:pt x="83" y="331"/>
                    </a:cubicBezTo>
                    <a:cubicBezTo>
                      <a:pt x="83" y="331"/>
                      <a:pt x="75" y="328"/>
                      <a:pt x="68" y="329"/>
                    </a:cubicBezTo>
                    <a:cubicBezTo>
                      <a:pt x="66" y="330"/>
                      <a:pt x="62" y="331"/>
                      <a:pt x="58" y="332"/>
                    </a:cubicBezTo>
                    <a:cubicBezTo>
                      <a:pt x="77" y="377"/>
                      <a:pt x="77" y="377"/>
                      <a:pt x="77" y="377"/>
                    </a:cubicBezTo>
                    <a:cubicBezTo>
                      <a:pt x="77" y="377"/>
                      <a:pt x="87" y="470"/>
                      <a:pt x="136" y="402"/>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1" name="Bretagne" descr="© INSCALE GmbH, 05.05.2010&#10;http://www.presentationload.com/">
                <a:extLst>
                  <a:ext uri="{FF2B5EF4-FFF2-40B4-BE49-F238E27FC236}">
                    <a16:creationId xmlns:a16="http://schemas.microsoft.com/office/drawing/2014/main" id="{F823883D-B803-4C7E-982B-A6EA279E0036}"/>
                  </a:ext>
                </a:extLst>
              </p:cNvPr>
              <p:cNvSpPr>
                <a:spLocks noEditPoints="1"/>
              </p:cNvSpPr>
              <p:nvPr/>
            </p:nvSpPr>
            <p:spPr bwMode="gray">
              <a:xfrm>
                <a:off x="48" y="857"/>
                <a:ext cx="953" cy="536"/>
              </a:xfrm>
              <a:custGeom>
                <a:avLst/>
                <a:gdLst/>
                <a:ahLst/>
                <a:cxnLst>
                  <a:cxn ang="0">
                    <a:pos x="459" y="18"/>
                  </a:cxn>
                  <a:cxn ang="0">
                    <a:pos x="5" y="133"/>
                  </a:cxn>
                  <a:cxn ang="0">
                    <a:pos x="355" y="388"/>
                  </a:cxn>
                  <a:cxn ang="0">
                    <a:pos x="355" y="388"/>
                  </a:cxn>
                  <a:cxn ang="0">
                    <a:pos x="394" y="465"/>
                  </a:cxn>
                  <a:cxn ang="0">
                    <a:pos x="422" y="494"/>
                  </a:cxn>
                  <a:cxn ang="0">
                    <a:pos x="413" y="479"/>
                  </a:cxn>
                  <a:cxn ang="0">
                    <a:pos x="448" y="462"/>
                  </a:cxn>
                  <a:cxn ang="0">
                    <a:pos x="467" y="479"/>
                  </a:cxn>
                  <a:cxn ang="0">
                    <a:pos x="55" y="259"/>
                  </a:cxn>
                  <a:cxn ang="0">
                    <a:pos x="36" y="144"/>
                  </a:cxn>
                  <a:cxn ang="0">
                    <a:pos x="56" y="163"/>
                  </a:cxn>
                  <a:cxn ang="0">
                    <a:pos x="246" y="42"/>
                  </a:cxn>
                  <a:cxn ang="0">
                    <a:pos x="874" y="165"/>
                  </a:cxn>
                  <a:cxn ang="0">
                    <a:pos x="757" y="79"/>
                  </a:cxn>
                  <a:cxn ang="0">
                    <a:pos x="705" y="58"/>
                  </a:cxn>
                  <a:cxn ang="0">
                    <a:pos x="628" y="92"/>
                  </a:cxn>
                  <a:cxn ang="0">
                    <a:pos x="606" y="63"/>
                  </a:cxn>
                  <a:cxn ang="0">
                    <a:pos x="570" y="80"/>
                  </a:cxn>
                  <a:cxn ang="0">
                    <a:pos x="526" y="116"/>
                  </a:cxn>
                  <a:cxn ang="0">
                    <a:pos x="496" y="71"/>
                  </a:cxn>
                  <a:cxn ang="0">
                    <a:pos x="458" y="31"/>
                  </a:cxn>
                  <a:cxn ang="0">
                    <a:pos x="446" y="0"/>
                  </a:cxn>
                  <a:cxn ang="0">
                    <a:pos x="401" y="13"/>
                  </a:cxn>
                  <a:cxn ang="0">
                    <a:pos x="347" y="22"/>
                  </a:cxn>
                  <a:cxn ang="0">
                    <a:pos x="333" y="59"/>
                  </a:cxn>
                  <a:cxn ang="0">
                    <a:pos x="268" y="58"/>
                  </a:cxn>
                  <a:cxn ang="0">
                    <a:pos x="237" y="58"/>
                  </a:cxn>
                  <a:cxn ang="0">
                    <a:pos x="186" y="70"/>
                  </a:cxn>
                  <a:cxn ang="0">
                    <a:pos x="147" y="76"/>
                  </a:cxn>
                  <a:cxn ang="0">
                    <a:pos x="115" y="80"/>
                  </a:cxn>
                  <a:cxn ang="0">
                    <a:pos x="84" y="106"/>
                  </a:cxn>
                  <a:cxn ang="0">
                    <a:pos x="79" y="148"/>
                  </a:cxn>
                  <a:cxn ang="0">
                    <a:pos x="98" y="154"/>
                  </a:cxn>
                  <a:cxn ang="0">
                    <a:pos x="156" y="145"/>
                  </a:cxn>
                  <a:cxn ang="0">
                    <a:pos x="172" y="160"/>
                  </a:cxn>
                  <a:cxn ang="0">
                    <a:pos x="155" y="185"/>
                  </a:cxn>
                  <a:cxn ang="0">
                    <a:pos x="122" y="172"/>
                  </a:cxn>
                  <a:cxn ang="0">
                    <a:pos x="125" y="211"/>
                  </a:cxn>
                  <a:cxn ang="0">
                    <a:pos x="171" y="237"/>
                  </a:cxn>
                  <a:cxn ang="0">
                    <a:pos x="156" y="329"/>
                  </a:cxn>
                  <a:cxn ang="0">
                    <a:pos x="235" y="316"/>
                  </a:cxn>
                  <a:cxn ang="0">
                    <a:pos x="294" y="333"/>
                  </a:cxn>
                  <a:cxn ang="0">
                    <a:pos x="384" y="364"/>
                  </a:cxn>
                  <a:cxn ang="0">
                    <a:pos x="414" y="432"/>
                  </a:cxn>
                  <a:cxn ang="0">
                    <a:pos x="425" y="403"/>
                  </a:cxn>
                  <a:cxn ang="0">
                    <a:pos x="460" y="391"/>
                  </a:cxn>
                  <a:cxn ang="0">
                    <a:pos x="522" y="390"/>
                  </a:cxn>
                  <a:cxn ang="0">
                    <a:pos x="462" y="407"/>
                  </a:cxn>
                  <a:cxn ang="0">
                    <a:pos x="513" y="428"/>
                  </a:cxn>
                  <a:cxn ang="0">
                    <a:pos x="555" y="424"/>
                  </a:cxn>
                  <a:cxn ang="0">
                    <a:pos x="566" y="454"/>
                  </a:cxn>
                  <a:cxn ang="0">
                    <a:pos x="554" y="487"/>
                  </a:cxn>
                  <a:cxn ang="0">
                    <a:pos x="595" y="481"/>
                  </a:cxn>
                  <a:cxn ang="0">
                    <a:pos x="666" y="409"/>
                  </a:cxn>
                  <a:cxn ang="0">
                    <a:pos x="752" y="389"/>
                  </a:cxn>
                  <a:cxn ang="0">
                    <a:pos x="796" y="377"/>
                  </a:cxn>
                  <a:cxn ang="0">
                    <a:pos x="838" y="366"/>
                  </a:cxn>
                  <a:cxn ang="0">
                    <a:pos x="879" y="220"/>
                  </a:cxn>
                </a:cxnLst>
                <a:rect l="0" t="0" r="r" b="b"/>
                <a:pathLst>
                  <a:path w="884" h="496">
                    <a:moveTo>
                      <a:pt x="459" y="18"/>
                    </a:moveTo>
                    <a:cubicBezTo>
                      <a:pt x="460" y="17"/>
                      <a:pt x="460" y="17"/>
                      <a:pt x="460" y="15"/>
                    </a:cubicBezTo>
                    <a:cubicBezTo>
                      <a:pt x="460" y="12"/>
                      <a:pt x="459" y="14"/>
                      <a:pt x="459" y="18"/>
                    </a:cubicBezTo>
                    <a:close/>
                    <a:moveTo>
                      <a:pt x="17" y="117"/>
                    </a:moveTo>
                    <a:cubicBezTo>
                      <a:pt x="11" y="117"/>
                      <a:pt x="0" y="125"/>
                      <a:pt x="0" y="125"/>
                    </a:cubicBezTo>
                    <a:cubicBezTo>
                      <a:pt x="5" y="133"/>
                      <a:pt x="5" y="133"/>
                      <a:pt x="5" y="133"/>
                    </a:cubicBezTo>
                    <a:cubicBezTo>
                      <a:pt x="21" y="123"/>
                      <a:pt x="21" y="123"/>
                      <a:pt x="21" y="123"/>
                    </a:cubicBezTo>
                    <a:cubicBezTo>
                      <a:pt x="21" y="123"/>
                      <a:pt x="23" y="117"/>
                      <a:pt x="17" y="117"/>
                    </a:cubicBezTo>
                    <a:close/>
                    <a:moveTo>
                      <a:pt x="355" y="388"/>
                    </a:moveTo>
                    <a:cubicBezTo>
                      <a:pt x="346" y="382"/>
                      <a:pt x="339" y="378"/>
                      <a:pt x="339" y="378"/>
                    </a:cubicBezTo>
                    <a:cubicBezTo>
                      <a:pt x="339" y="378"/>
                      <a:pt x="333" y="390"/>
                      <a:pt x="344" y="389"/>
                    </a:cubicBezTo>
                    <a:cubicBezTo>
                      <a:pt x="355" y="388"/>
                      <a:pt x="364" y="394"/>
                      <a:pt x="355" y="388"/>
                    </a:cubicBezTo>
                    <a:close/>
                    <a:moveTo>
                      <a:pt x="413" y="479"/>
                    </a:moveTo>
                    <a:cubicBezTo>
                      <a:pt x="409" y="469"/>
                      <a:pt x="409" y="469"/>
                      <a:pt x="409" y="469"/>
                    </a:cubicBezTo>
                    <a:cubicBezTo>
                      <a:pt x="394" y="465"/>
                      <a:pt x="394" y="465"/>
                      <a:pt x="394" y="465"/>
                    </a:cubicBezTo>
                    <a:cubicBezTo>
                      <a:pt x="384" y="466"/>
                      <a:pt x="393" y="490"/>
                      <a:pt x="393" y="490"/>
                    </a:cubicBezTo>
                    <a:cubicBezTo>
                      <a:pt x="413" y="490"/>
                      <a:pt x="413" y="490"/>
                      <a:pt x="413" y="490"/>
                    </a:cubicBezTo>
                    <a:cubicBezTo>
                      <a:pt x="422" y="494"/>
                      <a:pt x="422" y="494"/>
                      <a:pt x="422" y="494"/>
                    </a:cubicBezTo>
                    <a:cubicBezTo>
                      <a:pt x="427" y="485"/>
                      <a:pt x="427" y="485"/>
                      <a:pt x="427" y="485"/>
                    </a:cubicBezTo>
                    <a:cubicBezTo>
                      <a:pt x="425" y="480"/>
                      <a:pt x="425" y="480"/>
                      <a:pt x="425" y="480"/>
                    </a:cubicBezTo>
                    <a:lnTo>
                      <a:pt x="413" y="479"/>
                    </a:lnTo>
                    <a:close/>
                    <a:moveTo>
                      <a:pt x="448" y="462"/>
                    </a:moveTo>
                    <a:cubicBezTo>
                      <a:pt x="448" y="462"/>
                      <a:pt x="454" y="467"/>
                      <a:pt x="454" y="465"/>
                    </a:cubicBezTo>
                    <a:cubicBezTo>
                      <a:pt x="454" y="462"/>
                      <a:pt x="454" y="462"/>
                      <a:pt x="448" y="462"/>
                    </a:cubicBezTo>
                    <a:close/>
                    <a:moveTo>
                      <a:pt x="467" y="479"/>
                    </a:moveTo>
                    <a:cubicBezTo>
                      <a:pt x="467" y="479"/>
                      <a:pt x="473" y="479"/>
                      <a:pt x="473" y="476"/>
                    </a:cubicBezTo>
                    <a:cubicBezTo>
                      <a:pt x="473" y="473"/>
                      <a:pt x="467" y="479"/>
                      <a:pt x="467" y="479"/>
                    </a:cubicBezTo>
                    <a:close/>
                    <a:moveTo>
                      <a:pt x="55" y="259"/>
                    </a:moveTo>
                    <a:cubicBezTo>
                      <a:pt x="58" y="258"/>
                      <a:pt x="53" y="251"/>
                      <a:pt x="53" y="251"/>
                    </a:cubicBezTo>
                    <a:cubicBezTo>
                      <a:pt x="53" y="251"/>
                      <a:pt x="52" y="260"/>
                      <a:pt x="55" y="259"/>
                    </a:cubicBezTo>
                    <a:close/>
                    <a:moveTo>
                      <a:pt x="36" y="144"/>
                    </a:moveTo>
                    <a:cubicBezTo>
                      <a:pt x="41" y="150"/>
                      <a:pt x="40" y="142"/>
                      <a:pt x="40" y="142"/>
                    </a:cubicBezTo>
                    <a:cubicBezTo>
                      <a:pt x="40" y="142"/>
                      <a:pt x="31" y="139"/>
                      <a:pt x="36" y="144"/>
                    </a:cubicBezTo>
                    <a:close/>
                    <a:moveTo>
                      <a:pt x="56" y="163"/>
                    </a:moveTo>
                    <a:cubicBezTo>
                      <a:pt x="56" y="163"/>
                      <a:pt x="64" y="161"/>
                      <a:pt x="59" y="156"/>
                    </a:cubicBezTo>
                    <a:cubicBezTo>
                      <a:pt x="54" y="152"/>
                      <a:pt x="56" y="163"/>
                      <a:pt x="56" y="163"/>
                    </a:cubicBezTo>
                    <a:close/>
                    <a:moveTo>
                      <a:pt x="247" y="36"/>
                    </a:moveTo>
                    <a:cubicBezTo>
                      <a:pt x="242" y="39"/>
                      <a:pt x="242" y="39"/>
                      <a:pt x="242" y="39"/>
                    </a:cubicBezTo>
                    <a:cubicBezTo>
                      <a:pt x="246" y="42"/>
                      <a:pt x="246" y="42"/>
                      <a:pt x="246" y="42"/>
                    </a:cubicBezTo>
                    <a:lnTo>
                      <a:pt x="247" y="36"/>
                    </a:lnTo>
                    <a:close/>
                    <a:moveTo>
                      <a:pt x="872" y="188"/>
                    </a:moveTo>
                    <a:cubicBezTo>
                      <a:pt x="874" y="165"/>
                      <a:pt x="874" y="165"/>
                      <a:pt x="874" y="165"/>
                    </a:cubicBezTo>
                    <a:cubicBezTo>
                      <a:pt x="865" y="163"/>
                      <a:pt x="853" y="157"/>
                      <a:pt x="835" y="149"/>
                    </a:cubicBezTo>
                    <a:cubicBezTo>
                      <a:pt x="786" y="217"/>
                      <a:pt x="776" y="124"/>
                      <a:pt x="776" y="124"/>
                    </a:cubicBezTo>
                    <a:cubicBezTo>
                      <a:pt x="757" y="79"/>
                      <a:pt x="757" y="79"/>
                      <a:pt x="757" y="79"/>
                    </a:cubicBezTo>
                    <a:cubicBezTo>
                      <a:pt x="750" y="81"/>
                      <a:pt x="742" y="83"/>
                      <a:pt x="742" y="83"/>
                    </a:cubicBezTo>
                    <a:cubicBezTo>
                      <a:pt x="742" y="83"/>
                      <a:pt x="722" y="85"/>
                      <a:pt x="710" y="84"/>
                    </a:cubicBezTo>
                    <a:cubicBezTo>
                      <a:pt x="698" y="83"/>
                      <a:pt x="705" y="58"/>
                      <a:pt x="705" y="58"/>
                    </a:cubicBezTo>
                    <a:cubicBezTo>
                      <a:pt x="692" y="58"/>
                      <a:pt x="664" y="78"/>
                      <a:pt x="664" y="78"/>
                    </a:cubicBezTo>
                    <a:cubicBezTo>
                      <a:pt x="647" y="76"/>
                      <a:pt x="647" y="76"/>
                      <a:pt x="647" y="76"/>
                    </a:cubicBezTo>
                    <a:cubicBezTo>
                      <a:pt x="647" y="76"/>
                      <a:pt x="636" y="91"/>
                      <a:pt x="628" y="92"/>
                    </a:cubicBezTo>
                    <a:cubicBezTo>
                      <a:pt x="620" y="93"/>
                      <a:pt x="616" y="75"/>
                      <a:pt x="616" y="75"/>
                    </a:cubicBezTo>
                    <a:cubicBezTo>
                      <a:pt x="601" y="80"/>
                      <a:pt x="601" y="80"/>
                      <a:pt x="601" y="80"/>
                    </a:cubicBezTo>
                    <a:cubicBezTo>
                      <a:pt x="601" y="80"/>
                      <a:pt x="609" y="67"/>
                      <a:pt x="606" y="63"/>
                    </a:cubicBezTo>
                    <a:cubicBezTo>
                      <a:pt x="603" y="59"/>
                      <a:pt x="584" y="75"/>
                      <a:pt x="584" y="75"/>
                    </a:cubicBezTo>
                    <a:cubicBezTo>
                      <a:pt x="571" y="72"/>
                      <a:pt x="571" y="72"/>
                      <a:pt x="571" y="72"/>
                    </a:cubicBezTo>
                    <a:cubicBezTo>
                      <a:pt x="570" y="80"/>
                      <a:pt x="570" y="80"/>
                      <a:pt x="570" y="80"/>
                    </a:cubicBezTo>
                    <a:cubicBezTo>
                      <a:pt x="533" y="109"/>
                      <a:pt x="533" y="109"/>
                      <a:pt x="533" y="109"/>
                    </a:cubicBezTo>
                    <a:cubicBezTo>
                      <a:pt x="529" y="106"/>
                      <a:pt x="529" y="106"/>
                      <a:pt x="529" y="106"/>
                    </a:cubicBezTo>
                    <a:cubicBezTo>
                      <a:pt x="526" y="116"/>
                      <a:pt x="526" y="116"/>
                      <a:pt x="526" y="116"/>
                    </a:cubicBezTo>
                    <a:cubicBezTo>
                      <a:pt x="516" y="96"/>
                      <a:pt x="516" y="96"/>
                      <a:pt x="516" y="96"/>
                    </a:cubicBezTo>
                    <a:cubicBezTo>
                      <a:pt x="499" y="88"/>
                      <a:pt x="499" y="88"/>
                      <a:pt x="499" y="88"/>
                    </a:cubicBezTo>
                    <a:cubicBezTo>
                      <a:pt x="496" y="71"/>
                      <a:pt x="496" y="71"/>
                      <a:pt x="496" y="71"/>
                    </a:cubicBezTo>
                    <a:cubicBezTo>
                      <a:pt x="473" y="49"/>
                      <a:pt x="473" y="49"/>
                      <a:pt x="473" y="49"/>
                    </a:cubicBezTo>
                    <a:cubicBezTo>
                      <a:pt x="473" y="36"/>
                      <a:pt x="473" y="36"/>
                      <a:pt x="473" y="36"/>
                    </a:cubicBezTo>
                    <a:cubicBezTo>
                      <a:pt x="473" y="36"/>
                      <a:pt x="459" y="35"/>
                      <a:pt x="458" y="31"/>
                    </a:cubicBezTo>
                    <a:cubicBezTo>
                      <a:pt x="457" y="29"/>
                      <a:pt x="458" y="22"/>
                      <a:pt x="459" y="18"/>
                    </a:cubicBezTo>
                    <a:cubicBezTo>
                      <a:pt x="455" y="21"/>
                      <a:pt x="444" y="18"/>
                      <a:pt x="444" y="18"/>
                    </a:cubicBezTo>
                    <a:cubicBezTo>
                      <a:pt x="446" y="0"/>
                      <a:pt x="446" y="0"/>
                      <a:pt x="446" y="0"/>
                    </a:cubicBezTo>
                    <a:cubicBezTo>
                      <a:pt x="426" y="10"/>
                      <a:pt x="426" y="10"/>
                      <a:pt x="426" y="10"/>
                    </a:cubicBezTo>
                    <a:cubicBezTo>
                      <a:pt x="415" y="4"/>
                      <a:pt x="415" y="4"/>
                      <a:pt x="415" y="4"/>
                    </a:cubicBezTo>
                    <a:cubicBezTo>
                      <a:pt x="415" y="4"/>
                      <a:pt x="411" y="10"/>
                      <a:pt x="401" y="13"/>
                    </a:cubicBezTo>
                    <a:cubicBezTo>
                      <a:pt x="387" y="15"/>
                      <a:pt x="372" y="26"/>
                      <a:pt x="372" y="26"/>
                    </a:cubicBezTo>
                    <a:cubicBezTo>
                      <a:pt x="371" y="19"/>
                      <a:pt x="356" y="12"/>
                      <a:pt x="351" y="12"/>
                    </a:cubicBezTo>
                    <a:cubicBezTo>
                      <a:pt x="346" y="12"/>
                      <a:pt x="347" y="22"/>
                      <a:pt x="347" y="22"/>
                    </a:cubicBezTo>
                    <a:cubicBezTo>
                      <a:pt x="341" y="25"/>
                      <a:pt x="341" y="25"/>
                      <a:pt x="341" y="25"/>
                    </a:cubicBezTo>
                    <a:cubicBezTo>
                      <a:pt x="347" y="40"/>
                      <a:pt x="347" y="40"/>
                      <a:pt x="347" y="40"/>
                    </a:cubicBezTo>
                    <a:cubicBezTo>
                      <a:pt x="347" y="40"/>
                      <a:pt x="336" y="60"/>
                      <a:pt x="333" y="59"/>
                    </a:cubicBezTo>
                    <a:cubicBezTo>
                      <a:pt x="300" y="51"/>
                      <a:pt x="285" y="50"/>
                      <a:pt x="282" y="56"/>
                    </a:cubicBezTo>
                    <a:cubicBezTo>
                      <a:pt x="279" y="62"/>
                      <a:pt x="280" y="72"/>
                      <a:pt x="277" y="72"/>
                    </a:cubicBezTo>
                    <a:cubicBezTo>
                      <a:pt x="274" y="72"/>
                      <a:pt x="268" y="58"/>
                      <a:pt x="268" y="58"/>
                    </a:cubicBezTo>
                    <a:cubicBezTo>
                      <a:pt x="258" y="63"/>
                      <a:pt x="258" y="63"/>
                      <a:pt x="258" y="63"/>
                    </a:cubicBezTo>
                    <a:cubicBezTo>
                      <a:pt x="258" y="63"/>
                      <a:pt x="251" y="44"/>
                      <a:pt x="245" y="47"/>
                    </a:cubicBezTo>
                    <a:cubicBezTo>
                      <a:pt x="239" y="50"/>
                      <a:pt x="237" y="58"/>
                      <a:pt x="237" y="58"/>
                    </a:cubicBezTo>
                    <a:cubicBezTo>
                      <a:pt x="237" y="58"/>
                      <a:pt x="226" y="55"/>
                      <a:pt x="217" y="54"/>
                    </a:cubicBezTo>
                    <a:cubicBezTo>
                      <a:pt x="208" y="53"/>
                      <a:pt x="200" y="64"/>
                      <a:pt x="200" y="64"/>
                    </a:cubicBezTo>
                    <a:cubicBezTo>
                      <a:pt x="186" y="70"/>
                      <a:pt x="186" y="70"/>
                      <a:pt x="186" y="70"/>
                    </a:cubicBezTo>
                    <a:cubicBezTo>
                      <a:pt x="173" y="60"/>
                      <a:pt x="173" y="60"/>
                      <a:pt x="173" y="60"/>
                    </a:cubicBezTo>
                    <a:cubicBezTo>
                      <a:pt x="173" y="60"/>
                      <a:pt x="168" y="65"/>
                      <a:pt x="161" y="69"/>
                    </a:cubicBezTo>
                    <a:cubicBezTo>
                      <a:pt x="154" y="73"/>
                      <a:pt x="147" y="76"/>
                      <a:pt x="147" y="76"/>
                    </a:cubicBezTo>
                    <a:cubicBezTo>
                      <a:pt x="147" y="76"/>
                      <a:pt x="131" y="70"/>
                      <a:pt x="126" y="70"/>
                    </a:cubicBezTo>
                    <a:cubicBezTo>
                      <a:pt x="121" y="70"/>
                      <a:pt x="134" y="84"/>
                      <a:pt x="134" y="84"/>
                    </a:cubicBezTo>
                    <a:cubicBezTo>
                      <a:pt x="115" y="80"/>
                      <a:pt x="115" y="80"/>
                      <a:pt x="115" y="80"/>
                    </a:cubicBezTo>
                    <a:cubicBezTo>
                      <a:pt x="115" y="85"/>
                      <a:pt x="115" y="85"/>
                      <a:pt x="115" y="85"/>
                    </a:cubicBezTo>
                    <a:cubicBezTo>
                      <a:pt x="105" y="87"/>
                      <a:pt x="105" y="87"/>
                      <a:pt x="105" y="87"/>
                    </a:cubicBezTo>
                    <a:cubicBezTo>
                      <a:pt x="105" y="87"/>
                      <a:pt x="96" y="98"/>
                      <a:pt x="84" y="106"/>
                    </a:cubicBezTo>
                    <a:cubicBezTo>
                      <a:pt x="72" y="114"/>
                      <a:pt x="86" y="121"/>
                      <a:pt x="86" y="121"/>
                    </a:cubicBezTo>
                    <a:cubicBezTo>
                      <a:pt x="86" y="121"/>
                      <a:pt x="76" y="131"/>
                      <a:pt x="75" y="139"/>
                    </a:cubicBezTo>
                    <a:cubicBezTo>
                      <a:pt x="74" y="147"/>
                      <a:pt x="79" y="148"/>
                      <a:pt x="79" y="148"/>
                    </a:cubicBezTo>
                    <a:cubicBezTo>
                      <a:pt x="79" y="148"/>
                      <a:pt x="74" y="150"/>
                      <a:pt x="75" y="160"/>
                    </a:cubicBezTo>
                    <a:cubicBezTo>
                      <a:pt x="76" y="170"/>
                      <a:pt x="86" y="164"/>
                      <a:pt x="86" y="164"/>
                    </a:cubicBezTo>
                    <a:cubicBezTo>
                      <a:pt x="98" y="154"/>
                      <a:pt x="98" y="154"/>
                      <a:pt x="98" y="154"/>
                    </a:cubicBezTo>
                    <a:cubicBezTo>
                      <a:pt x="107" y="157"/>
                      <a:pt x="107" y="157"/>
                      <a:pt x="107" y="157"/>
                    </a:cubicBezTo>
                    <a:cubicBezTo>
                      <a:pt x="107" y="157"/>
                      <a:pt x="112" y="161"/>
                      <a:pt x="122" y="156"/>
                    </a:cubicBezTo>
                    <a:cubicBezTo>
                      <a:pt x="132" y="151"/>
                      <a:pt x="156" y="145"/>
                      <a:pt x="156" y="145"/>
                    </a:cubicBezTo>
                    <a:cubicBezTo>
                      <a:pt x="145" y="163"/>
                      <a:pt x="145" y="163"/>
                      <a:pt x="145" y="163"/>
                    </a:cubicBezTo>
                    <a:cubicBezTo>
                      <a:pt x="157" y="168"/>
                      <a:pt x="157" y="168"/>
                      <a:pt x="157" y="168"/>
                    </a:cubicBezTo>
                    <a:cubicBezTo>
                      <a:pt x="172" y="160"/>
                      <a:pt x="172" y="160"/>
                      <a:pt x="172" y="160"/>
                    </a:cubicBezTo>
                    <a:cubicBezTo>
                      <a:pt x="174" y="166"/>
                      <a:pt x="186" y="174"/>
                      <a:pt x="183" y="174"/>
                    </a:cubicBezTo>
                    <a:cubicBezTo>
                      <a:pt x="180" y="174"/>
                      <a:pt x="166" y="183"/>
                      <a:pt x="166" y="183"/>
                    </a:cubicBezTo>
                    <a:cubicBezTo>
                      <a:pt x="155" y="185"/>
                      <a:pt x="155" y="185"/>
                      <a:pt x="155" y="185"/>
                    </a:cubicBezTo>
                    <a:cubicBezTo>
                      <a:pt x="145" y="173"/>
                      <a:pt x="145" y="173"/>
                      <a:pt x="145" y="173"/>
                    </a:cubicBezTo>
                    <a:cubicBezTo>
                      <a:pt x="137" y="178"/>
                      <a:pt x="137" y="178"/>
                      <a:pt x="137" y="178"/>
                    </a:cubicBezTo>
                    <a:cubicBezTo>
                      <a:pt x="122" y="172"/>
                      <a:pt x="122" y="172"/>
                      <a:pt x="122" y="172"/>
                    </a:cubicBezTo>
                    <a:cubicBezTo>
                      <a:pt x="109" y="181"/>
                      <a:pt x="109" y="181"/>
                      <a:pt x="109" y="181"/>
                    </a:cubicBezTo>
                    <a:cubicBezTo>
                      <a:pt x="120" y="189"/>
                      <a:pt x="120" y="189"/>
                      <a:pt x="120" y="189"/>
                    </a:cubicBezTo>
                    <a:cubicBezTo>
                      <a:pt x="120" y="189"/>
                      <a:pt x="124" y="208"/>
                      <a:pt x="125" y="211"/>
                    </a:cubicBezTo>
                    <a:cubicBezTo>
                      <a:pt x="126" y="214"/>
                      <a:pt x="130" y="192"/>
                      <a:pt x="141" y="191"/>
                    </a:cubicBezTo>
                    <a:cubicBezTo>
                      <a:pt x="152" y="190"/>
                      <a:pt x="135" y="190"/>
                      <a:pt x="164" y="204"/>
                    </a:cubicBezTo>
                    <a:cubicBezTo>
                      <a:pt x="193" y="218"/>
                      <a:pt x="171" y="237"/>
                      <a:pt x="171" y="237"/>
                    </a:cubicBezTo>
                    <a:cubicBezTo>
                      <a:pt x="144" y="227"/>
                      <a:pt x="79" y="254"/>
                      <a:pt x="79" y="254"/>
                    </a:cubicBezTo>
                    <a:cubicBezTo>
                      <a:pt x="139" y="267"/>
                      <a:pt x="141" y="276"/>
                      <a:pt x="153" y="293"/>
                    </a:cubicBezTo>
                    <a:cubicBezTo>
                      <a:pt x="165" y="310"/>
                      <a:pt x="156" y="329"/>
                      <a:pt x="156" y="329"/>
                    </a:cubicBezTo>
                    <a:cubicBezTo>
                      <a:pt x="197" y="333"/>
                      <a:pt x="197" y="333"/>
                      <a:pt x="197" y="333"/>
                    </a:cubicBezTo>
                    <a:cubicBezTo>
                      <a:pt x="197" y="333"/>
                      <a:pt x="207" y="310"/>
                      <a:pt x="214" y="310"/>
                    </a:cubicBezTo>
                    <a:cubicBezTo>
                      <a:pt x="221" y="310"/>
                      <a:pt x="231" y="316"/>
                      <a:pt x="235" y="316"/>
                    </a:cubicBezTo>
                    <a:cubicBezTo>
                      <a:pt x="239" y="316"/>
                      <a:pt x="249" y="301"/>
                      <a:pt x="249" y="301"/>
                    </a:cubicBezTo>
                    <a:cubicBezTo>
                      <a:pt x="268" y="334"/>
                      <a:pt x="268" y="334"/>
                      <a:pt x="268" y="334"/>
                    </a:cubicBezTo>
                    <a:cubicBezTo>
                      <a:pt x="294" y="333"/>
                      <a:pt x="294" y="333"/>
                      <a:pt x="294" y="333"/>
                    </a:cubicBezTo>
                    <a:cubicBezTo>
                      <a:pt x="296" y="338"/>
                      <a:pt x="335" y="344"/>
                      <a:pt x="335" y="344"/>
                    </a:cubicBezTo>
                    <a:cubicBezTo>
                      <a:pt x="335" y="344"/>
                      <a:pt x="355" y="365"/>
                      <a:pt x="358" y="365"/>
                    </a:cubicBezTo>
                    <a:cubicBezTo>
                      <a:pt x="361" y="365"/>
                      <a:pt x="384" y="364"/>
                      <a:pt x="384" y="364"/>
                    </a:cubicBezTo>
                    <a:cubicBezTo>
                      <a:pt x="414" y="401"/>
                      <a:pt x="414" y="401"/>
                      <a:pt x="414" y="401"/>
                    </a:cubicBezTo>
                    <a:cubicBezTo>
                      <a:pt x="410" y="421"/>
                      <a:pt x="410" y="421"/>
                      <a:pt x="410" y="421"/>
                    </a:cubicBezTo>
                    <a:cubicBezTo>
                      <a:pt x="414" y="432"/>
                      <a:pt x="414" y="432"/>
                      <a:pt x="414" y="432"/>
                    </a:cubicBezTo>
                    <a:cubicBezTo>
                      <a:pt x="414" y="432"/>
                      <a:pt x="426" y="438"/>
                      <a:pt x="422" y="432"/>
                    </a:cubicBezTo>
                    <a:cubicBezTo>
                      <a:pt x="418" y="426"/>
                      <a:pt x="421" y="398"/>
                      <a:pt x="421" y="398"/>
                    </a:cubicBezTo>
                    <a:cubicBezTo>
                      <a:pt x="425" y="403"/>
                      <a:pt x="425" y="403"/>
                      <a:pt x="425" y="403"/>
                    </a:cubicBezTo>
                    <a:cubicBezTo>
                      <a:pt x="442" y="399"/>
                      <a:pt x="442" y="399"/>
                      <a:pt x="442" y="399"/>
                    </a:cubicBezTo>
                    <a:cubicBezTo>
                      <a:pt x="452" y="403"/>
                      <a:pt x="452" y="403"/>
                      <a:pt x="452" y="403"/>
                    </a:cubicBezTo>
                    <a:cubicBezTo>
                      <a:pt x="460" y="391"/>
                      <a:pt x="460" y="391"/>
                      <a:pt x="460" y="391"/>
                    </a:cubicBezTo>
                    <a:cubicBezTo>
                      <a:pt x="466" y="399"/>
                      <a:pt x="466" y="399"/>
                      <a:pt x="466" y="399"/>
                    </a:cubicBezTo>
                    <a:cubicBezTo>
                      <a:pt x="481" y="388"/>
                      <a:pt x="481" y="388"/>
                      <a:pt x="481" y="388"/>
                    </a:cubicBezTo>
                    <a:cubicBezTo>
                      <a:pt x="481" y="388"/>
                      <a:pt x="518" y="389"/>
                      <a:pt x="522" y="390"/>
                    </a:cubicBezTo>
                    <a:cubicBezTo>
                      <a:pt x="517" y="392"/>
                      <a:pt x="502" y="416"/>
                      <a:pt x="502" y="416"/>
                    </a:cubicBezTo>
                    <a:cubicBezTo>
                      <a:pt x="502" y="416"/>
                      <a:pt x="503" y="411"/>
                      <a:pt x="495" y="411"/>
                    </a:cubicBezTo>
                    <a:cubicBezTo>
                      <a:pt x="487" y="411"/>
                      <a:pt x="462" y="407"/>
                      <a:pt x="462" y="407"/>
                    </a:cubicBezTo>
                    <a:cubicBezTo>
                      <a:pt x="487" y="429"/>
                      <a:pt x="487" y="429"/>
                      <a:pt x="487" y="429"/>
                    </a:cubicBezTo>
                    <a:cubicBezTo>
                      <a:pt x="505" y="422"/>
                      <a:pt x="505" y="422"/>
                      <a:pt x="505" y="422"/>
                    </a:cubicBezTo>
                    <a:cubicBezTo>
                      <a:pt x="513" y="428"/>
                      <a:pt x="513" y="428"/>
                      <a:pt x="513" y="428"/>
                    </a:cubicBezTo>
                    <a:cubicBezTo>
                      <a:pt x="517" y="419"/>
                      <a:pt x="517" y="419"/>
                      <a:pt x="517" y="419"/>
                    </a:cubicBezTo>
                    <a:cubicBezTo>
                      <a:pt x="538" y="427"/>
                      <a:pt x="538" y="427"/>
                      <a:pt x="538" y="427"/>
                    </a:cubicBezTo>
                    <a:cubicBezTo>
                      <a:pt x="538" y="427"/>
                      <a:pt x="548" y="420"/>
                      <a:pt x="555" y="424"/>
                    </a:cubicBezTo>
                    <a:cubicBezTo>
                      <a:pt x="562" y="428"/>
                      <a:pt x="557" y="444"/>
                      <a:pt x="557" y="444"/>
                    </a:cubicBezTo>
                    <a:cubicBezTo>
                      <a:pt x="563" y="444"/>
                      <a:pt x="563" y="444"/>
                      <a:pt x="563" y="444"/>
                    </a:cubicBezTo>
                    <a:cubicBezTo>
                      <a:pt x="566" y="454"/>
                      <a:pt x="566" y="454"/>
                      <a:pt x="566" y="454"/>
                    </a:cubicBezTo>
                    <a:cubicBezTo>
                      <a:pt x="555" y="452"/>
                      <a:pt x="555" y="452"/>
                      <a:pt x="555" y="452"/>
                    </a:cubicBezTo>
                    <a:cubicBezTo>
                      <a:pt x="545" y="463"/>
                      <a:pt x="545" y="463"/>
                      <a:pt x="545" y="463"/>
                    </a:cubicBezTo>
                    <a:cubicBezTo>
                      <a:pt x="554" y="487"/>
                      <a:pt x="554" y="487"/>
                      <a:pt x="554" y="487"/>
                    </a:cubicBezTo>
                    <a:cubicBezTo>
                      <a:pt x="567" y="476"/>
                      <a:pt x="567" y="476"/>
                      <a:pt x="567" y="476"/>
                    </a:cubicBezTo>
                    <a:cubicBezTo>
                      <a:pt x="575" y="481"/>
                      <a:pt x="575" y="481"/>
                      <a:pt x="575" y="481"/>
                    </a:cubicBezTo>
                    <a:cubicBezTo>
                      <a:pt x="595" y="481"/>
                      <a:pt x="595" y="481"/>
                      <a:pt x="595" y="481"/>
                    </a:cubicBezTo>
                    <a:cubicBezTo>
                      <a:pt x="596" y="469"/>
                      <a:pt x="596" y="469"/>
                      <a:pt x="596" y="469"/>
                    </a:cubicBezTo>
                    <a:cubicBezTo>
                      <a:pt x="596" y="469"/>
                      <a:pt x="635" y="496"/>
                      <a:pt x="642" y="436"/>
                    </a:cubicBezTo>
                    <a:cubicBezTo>
                      <a:pt x="666" y="409"/>
                      <a:pt x="666" y="409"/>
                      <a:pt x="666" y="409"/>
                    </a:cubicBezTo>
                    <a:cubicBezTo>
                      <a:pt x="674" y="418"/>
                      <a:pt x="674" y="418"/>
                      <a:pt x="674" y="418"/>
                    </a:cubicBezTo>
                    <a:cubicBezTo>
                      <a:pt x="674" y="418"/>
                      <a:pt x="706" y="416"/>
                      <a:pt x="734" y="410"/>
                    </a:cubicBezTo>
                    <a:cubicBezTo>
                      <a:pt x="752" y="389"/>
                      <a:pt x="752" y="389"/>
                      <a:pt x="752" y="389"/>
                    </a:cubicBezTo>
                    <a:cubicBezTo>
                      <a:pt x="778" y="385"/>
                      <a:pt x="778" y="385"/>
                      <a:pt x="778" y="385"/>
                    </a:cubicBezTo>
                    <a:cubicBezTo>
                      <a:pt x="780" y="370"/>
                      <a:pt x="780" y="370"/>
                      <a:pt x="780" y="370"/>
                    </a:cubicBezTo>
                    <a:cubicBezTo>
                      <a:pt x="796" y="377"/>
                      <a:pt x="796" y="377"/>
                      <a:pt x="796" y="377"/>
                    </a:cubicBezTo>
                    <a:cubicBezTo>
                      <a:pt x="799" y="386"/>
                      <a:pt x="799" y="386"/>
                      <a:pt x="799" y="386"/>
                    </a:cubicBezTo>
                    <a:cubicBezTo>
                      <a:pt x="830" y="392"/>
                      <a:pt x="830" y="392"/>
                      <a:pt x="830" y="392"/>
                    </a:cubicBezTo>
                    <a:cubicBezTo>
                      <a:pt x="830" y="392"/>
                      <a:pt x="832" y="378"/>
                      <a:pt x="838" y="366"/>
                    </a:cubicBezTo>
                    <a:cubicBezTo>
                      <a:pt x="843" y="354"/>
                      <a:pt x="848" y="328"/>
                      <a:pt x="870" y="328"/>
                    </a:cubicBezTo>
                    <a:cubicBezTo>
                      <a:pt x="884" y="316"/>
                      <a:pt x="875" y="334"/>
                      <a:pt x="867" y="242"/>
                    </a:cubicBezTo>
                    <a:cubicBezTo>
                      <a:pt x="875" y="214"/>
                      <a:pt x="879" y="220"/>
                      <a:pt x="879" y="220"/>
                    </a:cubicBezTo>
                    <a:lnTo>
                      <a:pt x="872" y="18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2" name="Pays-de-la-Loire" descr="© INSCALE GmbH, 05.05.2010&#10;http://www.presentationload.com/">
                <a:extLst>
                  <a:ext uri="{FF2B5EF4-FFF2-40B4-BE49-F238E27FC236}">
                    <a16:creationId xmlns:a16="http://schemas.microsoft.com/office/drawing/2014/main" id="{85508898-E58C-4F8D-BC43-AB4DB22941C3}"/>
                  </a:ext>
                </a:extLst>
              </p:cNvPr>
              <p:cNvSpPr>
                <a:spLocks noEditPoints="1"/>
              </p:cNvSpPr>
              <p:nvPr/>
            </p:nvSpPr>
            <p:spPr bwMode="gray">
              <a:xfrm>
                <a:off x="644" y="1006"/>
                <a:ext cx="797" cy="790"/>
              </a:xfrm>
              <a:custGeom>
                <a:avLst/>
                <a:gdLst/>
                <a:ahLst/>
                <a:cxnLst>
                  <a:cxn ang="0">
                    <a:pos x="16" y="534"/>
                  </a:cxn>
                  <a:cxn ang="0">
                    <a:pos x="51" y="448"/>
                  </a:cxn>
                  <a:cxn ang="0">
                    <a:pos x="219" y="694"/>
                  </a:cxn>
                  <a:cxn ang="0">
                    <a:pos x="191" y="687"/>
                  </a:cxn>
                  <a:cxn ang="0">
                    <a:pos x="211" y="706"/>
                  </a:cxn>
                  <a:cxn ang="0">
                    <a:pos x="222" y="703"/>
                  </a:cxn>
                  <a:cxn ang="0">
                    <a:pos x="707" y="141"/>
                  </a:cxn>
                  <a:cxn ang="0">
                    <a:pos x="651" y="103"/>
                  </a:cxn>
                  <a:cxn ang="0">
                    <a:pos x="541" y="75"/>
                  </a:cxn>
                  <a:cxn ang="0">
                    <a:pos x="521" y="24"/>
                  </a:cxn>
                  <a:cxn ang="0">
                    <a:pos x="482" y="25"/>
                  </a:cxn>
                  <a:cxn ang="0">
                    <a:pos x="439" y="31"/>
                  </a:cxn>
                  <a:cxn ang="0">
                    <a:pos x="391" y="47"/>
                  </a:cxn>
                  <a:cxn ang="0">
                    <a:pos x="321" y="28"/>
                  </a:cxn>
                  <a:cxn ang="0">
                    <a:pos x="314" y="105"/>
                  </a:cxn>
                  <a:cxn ang="0">
                    <a:pos x="277" y="255"/>
                  </a:cxn>
                  <a:cxn ang="0">
                    <a:pos x="227" y="233"/>
                  </a:cxn>
                  <a:cxn ang="0">
                    <a:pos x="181" y="273"/>
                  </a:cxn>
                  <a:cxn ang="0">
                    <a:pos x="89" y="299"/>
                  </a:cxn>
                  <a:cxn ang="0">
                    <a:pos x="22" y="344"/>
                  </a:cxn>
                  <a:cxn ang="0">
                    <a:pos x="3" y="354"/>
                  </a:cxn>
                  <a:cxn ang="0">
                    <a:pos x="24" y="359"/>
                  </a:cxn>
                  <a:cxn ang="0">
                    <a:pos x="105" y="349"/>
                  </a:cxn>
                  <a:cxn ang="0">
                    <a:pos x="67" y="376"/>
                  </a:cxn>
                  <a:cxn ang="0">
                    <a:pos x="52" y="399"/>
                  </a:cxn>
                  <a:cxn ang="0">
                    <a:pos x="104" y="444"/>
                  </a:cxn>
                  <a:cxn ang="0">
                    <a:pos x="72" y="483"/>
                  </a:cxn>
                  <a:cxn ang="0">
                    <a:pos x="55" y="465"/>
                  </a:cxn>
                  <a:cxn ang="0">
                    <a:pos x="72" y="511"/>
                  </a:cxn>
                  <a:cxn ang="0">
                    <a:pos x="135" y="611"/>
                  </a:cxn>
                  <a:cxn ang="0">
                    <a:pos x="210" y="658"/>
                  </a:cxn>
                  <a:cxn ang="0">
                    <a:pos x="251" y="669"/>
                  </a:cxn>
                  <a:cxn ang="0">
                    <a:pos x="287" y="680"/>
                  </a:cxn>
                  <a:cxn ang="0">
                    <a:pos x="289" y="723"/>
                  </a:cxn>
                  <a:cxn ang="0">
                    <a:pos x="337" y="729"/>
                  </a:cxn>
                  <a:cxn ang="0">
                    <a:pos x="385" y="728"/>
                  </a:cxn>
                  <a:cxn ang="0">
                    <a:pos x="389" y="707"/>
                  </a:cxn>
                  <a:cxn ang="0">
                    <a:pos x="394" y="664"/>
                  </a:cxn>
                  <a:cxn ang="0">
                    <a:pos x="386" y="605"/>
                  </a:cxn>
                  <a:cxn ang="0">
                    <a:pos x="353" y="548"/>
                  </a:cxn>
                  <a:cxn ang="0">
                    <a:pos x="378" y="511"/>
                  </a:cxn>
                  <a:cxn ang="0">
                    <a:pos x="434" y="488"/>
                  </a:cxn>
                  <a:cxn ang="0">
                    <a:pos x="502" y="480"/>
                  </a:cxn>
                  <a:cxn ang="0">
                    <a:pos x="514" y="483"/>
                  </a:cxn>
                  <a:cxn ang="0">
                    <a:pos x="549" y="461"/>
                  </a:cxn>
                  <a:cxn ang="0">
                    <a:pos x="585" y="359"/>
                  </a:cxn>
                  <a:cxn ang="0">
                    <a:pos x="615" y="320"/>
                  </a:cxn>
                  <a:cxn ang="0">
                    <a:pos x="674" y="299"/>
                  </a:cxn>
                  <a:cxn ang="0">
                    <a:pos x="717" y="229"/>
                  </a:cxn>
                  <a:cxn ang="0">
                    <a:pos x="722" y="192"/>
                  </a:cxn>
                  <a:cxn ang="0">
                    <a:pos x="725" y="157"/>
                  </a:cxn>
                  <a:cxn ang="0">
                    <a:pos x="719" y="140"/>
                  </a:cxn>
                </a:cxnLst>
                <a:rect l="0" t="0" r="r" b="b"/>
                <a:pathLst>
                  <a:path w="739" h="732">
                    <a:moveTo>
                      <a:pt x="16" y="534"/>
                    </a:moveTo>
                    <a:cubicBezTo>
                      <a:pt x="10" y="548"/>
                      <a:pt x="22" y="548"/>
                      <a:pt x="37" y="548"/>
                    </a:cubicBezTo>
                    <a:cubicBezTo>
                      <a:pt x="32" y="535"/>
                      <a:pt x="16" y="534"/>
                      <a:pt x="16" y="534"/>
                    </a:cubicBezTo>
                    <a:close/>
                    <a:moveTo>
                      <a:pt x="38" y="440"/>
                    </a:moveTo>
                    <a:cubicBezTo>
                      <a:pt x="36" y="461"/>
                      <a:pt x="44" y="460"/>
                      <a:pt x="47" y="462"/>
                    </a:cubicBezTo>
                    <a:cubicBezTo>
                      <a:pt x="50" y="464"/>
                      <a:pt x="51" y="458"/>
                      <a:pt x="51" y="448"/>
                    </a:cubicBezTo>
                    <a:cubicBezTo>
                      <a:pt x="51" y="438"/>
                      <a:pt x="38" y="440"/>
                      <a:pt x="38" y="440"/>
                    </a:cubicBezTo>
                    <a:close/>
                    <a:moveTo>
                      <a:pt x="222" y="703"/>
                    </a:moveTo>
                    <a:cubicBezTo>
                      <a:pt x="219" y="694"/>
                      <a:pt x="219" y="694"/>
                      <a:pt x="219" y="694"/>
                    </a:cubicBezTo>
                    <a:cubicBezTo>
                      <a:pt x="201" y="701"/>
                      <a:pt x="201" y="701"/>
                      <a:pt x="201" y="701"/>
                    </a:cubicBezTo>
                    <a:cubicBezTo>
                      <a:pt x="203" y="686"/>
                      <a:pt x="203" y="686"/>
                      <a:pt x="203" y="686"/>
                    </a:cubicBezTo>
                    <a:cubicBezTo>
                      <a:pt x="191" y="687"/>
                      <a:pt x="191" y="687"/>
                      <a:pt x="191" y="687"/>
                    </a:cubicBezTo>
                    <a:cubicBezTo>
                      <a:pt x="190" y="693"/>
                      <a:pt x="190" y="693"/>
                      <a:pt x="190" y="693"/>
                    </a:cubicBezTo>
                    <a:cubicBezTo>
                      <a:pt x="200" y="708"/>
                      <a:pt x="200" y="708"/>
                      <a:pt x="200" y="708"/>
                    </a:cubicBezTo>
                    <a:cubicBezTo>
                      <a:pt x="211" y="706"/>
                      <a:pt x="211" y="706"/>
                      <a:pt x="211" y="706"/>
                    </a:cubicBezTo>
                    <a:cubicBezTo>
                      <a:pt x="230" y="714"/>
                      <a:pt x="230" y="714"/>
                      <a:pt x="230" y="714"/>
                    </a:cubicBezTo>
                    <a:cubicBezTo>
                      <a:pt x="238" y="725"/>
                      <a:pt x="246" y="718"/>
                      <a:pt x="250" y="719"/>
                    </a:cubicBezTo>
                    <a:cubicBezTo>
                      <a:pt x="241" y="705"/>
                      <a:pt x="222" y="703"/>
                      <a:pt x="222" y="703"/>
                    </a:cubicBezTo>
                    <a:close/>
                    <a:moveTo>
                      <a:pt x="719" y="140"/>
                    </a:moveTo>
                    <a:cubicBezTo>
                      <a:pt x="719" y="139"/>
                      <a:pt x="719" y="139"/>
                      <a:pt x="719" y="139"/>
                    </a:cubicBezTo>
                    <a:cubicBezTo>
                      <a:pt x="707" y="141"/>
                      <a:pt x="707" y="141"/>
                      <a:pt x="707" y="141"/>
                    </a:cubicBezTo>
                    <a:cubicBezTo>
                      <a:pt x="683" y="117"/>
                      <a:pt x="683" y="117"/>
                      <a:pt x="683" y="117"/>
                    </a:cubicBezTo>
                    <a:cubicBezTo>
                      <a:pt x="658" y="123"/>
                      <a:pt x="658" y="123"/>
                      <a:pt x="658" y="123"/>
                    </a:cubicBezTo>
                    <a:cubicBezTo>
                      <a:pt x="651" y="103"/>
                      <a:pt x="651" y="103"/>
                      <a:pt x="651" y="103"/>
                    </a:cubicBezTo>
                    <a:cubicBezTo>
                      <a:pt x="651" y="103"/>
                      <a:pt x="638" y="96"/>
                      <a:pt x="631" y="91"/>
                    </a:cubicBezTo>
                    <a:cubicBezTo>
                      <a:pt x="623" y="0"/>
                      <a:pt x="561" y="75"/>
                      <a:pt x="561" y="75"/>
                    </a:cubicBezTo>
                    <a:cubicBezTo>
                      <a:pt x="541" y="75"/>
                      <a:pt x="541" y="75"/>
                      <a:pt x="541" y="75"/>
                    </a:cubicBezTo>
                    <a:cubicBezTo>
                      <a:pt x="537" y="48"/>
                      <a:pt x="537" y="48"/>
                      <a:pt x="537" y="48"/>
                    </a:cubicBezTo>
                    <a:cubicBezTo>
                      <a:pt x="537" y="48"/>
                      <a:pt x="531" y="49"/>
                      <a:pt x="519" y="49"/>
                    </a:cubicBezTo>
                    <a:cubicBezTo>
                      <a:pt x="507" y="49"/>
                      <a:pt x="521" y="24"/>
                      <a:pt x="521" y="24"/>
                    </a:cubicBezTo>
                    <a:cubicBezTo>
                      <a:pt x="521" y="24"/>
                      <a:pt x="498" y="15"/>
                      <a:pt x="494" y="15"/>
                    </a:cubicBezTo>
                    <a:cubicBezTo>
                      <a:pt x="490" y="15"/>
                      <a:pt x="498" y="20"/>
                      <a:pt x="494" y="28"/>
                    </a:cubicBezTo>
                    <a:cubicBezTo>
                      <a:pt x="490" y="36"/>
                      <a:pt x="482" y="25"/>
                      <a:pt x="482" y="25"/>
                    </a:cubicBezTo>
                    <a:cubicBezTo>
                      <a:pt x="467" y="37"/>
                      <a:pt x="467" y="37"/>
                      <a:pt x="467" y="37"/>
                    </a:cubicBezTo>
                    <a:cubicBezTo>
                      <a:pt x="461" y="32"/>
                      <a:pt x="461" y="32"/>
                      <a:pt x="461" y="32"/>
                    </a:cubicBezTo>
                    <a:cubicBezTo>
                      <a:pt x="461" y="32"/>
                      <a:pt x="446" y="31"/>
                      <a:pt x="439" y="31"/>
                    </a:cubicBezTo>
                    <a:cubicBezTo>
                      <a:pt x="434" y="45"/>
                      <a:pt x="411" y="45"/>
                      <a:pt x="411" y="45"/>
                    </a:cubicBezTo>
                    <a:cubicBezTo>
                      <a:pt x="407" y="36"/>
                      <a:pt x="407" y="36"/>
                      <a:pt x="407" y="36"/>
                    </a:cubicBezTo>
                    <a:cubicBezTo>
                      <a:pt x="407" y="36"/>
                      <a:pt x="391" y="37"/>
                      <a:pt x="391" y="47"/>
                    </a:cubicBezTo>
                    <a:cubicBezTo>
                      <a:pt x="391" y="56"/>
                      <a:pt x="366" y="32"/>
                      <a:pt x="366" y="32"/>
                    </a:cubicBezTo>
                    <a:cubicBezTo>
                      <a:pt x="366" y="32"/>
                      <a:pt x="353" y="28"/>
                      <a:pt x="343" y="23"/>
                    </a:cubicBezTo>
                    <a:cubicBezTo>
                      <a:pt x="338" y="30"/>
                      <a:pt x="331" y="31"/>
                      <a:pt x="321" y="28"/>
                    </a:cubicBezTo>
                    <a:cubicBezTo>
                      <a:pt x="319" y="51"/>
                      <a:pt x="319" y="51"/>
                      <a:pt x="319" y="51"/>
                    </a:cubicBezTo>
                    <a:cubicBezTo>
                      <a:pt x="326" y="83"/>
                      <a:pt x="326" y="83"/>
                      <a:pt x="326" y="83"/>
                    </a:cubicBezTo>
                    <a:cubicBezTo>
                      <a:pt x="326" y="83"/>
                      <a:pt x="322" y="77"/>
                      <a:pt x="314" y="105"/>
                    </a:cubicBezTo>
                    <a:cubicBezTo>
                      <a:pt x="322" y="197"/>
                      <a:pt x="331" y="179"/>
                      <a:pt x="317" y="191"/>
                    </a:cubicBezTo>
                    <a:cubicBezTo>
                      <a:pt x="295" y="191"/>
                      <a:pt x="290" y="217"/>
                      <a:pt x="285" y="229"/>
                    </a:cubicBezTo>
                    <a:cubicBezTo>
                      <a:pt x="279" y="241"/>
                      <a:pt x="277" y="255"/>
                      <a:pt x="277" y="255"/>
                    </a:cubicBezTo>
                    <a:cubicBezTo>
                      <a:pt x="246" y="249"/>
                      <a:pt x="246" y="249"/>
                      <a:pt x="246" y="249"/>
                    </a:cubicBezTo>
                    <a:cubicBezTo>
                      <a:pt x="243" y="240"/>
                      <a:pt x="243" y="240"/>
                      <a:pt x="243" y="240"/>
                    </a:cubicBezTo>
                    <a:cubicBezTo>
                      <a:pt x="227" y="233"/>
                      <a:pt x="227" y="233"/>
                      <a:pt x="227" y="233"/>
                    </a:cubicBezTo>
                    <a:cubicBezTo>
                      <a:pt x="225" y="248"/>
                      <a:pt x="225" y="248"/>
                      <a:pt x="225" y="248"/>
                    </a:cubicBezTo>
                    <a:cubicBezTo>
                      <a:pt x="199" y="252"/>
                      <a:pt x="199" y="252"/>
                      <a:pt x="199" y="252"/>
                    </a:cubicBezTo>
                    <a:cubicBezTo>
                      <a:pt x="199" y="252"/>
                      <a:pt x="199" y="252"/>
                      <a:pt x="181" y="273"/>
                    </a:cubicBezTo>
                    <a:cubicBezTo>
                      <a:pt x="153" y="279"/>
                      <a:pt x="121" y="281"/>
                      <a:pt x="121" y="281"/>
                    </a:cubicBezTo>
                    <a:cubicBezTo>
                      <a:pt x="113" y="272"/>
                      <a:pt x="113" y="272"/>
                      <a:pt x="113" y="272"/>
                    </a:cubicBezTo>
                    <a:cubicBezTo>
                      <a:pt x="113" y="272"/>
                      <a:pt x="113" y="272"/>
                      <a:pt x="89" y="299"/>
                    </a:cubicBezTo>
                    <a:cubicBezTo>
                      <a:pt x="82" y="359"/>
                      <a:pt x="43" y="332"/>
                      <a:pt x="43" y="332"/>
                    </a:cubicBezTo>
                    <a:cubicBezTo>
                      <a:pt x="42" y="344"/>
                      <a:pt x="42" y="344"/>
                      <a:pt x="42" y="344"/>
                    </a:cubicBezTo>
                    <a:cubicBezTo>
                      <a:pt x="22" y="344"/>
                      <a:pt x="22" y="344"/>
                      <a:pt x="22" y="344"/>
                    </a:cubicBezTo>
                    <a:cubicBezTo>
                      <a:pt x="14" y="339"/>
                      <a:pt x="14" y="339"/>
                      <a:pt x="14" y="339"/>
                    </a:cubicBezTo>
                    <a:cubicBezTo>
                      <a:pt x="1" y="350"/>
                      <a:pt x="1" y="350"/>
                      <a:pt x="1" y="350"/>
                    </a:cubicBezTo>
                    <a:cubicBezTo>
                      <a:pt x="3" y="354"/>
                      <a:pt x="3" y="354"/>
                      <a:pt x="3" y="354"/>
                    </a:cubicBezTo>
                    <a:cubicBezTo>
                      <a:pt x="0" y="355"/>
                      <a:pt x="0" y="355"/>
                      <a:pt x="0" y="355"/>
                    </a:cubicBezTo>
                    <a:cubicBezTo>
                      <a:pt x="2" y="357"/>
                      <a:pt x="4" y="360"/>
                      <a:pt x="7" y="364"/>
                    </a:cubicBezTo>
                    <a:cubicBezTo>
                      <a:pt x="14" y="363"/>
                      <a:pt x="24" y="359"/>
                      <a:pt x="24" y="359"/>
                    </a:cubicBezTo>
                    <a:cubicBezTo>
                      <a:pt x="24" y="359"/>
                      <a:pt x="39" y="374"/>
                      <a:pt x="45" y="374"/>
                    </a:cubicBezTo>
                    <a:cubicBezTo>
                      <a:pt x="51" y="374"/>
                      <a:pt x="70" y="351"/>
                      <a:pt x="70" y="351"/>
                    </a:cubicBezTo>
                    <a:cubicBezTo>
                      <a:pt x="70" y="351"/>
                      <a:pt x="103" y="344"/>
                      <a:pt x="105" y="349"/>
                    </a:cubicBezTo>
                    <a:cubicBezTo>
                      <a:pt x="107" y="354"/>
                      <a:pt x="96" y="361"/>
                      <a:pt x="96" y="361"/>
                    </a:cubicBezTo>
                    <a:cubicBezTo>
                      <a:pt x="72" y="363"/>
                      <a:pt x="72" y="363"/>
                      <a:pt x="72" y="363"/>
                    </a:cubicBezTo>
                    <a:cubicBezTo>
                      <a:pt x="67" y="376"/>
                      <a:pt x="67" y="376"/>
                      <a:pt x="67" y="376"/>
                    </a:cubicBezTo>
                    <a:cubicBezTo>
                      <a:pt x="71" y="385"/>
                      <a:pt x="71" y="385"/>
                      <a:pt x="71" y="385"/>
                    </a:cubicBezTo>
                    <a:cubicBezTo>
                      <a:pt x="65" y="399"/>
                      <a:pt x="65" y="399"/>
                      <a:pt x="65" y="399"/>
                    </a:cubicBezTo>
                    <a:cubicBezTo>
                      <a:pt x="52" y="399"/>
                      <a:pt x="52" y="399"/>
                      <a:pt x="52" y="399"/>
                    </a:cubicBezTo>
                    <a:cubicBezTo>
                      <a:pt x="52" y="408"/>
                      <a:pt x="52" y="408"/>
                      <a:pt x="52" y="408"/>
                    </a:cubicBezTo>
                    <a:cubicBezTo>
                      <a:pt x="91" y="415"/>
                      <a:pt x="91" y="415"/>
                      <a:pt x="91" y="415"/>
                    </a:cubicBezTo>
                    <a:cubicBezTo>
                      <a:pt x="104" y="444"/>
                      <a:pt x="104" y="444"/>
                      <a:pt x="104" y="444"/>
                    </a:cubicBezTo>
                    <a:cubicBezTo>
                      <a:pt x="95" y="445"/>
                      <a:pt x="95" y="445"/>
                      <a:pt x="95" y="445"/>
                    </a:cubicBezTo>
                    <a:cubicBezTo>
                      <a:pt x="92" y="462"/>
                      <a:pt x="92" y="462"/>
                      <a:pt x="92" y="462"/>
                    </a:cubicBezTo>
                    <a:cubicBezTo>
                      <a:pt x="72" y="483"/>
                      <a:pt x="72" y="483"/>
                      <a:pt x="72" y="483"/>
                    </a:cubicBezTo>
                    <a:cubicBezTo>
                      <a:pt x="69" y="468"/>
                      <a:pt x="69" y="468"/>
                      <a:pt x="69" y="468"/>
                    </a:cubicBezTo>
                    <a:cubicBezTo>
                      <a:pt x="55" y="458"/>
                      <a:pt x="55" y="458"/>
                      <a:pt x="55" y="458"/>
                    </a:cubicBezTo>
                    <a:cubicBezTo>
                      <a:pt x="55" y="465"/>
                      <a:pt x="55" y="465"/>
                      <a:pt x="55" y="465"/>
                    </a:cubicBezTo>
                    <a:cubicBezTo>
                      <a:pt x="55" y="465"/>
                      <a:pt x="62" y="463"/>
                      <a:pt x="63" y="469"/>
                    </a:cubicBezTo>
                    <a:cubicBezTo>
                      <a:pt x="64" y="475"/>
                      <a:pt x="68" y="489"/>
                      <a:pt x="68" y="489"/>
                    </a:cubicBezTo>
                    <a:cubicBezTo>
                      <a:pt x="68" y="489"/>
                      <a:pt x="73" y="508"/>
                      <a:pt x="72" y="511"/>
                    </a:cubicBezTo>
                    <a:cubicBezTo>
                      <a:pt x="91" y="521"/>
                      <a:pt x="103" y="549"/>
                      <a:pt x="103" y="549"/>
                    </a:cubicBezTo>
                    <a:cubicBezTo>
                      <a:pt x="111" y="549"/>
                      <a:pt x="111" y="549"/>
                      <a:pt x="111" y="549"/>
                    </a:cubicBezTo>
                    <a:cubicBezTo>
                      <a:pt x="126" y="569"/>
                      <a:pt x="135" y="611"/>
                      <a:pt x="135" y="611"/>
                    </a:cubicBezTo>
                    <a:cubicBezTo>
                      <a:pt x="135" y="611"/>
                      <a:pt x="135" y="603"/>
                      <a:pt x="149" y="617"/>
                    </a:cubicBezTo>
                    <a:cubicBezTo>
                      <a:pt x="163" y="631"/>
                      <a:pt x="200" y="642"/>
                      <a:pt x="200" y="642"/>
                    </a:cubicBezTo>
                    <a:cubicBezTo>
                      <a:pt x="210" y="658"/>
                      <a:pt x="210" y="658"/>
                      <a:pt x="210" y="658"/>
                    </a:cubicBezTo>
                    <a:cubicBezTo>
                      <a:pt x="210" y="658"/>
                      <a:pt x="229" y="658"/>
                      <a:pt x="235" y="660"/>
                    </a:cubicBezTo>
                    <a:cubicBezTo>
                      <a:pt x="241" y="662"/>
                      <a:pt x="248" y="678"/>
                      <a:pt x="248" y="678"/>
                    </a:cubicBezTo>
                    <a:cubicBezTo>
                      <a:pt x="251" y="669"/>
                      <a:pt x="251" y="669"/>
                      <a:pt x="251" y="669"/>
                    </a:cubicBezTo>
                    <a:cubicBezTo>
                      <a:pt x="265" y="682"/>
                      <a:pt x="265" y="682"/>
                      <a:pt x="265" y="682"/>
                    </a:cubicBezTo>
                    <a:cubicBezTo>
                      <a:pt x="274" y="666"/>
                      <a:pt x="274" y="666"/>
                      <a:pt x="274" y="666"/>
                    </a:cubicBezTo>
                    <a:cubicBezTo>
                      <a:pt x="274" y="666"/>
                      <a:pt x="284" y="675"/>
                      <a:pt x="287" y="680"/>
                    </a:cubicBezTo>
                    <a:cubicBezTo>
                      <a:pt x="290" y="685"/>
                      <a:pt x="262" y="717"/>
                      <a:pt x="262" y="717"/>
                    </a:cubicBezTo>
                    <a:cubicBezTo>
                      <a:pt x="267" y="720"/>
                      <a:pt x="271" y="724"/>
                      <a:pt x="275" y="728"/>
                    </a:cubicBezTo>
                    <a:cubicBezTo>
                      <a:pt x="289" y="723"/>
                      <a:pt x="289" y="723"/>
                      <a:pt x="289" y="723"/>
                    </a:cubicBezTo>
                    <a:cubicBezTo>
                      <a:pt x="322" y="712"/>
                      <a:pt x="322" y="712"/>
                      <a:pt x="322" y="712"/>
                    </a:cubicBezTo>
                    <a:cubicBezTo>
                      <a:pt x="322" y="728"/>
                      <a:pt x="322" y="728"/>
                      <a:pt x="322" y="728"/>
                    </a:cubicBezTo>
                    <a:cubicBezTo>
                      <a:pt x="337" y="729"/>
                      <a:pt x="337" y="729"/>
                      <a:pt x="337" y="729"/>
                    </a:cubicBezTo>
                    <a:cubicBezTo>
                      <a:pt x="346" y="723"/>
                      <a:pt x="346" y="723"/>
                      <a:pt x="346" y="723"/>
                    </a:cubicBezTo>
                    <a:cubicBezTo>
                      <a:pt x="361" y="732"/>
                      <a:pt x="361" y="732"/>
                      <a:pt x="361" y="732"/>
                    </a:cubicBezTo>
                    <a:cubicBezTo>
                      <a:pt x="361" y="732"/>
                      <a:pt x="378" y="728"/>
                      <a:pt x="385" y="728"/>
                    </a:cubicBezTo>
                    <a:cubicBezTo>
                      <a:pt x="391" y="728"/>
                      <a:pt x="391" y="717"/>
                      <a:pt x="391" y="717"/>
                    </a:cubicBezTo>
                    <a:cubicBezTo>
                      <a:pt x="391" y="717"/>
                      <a:pt x="421" y="719"/>
                      <a:pt x="398" y="699"/>
                    </a:cubicBezTo>
                    <a:cubicBezTo>
                      <a:pt x="389" y="707"/>
                      <a:pt x="389" y="707"/>
                      <a:pt x="389" y="707"/>
                    </a:cubicBezTo>
                    <a:cubicBezTo>
                      <a:pt x="393" y="684"/>
                      <a:pt x="393" y="684"/>
                      <a:pt x="393" y="684"/>
                    </a:cubicBezTo>
                    <a:cubicBezTo>
                      <a:pt x="383" y="664"/>
                      <a:pt x="383" y="664"/>
                      <a:pt x="383" y="664"/>
                    </a:cubicBezTo>
                    <a:cubicBezTo>
                      <a:pt x="394" y="664"/>
                      <a:pt x="394" y="664"/>
                      <a:pt x="394" y="664"/>
                    </a:cubicBezTo>
                    <a:cubicBezTo>
                      <a:pt x="394" y="627"/>
                      <a:pt x="394" y="627"/>
                      <a:pt x="394" y="627"/>
                    </a:cubicBezTo>
                    <a:cubicBezTo>
                      <a:pt x="383" y="627"/>
                      <a:pt x="383" y="627"/>
                      <a:pt x="383" y="627"/>
                    </a:cubicBezTo>
                    <a:cubicBezTo>
                      <a:pt x="386" y="605"/>
                      <a:pt x="386" y="605"/>
                      <a:pt x="386" y="605"/>
                    </a:cubicBezTo>
                    <a:cubicBezTo>
                      <a:pt x="371" y="585"/>
                      <a:pt x="371" y="585"/>
                      <a:pt x="371" y="585"/>
                    </a:cubicBezTo>
                    <a:cubicBezTo>
                      <a:pt x="378" y="573"/>
                      <a:pt x="378" y="573"/>
                      <a:pt x="378" y="573"/>
                    </a:cubicBezTo>
                    <a:cubicBezTo>
                      <a:pt x="353" y="548"/>
                      <a:pt x="353" y="548"/>
                      <a:pt x="353" y="548"/>
                    </a:cubicBezTo>
                    <a:cubicBezTo>
                      <a:pt x="357" y="537"/>
                      <a:pt x="357" y="537"/>
                      <a:pt x="357" y="537"/>
                    </a:cubicBezTo>
                    <a:cubicBezTo>
                      <a:pt x="357" y="537"/>
                      <a:pt x="337" y="532"/>
                      <a:pt x="339" y="523"/>
                    </a:cubicBezTo>
                    <a:cubicBezTo>
                      <a:pt x="342" y="513"/>
                      <a:pt x="371" y="503"/>
                      <a:pt x="378" y="511"/>
                    </a:cubicBezTo>
                    <a:cubicBezTo>
                      <a:pt x="385" y="519"/>
                      <a:pt x="413" y="501"/>
                      <a:pt x="413" y="501"/>
                    </a:cubicBezTo>
                    <a:cubicBezTo>
                      <a:pt x="415" y="485"/>
                      <a:pt x="415" y="485"/>
                      <a:pt x="415" y="485"/>
                    </a:cubicBezTo>
                    <a:cubicBezTo>
                      <a:pt x="434" y="488"/>
                      <a:pt x="434" y="488"/>
                      <a:pt x="434" y="488"/>
                    </a:cubicBezTo>
                    <a:cubicBezTo>
                      <a:pt x="433" y="496"/>
                      <a:pt x="433" y="496"/>
                      <a:pt x="433" y="496"/>
                    </a:cubicBezTo>
                    <a:cubicBezTo>
                      <a:pt x="459" y="481"/>
                      <a:pt x="459" y="481"/>
                      <a:pt x="459" y="481"/>
                    </a:cubicBezTo>
                    <a:cubicBezTo>
                      <a:pt x="502" y="480"/>
                      <a:pt x="502" y="480"/>
                      <a:pt x="502" y="480"/>
                    </a:cubicBezTo>
                    <a:cubicBezTo>
                      <a:pt x="499" y="492"/>
                      <a:pt x="499" y="492"/>
                      <a:pt x="499" y="492"/>
                    </a:cubicBezTo>
                    <a:cubicBezTo>
                      <a:pt x="509" y="492"/>
                      <a:pt x="509" y="492"/>
                      <a:pt x="509" y="492"/>
                    </a:cubicBezTo>
                    <a:cubicBezTo>
                      <a:pt x="514" y="483"/>
                      <a:pt x="514" y="483"/>
                      <a:pt x="514" y="483"/>
                    </a:cubicBezTo>
                    <a:cubicBezTo>
                      <a:pt x="519" y="484"/>
                      <a:pt x="519" y="484"/>
                      <a:pt x="519" y="484"/>
                    </a:cubicBezTo>
                    <a:cubicBezTo>
                      <a:pt x="519" y="484"/>
                      <a:pt x="518" y="464"/>
                      <a:pt x="549" y="464"/>
                    </a:cubicBezTo>
                    <a:cubicBezTo>
                      <a:pt x="549" y="463"/>
                      <a:pt x="549" y="462"/>
                      <a:pt x="549" y="461"/>
                    </a:cubicBezTo>
                    <a:cubicBezTo>
                      <a:pt x="546" y="433"/>
                      <a:pt x="575" y="399"/>
                      <a:pt x="575" y="399"/>
                    </a:cubicBezTo>
                    <a:cubicBezTo>
                      <a:pt x="569" y="387"/>
                      <a:pt x="569" y="387"/>
                      <a:pt x="569" y="387"/>
                    </a:cubicBezTo>
                    <a:cubicBezTo>
                      <a:pt x="569" y="387"/>
                      <a:pt x="581" y="369"/>
                      <a:pt x="585" y="359"/>
                    </a:cubicBezTo>
                    <a:cubicBezTo>
                      <a:pt x="578" y="351"/>
                      <a:pt x="589" y="323"/>
                      <a:pt x="589" y="323"/>
                    </a:cubicBezTo>
                    <a:cubicBezTo>
                      <a:pt x="626" y="335"/>
                      <a:pt x="626" y="335"/>
                      <a:pt x="626" y="335"/>
                    </a:cubicBezTo>
                    <a:cubicBezTo>
                      <a:pt x="615" y="320"/>
                      <a:pt x="615" y="320"/>
                      <a:pt x="615" y="320"/>
                    </a:cubicBezTo>
                    <a:cubicBezTo>
                      <a:pt x="615" y="320"/>
                      <a:pt x="626" y="313"/>
                      <a:pt x="625" y="311"/>
                    </a:cubicBezTo>
                    <a:cubicBezTo>
                      <a:pt x="642" y="329"/>
                      <a:pt x="641" y="307"/>
                      <a:pt x="641" y="307"/>
                    </a:cubicBezTo>
                    <a:cubicBezTo>
                      <a:pt x="641" y="307"/>
                      <a:pt x="670" y="300"/>
                      <a:pt x="674" y="299"/>
                    </a:cubicBezTo>
                    <a:cubicBezTo>
                      <a:pt x="658" y="293"/>
                      <a:pt x="690" y="272"/>
                      <a:pt x="690" y="272"/>
                    </a:cubicBezTo>
                    <a:cubicBezTo>
                      <a:pt x="690" y="272"/>
                      <a:pt x="703" y="252"/>
                      <a:pt x="707" y="248"/>
                    </a:cubicBezTo>
                    <a:cubicBezTo>
                      <a:pt x="707" y="233"/>
                      <a:pt x="717" y="229"/>
                      <a:pt x="717" y="229"/>
                    </a:cubicBezTo>
                    <a:cubicBezTo>
                      <a:pt x="725" y="219"/>
                      <a:pt x="725" y="219"/>
                      <a:pt x="725" y="219"/>
                    </a:cubicBezTo>
                    <a:cubicBezTo>
                      <a:pt x="718" y="205"/>
                      <a:pt x="718" y="205"/>
                      <a:pt x="718" y="205"/>
                    </a:cubicBezTo>
                    <a:cubicBezTo>
                      <a:pt x="722" y="192"/>
                      <a:pt x="722" y="192"/>
                      <a:pt x="722" y="192"/>
                    </a:cubicBezTo>
                    <a:cubicBezTo>
                      <a:pt x="714" y="180"/>
                      <a:pt x="714" y="180"/>
                      <a:pt x="714" y="180"/>
                    </a:cubicBezTo>
                    <a:cubicBezTo>
                      <a:pt x="725" y="175"/>
                      <a:pt x="725" y="175"/>
                      <a:pt x="725" y="175"/>
                    </a:cubicBezTo>
                    <a:cubicBezTo>
                      <a:pt x="725" y="157"/>
                      <a:pt x="725" y="157"/>
                      <a:pt x="725" y="157"/>
                    </a:cubicBezTo>
                    <a:cubicBezTo>
                      <a:pt x="739" y="156"/>
                      <a:pt x="739" y="156"/>
                      <a:pt x="739" y="156"/>
                    </a:cubicBezTo>
                    <a:cubicBezTo>
                      <a:pt x="739" y="147"/>
                      <a:pt x="739" y="147"/>
                      <a:pt x="739" y="147"/>
                    </a:cubicBezTo>
                    <a:lnTo>
                      <a:pt x="719" y="14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3" name="POitou-Charentes" descr="© INSCALE GmbH, 05.05.2010&#10;http://www.presentationload.com/">
                <a:extLst>
                  <a:ext uri="{FF2B5EF4-FFF2-40B4-BE49-F238E27FC236}">
                    <a16:creationId xmlns:a16="http://schemas.microsoft.com/office/drawing/2014/main" id="{3AE2A17A-E1A4-415C-BCBD-27B07359DE41}"/>
                  </a:ext>
                </a:extLst>
              </p:cNvPr>
              <p:cNvSpPr>
                <a:spLocks noEditPoints="1"/>
              </p:cNvSpPr>
              <p:nvPr/>
            </p:nvSpPr>
            <p:spPr bwMode="gray">
              <a:xfrm>
                <a:off x="881" y="1507"/>
                <a:ext cx="619" cy="717"/>
              </a:xfrm>
              <a:custGeom>
                <a:avLst/>
                <a:gdLst/>
                <a:ahLst/>
                <a:cxnLst>
                  <a:cxn ang="0">
                    <a:pos x="39" y="333"/>
                  </a:cxn>
                  <a:cxn ang="0">
                    <a:pos x="19" y="308"/>
                  </a:cxn>
                  <a:cxn ang="0">
                    <a:pos x="6" y="327"/>
                  </a:cxn>
                  <a:cxn ang="0">
                    <a:pos x="32" y="355"/>
                  </a:cxn>
                  <a:cxn ang="0">
                    <a:pos x="46" y="345"/>
                  </a:cxn>
                  <a:cxn ang="0">
                    <a:pos x="559" y="229"/>
                  </a:cxn>
                  <a:cxn ang="0">
                    <a:pos x="533" y="197"/>
                  </a:cxn>
                  <a:cxn ang="0">
                    <a:pos x="486" y="111"/>
                  </a:cxn>
                  <a:cxn ang="0">
                    <a:pos x="434" y="52"/>
                  </a:cxn>
                  <a:cxn ang="0">
                    <a:pos x="419" y="65"/>
                  </a:cxn>
                  <a:cxn ang="0">
                    <a:pos x="393" y="67"/>
                  </a:cxn>
                  <a:cxn ang="0">
                    <a:pos x="382" y="39"/>
                  </a:cxn>
                  <a:cxn ang="0">
                    <a:pos x="369" y="28"/>
                  </a:cxn>
                  <a:cxn ang="0">
                    <a:pos x="355" y="21"/>
                  </a:cxn>
                  <a:cxn ang="0">
                    <a:pos x="299" y="20"/>
                  </a:cxn>
                  <a:cxn ang="0">
                    <a:pos x="289" y="28"/>
                  </a:cxn>
                  <a:cxn ang="0">
                    <a:pos x="282" y="16"/>
                  </a:cxn>
                  <a:cxn ang="0">
                    <a:pos x="213" y="32"/>
                  </a:cxn>
                  <a:cxn ang="0">
                    <a:pos x="195" y="21"/>
                  </a:cxn>
                  <a:cxn ang="0">
                    <a:pos x="158" y="47"/>
                  </a:cxn>
                  <a:cxn ang="0">
                    <a:pos x="137" y="73"/>
                  </a:cxn>
                  <a:cxn ang="0">
                    <a:pos x="158" y="109"/>
                  </a:cxn>
                  <a:cxn ang="0">
                    <a:pos x="166" y="141"/>
                  </a:cxn>
                  <a:cxn ang="0">
                    <a:pos x="174" y="163"/>
                  </a:cxn>
                  <a:cxn ang="0">
                    <a:pos x="163" y="200"/>
                  </a:cxn>
                  <a:cxn ang="0">
                    <a:pos x="169" y="243"/>
                  </a:cxn>
                  <a:cxn ang="0">
                    <a:pos x="171" y="253"/>
                  </a:cxn>
                  <a:cxn ang="0">
                    <a:pos x="141" y="268"/>
                  </a:cxn>
                  <a:cxn ang="0">
                    <a:pos x="117" y="265"/>
                  </a:cxn>
                  <a:cxn ang="0">
                    <a:pos x="102" y="248"/>
                  </a:cxn>
                  <a:cxn ang="0">
                    <a:pos x="55" y="264"/>
                  </a:cxn>
                  <a:cxn ang="0">
                    <a:pos x="64" y="309"/>
                  </a:cxn>
                  <a:cxn ang="0">
                    <a:pos x="69" y="324"/>
                  </a:cxn>
                  <a:cxn ang="0">
                    <a:pos x="63" y="352"/>
                  </a:cxn>
                  <a:cxn ang="0">
                    <a:pos x="58" y="367"/>
                  </a:cxn>
                  <a:cxn ang="0">
                    <a:pos x="44" y="372"/>
                  </a:cxn>
                  <a:cxn ang="0">
                    <a:pos x="37" y="406"/>
                  </a:cxn>
                  <a:cxn ang="0">
                    <a:pos x="80" y="427"/>
                  </a:cxn>
                  <a:cxn ang="0">
                    <a:pos x="103" y="454"/>
                  </a:cxn>
                  <a:cxn ang="0">
                    <a:pos x="147" y="539"/>
                  </a:cxn>
                  <a:cxn ang="0">
                    <a:pos x="152" y="564"/>
                  </a:cxn>
                  <a:cxn ang="0">
                    <a:pos x="151" y="581"/>
                  </a:cxn>
                  <a:cxn ang="0">
                    <a:pos x="171" y="593"/>
                  </a:cxn>
                  <a:cxn ang="0">
                    <a:pos x="210" y="643"/>
                  </a:cxn>
                  <a:cxn ang="0">
                    <a:pos x="293" y="652"/>
                  </a:cxn>
                  <a:cxn ang="0">
                    <a:pos x="327" y="625"/>
                  </a:cxn>
                  <a:cxn ang="0">
                    <a:pos x="357" y="597"/>
                  </a:cxn>
                  <a:cxn ang="0">
                    <a:pos x="405" y="524"/>
                  </a:cxn>
                  <a:cxn ang="0">
                    <a:pos x="411" y="495"/>
                  </a:cxn>
                  <a:cxn ang="0">
                    <a:pos x="461" y="451"/>
                  </a:cxn>
                  <a:cxn ang="0">
                    <a:pos x="481" y="439"/>
                  </a:cxn>
                  <a:cxn ang="0">
                    <a:pos x="487" y="395"/>
                  </a:cxn>
                  <a:cxn ang="0">
                    <a:pos x="513" y="391"/>
                  </a:cxn>
                  <a:cxn ang="0">
                    <a:pos x="490" y="332"/>
                  </a:cxn>
                  <a:cxn ang="0">
                    <a:pos x="494" y="301"/>
                  </a:cxn>
                  <a:cxn ang="0">
                    <a:pos x="529" y="287"/>
                  </a:cxn>
                  <a:cxn ang="0">
                    <a:pos x="555" y="263"/>
                  </a:cxn>
                  <a:cxn ang="0">
                    <a:pos x="570" y="252"/>
                  </a:cxn>
                </a:cxnLst>
                <a:rect l="0" t="0" r="r" b="b"/>
                <a:pathLst>
                  <a:path w="574" h="665">
                    <a:moveTo>
                      <a:pt x="46" y="345"/>
                    </a:moveTo>
                    <a:cubicBezTo>
                      <a:pt x="39" y="333"/>
                      <a:pt x="39" y="333"/>
                      <a:pt x="39" y="333"/>
                    </a:cubicBezTo>
                    <a:cubicBezTo>
                      <a:pt x="38" y="311"/>
                      <a:pt x="38" y="311"/>
                      <a:pt x="38" y="311"/>
                    </a:cubicBezTo>
                    <a:cubicBezTo>
                      <a:pt x="19" y="308"/>
                      <a:pt x="19" y="308"/>
                      <a:pt x="19" y="308"/>
                    </a:cubicBezTo>
                    <a:cubicBezTo>
                      <a:pt x="4" y="289"/>
                      <a:pt x="4" y="289"/>
                      <a:pt x="4" y="289"/>
                    </a:cubicBezTo>
                    <a:cubicBezTo>
                      <a:pt x="0" y="293"/>
                      <a:pt x="6" y="327"/>
                      <a:pt x="6" y="327"/>
                    </a:cubicBezTo>
                    <a:cubicBezTo>
                      <a:pt x="19" y="337"/>
                      <a:pt x="19" y="337"/>
                      <a:pt x="19" y="337"/>
                    </a:cubicBezTo>
                    <a:cubicBezTo>
                      <a:pt x="32" y="355"/>
                      <a:pt x="32" y="355"/>
                      <a:pt x="32" y="355"/>
                    </a:cubicBezTo>
                    <a:cubicBezTo>
                      <a:pt x="36" y="368"/>
                      <a:pt x="36" y="368"/>
                      <a:pt x="36" y="368"/>
                    </a:cubicBezTo>
                    <a:lnTo>
                      <a:pt x="46" y="345"/>
                    </a:lnTo>
                    <a:close/>
                    <a:moveTo>
                      <a:pt x="574" y="241"/>
                    </a:moveTo>
                    <a:cubicBezTo>
                      <a:pt x="574" y="241"/>
                      <a:pt x="563" y="236"/>
                      <a:pt x="559" y="229"/>
                    </a:cubicBezTo>
                    <a:cubicBezTo>
                      <a:pt x="553" y="187"/>
                      <a:pt x="534" y="208"/>
                      <a:pt x="534" y="208"/>
                    </a:cubicBezTo>
                    <a:cubicBezTo>
                      <a:pt x="534" y="208"/>
                      <a:pt x="537" y="199"/>
                      <a:pt x="533" y="197"/>
                    </a:cubicBezTo>
                    <a:cubicBezTo>
                      <a:pt x="505" y="196"/>
                      <a:pt x="510" y="167"/>
                      <a:pt x="511" y="153"/>
                    </a:cubicBezTo>
                    <a:cubicBezTo>
                      <a:pt x="479" y="120"/>
                      <a:pt x="503" y="127"/>
                      <a:pt x="486" y="111"/>
                    </a:cubicBezTo>
                    <a:cubicBezTo>
                      <a:pt x="469" y="95"/>
                      <a:pt x="466" y="63"/>
                      <a:pt x="466" y="63"/>
                    </a:cubicBezTo>
                    <a:cubicBezTo>
                      <a:pt x="434" y="52"/>
                      <a:pt x="434" y="52"/>
                      <a:pt x="434" y="52"/>
                    </a:cubicBezTo>
                    <a:cubicBezTo>
                      <a:pt x="442" y="65"/>
                      <a:pt x="442" y="65"/>
                      <a:pt x="442" y="65"/>
                    </a:cubicBezTo>
                    <a:cubicBezTo>
                      <a:pt x="419" y="65"/>
                      <a:pt x="419" y="65"/>
                      <a:pt x="419" y="65"/>
                    </a:cubicBezTo>
                    <a:cubicBezTo>
                      <a:pt x="405" y="73"/>
                      <a:pt x="405" y="73"/>
                      <a:pt x="405" y="73"/>
                    </a:cubicBezTo>
                    <a:cubicBezTo>
                      <a:pt x="393" y="67"/>
                      <a:pt x="393" y="67"/>
                      <a:pt x="393" y="67"/>
                    </a:cubicBezTo>
                    <a:cubicBezTo>
                      <a:pt x="393" y="67"/>
                      <a:pt x="394" y="73"/>
                      <a:pt x="382" y="69"/>
                    </a:cubicBezTo>
                    <a:cubicBezTo>
                      <a:pt x="370" y="65"/>
                      <a:pt x="382" y="39"/>
                      <a:pt x="382" y="39"/>
                    </a:cubicBezTo>
                    <a:cubicBezTo>
                      <a:pt x="373" y="35"/>
                      <a:pt x="373" y="35"/>
                      <a:pt x="373" y="35"/>
                    </a:cubicBezTo>
                    <a:cubicBezTo>
                      <a:pt x="369" y="28"/>
                      <a:pt x="369" y="28"/>
                      <a:pt x="369" y="28"/>
                    </a:cubicBezTo>
                    <a:cubicBezTo>
                      <a:pt x="355" y="35"/>
                      <a:pt x="355" y="35"/>
                      <a:pt x="355" y="35"/>
                    </a:cubicBezTo>
                    <a:cubicBezTo>
                      <a:pt x="355" y="21"/>
                      <a:pt x="355" y="21"/>
                      <a:pt x="355" y="21"/>
                    </a:cubicBezTo>
                    <a:cubicBezTo>
                      <a:pt x="355" y="21"/>
                      <a:pt x="333" y="25"/>
                      <a:pt x="329" y="0"/>
                    </a:cubicBezTo>
                    <a:cubicBezTo>
                      <a:pt x="298" y="0"/>
                      <a:pt x="299" y="20"/>
                      <a:pt x="299" y="20"/>
                    </a:cubicBezTo>
                    <a:cubicBezTo>
                      <a:pt x="294" y="19"/>
                      <a:pt x="294" y="19"/>
                      <a:pt x="294" y="19"/>
                    </a:cubicBezTo>
                    <a:cubicBezTo>
                      <a:pt x="289" y="28"/>
                      <a:pt x="289" y="28"/>
                      <a:pt x="289" y="28"/>
                    </a:cubicBezTo>
                    <a:cubicBezTo>
                      <a:pt x="279" y="28"/>
                      <a:pt x="279" y="28"/>
                      <a:pt x="279" y="28"/>
                    </a:cubicBezTo>
                    <a:cubicBezTo>
                      <a:pt x="282" y="16"/>
                      <a:pt x="282" y="16"/>
                      <a:pt x="282" y="16"/>
                    </a:cubicBezTo>
                    <a:cubicBezTo>
                      <a:pt x="239" y="17"/>
                      <a:pt x="239" y="17"/>
                      <a:pt x="239" y="17"/>
                    </a:cubicBezTo>
                    <a:cubicBezTo>
                      <a:pt x="213" y="32"/>
                      <a:pt x="213" y="32"/>
                      <a:pt x="213" y="32"/>
                    </a:cubicBezTo>
                    <a:cubicBezTo>
                      <a:pt x="214" y="24"/>
                      <a:pt x="214" y="24"/>
                      <a:pt x="214" y="24"/>
                    </a:cubicBezTo>
                    <a:cubicBezTo>
                      <a:pt x="195" y="21"/>
                      <a:pt x="195" y="21"/>
                      <a:pt x="195" y="21"/>
                    </a:cubicBezTo>
                    <a:cubicBezTo>
                      <a:pt x="193" y="37"/>
                      <a:pt x="193" y="37"/>
                      <a:pt x="193" y="37"/>
                    </a:cubicBezTo>
                    <a:cubicBezTo>
                      <a:pt x="193" y="37"/>
                      <a:pt x="165" y="55"/>
                      <a:pt x="158" y="47"/>
                    </a:cubicBezTo>
                    <a:cubicBezTo>
                      <a:pt x="151" y="39"/>
                      <a:pt x="122" y="49"/>
                      <a:pt x="119" y="59"/>
                    </a:cubicBezTo>
                    <a:cubicBezTo>
                      <a:pt x="117" y="68"/>
                      <a:pt x="137" y="73"/>
                      <a:pt x="137" y="73"/>
                    </a:cubicBezTo>
                    <a:cubicBezTo>
                      <a:pt x="133" y="84"/>
                      <a:pt x="133" y="84"/>
                      <a:pt x="133" y="84"/>
                    </a:cubicBezTo>
                    <a:cubicBezTo>
                      <a:pt x="158" y="109"/>
                      <a:pt x="158" y="109"/>
                      <a:pt x="158" y="109"/>
                    </a:cubicBezTo>
                    <a:cubicBezTo>
                      <a:pt x="151" y="121"/>
                      <a:pt x="151" y="121"/>
                      <a:pt x="151" y="121"/>
                    </a:cubicBezTo>
                    <a:cubicBezTo>
                      <a:pt x="166" y="141"/>
                      <a:pt x="166" y="141"/>
                      <a:pt x="166" y="141"/>
                    </a:cubicBezTo>
                    <a:cubicBezTo>
                      <a:pt x="163" y="163"/>
                      <a:pt x="163" y="163"/>
                      <a:pt x="163" y="163"/>
                    </a:cubicBezTo>
                    <a:cubicBezTo>
                      <a:pt x="174" y="163"/>
                      <a:pt x="174" y="163"/>
                      <a:pt x="174" y="163"/>
                    </a:cubicBezTo>
                    <a:cubicBezTo>
                      <a:pt x="174" y="200"/>
                      <a:pt x="174" y="200"/>
                      <a:pt x="174" y="200"/>
                    </a:cubicBezTo>
                    <a:cubicBezTo>
                      <a:pt x="163" y="200"/>
                      <a:pt x="163" y="200"/>
                      <a:pt x="163" y="200"/>
                    </a:cubicBezTo>
                    <a:cubicBezTo>
                      <a:pt x="173" y="220"/>
                      <a:pt x="173" y="220"/>
                      <a:pt x="173" y="220"/>
                    </a:cubicBezTo>
                    <a:cubicBezTo>
                      <a:pt x="169" y="243"/>
                      <a:pt x="169" y="243"/>
                      <a:pt x="169" y="243"/>
                    </a:cubicBezTo>
                    <a:cubicBezTo>
                      <a:pt x="178" y="235"/>
                      <a:pt x="178" y="235"/>
                      <a:pt x="178" y="235"/>
                    </a:cubicBezTo>
                    <a:cubicBezTo>
                      <a:pt x="201" y="255"/>
                      <a:pt x="171" y="253"/>
                      <a:pt x="171" y="253"/>
                    </a:cubicBezTo>
                    <a:cubicBezTo>
                      <a:pt x="171" y="253"/>
                      <a:pt x="171" y="264"/>
                      <a:pt x="165" y="264"/>
                    </a:cubicBezTo>
                    <a:cubicBezTo>
                      <a:pt x="158" y="264"/>
                      <a:pt x="141" y="268"/>
                      <a:pt x="141" y="268"/>
                    </a:cubicBezTo>
                    <a:cubicBezTo>
                      <a:pt x="126" y="259"/>
                      <a:pt x="126" y="259"/>
                      <a:pt x="126" y="259"/>
                    </a:cubicBezTo>
                    <a:cubicBezTo>
                      <a:pt x="117" y="265"/>
                      <a:pt x="117" y="265"/>
                      <a:pt x="117" y="265"/>
                    </a:cubicBezTo>
                    <a:cubicBezTo>
                      <a:pt x="102" y="264"/>
                      <a:pt x="102" y="264"/>
                      <a:pt x="102" y="264"/>
                    </a:cubicBezTo>
                    <a:cubicBezTo>
                      <a:pt x="102" y="248"/>
                      <a:pt x="102" y="248"/>
                      <a:pt x="102" y="248"/>
                    </a:cubicBezTo>
                    <a:cubicBezTo>
                      <a:pt x="69" y="259"/>
                      <a:pt x="69" y="259"/>
                      <a:pt x="69" y="259"/>
                    </a:cubicBezTo>
                    <a:cubicBezTo>
                      <a:pt x="55" y="264"/>
                      <a:pt x="55" y="264"/>
                      <a:pt x="55" y="264"/>
                    </a:cubicBezTo>
                    <a:cubicBezTo>
                      <a:pt x="71" y="282"/>
                      <a:pt x="78" y="307"/>
                      <a:pt x="78" y="307"/>
                    </a:cubicBezTo>
                    <a:cubicBezTo>
                      <a:pt x="64" y="309"/>
                      <a:pt x="64" y="309"/>
                      <a:pt x="64" y="309"/>
                    </a:cubicBezTo>
                    <a:cubicBezTo>
                      <a:pt x="69" y="320"/>
                      <a:pt x="69" y="320"/>
                      <a:pt x="69" y="320"/>
                    </a:cubicBezTo>
                    <a:cubicBezTo>
                      <a:pt x="69" y="324"/>
                      <a:pt x="69" y="324"/>
                      <a:pt x="69" y="324"/>
                    </a:cubicBezTo>
                    <a:cubicBezTo>
                      <a:pt x="71" y="335"/>
                      <a:pt x="71" y="335"/>
                      <a:pt x="71" y="335"/>
                    </a:cubicBezTo>
                    <a:cubicBezTo>
                      <a:pt x="63" y="352"/>
                      <a:pt x="63" y="352"/>
                      <a:pt x="63" y="352"/>
                    </a:cubicBezTo>
                    <a:cubicBezTo>
                      <a:pt x="52" y="352"/>
                      <a:pt x="52" y="352"/>
                      <a:pt x="52" y="352"/>
                    </a:cubicBezTo>
                    <a:cubicBezTo>
                      <a:pt x="58" y="367"/>
                      <a:pt x="58" y="367"/>
                      <a:pt x="58" y="367"/>
                    </a:cubicBezTo>
                    <a:cubicBezTo>
                      <a:pt x="67" y="382"/>
                      <a:pt x="67" y="382"/>
                      <a:pt x="67" y="382"/>
                    </a:cubicBezTo>
                    <a:cubicBezTo>
                      <a:pt x="67" y="382"/>
                      <a:pt x="51" y="372"/>
                      <a:pt x="44" y="372"/>
                    </a:cubicBezTo>
                    <a:cubicBezTo>
                      <a:pt x="37" y="372"/>
                      <a:pt x="35" y="378"/>
                      <a:pt x="33" y="389"/>
                    </a:cubicBezTo>
                    <a:cubicBezTo>
                      <a:pt x="31" y="400"/>
                      <a:pt x="37" y="406"/>
                      <a:pt x="37" y="406"/>
                    </a:cubicBezTo>
                    <a:cubicBezTo>
                      <a:pt x="70" y="427"/>
                      <a:pt x="70" y="427"/>
                      <a:pt x="70" y="427"/>
                    </a:cubicBezTo>
                    <a:cubicBezTo>
                      <a:pt x="80" y="427"/>
                      <a:pt x="80" y="427"/>
                      <a:pt x="80" y="427"/>
                    </a:cubicBezTo>
                    <a:cubicBezTo>
                      <a:pt x="93" y="454"/>
                      <a:pt x="93" y="454"/>
                      <a:pt x="93" y="454"/>
                    </a:cubicBezTo>
                    <a:cubicBezTo>
                      <a:pt x="103" y="454"/>
                      <a:pt x="103" y="454"/>
                      <a:pt x="103" y="454"/>
                    </a:cubicBezTo>
                    <a:cubicBezTo>
                      <a:pt x="103" y="454"/>
                      <a:pt x="104" y="457"/>
                      <a:pt x="114" y="462"/>
                    </a:cubicBezTo>
                    <a:cubicBezTo>
                      <a:pt x="124" y="467"/>
                      <a:pt x="147" y="539"/>
                      <a:pt x="147" y="539"/>
                    </a:cubicBezTo>
                    <a:cubicBezTo>
                      <a:pt x="145" y="553"/>
                      <a:pt x="145" y="553"/>
                      <a:pt x="145" y="553"/>
                    </a:cubicBezTo>
                    <a:cubicBezTo>
                      <a:pt x="152" y="564"/>
                      <a:pt x="152" y="564"/>
                      <a:pt x="152" y="564"/>
                    </a:cubicBezTo>
                    <a:cubicBezTo>
                      <a:pt x="148" y="576"/>
                      <a:pt x="148" y="576"/>
                      <a:pt x="148" y="576"/>
                    </a:cubicBezTo>
                    <a:cubicBezTo>
                      <a:pt x="148" y="576"/>
                      <a:pt x="149" y="578"/>
                      <a:pt x="151" y="581"/>
                    </a:cubicBezTo>
                    <a:cubicBezTo>
                      <a:pt x="165" y="580"/>
                      <a:pt x="165" y="580"/>
                      <a:pt x="165" y="580"/>
                    </a:cubicBezTo>
                    <a:cubicBezTo>
                      <a:pt x="171" y="593"/>
                      <a:pt x="171" y="593"/>
                      <a:pt x="171" y="593"/>
                    </a:cubicBezTo>
                    <a:cubicBezTo>
                      <a:pt x="171" y="593"/>
                      <a:pt x="211" y="604"/>
                      <a:pt x="205" y="619"/>
                    </a:cubicBezTo>
                    <a:cubicBezTo>
                      <a:pt x="210" y="637"/>
                      <a:pt x="210" y="643"/>
                      <a:pt x="210" y="643"/>
                    </a:cubicBezTo>
                    <a:cubicBezTo>
                      <a:pt x="210" y="643"/>
                      <a:pt x="218" y="628"/>
                      <a:pt x="235" y="645"/>
                    </a:cubicBezTo>
                    <a:cubicBezTo>
                      <a:pt x="253" y="663"/>
                      <a:pt x="286" y="665"/>
                      <a:pt x="293" y="652"/>
                    </a:cubicBezTo>
                    <a:cubicBezTo>
                      <a:pt x="299" y="639"/>
                      <a:pt x="315" y="616"/>
                      <a:pt x="315" y="616"/>
                    </a:cubicBezTo>
                    <a:cubicBezTo>
                      <a:pt x="315" y="616"/>
                      <a:pt x="323" y="625"/>
                      <a:pt x="327" y="625"/>
                    </a:cubicBezTo>
                    <a:cubicBezTo>
                      <a:pt x="331" y="625"/>
                      <a:pt x="350" y="597"/>
                      <a:pt x="350" y="597"/>
                    </a:cubicBezTo>
                    <a:cubicBezTo>
                      <a:pt x="357" y="597"/>
                      <a:pt x="357" y="597"/>
                      <a:pt x="357" y="597"/>
                    </a:cubicBezTo>
                    <a:cubicBezTo>
                      <a:pt x="357" y="597"/>
                      <a:pt x="345" y="544"/>
                      <a:pt x="397" y="537"/>
                    </a:cubicBezTo>
                    <a:cubicBezTo>
                      <a:pt x="401" y="523"/>
                      <a:pt x="405" y="524"/>
                      <a:pt x="405" y="524"/>
                    </a:cubicBezTo>
                    <a:cubicBezTo>
                      <a:pt x="417" y="523"/>
                      <a:pt x="417" y="523"/>
                      <a:pt x="417" y="523"/>
                    </a:cubicBezTo>
                    <a:cubicBezTo>
                      <a:pt x="417" y="523"/>
                      <a:pt x="407" y="495"/>
                      <a:pt x="411" y="495"/>
                    </a:cubicBezTo>
                    <a:cubicBezTo>
                      <a:pt x="415" y="495"/>
                      <a:pt x="426" y="493"/>
                      <a:pt x="426" y="493"/>
                    </a:cubicBezTo>
                    <a:cubicBezTo>
                      <a:pt x="461" y="451"/>
                      <a:pt x="461" y="451"/>
                      <a:pt x="461" y="451"/>
                    </a:cubicBezTo>
                    <a:cubicBezTo>
                      <a:pt x="461" y="443"/>
                      <a:pt x="461" y="443"/>
                      <a:pt x="461" y="443"/>
                    </a:cubicBezTo>
                    <a:cubicBezTo>
                      <a:pt x="481" y="439"/>
                      <a:pt x="481" y="439"/>
                      <a:pt x="481" y="439"/>
                    </a:cubicBezTo>
                    <a:cubicBezTo>
                      <a:pt x="489" y="413"/>
                      <a:pt x="489" y="413"/>
                      <a:pt x="489" y="413"/>
                    </a:cubicBezTo>
                    <a:cubicBezTo>
                      <a:pt x="489" y="413"/>
                      <a:pt x="483" y="393"/>
                      <a:pt x="487" y="395"/>
                    </a:cubicBezTo>
                    <a:cubicBezTo>
                      <a:pt x="491" y="396"/>
                      <a:pt x="501" y="399"/>
                      <a:pt x="501" y="399"/>
                    </a:cubicBezTo>
                    <a:cubicBezTo>
                      <a:pt x="513" y="391"/>
                      <a:pt x="513" y="391"/>
                      <a:pt x="513" y="391"/>
                    </a:cubicBezTo>
                    <a:cubicBezTo>
                      <a:pt x="506" y="371"/>
                      <a:pt x="506" y="371"/>
                      <a:pt x="506" y="371"/>
                    </a:cubicBezTo>
                    <a:cubicBezTo>
                      <a:pt x="506" y="371"/>
                      <a:pt x="478" y="372"/>
                      <a:pt x="490" y="332"/>
                    </a:cubicBezTo>
                    <a:cubicBezTo>
                      <a:pt x="482" y="311"/>
                      <a:pt x="482" y="311"/>
                      <a:pt x="482" y="311"/>
                    </a:cubicBezTo>
                    <a:cubicBezTo>
                      <a:pt x="494" y="301"/>
                      <a:pt x="494" y="301"/>
                      <a:pt x="494" y="301"/>
                    </a:cubicBezTo>
                    <a:cubicBezTo>
                      <a:pt x="510" y="285"/>
                      <a:pt x="510" y="285"/>
                      <a:pt x="510" y="285"/>
                    </a:cubicBezTo>
                    <a:cubicBezTo>
                      <a:pt x="529" y="287"/>
                      <a:pt x="529" y="287"/>
                      <a:pt x="529" y="287"/>
                    </a:cubicBezTo>
                    <a:cubicBezTo>
                      <a:pt x="541" y="261"/>
                      <a:pt x="541" y="261"/>
                      <a:pt x="541" y="261"/>
                    </a:cubicBezTo>
                    <a:cubicBezTo>
                      <a:pt x="555" y="263"/>
                      <a:pt x="555" y="263"/>
                      <a:pt x="555" y="263"/>
                    </a:cubicBezTo>
                    <a:cubicBezTo>
                      <a:pt x="573" y="256"/>
                      <a:pt x="573" y="256"/>
                      <a:pt x="573" y="256"/>
                    </a:cubicBezTo>
                    <a:cubicBezTo>
                      <a:pt x="570" y="252"/>
                      <a:pt x="570" y="252"/>
                      <a:pt x="570" y="252"/>
                    </a:cubicBezTo>
                    <a:lnTo>
                      <a:pt x="574" y="241"/>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4" name="Limousin" descr="© INSCALE GmbH, 05.05.2010&#10;http://www.presentationload.com/">
                <a:extLst>
                  <a:ext uri="{FF2B5EF4-FFF2-40B4-BE49-F238E27FC236}">
                    <a16:creationId xmlns:a16="http://schemas.microsoft.com/office/drawing/2014/main" id="{4FA2DC5F-8B28-45E5-99F2-EB35462EE5EB}"/>
                  </a:ext>
                </a:extLst>
              </p:cNvPr>
              <p:cNvSpPr>
                <a:spLocks/>
              </p:cNvSpPr>
              <p:nvPr/>
            </p:nvSpPr>
            <p:spPr bwMode="gray">
              <a:xfrm>
                <a:off x="1360" y="1756"/>
                <a:ext cx="473" cy="536"/>
              </a:xfrm>
              <a:custGeom>
                <a:avLst/>
                <a:gdLst/>
                <a:ahLst/>
                <a:cxnLst>
                  <a:cxn ang="0">
                    <a:pos x="50" y="266"/>
                  </a:cxn>
                  <a:cxn ang="0">
                    <a:pos x="97" y="293"/>
                  </a:cxn>
                  <a:cxn ang="0">
                    <a:pos x="110" y="314"/>
                  </a:cxn>
                  <a:cxn ang="0">
                    <a:pos x="135" y="337"/>
                  </a:cxn>
                  <a:cxn ang="0">
                    <a:pos x="133" y="369"/>
                  </a:cxn>
                  <a:cxn ang="0">
                    <a:pos x="141" y="386"/>
                  </a:cxn>
                  <a:cxn ang="0">
                    <a:pos x="142" y="404"/>
                  </a:cxn>
                  <a:cxn ang="0">
                    <a:pos x="169" y="426"/>
                  </a:cxn>
                  <a:cxn ang="0">
                    <a:pos x="175" y="461"/>
                  </a:cxn>
                  <a:cxn ang="0">
                    <a:pos x="258" y="493"/>
                  </a:cxn>
                  <a:cxn ang="0">
                    <a:pos x="286" y="481"/>
                  </a:cxn>
                  <a:cxn ang="0">
                    <a:pos x="319" y="474"/>
                  </a:cxn>
                  <a:cxn ang="0">
                    <a:pos x="343" y="440"/>
                  </a:cxn>
                  <a:cxn ang="0">
                    <a:pos x="350" y="412"/>
                  </a:cxn>
                  <a:cxn ang="0">
                    <a:pos x="363" y="374"/>
                  </a:cxn>
                  <a:cxn ang="0">
                    <a:pos x="385" y="365"/>
                  </a:cxn>
                  <a:cxn ang="0">
                    <a:pos x="402" y="348"/>
                  </a:cxn>
                  <a:cxn ang="0">
                    <a:pos x="410" y="330"/>
                  </a:cxn>
                  <a:cxn ang="0">
                    <a:pos x="419" y="265"/>
                  </a:cxn>
                  <a:cxn ang="0">
                    <a:pos x="403" y="193"/>
                  </a:cxn>
                  <a:cxn ang="0">
                    <a:pos x="438" y="161"/>
                  </a:cxn>
                  <a:cxn ang="0">
                    <a:pos x="430" y="105"/>
                  </a:cxn>
                  <a:cxn ang="0">
                    <a:pos x="397" y="54"/>
                  </a:cxn>
                  <a:cxn ang="0">
                    <a:pos x="375" y="28"/>
                  </a:cxn>
                  <a:cxn ang="0">
                    <a:pos x="365" y="11"/>
                  </a:cxn>
                  <a:cxn ang="0">
                    <a:pos x="318" y="13"/>
                  </a:cxn>
                  <a:cxn ang="0">
                    <a:pos x="250" y="4"/>
                  </a:cxn>
                  <a:cxn ang="0">
                    <a:pos x="235" y="16"/>
                  </a:cxn>
                  <a:cxn ang="0">
                    <a:pos x="219" y="13"/>
                  </a:cxn>
                  <a:cxn ang="0">
                    <a:pos x="201" y="12"/>
                  </a:cxn>
                  <a:cxn ang="0">
                    <a:pos x="169" y="21"/>
                  </a:cxn>
                  <a:cxn ang="0">
                    <a:pos x="151" y="28"/>
                  </a:cxn>
                  <a:cxn ang="0">
                    <a:pos x="129" y="25"/>
                  </a:cxn>
                  <a:cxn ang="0">
                    <a:pos x="97" y="30"/>
                  </a:cxn>
                  <a:cxn ang="0">
                    <a:pos x="66" y="54"/>
                  </a:cxn>
                  <a:cxn ang="0">
                    <a:pos x="38" y="80"/>
                  </a:cxn>
                  <a:cxn ang="0">
                    <a:pos x="62" y="140"/>
                  </a:cxn>
                  <a:cxn ang="0">
                    <a:pos x="57" y="168"/>
                  </a:cxn>
                  <a:cxn ang="0">
                    <a:pos x="45" y="182"/>
                  </a:cxn>
                  <a:cxn ang="0">
                    <a:pos x="17" y="212"/>
                  </a:cxn>
                  <a:cxn ang="0">
                    <a:pos x="0" y="240"/>
                  </a:cxn>
                  <a:cxn ang="0">
                    <a:pos x="31" y="277"/>
                  </a:cxn>
                </a:cxnLst>
                <a:rect l="0" t="0" r="r" b="b"/>
                <a:pathLst>
                  <a:path w="439" h="497">
                    <a:moveTo>
                      <a:pt x="31" y="277"/>
                    </a:moveTo>
                    <a:cubicBezTo>
                      <a:pt x="38" y="281"/>
                      <a:pt x="50" y="266"/>
                      <a:pt x="50" y="266"/>
                    </a:cubicBezTo>
                    <a:cubicBezTo>
                      <a:pt x="85" y="270"/>
                      <a:pt x="85" y="270"/>
                      <a:pt x="85" y="270"/>
                    </a:cubicBezTo>
                    <a:cubicBezTo>
                      <a:pt x="85" y="270"/>
                      <a:pt x="90" y="293"/>
                      <a:pt x="97" y="293"/>
                    </a:cubicBezTo>
                    <a:cubicBezTo>
                      <a:pt x="103" y="293"/>
                      <a:pt x="115" y="294"/>
                      <a:pt x="115" y="294"/>
                    </a:cubicBezTo>
                    <a:cubicBezTo>
                      <a:pt x="110" y="314"/>
                      <a:pt x="110" y="314"/>
                      <a:pt x="110" y="314"/>
                    </a:cubicBezTo>
                    <a:cubicBezTo>
                      <a:pt x="142" y="336"/>
                      <a:pt x="142" y="336"/>
                      <a:pt x="142" y="336"/>
                    </a:cubicBezTo>
                    <a:cubicBezTo>
                      <a:pt x="135" y="337"/>
                      <a:pt x="135" y="337"/>
                      <a:pt x="135" y="337"/>
                    </a:cubicBezTo>
                    <a:cubicBezTo>
                      <a:pt x="135" y="337"/>
                      <a:pt x="149" y="341"/>
                      <a:pt x="149" y="348"/>
                    </a:cubicBezTo>
                    <a:cubicBezTo>
                      <a:pt x="149" y="354"/>
                      <a:pt x="133" y="369"/>
                      <a:pt x="133" y="369"/>
                    </a:cubicBezTo>
                    <a:cubicBezTo>
                      <a:pt x="133" y="380"/>
                      <a:pt x="133" y="380"/>
                      <a:pt x="133" y="380"/>
                    </a:cubicBezTo>
                    <a:cubicBezTo>
                      <a:pt x="141" y="386"/>
                      <a:pt x="141" y="386"/>
                      <a:pt x="141" y="386"/>
                    </a:cubicBezTo>
                    <a:cubicBezTo>
                      <a:pt x="134" y="402"/>
                      <a:pt x="134" y="402"/>
                      <a:pt x="134" y="402"/>
                    </a:cubicBezTo>
                    <a:cubicBezTo>
                      <a:pt x="142" y="404"/>
                      <a:pt x="142" y="404"/>
                      <a:pt x="142" y="404"/>
                    </a:cubicBezTo>
                    <a:cubicBezTo>
                      <a:pt x="138" y="414"/>
                      <a:pt x="138" y="414"/>
                      <a:pt x="138" y="414"/>
                    </a:cubicBezTo>
                    <a:cubicBezTo>
                      <a:pt x="169" y="426"/>
                      <a:pt x="169" y="426"/>
                      <a:pt x="169" y="426"/>
                    </a:cubicBezTo>
                    <a:cubicBezTo>
                      <a:pt x="163" y="436"/>
                      <a:pt x="163" y="436"/>
                      <a:pt x="163" y="436"/>
                    </a:cubicBezTo>
                    <a:cubicBezTo>
                      <a:pt x="175" y="461"/>
                      <a:pt x="175" y="461"/>
                      <a:pt x="175" y="461"/>
                    </a:cubicBezTo>
                    <a:cubicBezTo>
                      <a:pt x="186" y="454"/>
                      <a:pt x="218" y="458"/>
                      <a:pt x="218" y="458"/>
                    </a:cubicBezTo>
                    <a:cubicBezTo>
                      <a:pt x="218" y="458"/>
                      <a:pt x="247" y="489"/>
                      <a:pt x="258" y="493"/>
                    </a:cubicBezTo>
                    <a:cubicBezTo>
                      <a:pt x="269" y="497"/>
                      <a:pt x="283" y="474"/>
                      <a:pt x="283" y="474"/>
                    </a:cubicBezTo>
                    <a:cubicBezTo>
                      <a:pt x="286" y="481"/>
                      <a:pt x="286" y="481"/>
                      <a:pt x="286" y="481"/>
                    </a:cubicBezTo>
                    <a:cubicBezTo>
                      <a:pt x="298" y="476"/>
                      <a:pt x="298" y="476"/>
                      <a:pt x="298" y="476"/>
                    </a:cubicBezTo>
                    <a:cubicBezTo>
                      <a:pt x="319" y="474"/>
                      <a:pt x="319" y="474"/>
                      <a:pt x="319" y="474"/>
                    </a:cubicBezTo>
                    <a:cubicBezTo>
                      <a:pt x="319" y="474"/>
                      <a:pt x="323" y="468"/>
                      <a:pt x="331" y="466"/>
                    </a:cubicBezTo>
                    <a:cubicBezTo>
                      <a:pt x="319" y="444"/>
                      <a:pt x="343" y="440"/>
                      <a:pt x="343" y="440"/>
                    </a:cubicBezTo>
                    <a:cubicBezTo>
                      <a:pt x="342" y="421"/>
                      <a:pt x="342" y="421"/>
                      <a:pt x="342" y="421"/>
                    </a:cubicBezTo>
                    <a:cubicBezTo>
                      <a:pt x="350" y="412"/>
                      <a:pt x="350" y="412"/>
                      <a:pt x="350" y="412"/>
                    </a:cubicBezTo>
                    <a:cubicBezTo>
                      <a:pt x="346" y="401"/>
                      <a:pt x="346" y="401"/>
                      <a:pt x="346" y="401"/>
                    </a:cubicBezTo>
                    <a:cubicBezTo>
                      <a:pt x="363" y="374"/>
                      <a:pt x="363" y="374"/>
                      <a:pt x="363" y="374"/>
                    </a:cubicBezTo>
                    <a:cubicBezTo>
                      <a:pt x="371" y="366"/>
                      <a:pt x="371" y="366"/>
                      <a:pt x="371" y="366"/>
                    </a:cubicBezTo>
                    <a:cubicBezTo>
                      <a:pt x="385" y="365"/>
                      <a:pt x="385" y="365"/>
                      <a:pt x="385" y="365"/>
                    </a:cubicBezTo>
                    <a:cubicBezTo>
                      <a:pt x="385" y="365"/>
                      <a:pt x="378" y="336"/>
                      <a:pt x="385" y="334"/>
                    </a:cubicBezTo>
                    <a:cubicBezTo>
                      <a:pt x="391" y="333"/>
                      <a:pt x="402" y="348"/>
                      <a:pt x="402" y="348"/>
                    </a:cubicBezTo>
                    <a:cubicBezTo>
                      <a:pt x="421" y="342"/>
                      <a:pt x="421" y="342"/>
                      <a:pt x="421" y="342"/>
                    </a:cubicBezTo>
                    <a:cubicBezTo>
                      <a:pt x="410" y="330"/>
                      <a:pt x="410" y="330"/>
                      <a:pt x="410" y="330"/>
                    </a:cubicBezTo>
                    <a:cubicBezTo>
                      <a:pt x="410" y="330"/>
                      <a:pt x="415" y="325"/>
                      <a:pt x="418" y="293"/>
                    </a:cubicBezTo>
                    <a:cubicBezTo>
                      <a:pt x="399" y="269"/>
                      <a:pt x="419" y="265"/>
                      <a:pt x="419" y="265"/>
                    </a:cubicBezTo>
                    <a:cubicBezTo>
                      <a:pt x="419" y="265"/>
                      <a:pt x="426" y="258"/>
                      <a:pt x="403" y="226"/>
                    </a:cubicBezTo>
                    <a:cubicBezTo>
                      <a:pt x="381" y="194"/>
                      <a:pt x="403" y="193"/>
                      <a:pt x="403" y="193"/>
                    </a:cubicBezTo>
                    <a:cubicBezTo>
                      <a:pt x="403" y="193"/>
                      <a:pt x="414" y="208"/>
                      <a:pt x="419" y="185"/>
                    </a:cubicBezTo>
                    <a:cubicBezTo>
                      <a:pt x="425" y="162"/>
                      <a:pt x="438" y="161"/>
                      <a:pt x="438" y="161"/>
                    </a:cubicBezTo>
                    <a:cubicBezTo>
                      <a:pt x="438" y="161"/>
                      <a:pt x="437" y="145"/>
                      <a:pt x="439" y="141"/>
                    </a:cubicBezTo>
                    <a:cubicBezTo>
                      <a:pt x="410" y="118"/>
                      <a:pt x="430" y="105"/>
                      <a:pt x="430" y="105"/>
                    </a:cubicBezTo>
                    <a:cubicBezTo>
                      <a:pt x="411" y="56"/>
                      <a:pt x="411" y="56"/>
                      <a:pt x="411" y="56"/>
                    </a:cubicBezTo>
                    <a:cubicBezTo>
                      <a:pt x="397" y="54"/>
                      <a:pt x="397" y="54"/>
                      <a:pt x="397" y="54"/>
                    </a:cubicBezTo>
                    <a:cubicBezTo>
                      <a:pt x="397" y="54"/>
                      <a:pt x="395" y="45"/>
                      <a:pt x="393" y="44"/>
                    </a:cubicBezTo>
                    <a:cubicBezTo>
                      <a:pt x="354" y="56"/>
                      <a:pt x="375" y="28"/>
                      <a:pt x="375" y="28"/>
                    </a:cubicBezTo>
                    <a:cubicBezTo>
                      <a:pt x="369" y="28"/>
                      <a:pt x="369" y="28"/>
                      <a:pt x="369" y="28"/>
                    </a:cubicBezTo>
                    <a:cubicBezTo>
                      <a:pt x="365" y="11"/>
                      <a:pt x="365" y="11"/>
                      <a:pt x="365" y="11"/>
                    </a:cubicBezTo>
                    <a:cubicBezTo>
                      <a:pt x="365" y="11"/>
                      <a:pt x="365" y="12"/>
                      <a:pt x="365" y="12"/>
                    </a:cubicBezTo>
                    <a:cubicBezTo>
                      <a:pt x="365" y="12"/>
                      <a:pt x="323" y="22"/>
                      <a:pt x="318" y="13"/>
                    </a:cubicBezTo>
                    <a:cubicBezTo>
                      <a:pt x="293" y="0"/>
                      <a:pt x="298" y="9"/>
                      <a:pt x="286" y="12"/>
                    </a:cubicBezTo>
                    <a:cubicBezTo>
                      <a:pt x="274" y="14"/>
                      <a:pt x="250" y="4"/>
                      <a:pt x="250" y="4"/>
                    </a:cubicBezTo>
                    <a:cubicBezTo>
                      <a:pt x="245" y="22"/>
                      <a:pt x="245" y="22"/>
                      <a:pt x="245" y="22"/>
                    </a:cubicBezTo>
                    <a:cubicBezTo>
                      <a:pt x="235" y="16"/>
                      <a:pt x="235" y="16"/>
                      <a:pt x="235" y="16"/>
                    </a:cubicBezTo>
                    <a:cubicBezTo>
                      <a:pt x="222" y="21"/>
                      <a:pt x="222" y="21"/>
                      <a:pt x="222" y="21"/>
                    </a:cubicBezTo>
                    <a:cubicBezTo>
                      <a:pt x="219" y="13"/>
                      <a:pt x="219" y="13"/>
                      <a:pt x="219" y="13"/>
                    </a:cubicBezTo>
                    <a:cubicBezTo>
                      <a:pt x="202" y="24"/>
                      <a:pt x="202" y="24"/>
                      <a:pt x="202" y="24"/>
                    </a:cubicBezTo>
                    <a:cubicBezTo>
                      <a:pt x="201" y="12"/>
                      <a:pt x="201" y="12"/>
                      <a:pt x="201" y="12"/>
                    </a:cubicBezTo>
                    <a:cubicBezTo>
                      <a:pt x="174" y="32"/>
                      <a:pt x="174" y="32"/>
                      <a:pt x="174" y="32"/>
                    </a:cubicBezTo>
                    <a:cubicBezTo>
                      <a:pt x="169" y="21"/>
                      <a:pt x="169" y="21"/>
                      <a:pt x="169" y="21"/>
                    </a:cubicBezTo>
                    <a:cubicBezTo>
                      <a:pt x="151" y="21"/>
                      <a:pt x="151" y="21"/>
                      <a:pt x="151" y="21"/>
                    </a:cubicBezTo>
                    <a:cubicBezTo>
                      <a:pt x="151" y="28"/>
                      <a:pt x="151" y="28"/>
                      <a:pt x="151" y="28"/>
                    </a:cubicBezTo>
                    <a:cubicBezTo>
                      <a:pt x="133" y="30"/>
                      <a:pt x="133" y="30"/>
                      <a:pt x="133" y="30"/>
                    </a:cubicBezTo>
                    <a:cubicBezTo>
                      <a:pt x="129" y="25"/>
                      <a:pt x="129" y="25"/>
                      <a:pt x="129" y="25"/>
                    </a:cubicBezTo>
                    <a:cubicBezTo>
                      <a:pt x="111" y="32"/>
                      <a:pt x="111" y="32"/>
                      <a:pt x="111" y="32"/>
                    </a:cubicBezTo>
                    <a:cubicBezTo>
                      <a:pt x="97" y="30"/>
                      <a:pt x="97" y="30"/>
                      <a:pt x="97" y="30"/>
                    </a:cubicBezTo>
                    <a:cubicBezTo>
                      <a:pt x="85" y="56"/>
                      <a:pt x="85" y="56"/>
                      <a:pt x="85" y="56"/>
                    </a:cubicBezTo>
                    <a:cubicBezTo>
                      <a:pt x="66" y="54"/>
                      <a:pt x="66" y="54"/>
                      <a:pt x="66" y="54"/>
                    </a:cubicBezTo>
                    <a:cubicBezTo>
                      <a:pt x="50" y="70"/>
                      <a:pt x="50" y="70"/>
                      <a:pt x="50" y="70"/>
                    </a:cubicBezTo>
                    <a:cubicBezTo>
                      <a:pt x="38" y="80"/>
                      <a:pt x="38" y="80"/>
                      <a:pt x="38" y="80"/>
                    </a:cubicBezTo>
                    <a:cubicBezTo>
                      <a:pt x="46" y="101"/>
                      <a:pt x="46" y="101"/>
                      <a:pt x="46" y="101"/>
                    </a:cubicBezTo>
                    <a:cubicBezTo>
                      <a:pt x="34" y="141"/>
                      <a:pt x="62" y="140"/>
                      <a:pt x="62" y="140"/>
                    </a:cubicBezTo>
                    <a:cubicBezTo>
                      <a:pt x="69" y="160"/>
                      <a:pt x="69" y="160"/>
                      <a:pt x="69" y="160"/>
                    </a:cubicBezTo>
                    <a:cubicBezTo>
                      <a:pt x="57" y="168"/>
                      <a:pt x="57" y="168"/>
                      <a:pt x="57" y="168"/>
                    </a:cubicBezTo>
                    <a:cubicBezTo>
                      <a:pt x="57" y="168"/>
                      <a:pt x="47" y="165"/>
                      <a:pt x="43" y="164"/>
                    </a:cubicBezTo>
                    <a:cubicBezTo>
                      <a:pt x="39" y="162"/>
                      <a:pt x="45" y="182"/>
                      <a:pt x="45" y="182"/>
                    </a:cubicBezTo>
                    <a:cubicBezTo>
                      <a:pt x="37" y="208"/>
                      <a:pt x="37" y="208"/>
                      <a:pt x="37" y="208"/>
                    </a:cubicBezTo>
                    <a:cubicBezTo>
                      <a:pt x="17" y="212"/>
                      <a:pt x="17" y="212"/>
                      <a:pt x="17" y="212"/>
                    </a:cubicBezTo>
                    <a:cubicBezTo>
                      <a:pt x="17" y="220"/>
                      <a:pt x="17" y="220"/>
                      <a:pt x="17" y="220"/>
                    </a:cubicBezTo>
                    <a:cubicBezTo>
                      <a:pt x="0" y="240"/>
                      <a:pt x="0" y="240"/>
                      <a:pt x="0" y="240"/>
                    </a:cubicBezTo>
                    <a:cubicBezTo>
                      <a:pt x="18" y="243"/>
                      <a:pt x="31" y="249"/>
                      <a:pt x="31" y="249"/>
                    </a:cubicBezTo>
                    <a:cubicBezTo>
                      <a:pt x="31" y="249"/>
                      <a:pt x="25" y="273"/>
                      <a:pt x="31" y="2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5" name="Auvergne" descr="© INSCALE GmbH, 05.05.2010&#10;http://www.presentationload.com/">
                <a:extLst>
                  <a:ext uri="{FF2B5EF4-FFF2-40B4-BE49-F238E27FC236}">
                    <a16:creationId xmlns:a16="http://schemas.microsoft.com/office/drawing/2014/main" id="{9BD5E988-15D3-4B08-876C-E8948F7A9579}"/>
                  </a:ext>
                </a:extLst>
              </p:cNvPr>
              <p:cNvSpPr>
                <a:spLocks/>
              </p:cNvSpPr>
              <p:nvPr/>
            </p:nvSpPr>
            <p:spPr bwMode="gray">
              <a:xfrm>
                <a:off x="1704" y="1640"/>
                <a:ext cx="593" cy="753"/>
              </a:xfrm>
              <a:custGeom>
                <a:avLst/>
                <a:gdLst/>
                <a:ahLst/>
                <a:cxnLst>
                  <a:cxn ang="0">
                    <a:pos x="15" y="669"/>
                  </a:cxn>
                  <a:cxn ang="0">
                    <a:pos x="31" y="697"/>
                  </a:cxn>
                  <a:cxn ang="0">
                    <a:pos x="60" y="689"/>
                  </a:cxn>
                  <a:cxn ang="0">
                    <a:pos x="111" y="665"/>
                  </a:cxn>
                  <a:cxn ang="0">
                    <a:pos x="122" y="617"/>
                  </a:cxn>
                  <a:cxn ang="0">
                    <a:pos x="186" y="636"/>
                  </a:cxn>
                  <a:cxn ang="0">
                    <a:pos x="218" y="663"/>
                  </a:cxn>
                  <a:cxn ang="0">
                    <a:pos x="231" y="607"/>
                  </a:cxn>
                  <a:cxn ang="0">
                    <a:pos x="266" y="611"/>
                  </a:cxn>
                  <a:cxn ang="0">
                    <a:pos x="266" y="603"/>
                  </a:cxn>
                  <a:cxn ang="0">
                    <a:pos x="318" y="635"/>
                  </a:cxn>
                  <a:cxn ang="0">
                    <a:pos x="378" y="629"/>
                  </a:cxn>
                  <a:cxn ang="0">
                    <a:pos x="424" y="628"/>
                  </a:cxn>
                  <a:cxn ang="0">
                    <a:pos x="472" y="612"/>
                  </a:cxn>
                  <a:cxn ang="0">
                    <a:pos x="504" y="560"/>
                  </a:cxn>
                  <a:cxn ang="0">
                    <a:pos x="522" y="535"/>
                  </a:cxn>
                  <a:cxn ang="0">
                    <a:pos x="536" y="517"/>
                  </a:cxn>
                  <a:cxn ang="0">
                    <a:pos x="507" y="467"/>
                  </a:cxn>
                  <a:cxn ang="0">
                    <a:pos x="450" y="463"/>
                  </a:cxn>
                  <a:cxn ang="0">
                    <a:pos x="430" y="449"/>
                  </a:cxn>
                  <a:cxn ang="0">
                    <a:pos x="408" y="445"/>
                  </a:cxn>
                  <a:cxn ang="0">
                    <a:pos x="364" y="320"/>
                  </a:cxn>
                  <a:cxn ang="0">
                    <a:pos x="362" y="273"/>
                  </a:cxn>
                  <a:cxn ang="0">
                    <a:pos x="386" y="217"/>
                  </a:cxn>
                  <a:cxn ang="0">
                    <a:pos x="378" y="176"/>
                  </a:cxn>
                  <a:cxn ang="0">
                    <a:pos x="411" y="159"/>
                  </a:cxn>
                  <a:cxn ang="0">
                    <a:pos x="424" y="101"/>
                  </a:cxn>
                  <a:cxn ang="0">
                    <a:pos x="370" y="81"/>
                  </a:cxn>
                  <a:cxn ang="0">
                    <a:pos x="327" y="32"/>
                  </a:cxn>
                  <a:cxn ang="0">
                    <a:pos x="306" y="31"/>
                  </a:cxn>
                  <a:cxn ang="0">
                    <a:pos x="263" y="25"/>
                  </a:cxn>
                  <a:cxn ang="0">
                    <a:pos x="171" y="23"/>
                  </a:cxn>
                  <a:cxn ang="0">
                    <a:pos x="115" y="49"/>
                  </a:cxn>
                  <a:cxn ang="0">
                    <a:pos x="46" y="118"/>
                  </a:cxn>
                  <a:cxn ang="0">
                    <a:pos x="74" y="151"/>
                  </a:cxn>
                  <a:cxn ang="0">
                    <a:pos x="111" y="212"/>
                  </a:cxn>
                  <a:cxn ang="0">
                    <a:pos x="100" y="292"/>
                  </a:cxn>
                  <a:cxn ang="0">
                    <a:pos x="100" y="372"/>
                  </a:cxn>
                  <a:cxn ang="0">
                    <a:pos x="102" y="449"/>
                  </a:cxn>
                  <a:cxn ang="0">
                    <a:pos x="66" y="472"/>
                  </a:cxn>
                  <a:cxn ang="0">
                    <a:pos x="27" y="508"/>
                  </a:cxn>
                  <a:cxn ang="0">
                    <a:pos x="24" y="547"/>
                  </a:cxn>
                  <a:cxn ang="0">
                    <a:pos x="4" y="608"/>
                  </a:cxn>
                </a:cxnLst>
                <a:rect l="0" t="0" r="r" b="b"/>
                <a:pathLst>
                  <a:path w="550" h="697">
                    <a:moveTo>
                      <a:pt x="4" y="608"/>
                    </a:moveTo>
                    <a:cubicBezTo>
                      <a:pt x="20" y="635"/>
                      <a:pt x="20" y="635"/>
                      <a:pt x="20" y="635"/>
                    </a:cubicBezTo>
                    <a:cubicBezTo>
                      <a:pt x="15" y="669"/>
                      <a:pt x="15" y="669"/>
                      <a:pt x="15" y="669"/>
                    </a:cubicBezTo>
                    <a:cubicBezTo>
                      <a:pt x="24" y="675"/>
                      <a:pt x="24" y="675"/>
                      <a:pt x="24" y="675"/>
                    </a:cubicBezTo>
                    <a:cubicBezTo>
                      <a:pt x="26" y="691"/>
                      <a:pt x="26" y="691"/>
                      <a:pt x="26" y="691"/>
                    </a:cubicBezTo>
                    <a:cubicBezTo>
                      <a:pt x="31" y="697"/>
                      <a:pt x="31" y="697"/>
                      <a:pt x="31" y="697"/>
                    </a:cubicBezTo>
                    <a:cubicBezTo>
                      <a:pt x="30" y="685"/>
                      <a:pt x="30" y="685"/>
                      <a:pt x="30" y="685"/>
                    </a:cubicBezTo>
                    <a:cubicBezTo>
                      <a:pt x="59" y="684"/>
                      <a:pt x="59" y="684"/>
                      <a:pt x="59" y="684"/>
                    </a:cubicBezTo>
                    <a:cubicBezTo>
                      <a:pt x="60" y="689"/>
                      <a:pt x="60" y="689"/>
                      <a:pt x="60" y="689"/>
                    </a:cubicBezTo>
                    <a:cubicBezTo>
                      <a:pt x="94" y="687"/>
                      <a:pt x="94" y="687"/>
                      <a:pt x="94" y="687"/>
                    </a:cubicBezTo>
                    <a:cubicBezTo>
                      <a:pt x="98" y="675"/>
                      <a:pt x="98" y="675"/>
                      <a:pt x="98" y="675"/>
                    </a:cubicBezTo>
                    <a:cubicBezTo>
                      <a:pt x="111" y="665"/>
                      <a:pt x="111" y="665"/>
                      <a:pt x="111" y="665"/>
                    </a:cubicBezTo>
                    <a:cubicBezTo>
                      <a:pt x="112" y="645"/>
                      <a:pt x="112" y="645"/>
                      <a:pt x="112" y="645"/>
                    </a:cubicBezTo>
                    <a:cubicBezTo>
                      <a:pt x="120" y="639"/>
                      <a:pt x="120" y="639"/>
                      <a:pt x="120" y="639"/>
                    </a:cubicBezTo>
                    <a:cubicBezTo>
                      <a:pt x="122" y="617"/>
                      <a:pt x="122" y="617"/>
                      <a:pt x="122" y="617"/>
                    </a:cubicBezTo>
                    <a:cubicBezTo>
                      <a:pt x="122" y="617"/>
                      <a:pt x="122" y="624"/>
                      <a:pt x="131" y="616"/>
                    </a:cubicBezTo>
                    <a:cubicBezTo>
                      <a:pt x="157" y="579"/>
                      <a:pt x="163" y="607"/>
                      <a:pt x="161" y="614"/>
                    </a:cubicBezTo>
                    <a:cubicBezTo>
                      <a:pt x="172" y="606"/>
                      <a:pt x="186" y="636"/>
                      <a:pt x="186" y="636"/>
                    </a:cubicBezTo>
                    <a:cubicBezTo>
                      <a:pt x="195" y="647"/>
                      <a:pt x="195" y="647"/>
                      <a:pt x="195" y="647"/>
                    </a:cubicBezTo>
                    <a:cubicBezTo>
                      <a:pt x="204" y="687"/>
                      <a:pt x="204" y="687"/>
                      <a:pt x="204" y="687"/>
                    </a:cubicBezTo>
                    <a:cubicBezTo>
                      <a:pt x="218" y="663"/>
                      <a:pt x="218" y="663"/>
                      <a:pt x="218" y="663"/>
                    </a:cubicBezTo>
                    <a:cubicBezTo>
                      <a:pt x="224" y="636"/>
                      <a:pt x="224" y="636"/>
                      <a:pt x="224" y="636"/>
                    </a:cubicBezTo>
                    <a:cubicBezTo>
                      <a:pt x="232" y="627"/>
                      <a:pt x="232" y="627"/>
                      <a:pt x="232" y="627"/>
                    </a:cubicBezTo>
                    <a:cubicBezTo>
                      <a:pt x="231" y="607"/>
                      <a:pt x="231" y="607"/>
                      <a:pt x="231" y="607"/>
                    </a:cubicBezTo>
                    <a:cubicBezTo>
                      <a:pt x="240" y="603"/>
                      <a:pt x="240" y="603"/>
                      <a:pt x="240" y="603"/>
                    </a:cubicBezTo>
                    <a:cubicBezTo>
                      <a:pt x="248" y="616"/>
                      <a:pt x="248" y="616"/>
                      <a:pt x="248" y="616"/>
                    </a:cubicBezTo>
                    <a:cubicBezTo>
                      <a:pt x="266" y="611"/>
                      <a:pt x="266" y="611"/>
                      <a:pt x="266" y="611"/>
                    </a:cubicBezTo>
                    <a:cubicBezTo>
                      <a:pt x="266" y="603"/>
                      <a:pt x="266" y="603"/>
                      <a:pt x="266" y="603"/>
                    </a:cubicBezTo>
                    <a:cubicBezTo>
                      <a:pt x="263" y="603"/>
                      <a:pt x="267" y="593"/>
                      <a:pt x="267" y="593"/>
                    </a:cubicBezTo>
                    <a:cubicBezTo>
                      <a:pt x="266" y="603"/>
                      <a:pt x="266" y="603"/>
                      <a:pt x="266" y="603"/>
                    </a:cubicBezTo>
                    <a:cubicBezTo>
                      <a:pt x="267" y="603"/>
                      <a:pt x="269" y="602"/>
                      <a:pt x="271" y="600"/>
                    </a:cubicBezTo>
                    <a:cubicBezTo>
                      <a:pt x="282" y="591"/>
                      <a:pt x="300" y="584"/>
                      <a:pt x="300" y="584"/>
                    </a:cubicBezTo>
                    <a:cubicBezTo>
                      <a:pt x="318" y="635"/>
                      <a:pt x="318" y="635"/>
                      <a:pt x="318" y="635"/>
                    </a:cubicBezTo>
                    <a:cubicBezTo>
                      <a:pt x="318" y="635"/>
                      <a:pt x="318" y="635"/>
                      <a:pt x="342" y="627"/>
                    </a:cubicBezTo>
                    <a:cubicBezTo>
                      <a:pt x="346" y="600"/>
                      <a:pt x="356" y="624"/>
                      <a:pt x="356" y="624"/>
                    </a:cubicBezTo>
                    <a:cubicBezTo>
                      <a:pt x="378" y="629"/>
                      <a:pt x="378" y="629"/>
                      <a:pt x="378" y="629"/>
                    </a:cubicBezTo>
                    <a:cubicBezTo>
                      <a:pt x="399" y="655"/>
                      <a:pt x="399" y="655"/>
                      <a:pt x="399" y="655"/>
                    </a:cubicBezTo>
                    <a:cubicBezTo>
                      <a:pt x="424" y="644"/>
                      <a:pt x="424" y="644"/>
                      <a:pt x="424" y="644"/>
                    </a:cubicBezTo>
                    <a:cubicBezTo>
                      <a:pt x="424" y="628"/>
                      <a:pt x="424" y="628"/>
                      <a:pt x="424" y="628"/>
                    </a:cubicBezTo>
                    <a:cubicBezTo>
                      <a:pt x="443" y="619"/>
                      <a:pt x="443" y="619"/>
                      <a:pt x="443" y="619"/>
                    </a:cubicBezTo>
                    <a:cubicBezTo>
                      <a:pt x="444" y="613"/>
                      <a:pt x="444" y="613"/>
                      <a:pt x="444" y="613"/>
                    </a:cubicBezTo>
                    <a:cubicBezTo>
                      <a:pt x="472" y="612"/>
                      <a:pt x="472" y="612"/>
                      <a:pt x="472" y="612"/>
                    </a:cubicBezTo>
                    <a:cubicBezTo>
                      <a:pt x="484" y="584"/>
                      <a:pt x="484" y="584"/>
                      <a:pt x="484" y="584"/>
                    </a:cubicBezTo>
                    <a:cubicBezTo>
                      <a:pt x="504" y="580"/>
                      <a:pt x="504" y="580"/>
                      <a:pt x="504" y="580"/>
                    </a:cubicBezTo>
                    <a:cubicBezTo>
                      <a:pt x="504" y="560"/>
                      <a:pt x="504" y="560"/>
                      <a:pt x="504" y="560"/>
                    </a:cubicBezTo>
                    <a:cubicBezTo>
                      <a:pt x="519" y="560"/>
                      <a:pt x="519" y="560"/>
                      <a:pt x="519" y="560"/>
                    </a:cubicBezTo>
                    <a:cubicBezTo>
                      <a:pt x="519" y="560"/>
                      <a:pt x="512" y="548"/>
                      <a:pt x="512" y="544"/>
                    </a:cubicBezTo>
                    <a:cubicBezTo>
                      <a:pt x="512" y="540"/>
                      <a:pt x="522" y="535"/>
                      <a:pt x="522" y="535"/>
                    </a:cubicBezTo>
                    <a:cubicBezTo>
                      <a:pt x="519" y="523"/>
                      <a:pt x="519" y="523"/>
                      <a:pt x="519" y="523"/>
                    </a:cubicBezTo>
                    <a:cubicBezTo>
                      <a:pt x="533" y="534"/>
                      <a:pt x="533" y="534"/>
                      <a:pt x="533" y="534"/>
                    </a:cubicBezTo>
                    <a:cubicBezTo>
                      <a:pt x="532" y="533"/>
                      <a:pt x="532" y="529"/>
                      <a:pt x="536" y="517"/>
                    </a:cubicBezTo>
                    <a:cubicBezTo>
                      <a:pt x="550" y="468"/>
                      <a:pt x="519" y="489"/>
                      <a:pt x="519" y="489"/>
                    </a:cubicBezTo>
                    <a:cubicBezTo>
                      <a:pt x="512" y="471"/>
                      <a:pt x="512" y="471"/>
                      <a:pt x="512" y="471"/>
                    </a:cubicBezTo>
                    <a:cubicBezTo>
                      <a:pt x="507" y="467"/>
                      <a:pt x="507" y="467"/>
                      <a:pt x="507" y="467"/>
                    </a:cubicBezTo>
                    <a:cubicBezTo>
                      <a:pt x="520" y="456"/>
                      <a:pt x="495" y="459"/>
                      <a:pt x="488" y="449"/>
                    </a:cubicBezTo>
                    <a:cubicBezTo>
                      <a:pt x="482" y="440"/>
                      <a:pt x="452" y="455"/>
                      <a:pt x="452" y="455"/>
                    </a:cubicBezTo>
                    <a:cubicBezTo>
                      <a:pt x="450" y="463"/>
                      <a:pt x="450" y="463"/>
                      <a:pt x="450" y="463"/>
                    </a:cubicBezTo>
                    <a:cubicBezTo>
                      <a:pt x="444" y="456"/>
                      <a:pt x="444" y="456"/>
                      <a:pt x="444" y="456"/>
                    </a:cubicBezTo>
                    <a:cubicBezTo>
                      <a:pt x="434" y="461"/>
                      <a:pt x="434" y="461"/>
                      <a:pt x="434" y="461"/>
                    </a:cubicBezTo>
                    <a:cubicBezTo>
                      <a:pt x="430" y="449"/>
                      <a:pt x="430" y="449"/>
                      <a:pt x="430" y="449"/>
                    </a:cubicBezTo>
                    <a:cubicBezTo>
                      <a:pt x="418" y="449"/>
                      <a:pt x="418" y="449"/>
                      <a:pt x="418" y="449"/>
                    </a:cubicBezTo>
                    <a:cubicBezTo>
                      <a:pt x="412" y="468"/>
                      <a:pt x="412" y="468"/>
                      <a:pt x="412" y="468"/>
                    </a:cubicBezTo>
                    <a:cubicBezTo>
                      <a:pt x="408" y="445"/>
                      <a:pt x="408" y="445"/>
                      <a:pt x="408" y="445"/>
                    </a:cubicBezTo>
                    <a:cubicBezTo>
                      <a:pt x="408" y="445"/>
                      <a:pt x="422" y="439"/>
                      <a:pt x="424" y="432"/>
                    </a:cubicBezTo>
                    <a:cubicBezTo>
                      <a:pt x="436" y="412"/>
                      <a:pt x="396" y="376"/>
                      <a:pt x="391" y="376"/>
                    </a:cubicBezTo>
                    <a:cubicBezTo>
                      <a:pt x="387" y="356"/>
                      <a:pt x="364" y="320"/>
                      <a:pt x="364" y="320"/>
                    </a:cubicBezTo>
                    <a:cubicBezTo>
                      <a:pt x="366" y="292"/>
                      <a:pt x="366" y="292"/>
                      <a:pt x="366" y="292"/>
                    </a:cubicBezTo>
                    <a:cubicBezTo>
                      <a:pt x="374" y="289"/>
                      <a:pt x="374" y="289"/>
                      <a:pt x="374" y="289"/>
                    </a:cubicBezTo>
                    <a:cubicBezTo>
                      <a:pt x="362" y="273"/>
                      <a:pt x="362" y="273"/>
                      <a:pt x="362" y="273"/>
                    </a:cubicBezTo>
                    <a:cubicBezTo>
                      <a:pt x="362" y="261"/>
                      <a:pt x="362" y="261"/>
                      <a:pt x="362" y="261"/>
                    </a:cubicBezTo>
                    <a:cubicBezTo>
                      <a:pt x="387" y="252"/>
                      <a:pt x="387" y="252"/>
                      <a:pt x="387" y="252"/>
                    </a:cubicBezTo>
                    <a:cubicBezTo>
                      <a:pt x="386" y="217"/>
                      <a:pt x="386" y="217"/>
                      <a:pt x="386" y="217"/>
                    </a:cubicBezTo>
                    <a:cubicBezTo>
                      <a:pt x="379" y="204"/>
                      <a:pt x="379" y="204"/>
                      <a:pt x="379" y="204"/>
                    </a:cubicBezTo>
                    <a:cubicBezTo>
                      <a:pt x="383" y="189"/>
                      <a:pt x="383" y="189"/>
                      <a:pt x="383" y="189"/>
                    </a:cubicBezTo>
                    <a:cubicBezTo>
                      <a:pt x="378" y="176"/>
                      <a:pt x="378" y="176"/>
                      <a:pt x="378" y="176"/>
                    </a:cubicBezTo>
                    <a:cubicBezTo>
                      <a:pt x="403" y="165"/>
                      <a:pt x="403" y="165"/>
                      <a:pt x="403" y="165"/>
                    </a:cubicBezTo>
                    <a:cubicBezTo>
                      <a:pt x="403" y="156"/>
                      <a:pt x="403" y="156"/>
                      <a:pt x="403" y="156"/>
                    </a:cubicBezTo>
                    <a:cubicBezTo>
                      <a:pt x="411" y="159"/>
                      <a:pt x="411" y="159"/>
                      <a:pt x="411" y="159"/>
                    </a:cubicBezTo>
                    <a:cubicBezTo>
                      <a:pt x="416" y="145"/>
                      <a:pt x="416" y="145"/>
                      <a:pt x="416" y="145"/>
                    </a:cubicBezTo>
                    <a:cubicBezTo>
                      <a:pt x="423" y="145"/>
                      <a:pt x="423" y="145"/>
                      <a:pt x="423" y="145"/>
                    </a:cubicBezTo>
                    <a:cubicBezTo>
                      <a:pt x="423" y="145"/>
                      <a:pt x="423" y="116"/>
                      <a:pt x="424" y="101"/>
                    </a:cubicBezTo>
                    <a:cubicBezTo>
                      <a:pt x="426" y="87"/>
                      <a:pt x="398" y="97"/>
                      <a:pt x="398" y="97"/>
                    </a:cubicBezTo>
                    <a:cubicBezTo>
                      <a:pt x="387" y="84"/>
                      <a:pt x="387" y="84"/>
                      <a:pt x="387" y="84"/>
                    </a:cubicBezTo>
                    <a:cubicBezTo>
                      <a:pt x="370" y="81"/>
                      <a:pt x="370" y="81"/>
                      <a:pt x="370" y="81"/>
                    </a:cubicBezTo>
                    <a:cubicBezTo>
                      <a:pt x="366" y="63"/>
                      <a:pt x="366" y="63"/>
                      <a:pt x="366" y="63"/>
                    </a:cubicBezTo>
                    <a:cubicBezTo>
                      <a:pt x="366" y="63"/>
                      <a:pt x="336" y="12"/>
                      <a:pt x="332" y="8"/>
                    </a:cubicBezTo>
                    <a:cubicBezTo>
                      <a:pt x="328" y="4"/>
                      <a:pt x="327" y="32"/>
                      <a:pt x="327" y="32"/>
                    </a:cubicBezTo>
                    <a:cubicBezTo>
                      <a:pt x="318" y="31"/>
                      <a:pt x="318" y="31"/>
                      <a:pt x="318" y="31"/>
                    </a:cubicBezTo>
                    <a:cubicBezTo>
                      <a:pt x="306" y="45"/>
                      <a:pt x="306" y="45"/>
                      <a:pt x="306" y="45"/>
                    </a:cubicBezTo>
                    <a:cubicBezTo>
                      <a:pt x="306" y="31"/>
                      <a:pt x="306" y="31"/>
                      <a:pt x="306" y="31"/>
                    </a:cubicBezTo>
                    <a:cubicBezTo>
                      <a:pt x="294" y="24"/>
                      <a:pt x="294" y="24"/>
                      <a:pt x="294" y="24"/>
                    </a:cubicBezTo>
                    <a:cubicBezTo>
                      <a:pt x="294" y="24"/>
                      <a:pt x="283" y="32"/>
                      <a:pt x="279" y="32"/>
                    </a:cubicBezTo>
                    <a:cubicBezTo>
                      <a:pt x="275" y="32"/>
                      <a:pt x="267" y="25"/>
                      <a:pt x="263" y="25"/>
                    </a:cubicBezTo>
                    <a:cubicBezTo>
                      <a:pt x="259" y="25"/>
                      <a:pt x="254" y="36"/>
                      <a:pt x="244" y="35"/>
                    </a:cubicBezTo>
                    <a:cubicBezTo>
                      <a:pt x="236" y="34"/>
                      <a:pt x="220" y="9"/>
                      <a:pt x="213" y="1"/>
                    </a:cubicBezTo>
                    <a:cubicBezTo>
                      <a:pt x="188" y="0"/>
                      <a:pt x="178" y="8"/>
                      <a:pt x="171" y="23"/>
                    </a:cubicBezTo>
                    <a:cubicBezTo>
                      <a:pt x="163" y="39"/>
                      <a:pt x="148" y="17"/>
                      <a:pt x="144" y="17"/>
                    </a:cubicBezTo>
                    <a:cubicBezTo>
                      <a:pt x="140" y="17"/>
                      <a:pt x="122" y="36"/>
                      <a:pt x="122" y="36"/>
                    </a:cubicBezTo>
                    <a:cubicBezTo>
                      <a:pt x="122" y="36"/>
                      <a:pt x="122" y="44"/>
                      <a:pt x="115" y="49"/>
                    </a:cubicBezTo>
                    <a:cubicBezTo>
                      <a:pt x="108" y="55"/>
                      <a:pt x="118" y="77"/>
                      <a:pt x="118" y="77"/>
                    </a:cubicBezTo>
                    <a:cubicBezTo>
                      <a:pt x="118" y="77"/>
                      <a:pt x="118" y="77"/>
                      <a:pt x="102" y="88"/>
                    </a:cubicBezTo>
                    <a:cubicBezTo>
                      <a:pt x="72" y="77"/>
                      <a:pt x="50" y="111"/>
                      <a:pt x="46" y="118"/>
                    </a:cubicBezTo>
                    <a:cubicBezTo>
                      <a:pt x="50" y="135"/>
                      <a:pt x="50" y="135"/>
                      <a:pt x="50" y="135"/>
                    </a:cubicBezTo>
                    <a:cubicBezTo>
                      <a:pt x="56" y="135"/>
                      <a:pt x="56" y="135"/>
                      <a:pt x="56" y="135"/>
                    </a:cubicBezTo>
                    <a:cubicBezTo>
                      <a:pt x="56" y="135"/>
                      <a:pt x="35" y="163"/>
                      <a:pt x="74" y="151"/>
                    </a:cubicBezTo>
                    <a:cubicBezTo>
                      <a:pt x="76" y="152"/>
                      <a:pt x="78" y="161"/>
                      <a:pt x="78" y="161"/>
                    </a:cubicBezTo>
                    <a:cubicBezTo>
                      <a:pt x="92" y="163"/>
                      <a:pt x="92" y="163"/>
                      <a:pt x="92" y="163"/>
                    </a:cubicBezTo>
                    <a:cubicBezTo>
                      <a:pt x="111" y="212"/>
                      <a:pt x="111" y="212"/>
                      <a:pt x="111" y="212"/>
                    </a:cubicBezTo>
                    <a:cubicBezTo>
                      <a:pt x="111" y="212"/>
                      <a:pt x="91" y="225"/>
                      <a:pt x="120" y="248"/>
                    </a:cubicBezTo>
                    <a:cubicBezTo>
                      <a:pt x="118" y="252"/>
                      <a:pt x="119" y="268"/>
                      <a:pt x="119" y="268"/>
                    </a:cubicBezTo>
                    <a:cubicBezTo>
                      <a:pt x="119" y="268"/>
                      <a:pt x="106" y="269"/>
                      <a:pt x="100" y="292"/>
                    </a:cubicBezTo>
                    <a:cubicBezTo>
                      <a:pt x="95" y="315"/>
                      <a:pt x="84" y="300"/>
                      <a:pt x="84" y="300"/>
                    </a:cubicBezTo>
                    <a:cubicBezTo>
                      <a:pt x="84" y="300"/>
                      <a:pt x="62" y="301"/>
                      <a:pt x="84" y="333"/>
                    </a:cubicBezTo>
                    <a:cubicBezTo>
                      <a:pt x="107" y="365"/>
                      <a:pt x="100" y="372"/>
                      <a:pt x="100" y="372"/>
                    </a:cubicBezTo>
                    <a:cubicBezTo>
                      <a:pt x="100" y="372"/>
                      <a:pt x="80" y="376"/>
                      <a:pt x="99" y="400"/>
                    </a:cubicBezTo>
                    <a:cubicBezTo>
                      <a:pt x="96" y="432"/>
                      <a:pt x="91" y="437"/>
                      <a:pt x="91" y="437"/>
                    </a:cubicBezTo>
                    <a:cubicBezTo>
                      <a:pt x="102" y="449"/>
                      <a:pt x="102" y="449"/>
                      <a:pt x="102" y="449"/>
                    </a:cubicBezTo>
                    <a:cubicBezTo>
                      <a:pt x="83" y="455"/>
                      <a:pt x="83" y="455"/>
                      <a:pt x="83" y="455"/>
                    </a:cubicBezTo>
                    <a:cubicBezTo>
                      <a:pt x="83" y="455"/>
                      <a:pt x="72" y="440"/>
                      <a:pt x="66" y="441"/>
                    </a:cubicBezTo>
                    <a:cubicBezTo>
                      <a:pt x="59" y="443"/>
                      <a:pt x="66" y="472"/>
                      <a:pt x="66" y="472"/>
                    </a:cubicBezTo>
                    <a:cubicBezTo>
                      <a:pt x="52" y="473"/>
                      <a:pt x="52" y="473"/>
                      <a:pt x="52" y="473"/>
                    </a:cubicBezTo>
                    <a:cubicBezTo>
                      <a:pt x="44" y="481"/>
                      <a:pt x="44" y="481"/>
                      <a:pt x="44" y="481"/>
                    </a:cubicBezTo>
                    <a:cubicBezTo>
                      <a:pt x="27" y="508"/>
                      <a:pt x="27" y="508"/>
                      <a:pt x="27" y="508"/>
                    </a:cubicBezTo>
                    <a:cubicBezTo>
                      <a:pt x="31" y="519"/>
                      <a:pt x="31" y="519"/>
                      <a:pt x="31" y="519"/>
                    </a:cubicBezTo>
                    <a:cubicBezTo>
                      <a:pt x="23" y="528"/>
                      <a:pt x="23" y="528"/>
                      <a:pt x="23" y="528"/>
                    </a:cubicBezTo>
                    <a:cubicBezTo>
                      <a:pt x="24" y="547"/>
                      <a:pt x="24" y="547"/>
                      <a:pt x="24" y="547"/>
                    </a:cubicBezTo>
                    <a:cubicBezTo>
                      <a:pt x="24" y="547"/>
                      <a:pt x="0" y="551"/>
                      <a:pt x="12" y="573"/>
                    </a:cubicBezTo>
                    <a:cubicBezTo>
                      <a:pt x="8" y="574"/>
                      <a:pt x="5" y="576"/>
                      <a:pt x="3" y="578"/>
                    </a:cubicBezTo>
                    <a:cubicBezTo>
                      <a:pt x="6" y="591"/>
                      <a:pt x="4" y="608"/>
                      <a:pt x="4" y="608"/>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6" name="Provence" descr="© INSCALE GmbH, 05.05.2010&#10;http://www.presentationload.com/">
                <a:extLst>
                  <a:ext uri="{FF2B5EF4-FFF2-40B4-BE49-F238E27FC236}">
                    <a16:creationId xmlns:a16="http://schemas.microsoft.com/office/drawing/2014/main" id="{9A4171FE-BD58-4F57-89AE-DD2732B8B4B6}"/>
                  </a:ext>
                </a:extLst>
              </p:cNvPr>
              <p:cNvSpPr>
                <a:spLocks/>
              </p:cNvSpPr>
              <p:nvPr/>
            </p:nvSpPr>
            <p:spPr bwMode="gray">
              <a:xfrm>
                <a:off x="2233" y="2198"/>
                <a:ext cx="838" cy="739"/>
              </a:xfrm>
              <a:custGeom>
                <a:avLst/>
                <a:gdLst/>
                <a:ahLst/>
                <a:cxnLst>
                  <a:cxn ang="0">
                    <a:pos x="68" y="539"/>
                  </a:cxn>
                  <a:cxn ang="0">
                    <a:pos x="78" y="572"/>
                  </a:cxn>
                  <a:cxn ang="0">
                    <a:pos x="129" y="586"/>
                  </a:cxn>
                  <a:cxn ang="0">
                    <a:pos x="134" y="565"/>
                  </a:cxn>
                  <a:cxn ang="0">
                    <a:pos x="161" y="554"/>
                  </a:cxn>
                  <a:cxn ang="0">
                    <a:pos x="214" y="585"/>
                  </a:cxn>
                  <a:cxn ang="0">
                    <a:pos x="251" y="596"/>
                  </a:cxn>
                  <a:cxn ang="0">
                    <a:pos x="255" y="612"/>
                  </a:cxn>
                  <a:cxn ang="0">
                    <a:pos x="295" y="632"/>
                  </a:cxn>
                  <a:cxn ang="0">
                    <a:pos x="332" y="649"/>
                  </a:cxn>
                  <a:cxn ang="0">
                    <a:pos x="364" y="684"/>
                  </a:cxn>
                  <a:cxn ang="0">
                    <a:pos x="407" y="679"/>
                  </a:cxn>
                  <a:cxn ang="0">
                    <a:pos x="426" y="679"/>
                  </a:cxn>
                  <a:cxn ang="0">
                    <a:pos x="465" y="665"/>
                  </a:cxn>
                  <a:cxn ang="0">
                    <a:pos x="526" y="641"/>
                  </a:cxn>
                  <a:cxn ang="0">
                    <a:pos x="549" y="634"/>
                  </a:cxn>
                  <a:cxn ang="0">
                    <a:pos x="532" y="604"/>
                  </a:cxn>
                  <a:cxn ang="0">
                    <a:pos x="569" y="558"/>
                  </a:cxn>
                  <a:cxn ang="0">
                    <a:pos x="631" y="523"/>
                  </a:cxn>
                  <a:cxn ang="0">
                    <a:pos x="667" y="477"/>
                  </a:cxn>
                  <a:cxn ang="0">
                    <a:pos x="691" y="466"/>
                  </a:cxn>
                  <a:cxn ang="0">
                    <a:pos x="715" y="460"/>
                  </a:cxn>
                  <a:cxn ang="0">
                    <a:pos x="723" y="445"/>
                  </a:cxn>
                  <a:cxn ang="0">
                    <a:pos x="727" y="410"/>
                  </a:cxn>
                  <a:cxn ang="0">
                    <a:pos x="749" y="384"/>
                  </a:cxn>
                  <a:cxn ang="0">
                    <a:pos x="764" y="325"/>
                  </a:cxn>
                  <a:cxn ang="0">
                    <a:pos x="758" y="308"/>
                  </a:cxn>
                  <a:cxn ang="0">
                    <a:pos x="725" y="323"/>
                  </a:cxn>
                  <a:cxn ang="0">
                    <a:pos x="630" y="285"/>
                  </a:cxn>
                  <a:cxn ang="0">
                    <a:pos x="612" y="282"/>
                  </a:cxn>
                  <a:cxn ang="0">
                    <a:pos x="589" y="238"/>
                  </a:cxn>
                  <a:cxn ang="0">
                    <a:pos x="579" y="182"/>
                  </a:cxn>
                  <a:cxn ang="0">
                    <a:pos x="609" y="133"/>
                  </a:cxn>
                  <a:cxn ang="0">
                    <a:pos x="614" y="82"/>
                  </a:cxn>
                  <a:cxn ang="0">
                    <a:pos x="548" y="49"/>
                  </a:cxn>
                  <a:cxn ang="0">
                    <a:pos x="534" y="16"/>
                  </a:cxn>
                  <a:cxn ang="0">
                    <a:pos x="528" y="2"/>
                  </a:cxn>
                  <a:cxn ang="0">
                    <a:pos x="501" y="14"/>
                  </a:cxn>
                  <a:cxn ang="0">
                    <a:pos x="476" y="0"/>
                  </a:cxn>
                  <a:cxn ang="0">
                    <a:pos x="449" y="11"/>
                  </a:cxn>
                  <a:cxn ang="0">
                    <a:pos x="468" y="40"/>
                  </a:cxn>
                  <a:cxn ang="0">
                    <a:pos x="413" y="94"/>
                  </a:cxn>
                  <a:cxn ang="0">
                    <a:pos x="361" y="116"/>
                  </a:cxn>
                  <a:cxn ang="0">
                    <a:pos x="321" y="162"/>
                  </a:cxn>
                  <a:cxn ang="0">
                    <a:pos x="325" y="198"/>
                  </a:cxn>
                  <a:cxn ang="0">
                    <a:pos x="281" y="206"/>
                  </a:cxn>
                  <a:cxn ang="0">
                    <a:pos x="286" y="230"/>
                  </a:cxn>
                  <a:cxn ang="0">
                    <a:pos x="286" y="256"/>
                  </a:cxn>
                  <a:cxn ang="0">
                    <a:pos x="334" y="278"/>
                  </a:cxn>
                  <a:cxn ang="0">
                    <a:pos x="322" y="311"/>
                  </a:cxn>
                  <a:cxn ang="0">
                    <a:pos x="288" y="326"/>
                  </a:cxn>
                  <a:cxn ang="0">
                    <a:pos x="265" y="314"/>
                  </a:cxn>
                  <a:cxn ang="0">
                    <a:pos x="237" y="295"/>
                  </a:cxn>
                  <a:cxn ang="0">
                    <a:pos x="213" y="294"/>
                  </a:cxn>
                  <a:cxn ang="0">
                    <a:pos x="201" y="276"/>
                  </a:cxn>
                  <a:cxn ang="0">
                    <a:pos x="136" y="296"/>
                  </a:cxn>
                  <a:cxn ang="0">
                    <a:pos x="100" y="283"/>
                  </a:cxn>
                  <a:cxn ang="0">
                    <a:pos x="104" y="303"/>
                  </a:cxn>
                  <a:cxn ang="0">
                    <a:pos x="114" y="343"/>
                  </a:cxn>
                  <a:cxn ang="0">
                    <a:pos x="145" y="371"/>
                  </a:cxn>
                  <a:cxn ang="0">
                    <a:pos x="94" y="472"/>
                  </a:cxn>
                  <a:cxn ang="0">
                    <a:pos x="54" y="490"/>
                  </a:cxn>
                  <a:cxn ang="0">
                    <a:pos x="0" y="540"/>
                  </a:cxn>
                </a:cxnLst>
                <a:rect l="0" t="0" r="r" b="b"/>
                <a:pathLst>
                  <a:path w="778" h="684">
                    <a:moveTo>
                      <a:pt x="2" y="541"/>
                    </a:moveTo>
                    <a:cubicBezTo>
                      <a:pt x="3" y="544"/>
                      <a:pt x="54" y="539"/>
                      <a:pt x="68" y="539"/>
                    </a:cubicBezTo>
                    <a:cubicBezTo>
                      <a:pt x="82" y="539"/>
                      <a:pt x="80" y="555"/>
                      <a:pt x="80" y="555"/>
                    </a:cubicBezTo>
                    <a:cubicBezTo>
                      <a:pt x="57" y="564"/>
                      <a:pt x="80" y="563"/>
                      <a:pt x="78" y="572"/>
                    </a:cubicBezTo>
                    <a:cubicBezTo>
                      <a:pt x="76" y="581"/>
                      <a:pt x="119" y="577"/>
                      <a:pt x="119" y="577"/>
                    </a:cubicBezTo>
                    <a:cubicBezTo>
                      <a:pt x="119" y="577"/>
                      <a:pt x="127" y="583"/>
                      <a:pt x="129" y="586"/>
                    </a:cubicBezTo>
                    <a:cubicBezTo>
                      <a:pt x="131" y="589"/>
                      <a:pt x="138" y="577"/>
                      <a:pt x="144" y="575"/>
                    </a:cubicBezTo>
                    <a:cubicBezTo>
                      <a:pt x="150" y="573"/>
                      <a:pt x="138" y="576"/>
                      <a:pt x="134" y="565"/>
                    </a:cubicBezTo>
                    <a:cubicBezTo>
                      <a:pt x="130" y="554"/>
                      <a:pt x="139" y="558"/>
                      <a:pt x="139" y="554"/>
                    </a:cubicBezTo>
                    <a:cubicBezTo>
                      <a:pt x="139" y="550"/>
                      <a:pt x="151" y="554"/>
                      <a:pt x="161" y="554"/>
                    </a:cubicBezTo>
                    <a:cubicBezTo>
                      <a:pt x="171" y="554"/>
                      <a:pt x="177" y="583"/>
                      <a:pt x="177" y="583"/>
                    </a:cubicBezTo>
                    <a:cubicBezTo>
                      <a:pt x="214" y="585"/>
                      <a:pt x="214" y="585"/>
                      <a:pt x="214" y="585"/>
                    </a:cubicBezTo>
                    <a:cubicBezTo>
                      <a:pt x="214" y="585"/>
                      <a:pt x="233" y="578"/>
                      <a:pt x="240" y="569"/>
                    </a:cubicBezTo>
                    <a:cubicBezTo>
                      <a:pt x="247" y="560"/>
                      <a:pt x="251" y="596"/>
                      <a:pt x="251" y="596"/>
                    </a:cubicBezTo>
                    <a:cubicBezTo>
                      <a:pt x="251" y="596"/>
                      <a:pt x="248" y="600"/>
                      <a:pt x="245" y="600"/>
                    </a:cubicBezTo>
                    <a:cubicBezTo>
                      <a:pt x="242" y="600"/>
                      <a:pt x="252" y="608"/>
                      <a:pt x="255" y="612"/>
                    </a:cubicBezTo>
                    <a:cubicBezTo>
                      <a:pt x="258" y="616"/>
                      <a:pt x="248" y="623"/>
                      <a:pt x="248" y="623"/>
                    </a:cubicBezTo>
                    <a:cubicBezTo>
                      <a:pt x="248" y="623"/>
                      <a:pt x="291" y="631"/>
                      <a:pt x="295" y="632"/>
                    </a:cubicBezTo>
                    <a:cubicBezTo>
                      <a:pt x="305" y="651"/>
                      <a:pt x="316" y="636"/>
                      <a:pt x="322" y="637"/>
                    </a:cubicBezTo>
                    <a:cubicBezTo>
                      <a:pt x="328" y="638"/>
                      <a:pt x="320" y="648"/>
                      <a:pt x="332" y="649"/>
                    </a:cubicBezTo>
                    <a:cubicBezTo>
                      <a:pt x="344" y="650"/>
                      <a:pt x="354" y="671"/>
                      <a:pt x="348" y="676"/>
                    </a:cubicBezTo>
                    <a:cubicBezTo>
                      <a:pt x="342" y="681"/>
                      <a:pt x="356" y="680"/>
                      <a:pt x="364" y="684"/>
                    </a:cubicBezTo>
                    <a:cubicBezTo>
                      <a:pt x="372" y="671"/>
                      <a:pt x="393" y="669"/>
                      <a:pt x="399" y="666"/>
                    </a:cubicBezTo>
                    <a:cubicBezTo>
                      <a:pt x="405" y="663"/>
                      <a:pt x="404" y="681"/>
                      <a:pt x="407" y="679"/>
                    </a:cubicBezTo>
                    <a:cubicBezTo>
                      <a:pt x="410" y="677"/>
                      <a:pt x="418" y="669"/>
                      <a:pt x="424" y="674"/>
                    </a:cubicBezTo>
                    <a:cubicBezTo>
                      <a:pt x="426" y="676"/>
                      <a:pt x="426" y="678"/>
                      <a:pt x="426" y="679"/>
                    </a:cubicBezTo>
                    <a:cubicBezTo>
                      <a:pt x="427" y="679"/>
                      <a:pt x="437" y="672"/>
                      <a:pt x="443" y="663"/>
                    </a:cubicBezTo>
                    <a:cubicBezTo>
                      <a:pt x="449" y="654"/>
                      <a:pt x="443" y="663"/>
                      <a:pt x="465" y="665"/>
                    </a:cubicBezTo>
                    <a:cubicBezTo>
                      <a:pt x="472" y="679"/>
                      <a:pt x="481" y="671"/>
                      <a:pt x="481" y="671"/>
                    </a:cubicBezTo>
                    <a:cubicBezTo>
                      <a:pt x="469" y="660"/>
                      <a:pt x="520" y="642"/>
                      <a:pt x="526" y="641"/>
                    </a:cubicBezTo>
                    <a:cubicBezTo>
                      <a:pt x="532" y="640"/>
                      <a:pt x="538" y="646"/>
                      <a:pt x="538" y="646"/>
                    </a:cubicBezTo>
                    <a:cubicBezTo>
                      <a:pt x="538" y="646"/>
                      <a:pt x="547" y="639"/>
                      <a:pt x="549" y="634"/>
                    </a:cubicBezTo>
                    <a:cubicBezTo>
                      <a:pt x="551" y="629"/>
                      <a:pt x="551" y="618"/>
                      <a:pt x="548" y="610"/>
                    </a:cubicBezTo>
                    <a:cubicBezTo>
                      <a:pt x="518" y="622"/>
                      <a:pt x="535" y="604"/>
                      <a:pt x="532" y="604"/>
                    </a:cubicBezTo>
                    <a:cubicBezTo>
                      <a:pt x="529" y="604"/>
                      <a:pt x="552" y="584"/>
                      <a:pt x="560" y="578"/>
                    </a:cubicBezTo>
                    <a:cubicBezTo>
                      <a:pt x="559" y="561"/>
                      <a:pt x="569" y="558"/>
                      <a:pt x="569" y="558"/>
                    </a:cubicBezTo>
                    <a:cubicBezTo>
                      <a:pt x="581" y="586"/>
                      <a:pt x="609" y="532"/>
                      <a:pt x="609" y="532"/>
                    </a:cubicBezTo>
                    <a:cubicBezTo>
                      <a:pt x="603" y="509"/>
                      <a:pt x="629" y="516"/>
                      <a:pt x="631" y="523"/>
                    </a:cubicBezTo>
                    <a:cubicBezTo>
                      <a:pt x="630" y="511"/>
                      <a:pt x="644" y="515"/>
                      <a:pt x="648" y="508"/>
                    </a:cubicBezTo>
                    <a:cubicBezTo>
                      <a:pt x="647" y="480"/>
                      <a:pt x="667" y="477"/>
                      <a:pt x="667" y="477"/>
                    </a:cubicBezTo>
                    <a:cubicBezTo>
                      <a:pt x="675" y="465"/>
                      <a:pt x="675" y="465"/>
                      <a:pt x="675" y="465"/>
                    </a:cubicBezTo>
                    <a:cubicBezTo>
                      <a:pt x="691" y="466"/>
                      <a:pt x="691" y="466"/>
                      <a:pt x="691" y="466"/>
                    </a:cubicBezTo>
                    <a:cubicBezTo>
                      <a:pt x="696" y="456"/>
                      <a:pt x="696" y="456"/>
                      <a:pt x="696" y="456"/>
                    </a:cubicBezTo>
                    <a:cubicBezTo>
                      <a:pt x="715" y="460"/>
                      <a:pt x="715" y="460"/>
                      <a:pt x="715" y="460"/>
                    </a:cubicBezTo>
                    <a:cubicBezTo>
                      <a:pt x="713" y="442"/>
                      <a:pt x="713" y="442"/>
                      <a:pt x="713" y="442"/>
                    </a:cubicBezTo>
                    <a:cubicBezTo>
                      <a:pt x="723" y="445"/>
                      <a:pt x="723" y="445"/>
                      <a:pt x="723" y="445"/>
                    </a:cubicBezTo>
                    <a:cubicBezTo>
                      <a:pt x="736" y="435"/>
                      <a:pt x="736" y="435"/>
                      <a:pt x="736" y="435"/>
                    </a:cubicBezTo>
                    <a:cubicBezTo>
                      <a:pt x="727" y="410"/>
                      <a:pt x="727" y="410"/>
                      <a:pt x="727" y="410"/>
                    </a:cubicBezTo>
                    <a:cubicBezTo>
                      <a:pt x="746" y="398"/>
                      <a:pt x="746" y="398"/>
                      <a:pt x="746" y="398"/>
                    </a:cubicBezTo>
                    <a:cubicBezTo>
                      <a:pt x="749" y="384"/>
                      <a:pt x="749" y="384"/>
                      <a:pt x="749" y="384"/>
                    </a:cubicBezTo>
                    <a:cubicBezTo>
                      <a:pt x="763" y="390"/>
                      <a:pt x="778" y="338"/>
                      <a:pt x="778" y="338"/>
                    </a:cubicBezTo>
                    <a:cubicBezTo>
                      <a:pt x="764" y="325"/>
                      <a:pt x="764" y="325"/>
                      <a:pt x="764" y="325"/>
                    </a:cubicBezTo>
                    <a:cubicBezTo>
                      <a:pt x="768" y="311"/>
                      <a:pt x="768" y="311"/>
                      <a:pt x="768" y="311"/>
                    </a:cubicBezTo>
                    <a:cubicBezTo>
                      <a:pt x="758" y="308"/>
                      <a:pt x="758" y="308"/>
                      <a:pt x="758" y="308"/>
                    </a:cubicBezTo>
                    <a:cubicBezTo>
                      <a:pt x="751" y="316"/>
                      <a:pt x="751" y="316"/>
                      <a:pt x="751" y="316"/>
                    </a:cubicBezTo>
                    <a:cubicBezTo>
                      <a:pt x="751" y="316"/>
                      <a:pt x="730" y="316"/>
                      <a:pt x="725" y="323"/>
                    </a:cubicBezTo>
                    <a:cubicBezTo>
                      <a:pt x="717" y="339"/>
                      <a:pt x="690" y="316"/>
                      <a:pt x="690" y="316"/>
                    </a:cubicBezTo>
                    <a:cubicBezTo>
                      <a:pt x="630" y="285"/>
                      <a:pt x="630" y="285"/>
                      <a:pt x="630" y="285"/>
                    </a:cubicBezTo>
                    <a:cubicBezTo>
                      <a:pt x="623" y="288"/>
                      <a:pt x="623" y="288"/>
                      <a:pt x="623" y="288"/>
                    </a:cubicBezTo>
                    <a:cubicBezTo>
                      <a:pt x="612" y="282"/>
                      <a:pt x="612" y="282"/>
                      <a:pt x="612" y="282"/>
                    </a:cubicBezTo>
                    <a:cubicBezTo>
                      <a:pt x="613" y="271"/>
                      <a:pt x="613" y="271"/>
                      <a:pt x="613" y="271"/>
                    </a:cubicBezTo>
                    <a:cubicBezTo>
                      <a:pt x="589" y="238"/>
                      <a:pt x="589" y="238"/>
                      <a:pt x="589" y="238"/>
                    </a:cubicBezTo>
                    <a:cubicBezTo>
                      <a:pt x="598" y="219"/>
                      <a:pt x="598" y="219"/>
                      <a:pt x="598" y="219"/>
                    </a:cubicBezTo>
                    <a:cubicBezTo>
                      <a:pt x="579" y="182"/>
                      <a:pt x="579" y="182"/>
                      <a:pt x="579" y="182"/>
                    </a:cubicBezTo>
                    <a:cubicBezTo>
                      <a:pt x="579" y="182"/>
                      <a:pt x="601" y="155"/>
                      <a:pt x="604" y="152"/>
                    </a:cubicBezTo>
                    <a:cubicBezTo>
                      <a:pt x="598" y="134"/>
                      <a:pt x="611" y="136"/>
                      <a:pt x="609" y="133"/>
                    </a:cubicBezTo>
                    <a:cubicBezTo>
                      <a:pt x="622" y="140"/>
                      <a:pt x="620" y="121"/>
                      <a:pt x="624" y="123"/>
                    </a:cubicBezTo>
                    <a:cubicBezTo>
                      <a:pt x="611" y="113"/>
                      <a:pt x="614" y="82"/>
                      <a:pt x="614" y="82"/>
                    </a:cubicBezTo>
                    <a:cubicBezTo>
                      <a:pt x="577" y="74"/>
                      <a:pt x="577" y="74"/>
                      <a:pt x="577" y="74"/>
                    </a:cubicBezTo>
                    <a:cubicBezTo>
                      <a:pt x="548" y="49"/>
                      <a:pt x="548" y="49"/>
                      <a:pt x="548" y="49"/>
                    </a:cubicBezTo>
                    <a:cubicBezTo>
                      <a:pt x="550" y="19"/>
                      <a:pt x="550" y="19"/>
                      <a:pt x="550" y="19"/>
                    </a:cubicBezTo>
                    <a:cubicBezTo>
                      <a:pt x="534" y="16"/>
                      <a:pt x="534" y="16"/>
                      <a:pt x="534" y="16"/>
                    </a:cubicBezTo>
                    <a:cubicBezTo>
                      <a:pt x="532" y="7"/>
                      <a:pt x="532" y="7"/>
                      <a:pt x="532" y="7"/>
                    </a:cubicBezTo>
                    <a:cubicBezTo>
                      <a:pt x="530" y="6"/>
                      <a:pt x="529" y="4"/>
                      <a:pt x="528" y="2"/>
                    </a:cubicBezTo>
                    <a:cubicBezTo>
                      <a:pt x="504" y="6"/>
                      <a:pt x="504" y="6"/>
                      <a:pt x="504" y="6"/>
                    </a:cubicBezTo>
                    <a:cubicBezTo>
                      <a:pt x="501" y="14"/>
                      <a:pt x="501" y="14"/>
                      <a:pt x="501" y="14"/>
                    </a:cubicBezTo>
                    <a:cubicBezTo>
                      <a:pt x="477" y="14"/>
                      <a:pt x="477" y="14"/>
                      <a:pt x="477" y="14"/>
                    </a:cubicBezTo>
                    <a:cubicBezTo>
                      <a:pt x="476" y="0"/>
                      <a:pt x="476" y="0"/>
                      <a:pt x="476" y="0"/>
                    </a:cubicBezTo>
                    <a:cubicBezTo>
                      <a:pt x="446" y="3"/>
                      <a:pt x="446" y="3"/>
                      <a:pt x="446" y="3"/>
                    </a:cubicBezTo>
                    <a:cubicBezTo>
                      <a:pt x="449" y="11"/>
                      <a:pt x="449" y="11"/>
                      <a:pt x="449" y="11"/>
                    </a:cubicBezTo>
                    <a:cubicBezTo>
                      <a:pt x="449" y="11"/>
                      <a:pt x="444" y="24"/>
                      <a:pt x="444" y="35"/>
                    </a:cubicBezTo>
                    <a:cubicBezTo>
                      <a:pt x="444" y="46"/>
                      <a:pt x="468" y="40"/>
                      <a:pt x="468" y="40"/>
                    </a:cubicBezTo>
                    <a:cubicBezTo>
                      <a:pt x="468" y="40"/>
                      <a:pt x="469" y="59"/>
                      <a:pt x="476" y="82"/>
                    </a:cubicBezTo>
                    <a:cubicBezTo>
                      <a:pt x="410" y="80"/>
                      <a:pt x="420" y="100"/>
                      <a:pt x="413" y="94"/>
                    </a:cubicBezTo>
                    <a:cubicBezTo>
                      <a:pt x="406" y="87"/>
                      <a:pt x="397" y="110"/>
                      <a:pt x="397" y="110"/>
                    </a:cubicBezTo>
                    <a:cubicBezTo>
                      <a:pt x="397" y="110"/>
                      <a:pt x="373" y="116"/>
                      <a:pt x="361" y="116"/>
                    </a:cubicBezTo>
                    <a:cubicBezTo>
                      <a:pt x="349" y="116"/>
                      <a:pt x="354" y="128"/>
                      <a:pt x="358" y="138"/>
                    </a:cubicBezTo>
                    <a:cubicBezTo>
                      <a:pt x="362" y="147"/>
                      <a:pt x="321" y="162"/>
                      <a:pt x="321" y="162"/>
                    </a:cubicBezTo>
                    <a:cubicBezTo>
                      <a:pt x="308" y="188"/>
                      <a:pt x="308" y="188"/>
                      <a:pt x="308" y="188"/>
                    </a:cubicBezTo>
                    <a:cubicBezTo>
                      <a:pt x="325" y="198"/>
                      <a:pt x="325" y="198"/>
                      <a:pt x="325" y="198"/>
                    </a:cubicBezTo>
                    <a:cubicBezTo>
                      <a:pt x="310" y="210"/>
                      <a:pt x="310" y="210"/>
                      <a:pt x="310" y="210"/>
                    </a:cubicBezTo>
                    <a:cubicBezTo>
                      <a:pt x="281" y="206"/>
                      <a:pt x="281" y="206"/>
                      <a:pt x="281" y="206"/>
                    </a:cubicBezTo>
                    <a:cubicBezTo>
                      <a:pt x="278" y="218"/>
                      <a:pt x="278" y="218"/>
                      <a:pt x="278" y="218"/>
                    </a:cubicBezTo>
                    <a:cubicBezTo>
                      <a:pt x="286" y="230"/>
                      <a:pt x="286" y="230"/>
                      <a:pt x="286" y="230"/>
                    </a:cubicBezTo>
                    <a:cubicBezTo>
                      <a:pt x="270" y="231"/>
                      <a:pt x="270" y="231"/>
                      <a:pt x="270" y="231"/>
                    </a:cubicBezTo>
                    <a:cubicBezTo>
                      <a:pt x="286" y="256"/>
                      <a:pt x="286" y="256"/>
                      <a:pt x="286" y="256"/>
                    </a:cubicBezTo>
                    <a:cubicBezTo>
                      <a:pt x="317" y="258"/>
                      <a:pt x="317" y="258"/>
                      <a:pt x="317" y="258"/>
                    </a:cubicBezTo>
                    <a:cubicBezTo>
                      <a:pt x="334" y="278"/>
                      <a:pt x="334" y="278"/>
                      <a:pt x="334" y="278"/>
                    </a:cubicBezTo>
                    <a:cubicBezTo>
                      <a:pt x="334" y="300"/>
                      <a:pt x="334" y="300"/>
                      <a:pt x="334" y="300"/>
                    </a:cubicBezTo>
                    <a:cubicBezTo>
                      <a:pt x="334" y="300"/>
                      <a:pt x="320" y="314"/>
                      <a:pt x="322" y="311"/>
                    </a:cubicBezTo>
                    <a:cubicBezTo>
                      <a:pt x="298" y="303"/>
                      <a:pt x="308" y="314"/>
                      <a:pt x="308" y="314"/>
                    </a:cubicBezTo>
                    <a:cubicBezTo>
                      <a:pt x="288" y="326"/>
                      <a:pt x="288" y="326"/>
                      <a:pt x="288" y="326"/>
                    </a:cubicBezTo>
                    <a:cubicBezTo>
                      <a:pt x="278" y="319"/>
                      <a:pt x="278" y="319"/>
                      <a:pt x="278" y="319"/>
                    </a:cubicBezTo>
                    <a:cubicBezTo>
                      <a:pt x="278" y="319"/>
                      <a:pt x="265" y="323"/>
                      <a:pt x="265" y="314"/>
                    </a:cubicBezTo>
                    <a:cubicBezTo>
                      <a:pt x="265" y="304"/>
                      <a:pt x="258" y="300"/>
                      <a:pt x="258" y="300"/>
                    </a:cubicBezTo>
                    <a:cubicBezTo>
                      <a:pt x="237" y="295"/>
                      <a:pt x="237" y="295"/>
                      <a:pt x="237" y="295"/>
                    </a:cubicBezTo>
                    <a:cubicBezTo>
                      <a:pt x="238" y="302"/>
                      <a:pt x="238" y="302"/>
                      <a:pt x="238" y="302"/>
                    </a:cubicBezTo>
                    <a:cubicBezTo>
                      <a:pt x="213" y="294"/>
                      <a:pt x="213" y="294"/>
                      <a:pt x="213" y="294"/>
                    </a:cubicBezTo>
                    <a:cubicBezTo>
                      <a:pt x="213" y="270"/>
                      <a:pt x="213" y="270"/>
                      <a:pt x="213" y="270"/>
                    </a:cubicBezTo>
                    <a:cubicBezTo>
                      <a:pt x="201" y="276"/>
                      <a:pt x="201" y="276"/>
                      <a:pt x="201" y="276"/>
                    </a:cubicBezTo>
                    <a:cubicBezTo>
                      <a:pt x="190" y="272"/>
                      <a:pt x="190" y="272"/>
                      <a:pt x="190" y="272"/>
                    </a:cubicBezTo>
                    <a:cubicBezTo>
                      <a:pt x="136" y="296"/>
                      <a:pt x="136" y="296"/>
                      <a:pt x="136" y="296"/>
                    </a:cubicBezTo>
                    <a:cubicBezTo>
                      <a:pt x="134" y="260"/>
                      <a:pt x="100" y="268"/>
                      <a:pt x="100" y="268"/>
                    </a:cubicBezTo>
                    <a:cubicBezTo>
                      <a:pt x="100" y="283"/>
                      <a:pt x="100" y="283"/>
                      <a:pt x="100" y="283"/>
                    </a:cubicBezTo>
                    <a:cubicBezTo>
                      <a:pt x="95" y="281"/>
                      <a:pt x="95" y="281"/>
                      <a:pt x="95" y="281"/>
                    </a:cubicBezTo>
                    <a:cubicBezTo>
                      <a:pt x="104" y="303"/>
                      <a:pt x="104" y="303"/>
                      <a:pt x="104" y="303"/>
                    </a:cubicBezTo>
                    <a:cubicBezTo>
                      <a:pt x="114" y="304"/>
                      <a:pt x="114" y="304"/>
                      <a:pt x="114" y="304"/>
                    </a:cubicBezTo>
                    <a:cubicBezTo>
                      <a:pt x="114" y="343"/>
                      <a:pt x="114" y="343"/>
                      <a:pt x="114" y="343"/>
                    </a:cubicBezTo>
                    <a:cubicBezTo>
                      <a:pt x="125" y="339"/>
                      <a:pt x="125" y="339"/>
                      <a:pt x="125" y="339"/>
                    </a:cubicBezTo>
                    <a:cubicBezTo>
                      <a:pt x="145" y="371"/>
                      <a:pt x="145" y="371"/>
                      <a:pt x="145" y="371"/>
                    </a:cubicBezTo>
                    <a:cubicBezTo>
                      <a:pt x="102" y="415"/>
                      <a:pt x="102" y="415"/>
                      <a:pt x="102" y="415"/>
                    </a:cubicBezTo>
                    <a:cubicBezTo>
                      <a:pt x="94" y="472"/>
                      <a:pt x="94" y="472"/>
                      <a:pt x="94" y="472"/>
                    </a:cubicBezTo>
                    <a:cubicBezTo>
                      <a:pt x="69" y="466"/>
                      <a:pt x="69" y="466"/>
                      <a:pt x="69" y="466"/>
                    </a:cubicBezTo>
                    <a:cubicBezTo>
                      <a:pt x="54" y="490"/>
                      <a:pt x="54" y="490"/>
                      <a:pt x="54" y="490"/>
                    </a:cubicBezTo>
                    <a:cubicBezTo>
                      <a:pt x="58" y="500"/>
                      <a:pt x="58" y="500"/>
                      <a:pt x="58" y="500"/>
                    </a:cubicBezTo>
                    <a:cubicBezTo>
                      <a:pt x="0" y="540"/>
                      <a:pt x="0" y="540"/>
                      <a:pt x="0" y="540"/>
                    </a:cubicBezTo>
                    <a:cubicBezTo>
                      <a:pt x="1" y="541"/>
                      <a:pt x="2" y="541"/>
                      <a:pt x="2" y="54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7" name="Languedoc-Roussillon" descr="© INSCALE GmbH, 05.05.2010&#10;http://www.presentationload.com/">
                <a:extLst>
                  <a:ext uri="{FF2B5EF4-FFF2-40B4-BE49-F238E27FC236}">
                    <a16:creationId xmlns:a16="http://schemas.microsoft.com/office/drawing/2014/main" id="{50A5143E-E69F-488B-AEDD-AD9B91FA6B95}"/>
                  </a:ext>
                </a:extLst>
              </p:cNvPr>
              <p:cNvSpPr>
                <a:spLocks/>
              </p:cNvSpPr>
              <p:nvPr/>
            </p:nvSpPr>
            <p:spPr bwMode="gray">
              <a:xfrm>
                <a:off x="1594" y="2270"/>
                <a:ext cx="795" cy="930"/>
              </a:xfrm>
              <a:custGeom>
                <a:avLst/>
                <a:gdLst/>
                <a:ahLst/>
                <a:cxnLst>
                  <a:cxn ang="0">
                    <a:pos x="20" y="800"/>
                  </a:cxn>
                  <a:cxn ang="0">
                    <a:pos x="61" y="817"/>
                  </a:cxn>
                  <a:cxn ang="0">
                    <a:pos x="99" y="847"/>
                  </a:cxn>
                  <a:cxn ang="0">
                    <a:pos x="151" y="830"/>
                  </a:cxn>
                  <a:cxn ang="0">
                    <a:pos x="230" y="858"/>
                  </a:cxn>
                  <a:cxn ang="0">
                    <a:pos x="248" y="831"/>
                  </a:cxn>
                  <a:cxn ang="0">
                    <a:pos x="282" y="817"/>
                  </a:cxn>
                  <a:cxn ang="0">
                    <a:pos x="318" y="812"/>
                  </a:cxn>
                  <a:cxn ang="0">
                    <a:pos x="347" y="824"/>
                  </a:cxn>
                  <a:cxn ang="0">
                    <a:pos x="335" y="788"/>
                  </a:cxn>
                  <a:cxn ang="0">
                    <a:pos x="322" y="658"/>
                  </a:cxn>
                  <a:cxn ang="0">
                    <a:pos x="319" y="622"/>
                  </a:cxn>
                  <a:cxn ang="0">
                    <a:pos x="466" y="488"/>
                  </a:cxn>
                  <a:cxn ang="0">
                    <a:pos x="564" y="442"/>
                  </a:cxn>
                  <a:cxn ang="0">
                    <a:pos x="650" y="433"/>
                  </a:cxn>
                  <a:cxn ang="0">
                    <a:pos x="661" y="399"/>
                  </a:cxn>
                  <a:cxn ang="0">
                    <a:pos x="694" y="348"/>
                  </a:cxn>
                  <a:cxn ang="0">
                    <a:pos x="717" y="272"/>
                  </a:cxn>
                  <a:cxn ang="0">
                    <a:pos x="706" y="237"/>
                  </a:cxn>
                  <a:cxn ang="0">
                    <a:pos x="687" y="214"/>
                  </a:cxn>
                  <a:cxn ang="0">
                    <a:pos x="641" y="209"/>
                  </a:cxn>
                  <a:cxn ang="0">
                    <a:pos x="634" y="195"/>
                  </a:cxn>
                  <a:cxn ang="0">
                    <a:pos x="600" y="225"/>
                  </a:cxn>
                  <a:cxn ang="0">
                    <a:pos x="549" y="208"/>
                  </a:cxn>
                  <a:cxn ang="0">
                    <a:pos x="536" y="159"/>
                  </a:cxn>
                  <a:cxn ang="0">
                    <a:pos x="518" y="121"/>
                  </a:cxn>
                  <a:cxn ang="0">
                    <a:pos x="501" y="71"/>
                  </a:cxn>
                  <a:cxn ang="0">
                    <a:pos x="458" y="40"/>
                  </a:cxn>
                  <a:cxn ang="0">
                    <a:pos x="420" y="51"/>
                  </a:cxn>
                  <a:cxn ang="0">
                    <a:pos x="373" y="16"/>
                  </a:cxn>
                  <a:cxn ang="0">
                    <a:pos x="368" y="27"/>
                  </a:cxn>
                  <a:cxn ang="0">
                    <a:pos x="342" y="19"/>
                  </a:cxn>
                  <a:cxn ang="0">
                    <a:pos x="334" y="43"/>
                  </a:cxn>
                  <a:cxn ang="0">
                    <a:pos x="320" y="79"/>
                  </a:cxn>
                  <a:cxn ang="0">
                    <a:pos x="308" y="108"/>
                  </a:cxn>
                  <a:cxn ang="0">
                    <a:pos x="325" y="155"/>
                  </a:cxn>
                  <a:cxn ang="0">
                    <a:pos x="348" y="208"/>
                  </a:cxn>
                  <a:cxn ang="0">
                    <a:pos x="361" y="232"/>
                  </a:cxn>
                  <a:cxn ang="0">
                    <a:pos x="393" y="256"/>
                  </a:cxn>
                  <a:cxn ang="0">
                    <a:pos x="393" y="285"/>
                  </a:cxn>
                  <a:cxn ang="0">
                    <a:pos x="418" y="303"/>
                  </a:cxn>
                  <a:cxn ang="0">
                    <a:pos x="394" y="345"/>
                  </a:cxn>
                  <a:cxn ang="0">
                    <a:pos x="373" y="364"/>
                  </a:cxn>
                  <a:cxn ang="0">
                    <a:pos x="328" y="405"/>
                  </a:cxn>
                  <a:cxn ang="0">
                    <a:pos x="253" y="427"/>
                  </a:cxn>
                  <a:cxn ang="0">
                    <a:pos x="198" y="492"/>
                  </a:cxn>
                  <a:cxn ang="0">
                    <a:pos x="130" y="509"/>
                  </a:cxn>
                  <a:cxn ang="0">
                    <a:pos x="96" y="496"/>
                  </a:cxn>
                  <a:cxn ang="0">
                    <a:pos x="62" y="508"/>
                  </a:cxn>
                  <a:cxn ang="0">
                    <a:pos x="37" y="520"/>
                  </a:cxn>
                  <a:cxn ang="0">
                    <a:pos x="14" y="572"/>
                  </a:cxn>
                  <a:cxn ang="0">
                    <a:pos x="68" y="612"/>
                  </a:cxn>
                  <a:cxn ang="0">
                    <a:pos x="64" y="651"/>
                  </a:cxn>
                  <a:cxn ang="0">
                    <a:pos x="77" y="669"/>
                  </a:cxn>
                  <a:cxn ang="0">
                    <a:pos x="53" y="693"/>
                  </a:cxn>
                  <a:cxn ang="0">
                    <a:pos x="101" y="713"/>
                  </a:cxn>
                  <a:cxn ang="0">
                    <a:pos x="76" y="743"/>
                  </a:cxn>
                  <a:cxn ang="0">
                    <a:pos x="57" y="760"/>
                  </a:cxn>
                  <a:cxn ang="0">
                    <a:pos x="26" y="768"/>
                  </a:cxn>
                  <a:cxn ang="0">
                    <a:pos x="25" y="777"/>
                  </a:cxn>
                </a:cxnLst>
                <a:rect l="0" t="0" r="r" b="b"/>
                <a:pathLst>
                  <a:path w="737" h="861">
                    <a:moveTo>
                      <a:pt x="25" y="777"/>
                    </a:moveTo>
                    <a:cubicBezTo>
                      <a:pt x="20" y="781"/>
                      <a:pt x="20" y="800"/>
                      <a:pt x="20" y="800"/>
                    </a:cubicBezTo>
                    <a:cubicBezTo>
                      <a:pt x="20" y="800"/>
                      <a:pt x="41" y="808"/>
                      <a:pt x="43" y="805"/>
                    </a:cubicBezTo>
                    <a:cubicBezTo>
                      <a:pt x="47" y="818"/>
                      <a:pt x="61" y="817"/>
                      <a:pt x="61" y="817"/>
                    </a:cubicBezTo>
                    <a:cubicBezTo>
                      <a:pt x="79" y="848"/>
                      <a:pt x="79" y="848"/>
                      <a:pt x="79" y="848"/>
                    </a:cubicBezTo>
                    <a:cubicBezTo>
                      <a:pt x="99" y="847"/>
                      <a:pt x="99" y="847"/>
                      <a:pt x="99" y="847"/>
                    </a:cubicBezTo>
                    <a:cubicBezTo>
                      <a:pt x="119" y="828"/>
                      <a:pt x="119" y="828"/>
                      <a:pt x="119" y="828"/>
                    </a:cubicBezTo>
                    <a:cubicBezTo>
                      <a:pt x="151" y="830"/>
                      <a:pt x="151" y="830"/>
                      <a:pt x="151" y="830"/>
                    </a:cubicBezTo>
                    <a:cubicBezTo>
                      <a:pt x="151" y="830"/>
                      <a:pt x="194" y="861"/>
                      <a:pt x="205" y="857"/>
                    </a:cubicBezTo>
                    <a:cubicBezTo>
                      <a:pt x="216" y="853"/>
                      <a:pt x="230" y="858"/>
                      <a:pt x="230" y="858"/>
                    </a:cubicBezTo>
                    <a:cubicBezTo>
                      <a:pt x="234" y="844"/>
                      <a:pt x="234" y="844"/>
                      <a:pt x="234" y="844"/>
                    </a:cubicBezTo>
                    <a:cubicBezTo>
                      <a:pt x="248" y="831"/>
                      <a:pt x="248" y="831"/>
                      <a:pt x="248" y="831"/>
                    </a:cubicBezTo>
                    <a:cubicBezTo>
                      <a:pt x="265" y="830"/>
                      <a:pt x="265" y="830"/>
                      <a:pt x="265" y="830"/>
                    </a:cubicBezTo>
                    <a:cubicBezTo>
                      <a:pt x="282" y="817"/>
                      <a:pt x="282" y="817"/>
                      <a:pt x="282" y="817"/>
                    </a:cubicBezTo>
                    <a:cubicBezTo>
                      <a:pt x="313" y="812"/>
                      <a:pt x="313" y="812"/>
                      <a:pt x="313" y="812"/>
                    </a:cubicBezTo>
                    <a:cubicBezTo>
                      <a:pt x="318" y="812"/>
                      <a:pt x="318" y="812"/>
                      <a:pt x="318" y="812"/>
                    </a:cubicBezTo>
                    <a:cubicBezTo>
                      <a:pt x="328" y="830"/>
                      <a:pt x="328" y="830"/>
                      <a:pt x="328" y="830"/>
                    </a:cubicBezTo>
                    <a:cubicBezTo>
                      <a:pt x="347" y="824"/>
                      <a:pt x="347" y="824"/>
                      <a:pt x="347" y="824"/>
                    </a:cubicBezTo>
                    <a:cubicBezTo>
                      <a:pt x="352" y="815"/>
                      <a:pt x="340" y="807"/>
                      <a:pt x="340" y="807"/>
                    </a:cubicBezTo>
                    <a:cubicBezTo>
                      <a:pt x="335" y="788"/>
                      <a:pt x="335" y="788"/>
                      <a:pt x="335" y="788"/>
                    </a:cubicBezTo>
                    <a:cubicBezTo>
                      <a:pt x="318" y="785"/>
                      <a:pt x="318" y="785"/>
                      <a:pt x="318" y="785"/>
                    </a:cubicBezTo>
                    <a:cubicBezTo>
                      <a:pt x="322" y="658"/>
                      <a:pt x="322" y="658"/>
                      <a:pt x="322" y="658"/>
                    </a:cubicBezTo>
                    <a:cubicBezTo>
                      <a:pt x="312" y="643"/>
                      <a:pt x="312" y="643"/>
                      <a:pt x="312" y="643"/>
                    </a:cubicBezTo>
                    <a:cubicBezTo>
                      <a:pt x="312" y="643"/>
                      <a:pt x="319" y="627"/>
                      <a:pt x="319" y="622"/>
                    </a:cubicBezTo>
                    <a:cubicBezTo>
                      <a:pt x="380" y="492"/>
                      <a:pt x="416" y="533"/>
                      <a:pt x="416" y="533"/>
                    </a:cubicBezTo>
                    <a:cubicBezTo>
                      <a:pt x="416" y="533"/>
                      <a:pt x="445" y="505"/>
                      <a:pt x="466" y="488"/>
                    </a:cubicBezTo>
                    <a:cubicBezTo>
                      <a:pt x="487" y="471"/>
                      <a:pt x="490" y="472"/>
                      <a:pt x="496" y="458"/>
                    </a:cubicBezTo>
                    <a:cubicBezTo>
                      <a:pt x="559" y="418"/>
                      <a:pt x="561" y="439"/>
                      <a:pt x="564" y="442"/>
                    </a:cubicBezTo>
                    <a:cubicBezTo>
                      <a:pt x="546" y="458"/>
                      <a:pt x="582" y="469"/>
                      <a:pt x="592" y="473"/>
                    </a:cubicBezTo>
                    <a:cubicBezTo>
                      <a:pt x="650" y="433"/>
                      <a:pt x="650" y="433"/>
                      <a:pt x="650" y="433"/>
                    </a:cubicBezTo>
                    <a:cubicBezTo>
                      <a:pt x="646" y="423"/>
                      <a:pt x="646" y="423"/>
                      <a:pt x="646" y="423"/>
                    </a:cubicBezTo>
                    <a:cubicBezTo>
                      <a:pt x="661" y="399"/>
                      <a:pt x="661" y="399"/>
                      <a:pt x="661" y="399"/>
                    </a:cubicBezTo>
                    <a:cubicBezTo>
                      <a:pt x="686" y="405"/>
                      <a:pt x="686" y="405"/>
                      <a:pt x="686" y="405"/>
                    </a:cubicBezTo>
                    <a:cubicBezTo>
                      <a:pt x="694" y="348"/>
                      <a:pt x="694" y="348"/>
                      <a:pt x="694" y="348"/>
                    </a:cubicBezTo>
                    <a:cubicBezTo>
                      <a:pt x="737" y="304"/>
                      <a:pt x="737" y="304"/>
                      <a:pt x="737" y="304"/>
                    </a:cubicBezTo>
                    <a:cubicBezTo>
                      <a:pt x="717" y="272"/>
                      <a:pt x="717" y="272"/>
                      <a:pt x="717" y="272"/>
                    </a:cubicBezTo>
                    <a:cubicBezTo>
                      <a:pt x="706" y="276"/>
                      <a:pt x="706" y="276"/>
                      <a:pt x="706" y="276"/>
                    </a:cubicBezTo>
                    <a:cubicBezTo>
                      <a:pt x="706" y="237"/>
                      <a:pt x="706" y="237"/>
                      <a:pt x="706" y="237"/>
                    </a:cubicBezTo>
                    <a:cubicBezTo>
                      <a:pt x="696" y="236"/>
                      <a:pt x="696" y="236"/>
                      <a:pt x="696" y="236"/>
                    </a:cubicBezTo>
                    <a:cubicBezTo>
                      <a:pt x="687" y="214"/>
                      <a:pt x="687" y="214"/>
                      <a:pt x="687" y="214"/>
                    </a:cubicBezTo>
                    <a:cubicBezTo>
                      <a:pt x="649" y="197"/>
                      <a:pt x="649" y="197"/>
                      <a:pt x="649" y="197"/>
                    </a:cubicBezTo>
                    <a:cubicBezTo>
                      <a:pt x="641" y="209"/>
                      <a:pt x="641" y="209"/>
                      <a:pt x="641" y="209"/>
                    </a:cubicBezTo>
                    <a:cubicBezTo>
                      <a:pt x="634" y="209"/>
                      <a:pt x="634" y="209"/>
                      <a:pt x="634" y="209"/>
                    </a:cubicBezTo>
                    <a:cubicBezTo>
                      <a:pt x="634" y="195"/>
                      <a:pt x="634" y="195"/>
                      <a:pt x="634" y="195"/>
                    </a:cubicBezTo>
                    <a:cubicBezTo>
                      <a:pt x="620" y="195"/>
                      <a:pt x="620" y="195"/>
                      <a:pt x="620" y="195"/>
                    </a:cubicBezTo>
                    <a:cubicBezTo>
                      <a:pt x="600" y="225"/>
                      <a:pt x="600" y="225"/>
                      <a:pt x="600" y="225"/>
                    </a:cubicBezTo>
                    <a:cubicBezTo>
                      <a:pt x="568" y="197"/>
                      <a:pt x="568" y="197"/>
                      <a:pt x="568" y="197"/>
                    </a:cubicBezTo>
                    <a:cubicBezTo>
                      <a:pt x="549" y="208"/>
                      <a:pt x="549" y="208"/>
                      <a:pt x="549" y="208"/>
                    </a:cubicBezTo>
                    <a:cubicBezTo>
                      <a:pt x="556" y="177"/>
                      <a:pt x="556" y="177"/>
                      <a:pt x="556" y="177"/>
                    </a:cubicBezTo>
                    <a:cubicBezTo>
                      <a:pt x="536" y="159"/>
                      <a:pt x="536" y="159"/>
                      <a:pt x="536" y="159"/>
                    </a:cubicBezTo>
                    <a:cubicBezTo>
                      <a:pt x="532" y="128"/>
                      <a:pt x="532" y="128"/>
                      <a:pt x="532" y="128"/>
                    </a:cubicBezTo>
                    <a:cubicBezTo>
                      <a:pt x="518" y="121"/>
                      <a:pt x="518" y="121"/>
                      <a:pt x="518" y="121"/>
                    </a:cubicBezTo>
                    <a:cubicBezTo>
                      <a:pt x="505" y="69"/>
                      <a:pt x="505" y="69"/>
                      <a:pt x="505" y="69"/>
                    </a:cubicBezTo>
                    <a:cubicBezTo>
                      <a:pt x="501" y="71"/>
                      <a:pt x="501" y="71"/>
                      <a:pt x="501" y="71"/>
                    </a:cubicBezTo>
                    <a:cubicBezTo>
                      <a:pt x="480" y="45"/>
                      <a:pt x="480" y="45"/>
                      <a:pt x="480" y="45"/>
                    </a:cubicBezTo>
                    <a:cubicBezTo>
                      <a:pt x="458" y="40"/>
                      <a:pt x="458" y="40"/>
                      <a:pt x="458" y="40"/>
                    </a:cubicBezTo>
                    <a:cubicBezTo>
                      <a:pt x="458" y="40"/>
                      <a:pt x="448" y="16"/>
                      <a:pt x="444" y="43"/>
                    </a:cubicBezTo>
                    <a:cubicBezTo>
                      <a:pt x="420" y="51"/>
                      <a:pt x="420" y="51"/>
                      <a:pt x="420" y="51"/>
                    </a:cubicBezTo>
                    <a:cubicBezTo>
                      <a:pt x="402" y="0"/>
                      <a:pt x="402" y="0"/>
                      <a:pt x="402" y="0"/>
                    </a:cubicBezTo>
                    <a:cubicBezTo>
                      <a:pt x="402" y="0"/>
                      <a:pt x="384" y="7"/>
                      <a:pt x="373" y="16"/>
                    </a:cubicBezTo>
                    <a:cubicBezTo>
                      <a:pt x="371" y="18"/>
                      <a:pt x="369" y="19"/>
                      <a:pt x="368" y="19"/>
                    </a:cubicBezTo>
                    <a:cubicBezTo>
                      <a:pt x="368" y="27"/>
                      <a:pt x="368" y="27"/>
                      <a:pt x="368" y="27"/>
                    </a:cubicBezTo>
                    <a:cubicBezTo>
                      <a:pt x="350" y="32"/>
                      <a:pt x="350" y="32"/>
                      <a:pt x="350" y="32"/>
                    </a:cubicBezTo>
                    <a:cubicBezTo>
                      <a:pt x="342" y="19"/>
                      <a:pt x="342" y="19"/>
                      <a:pt x="342" y="19"/>
                    </a:cubicBezTo>
                    <a:cubicBezTo>
                      <a:pt x="333" y="23"/>
                      <a:pt x="333" y="23"/>
                      <a:pt x="333" y="23"/>
                    </a:cubicBezTo>
                    <a:cubicBezTo>
                      <a:pt x="334" y="43"/>
                      <a:pt x="334" y="43"/>
                      <a:pt x="334" y="43"/>
                    </a:cubicBezTo>
                    <a:cubicBezTo>
                      <a:pt x="326" y="52"/>
                      <a:pt x="326" y="52"/>
                      <a:pt x="326" y="52"/>
                    </a:cubicBezTo>
                    <a:cubicBezTo>
                      <a:pt x="320" y="79"/>
                      <a:pt x="320" y="79"/>
                      <a:pt x="320" y="79"/>
                    </a:cubicBezTo>
                    <a:cubicBezTo>
                      <a:pt x="308" y="99"/>
                      <a:pt x="308" y="99"/>
                      <a:pt x="308" y="99"/>
                    </a:cubicBezTo>
                    <a:cubicBezTo>
                      <a:pt x="308" y="108"/>
                      <a:pt x="308" y="108"/>
                      <a:pt x="308" y="108"/>
                    </a:cubicBezTo>
                    <a:cubicBezTo>
                      <a:pt x="329" y="123"/>
                      <a:pt x="329" y="123"/>
                      <a:pt x="329" y="123"/>
                    </a:cubicBezTo>
                    <a:cubicBezTo>
                      <a:pt x="325" y="155"/>
                      <a:pt x="325" y="155"/>
                      <a:pt x="325" y="155"/>
                    </a:cubicBezTo>
                    <a:cubicBezTo>
                      <a:pt x="346" y="168"/>
                      <a:pt x="346" y="168"/>
                      <a:pt x="346" y="168"/>
                    </a:cubicBezTo>
                    <a:cubicBezTo>
                      <a:pt x="348" y="208"/>
                      <a:pt x="348" y="208"/>
                      <a:pt x="348" y="208"/>
                    </a:cubicBezTo>
                    <a:cubicBezTo>
                      <a:pt x="338" y="224"/>
                      <a:pt x="338" y="224"/>
                      <a:pt x="338" y="224"/>
                    </a:cubicBezTo>
                    <a:cubicBezTo>
                      <a:pt x="361" y="232"/>
                      <a:pt x="361" y="232"/>
                      <a:pt x="361" y="232"/>
                    </a:cubicBezTo>
                    <a:cubicBezTo>
                      <a:pt x="357" y="244"/>
                      <a:pt x="357" y="244"/>
                      <a:pt x="357" y="244"/>
                    </a:cubicBezTo>
                    <a:cubicBezTo>
                      <a:pt x="357" y="244"/>
                      <a:pt x="398" y="251"/>
                      <a:pt x="393" y="256"/>
                    </a:cubicBezTo>
                    <a:cubicBezTo>
                      <a:pt x="388" y="261"/>
                      <a:pt x="373" y="279"/>
                      <a:pt x="373" y="279"/>
                    </a:cubicBezTo>
                    <a:cubicBezTo>
                      <a:pt x="393" y="285"/>
                      <a:pt x="393" y="285"/>
                      <a:pt x="393" y="285"/>
                    </a:cubicBezTo>
                    <a:cubicBezTo>
                      <a:pt x="405" y="295"/>
                      <a:pt x="405" y="295"/>
                      <a:pt x="405" y="295"/>
                    </a:cubicBezTo>
                    <a:cubicBezTo>
                      <a:pt x="418" y="303"/>
                      <a:pt x="418" y="303"/>
                      <a:pt x="418" y="303"/>
                    </a:cubicBezTo>
                    <a:cubicBezTo>
                      <a:pt x="397" y="328"/>
                      <a:pt x="397" y="328"/>
                      <a:pt x="397" y="328"/>
                    </a:cubicBezTo>
                    <a:cubicBezTo>
                      <a:pt x="394" y="345"/>
                      <a:pt x="394" y="345"/>
                      <a:pt x="394" y="345"/>
                    </a:cubicBezTo>
                    <a:cubicBezTo>
                      <a:pt x="373" y="347"/>
                      <a:pt x="373" y="347"/>
                      <a:pt x="373" y="347"/>
                    </a:cubicBezTo>
                    <a:cubicBezTo>
                      <a:pt x="373" y="364"/>
                      <a:pt x="373" y="364"/>
                      <a:pt x="373" y="364"/>
                    </a:cubicBezTo>
                    <a:cubicBezTo>
                      <a:pt x="329" y="365"/>
                      <a:pt x="329" y="365"/>
                      <a:pt x="329" y="365"/>
                    </a:cubicBezTo>
                    <a:cubicBezTo>
                      <a:pt x="328" y="405"/>
                      <a:pt x="328" y="405"/>
                      <a:pt x="328" y="405"/>
                    </a:cubicBezTo>
                    <a:cubicBezTo>
                      <a:pt x="328" y="405"/>
                      <a:pt x="306" y="399"/>
                      <a:pt x="297" y="417"/>
                    </a:cubicBezTo>
                    <a:cubicBezTo>
                      <a:pt x="276" y="427"/>
                      <a:pt x="253" y="427"/>
                      <a:pt x="253" y="427"/>
                    </a:cubicBezTo>
                    <a:cubicBezTo>
                      <a:pt x="253" y="427"/>
                      <a:pt x="202" y="425"/>
                      <a:pt x="241" y="464"/>
                    </a:cubicBezTo>
                    <a:cubicBezTo>
                      <a:pt x="232" y="469"/>
                      <a:pt x="232" y="497"/>
                      <a:pt x="198" y="492"/>
                    </a:cubicBezTo>
                    <a:cubicBezTo>
                      <a:pt x="165" y="487"/>
                      <a:pt x="173" y="499"/>
                      <a:pt x="173" y="499"/>
                    </a:cubicBezTo>
                    <a:cubicBezTo>
                      <a:pt x="173" y="499"/>
                      <a:pt x="130" y="476"/>
                      <a:pt x="130" y="509"/>
                    </a:cubicBezTo>
                    <a:cubicBezTo>
                      <a:pt x="130" y="509"/>
                      <a:pt x="108" y="504"/>
                      <a:pt x="102" y="505"/>
                    </a:cubicBezTo>
                    <a:cubicBezTo>
                      <a:pt x="97" y="507"/>
                      <a:pt x="96" y="496"/>
                      <a:pt x="96" y="496"/>
                    </a:cubicBezTo>
                    <a:cubicBezTo>
                      <a:pt x="68" y="495"/>
                      <a:pt x="68" y="495"/>
                      <a:pt x="68" y="495"/>
                    </a:cubicBezTo>
                    <a:cubicBezTo>
                      <a:pt x="62" y="508"/>
                      <a:pt x="62" y="508"/>
                      <a:pt x="62" y="508"/>
                    </a:cubicBezTo>
                    <a:cubicBezTo>
                      <a:pt x="49" y="487"/>
                      <a:pt x="49" y="487"/>
                      <a:pt x="49" y="487"/>
                    </a:cubicBezTo>
                    <a:cubicBezTo>
                      <a:pt x="49" y="487"/>
                      <a:pt x="37" y="495"/>
                      <a:pt x="37" y="520"/>
                    </a:cubicBezTo>
                    <a:cubicBezTo>
                      <a:pt x="34" y="525"/>
                      <a:pt x="0" y="531"/>
                      <a:pt x="18" y="553"/>
                    </a:cubicBezTo>
                    <a:cubicBezTo>
                      <a:pt x="12" y="553"/>
                      <a:pt x="14" y="572"/>
                      <a:pt x="14" y="572"/>
                    </a:cubicBezTo>
                    <a:cubicBezTo>
                      <a:pt x="64" y="591"/>
                      <a:pt x="64" y="591"/>
                      <a:pt x="64" y="591"/>
                    </a:cubicBezTo>
                    <a:cubicBezTo>
                      <a:pt x="64" y="591"/>
                      <a:pt x="73" y="607"/>
                      <a:pt x="68" y="612"/>
                    </a:cubicBezTo>
                    <a:cubicBezTo>
                      <a:pt x="62" y="617"/>
                      <a:pt x="78" y="644"/>
                      <a:pt x="78" y="644"/>
                    </a:cubicBezTo>
                    <a:cubicBezTo>
                      <a:pt x="64" y="651"/>
                      <a:pt x="64" y="651"/>
                      <a:pt x="64" y="651"/>
                    </a:cubicBezTo>
                    <a:cubicBezTo>
                      <a:pt x="80" y="655"/>
                      <a:pt x="80" y="655"/>
                      <a:pt x="80" y="655"/>
                    </a:cubicBezTo>
                    <a:cubicBezTo>
                      <a:pt x="80" y="655"/>
                      <a:pt x="77" y="665"/>
                      <a:pt x="77" y="669"/>
                    </a:cubicBezTo>
                    <a:cubicBezTo>
                      <a:pt x="77" y="673"/>
                      <a:pt x="54" y="679"/>
                      <a:pt x="54" y="679"/>
                    </a:cubicBezTo>
                    <a:cubicBezTo>
                      <a:pt x="53" y="693"/>
                      <a:pt x="53" y="693"/>
                      <a:pt x="53" y="693"/>
                    </a:cubicBezTo>
                    <a:cubicBezTo>
                      <a:pt x="62" y="697"/>
                      <a:pt x="62" y="697"/>
                      <a:pt x="62" y="697"/>
                    </a:cubicBezTo>
                    <a:cubicBezTo>
                      <a:pt x="62" y="697"/>
                      <a:pt x="48" y="717"/>
                      <a:pt x="101" y="713"/>
                    </a:cubicBezTo>
                    <a:cubicBezTo>
                      <a:pt x="122" y="735"/>
                      <a:pt x="120" y="741"/>
                      <a:pt x="120" y="741"/>
                    </a:cubicBezTo>
                    <a:cubicBezTo>
                      <a:pt x="76" y="743"/>
                      <a:pt x="76" y="743"/>
                      <a:pt x="76" y="743"/>
                    </a:cubicBezTo>
                    <a:cubicBezTo>
                      <a:pt x="78" y="755"/>
                      <a:pt x="78" y="755"/>
                      <a:pt x="78" y="755"/>
                    </a:cubicBezTo>
                    <a:cubicBezTo>
                      <a:pt x="57" y="760"/>
                      <a:pt x="57" y="760"/>
                      <a:pt x="57" y="760"/>
                    </a:cubicBezTo>
                    <a:cubicBezTo>
                      <a:pt x="50" y="769"/>
                      <a:pt x="50" y="769"/>
                      <a:pt x="50" y="769"/>
                    </a:cubicBezTo>
                    <a:cubicBezTo>
                      <a:pt x="26" y="768"/>
                      <a:pt x="26" y="768"/>
                      <a:pt x="26" y="768"/>
                    </a:cubicBezTo>
                    <a:cubicBezTo>
                      <a:pt x="25" y="771"/>
                      <a:pt x="25" y="771"/>
                      <a:pt x="25" y="771"/>
                    </a:cubicBezTo>
                    <a:cubicBezTo>
                      <a:pt x="26" y="774"/>
                      <a:pt x="26" y="776"/>
                      <a:pt x="25" y="7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8" name="Midi-Pyrénnées" descr="© INSCALE GmbH, 05.05.2010&#10;http://www.presentationload.com/">
                <a:extLst>
                  <a:ext uri="{FF2B5EF4-FFF2-40B4-BE49-F238E27FC236}">
                    <a16:creationId xmlns:a16="http://schemas.microsoft.com/office/drawing/2014/main" id="{A2F3FD82-C7EE-4A6F-8CF6-1DEA7DAD94F2}"/>
                  </a:ext>
                </a:extLst>
              </p:cNvPr>
              <p:cNvSpPr>
                <a:spLocks/>
              </p:cNvSpPr>
              <p:nvPr/>
            </p:nvSpPr>
            <p:spPr bwMode="gray">
              <a:xfrm>
                <a:off x="1092" y="2246"/>
                <a:ext cx="953" cy="857"/>
              </a:xfrm>
              <a:custGeom>
                <a:avLst/>
                <a:gdLst/>
                <a:ahLst/>
                <a:cxnLst>
                  <a:cxn ang="0">
                    <a:pos x="839" y="302"/>
                  </a:cxn>
                  <a:cxn ang="0">
                    <a:pos x="827" y="255"/>
                  </a:cxn>
                  <a:cxn ang="0">
                    <a:pos x="812" y="191"/>
                  </a:cxn>
                  <a:cxn ang="0">
                    <a:pos x="774" y="131"/>
                  </a:cxn>
                  <a:cxn ang="0">
                    <a:pos x="763" y="86"/>
                  </a:cxn>
                  <a:cxn ang="0">
                    <a:pos x="727" y="55"/>
                  </a:cxn>
                  <a:cxn ang="0">
                    <a:pos x="690" y="56"/>
                  </a:cxn>
                  <a:cxn ang="0">
                    <a:pos x="679" y="104"/>
                  </a:cxn>
                  <a:cxn ang="0">
                    <a:pos x="628" y="128"/>
                  </a:cxn>
                  <a:cxn ang="0">
                    <a:pos x="599" y="136"/>
                  </a:cxn>
                  <a:cxn ang="0">
                    <a:pos x="583" y="108"/>
                  </a:cxn>
                  <a:cxn ang="0">
                    <a:pos x="571" y="17"/>
                  </a:cxn>
                  <a:cxn ang="0">
                    <a:pos x="535" y="27"/>
                  </a:cxn>
                  <a:cxn ang="0">
                    <a:pos x="467" y="4"/>
                  </a:cxn>
                  <a:cxn ang="0">
                    <a:pos x="420" y="8"/>
                  </a:cxn>
                  <a:cxn ang="0">
                    <a:pos x="424" y="54"/>
                  </a:cxn>
                  <a:cxn ang="0">
                    <a:pos x="390" y="75"/>
                  </a:cxn>
                  <a:cxn ang="0">
                    <a:pos x="363" y="118"/>
                  </a:cxn>
                  <a:cxn ang="0">
                    <a:pos x="327" y="190"/>
                  </a:cxn>
                  <a:cxn ang="0">
                    <a:pos x="291" y="234"/>
                  </a:cxn>
                  <a:cxn ang="0">
                    <a:pos x="296" y="287"/>
                  </a:cxn>
                  <a:cxn ang="0">
                    <a:pos x="227" y="306"/>
                  </a:cxn>
                  <a:cxn ang="0">
                    <a:pos x="140" y="319"/>
                  </a:cxn>
                  <a:cxn ang="0">
                    <a:pos x="104" y="343"/>
                  </a:cxn>
                  <a:cxn ang="0">
                    <a:pos x="83" y="335"/>
                  </a:cxn>
                  <a:cxn ang="0">
                    <a:pos x="42" y="390"/>
                  </a:cxn>
                  <a:cxn ang="0">
                    <a:pos x="30" y="423"/>
                  </a:cxn>
                  <a:cxn ang="0">
                    <a:pos x="34" y="458"/>
                  </a:cxn>
                  <a:cxn ang="0">
                    <a:pos x="72" y="498"/>
                  </a:cxn>
                  <a:cxn ang="0">
                    <a:pos x="90" y="538"/>
                  </a:cxn>
                  <a:cxn ang="0">
                    <a:pos x="67" y="578"/>
                  </a:cxn>
                  <a:cxn ang="0">
                    <a:pos x="38" y="614"/>
                  </a:cxn>
                  <a:cxn ang="0">
                    <a:pos x="0" y="699"/>
                  </a:cxn>
                  <a:cxn ang="0">
                    <a:pos x="53" y="712"/>
                  </a:cxn>
                  <a:cxn ang="0">
                    <a:pos x="129" y="735"/>
                  </a:cxn>
                  <a:cxn ang="0">
                    <a:pos x="245" y="753"/>
                  </a:cxn>
                  <a:cxn ang="0">
                    <a:pos x="321" y="721"/>
                  </a:cxn>
                  <a:cxn ang="0">
                    <a:pos x="467" y="782"/>
                  </a:cxn>
                  <a:cxn ang="0">
                    <a:pos x="492" y="791"/>
                  </a:cxn>
                  <a:cxn ang="0">
                    <a:pos x="544" y="778"/>
                  </a:cxn>
                  <a:cxn ang="0">
                    <a:pos x="567" y="736"/>
                  </a:cxn>
                  <a:cxn ang="0">
                    <a:pos x="520" y="702"/>
                  </a:cxn>
                  <a:cxn ang="0">
                    <a:pos x="530" y="674"/>
                  </a:cxn>
                  <a:cxn ang="0">
                    <a:pos x="530" y="614"/>
                  </a:cxn>
                  <a:cxn ang="0">
                    <a:pos x="503" y="543"/>
                  </a:cxn>
                  <a:cxn ang="0">
                    <a:pos x="534" y="518"/>
                  </a:cxn>
                  <a:cxn ang="0">
                    <a:pos x="596" y="532"/>
                  </a:cxn>
                  <a:cxn ang="0">
                    <a:pos x="707" y="487"/>
                  </a:cxn>
                  <a:cxn ang="0">
                    <a:pos x="794" y="428"/>
                  </a:cxn>
                  <a:cxn ang="0">
                    <a:pos x="839" y="370"/>
                  </a:cxn>
                  <a:cxn ang="0">
                    <a:pos x="884" y="326"/>
                  </a:cxn>
                </a:cxnLst>
                <a:rect l="0" t="0" r="r" b="b"/>
                <a:pathLst>
                  <a:path w="884" h="794">
                    <a:moveTo>
                      <a:pt x="871" y="318"/>
                    </a:moveTo>
                    <a:cubicBezTo>
                      <a:pt x="859" y="308"/>
                      <a:pt x="859" y="308"/>
                      <a:pt x="859" y="308"/>
                    </a:cubicBezTo>
                    <a:cubicBezTo>
                      <a:pt x="839" y="302"/>
                      <a:pt x="839" y="302"/>
                      <a:pt x="839" y="302"/>
                    </a:cubicBezTo>
                    <a:cubicBezTo>
                      <a:pt x="839" y="302"/>
                      <a:pt x="854" y="284"/>
                      <a:pt x="859" y="279"/>
                    </a:cubicBezTo>
                    <a:cubicBezTo>
                      <a:pt x="864" y="274"/>
                      <a:pt x="823" y="267"/>
                      <a:pt x="823" y="267"/>
                    </a:cubicBezTo>
                    <a:cubicBezTo>
                      <a:pt x="827" y="255"/>
                      <a:pt x="827" y="255"/>
                      <a:pt x="827" y="255"/>
                    </a:cubicBezTo>
                    <a:cubicBezTo>
                      <a:pt x="804" y="247"/>
                      <a:pt x="804" y="247"/>
                      <a:pt x="804" y="247"/>
                    </a:cubicBezTo>
                    <a:cubicBezTo>
                      <a:pt x="814" y="231"/>
                      <a:pt x="814" y="231"/>
                      <a:pt x="814" y="231"/>
                    </a:cubicBezTo>
                    <a:cubicBezTo>
                      <a:pt x="812" y="191"/>
                      <a:pt x="812" y="191"/>
                      <a:pt x="812" y="191"/>
                    </a:cubicBezTo>
                    <a:cubicBezTo>
                      <a:pt x="791" y="178"/>
                      <a:pt x="791" y="178"/>
                      <a:pt x="791" y="178"/>
                    </a:cubicBezTo>
                    <a:cubicBezTo>
                      <a:pt x="795" y="146"/>
                      <a:pt x="795" y="146"/>
                      <a:pt x="795" y="146"/>
                    </a:cubicBezTo>
                    <a:cubicBezTo>
                      <a:pt x="774" y="131"/>
                      <a:pt x="774" y="131"/>
                      <a:pt x="774" y="131"/>
                    </a:cubicBezTo>
                    <a:cubicBezTo>
                      <a:pt x="774" y="122"/>
                      <a:pt x="774" y="122"/>
                      <a:pt x="774" y="122"/>
                    </a:cubicBezTo>
                    <a:cubicBezTo>
                      <a:pt x="772" y="126"/>
                      <a:pt x="772" y="126"/>
                      <a:pt x="772" y="126"/>
                    </a:cubicBezTo>
                    <a:cubicBezTo>
                      <a:pt x="763" y="86"/>
                      <a:pt x="763" y="86"/>
                      <a:pt x="763" y="86"/>
                    </a:cubicBezTo>
                    <a:cubicBezTo>
                      <a:pt x="754" y="75"/>
                      <a:pt x="754" y="75"/>
                      <a:pt x="754" y="75"/>
                    </a:cubicBezTo>
                    <a:cubicBezTo>
                      <a:pt x="754" y="75"/>
                      <a:pt x="740" y="45"/>
                      <a:pt x="729" y="53"/>
                    </a:cubicBezTo>
                    <a:cubicBezTo>
                      <a:pt x="729" y="55"/>
                      <a:pt x="728" y="56"/>
                      <a:pt x="727" y="55"/>
                    </a:cubicBezTo>
                    <a:cubicBezTo>
                      <a:pt x="728" y="54"/>
                      <a:pt x="728" y="54"/>
                      <a:pt x="729" y="53"/>
                    </a:cubicBezTo>
                    <a:cubicBezTo>
                      <a:pt x="731" y="46"/>
                      <a:pt x="725" y="18"/>
                      <a:pt x="699" y="55"/>
                    </a:cubicBezTo>
                    <a:cubicBezTo>
                      <a:pt x="690" y="63"/>
                      <a:pt x="690" y="56"/>
                      <a:pt x="690" y="56"/>
                    </a:cubicBezTo>
                    <a:cubicBezTo>
                      <a:pt x="688" y="78"/>
                      <a:pt x="688" y="78"/>
                      <a:pt x="688" y="78"/>
                    </a:cubicBezTo>
                    <a:cubicBezTo>
                      <a:pt x="680" y="84"/>
                      <a:pt x="680" y="84"/>
                      <a:pt x="680" y="84"/>
                    </a:cubicBezTo>
                    <a:cubicBezTo>
                      <a:pt x="679" y="104"/>
                      <a:pt x="679" y="104"/>
                      <a:pt x="679" y="104"/>
                    </a:cubicBezTo>
                    <a:cubicBezTo>
                      <a:pt x="666" y="114"/>
                      <a:pt x="666" y="114"/>
                      <a:pt x="666" y="114"/>
                    </a:cubicBezTo>
                    <a:cubicBezTo>
                      <a:pt x="662" y="126"/>
                      <a:pt x="662" y="126"/>
                      <a:pt x="662" y="126"/>
                    </a:cubicBezTo>
                    <a:cubicBezTo>
                      <a:pt x="628" y="128"/>
                      <a:pt x="628" y="128"/>
                      <a:pt x="628" y="128"/>
                    </a:cubicBezTo>
                    <a:cubicBezTo>
                      <a:pt x="627" y="123"/>
                      <a:pt x="627" y="123"/>
                      <a:pt x="627" y="123"/>
                    </a:cubicBezTo>
                    <a:cubicBezTo>
                      <a:pt x="598" y="124"/>
                      <a:pt x="598" y="124"/>
                      <a:pt x="598" y="124"/>
                    </a:cubicBezTo>
                    <a:cubicBezTo>
                      <a:pt x="599" y="136"/>
                      <a:pt x="599" y="136"/>
                      <a:pt x="599" y="136"/>
                    </a:cubicBezTo>
                    <a:cubicBezTo>
                      <a:pt x="594" y="130"/>
                      <a:pt x="594" y="130"/>
                      <a:pt x="594" y="130"/>
                    </a:cubicBezTo>
                    <a:cubicBezTo>
                      <a:pt x="592" y="114"/>
                      <a:pt x="592" y="114"/>
                      <a:pt x="592" y="114"/>
                    </a:cubicBezTo>
                    <a:cubicBezTo>
                      <a:pt x="583" y="108"/>
                      <a:pt x="583" y="108"/>
                      <a:pt x="583" y="108"/>
                    </a:cubicBezTo>
                    <a:cubicBezTo>
                      <a:pt x="588" y="74"/>
                      <a:pt x="588" y="74"/>
                      <a:pt x="588" y="74"/>
                    </a:cubicBezTo>
                    <a:cubicBezTo>
                      <a:pt x="572" y="47"/>
                      <a:pt x="572" y="47"/>
                      <a:pt x="572" y="47"/>
                    </a:cubicBezTo>
                    <a:cubicBezTo>
                      <a:pt x="572" y="47"/>
                      <a:pt x="574" y="30"/>
                      <a:pt x="571" y="17"/>
                    </a:cubicBezTo>
                    <a:cubicBezTo>
                      <a:pt x="569" y="19"/>
                      <a:pt x="568" y="20"/>
                      <a:pt x="568" y="20"/>
                    </a:cubicBezTo>
                    <a:cubicBezTo>
                      <a:pt x="547" y="22"/>
                      <a:pt x="547" y="22"/>
                      <a:pt x="547" y="22"/>
                    </a:cubicBezTo>
                    <a:cubicBezTo>
                      <a:pt x="535" y="27"/>
                      <a:pt x="535" y="27"/>
                      <a:pt x="535" y="27"/>
                    </a:cubicBezTo>
                    <a:cubicBezTo>
                      <a:pt x="532" y="20"/>
                      <a:pt x="532" y="20"/>
                      <a:pt x="532" y="20"/>
                    </a:cubicBezTo>
                    <a:cubicBezTo>
                      <a:pt x="532" y="20"/>
                      <a:pt x="518" y="43"/>
                      <a:pt x="507" y="39"/>
                    </a:cubicBezTo>
                    <a:cubicBezTo>
                      <a:pt x="496" y="35"/>
                      <a:pt x="467" y="4"/>
                      <a:pt x="467" y="4"/>
                    </a:cubicBezTo>
                    <a:cubicBezTo>
                      <a:pt x="467" y="4"/>
                      <a:pt x="435" y="0"/>
                      <a:pt x="424" y="7"/>
                    </a:cubicBezTo>
                    <a:cubicBezTo>
                      <a:pt x="423" y="4"/>
                      <a:pt x="423" y="4"/>
                      <a:pt x="423" y="4"/>
                    </a:cubicBezTo>
                    <a:cubicBezTo>
                      <a:pt x="420" y="8"/>
                      <a:pt x="420" y="8"/>
                      <a:pt x="420" y="8"/>
                    </a:cubicBezTo>
                    <a:cubicBezTo>
                      <a:pt x="426" y="39"/>
                      <a:pt x="426" y="39"/>
                      <a:pt x="426" y="39"/>
                    </a:cubicBezTo>
                    <a:cubicBezTo>
                      <a:pt x="419" y="44"/>
                      <a:pt x="419" y="44"/>
                      <a:pt x="419" y="44"/>
                    </a:cubicBezTo>
                    <a:cubicBezTo>
                      <a:pt x="424" y="54"/>
                      <a:pt x="424" y="54"/>
                      <a:pt x="424" y="54"/>
                    </a:cubicBezTo>
                    <a:cubicBezTo>
                      <a:pt x="407" y="60"/>
                      <a:pt x="407" y="60"/>
                      <a:pt x="407" y="60"/>
                    </a:cubicBezTo>
                    <a:cubicBezTo>
                      <a:pt x="406" y="74"/>
                      <a:pt x="406" y="74"/>
                      <a:pt x="406" y="74"/>
                    </a:cubicBezTo>
                    <a:cubicBezTo>
                      <a:pt x="390" y="75"/>
                      <a:pt x="390" y="75"/>
                      <a:pt x="390" y="75"/>
                    </a:cubicBezTo>
                    <a:cubicBezTo>
                      <a:pt x="398" y="92"/>
                      <a:pt x="398" y="92"/>
                      <a:pt x="398" y="92"/>
                    </a:cubicBezTo>
                    <a:cubicBezTo>
                      <a:pt x="384" y="112"/>
                      <a:pt x="384" y="112"/>
                      <a:pt x="384" y="112"/>
                    </a:cubicBezTo>
                    <a:cubicBezTo>
                      <a:pt x="363" y="118"/>
                      <a:pt x="363" y="118"/>
                      <a:pt x="363" y="118"/>
                    </a:cubicBezTo>
                    <a:cubicBezTo>
                      <a:pt x="344" y="147"/>
                      <a:pt x="344" y="147"/>
                      <a:pt x="344" y="147"/>
                    </a:cubicBezTo>
                    <a:cubicBezTo>
                      <a:pt x="316" y="156"/>
                      <a:pt x="316" y="156"/>
                      <a:pt x="316" y="156"/>
                    </a:cubicBezTo>
                    <a:cubicBezTo>
                      <a:pt x="316" y="156"/>
                      <a:pt x="327" y="186"/>
                      <a:pt x="327" y="190"/>
                    </a:cubicBezTo>
                    <a:cubicBezTo>
                      <a:pt x="327" y="194"/>
                      <a:pt x="334" y="198"/>
                      <a:pt x="334" y="198"/>
                    </a:cubicBezTo>
                    <a:cubicBezTo>
                      <a:pt x="334" y="198"/>
                      <a:pt x="331" y="223"/>
                      <a:pt x="312" y="216"/>
                    </a:cubicBezTo>
                    <a:cubicBezTo>
                      <a:pt x="294" y="210"/>
                      <a:pt x="291" y="234"/>
                      <a:pt x="291" y="234"/>
                    </a:cubicBezTo>
                    <a:cubicBezTo>
                      <a:pt x="308" y="246"/>
                      <a:pt x="308" y="246"/>
                      <a:pt x="308" y="246"/>
                    </a:cubicBezTo>
                    <a:cubicBezTo>
                      <a:pt x="291" y="270"/>
                      <a:pt x="291" y="270"/>
                      <a:pt x="291" y="270"/>
                    </a:cubicBezTo>
                    <a:cubicBezTo>
                      <a:pt x="296" y="287"/>
                      <a:pt x="296" y="287"/>
                      <a:pt x="296" y="287"/>
                    </a:cubicBezTo>
                    <a:cubicBezTo>
                      <a:pt x="274" y="286"/>
                      <a:pt x="274" y="286"/>
                      <a:pt x="274" y="286"/>
                    </a:cubicBezTo>
                    <a:cubicBezTo>
                      <a:pt x="274" y="286"/>
                      <a:pt x="262" y="322"/>
                      <a:pt x="247" y="322"/>
                    </a:cubicBezTo>
                    <a:cubicBezTo>
                      <a:pt x="232" y="322"/>
                      <a:pt x="227" y="306"/>
                      <a:pt x="227" y="306"/>
                    </a:cubicBezTo>
                    <a:cubicBezTo>
                      <a:pt x="214" y="311"/>
                      <a:pt x="214" y="311"/>
                      <a:pt x="214" y="311"/>
                    </a:cubicBezTo>
                    <a:cubicBezTo>
                      <a:pt x="214" y="311"/>
                      <a:pt x="183" y="326"/>
                      <a:pt x="168" y="327"/>
                    </a:cubicBezTo>
                    <a:cubicBezTo>
                      <a:pt x="154" y="328"/>
                      <a:pt x="140" y="319"/>
                      <a:pt x="140" y="319"/>
                    </a:cubicBezTo>
                    <a:cubicBezTo>
                      <a:pt x="127" y="328"/>
                      <a:pt x="127" y="328"/>
                      <a:pt x="127" y="328"/>
                    </a:cubicBezTo>
                    <a:cubicBezTo>
                      <a:pt x="118" y="326"/>
                      <a:pt x="118" y="326"/>
                      <a:pt x="118" y="326"/>
                    </a:cubicBezTo>
                    <a:cubicBezTo>
                      <a:pt x="118" y="326"/>
                      <a:pt x="103" y="338"/>
                      <a:pt x="104" y="343"/>
                    </a:cubicBezTo>
                    <a:cubicBezTo>
                      <a:pt x="106" y="348"/>
                      <a:pt x="112" y="362"/>
                      <a:pt x="104" y="359"/>
                    </a:cubicBezTo>
                    <a:cubicBezTo>
                      <a:pt x="96" y="356"/>
                      <a:pt x="91" y="348"/>
                      <a:pt x="88" y="342"/>
                    </a:cubicBezTo>
                    <a:cubicBezTo>
                      <a:pt x="86" y="335"/>
                      <a:pt x="83" y="335"/>
                      <a:pt x="83" y="335"/>
                    </a:cubicBezTo>
                    <a:cubicBezTo>
                      <a:pt x="83" y="335"/>
                      <a:pt x="74" y="344"/>
                      <a:pt x="67" y="344"/>
                    </a:cubicBezTo>
                    <a:cubicBezTo>
                      <a:pt x="60" y="344"/>
                      <a:pt x="38" y="358"/>
                      <a:pt x="38" y="358"/>
                    </a:cubicBezTo>
                    <a:cubicBezTo>
                      <a:pt x="42" y="390"/>
                      <a:pt x="42" y="390"/>
                      <a:pt x="42" y="390"/>
                    </a:cubicBezTo>
                    <a:cubicBezTo>
                      <a:pt x="38" y="387"/>
                      <a:pt x="38" y="387"/>
                      <a:pt x="38" y="387"/>
                    </a:cubicBezTo>
                    <a:cubicBezTo>
                      <a:pt x="43" y="408"/>
                      <a:pt x="43" y="408"/>
                      <a:pt x="43" y="408"/>
                    </a:cubicBezTo>
                    <a:cubicBezTo>
                      <a:pt x="30" y="423"/>
                      <a:pt x="30" y="423"/>
                      <a:pt x="30" y="423"/>
                    </a:cubicBezTo>
                    <a:cubicBezTo>
                      <a:pt x="31" y="442"/>
                      <a:pt x="31" y="442"/>
                      <a:pt x="31" y="442"/>
                    </a:cubicBezTo>
                    <a:cubicBezTo>
                      <a:pt x="22" y="446"/>
                      <a:pt x="22" y="446"/>
                      <a:pt x="22" y="446"/>
                    </a:cubicBezTo>
                    <a:cubicBezTo>
                      <a:pt x="34" y="458"/>
                      <a:pt x="34" y="458"/>
                      <a:pt x="34" y="458"/>
                    </a:cubicBezTo>
                    <a:cubicBezTo>
                      <a:pt x="34" y="458"/>
                      <a:pt x="72" y="471"/>
                      <a:pt x="76" y="480"/>
                    </a:cubicBezTo>
                    <a:cubicBezTo>
                      <a:pt x="80" y="490"/>
                      <a:pt x="83" y="494"/>
                      <a:pt x="83" y="494"/>
                    </a:cubicBezTo>
                    <a:cubicBezTo>
                      <a:pt x="72" y="498"/>
                      <a:pt x="72" y="498"/>
                      <a:pt x="72" y="498"/>
                    </a:cubicBezTo>
                    <a:cubicBezTo>
                      <a:pt x="72" y="514"/>
                      <a:pt x="72" y="514"/>
                      <a:pt x="72" y="514"/>
                    </a:cubicBezTo>
                    <a:cubicBezTo>
                      <a:pt x="88" y="508"/>
                      <a:pt x="88" y="508"/>
                      <a:pt x="88" y="508"/>
                    </a:cubicBezTo>
                    <a:cubicBezTo>
                      <a:pt x="90" y="538"/>
                      <a:pt x="90" y="538"/>
                      <a:pt x="90" y="538"/>
                    </a:cubicBezTo>
                    <a:cubicBezTo>
                      <a:pt x="78" y="543"/>
                      <a:pt x="78" y="543"/>
                      <a:pt x="78" y="543"/>
                    </a:cubicBezTo>
                    <a:cubicBezTo>
                      <a:pt x="78" y="543"/>
                      <a:pt x="72" y="555"/>
                      <a:pt x="79" y="563"/>
                    </a:cubicBezTo>
                    <a:cubicBezTo>
                      <a:pt x="79" y="568"/>
                      <a:pt x="67" y="578"/>
                      <a:pt x="67" y="578"/>
                    </a:cubicBezTo>
                    <a:cubicBezTo>
                      <a:pt x="67" y="588"/>
                      <a:pt x="67" y="588"/>
                      <a:pt x="67" y="588"/>
                    </a:cubicBezTo>
                    <a:cubicBezTo>
                      <a:pt x="58" y="588"/>
                      <a:pt x="58" y="588"/>
                      <a:pt x="58" y="588"/>
                    </a:cubicBezTo>
                    <a:cubicBezTo>
                      <a:pt x="38" y="614"/>
                      <a:pt x="38" y="614"/>
                      <a:pt x="38" y="614"/>
                    </a:cubicBezTo>
                    <a:cubicBezTo>
                      <a:pt x="38" y="632"/>
                      <a:pt x="38" y="632"/>
                      <a:pt x="38" y="632"/>
                    </a:cubicBezTo>
                    <a:cubicBezTo>
                      <a:pt x="22" y="634"/>
                      <a:pt x="22" y="634"/>
                      <a:pt x="22" y="634"/>
                    </a:cubicBezTo>
                    <a:cubicBezTo>
                      <a:pt x="0" y="699"/>
                      <a:pt x="0" y="699"/>
                      <a:pt x="0" y="699"/>
                    </a:cubicBezTo>
                    <a:cubicBezTo>
                      <a:pt x="0" y="699"/>
                      <a:pt x="1" y="701"/>
                      <a:pt x="1" y="705"/>
                    </a:cubicBezTo>
                    <a:cubicBezTo>
                      <a:pt x="24" y="689"/>
                      <a:pt x="48" y="712"/>
                      <a:pt x="48" y="712"/>
                    </a:cubicBezTo>
                    <a:cubicBezTo>
                      <a:pt x="53" y="712"/>
                      <a:pt x="53" y="712"/>
                      <a:pt x="53" y="712"/>
                    </a:cubicBezTo>
                    <a:cubicBezTo>
                      <a:pt x="79" y="748"/>
                      <a:pt x="79" y="748"/>
                      <a:pt x="79" y="748"/>
                    </a:cubicBezTo>
                    <a:cubicBezTo>
                      <a:pt x="119" y="746"/>
                      <a:pt x="119" y="746"/>
                      <a:pt x="119" y="746"/>
                    </a:cubicBezTo>
                    <a:cubicBezTo>
                      <a:pt x="129" y="735"/>
                      <a:pt x="129" y="735"/>
                      <a:pt x="129" y="735"/>
                    </a:cubicBezTo>
                    <a:cubicBezTo>
                      <a:pt x="129" y="735"/>
                      <a:pt x="153" y="752"/>
                      <a:pt x="162" y="757"/>
                    </a:cubicBezTo>
                    <a:cubicBezTo>
                      <a:pt x="170" y="733"/>
                      <a:pt x="192" y="748"/>
                      <a:pt x="192" y="748"/>
                    </a:cubicBezTo>
                    <a:cubicBezTo>
                      <a:pt x="192" y="748"/>
                      <a:pt x="239" y="752"/>
                      <a:pt x="245" y="753"/>
                    </a:cubicBezTo>
                    <a:cubicBezTo>
                      <a:pt x="251" y="754"/>
                      <a:pt x="245" y="741"/>
                      <a:pt x="245" y="741"/>
                    </a:cubicBezTo>
                    <a:cubicBezTo>
                      <a:pt x="234" y="718"/>
                      <a:pt x="253" y="691"/>
                      <a:pt x="253" y="691"/>
                    </a:cubicBezTo>
                    <a:cubicBezTo>
                      <a:pt x="253" y="691"/>
                      <a:pt x="302" y="721"/>
                      <a:pt x="321" y="721"/>
                    </a:cubicBezTo>
                    <a:cubicBezTo>
                      <a:pt x="340" y="721"/>
                      <a:pt x="364" y="744"/>
                      <a:pt x="364" y="744"/>
                    </a:cubicBezTo>
                    <a:cubicBezTo>
                      <a:pt x="398" y="728"/>
                      <a:pt x="420" y="779"/>
                      <a:pt x="421" y="782"/>
                    </a:cubicBezTo>
                    <a:cubicBezTo>
                      <a:pt x="442" y="756"/>
                      <a:pt x="467" y="782"/>
                      <a:pt x="467" y="782"/>
                    </a:cubicBezTo>
                    <a:cubicBezTo>
                      <a:pt x="479" y="774"/>
                      <a:pt x="479" y="774"/>
                      <a:pt x="479" y="774"/>
                    </a:cubicBezTo>
                    <a:cubicBezTo>
                      <a:pt x="479" y="774"/>
                      <a:pt x="488" y="786"/>
                      <a:pt x="491" y="794"/>
                    </a:cubicBezTo>
                    <a:cubicBezTo>
                      <a:pt x="492" y="791"/>
                      <a:pt x="492" y="791"/>
                      <a:pt x="492" y="791"/>
                    </a:cubicBezTo>
                    <a:cubicBezTo>
                      <a:pt x="516" y="792"/>
                      <a:pt x="516" y="792"/>
                      <a:pt x="516" y="792"/>
                    </a:cubicBezTo>
                    <a:cubicBezTo>
                      <a:pt x="523" y="783"/>
                      <a:pt x="523" y="783"/>
                      <a:pt x="523" y="783"/>
                    </a:cubicBezTo>
                    <a:cubicBezTo>
                      <a:pt x="544" y="778"/>
                      <a:pt x="544" y="778"/>
                      <a:pt x="544" y="778"/>
                    </a:cubicBezTo>
                    <a:cubicBezTo>
                      <a:pt x="542" y="766"/>
                      <a:pt x="542" y="766"/>
                      <a:pt x="542" y="766"/>
                    </a:cubicBezTo>
                    <a:cubicBezTo>
                      <a:pt x="586" y="764"/>
                      <a:pt x="586" y="764"/>
                      <a:pt x="586" y="764"/>
                    </a:cubicBezTo>
                    <a:cubicBezTo>
                      <a:pt x="586" y="764"/>
                      <a:pt x="588" y="758"/>
                      <a:pt x="567" y="736"/>
                    </a:cubicBezTo>
                    <a:cubicBezTo>
                      <a:pt x="514" y="740"/>
                      <a:pt x="528" y="720"/>
                      <a:pt x="528" y="720"/>
                    </a:cubicBezTo>
                    <a:cubicBezTo>
                      <a:pt x="519" y="716"/>
                      <a:pt x="519" y="716"/>
                      <a:pt x="519" y="716"/>
                    </a:cubicBezTo>
                    <a:cubicBezTo>
                      <a:pt x="520" y="702"/>
                      <a:pt x="520" y="702"/>
                      <a:pt x="520" y="702"/>
                    </a:cubicBezTo>
                    <a:cubicBezTo>
                      <a:pt x="520" y="702"/>
                      <a:pt x="543" y="696"/>
                      <a:pt x="543" y="692"/>
                    </a:cubicBezTo>
                    <a:cubicBezTo>
                      <a:pt x="543" y="688"/>
                      <a:pt x="546" y="678"/>
                      <a:pt x="546" y="678"/>
                    </a:cubicBezTo>
                    <a:cubicBezTo>
                      <a:pt x="530" y="674"/>
                      <a:pt x="530" y="674"/>
                      <a:pt x="530" y="674"/>
                    </a:cubicBezTo>
                    <a:cubicBezTo>
                      <a:pt x="544" y="667"/>
                      <a:pt x="544" y="667"/>
                      <a:pt x="544" y="667"/>
                    </a:cubicBezTo>
                    <a:cubicBezTo>
                      <a:pt x="544" y="667"/>
                      <a:pt x="528" y="640"/>
                      <a:pt x="534" y="635"/>
                    </a:cubicBezTo>
                    <a:cubicBezTo>
                      <a:pt x="539" y="630"/>
                      <a:pt x="530" y="614"/>
                      <a:pt x="530" y="614"/>
                    </a:cubicBezTo>
                    <a:cubicBezTo>
                      <a:pt x="480" y="595"/>
                      <a:pt x="480" y="595"/>
                      <a:pt x="480" y="595"/>
                    </a:cubicBezTo>
                    <a:cubicBezTo>
                      <a:pt x="480" y="595"/>
                      <a:pt x="478" y="576"/>
                      <a:pt x="484" y="576"/>
                    </a:cubicBezTo>
                    <a:cubicBezTo>
                      <a:pt x="466" y="554"/>
                      <a:pt x="500" y="548"/>
                      <a:pt x="503" y="543"/>
                    </a:cubicBezTo>
                    <a:cubicBezTo>
                      <a:pt x="503" y="518"/>
                      <a:pt x="515" y="510"/>
                      <a:pt x="515" y="510"/>
                    </a:cubicBezTo>
                    <a:cubicBezTo>
                      <a:pt x="528" y="531"/>
                      <a:pt x="528" y="531"/>
                      <a:pt x="528" y="531"/>
                    </a:cubicBezTo>
                    <a:cubicBezTo>
                      <a:pt x="534" y="518"/>
                      <a:pt x="534" y="518"/>
                      <a:pt x="534" y="518"/>
                    </a:cubicBezTo>
                    <a:cubicBezTo>
                      <a:pt x="562" y="519"/>
                      <a:pt x="562" y="519"/>
                      <a:pt x="562" y="519"/>
                    </a:cubicBezTo>
                    <a:cubicBezTo>
                      <a:pt x="562" y="519"/>
                      <a:pt x="563" y="530"/>
                      <a:pt x="568" y="528"/>
                    </a:cubicBezTo>
                    <a:cubicBezTo>
                      <a:pt x="574" y="527"/>
                      <a:pt x="596" y="532"/>
                      <a:pt x="596" y="532"/>
                    </a:cubicBezTo>
                    <a:cubicBezTo>
                      <a:pt x="596" y="499"/>
                      <a:pt x="639" y="522"/>
                      <a:pt x="639" y="522"/>
                    </a:cubicBezTo>
                    <a:cubicBezTo>
                      <a:pt x="639" y="522"/>
                      <a:pt x="631" y="510"/>
                      <a:pt x="664" y="515"/>
                    </a:cubicBezTo>
                    <a:cubicBezTo>
                      <a:pt x="698" y="520"/>
                      <a:pt x="698" y="492"/>
                      <a:pt x="707" y="487"/>
                    </a:cubicBezTo>
                    <a:cubicBezTo>
                      <a:pt x="668" y="448"/>
                      <a:pt x="719" y="450"/>
                      <a:pt x="719" y="450"/>
                    </a:cubicBezTo>
                    <a:cubicBezTo>
                      <a:pt x="719" y="450"/>
                      <a:pt x="742" y="450"/>
                      <a:pt x="763" y="440"/>
                    </a:cubicBezTo>
                    <a:cubicBezTo>
                      <a:pt x="772" y="422"/>
                      <a:pt x="794" y="428"/>
                      <a:pt x="794" y="428"/>
                    </a:cubicBezTo>
                    <a:cubicBezTo>
                      <a:pt x="795" y="388"/>
                      <a:pt x="795" y="388"/>
                      <a:pt x="795" y="388"/>
                    </a:cubicBezTo>
                    <a:cubicBezTo>
                      <a:pt x="839" y="387"/>
                      <a:pt x="839" y="387"/>
                      <a:pt x="839" y="387"/>
                    </a:cubicBezTo>
                    <a:cubicBezTo>
                      <a:pt x="839" y="370"/>
                      <a:pt x="839" y="370"/>
                      <a:pt x="839" y="370"/>
                    </a:cubicBezTo>
                    <a:cubicBezTo>
                      <a:pt x="860" y="368"/>
                      <a:pt x="860" y="368"/>
                      <a:pt x="860" y="368"/>
                    </a:cubicBezTo>
                    <a:cubicBezTo>
                      <a:pt x="863" y="351"/>
                      <a:pt x="863" y="351"/>
                      <a:pt x="863" y="351"/>
                    </a:cubicBezTo>
                    <a:cubicBezTo>
                      <a:pt x="884" y="326"/>
                      <a:pt x="884" y="326"/>
                      <a:pt x="884" y="326"/>
                    </a:cubicBezTo>
                    <a:lnTo>
                      <a:pt x="871" y="31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9" name="Aquitaine" descr="© INSCALE GmbH, 05.05.2010&#10;http://www.presentationload.com/">
                <a:extLst>
                  <a:ext uri="{FF2B5EF4-FFF2-40B4-BE49-F238E27FC236}">
                    <a16:creationId xmlns:a16="http://schemas.microsoft.com/office/drawing/2014/main" id="{97CDBFD3-5115-4B18-AE8A-FC35BD36554B}"/>
                  </a:ext>
                </a:extLst>
              </p:cNvPr>
              <p:cNvSpPr>
                <a:spLocks/>
              </p:cNvSpPr>
              <p:nvPr/>
            </p:nvSpPr>
            <p:spPr bwMode="gray">
              <a:xfrm>
                <a:off x="758" y="1992"/>
                <a:ext cx="793" cy="1021"/>
              </a:xfrm>
              <a:custGeom>
                <a:avLst/>
                <a:gdLst/>
                <a:ahLst/>
                <a:cxnLst>
                  <a:cxn ang="0">
                    <a:pos x="347" y="849"/>
                  </a:cxn>
                  <a:cxn ang="0">
                    <a:pos x="376" y="813"/>
                  </a:cxn>
                  <a:cxn ang="0">
                    <a:pos x="399" y="773"/>
                  </a:cxn>
                  <a:cxn ang="0">
                    <a:pos x="381" y="733"/>
                  </a:cxn>
                  <a:cxn ang="0">
                    <a:pos x="343" y="693"/>
                  </a:cxn>
                  <a:cxn ang="0">
                    <a:pos x="339" y="658"/>
                  </a:cxn>
                  <a:cxn ang="0">
                    <a:pos x="351" y="625"/>
                  </a:cxn>
                  <a:cxn ang="0">
                    <a:pos x="392" y="570"/>
                  </a:cxn>
                  <a:cxn ang="0">
                    <a:pos x="413" y="578"/>
                  </a:cxn>
                  <a:cxn ang="0">
                    <a:pos x="449" y="554"/>
                  </a:cxn>
                  <a:cxn ang="0">
                    <a:pos x="536" y="541"/>
                  </a:cxn>
                  <a:cxn ang="0">
                    <a:pos x="605" y="522"/>
                  </a:cxn>
                  <a:cxn ang="0">
                    <a:pos x="600" y="469"/>
                  </a:cxn>
                  <a:cxn ang="0">
                    <a:pos x="636" y="425"/>
                  </a:cxn>
                  <a:cxn ang="0">
                    <a:pos x="672" y="353"/>
                  </a:cxn>
                  <a:cxn ang="0">
                    <a:pos x="699" y="310"/>
                  </a:cxn>
                  <a:cxn ang="0">
                    <a:pos x="733" y="289"/>
                  </a:cxn>
                  <a:cxn ang="0">
                    <a:pos x="729" y="243"/>
                  </a:cxn>
                  <a:cxn ang="0">
                    <a:pos x="727" y="207"/>
                  </a:cxn>
                  <a:cxn ang="0">
                    <a:pos x="692" y="183"/>
                  </a:cxn>
                  <a:cxn ang="0">
                    <a:pos x="691" y="150"/>
                  </a:cxn>
                  <a:cxn ang="0">
                    <a:pos x="700" y="117"/>
                  </a:cxn>
                  <a:cxn ang="0">
                    <a:pos x="655" y="74"/>
                  </a:cxn>
                  <a:cxn ang="0">
                    <a:pos x="589" y="58"/>
                  </a:cxn>
                  <a:cxn ang="0">
                    <a:pos x="540" y="43"/>
                  </a:cxn>
                  <a:cxn ang="0">
                    <a:pos x="519" y="74"/>
                  </a:cxn>
                  <a:cxn ang="0">
                    <a:pos x="464" y="147"/>
                  </a:cxn>
                  <a:cxn ang="0">
                    <a:pos x="407" y="202"/>
                  </a:cxn>
                  <a:cxn ang="0">
                    <a:pos x="319" y="169"/>
                  </a:cxn>
                  <a:cxn ang="0">
                    <a:pos x="265" y="131"/>
                  </a:cxn>
                  <a:cxn ang="0">
                    <a:pos x="279" y="178"/>
                  </a:cxn>
                  <a:cxn ang="0">
                    <a:pos x="239" y="76"/>
                  </a:cxn>
                  <a:cxn ang="0">
                    <a:pos x="185" y="0"/>
                  </a:cxn>
                  <a:cxn ang="0">
                    <a:pos x="133" y="309"/>
                  </a:cxn>
                  <a:cxn ang="0">
                    <a:pos x="147" y="302"/>
                  </a:cxn>
                  <a:cxn ang="0">
                    <a:pos x="23" y="730"/>
                  </a:cxn>
                  <a:cxn ang="0">
                    <a:pos x="34" y="764"/>
                  </a:cxn>
                  <a:cxn ang="0">
                    <a:pos x="86" y="787"/>
                  </a:cxn>
                  <a:cxn ang="0">
                    <a:pos x="110" y="831"/>
                  </a:cxn>
                  <a:cxn ang="0">
                    <a:pos x="142" y="869"/>
                  </a:cxn>
                  <a:cxn ang="0">
                    <a:pos x="228" y="882"/>
                  </a:cxn>
                  <a:cxn ang="0">
                    <a:pos x="293" y="943"/>
                  </a:cxn>
                  <a:cxn ang="0">
                    <a:pos x="309" y="934"/>
                  </a:cxn>
                </a:cxnLst>
                <a:rect l="0" t="0" r="r" b="b"/>
                <a:pathLst>
                  <a:path w="735" h="946">
                    <a:moveTo>
                      <a:pt x="331" y="869"/>
                    </a:moveTo>
                    <a:cubicBezTo>
                      <a:pt x="347" y="867"/>
                      <a:pt x="347" y="867"/>
                      <a:pt x="347" y="867"/>
                    </a:cubicBezTo>
                    <a:cubicBezTo>
                      <a:pt x="347" y="849"/>
                      <a:pt x="347" y="849"/>
                      <a:pt x="347" y="849"/>
                    </a:cubicBezTo>
                    <a:cubicBezTo>
                      <a:pt x="367" y="823"/>
                      <a:pt x="367" y="823"/>
                      <a:pt x="367" y="823"/>
                    </a:cubicBezTo>
                    <a:cubicBezTo>
                      <a:pt x="376" y="823"/>
                      <a:pt x="376" y="823"/>
                      <a:pt x="376" y="823"/>
                    </a:cubicBezTo>
                    <a:cubicBezTo>
                      <a:pt x="376" y="813"/>
                      <a:pt x="376" y="813"/>
                      <a:pt x="376" y="813"/>
                    </a:cubicBezTo>
                    <a:cubicBezTo>
                      <a:pt x="376" y="813"/>
                      <a:pt x="388" y="803"/>
                      <a:pt x="388" y="798"/>
                    </a:cubicBezTo>
                    <a:cubicBezTo>
                      <a:pt x="381" y="790"/>
                      <a:pt x="387" y="778"/>
                      <a:pt x="387" y="778"/>
                    </a:cubicBezTo>
                    <a:cubicBezTo>
                      <a:pt x="399" y="773"/>
                      <a:pt x="399" y="773"/>
                      <a:pt x="399" y="773"/>
                    </a:cubicBezTo>
                    <a:cubicBezTo>
                      <a:pt x="397" y="743"/>
                      <a:pt x="397" y="743"/>
                      <a:pt x="397" y="743"/>
                    </a:cubicBezTo>
                    <a:cubicBezTo>
                      <a:pt x="381" y="749"/>
                      <a:pt x="381" y="749"/>
                      <a:pt x="381" y="749"/>
                    </a:cubicBezTo>
                    <a:cubicBezTo>
                      <a:pt x="381" y="733"/>
                      <a:pt x="381" y="733"/>
                      <a:pt x="381" y="733"/>
                    </a:cubicBezTo>
                    <a:cubicBezTo>
                      <a:pt x="392" y="729"/>
                      <a:pt x="392" y="729"/>
                      <a:pt x="392" y="729"/>
                    </a:cubicBezTo>
                    <a:cubicBezTo>
                      <a:pt x="392" y="729"/>
                      <a:pt x="389" y="725"/>
                      <a:pt x="385" y="715"/>
                    </a:cubicBezTo>
                    <a:cubicBezTo>
                      <a:pt x="381" y="706"/>
                      <a:pt x="343" y="693"/>
                      <a:pt x="343" y="693"/>
                    </a:cubicBezTo>
                    <a:cubicBezTo>
                      <a:pt x="331" y="681"/>
                      <a:pt x="331" y="681"/>
                      <a:pt x="331" y="681"/>
                    </a:cubicBezTo>
                    <a:cubicBezTo>
                      <a:pt x="340" y="677"/>
                      <a:pt x="340" y="677"/>
                      <a:pt x="340" y="677"/>
                    </a:cubicBezTo>
                    <a:cubicBezTo>
                      <a:pt x="339" y="658"/>
                      <a:pt x="339" y="658"/>
                      <a:pt x="339" y="658"/>
                    </a:cubicBezTo>
                    <a:cubicBezTo>
                      <a:pt x="352" y="643"/>
                      <a:pt x="352" y="643"/>
                      <a:pt x="352" y="643"/>
                    </a:cubicBezTo>
                    <a:cubicBezTo>
                      <a:pt x="347" y="622"/>
                      <a:pt x="347" y="622"/>
                      <a:pt x="347" y="622"/>
                    </a:cubicBezTo>
                    <a:cubicBezTo>
                      <a:pt x="351" y="625"/>
                      <a:pt x="351" y="625"/>
                      <a:pt x="351" y="625"/>
                    </a:cubicBezTo>
                    <a:cubicBezTo>
                      <a:pt x="347" y="593"/>
                      <a:pt x="347" y="593"/>
                      <a:pt x="347" y="593"/>
                    </a:cubicBezTo>
                    <a:cubicBezTo>
                      <a:pt x="347" y="593"/>
                      <a:pt x="369" y="579"/>
                      <a:pt x="376" y="579"/>
                    </a:cubicBezTo>
                    <a:cubicBezTo>
                      <a:pt x="383" y="579"/>
                      <a:pt x="392" y="570"/>
                      <a:pt x="392" y="570"/>
                    </a:cubicBezTo>
                    <a:cubicBezTo>
                      <a:pt x="392" y="570"/>
                      <a:pt x="395" y="570"/>
                      <a:pt x="397" y="577"/>
                    </a:cubicBezTo>
                    <a:cubicBezTo>
                      <a:pt x="400" y="583"/>
                      <a:pt x="405" y="591"/>
                      <a:pt x="413" y="594"/>
                    </a:cubicBezTo>
                    <a:cubicBezTo>
                      <a:pt x="421" y="597"/>
                      <a:pt x="415" y="583"/>
                      <a:pt x="413" y="578"/>
                    </a:cubicBezTo>
                    <a:cubicBezTo>
                      <a:pt x="412" y="573"/>
                      <a:pt x="427" y="561"/>
                      <a:pt x="427" y="561"/>
                    </a:cubicBezTo>
                    <a:cubicBezTo>
                      <a:pt x="436" y="563"/>
                      <a:pt x="436" y="563"/>
                      <a:pt x="436" y="563"/>
                    </a:cubicBezTo>
                    <a:cubicBezTo>
                      <a:pt x="449" y="554"/>
                      <a:pt x="449" y="554"/>
                      <a:pt x="449" y="554"/>
                    </a:cubicBezTo>
                    <a:cubicBezTo>
                      <a:pt x="449" y="554"/>
                      <a:pt x="463" y="563"/>
                      <a:pt x="477" y="562"/>
                    </a:cubicBezTo>
                    <a:cubicBezTo>
                      <a:pt x="492" y="561"/>
                      <a:pt x="523" y="546"/>
                      <a:pt x="523" y="546"/>
                    </a:cubicBezTo>
                    <a:cubicBezTo>
                      <a:pt x="536" y="541"/>
                      <a:pt x="536" y="541"/>
                      <a:pt x="536" y="541"/>
                    </a:cubicBezTo>
                    <a:cubicBezTo>
                      <a:pt x="536" y="541"/>
                      <a:pt x="541" y="557"/>
                      <a:pt x="556" y="557"/>
                    </a:cubicBezTo>
                    <a:cubicBezTo>
                      <a:pt x="571" y="557"/>
                      <a:pt x="583" y="521"/>
                      <a:pt x="583" y="521"/>
                    </a:cubicBezTo>
                    <a:cubicBezTo>
                      <a:pt x="605" y="522"/>
                      <a:pt x="605" y="522"/>
                      <a:pt x="605" y="522"/>
                    </a:cubicBezTo>
                    <a:cubicBezTo>
                      <a:pt x="600" y="505"/>
                      <a:pt x="600" y="505"/>
                      <a:pt x="600" y="505"/>
                    </a:cubicBezTo>
                    <a:cubicBezTo>
                      <a:pt x="617" y="481"/>
                      <a:pt x="617" y="481"/>
                      <a:pt x="617" y="481"/>
                    </a:cubicBezTo>
                    <a:cubicBezTo>
                      <a:pt x="600" y="469"/>
                      <a:pt x="600" y="469"/>
                      <a:pt x="600" y="469"/>
                    </a:cubicBezTo>
                    <a:cubicBezTo>
                      <a:pt x="600" y="469"/>
                      <a:pt x="603" y="445"/>
                      <a:pt x="621" y="451"/>
                    </a:cubicBezTo>
                    <a:cubicBezTo>
                      <a:pt x="640" y="458"/>
                      <a:pt x="643" y="433"/>
                      <a:pt x="643" y="433"/>
                    </a:cubicBezTo>
                    <a:cubicBezTo>
                      <a:pt x="643" y="433"/>
                      <a:pt x="636" y="429"/>
                      <a:pt x="636" y="425"/>
                    </a:cubicBezTo>
                    <a:cubicBezTo>
                      <a:pt x="636" y="421"/>
                      <a:pt x="625" y="391"/>
                      <a:pt x="625" y="391"/>
                    </a:cubicBezTo>
                    <a:cubicBezTo>
                      <a:pt x="653" y="382"/>
                      <a:pt x="653" y="382"/>
                      <a:pt x="653" y="382"/>
                    </a:cubicBezTo>
                    <a:cubicBezTo>
                      <a:pt x="672" y="353"/>
                      <a:pt x="672" y="353"/>
                      <a:pt x="672" y="353"/>
                    </a:cubicBezTo>
                    <a:cubicBezTo>
                      <a:pt x="693" y="347"/>
                      <a:pt x="693" y="347"/>
                      <a:pt x="693" y="347"/>
                    </a:cubicBezTo>
                    <a:cubicBezTo>
                      <a:pt x="707" y="327"/>
                      <a:pt x="707" y="327"/>
                      <a:pt x="707" y="327"/>
                    </a:cubicBezTo>
                    <a:cubicBezTo>
                      <a:pt x="699" y="310"/>
                      <a:pt x="699" y="310"/>
                      <a:pt x="699" y="310"/>
                    </a:cubicBezTo>
                    <a:cubicBezTo>
                      <a:pt x="715" y="309"/>
                      <a:pt x="715" y="309"/>
                      <a:pt x="715" y="309"/>
                    </a:cubicBezTo>
                    <a:cubicBezTo>
                      <a:pt x="716" y="295"/>
                      <a:pt x="716" y="295"/>
                      <a:pt x="716" y="295"/>
                    </a:cubicBezTo>
                    <a:cubicBezTo>
                      <a:pt x="733" y="289"/>
                      <a:pt x="733" y="289"/>
                      <a:pt x="733" y="289"/>
                    </a:cubicBezTo>
                    <a:cubicBezTo>
                      <a:pt x="728" y="279"/>
                      <a:pt x="728" y="279"/>
                      <a:pt x="728" y="279"/>
                    </a:cubicBezTo>
                    <a:cubicBezTo>
                      <a:pt x="735" y="274"/>
                      <a:pt x="735" y="274"/>
                      <a:pt x="735" y="274"/>
                    </a:cubicBezTo>
                    <a:cubicBezTo>
                      <a:pt x="729" y="243"/>
                      <a:pt x="729" y="243"/>
                      <a:pt x="729" y="243"/>
                    </a:cubicBezTo>
                    <a:cubicBezTo>
                      <a:pt x="732" y="239"/>
                      <a:pt x="732" y="239"/>
                      <a:pt x="732" y="239"/>
                    </a:cubicBezTo>
                    <a:cubicBezTo>
                      <a:pt x="721" y="217"/>
                      <a:pt x="721" y="217"/>
                      <a:pt x="721" y="217"/>
                    </a:cubicBezTo>
                    <a:cubicBezTo>
                      <a:pt x="727" y="207"/>
                      <a:pt x="727" y="207"/>
                      <a:pt x="727" y="207"/>
                    </a:cubicBezTo>
                    <a:cubicBezTo>
                      <a:pt x="696" y="195"/>
                      <a:pt x="696" y="195"/>
                      <a:pt x="696" y="195"/>
                    </a:cubicBezTo>
                    <a:cubicBezTo>
                      <a:pt x="700" y="185"/>
                      <a:pt x="700" y="185"/>
                      <a:pt x="700" y="185"/>
                    </a:cubicBezTo>
                    <a:cubicBezTo>
                      <a:pt x="692" y="183"/>
                      <a:pt x="692" y="183"/>
                      <a:pt x="692" y="183"/>
                    </a:cubicBezTo>
                    <a:cubicBezTo>
                      <a:pt x="699" y="167"/>
                      <a:pt x="699" y="167"/>
                      <a:pt x="699" y="167"/>
                    </a:cubicBezTo>
                    <a:cubicBezTo>
                      <a:pt x="691" y="161"/>
                      <a:pt x="691" y="161"/>
                      <a:pt x="691" y="161"/>
                    </a:cubicBezTo>
                    <a:cubicBezTo>
                      <a:pt x="691" y="150"/>
                      <a:pt x="691" y="150"/>
                      <a:pt x="691" y="150"/>
                    </a:cubicBezTo>
                    <a:cubicBezTo>
                      <a:pt x="691" y="150"/>
                      <a:pt x="707" y="135"/>
                      <a:pt x="707" y="129"/>
                    </a:cubicBezTo>
                    <a:cubicBezTo>
                      <a:pt x="707" y="122"/>
                      <a:pt x="693" y="118"/>
                      <a:pt x="693" y="118"/>
                    </a:cubicBezTo>
                    <a:cubicBezTo>
                      <a:pt x="700" y="117"/>
                      <a:pt x="700" y="117"/>
                      <a:pt x="700" y="117"/>
                    </a:cubicBezTo>
                    <a:cubicBezTo>
                      <a:pt x="668" y="95"/>
                      <a:pt x="668" y="95"/>
                      <a:pt x="668" y="95"/>
                    </a:cubicBezTo>
                    <a:cubicBezTo>
                      <a:pt x="673" y="75"/>
                      <a:pt x="673" y="75"/>
                      <a:pt x="673" y="75"/>
                    </a:cubicBezTo>
                    <a:cubicBezTo>
                      <a:pt x="673" y="75"/>
                      <a:pt x="661" y="74"/>
                      <a:pt x="655" y="74"/>
                    </a:cubicBezTo>
                    <a:cubicBezTo>
                      <a:pt x="648" y="74"/>
                      <a:pt x="643" y="51"/>
                      <a:pt x="643" y="51"/>
                    </a:cubicBezTo>
                    <a:cubicBezTo>
                      <a:pt x="608" y="47"/>
                      <a:pt x="608" y="47"/>
                      <a:pt x="608" y="47"/>
                    </a:cubicBezTo>
                    <a:cubicBezTo>
                      <a:pt x="608" y="47"/>
                      <a:pt x="596" y="62"/>
                      <a:pt x="589" y="58"/>
                    </a:cubicBezTo>
                    <a:cubicBezTo>
                      <a:pt x="583" y="54"/>
                      <a:pt x="589" y="30"/>
                      <a:pt x="589" y="30"/>
                    </a:cubicBezTo>
                    <a:cubicBezTo>
                      <a:pt x="589" y="30"/>
                      <a:pt x="576" y="24"/>
                      <a:pt x="558" y="21"/>
                    </a:cubicBezTo>
                    <a:cubicBezTo>
                      <a:pt x="540" y="43"/>
                      <a:pt x="540" y="43"/>
                      <a:pt x="540" y="43"/>
                    </a:cubicBezTo>
                    <a:cubicBezTo>
                      <a:pt x="540" y="43"/>
                      <a:pt x="529" y="45"/>
                      <a:pt x="525" y="45"/>
                    </a:cubicBezTo>
                    <a:cubicBezTo>
                      <a:pt x="521" y="45"/>
                      <a:pt x="531" y="73"/>
                      <a:pt x="531" y="73"/>
                    </a:cubicBezTo>
                    <a:cubicBezTo>
                      <a:pt x="519" y="74"/>
                      <a:pt x="519" y="74"/>
                      <a:pt x="519" y="74"/>
                    </a:cubicBezTo>
                    <a:cubicBezTo>
                      <a:pt x="519" y="74"/>
                      <a:pt x="515" y="73"/>
                      <a:pt x="511" y="87"/>
                    </a:cubicBezTo>
                    <a:cubicBezTo>
                      <a:pt x="459" y="94"/>
                      <a:pt x="471" y="147"/>
                      <a:pt x="471" y="147"/>
                    </a:cubicBezTo>
                    <a:cubicBezTo>
                      <a:pt x="464" y="147"/>
                      <a:pt x="464" y="147"/>
                      <a:pt x="464" y="147"/>
                    </a:cubicBezTo>
                    <a:cubicBezTo>
                      <a:pt x="464" y="147"/>
                      <a:pt x="445" y="175"/>
                      <a:pt x="441" y="175"/>
                    </a:cubicBezTo>
                    <a:cubicBezTo>
                      <a:pt x="437" y="175"/>
                      <a:pt x="429" y="166"/>
                      <a:pt x="429" y="166"/>
                    </a:cubicBezTo>
                    <a:cubicBezTo>
                      <a:pt x="429" y="166"/>
                      <a:pt x="413" y="189"/>
                      <a:pt x="407" y="202"/>
                    </a:cubicBezTo>
                    <a:cubicBezTo>
                      <a:pt x="400" y="215"/>
                      <a:pt x="367" y="213"/>
                      <a:pt x="349" y="195"/>
                    </a:cubicBezTo>
                    <a:cubicBezTo>
                      <a:pt x="332" y="178"/>
                      <a:pt x="324" y="193"/>
                      <a:pt x="324" y="193"/>
                    </a:cubicBezTo>
                    <a:cubicBezTo>
                      <a:pt x="324" y="193"/>
                      <a:pt x="324" y="187"/>
                      <a:pt x="319" y="169"/>
                    </a:cubicBezTo>
                    <a:cubicBezTo>
                      <a:pt x="325" y="154"/>
                      <a:pt x="285" y="143"/>
                      <a:pt x="285" y="143"/>
                    </a:cubicBezTo>
                    <a:cubicBezTo>
                      <a:pt x="279" y="130"/>
                      <a:pt x="279" y="130"/>
                      <a:pt x="279" y="130"/>
                    </a:cubicBezTo>
                    <a:cubicBezTo>
                      <a:pt x="265" y="131"/>
                      <a:pt x="265" y="131"/>
                      <a:pt x="265" y="131"/>
                    </a:cubicBezTo>
                    <a:cubicBezTo>
                      <a:pt x="267" y="136"/>
                      <a:pt x="270" y="143"/>
                      <a:pt x="272" y="153"/>
                    </a:cubicBezTo>
                    <a:cubicBezTo>
                      <a:pt x="276" y="171"/>
                      <a:pt x="290" y="171"/>
                      <a:pt x="290" y="171"/>
                    </a:cubicBezTo>
                    <a:cubicBezTo>
                      <a:pt x="279" y="178"/>
                      <a:pt x="279" y="178"/>
                      <a:pt x="279" y="178"/>
                    </a:cubicBezTo>
                    <a:cubicBezTo>
                      <a:pt x="279" y="178"/>
                      <a:pt x="262" y="147"/>
                      <a:pt x="258" y="143"/>
                    </a:cubicBezTo>
                    <a:cubicBezTo>
                      <a:pt x="254" y="140"/>
                      <a:pt x="250" y="104"/>
                      <a:pt x="242" y="83"/>
                    </a:cubicBezTo>
                    <a:cubicBezTo>
                      <a:pt x="239" y="76"/>
                      <a:pt x="239" y="76"/>
                      <a:pt x="239" y="76"/>
                    </a:cubicBezTo>
                    <a:cubicBezTo>
                      <a:pt x="239" y="75"/>
                      <a:pt x="239" y="75"/>
                      <a:pt x="239" y="75"/>
                    </a:cubicBezTo>
                    <a:cubicBezTo>
                      <a:pt x="229" y="55"/>
                      <a:pt x="184" y="19"/>
                      <a:pt x="184" y="19"/>
                    </a:cubicBezTo>
                    <a:cubicBezTo>
                      <a:pt x="185" y="0"/>
                      <a:pt x="185" y="0"/>
                      <a:pt x="185" y="0"/>
                    </a:cubicBezTo>
                    <a:cubicBezTo>
                      <a:pt x="162" y="28"/>
                      <a:pt x="162" y="28"/>
                      <a:pt x="162" y="28"/>
                    </a:cubicBezTo>
                    <a:cubicBezTo>
                      <a:pt x="162" y="28"/>
                      <a:pt x="164" y="82"/>
                      <a:pt x="159" y="107"/>
                    </a:cubicBezTo>
                    <a:cubicBezTo>
                      <a:pt x="155" y="130"/>
                      <a:pt x="136" y="279"/>
                      <a:pt x="133" y="309"/>
                    </a:cubicBezTo>
                    <a:cubicBezTo>
                      <a:pt x="136" y="291"/>
                      <a:pt x="155" y="262"/>
                      <a:pt x="155" y="262"/>
                    </a:cubicBezTo>
                    <a:cubicBezTo>
                      <a:pt x="155" y="262"/>
                      <a:pt x="187" y="292"/>
                      <a:pt x="180" y="304"/>
                    </a:cubicBezTo>
                    <a:cubicBezTo>
                      <a:pt x="173" y="316"/>
                      <a:pt x="147" y="302"/>
                      <a:pt x="147" y="302"/>
                    </a:cubicBezTo>
                    <a:cubicBezTo>
                      <a:pt x="145" y="322"/>
                      <a:pt x="131" y="339"/>
                      <a:pt x="131" y="339"/>
                    </a:cubicBezTo>
                    <a:cubicBezTo>
                      <a:pt x="131" y="339"/>
                      <a:pt x="115" y="435"/>
                      <a:pt x="93" y="567"/>
                    </a:cubicBezTo>
                    <a:cubicBezTo>
                      <a:pt x="71" y="699"/>
                      <a:pt x="23" y="730"/>
                      <a:pt x="23" y="730"/>
                    </a:cubicBezTo>
                    <a:cubicBezTo>
                      <a:pt x="0" y="733"/>
                      <a:pt x="0" y="733"/>
                      <a:pt x="0" y="733"/>
                    </a:cubicBezTo>
                    <a:cubicBezTo>
                      <a:pt x="13" y="763"/>
                      <a:pt x="13" y="763"/>
                      <a:pt x="13" y="763"/>
                    </a:cubicBezTo>
                    <a:cubicBezTo>
                      <a:pt x="34" y="764"/>
                      <a:pt x="34" y="764"/>
                      <a:pt x="34" y="764"/>
                    </a:cubicBezTo>
                    <a:cubicBezTo>
                      <a:pt x="34" y="764"/>
                      <a:pt x="37" y="773"/>
                      <a:pt x="42" y="779"/>
                    </a:cubicBezTo>
                    <a:cubicBezTo>
                      <a:pt x="47" y="785"/>
                      <a:pt x="48" y="774"/>
                      <a:pt x="56" y="771"/>
                    </a:cubicBezTo>
                    <a:cubicBezTo>
                      <a:pt x="64" y="768"/>
                      <a:pt x="74" y="776"/>
                      <a:pt x="86" y="787"/>
                    </a:cubicBezTo>
                    <a:cubicBezTo>
                      <a:pt x="98" y="798"/>
                      <a:pt x="71" y="830"/>
                      <a:pt x="69" y="843"/>
                    </a:cubicBezTo>
                    <a:cubicBezTo>
                      <a:pt x="67" y="856"/>
                      <a:pt x="92" y="859"/>
                      <a:pt x="92" y="859"/>
                    </a:cubicBezTo>
                    <a:cubicBezTo>
                      <a:pt x="92" y="859"/>
                      <a:pt x="100" y="831"/>
                      <a:pt x="110" y="831"/>
                    </a:cubicBezTo>
                    <a:cubicBezTo>
                      <a:pt x="120" y="831"/>
                      <a:pt x="107" y="846"/>
                      <a:pt x="107" y="846"/>
                    </a:cubicBezTo>
                    <a:cubicBezTo>
                      <a:pt x="136" y="857"/>
                      <a:pt x="136" y="857"/>
                      <a:pt x="136" y="857"/>
                    </a:cubicBezTo>
                    <a:cubicBezTo>
                      <a:pt x="142" y="869"/>
                      <a:pt x="142" y="869"/>
                      <a:pt x="142" y="869"/>
                    </a:cubicBezTo>
                    <a:cubicBezTo>
                      <a:pt x="149" y="864"/>
                      <a:pt x="149" y="864"/>
                      <a:pt x="149" y="864"/>
                    </a:cubicBezTo>
                    <a:cubicBezTo>
                      <a:pt x="182" y="884"/>
                      <a:pt x="182" y="884"/>
                      <a:pt x="182" y="884"/>
                    </a:cubicBezTo>
                    <a:cubicBezTo>
                      <a:pt x="228" y="882"/>
                      <a:pt x="228" y="882"/>
                      <a:pt x="228" y="882"/>
                    </a:cubicBezTo>
                    <a:cubicBezTo>
                      <a:pt x="228" y="882"/>
                      <a:pt x="230" y="909"/>
                      <a:pt x="239" y="912"/>
                    </a:cubicBezTo>
                    <a:cubicBezTo>
                      <a:pt x="248" y="915"/>
                      <a:pt x="277" y="946"/>
                      <a:pt x="277" y="946"/>
                    </a:cubicBezTo>
                    <a:cubicBezTo>
                      <a:pt x="293" y="936"/>
                      <a:pt x="293" y="943"/>
                      <a:pt x="293" y="943"/>
                    </a:cubicBezTo>
                    <a:cubicBezTo>
                      <a:pt x="293" y="943"/>
                      <a:pt x="309" y="946"/>
                      <a:pt x="306" y="942"/>
                    </a:cubicBezTo>
                    <a:cubicBezTo>
                      <a:pt x="307" y="941"/>
                      <a:pt x="308" y="940"/>
                      <a:pt x="310" y="940"/>
                    </a:cubicBezTo>
                    <a:cubicBezTo>
                      <a:pt x="310" y="936"/>
                      <a:pt x="309" y="934"/>
                      <a:pt x="309" y="934"/>
                    </a:cubicBezTo>
                    <a:lnTo>
                      <a:pt x="331" y="869"/>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10" name="Rhône-Alpes" descr="© INSCALE GmbH, 05.05.2010&#10;http://www.presentationload.com/">
                <a:extLst>
                  <a:ext uri="{FF2B5EF4-FFF2-40B4-BE49-F238E27FC236}">
                    <a16:creationId xmlns:a16="http://schemas.microsoft.com/office/drawing/2014/main" id="{C96232F3-AA0D-4686-B8F3-177F16EC3D67}"/>
                  </a:ext>
                </a:extLst>
              </p:cNvPr>
              <p:cNvSpPr>
                <a:spLocks/>
              </p:cNvSpPr>
              <p:nvPr/>
            </p:nvSpPr>
            <p:spPr bwMode="gray">
              <a:xfrm>
                <a:off x="2094" y="1710"/>
                <a:ext cx="833" cy="840"/>
              </a:xfrm>
              <a:custGeom>
                <a:avLst/>
                <a:gdLst/>
                <a:ahLst/>
                <a:cxnLst>
                  <a:cxn ang="0">
                    <a:pos x="92" y="696"/>
                  </a:cxn>
                  <a:cxn ang="0">
                    <a:pos x="136" y="744"/>
                  </a:cxn>
                  <a:cxn ang="0">
                    <a:pos x="170" y="728"/>
                  </a:cxn>
                  <a:cxn ang="0">
                    <a:pos x="228" y="735"/>
                  </a:cxn>
                  <a:cxn ang="0">
                    <a:pos x="318" y="724"/>
                  </a:cxn>
                  <a:cxn ang="0">
                    <a:pos x="341" y="746"/>
                  </a:cxn>
                  <a:cxn ang="0">
                    <a:pos x="386" y="752"/>
                  </a:cxn>
                  <a:cxn ang="0">
                    <a:pos x="416" y="778"/>
                  </a:cxn>
                  <a:cxn ang="0">
                    <a:pos x="462" y="752"/>
                  </a:cxn>
                  <a:cxn ang="0">
                    <a:pos x="414" y="708"/>
                  </a:cxn>
                  <a:cxn ang="0">
                    <a:pos x="406" y="670"/>
                  </a:cxn>
                  <a:cxn ang="0">
                    <a:pos x="453" y="650"/>
                  </a:cxn>
                  <a:cxn ang="0">
                    <a:pos x="486" y="590"/>
                  </a:cxn>
                  <a:cxn ang="0">
                    <a:pos x="541" y="546"/>
                  </a:cxn>
                  <a:cxn ang="0">
                    <a:pos x="572" y="487"/>
                  </a:cxn>
                  <a:cxn ang="0">
                    <a:pos x="604" y="452"/>
                  </a:cxn>
                  <a:cxn ang="0">
                    <a:pos x="632" y="458"/>
                  </a:cxn>
                  <a:cxn ang="0">
                    <a:pos x="685" y="426"/>
                  </a:cxn>
                  <a:cxn ang="0">
                    <a:pos x="772" y="342"/>
                  </a:cxn>
                  <a:cxn ang="0">
                    <a:pos x="686" y="232"/>
                  </a:cxn>
                  <a:cxn ang="0">
                    <a:pos x="706" y="121"/>
                  </a:cxn>
                  <a:cxn ang="0">
                    <a:pos x="684" y="108"/>
                  </a:cxn>
                  <a:cxn ang="0">
                    <a:pos x="670" y="33"/>
                  </a:cxn>
                  <a:cxn ang="0">
                    <a:pos x="611" y="0"/>
                  </a:cxn>
                  <a:cxn ang="0">
                    <a:pos x="560" y="31"/>
                  </a:cxn>
                  <a:cxn ang="0">
                    <a:pos x="569" y="68"/>
                  </a:cxn>
                  <a:cxn ang="0">
                    <a:pos x="517" y="99"/>
                  </a:cxn>
                  <a:cxn ang="0">
                    <a:pos x="512" y="67"/>
                  </a:cxn>
                  <a:cxn ang="0">
                    <a:pos x="534" y="29"/>
                  </a:cxn>
                  <a:cxn ang="0">
                    <a:pos x="441" y="74"/>
                  </a:cxn>
                  <a:cxn ang="0">
                    <a:pos x="388" y="79"/>
                  </a:cxn>
                  <a:cxn ang="0">
                    <a:pos x="350" y="50"/>
                  </a:cxn>
                  <a:cxn ang="0">
                    <a:pos x="326" y="16"/>
                  </a:cxn>
                  <a:cxn ang="0">
                    <a:pos x="237" y="126"/>
                  </a:cxn>
                  <a:cxn ang="0">
                    <a:pos x="217" y="100"/>
                  </a:cxn>
                  <a:cxn ang="0">
                    <a:pos x="188" y="88"/>
                  </a:cxn>
                  <a:cxn ang="0">
                    <a:pos x="152" y="88"/>
                  </a:cxn>
                  <a:cxn ang="0">
                    <a:pos x="125" y="136"/>
                  </a:cxn>
                  <a:cxn ang="0">
                    <a:pos x="86" y="126"/>
                  </a:cxn>
                  <a:cxn ang="0">
                    <a:pos x="42" y="119"/>
                  </a:cxn>
                  <a:cxn ang="0">
                    <a:pos x="21" y="124"/>
                  </a:cxn>
                  <a:cxn ang="0">
                    <a:pos x="25" y="187"/>
                  </a:cxn>
                  <a:cxn ang="0">
                    <a:pos x="12" y="224"/>
                  </a:cxn>
                  <a:cxn ang="0">
                    <a:pos x="29" y="311"/>
                  </a:cxn>
                  <a:cxn ang="0">
                    <a:pos x="50" y="403"/>
                  </a:cxn>
                  <a:cxn ang="0">
                    <a:pos x="72" y="396"/>
                  </a:cxn>
                  <a:cxn ang="0">
                    <a:pos x="90" y="390"/>
                  </a:cxn>
                  <a:cxn ang="0">
                    <a:pos x="150" y="406"/>
                  </a:cxn>
                  <a:cxn ang="0">
                    <a:pos x="171" y="469"/>
                  </a:cxn>
                  <a:cxn ang="0">
                    <a:pos x="157" y="458"/>
                  </a:cxn>
                  <a:cxn ang="0">
                    <a:pos x="157" y="495"/>
                  </a:cxn>
                  <a:cxn ang="0">
                    <a:pos x="122" y="519"/>
                  </a:cxn>
                  <a:cxn ang="0">
                    <a:pos x="81" y="554"/>
                  </a:cxn>
                  <a:cxn ang="0">
                    <a:pos x="41" y="588"/>
                  </a:cxn>
                </a:cxnLst>
                <a:rect l="0" t="0" r="r" b="b"/>
                <a:pathLst>
                  <a:path w="772" h="778">
                    <a:moveTo>
                      <a:pt x="68" y="647"/>
                    </a:moveTo>
                    <a:cubicBezTo>
                      <a:pt x="72" y="678"/>
                      <a:pt x="72" y="678"/>
                      <a:pt x="72" y="678"/>
                    </a:cubicBezTo>
                    <a:cubicBezTo>
                      <a:pt x="92" y="696"/>
                      <a:pt x="92" y="696"/>
                      <a:pt x="92" y="696"/>
                    </a:cubicBezTo>
                    <a:cubicBezTo>
                      <a:pt x="85" y="727"/>
                      <a:pt x="85" y="727"/>
                      <a:pt x="85" y="727"/>
                    </a:cubicBezTo>
                    <a:cubicBezTo>
                      <a:pt x="104" y="716"/>
                      <a:pt x="104" y="716"/>
                      <a:pt x="104" y="716"/>
                    </a:cubicBezTo>
                    <a:cubicBezTo>
                      <a:pt x="136" y="744"/>
                      <a:pt x="136" y="744"/>
                      <a:pt x="136" y="744"/>
                    </a:cubicBezTo>
                    <a:cubicBezTo>
                      <a:pt x="156" y="714"/>
                      <a:pt x="156" y="714"/>
                      <a:pt x="156" y="714"/>
                    </a:cubicBezTo>
                    <a:cubicBezTo>
                      <a:pt x="170" y="714"/>
                      <a:pt x="170" y="714"/>
                      <a:pt x="170" y="714"/>
                    </a:cubicBezTo>
                    <a:cubicBezTo>
                      <a:pt x="170" y="728"/>
                      <a:pt x="170" y="728"/>
                      <a:pt x="170" y="728"/>
                    </a:cubicBezTo>
                    <a:cubicBezTo>
                      <a:pt x="177" y="728"/>
                      <a:pt x="177" y="728"/>
                      <a:pt x="177" y="728"/>
                    </a:cubicBezTo>
                    <a:cubicBezTo>
                      <a:pt x="185" y="716"/>
                      <a:pt x="185" y="716"/>
                      <a:pt x="185" y="716"/>
                    </a:cubicBezTo>
                    <a:cubicBezTo>
                      <a:pt x="228" y="735"/>
                      <a:pt x="228" y="735"/>
                      <a:pt x="228" y="735"/>
                    </a:cubicBezTo>
                    <a:cubicBezTo>
                      <a:pt x="228" y="720"/>
                      <a:pt x="228" y="720"/>
                      <a:pt x="228" y="720"/>
                    </a:cubicBezTo>
                    <a:cubicBezTo>
                      <a:pt x="228" y="720"/>
                      <a:pt x="262" y="712"/>
                      <a:pt x="264" y="748"/>
                    </a:cubicBezTo>
                    <a:cubicBezTo>
                      <a:pt x="318" y="724"/>
                      <a:pt x="318" y="724"/>
                      <a:pt x="318" y="724"/>
                    </a:cubicBezTo>
                    <a:cubicBezTo>
                      <a:pt x="329" y="728"/>
                      <a:pt x="329" y="728"/>
                      <a:pt x="329" y="728"/>
                    </a:cubicBezTo>
                    <a:cubicBezTo>
                      <a:pt x="341" y="722"/>
                      <a:pt x="341" y="722"/>
                      <a:pt x="341" y="722"/>
                    </a:cubicBezTo>
                    <a:cubicBezTo>
                      <a:pt x="341" y="746"/>
                      <a:pt x="341" y="746"/>
                      <a:pt x="341" y="746"/>
                    </a:cubicBezTo>
                    <a:cubicBezTo>
                      <a:pt x="366" y="754"/>
                      <a:pt x="366" y="754"/>
                      <a:pt x="366" y="754"/>
                    </a:cubicBezTo>
                    <a:cubicBezTo>
                      <a:pt x="365" y="747"/>
                      <a:pt x="365" y="747"/>
                      <a:pt x="365" y="747"/>
                    </a:cubicBezTo>
                    <a:cubicBezTo>
                      <a:pt x="386" y="752"/>
                      <a:pt x="386" y="752"/>
                      <a:pt x="386" y="752"/>
                    </a:cubicBezTo>
                    <a:cubicBezTo>
                      <a:pt x="386" y="752"/>
                      <a:pt x="393" y="756"/>
                      <a:pt x="393" y="766"/>
                    </a:cubicBezTo>
                    <a:cubicBezTo>
                      <a:pt x="393" y="775"/>
                      <a:pt x="406" y="771"/>
                      <a:pt x="406" y="771"/>
                    </a:cubicBezTo>
                    <a:cubicBezTo>
                      <a:pt x="416" y="778"/>
                      <a:pt x="416" y="778"/>
                      <a:pt x="416" y="778"/>
                    </a:cubicBezTo>
                    <a:cubicBezTo>
                      <a:pt x="436" y="766"/>
                      <a:pt x="436" y="766"/>
                      <a:pt x="436" y="766"/>
                    </a:cubicBezTo>
                    <a:cubicBezTo>
                      <a:pt x="436" y="766"/>
                      <a:pt x="426" y="755"/>
                      <a:pt x="450" y="763"/>
                    </a:cubicBezTo>
                    <a:cubicBezTo>
                      <a:pt x="448" y="766"/>
                      <a:pt x="462" y="752"/>
                      <a:pt x="462" y="752"/>
                    </a:cubicBezTo>
                    <a:cubicBezTo>
                      <a:pt x="462" y="730"/>
                      <a:pt x="462" y="730"/>
                      <a:pt x="462" y="730"/>
                    </a:cubicBezTo>
                    <a:cubicBezTo>
                      <a:pt x="445" y="710"/>
                      <a:pt x="445" y="710"/>
                      <a:pt x="445" y="710"/>
                    </a:cubicBezTo>
                    <a:cubicBezTo>
                      <a:pt x="414" y="708"/>
                      <a:pt x="414" y="708"/>
                      <a:pt x="414" y="708"/>
                    </a:cubicBezTo>
                    <a:cubicBezTo>
                      <a:pt x="398" y="683"/>
                      <a:pt x="398" y="683"/>
                      <a:pt x="398" y="683"/>
                    </a:cubicBezTo>
                    <a:cubicBezTo>
                      <a:pt x="414" y="682"/>
                      <a:pt x="414" y="682"/>
                      <a:pt x="414" y="682"/>
                    </a:cubicBezTo>
                    <a:cubicBezTo>
                      <a:pt x="406" y="670"/>
                      <a:pt x="406" y="670"/>
                      <a:pt x="406" y="670"/>
                    </a:cubicBezTo>
                    <a:cubicBezTo>
                      <a:pt x="409" y="658"/>
                      <a:pt x="409" y="658"/>
                      <a:pt x="409" y="658"/>
                    </a:cubicBezTo>
                    <a:cubicBezTo>
                      <a:pt x="438" y="662"/>
                      <a:pt x="438" y="662"/>
                      <a:pt x="438" y="662"/>
                    </a:cubicBezTo>
                    <a:cubicBezTo>
                      <a:pt x="453" y="650"/>
                      <a:pt x="453" y="650"/>
                      <a:pt x="453" y="650"/>
                    </a:cubicBezTo>
                    <a:cubicBezTo>
                      <a:pt x="436" y="640"/>
                      <a:pt x="436" y="640"/>
                      <a:pt x="436" y="640"/>
                    </a:cubicBezTo>
                    <a:cubicBezTo>
                      <a:pt x="449" y="614"/>
                      <a:pt x="449" y="614"/>
                      <a:pt x="449" y="614"/>
                    </a:cubicBezTo>
                    <a:cubicBezTo>
                      <a:pt x="449" y="614"/>
                      <a:pt x="490" y="599"/>
                      <a:pt x="486" y="590"/>
                    </a:cubicBezTo>
                    <a:cubicBezTo>
                      <a:pt x="482" y="580"/>
                      <a:pt x="477" y="568"/>
                      <a:pt x="489" y="568"/>
                    </a:cubicBezTo>
                    <a:cubicBezTo>
                      <a:pt x="501" y="568"/>
                      <a:pt x="525" y="562"/>
                      <a:pt x="525" y="562"/>
                    </a:cubicBezTo>
                    <a:cubicBezTo>
                      <a:pt x="525" y="562"/>
                      <a:pt x="534" y="539"/>
                      <a:pt x="541" y="546"/>
                    </a:cubicBezTo>
                    <a:cubicBezTo>
                      <a:pt x="548" y="552"/>
                      <a:pt x="538" y="532"/>
                      <a:pt x="604" y="534"/>
                    </a:cubicBezTo>
                    <a:cubicBezTo>
                      <a:pt x="597" y="511"/>
                      <a:pt x="596" y="492"/>
                      <a:pt x="596" y="492"/>
                    </a:cubicBezTo>
                    <a:cubicBezTo>
                      <a:pt x="596" y="492"/>
                      <a:pt x="572" y="498"/>
                      <a:pt x="572" y="487"/>
                    </a:cubicBezTo>
                    <a:cubicBezTo>
                      <a:pt x="572" y="476"/>
                      <a:pt x="577" y="463"/>
                      <a:pt x="577" y="463"/>
                    </a:cubicBezTo>
                    <a:cubicBezTo>
                      <a:pt x="574" y="455"/>
                      <a:pt x="574" y="455"/>
                      <a:pt x="574" y="455"/>
                    </a:cubicBezTo>
                    <a:cubicBezTo>
                      <a:pt x="604" y="452"/>
                      <a:pt x="604" y="452"/>
                      <a:pt x="604" y="452"/>
                    </a:cubicBezTo>
                    <a:cubicBezTo>
                      <a:pt x="605" y="466"/>
                      <a:pt x="605" y="466"/>
                      <a:pt x="605" y="466"/>
                    </a:cubicBezTo>
                    <a:cubicBezTo>
                      <a:pt x="629" y="466"/>
                      <a:pt x="629" y="466"/>
                      <a:pt x="629" y="466"/>
                    </a:cubicBezTo>
                    <a:cubicBezTo>
                      <a:pt x="632" y="458"/>
                      <a:pt x="632" y="458"/>
                      <a:pt x="632" y="458"/>
                    </a:cubicBezTo>
                    <a:cubicBezTo>
                      <a:pt x="656" y="454"/>
                      <a:pt x="656" y="454"/>
                      <a:pt x="656" y="454"/>
                    </a:cubicBezTo>
                    <a:cubicBezTo>
                      <a:pt x="648" y="442"/>
                      <a:pt x="660" y="431"/>
                      <a:pt x="660" y="431"/>
                    </a:cubicBezTo>
                    <a:cubicBezTo>
                      <a:pt x="670" y="445"/>
                      <a:pt x="685" y="426"/>
                      <a:pt x="685" y="426"/>
                    </a:cubicBezTo>
                    <a:cubicBezTo>
                      <a:pt x="704" y="448"/>
                      <a:pt x="725" y="407"/>
                      <a:pt x="725" y="407"/>
                    </a:cubicBezTo>
                    <a:cubicBezTo>
                      <a:pt x="725" y="407"/>
                      <a:pt x="757" y="400"/>
                      <a:pt x="758" y="394"/>
                    </a:cubicBezTo>
                    <a:cubicBezTo>
                      <a:pt x="755" y="371"/>
                      <a:pt x="772" y="342"/>
                      <a:pt x="772" y="342"/>
                    </a:cubicBezTo>
                    <a:cubicBezTo>
                      <a:pt x="764" y="342"/>
                      <a:pt x="744" y="317"/>
                      <a:pt x="741" y="313"/>
                    </a:cubicBezTo>
                    <a:cubicBezTo>
                      <a:pt x="705" y="284"/>
                      <a:pt x="737" y="269"/>
                      <a:pt x="733" y="267"/>
                    </a:cubicBezTo>
                    <a:cubicBezTo>
                      <a:pt x="704" y="274"/>
                      <a:pt x="688" y="235"/>
                      <a:pt x="686" y="232"/>
                    </a:cubicBezTo>
                    <a:cubicBezTo>
                      <a:pt x="678" y="230"/>
                      <a:pt x="684" y="206"/>
                      <a:pt x="684" y="200"/>
                    </a:cubicBezTo>
                    <a:cubicBezTo>
                      <a:pt x="698" y="224"/>
                      <a:pt x="737" y="172"/>
                      <a:pt x="737" y="172"/>
                    </a:cubicBezTo>
                    <a:cubicBezTo>
                      <a:pt x="706" y="121"/>
                      <a:pt x="706" y="121"/>
                      <a:pt x="706" y="121"/>
                    </a:cubicBezTo>
                    <a:cubicBezTo>
                      <a:pt x="701" y="129"/>
                      <a:pt x="701" y="129"/>
                      <a:pt x="701" y="129"/>
                    </a:cubicBezTo>
                    <a:cubicBezTo>
                      <a:pt x="698" y="120"/>
                      <a:pt x="698" y="120"/>
                      <a:pt x="698" y="120"/>
                    </a:cubicBezTo>
                    <a:cubicBezTo>
                      <a:pt x="706" y="98"/>
                      <a:pt x="684" y="108"/>
                      <a:pt x="684" y="108"/>
                    </a:cubicBezTo>
                    <a:cubicBezTo>
                      <a:pt x="675" y="97"/>
                      <a:pt x="675" y="97"/>
                      <a:pt x="675" y="97"/>
                    </a:cubicBezTo>
                    <a:cubicBezTo>
                      <a:pt x="691" y="55"/>
                      <a:pt x="691" y="55"/>
                      <a:pt x="691" y="55"/>
                    </a:cubicBezTo>
                    <a:cubicBezTo>
                      <a:pt x="670" y="33"/>
                      <a:pt x="670" y="33"/>
                      <a:pt x="670" y="33"/>
                    </a:cubicBezTo>
                    <a:cubicBezTo>
                      <a:pt x="680" y="10"/>
                      <a:pt x="680" y="10"/>
                      <a:pt x="680" y="10"/>
                    </a:cubicBezTo>
                    <a:cubicBezTo>
                      <a:pt x="674" y="3"/>
                      <a:pt x="674" y="3"/>
                      <a:pt x="674" y="3"/>
                    </a:cubicBezTo>
                    <a:cubicBezTo>
                      <a:pt x="611" y="0"/>
                      <a:pt x="611" y="0"/>
                      <a:pt x="611" y="0"/>
                    </a:cubicBezTo>
                    <a:cubicBezTo>
                      <a:pt x="593" y="12"/>
                      <a:pt x="593" y="12"/>
                      <a:pt x="593" y="12"/>
                    </a:cubicBezTo>
                    <a:cubicBezTo>
                      <a:pt x="577" y="12"/>
                      <a:pt x="577" y="12"/>
                      <a:pt x="577" y="12"/>
                    </a:cubicBezTo>
                    <a:cubicBezTo>
                      <a:pt x="577" y="12"/>
                      <a:pt x="570" y="21"/>
                      <a:pt x="560" y="31"/>
                    </a:cubicBezTo>
                    <a:cubicBezTo>
                      <a:pt x="550" y="30"/>
                      <a:pt x="553" y="57"/>
                      <a:pt x="553" y="57"/>
                    </a:cubicBezTo>
                    <a:cubicBezTo>
                      <a:pt x="559" y="63"/>
                      <a:pt x="559" y="63"/>
                      <a:pt x="559" y="63"/>
                    </a:cubicBezTo>
                    <a:cubicBezTo>
                      <a:pt x="559" y="63"/>
                      <a:pt x="564" y="60"/>
                      <a:pt x="569" y="68"/>
                    </a:cubicBezTo>
                    <a:cubicBezTo>
                      <a:pt x="574" y="76"/>
                      <a:pt x="558" y="76"/>
                      <a:pt x="558" y="76"/>
                    </a:cubicBezTo>
                    <a:cubicBezTo>
                      <a:pt x="527" y="100"/>
                      <a:pt x="527" y="100"/>
                      <a:pt x="527" y="100"/>
                    </a:cubicBezTo>
                    <a:cubicBezTo>
                      <a:pt x="521" y="93"/>
                      <a:pt x="517" y="99"/>
                      <a:pt x="517" y="99"/>
                    </a:cubicBezTo>
                    <a:cubicBezTo>
                      <a:pt x="499" y="98"/>
                      <a:pt x="499" y="98"/>
                      <a:pt x="499" y="98"/>
                    </a:cubicBezTo>
                    <a:cubicBezTo>
                      <a:pt x="497" y="82"/>
                      <a:pt x="497" y="82"/>
                      <a:pt x="497" y="82"/>
                    </a:cubicBezTo>
                    <a:cubicBezTo>
                      <a:pt x="512" y="67"/>
                      <a:pt x="512" y="67"/>
                      <a:pt x="512" y="67"/>
                    </a:cubicBezTo>
                    <a:cubicBezTo>
                      <a:pt x="525" y="66"/>
                      <a:pt x="525" y="66"/>
                      <a:pt x="525" y="66"/>
                    </a:cubicBezTo>
                    <a:cubicBezTo>
                      <a:pt x="525" y="48"/>
                      <a:pt x="525" y="48"/>
                      <a:pt x="525" y="48"/>
                    </a:cubicBezTo>
                    <a:cubicBezTo>
                      <a:pt x="534" y="41"/>
                      <a:pt x="535" y="34"/>
                      <a:pt x="534" y="29"/>
                    </a:cubicBezTo>
                    <a:cubicBezTo>
                      <a:pt x="477" y="88"/>
                      <a:pt x="477" y="88"/>
                      <a:pt x="477" y="88"/>
                    </a:cubicBezTo>
                    <a:cubicBezTo>
                      <a:pt x="445" y="90"/>
                      <a:pt x="445" y="90"/>
                      <a:pt x="445" y="90"/>
                    </a:cubicBezTo>
                    <a:cubicBezTo>
                      <a:pt x="441" y="74"/>
                      <a:pt x="441" y="74"/>
                      <a:pt x="441" y="74"/>
                    </a:cubicBezTo>
                    <a:cubicBezTo>
                      <a:pt x="441" y="74"/>
                      <a:pt x="421" y="71"/>
                      <a:pt x="425" y="64"/>
                    </a:cubicBezTo>
                    <a:cubicBezTo>
                      <a:pt x="408" y="103"/>
                      <a:pt x="385" y="92"/>
                      <a:pt x="385" y="92"/>
                    </a:cubicBezTo>
                    <a:cubicBezTo>
                      <a:pt x="388" y="79"/>
                      <a:pt x="388" y="79"/>
                      <a:pt x="388" y="79"/>
                    </a:cubicBezTo>
                    <a:cubicBezTo>
                      <a:pt x="364" y="68"/>
                      <a:pt x="364" y="68"/>
                      <a:pt x="364" y="68"/>
                    </a:cubicBezTo>
                    <a:cubicBezTo>
                      <a:pt x="364" y="55"/>
                      <a:pt x="364" y="55"/>
                      <a:pt x="364" y="55"/>
                    </a:cubicBezTo>
                    <a:cubicBezTo>
                      <a:pt x="350" y="50"/>
                      <a:pt x="350" y="50"/>
                      <a:pt x="350" y="50"/>
                    </a:cubicBezTo>
                    <a:cubicBezTo>
                      <a:pt x="352" y="36"/>
                      <a:pt x="352" y="36"/>
                      <a:pt x="352" y="36"/>
                    </a:cubicBezTo>
                    <a:cubicBezTo>
                      <a:pt x="344" y="35"/>
                      <a:pt x="336" y="34"/>
                      <a:pt x="334" y="34"/>
                    </a:cubicBezTo>
                    <a:cubicBezTo>
                      <a:pt x="330" y="34"/>
                      <a:pt x="329" y="22"/>
                      <a:pt x="326" y="16"/>
                    </a:cubicBezTo>
                    <a:cubicBezTo>
                      <a:pt x="324" y="11"/>
                      <a:pt x="309" y="24"/>
                      <a:pt x="296" y="24"/>
                    </a:cubicBezTo>
                    <a:cubicBezTo>
                      <a:pt x="282" y="24"/>
                      <a:pt x="265" y="18"/>
                      <a:pt x="265" y="18"/>
                    </a:cubicBezTo>
                    <a:cubicBezTo>
                      <a:pt x="237" y="126"/>
                      <a:pt x="237" y="126"/>
                      <a:pt x="237" y="126"/>
                    </a:cubicBezTo>
                    <a:cubicBezTo>
                      <a:pt x="226" y="124"/>
                      <a:pt x="226" y="124"/>
                      <a:pt x="226" y="124"/>
                    </a:cubicBezTo>
                    <a:cubicBezTo>
                      <a:pt x="225" y="108"/>
                      <a:pt x="225" y="108"/>
                      <a:pt x="225" y="108"/>
                    </a:cubicBezTo>
                    <a:cubicBezTo>
                      <a:pt x="217" y="100"/>
                      <a:pt x="217" y="100"/>
                      <a:pt x="217" y="100"/>
                    </a:cubicBezTo>
                    <a:cubicBezTo>
                      <a:pt x="217" y="100"/>
                      <a:pt x="218" y="90"/>
                      <a:pt x="208" y="86"/>
                    </a:cubicBezTo>
                    <a:cubicBezTo>
                      <a:pt x="197" y="82"/>
                      <a:pt x="198" y="98"/>
                      <a:pt x="193" y="98"/>
                    </a:cubicBezTo>
                    <a:cubicBezTo>
                      <a:pt x="188" y="98"/>
                      <a:pt x="188" y="88"/>
                      <a:pt x="188" y="88"/>
                    </a:cubicBezTo>
                    <a:cubicBezTo>
                      <a:pt x="173" y="100"/>
                      <a:pt x="173" y="100"/>
                      <a:pt x="173" y="100"/>
                    </a:cubicBezTo>
                    <a:cubicBezTo>
                      <a:pt x="164" y="87"/>
                      <a:pt x="164" y="87"/>
                      <a:pt x="164" y="87"/>
                    </a:cubicBezTo>
                    <a:cubicBezTo>
                      <a:pt x="152" y="88"/>
                      <a:pt x="152" y="88"/>
                      <a:pt x="152" y="88"/>
                    </a:cubicBezTo>
                    <a:cubicBezTo>
                      <a:pt x="148" y="127"/>
                      <a:pt x="148" y="127"/>
                      <a:pt x="148" y="127"/>
                    </a:cubicBezTo>
                    <a:cubicBezTo>
                      <a:pt x="148" y="127"/>
                      <a:pt x="137" y="128"/>
                      <a:pt x="132" y="128"/>
                    </a:cubicBezTo>
                    <a:cubicBezTo>
                      <a:pt x="126" y="128"/>
                      <a:pt x="132" y="135"/>
                      <a:pt x="125" y="136"/>
                    </a:cubicBezTo>
                    <a:cubicBezTo>
                      <a:pt x="120" y="137"/>
                      <a:pt x="113" y="129"/>
                      <a:pt x="110" y="125"/>
                    </a:cubicBezTo>
                    <a:cubicBezTo>
                      <a:pt x="111" y="127"/>
                      <a:pt x="111" y="129"/>
                      <a:pt x="101" y="128"/>
                    </a:cubicBezTo>
                    <a:cubicBezTo>
                      <a:pt x="86" y="127"/>
                      <a:pt x="86" y="126"/>
                      <a:pt x="86" y="126"/>
                    </a:cubicBezTo>
                    <a:cubicBezTo>
                      <a:pt x="62" y="132"/>
                      <a:pt x="62" y="132"/>
                      <a:pt x="62" y="132"/>
                    </a:cubicBezTo>
                    <a:cubicBezTo>
                      <a:pt x="56" y="119"/>
                      <a:pt x="56" y="119"/>
                      <a:pt x="56" y="119"/>
                    </a:cubicBezTo>
                    <a:cubicBezTo>
                      <a:pt x="42" y="119"/>
                      <a:pt x="42" y="119"/>
                      <a:pt x="42" y="119"/>
                    </a:cubicBezTo>
                    <a:cubicBezTo>
                      <a:pt x="41" y="100"/>
                      <a:pt x="41" y="100"/>
                      <a:pt x="41" y="100"/>
                    </a:cubicBezTo>
                    <a:cubicBezTo>
                      <a:pt x="16" y="111"/>
                      <a:pt x="16" y="111"/>
                      <a:pt x="16" y="111"/>
                    </a:cubicBezTo>
                    <a:cubicBezTo>
                      <a:pt x="21" y="124"/>
                      <a:pt x="21" y="124"/>
                      <a:pt x="21" y="124"/>
                    </a:cubicBezTo>
                    <a:cubicBezTo>
                      <a:pt x="17" y="139"/>
                      <a:pt x="17" y="139"/>
                      <a:pt x="17" y="139"/>
                    </a:cubicBezTo>
                    <a:cubicBezTo>
                      <a:pt x="24" y="152"/>
                      <a:pt x="24" y="152"/>
                      <a:pt x="24" y="152"/>
                    </a:cubicBezTo>
                    <a:cubicBezTo>
                      <a:pt x="25" y="187"/>
                      <a:pt x="25" y="187"/>
                      <a:pt x="25" y="187"/>
                    </a:cubicBezTo>
                    <a:cubicBezTo>
                      <a:pt x="0" y="196"/>
                      <a:pt x="0" y="196"/>
                      <a:pt x="0" y="196"/>
                    </a:cubicBezTo>
                    <a:cubicBezTo>
                      <a:pt x="0" y="208"/>
                      <a:pt x="0" y="208"/>
                      <a:pt x="0" y="208"/>
                    </a:cubicBezTo>
                    <a:cubicBezTo>
                      <a:pt x="12" y="224"/>
                      <a:pt x="12" y="224"/>
                      <a:pt x="12" y="224"/>
                    </a:cubicBezTo>
                    <a:cubicBezTo>
                      <a:pt x="4" y="227"/>
                      <a:pt x="4" y="227"/>
                      <a:pt x="4" y="227"/>
                    </a:cubicBezTo>
                    <a:cubicBezTo>
                      <a:pt x="2" y="255"/>
                      <a:pt x="2" y="255"/>
                      <a:pt x="2" y="255"/>
                    </a:cubicBezTo>
                    <a:cubicBezTo>
                      <a:pt x="2" y="255"/>
                      <a:pt x="25" y="291"/>
                      <a:pt x="29" y="311"/>
                    </a:cubicBezTo>
                    <a:cubicBezTo>
                      <a:pt x="34" y="311"/>
                      <a:pt x="74" y="347"/>
                      <a:pt x="62" y="367"/>
                    </a:cubicBezTo>
                    <a:cubicBezTo>
                      <a:pt x="60" y="374"/>
                      <a:pt x="46" y="380"/>
                      <a:pt x="46" y="380"/>
                    </a:cubicBezTo>
                    <a:cubicBezTo>
                      <a:pt x="50" y="403"/>
                      <a:pt x="50" y="403"/>
                      <a:pt x="50" y="403"/>
                    </a:cubicBezTo>
                    <a:cubicBezTo>
                      <a:pt x="56" y="384"/>
                      <a:pt x="56" y="384"/>
                      <a:pt x="56" y="384"/>
                    </a:cubicBezTo>
                    <a:cubicBezTo>
                      <a:pt x="68" y="384"/>
                      <a:pt x="68" y="384"/>
                      <a:pt x="68" y="384"/>
                    </a:cubicBezTo>
                    <a:cubicBezTo>
                      <a:pt x="72" y="396"/>
                      <a:pt x="72" y="396"/>
                      <a:pt x="72" y="396"/>
                    </a:cubicBezTo>
                    <a:cubicBezTo>
                      <a:pt x="82" y="391"/>
                      <a:pt x="82" y="391"/>
                      <a:pt x="82" y="391"/>
                    </a:cubicBezTo>
                    <a:cubicBezTo>
                      <a:pt x="88" y="398"/>
                      <a:pt x="88" y="398"/>
                      <a:pt x="88" y="398"/>
                    </a:cubicBezTo>
                    <a:cubicBezTo>
                      <a:pt x="90" y="390"/>
                      <a:pt x="90" y="390"/>
                      <a:pt x="90" y="390"/>
                    </a:cubicBezTo>
                    <a:cubicBezTo>
                      <a:pt x="90" y="390"/>
                      <a:pt x="120" y="375"/>
                      <a:pt x="126" y="384"/>
                    </a:cubicBezTo>
                    <a:cubicBezTo>
                      <a:pt x="133" y="394"/>
                      <a:pt x="158" y="391"/>
                      <a:pt x="145" y="402"/>
                    </a:cubicBezTo>
                    <a:cubicBezTo>
                      <a:pt x="150" y="406"/>
                      <a:pt x="150" y="406"/>
                      <a:pt x="150" y="406"/>
                    </a:cubicBezTo>
                    <a:cubicBezTo>
                      <a:pt x="157" y="424"/>
                      <a:pt x="157" y="424"/>
                      <a:pt x="157" y="424"/>
                    </a:cubicBezTo>
                    <a:cubicBezTo>
                      <a:pt x="157" y="424"/>
                      <a:pt x="188" y="403"/>
                      <a:pt x="174" y="452"/>
                    </a:cubicBezTo>
                    <a:cubicBezTo>
                      <a:pt x="170" y="464"/>
                      <a:pt x="170" y="468"/>
                      <a:pt x="171" y="469"/>
                    </a:cubicBezTo>
                    <a:cubicBezTo>
                      <a:pt x="172" y="470"/>
                      <a:pt x="172" y="470"/>
                      <a:pt x="172" y="470"/>
                    </a:cubicBezTo>
                    <a:cubicBezTo>
                      <a:pt x="172" y="470"/>
                      <a:pt x="171" y="470"/>
                      <a:pt x="171" y="469"/>
                    </a:cubicBezTo>
                    <a:cubicBezTo>
                      <a:pt x="157" y="458"/>
                      <a:pt x="157" y="458"/>
                      <a:pt x="157" y="458"/>
                    </a:cubicBezTo>
                    <a:cubicBezTo>
                      <a:pt x="160" y="470"/>
                      <a:pt x="160" y="470"/>
                      <a:pt x="160" y="470"/>
                    </a:cubicBezTo>
                    <a:cubicBezTo>
                      <a:pt x="160" y="470"/>
                      <a:pt x="150" y="475"/>
                      <a:pt x="150" y="479"/>
                    </a:cubicBezTo>
                    <a:cubicBezTo>
                      <a:pt x="150" y="483"/>
                      <a:pt x="157" y="495"/>
                      <a:pt x="157" y="495"/>
                    </a:cubicBezTo>
                    <a:cubicBezTo>
                      <a:pt x="142" y="495"/>
                      <a:pt x="142" y="495"/>
                      <a:pt x="142" y="495"/>
                    </a:cubicBezTo>
                    <a:cubicBezTo>
                      <a:pt x="142" y="515"/>
                      <a:pt x="142" y="515"/>
                      <a:pt x="142" y="515"/>
                    </a:cubicBezTo>
                    <a:cubicBezTo>
                      <a:pt x="122" y="519"/>
                      <a:pt x="122" y="519"/>
                      <a:pt x="122" y="519"/>
                    </a:cubicBezTo>
                    <a:cubicBezTo>
                      <a:pt x="110" y="547"/>
                      <a:pt x="110" y="547"/>
                      <a:pt x="110" y="547"/>
                    </a:cubicBezTo>
                    <a:cubicBezTo>
                      <a:pt x="82" y="548"/>
                      <a:pt x="82" y="548"/>
                      <a:pt x="82" y="548"/>
                    </a:cubicBezTo>
                    <a:cubicBezTo>
                      <a:pt x="81" y="554"/>
                      <a:pt x="81" y="554"/>
                      <a:pt x="81" y="554"/>
                    </a:cubicBezTo>
                    <a:cubicBezTo>
                      <a:pt x="62" y="563"/>
                      <a:pt x="62" y="563"/>
                      <a:pt x="62" y="563"/>
                    </a:cubicBezTo>
                    <a:cubicBezTo>
                      <a:pt x="62" y="579"/>
                      <a:pt x="62" y="579"/>
                      <a:pt x="62" y="579"/>
                    </a:cubicBezTo>
                    <a:cubicBezTo>
                      <a:pt x="41" y="588"/>
                      <a:pt x="41" y="588"/>
                      <a:pt x="41" y="588"/>
                    </a:cubicBezTo>
                    <a:cubicBezTo>
                      <a:pt x="54" y="640"/>
                      <a:pt x="54" y="640"/>
                      <a:pt x="54" y="640"/>
                    </a:cubicBezTo>
                    <a:lnTo>
                      <a:pt x="68" y="647"/>
                    </a:lnTo>
                    <a:close/>
                  </a:path>
                </a:pathLst>
              </a:custGeom>
              <a:solidFill>
                <a:srgbClr val="F4F3F0"/>
              </a:solid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grpSp>
        <p:pic>
          <p:nvPicPr>
            <p:cNvPr id="114" name="Location-White-Background">
              <a:extLst>
                <a:ext uri="{FF2B5EF4-FFF2-40B4-BE49-F238E27FC236}">
                  <a16:creationId xmlns:a16="http://schemas.microsoft.com/office/drawing/2014/main" id="{6750ADB0-9E53-4D7F-9119-AB03DFBDE9DC}"/>
                </a:ext>
              </a:extLst>
            </p:cNvPr>
            <p:cNvPicPr>
              <a:picLocks noChangeAspect="1"/>
            </p:cNvPicPr>
            <p:nvPr/>
          </p:nvPicPr>
          <p:blipFill>
            <a:blip r:embed="rId3" cstate="print">
              <a:extLst>
                <a:ext uri="{BEBA8EAE-BF5A-486C-A8C5-ECC9F3942E4B}">
                  <a14:imgProps xmlns:a14="http://schemas.microsoft.com/office/drawing/2010/main">
                    <a14:imgLayer r:embed="rId4">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7493919" y="3351858"/>
              <a:ext cx="302170" cy="302169"/>
            </a:xfrm>
            <a:prstGeom prst="rect">
              <a:avLst/>
            </a:prstGeom>
          </p:spPr>
        </p:pic>
        <p:sp>
          <p:nvSpPr>
            <p:cNvPr id="115" name="ZoneTexte 114">
              <a:extLst>
                <a:ext uri="{FF2B5EF4-FFF2-40B4-BE49-F238E27FC236}">
                  <a16:creationId xmlns:a16="http://schemas.microsoft.com/office/drawing/2014/main" id="{F245CDDF-3377-4AA4-BD99-AEB795ED946E}"/>
                </a:ext>
              </a:extLst>
            </p:cNvPr>
            <p:cNvSpPr txBox="1"/>
            <p:nvPr/>
          </p:nvSpPr>
          <p:spPr>
            <a:xfrm>
              <a:off x="7630588" y="3112775"/>
              <a:ext cx="1374377" cy="943473"/>
            </a:xfrm>
            <a:prstGeom prst="rect">
              <a:avLst/>
            </a:prstGeom>
            <a:noFill/>
          </p:spPr>
          <p:txBody>
            <a:bodyPr wrap="square" lIns="108000" rIns="108000" rtlCol="0">
              <a:spAutoFit/>
            </a:bodyPr>
            <a:lstStyle/>
            <a:p>
              <a:endParaRPr lang="fr-FR" sz="1000">
                <a:solidFill>
                  <a:srgbClr val="5F5F5F"/>
                </a:solidFill>
                <a:latin typeface="Tahoma"/>
              </a:endParaRPr>
            </a:p>
            <a:p>
              <a:pPr algn="ctr"/>
              <a:r>
                <a:rPr lang="fr-FR" sz="1000" b="1">
                  <a:solidFill>
                    <a:srgbClr val="503078"/>
                  </a:solidFill>
                  <a:latin typeface="Tahoma"/>
                </a:rPr>
                <a:t>VRF Touraine </a:t>
              </a:r>
            </a:p>
            <a:p>
              <a:pPr algn="ctr"/>
              <a:r>
                <a:rPr lang="fr-FR" sz="1000">
                  <a:solidFill>
                    <a:srgbClr val="5F5F5F"/>
                  </a:solidFill>
                  <a:latin typeface="Tahoma"/>
                </a:rPr>
                <a:t>Fondettes (37)</a:t>
              </a:r>
            </a:p>
            <a:p>
              <a:endParaRPr lang="fr-FR" sz="1000">
                <a:solidFill>
                  <a:srgbClr val="5F5F5F"/>
                </a:solidFill>
                <a:latin typeface="Tahoma"/>
              </a:endParaRPr>
            </a:p>
          </p:txBody>
        </p:sp>
      </p:grpSp>
      <p:pic>
        <p:nvPicPr>
          <p:cNvPr id="59" name="Graphique 58" descr="Utilisateur">
            <a:extLst>
              <a:ext uri="{FF2B5EF4-FFF2-40B4-BE49-F238E27FC236}">
                <a16:creationId xmlns:a16="http://schemas.microsoft.com/office/drawing/2014/main" id="{BCF539CA-033C-4E53-AA11-C9F1D57FD99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62600" y="918286"/>
            <a:ext cx="343642" cy="343642"/>
          </a:xfrm>
          <a:prstGeom prst="rect">
            <a:avLst/>
          </a:prstGeom>
        </p:spPr>
      </p:pic>
      <p:pic>
        <p:nvPicPr>
          <p:cNvPr id="60" name="Graphique 59" descr="Enfants">
            <a:extLst>
              <a:ext uri="{FF2B5EF4-FFF2-40B4-BE49-F238E27FC236}">
                <a16:creationId xmlns:a16="http://schemas.microsoft.com/office/drawing/2014/main" id="{D039143E-4976-4C18-9C94-0BA53EE64FF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62858" y="927136"/>
            <a:ext cx="357605" cy="357605"/>
          </a:xfrm>
          <a:prstGeom prst="rect">
            <a:avLst/>
          </a:prstGeom>
        </p:spPr>
      </p:pic>
      <p:pic>
        <p:nvPicPr>
          <p:cNvPr id="61" name="Graphique 60" descr="Hôpital">
            <a:extLst>
              <a:ext uri="{FF2B5EF4-FFF2-40B4-BE49-F238E27FC236}">
                <a16:creationId xmlns:a16="http://schemas.microsoft.com/office/drawing/2014/main" id="{5A6293E0-A850-432A-AEC2-55244F91F50D}"/>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01315" y="898323"/>
            <a:ext cx="377667" cy="377667"/>
          </a:xfrm>
          <a:prstGeom prst="rect">
            <a:avLst/>
          </a:prstGeom>
        </p:spPr>
      </p:pic>
      <p:pic>
        <p:nvPicPr>
          <p:cNvPr id="24" name="Graphique 23" descr="Dormir avec un remplissage uni">
            <a:extLst>
              <a:ext uri="{FF2B5EF4-FFF2-40B4-BE49-F238E27FC236}">
                <a16:creationId xmlns:a16="http://schemas.microsoft.com/office/drawing/2014/main" id="{C0DF72F1-DB21-4B9D-95E2-94CE7924655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648462" y="2583744"/>
            <a:ext cx="565198" cy="565198"/>
          </a:xfrm>
          <a:prstGeom prst="rect">
            <a:avLst/>
          </a:prstGeom>
        </p:spPr>
      </p:pic>
      <p:pic>
        <p:nvPicPr>
          <p:cNvPr id="26" name="Graphique 25" descr="Trousse de premiers secours avec un remplissage uni">
            <a:extLst>
              <a:ext uri="{FF2B5EF4-FFF2-40B4-BE49-F238E27FC236}">
                <a16:creationId xmlns:a16="http://schemas.microsoft.com/office/drawing/2014/main" id="{CBD6A736-8C3A-4C83-816B-2D666EE7904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83132" y="3767866"/>
            <a:ext cx="557136" cy="557136"/>
          </a:xfrm>
          <a:prstGeom prst="rect">
            <a:avLst/>
          </a:prstGeom>
        </p:spPr>
      </p:pic>
      <p:sp>
        <p:nvSpPr>
          <p:cNvPr id="71" name="ZoneTexte 70">
            <a:extLst>
              <a:ext uri="{FF2B5EF4-FFF2-40B4-BE49-F238E27FC236}">
                <a16:creationId xmlns:a16="http://schemas.microsoft.com/office/drawing/2014/main" id="{95275340-2C5E-4AB7-8968-428537133200}"/>
              </a:ext>
            </a:extLst>
          </p:cNvPr>
          <p:cNvSpPr txBox="1"/>
          <p:nvPr/>
        </p:nvSpPr>
        <p:spPr>
          <a:xfrm>
            <a:off x="3506076" y="959276"/>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ublic cible</a:t>
            </a:r>
          </a:p>
          <a:p>
            <a:pPr marL="171450" indent="-171450">
              <a:buFontTx/>
              <a:buChar char="-"/>
            </a:pPr>
            <a:endParaRPr lang="fr-FR" sz="1200">
              <a:solidFill>
                <a:srgbClr val="5F5F5F"/>
              </a:solidFill>
              <a:latin typeface="Tahoma"/>
            </a:endParaRPr>
          </a:p>
        </p:txBody>
      </p:sp>
      <p:sp>
        <p:nvSpPr>
          <p:cNvPr id="72" name="Rectangle 71">
            <a:extLst>
              <a:ext uri="{FF2B5EF4-FFF2-40B4-BE49-F238E27FC236}">
                <a16:creationId xmlns:a16="http://schemas.microsoft.com/office/drawing/2014/main" id="{CF33C1E5-DDE1-4156-A8BA-4E287E034C81}"/>
              </a:ext>
            </a:extLst>
          </p:cNvPr>
          <p:cNvSpPr/>
          <p:nvPr/>
        </p:nvSpPr>
        <p:spPr>
          <a:xfrm>
            <a:off x="3041222" y="920243"/>
            <a:ext cx="2566378"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3" name="Rectangle 72">
            <a:extLst>
              <a:ext uri="{FF2B5EF4-FFF2-40B4-BE49-F238E27FC236}">
                <a16:creationId xmlns:a16="http://schemas.microsoft.com/office/drawing/2014/main" id="{E85DFD2B-8AE0-4AEF-971A-2B7DB41E3803}"/>
              </a:ext>
            </a:extLst>
          </p:cNvPr>
          <p:cNvSpPr/>
          <p:nvPr/>
        </p:nvSpPr>
        <p:spPr>
          <a:xfrm>
            <a:off x="8329059" y="918287"/>
            <a:ext cx="2630482" cy="1028237"/>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4" name="ZoneTexte 73">
            <a:extLst>
              <a:ext uri="{FF2B5EF4-FFF2-40B4-BE49-F238E27FC236}">
                <a16:creationId xmlns:a16="http://schemas.microsoft.com/office/drawing/2014/main" id="{77576367-5766-4A85-8CC6-3A325240D7B8}"/>
              </a:ext>
            </a:extLst>
          </p:cNvPr>
          <p:cNvSpPr txBox="1"/>
          <p:nvPr/>
        </p:nvSpPr>
        <p:spPr>
          <a:xfrm>
            <a:off x="8699428" y="963457"/>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ortage / gestion du projet </a:t>
            </a:r>
          </a:p>
          <a:p>
            <a:pPr marL="171450" indent="-171450">
              <a:buFontTx/>
              <a:buChar char="-"/>
            </a:pPr>
            <a:endParaRPr lang="fr-FR" sz="1200">
              <a:solidFill>
                <a:srgbClr val="5F5F5F"/>
              </a:solidFill>
              <a:latin typeface="Tahoma"/>
            </a:endParaRPr>
          </a:p>
        </p:txBody>
      </p:sp>
      <p:sp>
        <p:nvSpPr>
          <p:cNvPr id="76" name="Rectangle 75">
            <a:extLst>
              <a:ext uri="{FF2B5EF4-FFF2-40B4-BE49-F238E27FC236}">
                <a16:creationId xmlns:a16="http://schemas.microsoft.com/office/drawing/2014/main" id="{DEA056E4-366B-4B6E-AD2A-2A7DACC2777B}"/>
              </a:ext>
            </a:extLst>
          </p:cNvPr>
          <p:cNvSpPr/>
          <p:nvPr/>
        </p:nvSpPr>
        <p:spPr>
          <a:xfrm>
            <a:off x="5657842" y="920242"/>
            <a:ext cx="2630482" cy="1026282"/>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7" name="ZoneTexte 76">
            <a:extLst>
              <a:ext uri="{FF2B5EF4-FFF2-40B4-BE49-F238E27FC236}">
                <a16:creationId xmlns:a16="http://schemas.microsoft.com/office/drawing/2014/main" id="{9B3B4E4E-968C-4AC1-A916-2CB2CBC81062}"/>
              </a:ext>
            </a:extLst>
          </p:cNvPr>
          <p:cNvSpPr txBox="1"/>
          <p:nvPr/>
        </p:nvSpPr>
        <p:spPr>
          <a:xfrm>
            <a:off x="6045885" y="987123"/>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Typologie de structure</a:t>
            </a:r>
          </a:p>
          <a:p>
            <a:pPr marL="171450" indent="-171450">
              <a:buFontTx/>
              <a:buChar char="-"/>
            </a:pPr>
            <a:endParaRPr lang="fr-FR" sz="1200">
              <a:solidFill>
                <a:srgbClr val="5F5F5F"/>
              </a:solidFill>
              <a:latin typeface="Tahoma"/>
            </a:endParaRPr>
          </a:p>
        </p:txBody>
      </p:sp>
      <p:sp>
        <p:nvSpPr>
          <p:cNvPr id="78" name="ZoneTexte 77">
            <a:extLst>
              <a:ext uri="{FF2B5EF4-FFF2-40B4-BE49-F238E27FC236}">
                <a16:creationId xmlns:a16="http://schemas.microsoft.com/office/drawing/2014/main" id="{96B574C6-E211-4064-9944-5448EE32BE54}"/>
              </a:ext>
            </a:extLst>
          </p:cNvPr>
          <p:cNvSpPr txBox="1"/>
          <p:nvPr/>
        </p:nvSpPr>
        <p:spPr>
          <a:xfrm>
            <a:off x="3023258" y="1273236"/>
            <a:ext cx="2583508" cy="595356"/>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Personnes âgées dépendantes de plus de 60 ans vivant à leur domicile, accompagnées de leur aidant naturel</a:t>
            </a:r>
          </a:p>
        </p:txBody>
      </p:sp>
      <p:sp>
        <p:nvSpPr>
          <p:cNvPr id="79" name="ZoneTexte 78">
            <a:extLst>
              <a:ext uri="{FF2B5EF4-FFF2-40B4-BE49-F238E27FC236}">
                <a16:creationId xmlns:a16="http://schemas.microsoft.com/office/drawing/2014/main" id="{201EC015-8921-47D5-8EEB-4F8E037742E5}"/>
              </a:ext>
            </a:extLst>
          </p:cNvPr>
          <p:cNvSpPr txBox="1"/>
          <p:nvPr/>
        </p:nvSpPr>
        <p:spPr>
          <a:xfrm>
            <a:off x="5647501" y="1260959"/>
            <a:ext cx="2583508" cy="422488"/>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ESMS (loi du 2 janvier 2022 rénovant l’action sociale et médico-sociale)</a:t>
            </a:r>
          </a:p>
        </p:txBody>
      </p:sp>
      <p:sp>
        <p:nvSpPr>
          <p:cNvPr id="80" name="ZoneTexte 79">
            <a:extLst>
              <a:ext uri="{FF2B5EF4-FFF2-40B4-BE49-F238E27FC236}">
                <a16:creationId xmlns:a16="http://schemas.microsoft.com/office/drawing/2014/main" id="{D486C829-4B6E-4981-9B49-72041AC2853F}"/>
              </a:ext>
            </a:extLst>
          </p:cNvPr>
          <p:cNvSpPr txBox="1"/>
          <p:nvPr/>
        </p:nvSpPr>
        <p:spPr>
          <a:xfrm>
            <a:off x="8328205" y="1263641"/>
            <a:ext cx="2631337" cy="595356"/>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Exploitation par l’Association Les Fondettes Village Répit Familles Touraine, gérée par pro-BTP</a:t>
            </a:r>
          </a:p>
        </p:txBody>
      </p:sp>
      <p:pic>
        <p:nvPicPr>
          <p:cNvPr id="30" name="Graphique 29" descr="Assiette couverte avec un remplissage uni">
            <a:extLst>
              <a:ext uri="{FF2B5EF4-FFF2-40B4-BE49-F238E27FC236}">
                <a16:creationId xmlns:a16="http://schemas.microsoft.com/office/drawing/2014/main" id="{513FC35F-AE71-4FD0-A32F-9FE3A8FBF00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641740" y="5428411"/>
            <a:ext cx="565199" cy="565199"/>
          </a:xfrm>
          <a:prstGeom prst="rect">
            <a:avLst/>
          </a:prstGeom>
        </p:spPr>
      </p:pic>
      <p:sp>
        <p:nvSpPr>
          <p:cNvPr id="83" name="ZoneTexte 82">
            <a:extLst>
              <a:ext uri="{FF2B5EF4-FFF2-40B4-BE49-F238E27FC236}">
                <a16:creationId xmlns:a16="http://schemas.microsoft.com/office/drawing/2014/main" id="{8B20BE5B-E531-404F-A978-82E24022C0D1}"/>
              </a:ext>
            </a:extLst>
          </p:cNvPr>
          <p:cNvSpPr txBox="1"/>
          <p:nvPr/>
        </p:nvSpPr>
        <p:spPr>
          <a:xfrm>
            <a:off x="1254007" y="2505800"/>
            <a:ext cx="1376242" cy="446276"/>
          </a:xfrm>
          <a:prstGeom prst="rect">
            <a:avLst/>
          </a:prstGeom>
          <a:noFill/>
          <a:ln>
            <a:noFill/>
          </a:ln>
        </p:spPr>
        <p:txBody>
          <a:bodyPr wrap="square" lIns="108000" rIns="108000" rtlCol="0">
            <a:spAutoFit/>
          </a:bodyPr>
          <a:lstStyle/>
          <a:p>
            <a:pPr algn="ctr"/>
            <a:r>
              <a:rPr lang="fr-FR" sz="1100" b="1">
                <a:solidFill>
                  <a:srgbClr val="B0ADCC"/>
                </a:solidFill>
                <a:latin typeface="Tahoma"/>
              </a:rPr>
              <a:t>Hébergement</a:t>
            </a:r>
          </a:p>
          <a:p>
            <a:pPr marL="171450" indent="-171450" algn="ctr">
              <a:buFontTx/>
              <a:buChar char="-"/>
            </a:pPr>
            <a:endParaRPr lang="fr-FR" sz="1200">
              <a:solidFill>
                <a:srgbClr val="B0ADCC"/>
              </a:solidFill>
              <a:latin typeface="Tahoma"/>
            </a:endParaRPr>
          </a:p>
        </p:txBody>
      </p:sp>
      <p:sp>
        <p:nvSpPr>
          <p:cNvPr id="84" name="ZoneTexte 83">
            <a:extLst>
              <a:ext uri="{FF2B5EF4-FFF2-40B4-BE49-F238E27FC236}">
                <a16:creationId xmlns:a16="http://schemas.microsoft.com/office/drawing/2014/main" id="{AD0868F6-0475-4B51-8E2F-D5AE0DFC761F}"/>
              </a:ext>
            </a:extLst>
          </p:cNvPr>
          <p:cNvSpPr txBox="1"/>
          <p:nvPr/>
        </p:nvSpPr>
        <p:spPr>
          <a:xfrm>
            <a:off x="1450733" y="5080169"/>
            <a:ext cx="965590" cy="430887"/>
          </a:xfrm>
          <a:prstGeom prst="rect">
            <a:avLst/>
          </a:prstGeom>
          <a:noFill/>
          <a:ln>
            <a:noFill/>
          </a:ln>
        </p:spPr>
        <p:txBody>
          <a:bodyPr wrap="square" lIns="108000" rIns="108000" rtlCol="0">
            <a:spAutoFit/>
          </a:bodyPr>
          <a:lstStyle/>
          <a:p>
            <a:pPr algn="ctr"/>
            <a:r>
              <a:rPr lang="fr-FR" sz="1100" b="1">
                <a:solidFill>
                  <a:srgbClr val="B0ADCC"/>
                </a:solidFill>
                <a:latin typeface="Tahoma"/>
              </a:rPr>
              <a:t>Services </a:t>
            </a:r>
          </a:p>
          <a:p>
            <a:pPr algn="ctr"/>
            <a:r>
              <a:rPr lang="fr-FR" sz="1100" b="1">
                <a:solidFill>
                  <a:srgbClr val="B0ADCC"/>
                </a:solidFill>
                <a:latin typeface="Tahoma"/>
              </a:rPr>
              <a:t>hôteliers </a:t>
            </a:r>
          </a:p>
        </p:txBody>
      </p:sp>
      <p:sp>
        <p:nvSpPr>
          <p:cNvPr id="85" name="ZoneTexte 84">
            <a:extLst>
              <a:ext uri="{FF2B5EF4-FFF2-40B4-BE49-F238E27FC236}">
                <a16:creationId xmlns:a16="http://schemas.microsoft.com/office/drawing/2014/main" id="{63966795-56E8-47E4-A834-BFE650FA676A}"/>
              </a:ext>
            </a:extLst>
          </p:cNvPr>
          <p:cNvSpPr txBox="1"/>
          <p:nvPr/>
        </p:nvSpPr>
        <p:spPr>
          <a:xfrm>
            <a:off x="1074928" y="3430882"/>
            <a:ext cx="1743708" cy="615553"/>
          </a:xfrm>
          <a:prstGeom prst="rect">
            <a:avLst/>
          </a:prstGeom>
          <a:noFill/>
          <a:ln>
            <a:noFill/>
          </a:ln>
        </p:spPr>
        <p:txBody>
          <a:bodyPr wrap="square" lIns="108000" rIns="108000" rtlCol="0">
            <a:spAutoFit/>
          </a:bodyPr>
          <a:lstStyle/>
          <a:p>
            <a:pPr algn="ctr"/>
            <a:r>
              <a:rPr lang="fr-FR" sz="1100" b="1">
                <a:solidFill>
                  <a:srgbClr val="B0ADCC"/>
                </a:solidFill>
                <a:latin typeface="Tahoma"/>
              </a:rPr>
              <a:t>Accompagnement médico-social</a:t>
            </a:r>
          </a:p>
          <a:p>
            <a:pPr marL="171450" indent="-171450" algn="ctr">
              <a:buFontTx/>
              <a:buChar char="-"/>
            </a:pPr>
            <a:endParaRPr lang="fr-FR" sz="1200">
              <a:solidFill>
                <a:srgbClr val="B0ADCC"/>
              </a:solidFill>
              <a:latin typeface="Tahoma"/>
            </a:endParaRPr>
          </a:p>
        </p:txBody>
      </p:sp>
      <p:sp>
        <p:nvSpPr>
          <p:cNvPr id="31" name="ZoneTexte 30">
            <a:extLst>
              <a:ext uri="{FF2B5EF4-FFF2-40B4-BE49-F238E27FC236}">
                <a16:creationId xmlns:a16="http://schemas.microsoft.com/office/drawing/2014/main" id="{C39631CE-B746-44D2-AD28-BE401BB99C89}"/>
              </a:ext>
            </a:extLst>
          </p:cNvPr>
          <p:cNvSpPr txBox="1"/>
          <p:nvPr/>
        </p:nvSpPr>
        <p:spPr>
          <a:xfrm>
            <a:off x="2624667" y="2508139"/>
            <a:ext cx="3376602" cy="561536"/>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6" name="ZoneTexte 115">
            <a:extLst>
              <a:ext uri="{FF2B5EF4-FFF2-40B4-BE49-F238E27FC236}">
                <a16:creationId xmlns:a16="http://schemas.microsoft.com/office/drawing/2014/main" id="{5841F24B-1AD4-488A-A365-BF5647BD2308}"/>
              </a:ext>
            </a:extLst>
          </p:cNvPr>
          <p:cNvSpPr txBox="1"/>
          <p:nvPr/>
        </p:nvSpPr>
        <p:spPr>
          <a:xfrm>
            <a:off x="2634653" y="4562039"/>
            <a:ext cx="3366617" cy="1882374"/>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7" name="ZoneTexte 116">
            <a:extLst>
              <a:ext uri="{FF2B5EF4-FFF2-40B4-BE49-F238E27FC236}">
                <a16:creationId xmlns:a16="http://schemas.microsoft.com/office/drawing/2014/main" id="{EF317FFF-EA6E-44C5-B24E-8AE03952F5E8}"/>
              </a:ext>
            </a:extLst>
          </p:cNvPr>
          <p:cNvSpPr txBox="1"/>
          <p:nvPr/>
        </p:nvSpPr>
        <p:spPr>
          <a:xfrm>
            <a:off x="2624667" y="3145945"/>
            <a:ext cx="3376602" cy="1366361"/>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20" name="Rectangle 119">
            <a:extLst>
              <a:ext uri="{FF2B5EF4-FFF2-40B4-BE49-F238E27FC236}">
                <a16:creationId xmlns:a16="http://schemas.microsoft.com/office/drawing/2014/main" id="{5A8580EE-0AD3-4053-A66F-58A5DE5D3476}"/>
              </a:ext>
            </a:extLst>
          </p:cNvPr>
          <p:cNvSpPr/>
          <p:nvPr/>
        </p:nvSpPr>
        <p:spPr>
          <a:xfrm>
            <a:off x="1254009" y="2059375"/>
            <a:ext cx="4825165" cy="4434773"/>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21" name="ZoneTexte 120">
            <a:extLst>
              <a:ext uri="{FF2B5EF4-FFF2-40B4-BE49-F238E27FC236}">
                <a16:creationId xmlns:a16="http://schemas.microsoft.com/office/drawing/2014/main" id="{E5F58253-D1BD-4954-81FE-7B8DBC05FC92}"/>
              </a:ext>
            </a:extLst>
          </p:cNvPr>
          <p:cNvSpPr txBox="1"/>
          <p:nvPr/>
        </p:nvSpPr>
        <p:spPr>
          <a:xfrm>
            <a:off x="1254009" y="2080425"/>
            <a:ext cx="4815764" cy="307777"/>
          </a:xfrm>
          <a:prstGeom prst="rect">
            <a:avLst/>
          </a:prstGeom>
          <a:solidFill>
            <a:srgbClr val="B0ADCC"/>
          </a:solidFill>
          <a:ln>
            <a:noFill/>
          </a:ln>
        </p:spPr>
        <p:txBody>
          <a:bodyPr wrap="square" lIns="108000" rIns="108000" rtlCol="0">
            <a:spAutoFit/>
          </a:bodyPr>
          <a:lstStyle/>
          <a:p>
            <a:pPr algn="ctr"/>
            <a:r>
              <a:rPr lang="fr-FR" sz="1400" b="1">
                <a:solidFill>
                  <a:srgbClr val="FFFFFF"/>
                </a:solidFill>
                <a:latin typeface="Tahoma"/>
              </a:rPr>
              <a:t>Modèle opérationnel </a:t>
            </a:r>
          </a:p>
        </p:txBody>
      </p:sp>
      <p:sp>
        <p:nvSpPr>
          <p:cNvPr id="122" name="Rectangle 121">
            <a:extLst>
              <a:ext uri="{FF2B5EF4-FFF2-40B4-BE49-F238E27FC236}">
                <a16:creationId xmlns:a16="http://schemas.microsoft.com/office/drawing/2014/main" id="{EEE3ADDF-8F40-48B9-AE5E-299C1C497490}"/>
              </a:ext>
            </a:extLst>
          </p:cNvPr>
          <p:cNvSpPr/>
          <p:nvPr/>
        </p:nvSpPr>
        <p:spPr>
          <a:xfrm>
            <a:off x="6122614" y="2059375"/>
            <a:ext cx="4824000" cy="4434773"/>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23" name="ZoneTexte 122">
            <a:extLst>
              <a:ext uri="{FF2B5EF4-FFF2-40B4-BE49-F238E27FC236}">
                <a16:creationId xmlns:a16="http://schemas.microsoft.com/office/drawing/2014/main" id="{A32D682C-0E70-4C6A-98EA-32C315F12098}"/>
              </a:ext>
            </a:extLst>
          </p:cNvPr>
          <p:cNvSpPr txBox="1"/>
          <p:nvPr/>
        </p:nvSpPr>
        <p:spPr>
          <a:xfrm>
            <a:off x="6135540" y="2080426"/>
            <a:ext cx="4824000" cy="307777"/>
          </a:xfrm>
          <a:prstGeom prst="rect">
            <a:avLst/>
          </a:prstGeom>
          <a:solidFill>
            <a:srgbClr val="B24669"/>
          </a:solidFill>
          <a:ln>
            <a:noFill/>
          </a:ln>
        </p:spPr>
        <p:txBody>
          <a:bodyPr wrap="square" lIns="108000" rIns="108000" rtlCol="0">
            <a:spAutoFit/>
          </a:bodyPr>
          <a:lstStyle/>
          <a:p>
            <a:pPr algn="ctr"/>
            <a:r>
              <a:rPr lang="fr-FR" sz="1400" b="1">
                <a:solidFill>
                  <a:srgbClr val="FFFFFF"/>
                </a:solidFill>
                <a:latin typeface="Tahoma"/>
              </a:rPr>
              <a:t>Modèle économique </a:t>
            </a:r>
          </a:p>
        </p:txBody>
      </p:sp>
      <p:sp>
        <p:nvSpPr>
          <p:cNvPr id="124" name="ZoneTexte 123">
            <a:extLst>
              <a:ext uri="{FF2B5EF4-FFF2-40B4-BE49-F238E27FC236}">
                <a16:creationId xmlns:a16="http://schemas.microsoft.com/office/drawing/2014/main" id="{A49BC405-C11B-485E-BB12-6EA8FA6FC408}"/>
              </a:ext>
            </a:extLst>
          </p:cNvPr>
          <p:cNvSpPr txBox="1"/>
          <p:nvPr/>
        </p:nvSpPr>
        <p:spPr>
          <a:xfrm>
            <a:off x="2620265" y="2560804"/>
            <a:ext cx="3292679" cy="249620"/>
          </a:xfrm>
          <a:prstGeom prst="rect">
            <a:avLst/>
          </a:prstGeom>
          <a:noFill/>
          <a:ln>
            <a:noFill/>
          </a:ln>
        </p:spPr>
        <p:txBody>
          <a:bodyPr wrap="square" lIns="108000" rIns="108000" rtlCol="0">
            <a:noAutofit/>
          </a:bodyPr>
          <a:lstStyle/>
          <a:p>
            <a:pPr marL="171450" indent="-171450" algn="just">
              <a:lnSpc>
                <a:spcPct val="107000"/>
              </a:lnSpc>
              <a:spcAft>
                <a:spcPts val="800"/>
              </a:spcAft>
              <a:buClr>
                <a:srgbClr val="503078"/>
              </a:buClr>
              <a:buFont typeface="Tahoma" panose="020B0604030504040204" pitchFamily="34" charset="0"/>
              <a:buChar char="⁄"/>
            </a:pPr>
            <a:r>
              <a:rPr lang="fr-FR" sz="1000">
                <a:solidFill>
                  <a:srgbClr val="5F5F5F"/>
                </a:solidFill>
                <a:latin typeface="Tahoma"/>
              </a:rPr>
              <a:t>26 places d’HT PA + 52 lits aidants</a:t>
            </a:r>
          </a:p>
        </p:txBody>
      </p:sp>
      <p:sp>
        <p:nvSpPr>
          <p:cNvPr id="126" name="ZoneTexte 125">
            <a:extLst>
              <a:ext uri="{FF2B5EF4-FFF2-40B4-BE49-F238E27FC236}">
                <a16:creationId xmlns:a16="http://schemas.microsoft.com/office/drawing/2014/main" id="{B49F6C26-2A8B-4C21-A64B-9E4007B97392}"/>
              </a:ext>
            </a:extLst>
          </p:cNvPr>
          <p:cNvSpPr txBox="1"/>
          <p:nvPr/>
        </p:nvSpPr>
        <p:spPr>
          <a:xfrm>
            <a:off x="2630250" y="4630450"/>
            <a:ext cx="3366617" cy="1674882"/>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Séjours en pension complète – restauration assurée par le centre VRF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quipements touristiques : piscine, salle de remise en forme, cabinet de massage, bibliothèque, salle d'activité à libre accè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nimation : activités encadrées et organisées, mise à disposition des locaux et matériels (jeux de société, billard, ping-pong, mini-golf...)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Service de ménage, laverie en self-service, courrier</a:t>
            </a:r>
          </a:p>
        </p:txBody>
      </p:sp>
      <p:sp>
        <p:nvSpPr>
          <p:cNvPr id="128" name="ZoneTexte 127">
            <a:extLst>
              <a:ext uri="{FF2B5EF4-FFF2-40B4-BE49-F238E27FC236}">
                <a16:creationId xmlns:a16="http://schemas.microsoft.com/office/drawing/2014/main" id="{D0B66643-80F9-42D8-8F09-B693AF7FBBCB}"/>
              </a:ext>
            </a:extLst>
          </p:cNvPr>
          <p:cNvSpPr txBox="1"/>
          <p:nvPr/>
        </p:nvSpPr>
        <p:spPr>
          <a:xfrm>
            <a:off x="2630250" y="3260458"/>
            <a:ext cx="3319115" cy="1180901"/>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ossibilité de transport adapté depuis Anger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quipements adaptés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Coordination des soins avec un médecin de Fondettes (sous convention)</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quipe soignante / paramédicale composée d’infirmiers et d’aides-soignantes</a:t>
            </a:r>
          </a:p>
        </p:txBody>
      </p:sp>
      <p:sp>
        <p:nvSpPr>
          <p:cNvPr id="129" name="ZoneTexte 128">
            <a:extLst>
              <a:ext uri="{FF2B5EF4-FFF2-40B4-BE49-F238E27FC236}">
                <a16:creationId xmlns:a16="http://schemas.microsoft.com/office/drawing/2014/main" id="{B5C29EF3-8432-4FB1-A08C-C8DFD0F770E0}"/>
              </a:ext>
            </a:extLst>
          </p:cNvPr>
          <p:cNvSpPr txBox="1"/>
          <p:nvPr/>
        </p:nvSpPr>
        <p:spPr>
          <a:xfrm>
            <a:off x="6189871" y="2508139"/>
            <a:ext cx="3736745" cy="561844"/>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130" name="ZoneTexte 129">
            <a:extLst>
              <a:ext uri="{FF2B5EF4-FFF2-40B4-BE49-F238E27FC236}">
                <a16:creationId xmlns:a16="http://schemas.microsoft.com/office/drawing/2014/main" id="{C51512ED-D218-4E3C-8049-02770EADD196}"/>
              </a:ext>
            </a:extLst>
          </p:cNvPr>
          <p:cNvSpPr txBox="1"/>
          <p:nvPr/>
        </p:nvSpPr>
        <p:spPr>
          <a:xfrm>
            <a:off x="6189955" y="3122483"/>
            <a:ext cx="3743057" cy="1495301"/>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pic>
        <p:nvPicPr>
          <p:cNvPr id="35" name="Graphique 34" descr="Logement avec un remplissage uni">
            <a:extLst>
              <a:ext uri="{FF2B5EF4-FFF2-40B4-BE49-F238E27FC236}">
                <a16:creationId xmlns:a16="http://schemas.microsoft.com/office/drawing/2014/main" id="{71FC271C-D2ED-4AF0-8123-6C7A28C751C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219351" y="2591112"/>
            <a:ext cx="447721" cy="447721"/>
          </a:xfrm>
          <a:prstGeom prst="rect">
            <a:avLst/>
          </a:prstGeom>
        </p:spPr>
      </p:pic>
      <p:sp>
        <p:nvSpPr>
          <p:cNvPr id="131" name="ZoneTexte 130">
            <a:extLst>
              <a:ext uri="{FF2B5EF4-FFF2-40B4-BE49-F238E27FC236}">
                <a16:creationId xmlns:a16="http://schemas.microsoft.com/office/drawing/2014/main" id="{1C14C040-B2C5-440C-B7E3-1882123D0301}"/>
              </a:ext>
            </a:extLst>
          </p:cNvPr>
          <p:cNvSpPr txBox="1"/>
          <p:nvPr/>
        </p:nvSpPr>
        <p:spPr>
          <a:xfrm>
            <a:off x="9796442" y="2423330"/>
            <a:ext cx="1244543" cy="446276"/>
          </a:xfrm>
          <a:prstGeom prst="rect">
            <a:avLst/>
          </a:prstGeom>
          <a:noFill/>
          <a:ln>
            <a:noFill/>
          </a:ln>
        </p:spPr>
        <p:txBody>
          <a:bodyPr wrap="square" lIns="108000" rIns="108000" rtlCol="0">
            <a:spAutoFit/>
          </a:bodyPr>
          <a:lstStyle/>
          <a:p>
            <a:pPr algn="ctr"/>
            <a:r>
              <a:rPr lang="fr-FR" sz="1100" b="1">
                <a:solidFill>
                  <a:srgbClr val="B24669"/>
                </a:solidFill>
                <a:latin typeface="Tahoma"/>
              </a:rPr>
              <a:t>Immobilier</a:t>
            </a:r>
          </a:p>
          <a:p>
            <a:pPr marL="171450" indent="-171450" algn="ctr">
              <a:buFontTx/>
              <a:buChar char="-"/>
            </a:pPr>
            <a:endParaRPr lang="fr-FR" sz="1200">
              <a:solidFill>
                <a:srgbClr val="B24669"/>
              </a:solidFill>
              <a:latin typeface="Tahoma"/>
            </a:endParaRPr>
          </a:p>
        </p:txBody>
      </p:sp>
      <p:sp>
        <p:nvSpPr>
          <p:cNvPr id="133" name="ZoneTexte 132">
            <a:extLst>
              <a:ext uri="{FF2B5EF4-FFF2-40B4-BE49-F238E27FC236}">
                <a16:creationId xmlns:a16="http://schemas.microsoft.com/office/drawing/2014/main" id="{B210A790-ECF0-4619-A27B-B52AFCD222D8}"/>
              </a:ext>
            </a:extLst>
          </p:cNvPr>
          <p:cNvSpPr txBox="1"/>
          <p:nvPr/>
        </p:nvSpPr>
        <p:spPr>
          <a:xfrm>
            <a:off x="6146429" y="2493061"/>
            <a:ext cx="3732226" cy="571503"/>
          </a:xfrm>
          <a:prstGeom prst="rect">
            <a:avLst/>
          </a:prstGeom>
          <a:noFill/>
          <a:ln>
            <a:noFill/>
          </a:ln>
        </p:spPr>
        <p:txBody>
          <a:bodyPr wrap="square" lIns="108000" rIns="108000" rtlCol="0">
            <a:spAutoFit/>
          </a:bodyPr>
          <a:lstStyle/>
          <a:p>
            <a:pPr marL="171450" indent="-171450" algn="just">
              <a:lnSpc>
                <a:spcPct val="107000"/>
              </a:lnSpc>
              <a:spcAft>
                <a:spcPts val="800"/>
              </a:spcAft>
              <a:buClr>
                <a:srgbClr val="503078"/>
              </a:buClr>
              <a:buFont typeface="Tahoma" panose="020B0604030504040204" pitchFamily="34" charset="0"/>
              <a:buChar char="⁄"/>
            </a:pPr>
            <a:r>
              <a:rPr lang="fr-FR" sz="1000">
                <a:solidFill>
                  <a:srgbClr val="5F5F5F"/>
                </a:solidFill>
                <a:latin typeface="Tahoma"/>
              </a:rPr>
              <a:t>Acquisition d'une résidence hôtelière existante appartenant à une caisse de retraite + travaux de réhabilitation et d'extension portés par AG2R et pro-BTP</a:t>
            </a:r>
          </a:p>
        </p:txBody>
      </p:sp>
      <p:sp>
        <p:nvSpPr>
          <p:cNvPr id="134" name="ZoneTexte 133">
            <a:extLst>
              <a:ext uri="{FF2B5EF4-FFF2-40B4-BE49-F238E27FC236}">
                <a16:creationId xmlns:a16="http://schemas.microsoft.com/office/drawing/2014/main" id="{12CB5D0E-D3B7-4457-B3F8-7B85794AC4B0}"/>
              </a:ext>
            </a:extLst>
          </p:cNvPr>
          <p:cNvSpPr txBox="1"/>
          <p:nvPr/>
        </p:nvSpPr>
        <p:spPr>
          <a:xfrm>
            <a:off x="9948430" y="3394218"/>
            <a:ext cx="998185"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Frais de </a:t>
            </a:r>
            <a:r>
              <a:rPr lang="fr-FR" sz="1100" b="1" err="1">
                <a:solidFill>
                  <a:srgbClr val="B24669"/>
                </a:solidFill>
                <a:latin typeface="Tahoma"/>
              </a:rPr>
              <a:t>fonct</a:t>
            </a:r>
            <a:r>
              <a:rPr lang="fr-FR" sz="1100" b="1">
                <a:solidFill>
                  <a:srgbClr val="B24669"/>
                </a:solidFill>
                <a:latin typeface="Tahoma"/>
              </a:rPr>
              <a:t>.</a:t>
            </a:r>
          </a:p>
        </p:txBody>
      </p:sp>
      <p:sp>
        <p:nvSpPr>
          <p:cNvPr id="135" name="ZoneTexte 134">
            <a:extLst>
              <a:ext uri="{FF2B5EF4-FFF2-40B4-BE49-F238E27FC236}">
                <a16:creationId xmlns:a16="http://schemas.microsoft.com/office/drawing/2014/main" id="{3DA739DB-3B5D-4A54-A299-C5AE798A7F11}"/>
              </a:ext>
            </a:extLst>
          </p:cNvPr>
          <p:cNvSpPr txBox="1"/>
          <p:nvPr/>
        </p:nvSpPr>
        <p:spPr>
          <a:xfrm>
            <a:off x="6189074" y="3151251"/>
            <a:ext cx="3739535" cy="1636410"/>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Ouverture des places médico-sociales passée par un soutien de la CNSA pour la création et le financement des places d'HT. ARS en charge du transfert de fonds, mais places non intégrées dans le cadre d'un CPOM, pas d'appel à projet passé</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Frais de fonctionnement (MS, …) pris en charge par pro-BTP + recettes mais déficit d’exploitation important et impossibilité d’atteindre l’équilibre économique</a:t>
            </a:r>
          </a:p>
          <a:p>
            <a:pPr marL="171450" indent="-171450" algn="just">
              <a:lnSpc>
                <a:spcPct val="107000"/>
              </a:lnSpc>
              <a:spcAft>
                <a:spcPts val="800"/>
              </a:spcAft>
              <a:buClr>
                <a:srgbClr val="503078"/>
              </a:buClr>
              <a:buFont typeface="Tahoma" panose="020B0604030504040204" pitchFamily="34" charset="0"/>
              <a:buChar char="⁄"/>
            </a:pPr>
            <a:endParaRPr lang="fr-FR" sz="1000">
              <a:solidFill>
                <a:srgbClr val="5F5F5F"/>
              </a:solidFill>
              <a:latin typeface="Tahoma"/>
            </a:endParaRPr>
          </a:p>
        </p:txBody>
      </p:sp>
      <p:sp>
        <p:nvSpPr>
          <p:cNvPr id="136" name="ZoneTexte 135">
            <a:extLst>
              <a:ext uri="{FF2B5EF4-FFF2-40B4-BE49-F238E27FC236}">
                <a16:creationId xmlns:a16="http://schemas.microsoft.com/office/drawing/2014/main" id="{FEA48678-D157-4E80-9C77-987BDFAE3851}"/>
              </a:ext>
            </a:extLst>
          </p:cNvPr>
          <p:cNvSpPr txBox="1"/>
          <p:nvPr/>
        </p:nvSpPr>
        <p:spPr>
          <a:xfrm>
            <a:off x="6202751" y="4662329"/>
            <a:ext cx="3726541" cy="996066"/>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37" name="ZoneTexte 136">
            <a:extLst>
              <a:ext uri="{FF2B5EF4-FFF2-40B4-BE49-F238E27FC236}">
                <a16:creationId xmlns:a16="http://schemas.microsoft.com/office/drawing/2014/main" id="{D2D54224-E096-418B-863E-A7A18A25C3FD}"/>
              </a:ext>
            </a:extLst>
          </p:cNvPr>
          <p:cNvSpPr txBox="1"/>
          <p:nvPr/>
        </p:nvSpPr>
        <p:spPr>
          <a:xfrm>
            <a:off x="6162308" y="4667329"/>
            <a:ext cx="3739535" cy="939296"/>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Tarif à la semaine : 1463€ sur la base d'un aidé et d'un aidant (soit 209€ par nuit)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Reste à charge avec prise en charge AGIRC/ARCCO* : de 219,45€ à 365,75€ (1 aidé / 1 aidant pour une semaine) en fonction du statut d'imposition</a:t>
            </a:r>
          </a:p>
        </p:txBody>
      </p:sp>
      <p:sp>
        <p:nvSpPr>
          <p:cNvPr id="139" name="Rectangle 138">
            <a:extLst>
              <a:ext uri="{FF2B5EF4-FFF2-40B4-BE49-F238E27FC236}">
                <a16:creationId xmlns:a16="http://schemas.microsoft.com/office/drawing/2014/main" id="{23DA1D13-F6FC-42CC-8CBC-A6643FFAA543}"/>
              </a:ext>
            </a:extLst>
          </p:cNvPr>
          <p:cNvSpPr/>
          <p:nvPr/>
        </p:nvSpPr>
        <p:spPr>
          <a:xfrm>
            <a:off x="1254009" y="923574"/>
            <a:ext cx="1728514"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40" name="ZoneTexte 139">
            <a:extLst>
              <a:ext uri="{FF2B5EF4-FFF2-40B4-BE49-F238E27FC236}">
                <a16:creationId xmlns:a16="http://schemas.microsoft.com/office/drawing/2014/main" id="{807D6A60-04F3-43BD-94C2-76626F2816C8}"/>
              </a:ext>
            </a:extLst>
          </p:cNvPr>
          <p:cNvSpPr txBox="1"/>
          <p:nvPr/>
        </p:nvSpPr>
        <p:spPr>
          <a:xfrm>
            <a:off x="9878656" y="4667290"/>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rifs / reste à charge</a:t>
            </a:r>
          </a:p>
        </p:txBody>
      </p:sp>
      <p:pic>
        <p:nvPicPr>
          <p:cNvPr id="41" name="Graphique 40" descr="Clé avec un remplissage uni">
            <a:extLst>
              <a:ext uri="{FF2B5EF4-FFF2-40B4-BE49-F238E27FC236}">
                <a16:creationId xmlns:a16="http://schemas.microsoft.com/office/drawing/2014/main" id="{1FC8698B-AB58-44D0-8399-B572FCCD65E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250546" y="6014161"/>
            <a:ext cx="436000" cy="436000"/>
          </a:xfrm>
          <a:prstGeom prst="rect">
            <a:avLst/>
          </a:prstGeom>
        </p:spPr>
      </p:pic>
      <p:sp>
        <p:nvSpPr>
          <p:cNvPr id="141" name="ZoneTexte 140">
            <a:extLst>
              <a:ext uri="{FF2B5EF4-FFF2-40B4-BE49-F238E27FC236}">
                <a16:creationId xmlns:a16="http://schemas.microsoft.com/office/drawing/2014/main" id="{F5949C22-DA6A-4317-99B2-B19975E52561}"/>
              </a:ext>
            </a:extLst>
          </p:cNvPr>
          <p:cNvSpPr txBox="1"/>
          <p:nvPr/>
        </p:nvSpPr>
        <p:spPr>
          <a:xfrm>
            <a:off x="9909908" y="5679030"/>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ux d’occupation</a:t>
            </a:r>
          </a:p>
        </p:txBody>
      </p:sp>
      <p:sp>
        <p:nvSpPr>
          <p:cNvPr id="142" name="ZoneTexte 141">
            <a:extLst>
              <a:ext uri="{FF2B5EF4-FFF2-40B4-BE49-F238E27FC236}">
                <a16:creationId xmlns:a16="http://schemas.microsoft.com/office/drawing/2014/main" id="{8F48A671-85C8-478F-BBC5-AA8E0839A27E}"/>
              </a:ext>
            </a:extLst>
          </p:cNvPr>
          <p:cNvSpPr txBox="1"/>
          <p:nvPr/>
        </p:nvSpPr>
        <p:spPr>
          <a:xfrm>
            <a:off x="6192631" y="5720453"/>
            <a:ext cx="3743057" cy="702157"/>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43" name="ZoneTexte 142">
            <a:extLst>
              <a:ext uri="{FF2B5EF4-FFF2-40B4-BE49-F238E27FC236}">
                <a16:creationId xmlns:a16="http://schemas.microsoft.com/office/drawing/2014/main" id="{7C801268-29AF-4A45-808B-18ADBF5B32BE}"/>
              </a:ext>
            </a:extLst>
          </p:cNvPr>
          <p:cNvSpPr txBox="1"/>
          <p:nvPr/>
        </p:nvSpPr>
        <p:spPr>
          <a:xfrm>
            <a:off x="6159996" y="5727489"/>
            <a:ext cx="3739535" cy="672300"/>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Durée moyenne de séjour : 14 jour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Taux d’occupation d’environ 70 – 80% sur l’année</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Des taux d’annulation à J-30 pouvant atteindre 15% </a:t>
            </a:r>
          </a:p>
        </p:txBody>
      </p:sp>
      <p:pic>
        <p:nvPicPr>
          <p:cNvPr id="146" name="Graphique 145" descr="Tirelire avec un remplissage uni">
            <a:extLst>
              <a:ext uri="{FF2B5EF4-FFF2-40B4-BE49-F238E27FC236}">
                <a16:creationId xmlns:a16="http://schemas.microsoft.com/office/drawing/2014/main" id="{AC1ADC52-5381-42E2-AC24-383BB036C6C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219350" y="3849857"/>
            <a:ext cx="514426" cy="514426"/>
          </a:xfrm>
          <a:prstGeom prst="rect">
            <a:avLst/>
          </a:prstGeom>
        </p:spPr>
      </p:pic>
      <p:pic>
        <p:nvPicPr>
          <p:cNvPr id="43" name="Graphique 42" descr="Pièces avec un remplissage uni">
            <a:extLst>
              <a:ext uri="{FF2B5EF4-FFF2-40B4-BE49-F238E27FC236}">
                <a16:creationId xmlns:a16="http://schemas.microsoft.com/office/drawing/2014/main" id="{9C193D7A-6B93-4BB0-88EF-9C51D2A7CA6F}"/>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0245434" y="5071097"/>
            <a:ext cx="457966" cy="457966"/>
          </a:xfrm>
          <a:prstGeom prst="rect">
            <a:avLst/>
          </a:prstGeom>
        </p:spPr>
      </p:pic>
      <p:sp>
        <p:nvSpPr>
          <p:cNvPr id="148" name="ZoneTexte 147">
            <a:extLst>
              <a:ext uri="{FF2B5EF4-FFF2-40B4-BE49-F238E27FC236}">
                <a16:creationId xmlns:a16="http://schemas.microsoft.com/office/drawing/2014/main" id="{21BE3A67-9C54-4C12-85A8-478E8457AB8C}"/>
              </a:ext>
            </a:extLst>
          </p:cNvPr>
          <p:cNvSpPr txBox="1"/>
          <p:nvPr/>
        </p:nvSpPr>
        <p:spPr>
          <a:xfrm>
            <a:off x="1217532" y="6563387"/>
            <a:ext cx="9800216" cy="230832"/>
          </a:xfrm>
          <a:prstGeom prst="rect">
            <a:avLst/>
          </a:prstGeom>
          <a:solidFill>
            <a:schemeClr val="bg1"/>
          </a:solidFill>
        </p:spPr>
        <p:txBody>
          <a:bodyPr wrap="square">
            <a:spAutoFit/>
          </a:bodyPr>
          <a:lstStyle/>
          <a:p>
            <a:r>
              <a:rPr lang="fr-FR" sz="900">
                <a:solidFill>
                  <a:srgbClr val="5F5F5F"/>
                </a:solidFill>
                <a:latin typeface="Tahoma"/>
              </a:rPr>
              <a:t>* Prise en charge par l’Agirc-</a:t>
            </a:r>
            <a:r>
              <a:rPr lang="fr-FR" sz="900" err="1">
                <a:solidFill>
                  <a:srgbClr val="5F5F5F"/>
                </a:solidFill>
                <a:latin typeface="Tahoma"/>
              </a:rPr>
              <a:t>Arcco</a:t>
            </a:r>
            <a:r>
              <a:rPr lang="fr-FR" sz="900">
                <a:solidFill>
                  <a:srgbClr val="5F5F5F"/>
                </a:solidFill>
                <a:latin typeface="Tahoma"/>
              </a:rPr>
              <a:t> de 75 à 85% du tarif du premier séjour et de 50% à 70% du tarif du second (pour un maximum de 14 jours annuels aidant / aidé) + agrément ANCV </a:t>
            </a:r>
          </a:p>
        </p:txBody>
      </p:sp>
    </p:spTree>
    <p:extLst>
      <p:ext uri="{BB962C8B-B14F-4D97-AF65-F5344CB8AC3E}">
        <p14:creationId xmlns:p14="http://schemas.microsoft.com/office/powerpoint/2010/main" val="41836278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DDB96D-5870-433E-8224-8BA70AB31D5A}"/>
              </a:ext>
            </a:extLst>
          </p:cNvPr>
          <p:cNvSpPr>
            <a:spLocks noGrp="1"/>
          </p:cNvSpPr>
          <p:nvPr>
            <p:ph type="title"/>
          </p:nvPr>
        </p:nvSpPr>
        <p:spPr/>
        <p:txBody>
          <a:bodyPr/>
          <a:lstStyle/>
          <a:p>
            <a:r>
              <a:rPr lang="fr-FR"/>
              <a:t>VRF Les </a:t>
            </a:r>
            <a:r>
              <a:rPr lang="fr-FR" err="1"/>
              <a:t>Cizes</a:t>
            </a:r>
            <a:endParaRPr lang="fr-FR"/>
          </a:p>
        </p:txBody>
      </p:sp>
      <p:sp>
        <p:nvSpPr>
          <p:cNvPr id="3" name="Espace réservé du texte 2">
            <a:extLst>
              <a:ext uri="{FF2B5EF4-FFF2-40B4-BE49-F238E27FC236}">
                <a16:creationId xmlns:a16="http://schemas.microsoft.com/office/drawing/2014/main" id="{9C630387-01A6-4667-A171-E57EE95EAA8D}"/>
              </a:ext>
            </a:extLst>
          </p:cNvPr>
          <p:cNvSpPr>
            <a:spLocks noGrp="1"/>
          </p:cNvSpPr>
          <p:nvPr>
            <p:ph type="body" sz="quarter" idx="13"/>
          </p:nvPr>
        </p:nvSpPr>
        <p:spPr/>
        <p:txBody>
          <a:bodyPr/>
          <a:lstStyle/>
          <a:p>
            <a:r>
              <a:rPr lang="fr-FR"/>
              <a:t>fiches initiatives</a:t>
            </a:r>
          </a:p>
        </p:txBody>
      </p:sp>
      <p:pic>
        <p:nvPicPr>
          <p:cNvPr id="1026" name="Picture 2" descr="Accueil">
            <a:extLst>
              <a:ext uri="{FF2B5EF4-FFF2-40B4-BE49-F238E27FC236}">
                <a16:creationId xmlns:a16="http://schemas.microsoft.com/office/drawing/2014/main" id="{246FA698-26EA-47C7-B5AC-FC5B02C27AF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186" r="72972"/>
          <a:stretch/>
        </p:blipFill>
        <p:spPr bwMode="auto">
          <a:xfrm>
            <a:off x="9393576" y="91117"/>
            <a:ext cx="1309825" cy="698611"/>
          </a:xfrm>
          <a:prstGeom prst="rect">
            <a:avLst/>
          </a:prstGeom>
          <a:noFill/>
          <a:extLst>
            <a:ext uri="{909E8E84-426E-40DD-AFC4-6F175D3DCCD1}">
              <a14:hiddenFill xmlns:a14="http://schemas.microsoft.com/office/drawing/2010/main">
                <a:solidFill>
                  <a:srgbClr val="FFFFFF"/>
                </a:solidFill>
              </a14:hiddenFill>
            </a:ext>
          </a:extLst>
        </p:spPr>
      </p:pic>
      <p:grpSp>
        <p:nvGrpSpPr>
          <p:cNvPr id="89" name="Group 219">
            <a:extLst>
              <a:ext uri="{FF2B5EF4-FFF2-40B4-BE49-F238E27FC236}">
                <a16:creationId xmlns:a16="http://schemas.microsoft.com/office/drawing/2014/main" id="{23563D0E-A6E2-449B-BBEF-8098E393884C}"/>
              </a:ext>
            </a:extLst>
          </p:cNvPr>
          <p:cNvGrpSpPr>
            <a:grpSpLocks/>
          </p:cNvGrpSpPr>
          <p:nvPr/>
        </p:nvGrpSpPr>
        <p:grpSpPr bwMode="gray">
          <a:xfrm>
            <a:off x="1498106" y="972493"/>
            <a:ext cx="1015402" cy="933665"/>
            <a:chOff x="48" y="168"/>
            <a:chExt cx="3077" cy="3032"/>
          </a:xfrm>
          <a:solidFill>
            <a:schemeClr val="tx2"/>
          </a:solidFill>
          <a:effectLst>
            <a:outerShdw blurRad="127000" dist="50800" dir="2700000" algn="ctr" rotWithShape="0">
              <a:schemeClr val="tx1">
                <a:alpha val="40000"/>
              </a:schemeClr>
            </a:outerShdw>
          </a:effectLst>
        </p:grpSpPr>
        <p:sp>
          <p:nvSpPr>
            <p:cNvPr id="90" name="Nord-Pas-de-Calais" descr="© INSCALE GmbH, 05.05.2010&#10;http://www.presentationload.com/">
              <a:extLst>
                <a:ext uri="{FF2B5EF4-FFF2-40B4-BE49-F238E27FC236}">
                  <a16:creationId xmlns:a16="http://schemas.microsoft.com/office/drawing/2014/main" id="{AB720DBB-1E99-4155-8615-016531D8396C}"/>
                </a:ext>
              </a:extLst>
            </p:cNvPr>
            <p:cNvSpPr>
              <a:spLocks/>
            </p:cNvSpPr>
            <p:nvPr/>
          </p:nvSpPr>
          <p:spPr bwMode="gray">
            <a:xfrm>
              <a:off x="1600" y="168"/>
              <a:ext cx="608" cy="383"/>
            </a:xfrm>
            <a:custGeom>
              <a:avLst/>
              <a:gdLst/>
              <a:ahLst/>
              <a:cxnLst>
                <a:cxn ang="0">
                  <a:pos x="77" y="236"/>
                </a:cxn>
                <a:cxn ang="0">
                  <a:pos x="101" y="257"/>
                </a:cxn>
                <a:cxn ang="0">
                  <a:pos x="117" y="279"/>
                </a:cxn>
                <a:cxn ang="0">
                  <a:pos x="159" y="269"/>
                </a:cxn>
                <a:cxn ang="0">
                  <a:pos x="187" y="273"/>
                </a:cxn>
                <a:cxn ang="0">
                  <a:pos x="173" y="309"/>
                </a:cxn>
                <a:cxn ang="0">
                  <a:pos x="208" y="304"/>
                </a:cxn>
                <a:cxn ang="0">
                  <a:pos x="232" y="300"/>
                </a:cxn>
                <a:cxn ang="0">
                  <a:pos x="244" y="323"/>
                </a:cxn>
                <a:cxn ang="0">
                  <a:pos x="272" y="324"/>
                </a:cxn>
                <a:cxn ang="0">
                  <a:pos x="279" y="321"/>
                </a:cxn>
                <a:cxn ang="0">
                  <a:pos x="343" y="329"/>
                </a:cxn>
                <a:cxn ang="0">
                  <a:pos x="364" y="327"/>
                </a:cxn>
                <a:cxn ang="0">
                  <a:pos x="440" y="317"/>
                </a:cxn>
                <a:cxn ang="0">
                  <a:pos x="473" y="333"/>
                </a:cxn>
                <a:cxn ang="0">
                  <a:pos x="492" y="335"/>
                </a:cxn>
                <a:cxn ang="0">
                  <a:pos x="548" y="320"/>
                </a:cxn>
                <a:cxn ang="0">
                  <a:pos x="556" y="283"/>
                </a:cxn>
                <a:cxn ang="0">
                  <a:pos x="545" y="269"/>
                </a:cxn>
                <a:cxn ang="0">
                  <a:pos x="559" y="243"/>
                </a:cxn>
                <a:cxn ang="0">
                  <a:pos x="543" y="243"/>
                </a:cxn>
                <a:cxn ang="0">
                  <a:pos x="517" y="215"/>
                </a:cxn>
                <a:cxn ang="0">
                  <a:pos x="500" y="219"/>
                </a:cxn>
                <a:cxn ang="0">
                  <a:pos x="486" y="217"/>
                </a:cxn>
                <a:cxn ang="0">
                  <a:pos x="452" y="228"/>
                </a:cxn>
                <a:cxn ang="0">
                  <a:pos x="442" y="201"/>
                </a:cxn>
                <a:cxn ang="0">
                  <a:pos x="436" y="174"/>
                </a:cxn>
                <a:cxn ang="0">
                  <a:pos x="409" y="165"/>
                </a:cxn>
                <a:cxn ang="0">
                  <a:pos x="362" y="157"/>
                </a:cxn>
                <a:cxn ang="0">
                  <a:pos x="353" y="124"/>
                </a:cxn>
                <a:cxn ang="0">
                  <a:pos x="350" y="110"/>
                </a:cxn>
                <a:cxn ang="0">
                  <a:pos x="325" y="90"/>
                </a:cxn>
                <a:cxn ang="0">
                  <a:pos x="283" y="114"/>
                </a:cxn>
                <a:cxn ang="0">
                  <a:pos x="262" y="106"/>
                </a:cxn>
                <a:cxn ang="0">
                  <a:pos x="245" y="76"/>
                </a:cxn>
                <a:cxn ang="0">
                  <a:pos x="221" y="67"/>
                </a:cxn>
                <a:cxn ang="0">
                  <a:pos x="224" y="42"/>
                </a:cxn>
                <a:cxn ang="0">
                  <a:pos x="212" y="9"/>
                </a:cxn>
                <a:cxn ang="0">
                  <a:pos x="157" y="7"/>
                </a:cxn>
                <a:cxn ang="0">
                  <a:pos x="54" y="31"/>
                </a:cxn>
                <a:cxn ang="0">
                  <a:pos x="7" y="57"/>
                </a:cxn>
                <a:cxn ang="0">
                  <a:pos x="5" y="106"/>
                </a:cxn>
                <a:cxn ang="0">
                  <a:pos x="4" y="192"/>
                </a:cxn>
                <a:cxn ang="0">
                  <a:pos x="1" y="228"/>
                </a:cxn>
                <a:cxn ang="0">
                  <a:pos x="12" y="235"/>
                </a:cxn>
                <a:cxn ang="0">
                  <a:pos x="65" y="237"/>
                </a:cxn>
              </a:cxnLst>
              <a:rect l="0" t="0" r="r" b="b"/>
              <a:pathLst>
                <a:path w="564" h="355">
                  <a:moveTo>
                    <a:pt x="65" y="237"/>
                  </a:moveTo>
                  <a:cubicBezTo>
                    <a:pt x="77" y="236"/>
                    <a:pt x="77" y="236"/>
                    <a:pt x="77" y="236"/>
                  </a:cubicBezTo>
                  <a:cubicBezTo>
                    <a:pt x="79" y="247"/>
                    <a:pt x="79" y="247"/>
                    <a:pt x="79" y="247"/>
                  </a:cubicBezTo>
                  <a:cubicBezTo>
                    <a:pt x="101" y="257"/>
                    <a:pt x="101" y="257"/>
                    <a:pt x="101" y="257"/>
                  </a:cubicBezTo>
                  <a:cubicBezTo>
                    <a:pt x="109" y="275"/>
                    <a:pt x="109" y="275"/>
                    <a:pt x="109" y="275"/>
                  </a:cubicBezTo>
                  <a:cubicBezTo>
                    <a:pt x="117" y="279"/>
                    <a:pt x="117" y="279"/>
                    <a:pt x="117" y="279"/>
                  </a:cubicBezTo>
                  <a:cubicBezTo>
                    <a:pt x="143" y="265"/>
                    <a:pt x="143" y="265"/>
                    <a:pt x="143" y="265"/>
                  </a:cubicBezTo>
                  <a:cubicBezTo>
                    <a:pt x="159" y="269"/>
                    <a:pt x="159" y="269"/>
                    <a:pt x="159" y="269"/>
                  </a:cubicBezTo>
                  <a:cubicBezTo>
                    <a:pt x="180" y="263"/>
                    <a:pt x="180" y="263"/>
                    <a:pt x="180" y="263"/>
                  </a:cubicBezTo>
                  <a:cubicBezTo>
                    <a:pt x="187" y="273"/>
                    <a:pt x="187" y="273"/>
                    <a:pt x="187" y="273"/>
                  </a:cubicBezTo>
                  <a:cubicBezTo>
                    <a:pt x="187" y="273"/>
                    <a:pt x="163" y="293"/>
                    <a:pt x="163" y="304"/>
                  </a:cubicBezTo>
                  <a:cubicBezTo>
                    <a:pt x="163" y="315"/>
                    <a:pt x="173" y="309"/>
                    <a:pt x="173" y="309"/>
                  </a:cubicBezTo>
                  <a:cubicBezTo>
                    <a:pt x="173" y="309"/>
                    <a:pt x="193" y="289"/>
                    <a:pt x="193" y="300"/>
                  </a:cubicBezTo>
                  <a:cubicBezTo>
                    <a:pt x="193" y="300"/>
                    <a:pt x="208" y="297"/>
                    <a:pt x="208" y="304"/>
                  </a:cubicBezTo>
                  <a:cubicBezTo>
                    <a:pt x="208" y="311"/>
                    <a:pt x="227" y="313"/>
                    <a:pt x="227" y="313"/>
                  </a:cubicBezTo>
                  <a:cubicBezTo>
                    <a:pt x="232" y="300"/>
                    <a:pt x="232" y="300"/>
                    <a:pt x="232" y="300"/>
                  </a:cubicBezTo>
                  <a:cubicBezTo>
                    <a:pt x="248" y="303"/>
                    <a:pt x="248" y="303"/>
                    <a:pt x="248" y="303"/>
                  </a:cubicBezTo>
                  <a:cubicBezTo>
                    <a:pt x="244" y="323"/>
                    <a:pt x="244" y="323"/>
                    <a:pt x="244" y="323"/>
                  </a:cubicBezTo>
                  <a:cubicBezTo>
                    <a:pt x="263" y="313"/>
                    <a:pt x="263" y="313"/>
                    <a:pt x="263" y="313"/>
                  </a:cubicBezTo>
                  <a:cubicBezTo>
                    <a:pt x="272" y="324"/>
                    <a:pt x="272" y="324"/>
                    <a:pt x="272" y="324"/>
                  </a:cubicBezTo>
                  <a:cubicBezTo>
                    <a:pt x="265" y="332"/>
                    <a:pt x="265" y="332"/>
                    <a:pt x="265" y="332"/>
                  </a:cubicBezTo>
                  <a:cubicBezTo>
                    <a:pt x="279" y="321"/>
                    <a:pt x="279" y="321"/>
                    <a:pt x="279" y="321"/>
                  </a:cubicBezTo>
                  <a:cubicBezTo>
                    <a:pt x="313" y="321"/>
                    <a:pt x="313" y="321"/>
                    <a:pt x="313" y="321"/>
                  </a:cubicBezTo>
                  <a:cubicBezTo>
                    <a:pt x="313" y="321"/>
                    <a:pt x="320" y="341"/>
                    <a:pt x="343" y="329"/>
                  </a:cubicBezTo>
                  <a:cubicBezTo>
                    <a:pt x="348" y="331"/>
                    <a:pt x="348" y="335"/>
                    <a:pt x="348" y="335"/>
                  </a:cubicBezTo>
                  <a:cubicBezTo>
                    <a:pt x="348" y="335"/>
                    <a:pt x="359" y="339"/>
                    <a:pt x="364" y="327"/>
                  </a:cubicBezTo>
                  <a:cubicBezTo>
                    <a:pt x="364" y="327"/>
                    <a:pt x="400" y="337"/>
                    <a:pt x="404" y="319"/>
                  </a:cubicBezTo>
                  <a:cubicBezTo>
                    <a:pt x="403" y="323"/>
                    <a:pt x="413" y="339"/>
                    <a:pt x="440" y="317"/>
                  </a:cubicBezTo>
                  <a:cubicBezTo>
                    <a:pt x="473" y="327"/>
                    <a:pt x="473" y="327"/>
                    <a:pt x="473" y="327"/>
                  </a:cubicBezTo>
                  <a:cubicBezTo>
                    <a:pt x="473" y="333"/>
                    <a:pt x="473" y="333"/>
                    <a:pt x="473" y="333"/>
                  </a:cubicBezTo>
                  <a:cubicBezTo>
                    <a:pt x="492" y="321"/>
                    <a:pt x="492" y="321"/>
                    <a:pt x="492" y="321"/>
                  </a:cubicBezTo>
                  <a:cubicBezTo>
                    <a:pt x="492" y="335"/>
                    <a:pt x="492" y="335"/>
                    <a:pt x="492" y="335"/>
                  </a:cubicBezTo>
                  <a:cubicBezTo>
                    <a:pt x="492" y="335"/>
                    <a:pt x="522" y="355"/>
                    <a:pt x="554" y="333"/>
                  </a:cubicBezTo>
                  <a:cubicBezTo>
                    <a:pt x="551" y="330"/>
                    <a:pt x="549" y="325"/>
                    <a:pt x="548" y="320"/>
                  </a:cubicBezTo>
                  <a:cubicBezTo>
                    <a:pt x="547" y="313"/>
                    <a:pt x="558" y="305"/>
                    <a:pt x="561" y="303"/>
                  </a:cubicBezTo>
                  <a:cubicBezTo>
                    <a:pt x="564" y="301"/>
                    <a:pt x="556" y="283"/>
                    <a:pt x="556" y="283"/>
                  </a:cubicBezTo>
                  <a:cubicBezTo>
                    <a:pt x="556" y="283"/>
                    <a:pt x="553" y="283"/>
                    <a:pt x="547" y="283"/>
                  </a:cubicBezTo>
                  <a:cubicBezTo>
                    <a:pt x="541" y="283"/>
                    <a:pt x="545" y="269"/>
                    <a:pt x="545" y="269"/>
                  </a:cubicBezTo>
                  <a:cubicBezTo>
                    <a:pt x="547" y="260"/>
                    <a:pt x="547" y="260"/>
                    <a:pt x="547" y="260"/>
                  </a:cubicBezTo>
                  <a:cubicBezTo>
                    <a:pt x="547" y="260"/>
                    <a:pt x="558" y="246"/>
                    <a:pt x="559" y="243"/>
                  </a:cubicBezTo>
                  <a:cubicBezTo>
                    <a:pt x="560" y="240"/>
                    <a:pt x="554" y="236"/>
                    <a:pt x="554" y="236"/>
                  </a:cubicBezTo>
                  <a:cubicBezTo>
                    <a:pt x="543" y="243"/>
                    <a:pt x="543" y="243"/>
                    <a:pt x="543" y="243"/>
                  </a:cubicBezTo>
                  <a:cubicBezTo>
                    <a:pt x="542" y="233"/>
                    <a:pt x="542" y="233"/>
                    <a:pt x="542" y="233"/>
                  </a:cubicBezTo>
                  <a:cubicBezTo>
                    <a:pt x="517" y="215"/>
                    <a:pt x="517" y="215"/>
                    <a:pt x="517" y="215"/>
                  </a:cubicBezTo>
                  <a:cubicBezTo>
                    <a:pt x="514" y="219"/>
                    <a:pt x="514" y="219"/>
                    <a:pt x="514" y="219"/>
                  </a:cubicBezTo>
                  <a:cubicBezTo>
                    <a:pt x="500" y="219"/>
                    <a:pt x="500" y="219"/>
                    <a:pt x="500" y="219"/>
                  </a:cubicBezTo>
                  <a:cubicBezTo>
                    <a:pt x="493" y="225"/>
                    <a:pt x="493" y="225"/>
                    <a:pt x="493" y="225"/>
                  </a:cubicBezTo>
                  <a:cubicBezTo>
                    <a:pt x="486" y="217"/>
                    <a:pt x="486" y="217"/>
                    <a:pt x="486" y="217"/>
                  </a:cubicBezTo>
                  <a:cubicBezTo>
                    <a:pt x="460" y="216"/>
                    <a:pt x="460" y="216"/>
                    <a:pt x="460" y="216"/>
                  </a:cubicBezTo>
                  <a:cubicBezTo>
                    <a:pt x="452" y="228"/>
                    <a:pt x="452" y="228"/>
                    <a:pt x="452" y="228"/>
                  </a:cubicBezTo>
                  <a:cubicBezTo>
                    <a:pt x="443" y="216"/>
                    <a:pt x="443" y="216"/>
                    <a:pt x="443" y="216"/>
                  </a:cubicBezTo>
                  <a:cubicBezTo>
                    <a:pt x="442" y="201"/>
                    <a:pt x="442" y="201"/>
                    <a:pt x="442" y="201"/>
                  </a:cubicBezTo>
                  <a:cubicBezTo>
                    <a:pt x="449" y="195"/>
                    <a:pt x="449" y="195"/>
                    <a:pt x="449" y="195"/>
                  </a:cubicBezTo>
                  <a:cubicBezTo>
                    <a:pt x="436" y="174"/>
                    <a:pt x="436" y="174"/>
                    <a:pt x="436" y="174"/>
                  </a:cubicBezTo>
                  <a:cubicBezTo>
                    <a:pt x="410" y="172"/>
                    <a:pt x="410" y="172"/>
                    <a:pt x="410" y="172"/>
                  </a:cubicBezTo>
                  <a:cubicBezTo>
                    <a:pt x="409" y="165"/>
                    <a:pt x="409" y="165"/>
                    <a:pt x="409" y="165"/>
                  </a:cubicBezTo>
                  <a:cubicBezTo>
                    <a:pt x="409" y="165"/>
                    <a:pt x="390" y="174"/>
                    <a:pt x="383" y="174"/>
                  </a:cubicBezTo>
                  <a:cubicBezTo>
                    <a:pt x="376" y="174"/>
                    <a:pt x="362" y="157"/>
                    <a:pt x="362" y="157"/>
                  </a:cubicBezTo>
                  <a:cubicBezTo>
                    <a:pt x="362" y="141"/>
                    <a:pt x="362" y="141"/>
                    <a:pt x="362" y="141"/>
                  </a:cubicBezTo>
                  <a:cubicBezTo>
                    <a:pt x="353" y="124"/>
                    <a:pt x="353" y="124"/>
                    <a:pt x="353" y="124"/>
                  </a:cubicBezTo>
                  <a:cubicBezTo>
                    <a:pt x="353" y="124"/>
                    <a:pt x="360" y="119"/>
                    <a:pt x="359" y="116"/>
                  </a:cubicBezTo>
                  <a:cubicBezTo>
                    <a:pt x="358" y="113"/>
                    <a:pt x="350" y="110"/>
                    <a:pt x="350" y="110"/>
                  </a:cubicBezTo>
                  <a:cubicBezTo>
                    <a:pt x="335" y="85"/>
                    <a:pt x="335" y="85"/>
                    <a:pt x="335" y="85"/>
                  </a:cubicBezTo>
                  <a:cubicBezTo>
                    <a:pt x="325" y="90"/>
                    <a:pt x="325" y="90"/>
                    <a:pt x="325" y="90"/>
                  </a:cubicBezTo>
                  <a:cubicBezTo>
                    <a:pt x="325" y="90"/>
                    <a:pt x="291" y="99"/>
                    <a:pt x="291" y="106"/>
                  </a:cubicBezTo>
                  <a:cubicBezTo>
                    <a:pt x="291" y="113"/>
                    <a:pt x="283" y="114"/>
                    <a:pt x="283" y="114"/>
                  </a:cubicBezTo>
                  <a:cubicBezTo>
                    <a:pt x="273" y="106"/>
                    <a:pt x="273" y="106"/>
                    <a:pt x="273" y="106"/>
                  </a:cubicBezTo>
                  <a:cubicBezTo>
                    <a:pt x="262" y="106"/>
                    <a:pt x="262" y="106"/>
                    <a:pt x="262" y="106"/>
                  </a:cubicBezTo>
                  <a:cubicBezTo>
                    <a:pt x="262" y="106"/>
                    <a:pt x="253" y="99"/>
                    <a:pt x="253" y="95"/>
                  </a:cubicBezTo>
                  <a:cubicBezTo>
                    <a:pt x="253" y="91"/>
                    <a:pt x="245" y="76"/>
                    <a:pt x="245" y="76"/>
                  </a:cubicBezTo>
                  <a:cubicBezTo>
                    <a:pt x="231" y="77"/>
                    <a:pt x="231" y="77"/>
                    <a:pt x="231" y="77"/>
                  </a:cubicBezTo>
                  <a:cubicBezTo>
                    <a:pt x="221" y="67"/>
                    <a:pt x="221" y="67"/>
                    <a:pt x="221" y="67"/>
                  </a:cubicBezTo>
                  <a:cubicBezTo>
                    <a:pt x="223" y="56"/>
                    <a:pt x="223" y="56"/>
                    <a:pt x="223" y="56"/>
                  </a:cubicBezTo>
                  <a:cubicBezTo>
                    <a:pt x="223" y="56"/>
                    <a:pt x="221" y="42"/>
                    <a:pt x="224" y="42"/>
                  </a:cubicBezTo>
                  <a:cubicBezTo>
                    <a:pt x="227" y="42"/>
                    <a:pt x="221" y="27"/>
                    <a:pt x="221" y="27"/>
                  </a:cubicBezTo>
                  <a:cubicBezTo>
                    <a:pt x="221" y="27"/>
                    <a:pt x="212" y="15"/>
                    <a:pt x="212" y="9"/>
                  </a:cubicBezTo>
                  <a:cubicBezTo>
                    <a:pt x="212" y="3"/>
                    <a:pt x="207" y="0"/>
                    <a:pt x="207" y="0"/>
                  </a:cubicBezTo>
                  <a:cubicBezTo>
                    <a:pt x="207" y="0"/>
                    <a:pt x="174" y="6"/>
                    <a:pt x="157" y="7"/>
                  </a:cubicBezTo>
                  <a:cubicBezTo>
                    <a:pt x="140" y="8"/>
                    <a:pt x="143" y="8"/>
                    <a:pt x="115" y="17"/>
                  </a:cubicBezTo>
                  <a:cubicBezTo>
                    <a:pt x="87" y="26"/>
                    <a:pt x="75" y="27"/>
                    <a:pt x="54" y="31"/>
                  </a:cubicBezTo>
                  <a:cubicBezTo>
                    <a:pt x="33" y="35"/>
                    <a:pt x="26" y="54"/>
                    <a:pt x="26" y="54"/>
                  </a:cubicBezTo>
                  <a:cubicBezTo>
                    <a:pt x="7" y="57"/>
                    <a:pt x="7" y="57"/>
                    <a:pt x="7" y="57"/>
                  </a:cubicBezTo>
                  <a:cubicBezTo>
                    <a:pt x="7" y="57"/>
                    <a:pt x="16" y="74"/>
                    <a:pt x="15" y="87"/>
                  </a:cubicBezTo>
                  <a:cubicBezTo>
                    <a:pt x="14" y="100"/>
                    <a:pt x="5" y="100"/>
                    <a:pt x="5" y="106"/>
                  </a:cubicBezTo>
                  <a:cubicBezTo>
                    <a:pt x="5" y="112"/>
                    <a:pt x="14" y="157"/>
                    <a:pt x="14" y="157"/>
                  </a:cubicBezTo>
                  <a:cubicBezTo>
                    <a:pt x="4" y="192"/>
                    <a:pt x="4" y="192"/>
                    <a:pt x="4" y="192"/>
                  </a:cubicBezTo>
                  <a:cubicBezTo>
                    <a:pt x="4" y="192"/>
                    <a:pt x="7" y="201"/>
                    <a:pt x="12" y="203"/>
                  </a:cubicBezTo>
                  <a:cubicBezTo>
                    <a:pt x="4" y="203"/>
                    <a:pt x="0" y="217"/>
                    <a:pt x="1" y="228"/>
                  </a:cubicBezTo>
                  <a:cubicBezTo>
                    <a:pt x="2" y="239"/>
                    <a:pt x="9" y="232"/>
                    <a:pt x="9" y="232"/>
                  </a:cubicBezTo>
                  <a:cubicBezTo>
                    <a:pt x="9" y="232"/>
                    <a:pt x="10" y="233"/>
                    <a:pt x="12" y="235"/>
                  </a:cubicBezTo>
                  <a:cubicBezTo>
                    <a:pt x="21" y="231"/>
                    <a:pt x="35" y="224"/>
                    <a:pt x="39" y="224"/>
                  </a:cubicBezTo>
                  <a:cubicBezTo>
                    <a:pt x="44" y="224"/>
                    <a:pt x="65" y="237"/>
                    <a:pt x="65" y="23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1" name="Picardie" descr="© INSCALE GmbH, 05.05.2010&#10;http://www.presentationload.com/">
              <a:extLst>
                <a:ext uri="{FF2B5EF4-FFF2-40B4-BE49-F238E27FC236}">
                  <a16:creationId xmlns:a16="http://schemas.microsoft.com/office/drawing/2014/main" id="{2A78403A-7F28-4A1F-B641-DECB4BC24BE4}"/>
                </a:ext>
              </a:extLst>
            </p:cNvPr>
            <p:cNvSpPr>
              <a:spLocks/>
            </p:cNvSpPr>
            <p:nvPr/>
          </p:nvSpPr>
          <p:spPr bwMode="gray">
            <a:xfrm>
              <a:off x="1552" y="410"/>
              <a:ext cx="644" cy="519"/>
            </a:xfrm>
            <a:custGeom>
              <a:avLst/>
              <a:gdLst/>
              <a:ahLst/>
              <a:cxnLst>
                <a:cxn ang="0">
                  <a:pos x="17" y="99"/>
                </a:cxn>
                <a:cxn ang="0">
                  <a:pos x="85" y="189"/>
                </a:cxn>
                <a:cxn ang="0">
                  <a:pos x="79" y="213"/>
                </a:cxn>
                <a:cxn ang="0">
                  <a:pos x="79" y="264"/>
                </a:cxn>
                <a:cxn ang="0">
                  <a:pos x="83" y="275"/>
                </a:cxn>
                <a:cxn ang="0">
                  <a:pos x="84" y="355"/>
                </a:cxn>
                <a:cxn ang="0">
                  <a:pos x="76" y="379"/>
                </a:cxn>
                <a:cxn ang="0">
                  <a:pos x="144" y="371"/>
                </a:cxn>
                <a:cxn ang="0">
                  <a:pos x="160" y="373"/>
                </a:cxn>
                <a:cxn ang="0">
                  <a:pos x="173" y="376"/>
                </a:cxn>
                <a:cxn ang="0">
                  <a:pos x="196" y="375"/>
                </a:cxn>
                <a:cxn ang="0">
                  <a:pos x="196" y="375"/>
                </a:cxn>
                <a:cxn ang="0">
                  <a:pos x="232" y="403"/>
                </a:cxn>
                <a:cxn ang="0">
                  <a:pos x="251" y="409"/>
                </a:cxn>
                <a:cxn ang="0">
                  <a:pos x="280" y="412"/>
                </a:cxn>
                <a:cxn ang="0">
                  <a:pos x="311" y="413"/>
                </a:cxn>
                <a:cxn ang="0">
                  <a:pos x="356" y="397"/>
                </a:cxn>
                <a:cxn ang="0">
                  <a:pos x="392" y="451"/>
                </a:cxn>
                <a:cxn ang="0">
                  <a:pos x="407" y="457"/>
                </a:cxn>
                <a:cxn ang="0">
                  <a:pos x="421" y="476"/>
                </a:cxn>
                <a:cxn ang="0">
                  <a:pos x="451" y="461"/>
                </a:cxn>
                <a:cxn ang="0">
                  <a:pos x="480" y="424"/>
                </a:cxn>
                <a:cxn ang="0">
                  <a:pos x="463" y="415"/>
                </a:cxn>
                <a:cxn ang="0">
                  <a:pos x="465" y="391"/>
                </a:cxn>
                <a:cxn ang="0">
                  <a:pos x="473" y="364"/>
                </a:cxn>
                <a:cxn ang="0">
                  <a:pos x="473" y="333"/>
                </a:cxn>
                <a:cxn ang="0">
                  <a:pos x="517" y="309"/>
                </a:cxn>
                <a:cxn ang="0">
                  <a:pos x="552" y="316"/>
                </a:cxn>
                <a:cxn ang="0">
                  <a:pos x="560" y="260"/>
                </a:cxn>
                <a:cxn ang="0">
                  <a:pos x="564" y="229"/>
                </a:cxn>
                <a:cxn ang="0">
                  <a:pos x="593" y="187"/>
                </a:cxn>
                <a:cxn ang="0">
                  <a:pos x="592" y="143"/>
                </a:cxn>
                <a:cxn ang="0">
                  <a:pos x="536" y="111"/>
                </a:cxn>
                <a:cxn ang="0">
                  <a:pos x="517" y="109"/>
                </a:cxn>
                <a:cxn ang="0">
                  <a:pos x="484" y="93"/>
                </a:cxn>
                <a:cxn ang="0">
                  <a:pos x="408" y="103"/>
                </a:cxn>
                <a:cxn ang="0">
                  <a:pos x="387" y="105"/>
                </a:cxn>
                <a:cxn ang="0">
                  <a:pos x="323" y="97"/>
                </a:cxn>
                <a:cxn ang="0">
                  <a:pos x="316" y="100"/>
                </a:cxn>
                <a:cxn ang="0">
                  <a:pos x="288" y="99"/>
                </a:cxn>
                <a:cxn ang="0">
                  <a:pos x="276" y="76"/>
                </a:cxn>
                <a:cxn ang="0">
                  <a:pos x="252" y="80"/>
                </a:cxn>
                <a:cxn ang="0">
                  <a:pos x="217" y="85"/>
                </a:cxn>
                <a:cxn ang="0">
                  <a:pos x="231" y="49"/>
                </a:cxn>
                <a:cxn ang="0">
                  <a:pos x="203" y="45"/>
                </a:cxn>
                <a:cxn ang="0">
                  <a:pos x="161" y="55"/>
                </a:cxn>
                <a:cxn ang="0">
                  <a:pos x="145" y="33"/>
                </a:cxn>
                <a:cxn ang="0">
                  <a:pos x="121" y="12"/>
                </a:cxn>
                <a:cxn ang="0">
                  <a:pos x="83" y="0"/>
                </a:cxn>
                <a:cxn ang="0">
                  <a:pos x="63" y="30"/>
                </a:cxn>
                <a:cxn ang="0">
                  <a:pos x="25" y="60"/>
                </a:cxn>
                <a:cxn ang="0">
                  <a:pos x="5" y="92"/>
                </a:cxn>
              </a:cxnLst>
              <a:rect l="0" t="0" r="r" b="b"/>
              <a:pathLst>
                <a:path w="597" h="481">
                  <a:moveTo>
                    <a:pt x="17" y="95"/>
                  </a:moveTo>
                  <a:cubicBezTo>
                    <a:pt x="17" y="99"/>
                    <a:pt x="17" y="99"/>
                    <a:pt x="17" y="99"/>
                  </a:cubicBezTo>
                  <a:cubicBezTo>
                    <a:pt x="17" y="99"/>
                    <a:pt x="43" y="136"/>
                    <a:pt x="61" y="139"/>
                  </a:cubicBezTo>
                  <a:cubicBezTo>
                    <a:pt x="85" y="189"/>
                    <a:pt x="85" y="189"/>
                    <a:pt x="85" y="189"/>
                  </a:cubicBezTo>
                  <a:cubicBezTo>
                    <a:pt x="85" y="189"/>
                    <a:pt x="64" y="211"/>
                    <a:pt x="68" y="212"/>
                  </a:cubicBezTo>
                  <a:cubicBezTo>
                    <a:pt x="72" y="213"/>
                    <a:pt x="79" y="213"/>
                    <a:pt x="79" y="213"/>
                  </a:cubicBezTo>
                  <a:cubicBezTo>
                    <a:pt x="69" y="244"/>
                    <a:pt x="69" y="244"/>
                    <a:pt x="69" y="244"/>
                  </a:cubicBezTo>
                  <a:cubicBezTo>
                    <a:pt x="79" y="264"/>
                    <a:pt x="79" y="264"/>
                    <a:pt x="79" y="264"/>
                  </a:cubicBezTo>
                  <a:cubicBezTo>
                    <a:pt x="73" y="276"/>
                    <a:pt x="73" y="276"/>
                    <a:pt x="73" y="276"/>
                  </a:cubicBezTo>
                  <a:cubicBezTo>
                    <a:pt x="83" y="275"/>
                    <a:pt x="83" y="275"/>
                    <a:pt x="83" y="275"/>
                  </a:cubicBezTo>
                  <a:cubicBezTo>
                    <a:pt x="73" y="303"/>
                    <a:pt x="73" y="303"/>
                    <a:pt x="73" y="303"/>
                  </a:cubicBezTo>
                  <a:cubicBezTo>
                    <a:pt x="73" y="303"/>
                    <a:pt x="85" y="340"/>
                    <a:pt x="84" y="355"/>
                  </a:cubicBezTo>
                  <a:cubicBezTo>
                    <a:pt x="65" y="349"/>
                    <a:pt x="65" y="349"/>
                    <a:pt x="65" y="349"/>
                  </a:cubicBezTo>
                  <a:cubicBezTo>
                    <a:pt x="76" y="379"/>
                    <a:pt x="76" y="379"/>
                    <a:pt x="76" y="379"/>
                  </a:cubicBezTo>
                  <a:cubicBezTo>
                    <a:pt x="128" y="375"/>
                    <a:pt x="128" y="375"/>
                    <a:pt x="128" y="375"/>
                  </a:cubicBezTo>
                  <a:cubicBezTo>
                    <a:pt x="144" y="371"/>
                    <a:pt x="144" y="371"/>
                    <a:pt x="144" y="371"/>
                  </a:cubicBezTo>
                  <a:cubicBezTo>
                    <a:pt x="151" y="376"/>
                    <a:pt x="151" y="376"/>
                    <a:pt x="151" y="376"/>
                  </a:cubicBezTo>
                  <a:cubicBezTo>
                    <a:pt x="160" y="373"/>
                    <a:pt x="160" y="373"/>
                    <a:pt x="160" y="373"/>
                  </a:cubicBezTo>
                  <a:cubicBezTo>
                    <a:pt x="169" y="383"/>
                    <a:pt x="169" y="383"/>
                    <a:pt x="169" y="383"/>
                  </a:cubicBezTo>
                  <a:cubicBezTo>
                    <a:pt x="173" y="376"/>
                    <a:pt x="173" y="376"/>
                    <a:pt x="173" y="376"/>
                  </a:cubicBezTo>
                  <a:cubicBezTo>
                    <a:pt x="177" y="384"/>
                    <a:pt x="177" y="384"/>
                    <a:pt x="177" y="384"/>
                  </a:cubicBezTo>
                  <a:cubicBezTo>
                    <a:pt x="196" y="375"/>
                    <a:pt x="196" y="375"/>
                    <a:pt x="196" y="375"/>
                  </a:cubicBezTo>
                  <a:cubicBezTo>
                    <a:pt x="197" y="375"/>
                    <a:pt x="197" y="375"/>
                    <a:pt x="197" y="375"/>
                  </a:cubicBezTo>
                  <a:cubicBezTo>
                    <a:pt x="196" y="375"/>
                    <a:pt x="196" y="375"/>
                    <a:pt x="196" y="375"/>
                  </a:cubicBezTo>
                  <a:cubicBezTo>
                    <a:pt x="194" y="376"/>
                    <a:pt x="190" y="380"/>
                    <a:pt x="203" y="383"/>
                  </a:cubicBezTo>
                  <a:cubicBezTo>
                    <a:pt x="219" y="387"/>
                    <a:pt x="237" y="399"/>
                    <a:pt x="232" y="403"/>
                  </a:cubicBezTo>
                  <a:cubicBezTo>
                    <a:pt x="227" y="407"/>
                    <a:pt x="245" y="399"/>
                    <a:pt x="245" y="399"/>
                  </a:cubicBezTo>
                  <a:cubicBezTo>
                    <a:pt x="251" y="409"/>
                    <a:pt x="251" y="409"/>
                    <a:pt x="251" y="409"/>
                  </a:cubicBezTo>
                  <a:cubicBezTo>
                    <a:pt x="251" y="409"/>
                    <a:pt x="253" y="397"/>
                    <a:pt x="260" y="401"/>
                  </a:cubicBezTo>
                  <a:cubicBezTo>
                    <a:pt x="267" y="405"/>
                    <a:pt x="272" y="409"/>
                    <a:pt x="280" y="412"/>
                  </a:cubicBezTo>
                  <a:cubicBezTo>
                    <a:pt x="288" y="415"/>
                    <a:pt x="297" y="405"/>
                    <a:pt x="297" y="405"/>
                  </a:cubicBezTo>
                  <a:cubicBezTo>
                    <a:pt x="311" y="413"/>
                    <a:pt x="311" y="413"/>
                    <a:pt x="311" y="413"/>
                  </a:cubicBezTo>
                  <a:cubicBezTo>
                    <a:pt x="349" y="403"/>
                    <a:pt x="349" y="403"/>
                    <a:pt x="349" y="403"/>
                  </a:cubicBezTo>
                  <a:cubicBezTo>
                    <a:pt x="356" y="397"/>
                    <a:pt x="356" y="397"/>
                    <a:pt x="356" y="397"/>
                  </a:cubicBezTo>
                  <a:cubicBezTo>
                    <a:pt x="356" y="397"/>
                    <a:pt x="380" y="399"/>
                    <a:pt x="376" y="431"/>
                  </a:cubicBezTo>
                  <a:cubicBezTo>
                    <a:pt x="377" y="436"/>
                    <a:pt x="393" y="443"/>
                    <a:pt x="392" y="451"/>
                  </a:cubicBezTo>
                  <a:cubicBezTo>
                    <a:pt x="391" y="459"/>
                    <a:pt x="404" y="449"/>
                    <a:pt x="404" y="449"/>
                  </a:cubicBezTo>
                  <a:cubicBezTo>
                    <a:pt x="407" y="457"/>
                    <a:pt x="407" y="457"/>
                    <a:pt x="407" y="457"/>
                  </a:cubicBezTo>
                  <a:cubicBezTo>
                    <a:pt x="417" y="457"/>
                    <a:pt x="417" y="457"/>
                    <a:pt x="417" y="457"/>
                  </a:cubicBezTo>
                  <a:cubicBezTo>
                    <a:pt x="417" y="457"/>
                    <a:pt x="417" y="476"/>
                    <a:pt x="421" y="476"/>
                  </a:cubicBezTo>
                  <a:cubicBezTo>
                    <a:pt x="425" y="476"/>
                    <a:pt x="441" y="481"/>
                    <a:pt x="441" y="481"/>
                  </a:cubicBezTo>
                  <a:cubicBezTo>
                    <a:pt x="451" y="461"/>
                    <a:pt x="451" y="461"/>
                    <a:pt x="451" y="461"/>
                  </a:cubicBezTo>
                  <a:cubicBezTo>
                    <a:pt x="457" y="459"/>
                    <a:pt x="457" y="459"/>
                    <a:pt x="457" y="459"/>
                  </a:cubicBezTo>
                  <a:cubicBezTo>
                    <a:pt x="457" y="459"/>
                    <a:pt x="487" y="429"/>
                    <a:pt x="480" y="424"/>
                  </a:cubicBezTo>
                  <a:cubicBezTo>
                    <a:pt x="473" y="419"/>
                    <a:pt x="461" y="420"/>
                    <a:pt x="461" y="420"/>
                  </a:cubicBezTo>
                  <a:cubicBezTo>
                    <a:pt x="463" y="415"/>
                    <a:pt x="463" y="415"/>
                    <a:pt x="463" y="415"/>
                  </a:cubicBezTo>
                  <a:cubicBezTo>
                    <a:pt x="471" y="408"/>
                    <a:pt x="471" y="408"/>
                    <a:pt x="471" y="408"/>
                  </a:cubicBezTo>
                  <a:cubicBezTo>
                    <a:pt x="471" y="408"/>
                    <a:pt x="463" y="396"/>
                    <a:pt x="465" y="391"/>
                  </a:cubicBezTo>
                  <a:cubicBezTo>
                    <a:pt x="468" y="385"/>
                    <a:pt x="492" y="380"/>
                    <a:pt x="492" y="380"/>
                  </a:cubicBezTo>
                  <a:cubicBezTo>
                    <a:pt x="473" y="364"/>
                    <a:pt x="473" y="364"/>
                    <a:pt x="473" y="364"/>
                  </a:cubicBezTo>
                  <a:cubicBezTo>
                    <a:pt x="479" y="353"/>
                    <a:pt x="479" y="353"/>
                    <a:pt x="479" y="353"/>
                  </a:cubicBezTo>
                  <a:cubicBezTo>
                    <a:pt x="473" y="333"/>
                    <a:pt x="473" y="333"/>
                    <a:pt x="473" y="333"/>
                  </a:cubicBezTo>
                  <a:cubicBezTo>
                    <a:pt x="473" y="333"/>
                    <a:pt x="495" y="315"/>
                    <a:pt x="512" y="320"/>
                  </a:cubicBezTo>
                  <a:cubicBezTo>
                    <a:pt x="516" y="319"/>
                    <a:pt x="517" y="309"/>
                    <a:pt x="517" y="309"/>
                  </a:cubicBezTo>
                  <a:cubicBezTo>
                    <a:pt x="528" y="303"/>
                    <a:pt x="528" y="303"/>
                    <a:pt x="528" y="303"/>
                  </a:cubicBezTo>
                  <a:cubicBezTo>
                    <a:pt x="528" y="303"/>
                    <a:pt x="547" y="316"/>
                    <a:pt x="552" y="316"/>
                  </a:cubicBezTo>
                  <a:cubicBezTo>
                    <a:pt x="557" y="316"/>
                    <a:pt x="552" y="267"/>
                    <a:pt x="552" y="267"/>
                  </a:cubicBezTo>
                  <a:cubicBezTo>
                    <a:pt x="560" y="260"/>
                    <a:pt x="560" y="260"/>
                    <a:pt x="560" y="260"/>
                  </a:cubicBezTo>
                  <a:cubicBezTo>
                    <a:pt x="548" y="231"/>
                    <a:pt x="548" y="231"/>
                    <a:pt x="548" y="231"/>
                  </a:cubicBezTo>
                  <a:cubicBezTo>
                    <a:pt x="564" y="229"/>
                    <a:pt x="564" y="229"/>
                    <a:pt x="564" y="229"/>
                  </a:cubicBezTo>
                  <a:cubicBezTo>
                    <a:pt x="571" y="215"/>
                    <a:pt x="571" y="215"/>
                    <a:pt x="571" y="215"/>
                  </a:cubicBezTo>
                  <a:cubicBezTo>
                    <a:pt x="593" y="187"/>
                    <a:pt x="593" y="187"/>
                    <a:pt x="593" y="187"/>
                  </a:cubicBezTo>
                  <a:cubicBezTo>
                    <a:pt x="587" y="180"/>
                    <a:pt x="587" y="180"/>
                    <a:pt x="587" y="180"/>
                  </a:cubicBezTo>
                  <a:cubicBezTo>
                    <a:pt x="592" y="143"/>
                    <a:pt x="592" y="143"/>
                    <a:pt x="592" y="143"/>
                  </a:cubicBezTo>
                  <a:cubicBezTo>
                    <a:pt x="592" y="143"/>
                    <a:pt x="583" y="130"/>
                    <a:pt x="597" y="110"/>
                  </a:cubicBezTo>
                  <a:cubicBezTo>
                    <a:pt x="566" y="131"/>
                    <a:pt x="536" y="111"/>
                    <a:pt x="536" y="111"/>
                  </a:cubicBezTo>
                  <a:cubicBezTo>
                    <a:pt x="536" y="97"/>
                    <a:pt x="536" y="97"/>
                    <a:pt x="536" y="97"/>
                  </a:cubicBezTo>
                  <a:cubicBezTo>
                    <a:pt x="517" y="109"/>
                    <a:pt x="517" y="109"/>
                    <a:pt x="517" y="109"/>
                  </a:cubicBezTo>
                  <a:cubicBezTo>
                    <a:pt x="517" y="103"/>
                    <a:pt x="517" y="103"/>
                    <a:pt x="517" y="103"/>
                  </a:cubicBezTo>
                  <a:cubicBezTo>
                    <a:pt x="484" y="93"/>
                    <a:pt x="484" y="93"/>
                    <a:pt x="484" y="93"/>
                  </a:cubicBezTo>
                  <a:cubicBezTo>
                    <a:pt x="457" y="115"/>
                    <a:pt x="447" y="99"/>
                    <a:pt x="448" y="95"/>
                  </a:cubicBezTo>
                  <a:cubicBezTo>
                    <a:pt x="444" y="113"/>
                    <a:pt x="408" y="103"/>
                    <a:pt x="408" y="103"/>
                  </a:cubicBezTo>
                  <a:cubicBezTo>
                    <a:pt x="403" y="115"/>
                    <a:pt x="392" y="111"/>
                    <a:pt x="392" y="111"/>
                  </a:cubicBezTo>
                  <a:cubicBezTo>
                    <a:pt x="392" y="111"/>
                    <a:pt x="392" y="107"/>
                    <a:pt x="387" y="105"/>
                  </a:cubicBezTo>
                  <a:cubicBezTo>
                    <a:pt x="364" y="117"/>
                    <a:pt x="357" y="97"/>
                    <a:pt x="357" y="97"/>
                  </a:cubicBezTo>
                  <a:cubicBezTo>
                    <a:pt x="323" y="97"/>
                    <a:pt x="323" y="97"/>
                    <a:pt x="323" y="97"/>
                  </a:cubicBezTo>
                  <a:cubicBezTo>
                    <a:pt x="309" y="108"/>
                    <a:pt x="309" y="108"/>
                    <a:pt x="309" y="108"/>
                  </a:cubicBezTo>
                  <a:cubicBezTo>
                    <a:pt x="316" y="100"/>
                    <a:pt x="316" y="100"/>
                    <a:pt x="316" y="100"/>
                  </a:cubicBezTo>
                  <a:cubicBezTo>
                    <a:pt x="307" y="89"/>
                    <a:pt x="307" y="89"/>
                    <a:pt x="307" y="89"/>
                  </a:cubicBezTo>
                  <a:cubicBezTo>
                    <a:pt x="288" y="99"/>
                    <a:pt x="288" y="99"/>
                    <a:pt x="288" y="99"/>
                  </a:cubicBezTo>
                  <a:cubicBezTo>
                    <a:pt x="292" y="79"/>
                    <a:pt x="292" y="79"/>
                    <a:pt x="292" y="79"/>
                  </a:cubicBezTo>
                  <a:cubicBezTo>
                    <a:pt x="276" y="76"/>
                    <a:pt x="276" y="76"/>
                    <a:pt x="276" y="76"/>
                  </a:cubicBezTo>
                  <a:cubicBezTo>
                    <a:pt x="271" y="89"/>
                    <a:pt x="271" y="89"/>
                    <a:pt x="271" y="89"/>
                  </a:cubicBezTo>
                  <a:cubicBezTo>
                    <a:pt x="271" y="89"/>
                    <a:pt x="252" y="87"/>
                    <a:pt x="252" y="80"/>
                  </a:cubicBezTo>
                  <a:cubicBezTo>
                    <a:pt x="252" y="73"/>
                    <a:pt x="237" y="76"/>
                    <a:pt x="237" y="76"/>
                  </a:cubicBezTo>
                  <a:cubicBezTo>
                    <a:pt x="237" y="65"/>
                    <a:pt x="217" y="85"/>
                    <a:pt x="217" y="85"/>
                  </a:cubicBezTo>
                  <a:cubicBezTo>
                    <a:pt x="217" y="85"/>
                    <a:pt x="207" y="91"/>
                    <a:pt x="207" y="80"/>
                  </a:cubicBezTo>
                  <a:cubicBezTo>
                    <a:pt x="207" y="69"/>
                    <a:pt x="231" y="49"/>
                    <a:pt x="231" y="49"/>
                  </a:cubicBezTo>
                  <a:cubicBezTo>
                    <a:pt x="224" y="39"/>
                    <a:pt x="224" y="39"/>
                    <a:pt x="224" y="39"/>
                  </a:cubicBezTo>
                  <a:cubicBezTo>
                    <a:pt x="203" y="45"/>
                    <a:pt x="203" y="45"/>
                    <a:pt x="203" y="45"/>
                  </a:cubicBezTo>
                  <a:cubicBezTo>
                    <a:pt x="187" y="41"/>
                    <a:pt x="187" y="41"/>
                    <a:pt x="187" y="41"/>
                  </a:cubicBezTo>
                  <a:cubicBezTo>
                    <a:pt x="161" y="55"/>
                    <a:pt x="161" y="55"/>
                    <a:pt x="161" y="55"/>
                  </a:cubicBezTo>
                  <a:cubicBezTo>
                    <a:pt x="153" y="51"/>
                    <a:pt x="153" y="51"/>
                    <a:pt x="153" y="51"/>
                  </a:cubicBezTo>
                  <a:cubicBezTo>
                    <a:pt x="145" y="33"/>
                    <a:pt x="145" y="33"/>
                    <a:pt x="145" y="33"/>
                  </a:cubicBezTo>
                  <a:cubicBezTo>
                    <a:pt x="123" y="23"/>
                    <a:pt x="123" y="23"/>
                    <a:pt x="123" y="23"/>
                  </a:cubicBezTo>
                  <a:cubicBezTo>
                    <a:pt x="121" y="12"/>
                    <a:pt x="121" y="12"/>
                    <a:pt x="121" y="12"/>
                  </a:cubicBezTo>
                  <a:cubicBezTo>
                    <a:pt x="109" y="13"/>
                    <a:pt x="109" y="13"/>
                    <a:pt x="109" y="13"/>
                  </a:cubicBezTo>
                  <a:cubicBezTo>
                    <a:pt x="109" y="13"/>
                    <a:pt x="88" y="0"/>
                    <a:pt x="83" y="0"/>
                  </a:cubicBezTo>
                  <a:cubicBezTo>
                    <a:pt x="79" y="0"/>
                    <a:pt x="65" y="7"/>
                    <a:pt x="56" y="11"/>
                  </a:cubicBezTo>
                  <a:cubicBezTo>
                    <a:pt x="60" y="16"/>
                    <a:pt x="69" y="27"/>
                    <a:pt x="63" y="30"/>
                  </a:cubicBezTo>
                  <a:cubicBezTo>
                    <a:pt x="55" y="34"/>
                    <a:pt x="45" y="21"/>
                    <a:pt x="45" y="21"/>
                  </a:cubicBezTo>
                  <a:cubicBezTo>
                    <a:pt x="35" y="27"/>
                    <a:pt x="25" y="60"/>
                    <a:pt x="25" y="60"/>
                  </a:cubicBezTo>
                  <a:cubicBezTo>
                    <a:pt x="25" y="60"/>
                    <a:pt x="14" y="68"/>
                    <a:pt x="0" y="77"/>
                  </a:cubicBezTo>
                  <a:cubicBezTo>
                    <a:pt x="5" y="92"/>
                    <a:pt x="5" y="92"/>
                    <a:pt x="5" y="92"/>
                  </a:cubicBezTo>
                  <a:lnTo>
                    <a:pt x="17" y="9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2" name="Haute Normandie" descr="© INSCALE GmbH, 05.05.2010&#10;http://www.presentationload.com/">
              <a:extLst>
                <a:ext uri="{FF2B5EF4-FFF2-40B4-BE49-F238E27FC236}">
                  <a16:creationId xmlns:a16="http://schemas.microsoft.com/office/drawing/2014/main" id="{67DE9D41-AD0D-42D6-AE91-CBB98FF22C82}"/>
                </a:ext>
              </a:extLst>
            </p:cNvPr>
            <p:cNvSpPr>
              <a:spLocks/>
            </p:cNvSpPr>
            <p:nvPr/>
          </p:nvSpPr>
          <p:spPr bwMode="gray">
            <a:xfrm>
              <a:off x="1259" y="493"/>
              <a:ext cx="385" cy="503"/>
            </a:xfrm>
            <a:custGeom>
              <a:avLst/>
              <a:gdLst/>
              <a:ahLst/>
              <a:cxnLst>
                <a:cxn ang="0">
                  <a:pos x="355" y="198"/>
                </a:cxn>
                <a:cxn ang="0">
                  <a:pos x="345" y="199"/>
                </a:cxn>
                <a:cxn ang="0">
                  <a:pos x="351" y="187"/>
                </a:cxn>
                <a:cxn ang="0">
                  <a:pos x="341" y="167"/>
                </a:cxn>
                <a:cxn ang="0">
                  <a:pos x="351" y="136"/>
                </a:cxn>
                <a:cxn ang="0">
                  <a:pos x="340" y="135"/>
                </a:cxn>
                <a:cxn ang="0">
                  <a:pos x="357" y="112"/>
                </a:cxn>
                <a:cxn ang="0">
                  <a:pos x="333" y="62"/>
                </a:cxn>
                <a:cxn ang="0">
                  <a:pos x="289" y="22"/>
                </a:cxn>
                <a:cxn ang="0">
                  <a:pos x="289" y="18"/>
                </a:cxn>
                <a:cxn ang="0">
                  <a:pos x="277" y="15"/>
                </a:cxn>
                <a:cxn ang="0">
                  <a:pos x="272" y="0"/>
                </a:cxn>
                <a:cxn ang="0">
                  <a:pos x="220" y="29"/>
                </a:cxn>
                <a:cxn ang="0">
                  <a:pos x="155" y="47"/>
                </a:cxn>
                <a:cxn ang="0">
                  <a:pos x="108" y="50"/>
                </a:cxn>
                <a:cxn ang="0">
                  <a:pos x="30" y="93"/>
                </a:cxn>
                <a:cxn ang="0">
                  <a:pos x="0" y="150"/>
                </a:cxn>
                <a:cxn ang="0">
                  <a:pos x="10" y="167"/>
                </a:cxn>
                <a:cxn ang="0">
                  <a:pos x="39" y="178"/>
                </a:cxn>
                <a:cxn ang="0">
                  <a:pos x="52" y="263"/>
                </a:cxn>
                <a:cxn ang="0">
                  <a:pos x="53" y="271"/>
                </a:cxn>
                <a:cxn ang="0">
                  <a:pos x="67" y="288"/>
                </a:cxn>
                <a:cxn ang="0">
                  <a:pos x="67" y="303"/>
                </a:cxn>
                <a:cxn ang="0">
                  <a:pos x="72" y="311"/>
                </a:cxn>
                <a:cxn ang="0">
                  <a:pos x="71" y="331"/>
                </a:cxn>
                <a:cxn ang="0">
                  <a:pos x="63" y="332"/>
                </a:cxn>
                <a:cxn ang="0">
                  <a:pos x="72" y="344"/>
                </a:cxn>
                <a:cxn ang="0">
                  <a:pos x="65" y="379"/>
                </a:cxn>
                <a:cxn ang="0">
                  <a:pos x="72" y="388"/>
                </a:cxn>
                <a:cxn ang="0">
                  <a:pos x="105" y="390"/>
                </a:cxn>
                <a:cxn ang="0">
                  <a:pos x="112" y="410"/>
                </a:cxn>
                <a:cxn ang="0">
                  <a:pos x="136" y="448"/>
                </a:cxn>
                <a:cxn ang="0">
                  <a:pos x="139" y="459"/>
                </a:cxn>
                <a:cxn ang="0">
                  <a:pos x="167" y="444"/>
                </a:cxn>
                <a:cxn ang="0">
                  <a:pos x="201" y="434"/>
                </a:cxn>
                <a:cxn ang="0">
                  <a:pos x="211" y="438"/>
                </a:cxn>
                <a:cxn ang="0">
                  <a:pos x="212" y="427"/>
                </a:cxn>
                <a:cxn ang="0">
                  <a:pos x="263" y="431"/>
                </a:cxn>
                <a:cxn ang="0">
                  <a:pos x="268" y="408"/>
                </a:cxn>
                <a:cxn ang="0">
                  <a:pos x="288" y="395"/>
                </a:cxn>
                <a:cxn ang="0">
                  <a:pos x="288" y="383"/>
                </a:cxn>
                <a:cxn ang="0">
                  <a:pos x="297" y="379"/>
                </a:cxn>
                <a:cxn ang="0">
                  <a:pos x="284" y="343"/>
                </a:cxn>
                <a:cxn ang="0">
                  <a:pos x="297" y="338"/>
                </a:cxn>
                <a:cxn ang="0">
                  <a:pos x="295" y="331"/>
                </a:cxn>
                <a:cxn ang="0">
                  <a:pos x="323" y="328"/>
                </a:cxn>
                <a:cxn ang="0">
                  <a:pos x="340" y="281"/>
                </a:cxn>
                <a:cxn ang="0">
                  <a:pos x="337" y="272"/>
                </a:cxn>
                <a:cxn ang="0">
                  <a:pos x="354" y="277"/>
                </a:cxn>
                <a:cxn ang="0">
                  <a:pos x="356" y="278"/>
                </a:cxn>
                <a:cxn ang="0">
                  <a:pos x="356" y="277"/>
                </a:cxn>
                <a:cxn ang="0">
                  <a:pos x="345" y="226"/>
                </a:cxn>
                <a:cxn ang="0">
                  <a:pos x="355" y="198"/>
                </a:cxn>
              </a:cxnLst>
              <a:rect l="0" t="0" r="r" b="b"/>
              <a:pathLst>
                <a:path w="357" h="466">
                  <a:moveTo>
                    <a:pt x="355" y="198"/>
                  </a:moveTo>
                  <a:cubicBezTo>
                    <a:pt x="345" y="199"/>
                    <a:pt x="345" y="199"/>
                    <a:pt x="345" y="199"/>
                  </a:cubicBezTo>
                  <a:cubicBezTo>
                    <a:pt x="351" y="187"/>
                    <a:pt x="351" y="187"/>
                    <a:pt x="351" y="187"/>
                  </a:cubicBezTo>
                  <a:cubicBezTo>
                    <a:pt x="341" y="167"/>
                    <a:pt x="341" y="167"/>
                    <a:pt x="341" y="167"/>
                  </a:cubicBezTo>
                  <a:cubicBezTo>
                    <a:pt x="351" y="136"/>
                    <a:pt x="351" y="136"/>
                    <a:pt x="351" y="136"/>
                  </a:cubicBezTo>
                  <a:cubicBezTo>
                    <a:pt x="351" y="136"/>
                    <a:pt x="344" y="136"/>
                    <a:pt x="340" y="135"/>
                  </a:cubicBezTo>
                  <a:cubicBezTo>
                    <a:pt x="336" y="134"/>
                    <a:pt x="357" y="112"/>
                    <a:pt x="357" y="112"/>
                  </a:cubicBezTo>
                  <a:cubicBezTo>
                    <a:pt x="333" y="62"/>
                    <a:pt x="333" y="62"/>
                    <a:pt x="333" y="62"/>
                  </a:cubicBezTo>
                  <a:cubicBezTo>
                    <a:pt x="315" y="59"/>
                    <a:pt x="289" y="22"/>
                    <a:pt x="289" y="22"/>
                  </a:cubicBezTo>
                  <a:cubicBezTo>
                    <a:pt x="289" y="18"/>
                    <a:pt x="289" y="18"/>
                    <a:pt x="289" y="18"/>
                  </a:cubicBezTo>
                  <a:cubicBezTo>
                    <a:pt x="277" y="15"/>
                    <a:pt x="277" y="15"/>
                    <a:pt x="277" y="15"/>
                  </a:cubicBezTo>
                  <a:cubicBezTo>
                    <a:pt x="272" y="0"/>
                    <a:pt x="272" y="0"/>
                    <a:pt x="272" y="0"/>
                  </a:cubicBezTo>
                  <a:cubicBezTo>
                    <a:pt x="255" y="11"/>
                    <a:pt x="233" y="25"/>
                    <a:pt x="220" y="29"/>
                  </a:cubicBezTo>
                  <a:cubicBezTo>
                    <a:pt x="196" y="38"/>
                    <a:pt x="155" y="47"/>
                    <a:pt x="155" y="47"/>
                  </a:cubicBezTo>
                  <a:cubicBezTo>
                    <a:pt x="155" y="47"/>
                    <a:pt x="110" y="54"/>
                    <a:pt x="108" y="50"/>
                  </a:cubicBezTo>
                  <a:cubicBezTo>
                    <a:pt x="81" y="78"/>
                    <a:pt x="30" y="93"/>
                    <a:pt x="30" y="93"/>
                  </a:cubicBezTo>
                  <a:cubicBezTo>
                    <a:pt x="0" y="150"/>
                    <a:pt x="0" y="150"/>
                    <a:pt x="0" y="150"/>
                  </a:cubicBezTo>
                  <a:cubicBezTo>
                    <a:pt x="10" y="167"/>
                    <a:pt x="10" y="167"/>
                    <a:pt x="10" y="167"/>
                  </a:cubicBezTo>
                  <a:cubicBezTo>
                    <a:pt x="10" y="167"/>
                    <a:pt x="44" y="176"/>
                    <a:pt x="39" y="178"/>
                  </a:cubicBezTo>
                  <a:cubicBezTo>
                    <a:pt x="52" y="263"/>
                    <a:pt x="52" y="263"/>
                    <a:pt x="52" y="263"/>
                  </a:cubicBezTo>
                  <a:cubicBezTo>
                    <a:pt x="52" y="263"/>
                    <a:pt x="84" y="260"/>
                    <a:pt x="53" y="271"/>
                  </a:cubicBezTo>
                  <a:cubicBezTo>
                    <a:pt x="51" y="278"/>
                    <a:pt x="67" y="288"/>
                    <a:pt x="67" y="288"/>
                  </a:cubicBezTo>
                  <a:cubicBezTo>
                    <a:pt x="67" y="303"/>
                    <a:pt x="67" y="303"/>
                    <a:pt x="67" y="303"/>
                  </a:cubicBezTo>
                  <a:cubicBezTo>
                    <a:pt x="72" y="311"/>
                    <a:pt x="72" y="311"/>
                    <a:pt x="72" y="311"/>
                  </a:cubicBezTo>
                  <a:cubicBezTo>
                    <a:pt x="71" y="331"/>
                    <a:pt x="71" y="331"/>
                    <a:pt x="71" y="331"/>
                  </a:cubicBezTo>
                  <a:cubicBezTo>
                    <a:pt x="63" y="332"/>
                    <a:pt x="63" y="332"/>
                    <a:pt x="63" y="332"/>
                  </a:cubicBezTo>
                  <a:cubicBezTo>
                    <a:pt x="72" y="344"/>
                    <a:pt x="72" y="344"/>
                    <a:pt x="72" y="344"/>
                  </a:cubicBezTo>
                  <a:cubicBezTo>
                    <a:pt x="72" y="344"/>
                    <a:pt x="72" y="374"/>
                    <a:pt x="65" y="379"/>
                  </a:cubicBezTo>
                  <a:cubicBezTo>
                    <a:pt x="59" y="384"/>
                    <a:pt x="72" y="388"/>
                    <a:pt x="72" y="388"/>
                  </a:cubicBezTo>
                  <a:cubicBezTo>
                    <a:pt x="105" y="390"/>
                    <a:pt x="105" y="390"/>
                    <a:pt x="105" y="390"/>
                  </a:cubicBezTo>
                  <a:cubicBezTo>
                    <a:pt x="112" y="410"/>
                    <a:pt x="112" y="410"/>
                    <a:pt x="112" y="410"/>
                  </a:cubicBezTo>
                  <a:cubicBezTo>
                    <a:pt x="112" y="410"/>
                    <a:pt x="157" y="434"/>
                    <a:pt x="136" y="448"/>
                  </a:cubicBezTo>
                  <a:cubicBezTo>
                    <a:pt x="132" y="448"/>
                    <a:pt x="139" y="459"/>
                    <a:pt x="139" y="459"/>
                  </a:cubicBezTo>
                  <a:cubicBezTo>
                    <a:pt x="139" y="459"/>
                    <a:pt x="159" y="466"/>
                    <a:pt x="167" y="444"/>
                  </a:cubicBezTo>
                  <a:cubicBezTo>
                    <a:pt x="171" y="444"/>
                    <a:pt x="179" y="456"/>
                    <a:pt x="201" y="434"/>
                  </a:cubicBezTo>
                  <a:cubicBezTo>
                    <a:pt x="203" y="438"/>
                    <a:pt x="211" y="438"/>
                    <a:pt x="211" y="438"/>
                  </a:cubicBezTo>
                  <a:cubicBezTo>
                    <a:pt x="212" y="427"/>
                    <a:pt x="212" y="427"/>
                    <a:pt x="212" y="427"/>
                  </a:cubicBezTo>
                  <a:cubicBezTo>
                    <a:pt x="212" y="427"/>
                    <a:pt x="256" y="442"/>
                    <a:pt x="263" y="431"/>
                  </a:cubicBezTo>
                  <a:cubicBezTo>
                    <a:pt x="269" y="420"/>
                    <a:pt x="268" y="408"/>
                    <a:pt x="268" y="408"/>
                  </a:cubicBezTo>
                  <a:cubicBezTo>
                    <a:pt x="268" y="408"/>
                    <a:pt x="287" y="400"/>
                    <a:pt x="288" y="395"/>
                  </a:cubicBezTo>
                  <a:cubicBezTo>
                    <a:pt x="289" y="390"/>
                    <a:pt x="288" y="383"/>
                    <a:pt x="288" y="383"/>
                  </a:cubicBezTo>
                  <a:cubicBezTo>
                    <a:pt x="297" y="379"/>
                    <a:pt x="297" y="379"/>
                    <a:pt x="297" y="379"/>
                  </a:cubicBezTo>
                  <a:cubicBezTo>
                    <a:pt x="284" y="343"/>
                    <a:pt x="284" y="343"/>
                    <a:pt x="284" y="343"/>
                  </a:cubicBezTo>
                  <a:cubicBezTo>
                    <a:pt x="284" y="343"/>
                    <a:pt x="301" y="338"/>
                    <a:pt x="297" y="338"/>
                  </a:cubicBezTo>
                  <a:cubicBezTo>
                    <a:pt x="293" y="338"/>
                    <a:pt x="295" y="331"/>
                    <a:pt x="295" y="331"/>
                  </a:cubicBezTo>
                  <a:cubicBezTo>
                    <a:pt x="323" y="328"/>
                    <a:pt x="323" y="328"/>
                    <a:pt x="323" y="328"/>
                  </a:cubicBezTo>
                  <a:cubicBezTo>
                    <a:pt x="340" y="281"/>
                    <a:pt x="340" y="281"/>
                    <a:pt x="340" y="281"/>
                  </a:cubicBezTo>
                  <a:cubicBezTo>
                    <a:pt x="337" y="272"/>
                    <a:pt x="337" y="272"/>
                    <a:pt x="337" y="272"/>
                  </a:cubicBezTo>
                  <a:cubicBezTo>
                    <a:pt x="354" y="277"/>
                    <a:pt x="354" y="277"/>
                    <a:pt x="354" y="277"/>
                  </a:cubicBezTo>
                  <a:cubicBezTo>
                    <a:pt x="356" y="278"/>
                    <a:pt x="356" y="278"/>
                    <a:pt x="356" y="278"/>
                  </a:cubicBezTo>
                  <a:cubicBezTo>
                    <a:pt x="356" y="278"/>
                    <a:pt x="356" y="277"/>
                    <a:pt x="356" y="277"/>
                  </a:cubicBezTo>
                  <a:cubicBezTo>
                    <a:pt x="357" y="262"/>
                    <a:pt x="345" y="226"/>
                    <a:pt x="345" y="226"/>
                  </a:cubicBezTo>
                  <a:lnTo>
                    <a:pt x="355" y="19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3" name="Ile-de-France" descr="© INSCALE GmbH, 05.05.2010&#10;http://www.presentationload.com/">
              <a:extLst>
                <a:ext uri="{FF2B5EF4-FFF2-40B4-BE49-F238E27FC236}">
                  <a16:creationId xmlns:a16="http://schemas.microsoft.com/office/drawing/2014/main" id="{AC31993E-D426-4B7A-9900-2091A79541F4}"/>
                </a:ext>
              </a:extLst>
            </p:cNvPr>
            <p:cNvSpPr>
              <a:spLocks/>
            </p:cNvSpPr>
            <p:nvPr/>
          </p:nvSpPr>
          <p:spPr bwMode="gray">
            <a:xfrm>
              <a:off x="1565" y="796"/>
              <a:ext cx="483" cy="386"/>
            </a:xfrm>
            <a:custGeom>
              <a:avLst/>
              <a:gdLst/>
              <a:ahLst/>
              <a:cxnLst>
                <a:cxn ang="0">
                  <a:pos x="31" y="127"/>
                </a:cxn>
                <a:cxn ang="0">
                  <a:pos x="36" y="158"/>
                </a:cxn>
                <a:cxn ang="0">
                  <a:pos x="35" y="177"/>
                </a:cxn>
                <a:cxn ang="0">
                  <a:pos x="48" y="199"/>
                </a:cxn>
                <a:cxn ang="0">
                  <a:pos x="56" y="214"/>
                </a:cxn>
                <a:cxn ang="0">
                  <a:pos x="71" y="246"/>
                </a:cxn>
                <a:cxn ang="0">
                  <a:pos x="103" y="267"/>
                </a:cxn>
                <a:cxn ang="0">
                  <a:pos x="111" y="303"/>
                </a:cxn>
                <a:cxn ang="0">
                  <a:pos x="153" y="301"/>
                </a:cxn>
                <a:cxn ang="0">
                  <a:pos x="167" y="290"/>
                </a:cxn>
                <a:cxn ang="0">
                  <a:pos x="183" y="293"/>
                </a:cxn>
                <a:cxn ang="0">
                  <a:pos x="201" y="297"/>
                </a:cxn>
                <a:cxn ang="0">
                  <a:pos x="229" y="338"/>
                </a:cxn>
                <a:cxn ang="0">
                  <a:pos x="273" y="354"/>
                </a:cxn>
                <a:cxn ang="0">
                  <a:pos x="285" y="346"/>
                </a:cxn>
                <a:cxn ang="0">
                  <a:pos x="316" y="345"/>
                </a:cxn>
                <a:cxn ang="0">
                  <a:pos x="333" y="297"/>
                </a:cxn>
                <a:cxn ang="0">
                  <a:pos x="400" y="277"/>
                </a:cxn>
                <a:cxn ang="0">
                  <a:pos x="411" y="243"/>
                </a:cxn>
                <a:cxn ang="0">
                  <a:pos x="413" y="225"/>
                </a:cxn>
                <a:cxn ang="0">
                  <a:pos x="424" y="210"/>
                </a:cxn>
                <a:cxn ang="0">
                  <a:pos x="437" y="199"/>
                </a:cxn>
                <a:cxn ang="0">
                  <a:pos x="440" y="191"/>
                </a:cxn>
                <a:cxn ang="0">
                  <a:pos x="425" y="158"/>
                </a:cxn>
                <a:cxn ang="0">
                  <a:pos x="411" y="147"/>
                </a:cxn>
                <a:cxn ang="0">
                  <a:pos x="412" y="137"/>
                </a:cxn>
                <a:cxn ang="0">
                  <a:pos x="428" y="123"/>
                </a:cxn>
                <a:cxn ang="0">
                  <a:pos x="405" y="99"/>
                </a:cxn>
                <a:cxn ang="0">
                  <a:pos x="392" y="91"/>
                </a:cxn>
                <a:cxn ang="0">
                  <a:pos x="364" y="73"/>
                </a:cxn>
                <a:cxn ang="0">
                  <a:pos x="337" y="45"/>
                </a:cxn>
                <a:cxn ang="0">
                  <a:pos x="285" y="47"/>
                </a:cxn>
                <a:cxn ang="0">
                  <a:pos x="248" y="43"/>
                </a:cxn>
                <a:cxn ang="0">
                  <a:pos x="233" y="41"/>
                </a:cxn>
                <a:cxn ang="0">
                  <a:pos x="191" y="25"/>
                </a:cxn>
                <a:cxn ang="0">
                  <a:pos x="165" y="26"/>
                </a:cxn>
                <a:cxn ang="0">
                  <a:pos x="157" y="25"/>
                </a:cxn>
                <a:cxn ang="0">
                  <a:pos x="139" y="18"/>
                </a:cxn>
                <a:cxn ang="0">
                  <a:pos x="116" y="17"/>
                </a:cxn>
                <a:cxn ang="0">
                  <a:pos x="56" y="0"/>
                </a:cxn>
                <a:cxn ang="0">
                  <a:pos x="11" y="50"/>
                </a:cxn>
                <a:cxn ang="0">
                  <a:pos x="0" y="62"/>
                </a:cxn>
                <a:cxn ang="0">
                  <a:pos x="12" y="99"/>
                </a:cxn>
                <a:cxn ang="0">
                  <a:pos x="23" y="122"/>
                </a:cxn>
              </a:cxnLst>
              <a:rect l="0" t="0" r="r" b="b"/>
              <a:pathLst>
                <a:path w="448" h="357">
                  <a:moveTo>
                    <a:pt x="23" y="122"/>
                  </a:moveTo>
                  <a:cubicBezTo>
                    <a:pt x="31" y="127"/>
                    <a:pt x="31" y="127"/>
                    <a:pt x="31" y="127"/>
                  </a:cubicBezTo>
                  <a:cubicBezTo>
                    <a:pt x="29" y="151"/>
                    <a:pt x="29" y="151"/>
                    <a:pt x="29" y="151"/>
                  </a:cubicBezTo>
                  <a:cubicBezTo>
                    <a:pt x="36" y="158"/>
                    <a:pt x="36" y="158"/>
                    <a:pt x="36" y="158"/>
                  </a:cubicBezTo>
                  <a:cubicBezTo>
                    <a:pt x="25" y="173"/>
                    <a:pt x="25" y="173"/>
                    <a:pt x="25" y="173"/>
                  </a:cubicBezTo>
                  <a:cubicBezTo>
                    <a:pt x="35" y="177"/>
                    <a:pt x="35" y="177"/>
                    <a:pt x="35" y="177"/>
                  </a:cubicBezTo>
                  <a:cubicBezTo>
                    <a:pt x="33" y="187"/>
                    <a:pt x="33" y="187"/>
                    <a:pt x="33" y="187"/>
                  </a:cubicBezTo>
                  <a:cubicBezTo>
                    <a:pt x="48" y="199"/>
                    <a:pt x="48" y="199"/>
                    <a:pt x="48" y="199"/>
                  </a:cubicBezTo>
                  <a:cubicBezTo>
                    <a:pt x="57" y="202"/>
                    <a:pt x="57" y="202"/>
                    <a:pt x="57" y="202"/>
                  </a:cubicBezTo>
                  <a:cubicBezTo>
                    <a:pt x="56" y="214"/>
                    <a:pt x="56" y="214"/>
                    <a:pt x="56" y="214"/>
                  </a:cubicBezTo>
                  <a:cubicBezTo>
                    <a:pt x="69" y="221"/>
                    <a:pt x="69" y="221"/>
                    <a:pt x="69" y="221"/>
                  </a:cubicBezTo>
                  <a:cubicBezTo>
                    <a:pt x="71" y="246"/>
                    <a:pt x="71" y="246"/>
                    <a:pt x="71" y="246"/>
                  </a:cubicBezTo>
                  <a:cubicBezTo>
                    <a:pt x="71" y="246"/>
                    <a:pt x="95" y="261"/>
                    <a:pt x="97" y="253"/>
                  </a:cubicBezTo>
                  <a:cubicBezTo>
                    <a:pt x="101" y="254"/>
                    <a:pt x="103" y="267"/>
                    <a:pt x="103" y="267"/>
                  </a:cubicBezTo>
                  <a:cubicBezTo>
                    <a:pt x="113" y="269"/>
                    <a:pt x="113" y="269"/>
                    <a:pt x="113" y="269"/>
                  </a:cubicBezTo>
                  <a:cubicBezTo>
                    <a:pt x="113" y="269"/>
                    <a:pt x="101" y="295"/>
                    <a:pt x="111" y="303"/>
                  </a:cubicBezTo>
                  <a:cubicBezTo>
                    <a:pt x="120" y="311"/>
                    <a:pt x="127" y="301"/>
                    <a:pt x="135" y="301"/>
                  </a:cubicBezTo>
                  <a:cubicBezTo>
                    <a:pt x="143" y="301"/>
                    <a:pt x="153" y="301"/>
                    <a:pt x="153" y="301"/>
                  </a:cubicBezTo>
                  <a:cubicBezTo>
                    <a:pt x="160" y="287"/>
                    <a:pt x="160" y="287"/>
                    <a:pt x="160" y="287"/>
                  </a:cubicBezTo>
                  <a:cubicBezTo>
                    <a:pt x="167" y="290"/>
                    <a:pt x="167" y="290"/>
                    <a:pt x="167" y="290"/>
                  </a:cubicBezTo>
                  <a:cubicBezTo>
                    <a:pt x="169" y="301"/>
                    <a:pt x="169" y="301"/>
                    <a:pt x="169" y="301"/>
                  </a:cubicBezTo>
                  <a:cubicBezTo>
                    <a:pt x="183" y="293"/>
                    <a:pt x="183" y="293"/>
                    <a:pt x="183" y="293"/>
                  </a:cubicBezTo>
                  <a:cubicBezTo>
                    <a:pt x="199" y="298"/>
                    <a:pt x="199" y="298"/>
                    <a:pt x="199" y="298"/>
                  </a:cubicBezTo>
                  <a:cubicBezTo>
                    <a:pt x="201" y="297"/>
                    <a:pt x="201" y="297"/>
                    <a:pt x="201" y="297"/>
                  </a:cubicBezTo>
                  <a:cubicBezTo>
                    <a:pt x="205" y="313"/>
                    <a:pt x="205" y="313"/>
                    <a:pt x="205" y="313"/>
                  </a:cubicBezTo>
                  <a:cubicBezTo>
                    <a:pt x="205" y="313"/>
                    <a:pt x="232" y="319"/>
                    <a:pt x="229" y="338"/>
                  </a:cubicBezTo>
                  <a:cubicBezTo>
                    <a:pt x="228" y="349"/>
                    <a:pt x="222" y="352"/>
                    <a:pt x="218" y="353"/>
                  </a:cubicBezTo>
                  <a:cubicBezTo>
                    <a:pt x="273" y="354"/>
                    <a:pt x="273" y="354"/>
                    <a:pt x="273" y="354"/>
                  </a:cubicBezTo>
                  <a:cubicBezTo>
                    <a:pt x="273" y="346"/>
                    <a:pt x="273" y="346"/>
                    <a:pt x="273" y="346"/>
                  </a:cubicBezTo>
                  <a:cubicBezTo>
                    <a:pt x="285" y="346"/>
                    <a:pt x="285" y="346"/>
                    <a:pt x="285" y="346"/>
                  </a:cubicBezTo>
                  <a:cubicBezTo>
                    <a:pt x="285" y="357"/>
                    <a:pt x="285" y="357"/>
                    <a:pt x="285" y="357"/>
                  </a:cubicBezTo>
                  <a:cubicBezTo>
                    <a:pt x="285" y="357"/>
                    <a:pt x="308" y="353"/>
                    <a:pt x="316" y="345"/>
                  </a:cubicBezTo>
                  <a:cubicBezTo>
                    <a:pt x="324" y="337"/>
                    <a:pt x="339" y="313"/>
                    <a:pt x="339" y="313"/>
                  </a:cubicBezTo>
                  <a:cubicBezTo>
                    <a:pt x="333" y="297"/>
                    <a:pt x="333" y="297"/>
                    <a:pt x="333" y="297"/>
                  </a:cubicBezTo>
                  <a:cubicBezTo>
                    <a:pt x="341" y="277"/>
                    <a:pt x="341" y="277"/>
                    <a:pt x="341" y="277"/>
                  </a:cubicBezTo>
                  <a:cubicBezTo>
                    <a:pt x="400" y="277"/>
                    <a:pt x="400" y="277"/>
                    <a:pt x="400" y="277"/>
                  </a:cubicBezTo>
                  <a:cubicBezTo>
                    <a:pt x="415" y="269"/>
                    <a:pt x="415" y="269"/>
                    <a:pt x="415" y="269"/>
                  </a:cubicBezTo>
                  <a:cubicBezTo>
                    <a:pt x="411" y="243"/>
                    <a:pt x="411" y="243"/>
                    <a:pt x="411" y="243"/>
                  </a:cubicBezTo>
                  <a:cubicBezTo>
                    <a:pt x="420" y="234"/>
                    <a:pt x="420" y="234"/>
                    <a:pt x="420" y="234"/>
                  </a:cubicBezTo>
                  <a:cubicBezTo>
                    <a:pt x="413" y="225"/>
                    <a:pt x="413" y="225"/>
                    <a:pt x="413" y="225"/>
                  </a:cubicBezTo>
                  <a:cubicBezTo>
                    <a:pt x="428" y="222"/>
                    <a:pt x="428" y="222"/>
                    <a:pt x="428" y="222"/>
                  </a:cubicBezTo>
                  <a:cubicBezTo>
                    <a:pt x="424" y="210"/>
                    <a:pt x="424" y="210"/>
                    <a:pt x="424" y="210"/>
                  </a:cubicBezTo>
                  <a:cubicBezTo>
                    <a:pt x="436" y="210"/>
                    <a:pt x="436" y="210"/>
                    <a:pt x="436" y="210"/>
                  </a:cubicBezTo>
                  <a:cubicBezTo>
                    <a:pt x="437" y="199"/>
                    <a:pt x="437" y="199"/>
                    <a:pt x="437" y="199"/>
                  </a:cubicBezTo>
                  <a:cubicBezTo>
                    <a:pt x="448" y="201"/>
                    <a:pt x="448" y="201"/>
                    <a:pt x="448" y="201"/>
                  </a:cubicBezTo>
                  <a:cubicBezTo>
                    <a:pt x="440" y="191"/>
                    <a:pt x="440" y="191"/>
                    <a:pt x="440" y="191"/>
                  </a:cubicBezTo>
                  <a:cubicBezTo>
                    <a:pt x="424" y="190"/>
                    <a:pt x="424" y="190"/>
                    <a:pt x="424" y="190"/>
                  </a:cubicBezTo>
                  <a:cubicBezTo>
                    <a:pt x="425" y="158"/>
                    <a:pt x="425" y="158"/>
                    <a:pt x="425" y="158"/>
                  </a:cubicBezTo>
                  <a:cubicBezTo>
                    <a:pt x="411" y="157"/>
                    <a:pt x="411" y="157"/>
                    <a:pt x="411" y="157"/>
                  </a:cubicBezTo>
                  <a:cubicBezTo>
                    <a:pt x="411" y="147"/>
                    <a:pt x="411" y="147"/>
                    <a:pt x="411" y="147"/>
                  </a:cubicBezTo>
                  <a:cubicBezTo>
                    <a:pt x="419" y="146"/>
                    <a:pt x="419" y="146"/>
                    <a:pt x="419" y="146"/>
                  </a:cubicBezTo>
                  <a:cubicBezTo>
                    <a:pt x="412" y="137"/>
                    <a:pt x="412" y="137"/>
                    <a:pt x="412" y="137"/>
                  </a:cubicBezTo>
                  <a:cubicBezTo>
                    <a:pt x="428" y="130"/>
                    <a:pt x="428" y="130"/>
                    <a:pt x="428" y="130"/>
                  </a:cubicBezTo>
                  <a:cubicBezTo>
                    <a:pt x="428" y="123"/>
                    <a:pt x="428" y="123"/>
                    <a:pt x="428" y="123"/>
                  </a:cubicBezTo>
                  <a:cubicBezTo>
                    <a:pt x="424" y="122"/>
                    <a:pt x="413" y="118"/>
                    <a:pt x="409" y="118"/>
                  </a:cubicBezTo>
                  <a:cubicBezTo>
                    <a:pt x="405" y="118"/>
                    <a:pt x="405" y="99"/>
                    <a:pt x="405" y="99"/>
                  </a:cubicBezTo>
                  <a:cubicBezTo>
                    <a:pt x="395" y="99"/>
                    <a:pt x="395" y="99"/>
                    <a:pt x="395" y="99"/>
                  </a:cubicBezTo>
                  <a:cubicBezTo>
                    <a:pt x="392" y="91"/>
                    <a:pt x="392" y="91"/>
                    <a:pt x="392" y="91"/>
                  </a:cubicBezTo>
                  <a:cubicBezTo>
                    <a:pt x="392" y="91"/>
                    <a:pt x="379" y="101"/>
                    <a:pt x="380" y="93"/>
                  </a:cubicBezTo>
                  <a:cubicBezTo>
                    <a:pt x="381" y="85"/>
                    <a:pt x="365" y="78"/>
                    <a:pt x="364" y="73"/>
                  </a:cubicBezTo>
                  <a:cubicBezTo>
                    <a:pt x="368" y="41"/>
                    <a:pt x="344" y="39"/>
                    <a:pt x="344" y="39"/>
                  </a:cubicBezTo>
                  <a:cubicBezTo>
                    <a:pt x="337" y="45"/>
                    <a:pt x="337" y="45"/>
                    <a:pt x="337" y="45"/>
                  </a:cubicBezTo>
                  <a:cubicBezTo>
                    <a:pt x="299" y="55"/>
                    <a:pt x="299" y="55"/>
                    <a:pt x="299" y="55"/>
                  </a:cubicBezTo>
                  <a:cubicBezTo>
                    <a:pt x="285" y="47"/>
                    <a:pt x="285" y="47"/>
                    <a:pt x="285" y="47"/>
                  </a:cubicBezTo>
                  <a:cubicBezTo>
                    <a:pt x="285" y="47"/>
                    <a:pt x="276" y="57"/>
                    <a:pt x="268" y="54"/>
                  </a:cubicBezTo>
                  <a:cubicBezTo>
                    <a:pt x="260" y="51"/>
                    <a:pt x="255" y="47"/>
                    <a:pt x="248" y="43"/>
                  </a:cubicBezTo>
                  <a:cubicBezTo>
                    <a:pt x="241" y="39"/>
                    <a:pt x="239" y="51"/>
                    <a:pt x="239" y="51"/>
                  </a:cubicBezTo>
                  <a:cubicBezTo>
                    <a:pt x="233" y="41"/>
                    <a:pt x="233" y="41"/>
                    <a:pt x="233" y="41"/>
                  </a:cubicBezTo>
                  <a:cubicBezTo>
                    <a:pt x="233" y="41"/>
                    <a:pt x="215" y="49"/>
                    <a:pt x="220" y="45"/>
                  </a:cubicBezTo>
                  <a:cubicBezTo>
                    <a:pt x="225" y="41"/>
                    <a:pt x="207" y="29"/>
                    <a:pt x="191" y="25"/>
                  </a:cubicBezTo>
                  <a:cubicBezTo>
                    <a:pt x="178" y="22"/>
                    <a:pt x="182" y="18"/>
                    <a:pt x="184" y="17"/>
                  </a:cubicBezTo>
                  <a:cubicBezTo>
                    <a:pt x="165" y="26"/>
                    <a:pt x="165" y="26"/>
                    <a:pt x="165" y="26"/>
                  </a:cubicBezTo>
                  <a:cubicBezTo>
                    <a:pt x="161" y="18"/>
                    <a:pt x="161" y="18"/>
                    <a:pt x="161" y="18"/>
                  </a:cubicBezTo>
                  <a:cubicBezTo>
                    <a:pt x="157" y="25"/>
                    <a:pt x="157" y="25"/>
                    <a:pt x="157" y="25"/>
                  </a:cubicBezTo>
                  <a:cubicBezTo>
                    <a:pt x="148" y="15"/>
                    <a:pt x="148" y="15"/>
                    <a:pt x="148" y="15"/>
                  </a:cubicBezTo>
                  <a:cubicBezTo>
                    <a:pt x="139" y="18"/>
                    <a:pt x="139" y="18"/>
                    <a:pt x="139" y="18"/>
                  </a:cubicBezTo>
                  <a:cubicBezTo>
                    <a:pt x="132" y="13"/>
                    <a:pt x="132" y="13"/>
                    <a:pt x="132" y="13"/>
                  </a:cubicBezTo>
                  <a:cubicBezTo>
                    <a:pt x="116" y="17"/>
                    <a:pt x="116" y="17"/>
                    <a:pt x="116" y="17"/>
                  </a:cubicBezTo>
                  <a:cubicBezTo>
                    <a:pt x="64" y="21"/>
                    <a:pt x="64" y="21"/>
                    <a:pt x="64" y="21"/>
                  </a:cubicBezTo>
                  <a:cubicBezTo>
                    <a:pt x="56" y="0"/>
                    <a:pt x="56" y="0"/>
                    <a:pt x="56" y="0"/>
                  </a:cubicBezTo>
                  <a:cubicBezTo>
                    <a:pt x="39" y="47"/>
                    <a:pt x="39" y="47"/>
                    <a:pt x="39" y="47"/>
                  </a:cubicBezTo>
                  <a:cubicBezTo>
                    <a:pt x="11" y="50"/>
                    <a:pt x="11" y="50"/>
                    <a:pt x="11" y="50"/>
                  </a:cubicBezTo>
                  <a:cubicBezTo>
                    <a:pt x="11" y="50"/>
                    <a:pt x="9" y="57"/>
                    <a:pt x="13" y="57"/>
                  </a:cubicBezTo>
                  <a:cubicBezTo>
                    <a:pt x="17" y="57"/>
                    <a:pt x="0" y="62"/>
                    <a:pt x="0" y="62"/>
                  </a:cubicBezTo>
                  <a:cubicBezTo>
                    <a:pt x="13" y="98"/>
                    <a:pt x="13" y="98"/>
                    <a:pt x="13" y="98"/>
                  </a:cubicBezTo>
                  <a:cubicBezTo>
                    <a:pt x="12" y="99"/>
                    <a:pt x="12" y="99"/>
                    <a:pt x="12" y="99"/>
                  </a:cubicBezTo>
                  <a:cubicBezTo>
                    <a:pt x="27" y="113"/>
                    <a:pt x="27" y="113"/>
                    <a:pt x="27" y="113"/>
                  </a:cubicBezTo>
                  <a:lnTo>
                    <a:pt x="23" y="12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4" name="Champagne-Ardenne" descr="© INSCALE GmbH, 05.05.2010&#10;http://www.presentationload.com/">
              <a:extLst>
                <a:ext uri="{FF2B5EF4-FFF2-40B4-BE49-F238E27FC236}">
                  <a16:creationId xmlns:a16="http://schemas.microsoft.com/office/drawing/2014/main" id="{42702F3F-420E-4857-A133-B4AD3E556CC4}"/>
                </a:ext>
              </a:extLst>
            </p:cNvPr>
            <p:cNvSpPr>
              <a:spLocks/>
            </p:cNvSpPr>
            <p:nvPr/>
          </p:nvSpPr>
          <p:spPr bwMode="gray">
            <a:xfrm>
              <a:off x="2008" y="466"/>
              <a:ext cx="578" cy="893"/>
            </a:xfrm>
            <a:custGeom>
              <a:avLst/>
              <a:gdLst/>
              <a:ahLst/>
              <a:cxnLst>
                <a:cxn ang="0">
                  <a:pos x="514" y="699"/>
                </a:cxn>
                <a:cxn ang="0">
                  <a:pos x="493" y="668"/>
                </a:cxn>
                <a:cxn ang="0">
                  <a:pos x="497" y="623"/>
                </a:cxn>
                <a:cxn ang="0">
                  <a:pos x="465" y="599"/>
                </a:cxn>
                <a:cxn ang="0">
                  <a:pos x="432" y="580"/>
                </a:cxn>
                <a:cxn ang="0">
                  <a:pos x="429" y="563"/>
                </a:cxn>
                <a:cxn ang="0">
                  <a:pos x="381" y="521"/>
                </a:cxn>
                <a:cxn ang="0">
                  <a:pos x="341" y="497"/>
                </a:cxn>
                <a:cxn ang="0">
                  <a:pos x="322" y="425"/>
                </a:cxn>
                <a:cxn ang="0">
                  <a:pos x="333" y="363"/>
                </a:cxn>
                <a:cxn ang="0">
                  <a:pos x="324" y="299"/>
                </a:cxn>
                <a:cxn ang="0">
                  <a:pos x="354" y="240"/>
                </a:cxn>
                <a:cxn ang="0">
                  <a:pos x="365" y="192"/>
                </a:cxn>
                <a:cxn ang="0">
                  <a:pos x="394" y="184"/>
                </a:cxn>
                <a:cxn ang="0">
                  <a:pos x="416" y="161"/>
                </a:cxn>
                <a:cxn ang="0">
                  <a:pos x="351" y="115"/>
                </a:cxn>
                <a:cxn ang="0">
                  <a:pos x="321" y="99"/>
                </a:cxn>
                <a:cxn ang="0">
                  <a:pos x="301" y="55"/>
                </a:cxn>
                <a:cxn ang="0">
                  <a:pos x="320" y="8"/>
                </a:cxn>
                <a:cxn ang="0">
                  <a:pos x="282" y="21"/>
                </a:cxn>
                <a:cxn ang="0">
                  <a:pos x="230" y="63"/>
                </a:cxn>
                <a:cxn ang="0">
                  <a:pos x="175" y="57"/>
                </a:cxn>
                <a:cxn ang="0">
                  <a:pos x="164" y="128"/>
                </a:cxn>
                <a:cxn ang="0">
                  <a:pos x="141" y="177"/>
                </a:cxn>
                <a:cxn ang="0">
                  <a:pos x="129" y="215"/>
                </a:cxn>
                <a:cxn ang="0">
                  <a:pos x="94" y="257"/>
                </a:cxn>
                <a:cxn ang="0">
                  <a:pos x="56" y="301"/>
                </a:cxn>
                <a:cxn ang="0">
                  <a:pos x="42" y="339"/>
                </a:cxn>
                <a:cxn ang="0">
                  <a:pos x="38" y="368"/>
                </a:cxn>
                <a:cxn ang="0">
                  <a:pos x="28" y="409"/>
                </a:cxn>
                <a:cxn ang="0">
                  <a:pos x="17" y="436"/>
                </a:cxn>
                <a:cxn ang="0">
                  <a:pos x="0" y="453"/>
                </a:cxn>
                <a:cxn ang="0">
                  <a:pos x="13" y="496"/>
                </a:cxn>
                <a:cxn ang="0">
                  <a:pos x="26" y="505"/>
                </a:cxn>
                <a:cxn ang="0">
                  <a:pos x="17" y="528"/>
                </a:cxn>
                <a:cxn ang="0">
                  <a:pos x="0" y="549"/>
                </a:cxn>
                <a:cxn ang="0">
                  <a:pos x="14" y="583"/>
                </a:cxn>
                <a:cxn ang="0">
                  <a:pos x="44" y="644"/>
                </a:cxn>
                <a:cxn ang="0">
                  <a:pos x="68" y="653"/>
                </a:cxn>
                <a:cxn ang="0">
                  <a:pos x="76" y="656"/>
                </a:cxn>
                <a:cxn ang="0">
                  <a:pos x="108" y="720"/>
                </a:cxn>
                <a:cxn ang="0">
                  <a:pos x="156" y="723"/>
                </a:cxn>
                <a:cxn ang="0">
                  <a:pos x="173" y="707"/>
                </a:cxn>
                <a:cxn ang="0">
                  <a:pos x="197" y="723"/>
                </a:cxn>
                <a:cxn ang="0">
                  <a:pos x="301" y="691"/>
                </a:cxn>
                <a:cxn ang="0">
                  <a:pos x="318" y="713"/>
                </a:cxn>
                <a:cxn ang="0">
                  <a:pos x="325" y="719"/>
                </a:cxn>
                <a:cxn ang="0">
                  <a:pos x="332" y="767"/>
                </a:cxn>
                <a:cxn ang="0">
                  <a:pos x="353" y="787"/>
                </a:cxn>
                <a:cxn ang="0">
                  <a:pos x="388" y="807"/>
                </a:cxn>
                <a:cxn ang="0">
                  <a:pos x="421" y="816"/>
                </a:cxn>
                <a:cxn ang="0">
                  <a:pos x="468" y="792"/>
                </a:cxn>
                <a:cxn ang="0">
                  <a:pos x="500" y="788"/>
                </a:cxn>
                <a:cxn ang="0">
                  <a:pos x="497" y="747"/>
                </a:cxn>
                <a:cxn ang="0">
                  <a:pos x="525" y="735"/>
                </a:cxn>
                <a:cxn ang="0">
                  <a:pos x="530" y="697"/>
                </a:cxn>
              </a:cxnLst>
              <a:rect l="0" t="0" r="r" b="b"/>
              <a:pathLst>
                <a:path w="536" h="828">
                  <a:moveTo>
                    <a:pt x="530" y="697"/>
                  </a:moveTo>
                  <a:cubicBezTo>
                    <a:pt x="517" y="701"/>
                    <a:pt x="517" y="701"/>
                    <a:pt x="517" y="701"/>
                  </a:cubicBezTo>
                  <a:cubicBezTo>
                    <a:pt x="514" y="699"/>
                    <a:pt x="514" y="699"/>
                    <a:pt x="514" y="699"/>
                  </a:cubicBezTo>
                  <a:cubicBezTo>
                    <a:pt x="514" y="701"/>
                    <a:pt x="514" y="701"/>
                    <a:pt x="514" y="701"/>
                  </a:cubicBezTo>
                  <a:cubicBezTo>
                    <a:pt x="513" y="681"/>
                    <a:pt x="513" y="681"/>
                    <a:pt x="513" y="681"/>
                  </a:cubicBezTo>
                  <a:cubicBezTo>
                    <a:pt x="493" y="668"/>
                    <a:pt x="493" y="668"/>
                    <a:pt x="493" y="668"/>
                  </a:cubicBezTo>
                  <a:cubicBezTo>
                    <a:pt x="476" y="664"/>
                    <a:pt x="476" y="664"/>
                    <a:pt x="476" y="664"/>
                  </a:cubicBezTo>
                  <a:cubicBezTo>
                    <a:pt x="486" y="652"/>
                    <a:pt x="486" y="652"/>
                    <a:pt x="486" y="652"/>
                  </a:cubicBezTo>
                  <a:cubicBezTo>
                    <a:pt x="486" y="652"/>
                    <a:pt x="486" y="628"/>
                    <a:pt x="497" y="623"/>
                  </a:cubicBezTo>
                  <a:cubicBezTo>
                    <a:pt x="490" y="612"/>
                    <a:pt x="490" y="612"/>
                    <a:pt x="490" y="612"/>
                  </a:cubicBezTo>
                  <a:cubicBezTo>
                    <a:pt x="481" y="611"/>
                    <a:pt x="481" y="611"/>
                    <a:pt x="481" y="611"/>
                  </a:cubicBezTo>
                  <a:cubicBezTo>
                    <a:pt x="481" y="611"/>
                    <a:pt x="481" y="588"/>
                    <a:pt x="465" y="599"/>
                  </a:cubicBezTo>
                  <a:cubicBezTo>
                    <a:pt x="452" y="576"/>
                    <a:pt x="452" y="576"/>
                    <a:pt x="452" y="576"/>
                  </a:cubicBezTo>
                  <a:cubicBezTo>
                    <a:pt x="452" y="576"/>
                    <a:pt x="442" y="573"/>
                    <a:pt x="436" y="577"/>
                  </a:cubicBezTo>
                  <a:cubicBezTo>
                    <a:pt x="435" y="579"/>
                    <a:pt x="434" y="581"/>
                    <a:pt x="432" y="580"/>
                  </a:cubicBezTo>
                  <a:cubicBezTo>
                    <a:pt x="433" y="579"/>
                    <a:pt x="434" y="578"/>
                    <a:pt x="436" y="577"/>
                  </a:cubicBezTo>
                  <a:cubicBezTo>
                    <a:pt x="436" y="574"/>
                    <a:pt x="434" y="571"/>
                    <a:pt x="434" y="571"/>
                  </a:cubicBezTo>
                  <a:cubicBezTo>
                    <a:pt x="429" y="563"/>
                    <a:pt x="429" y="563"/>
                    <a:pt x="429" y="563"/>
                  </a:cubicBezTo>
                  <a:cubicBezTo>
                    <a:pt x="441" y="557"/>
                    <a:pt x="441" y="557"/>
                    <a:pt x="441" y="557"/>
                  </a:cubicBezTo>
                  <a:cubicBezTo>
                    <a:pt x="441" y="557"/>
                    <a:pt x="400" y="521"/>
                    <a:pt x="383" y="521"/>
                  </a:cubicBezTo>
                  <a:cubicBezTo>
                    <a:pt x="383" y="522"/>
                    <a:pt x="382" y="522"/>
                    <a:pt x="381" y="521"/>
                  </a:cubicBezTo>
                  <a:cubicBezTo>
                    <a:pt x="382" y="521"/>
                    <a:pt x="382" y="521"/>
                    <a:pt x="383" y="521"/>
                  </a:cubicBezTo>
                  <a:cubicBezTo>
                    <a:pt x="384" y="518"/>
                    <a:pt x="349" y="491"/>
                    <a:pt x="349" y="491"/>
                  </a:cubicBezTo>
                  <a:cubicBezTo>
                    <a:pt x="341" y="497"/>
                    <a:pt x="341" y="497"/>
                    <a:pt x="341" y="497"/>
                  </a:cubicBezTo>
                  <a:cubicBezTo>
                    <a:pt x="342" y="457"/>
                    <a:pt x="342" y="457"/>
                    <a:pt x="342" y="457"/>
                  </a:cubicBezTo>
                  <a:cubicBezTo>
                    <a:pt x="316" y="439"/>
                    <a:pt x="316" y="439"/>
                    <a:pt x="316" y="439"/>
                  </a:cubicBezTo>
                  <a:cubicBezTo>
                    <a:pt x="322" y="425"/>
                    <a:pt x="322" y="425"/>
                    <a:pt x="322" y="425"/>
                  </a:cubicBezTo>
                  <a:cubicBezTo>
                    <a:pt x="320" y="404"/>
                    <a:pt x="320" y="404"/>
                    <a:pt x="320" y="404"/>
                  </a:cubicBezTo>
                  <a:cubicBezTo>
                    <a:pt x="320" y="404"/>
                    <a:pt x="344" y="395"/>
                    <a:pt x="342" y="385"/>
                  </a:cubicBezTo>
                  <a:cubicBezTo>
                    <a:pt x="341" y="376"/>
                    <a:pt x="344" y="357"/>
                    <a:pt x="333" y="363"/>
                  </a:cubicBezTo>
                  <a:cubicBezTo>
                    <a:pt x="336" y="359"/>
                    <a:pt x="320" y="313"/>
                    <a:pt x="320" y="313"/>
                  </a:cubicBezTo>
                  <a:cubicBezTo>
                    <a:pt x="330" y="305"/>
                    <a:pt x="330" y="305"/>
                    <a:pt x="330" y="305"/>
                  </a:cubicBezTo>
                  <a:cubicBezTo>
                    <a:pt x="324" y="299"/>
                    <a:pt x="324" y="299"/>
                    <a:pt x="324" y="299"/>
                  </a:cubicBezTo>
                  <a:cubicBezTo>
                    <a:pt x="341" y="287"/>
                    <a:pt x="341" y="287"/>
                    <a:pt x="341" y="287"/>
                  </a:cubicBezTo>
                  <a:cubicBezTo>
                    <a:pt x="341" y="287"/>
                    <a:pt x="333" y="275"/>
                    <a:pt x="337" y="269"/>
                  </a:cubicBezTo>
                  <a:cubicBezTo>
                    <a:pt x="341" y="264"/>
                    <a:pt x="354" y="240"/>
                    <a:pt x="354" y="240"/>
                  </a:cubicBezTo>
                  <a:cubicBezTo>
                    <a:pt x="354" y="240"/>
                    <a:pt x="354" y="225"/>
                    <a:pt x="342" y="211"/>
                  </a:cubicBezTo>
                  <a:cubicBezTo>
                    <a:pt x="346" y="213"/>
                    <a:pt x="348" y="187"/>
                    <a:pt x="348" y="187"/>
                  </a:cubicBezTo>
                  <a:cubicBezTo>
                    <a:pt x="365" y="192"/>
                    <a:pt x="365" y="192"/>
                    <a:pt x="365" y="192"/>
                  </a:cubicBezTo>
                  <a:cubicBezTo>
                    <a:pt x="374" y="192"/>
                    <a:pt x="374" y="192"/>
                    <a:pt x="374" y="192"/>
                  </a:cubicBezTo>
                  <a:cubicBezTo>
                    <a:pt x="386" y="199"/>
                    <a:pt x="386" y="199"/>
                    <a:pt x="386" y="199"/>
                  </a:cubicBezTo>
                  <a:cubicBezTo>
                    <a:pt x="394" y="184"/>
                    <a:pt x="394" y="184"/>
                    <a:pt x="394" y="184"/>
                  </a:cubicBezTo>
                  <a:cubicBezTo>
                    <a:pt x="408" y="183"/>
                    <a:pt x="408" y="183"/>
                    <a:pt x="408" y="183"/>
                  </a:cubicBezTo>
                  <a:cubicBezTo>
                    <a:pt x="420" y="162"/>
                    <a:pt x="420" y="162"/>
                    <a:pt x="420" y="162"/>
                  </a:cubicBezTo>
                  <a:cubicBezTo>
                    <a:pt x="417" y="162"/>
                    <a:pt x="416" y="161"/>
                    <a:pt x="416" y="161"/>
                  </a:cubicBezTo>
                  <a:cubicBezTo>
                    <a:pt x="420" y="146"/>
                    <a:pt x="412" y="145"/>
                    <a:pt x="412" y="145"/>
                  </a:cubicBezTo>
                  <a:cubicBezTo>
                    <a:pt x="412" y="145"/>
                    <a:pt x="402" y="139"/>
                    <a:pt x="385" y="140"/>
                  </a:cubicBezTo>
                  <a:cubicBezTo>
                    <a:pt x="369" y="118"/>
                    <a:pt x="358" y="115"/>
                    <a:pt x="351" y="115"/>
                  </a:cubicBezTo>
                  <a:cubicBezTo>
                    <a:pt x="346" y="106"/>
                    <a:pt x="344" y="108"/>
                    <a:pt x="334" y="109"/>
                  </a:cubicBezTo>
                  <a:cubicBezTo>
                    <a:pt x="325" y="118"/>
                    <a:pt x="316" y="104"/>
                    <a:pt x="316" y="104"/>
                  </a:cubicBezTo>
                  <a:cubicBezTo>
                    <a:pt x="321" y="99"/>
                    <a:pt x="321" y="99"/>
                    <a:pt x="321" y="99"/>
                  </a:cubicBezTo>
                  <a:cubicBezTo>
                    <a:pt x="321" y="99"/>
                    <a:pt x="319" y="96"/>
                    <a:pt x="315" y="89"/>
                  </a:cubicBezTo>
                  <a:cubicBezTo>
                    <a:pt x="322" y="83"/>
                    <a:pt x="321" y="72"/>
                    <a:pt x="321" y="72"/>
                  </a:cubicBezTo>
                  <a:cubicBezTo>
                    <a:pt x="321" y="72"/>
                    <a:pt x="296" y="57"/>
                    <a:pt x="301" y="55"/>
                  </a:cubicBezTo>
                  <a:cubicBezTo>
                    <a:pt x="306" y="53"/>
                    <a:pt x="311" y="35"/>
                    <a:pt x="311" y="35"/>
                  </a:cubicBezTo>
                  <a:cubicBezTo>
                    <a:pt x="308" y="25"/>
                    <a:pt x="308" y="25"/>
                    <a:pt x="308" y="25"/>
                  </a:cubicBezTo>
                  <a:cubicBezTo>
                    <a:pt x="308" y="25"/>
                    <a:pt x="319" y="13"/>
                    <a:pt x="320" y="8"/>
                  </a:cubicBezTo>
                  <a:cubicBezTo>
                    <a:pt x="321" y="3"/>
                    <a:pt x="311" y="0"/>
                    <a:pt x="303" y="0"/>
                  </a:cubicBezTo>
                  <a:cubicBezTo>
                    <a:pt x="295" y="0"/>
                    <a:pt x="289" y="17"/>
                    <a:pt x="289" y="17"/>
                  </a:cubicBezTo>
                  <a:cubicBezTo>
                    <a:pt x="289" y="17"/>
                    <a:pt x="286" y="17"/>
                    <a:pt x="282" y="21"/>
                  </a:cubicBezTo>
                  <a:cubicBezTo>
                    <a:pt x="278" y="25"/>
                    <a:pt x="280" y="45"/>
                    <a:pt x="279" y="49"/>
                  </a:cubicBezTo>
                  <a:cubicBezTo>
                    <a:pt x="278" y="53"/>
                    <a:pt x="263" y="50"/>
                    <a:pt x="254" y="49"/>
                  </a:cubicBezTo>
                  <a:cubicBezTo>
                    <a:pt x="249" y="63"/>
                    <a:pt x="236" y="63"/>
                    <a:pt x="230" y="63"/>
                  </a:cubicBezTo>
                  <a:cubicBezTo>
                    <a:pt x="224" y="63"/>
                    <a:pt x="207" y="56"/>
                    <a:pt x="199" y="55"/>
                  </a:cubicBezTo>
                  <a:cubicBezTo>
                    <a:pt x="191" y="54"/>
                    <a:pt x="187" y="59"/>
                    <a:pt x="181" y="60"/>
                  </a:cubicBezTo>
                  <a:cubicBezTo>
                    <a:pt x="179" y="61"/>
                    <a:pt x="176" y="59"/>
                    <a:pt x="175" y="57"/>
                  </a:cubicBezTo>
                  <a:cubicBezTo>
                    <a:pt x="174" y="57"/>
                    <a:pt x="174" y="58"/>
                    <a:pt x="174" y="58"/>
                  </a:cubicBezTo>
                  <a:cubicBezTo>
                    <a:pt x="160" y="78"/>
                    <a:pt x="169" y="91"/>
                    <a:pt x="169" y="91"/>
                  </a:cubicBezTo>
                  <a:cubicBezTo>
                    <a:pt x="164" y="128"/>
                    <a:pt x="164" y="128"/>
                    <a:pt x="164" y="128"/>
                  </a:cubicBezTo>
                  <a:cubicBezTo>
                    <a:pt x="170" y="135"/>
                    <a:pt x="170" y="135"/>
                    <a:pt x="170" y="135"/>
                  </a:cubicBezTo>
                  <a:cubicBezTo>
                    <a:pt x="148" y="163"/>
                    <a:pt x="148" y="163"/>
                    <a:pt x="148" y="163"/>
                  </a:cubicBezTo>
                  <a:cubicBezTo>
                    <a:pt x="141" y="177"/>
                    <a:pt x="141" y="177"/>
                    <a:pt x="141" y="177"/>
                  </a:cubicBezTo>
                  <a:cubicBezTo>
                    <a:pt x="125" y="179"/>
                    <a:pt x="125" y="179"/>
                    <a:pt x="125" y="179"/>
                  </a:cubicBezTo>
                  <a:cubicBezTo>
                    <a:pt x="137" y="208"/>
                    <a:pt x="137" y="208"/>
                    <a:pt x="137" y="208"/>
                  </a:cubicBezTo>
                  <a:cubicBezTo>
                    <a:pt x="129" y="215"/>
                    <a:pt x="129" y="215"/>
                    <a:pt x="129" y="215"/>
                  </a:cubicBezTo>
                  <a:cubicBezTo>
                    <a:pt x="129" y="215"/>
                    <a:pt x="134" y="264"/>
                    <a:pt x="129" y="264"/>
                  </a:cubicBezTo>
                  <a:cubicBezTo>
                    <a:pt x="124" y="264"/>
                    <a:pt x="105" y="251"/>
                    <a:pt x="105" y="251"/>
                  </a:cubicBezTo>
                  <a:cubicBezTo>
                    <a:pt x="94" y="257"/>
                    <a:pt x="94" y="257"/>
                    <a:pt x="94" y="257"/>
                  </a:cubicBezTo>
                  <a:cubicBezTo>
                    <a:pt x="94" y="257"/>
                    <a:pt x="93" y="267"/>
                    <a:pt x="89" y="268"/>
                  </a:cubicBezTo>
                  <a:cubicBezTo>
                    <a:pt x="72" y="263"/>
                    <a:pt x="50" y="281"/>
                    <a:pt x="50" y="281"/>
                  </a:cubicBezTo>
                  <a:cubicBezTo>
                    <a:pt x="56" y="301"/>
                    <a:pt x="56" y="301"/>
                    <a:pt x="56" y="301"/>
                  </a:cubicBezTo>
                  <a:cubicBezTo>
                    <a:pt x="50" y="312"/>
                    <a:pt x="50" y="312"/>
                    <a:pt x="50" y="312"/>
                  </a:cubicBezTo>
                  <a:cubicBezTo>
                    <a:pt x="69" y="328"/>
                    <a:pt x="69" y="328"/>
                    <a:pt x="69" y="328"/>
                  </a:cubicBezTo>
                  <a:cubicBezTo>
                    <a:pt x="69" y="328"/>
                    <a:pt x="45" y="333"/>
                    <a:pt x="42" y="339"/>
                  </a:cubicBezTo>
                  <a:cubicBezTo>
                    <a:pt x="40" y="344"/>
                    <a:pt x="48" y="356"/>
                    <a:pt x="48" y="356"/>
                  </a:cubicBezTo>
                  <a:cubicBezTo>
                    <a:pt x="40" y="363"/>
                    <a:pt x="40" y="363"/>
                    <a:pt x="40" y="363"/>
                  </a:cubicBezTo>
                  <a:cubicBezTo>
                    <a:pt x="38" y="368"/>
                    <a:pt x="38" y="368"/>
                    <a:pt x="38" y="368"/>
                  </a:cubicBezTo>
                  <a:cubicBezTo>
                    <a:pt x="38" y="368"/>
                    <a:pt x="50" y="367"/>
                    <a:pt x="57" y="372"/>
                  </a:cubicBezTo>
                  <a:cubicBezTo>
                    <a:pt x="64" y="377"/>
                    <a:pt x="34" y="407"/>
                    <a:pt x="34" y="407"/>
                  </a:cubicBezTo>
                  <a:cubicBezTo>
                    <a:pt x="28" y="409"/>
                    <a:pt x="28" y="409"/>
                    <a:pt x="28" y="409"/>
                  </a:cubicBezTo>
                  <a:cubicBezTo>
                    <a:pt x="18" y="429"/>
                    <a:pt x="18" y="429"/>
                    <a:pt x="18" y="429"/>
                  </a:cubicBezTo>
                  <a:cubicBezTo>
                    <a:pt x="18" y="429"/>
                    <a:pt x="18" y="429"/>
                    <a:pt x="17" y="429"/>
                  </a:cubicBezTo>
                  <a:cubicBezTo>
                    <a:pt x="17" y="436"/>
                    <a:pt x="17" y="436"/>
                    <a:pt x="17" y="436"/>
                  </a:cubicBezTo>
                  <a:cubicBezTo>
                    <a:pt x="1" y="443"/>
                    <a:pt x="1" y="443"/>
                    <a:pt x="1" y="443"/>
                  </a:cubicBezTo>
                  <a:cubicBezTo>
                    <a:pt x="8" y="452"/>
                    <a:pt x="8" y="452"/>
                    <a:pt x="8" y="452"/>
                  </a:cubicBezTo>
                  <a:cubicBezTo>
                    <a:pt x="0" y="453"/>
                    <a:pt x="0" y="453"/>
                    <a:pt x="0" y="453"/>
                  </a:cubicBezTo>
                  <a:cubicBezTo>
                    <a:pt x="0" y="463"/>
                    <a:pt x="0" y="463"/>
                    <a:pt x="0" y="463"/>
                  </a:cubicBezTo>
                  <a:cubicBezTo>
                    <a:pt x="14" y="464"/>
                    <a:pt x="14" y="464"/>
                    <a:pt x="14" y="464"/>
                  </a:cubicBezTo>
                  <a:cubicBezTo>
                    <a:pt x="13" y="496"/>
                    <a:pt x="13" y="496"/>
                    <a:pt x="13" y="496"/>
                  </a:cubicBezTo>
                  <a:cubicBezTo>
                    <a:pt x="29" y="497"/>
                    <a:pt x="29" y="497"/>
                    <a:pt x="29" y="497"/>
                  </a:cubicBezTo>
                  <a:cubicBezTo>
                    <a:pt x="37" y="507"/>
                    <a:pt x="37" y="507"/>
                    <a:pt x="37" y="507"/>
                  </a:cubicBezTo>
                  <a:cubicBezTo>
                    <a:pt x="26" y="505"/>
                    <a:pt x="26" y="505"/>
                    <a:pt x="26" y="505"/>
                  </a:cubicBezTo>
                  <a:cubicBezTo>
                    <a:pt x="25" y="516"/>
                    <a:pt x="25" y="516"/>
                    <a:pt x="25" y="516"/>
                  </a:cubicBezTo>
                  <a:cubicBezTo>
                    <a:pt x="13" y="516"/>
                    <a:pt x="13" y="516"/>
                    <a:pt x="13" y="516"/>
                  </a:cubicBezTo>
                  <a:cubicBezTo>
                    <a:pt x="17" y="528"/>
                    <a:pt x="17" y="528"/>
                    <a:pt x="17" y="528"/>
                  </a:cubicBezTo>
                  <a:cubicBezTo>
                    <a:pt x="2" y="531"/>
                    <a:pt x="2" y="531"/>
                    <a:pt x="2" y="531"/>
                  </a:cubicBezTo>
                  <a:cubicBezTo>
                    <a:pt x="9" y="540"/>
                    <a:pt x="9" y="540"/>
                    <a:pt x="9" y="540"/>
                  </a:cubicBezTo>
                  <a:cubicBezTo>
                    <a:pt x="0" y="549"/>
                    <a:pt x="0" y="549"/>
                    <a:pt x="0" y="549"/>
                  </a:cubicBezTo>
                  <a:cubicBezTo>
                    <a:pt x="4" y="575"/>
                    <a:pt x="4" y="575"/>
                    <a:pt x="4" y="575"/>
                  </a:cubicBezTo>
                  <a:cubicBezTo>
                    <a:pt x="8" y="585"/>
                    <a:pt x="8" y="585"/>
                    <a:pt x="8" y="585"/>
                  </a:cubicBezTo>
                  <a:cubicBezTo>
                    <a:pt x="14" y="583"/>
                    <a:pt x="14" y="583"/>
                    <a:pt x="14" y="583"/>
                  </a:cubicBezTo>
                  <a:cubicBezTo>
                    <a:pt x="14" y="583"/>
                    <a:pt x="41" y="593"/>
                    <a:pt x="41" y="608"/>
                  </a:cubicBezTo>
                  <a:cubicBezTo>
                    <a:pt x="45" y="613"/>
                    <a:pt x="45" y="613"/>
                    <a:pt x="45" y="613"/>
                  </a:cubicBezTo>
                  <a:cubicBezTo>
                    <a:pt x="45" y="613"/>
                    <a:pt x="53" y="635"/>
                    <a:pt x="44" y="644"/>
                  </a:cubicBezTo>
                  <a:cubicBezTo>
                    <a:pt x="53" y="641"/>
                    <a:pt x="53" y="641"/>
                    <a:pt x="53" y="641"/>
                  </a:cubicBezTo>
                  <a:cubicBezTo>
                    <a:pt x="62" y="656"/>
                    <a:pt x="62" y="656"/>
                    <a:pt x="62" y="656"/>
                  </a:cubicBezTo>
                  <a:cubicBezTo>
                    <a:pt x="68" y="653"/>
                    <a:pt x="68" y="653"/>
                    <a:pt x="68" y="653"/>
                  </a:cubicBezTo>
                  <a:cubicBezTo>
                    <a:pt x="68" y="644"/>
                    <a:pt x="68" y="644"/>
                    <a:pt x="68" y="644"/>
                  </a:cubicBezTo>
                  <a:cubicBezTo>
                    <a:pt x="76" y="645"/>
                    <a:pt x="76" y="645"/>
                    <a:pt x="76" y="645"/>
                  </a:cubicBezTo>
                  <a:cubicBezTo>
                    <a:pt x="76" y="656"/>
                    <a:pt x="76" y="656"/>
                    <a:pt x="76" y="656"/>
                  </a:cubicBezTo>
                  <a:cubicBezTo>
                    <a:pt x="76" y="656"/>
                    <a:pt x="85" y="664"/>
                    <a:pt x="94" y="684"/>
                  </a:cubicBezTo>
                  <a:cubicBezTo>
                    <a:pt x="104" y="704"/>
                    <a:pt x="102" y="708"/>
                    <a:pt x="112" y="700"/>
                  </a:cubicBezTo>
                  <a:cubicBezTo>
                    <a:pt x="112" y="703"/>
                    <a:pt x="108" y="720"/>
                    <a:pt x="108" y="720"/>
                  </a:cubicBezTo>
                  <a:cubicBezTo>
                    <a:pt x="142" y="721"/>
                    <a:pt x="142" y="721"/>
                    <a:pt x="142" y="721"/>
                  </a:cubicBezTo>
                  <a:cubicBezTo>
                    <a:pt x="144" y="716"/>
                    <a:pt x="144" y="716"/>
                    <a:pt x="144" y="716"/>
                  </a:cubicBezTo>
                  <a:cubicBezTo>
                    <a:pt x="156" y="723"/>
                    <a:pt x="156" y="723"/>
                    <a:pt x="156" y="723"/>
                  </a:cubicBezTo>
                  <a:cubicBezTo>
                    <a:pt x="169" y="712"/>
                    <a:pt x="169" y="712"/>
                    <a:pt x="169" y="712"/>
                  </a:cubicBezTo>
                  <a:cubicBezTo>
                    <a:pt x="176" y="716"/>
                    <a:pt x="176" y="716"/>
                    <a:pt x="176" y="716"/>
                  </a:cubicBezTo>
                  <a:cubicBezTo>
                    <a:pt x="173" y="707"/>
                    <a:pt x="173" y="707"/>
                    <a:pt x="173" y="707"/>
                  </a:cubicBezTo>
                  <a:cubicBezTo>
                    <a:pt x="182" y="707"/>
                    <a:pt x="182" y="707"/>
                    <a:pt x="182" y="707"/>
                  </a:cubicBezTo>
                  <a:cubicBezTo>
                    <a:pt x="188" y="720"/>
                    <a:pt x="188" y="720"/>
                    <a:pt x="188" y="720"/>
                  </a:cubicBezTo>
                  <a:cubicBezTo>
                    <a:pt x="197" y="723"/>
                    <a:pt x="197" y="723"/>
                    <a:pt x="197" y="723"/>
                  </a:cubicBezTo>
                  <a:cubicBezTo>
                    <a:pt x="197" y="711"/>
                    <a:pt x="197" y="711"/>
                    <a:pt x="197" y="711"/>
                  </a:cubicBezTo>
                  <a:cubicBezTo>
                    <a:pt x="252" y="709"/>
                    <a:pt x="252" y="709"/>
                    <a:pt x="252" y="709"/>
                  </a:cubicBezTo>
                  <a:cubicBezTo>
                    <a:pt x="252" y="709"/>
                    <a:pt x="220" y="675"/>
                    <a:pt x="301" y="691"/>
                  </a:cubicBezTo>
                  <a:cubicBezTo>
                    <a:pt x="300" y="708"/>
                    <a:pt x="300" y="708"/>
                    <a:pt x="300" y="708"/>
                  </a:cubicBezTo>
                  <a:cubicBezTo>
                    <a:pt x="313" y="708"/>
                    <a:pt x="313" y="708"/>
                    <a:pt x="313" y="708"/>
                  </a:cubicBezTo>
                  <a:cubicBezTo>
                    <a:pt x="318" y="713"/>
                    <a:pt x="318" y="713"/>
                    <a:pt x="318" y="713"/>
                  </a:cubicBezTo>
                  <a:cubicBezTo>
                    <a:pt x="312" y="721"/>
                    <a:pt x="312" y="721"/>
                    <a:pt x="312" y="721"/>
                  </a:cubicBezTo>
                  <a:cubicBezTo>
                    <a:pt x="318" y="725"/>
                    <a:pt x="318" y="725"/>
                    <a:pt x="318" y="725"/>
                  </a:cubicBezTo>
                  <a:cubicBezTo>
                    <a:pt x="325" y="719"/>
                    <a:pt x="325" y="719"/>
                    <a:pt x="325" y="719"/>
                  </a:cubicBezTo>
                  <a:cubicBezTo>
                    <a:pt x="325" y="719"/>
                    <a:pt x="336" y="740"/>
                    <a:pt x="342" y="748"/>
                  </a:cubicBezTo>
                  <a:cubicBezTo>
                    <a:pt x="332" y="766"/>
                    <a:pt x="332" y="766"/>
                    <a:pt x="332" y="766"/>
                  </a:cubicBezTo>
                  <a:cubicBezTo>
                    <a:pt x="332" y="767"/>
                    <a:pt x="332" y="767"/>
                    <a:pt x="332" y="767"/>
                  </a:cubicBezTo>
                  <a:cubicBezTo>
                    <a:pt x="341" y="769"/>
                    <a:pt x="341" y="769"/>
                    <a:pt x="341" y="769"/>
                  </a:cubicBezTo>
                  <a:cubicBezTo>
                    <a:pt x="341" y="792"/>
                    <a:pt x="341" y="792"/>
                    <a:pt x="341" y="792"/>
                  </a:cubicBezTo>
                  <a:cubicBezTo>
                    <a:pt x="353" y="787"/>
                    <a:pt x="353" y="787"/>
                    <a:pt x="353" y="787"/>
                  </a:cubicBezTo>
                  <a:cubicBezTo>
                    <a:pt x="353" y="787"/>
                    <a:pt x="365" y="801"/>
                    <a:pt x="374" y="801"/>
                  </a:cubicBezTo>
                  <a:cubicBezTo>
                    <a:pt x="384" y="801"/>
                    <a:pt x="388" y="797"/>
                    <a:pt x="388" y="797"/>
                  </a:cubicBezTo>
                  <a:cubicBezTo>
                    <a:pt x="388" y="807"/>
                    <a:pt x="388" y="807"/>
                    <a:pt x="388" y="807"/>
                  </a:cubicBezTo>
                  <a:cubicBezTo>
                    <a:pt x="404" y="815"/>
                    <a:pt x="404" y="815"/>
                    <a:pt x="404" y="815"/>
                  </a:cubicBezTo>
                  <a:cubicBezTo>
                    <a:pt x="404" y="828"/>
                    <a:pt x="404" y="828"/>
                    <a:pt x="404" y="828"/>
                  </a:cubicBezTo>
                  <a:cubicBezTo>
                    <a:pt x="421" y="816"/>
                    <a:pt x="421" y="816"/>
                    <a:pt x="421" y="816"/>
                  </a:cubicBezTo>
                  <a:cubicBezTo>
                    <a:pt x="421" y="816"/>
                    <a:pt x="426" y="819"/>
                    <a:pt x="430" y="819"/>
                  </a:cubicBezTo>
                  <a:cubicBezTo>
                    <a:pt x="434" y="819"/>
                    <a:pt x="438" y="791"/>
                    <a:pt x="438" y="791"/>
                  </a:cubicBezTo>
                  <a:cubicBezTo>
                    <a:pt x="468" y="792"/>
                    <a:pt x="468" y="792"/>
                    <a:pt x="468" y="792"/>
                  </a:cubicBezTo>
                  <a:cubicBezTo>
                    <a:pt x="469" y="785"/>
                    <a:pt x="469" y="785"/>
                    <a:pt x="469" y="785"/>
                  </a:cubicBezTo>
                  <a:cubicBezTo>
                    <a:pt x="481" y="793"/>
                    <a:pt x="481" y="793"/>
                    <a:pt x="481" y="793"/>
                  </a:cubicBezTo>
                  <a:cubicBezTo>
                    <a:pt x="500" y="788"/>
                    <a:pt x="500" y="788"/>
                    <a:pt x="500" y="788"/>
                  </a:cubicBezTo>
                  <a:cubicBezTo>
                    <a:pt x="502" y="757"/>
                    <a:pt x="502" y="757"/>
                    <a:pt x="502" y="757"/>
                  </a:cubicBezTo>
                  <a:cubicBezTo>
                    <a:pt x="492" y="757"/>
                    <a:pt x="492" y="757"/>
                    <a:pt x="492" y="757"/>
                  </a:cubicBezTo>
                  <a:cubicBezTo>
                    <a:pt x="497" y="747"/>
                    <a:pt x="497" y="747"/>
                    <a:pt x="497" y="747"/>
                  </a:cubicBezTo>
                  <a:cubicBezTo>
                    <a:pt x="505" y="748"/>
                    <a:pt x="505" y="748"/>
                    <a:pt x="505" y="748"/>
                  </a:cubicBezTo>
                  <a:cubicBezTo>
                    <a:pt x="512" y="733"/>
                    <a:pt x="512" y="733"/>
                    <a:pt x="512" y="733"/>
                  </a:cubicBezTo>
                  <a:cubicBezTo>
                    <a:pt x="525" y="735"/>
                    <a:pt x="525" y="735"/>
                    <a:pt x="525" y="735"/>
                  </a:cubicBezTo>
                  <a:cubicBezTo>
                    <a:pt x="528" y="720"/>
                    <a:pt x="528" y="720"/>
                    <a:pt x="528" y="720"/>
                  </a:cubicBezTo>
                  <a:cubicBezTo>
                    <a:pt x="536" y="715"/>
                    <a:pt x="536" y="715"/>
                    <a:pt x="536" y="715"/>
                  </a:cubicBezTo>
                  <a:lnTo>
                    <a:pt x="530" y="697"/>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5" name="Lorraine" descr="© INSCALE GmbH, 05.05.2010&#10;http://www.presentationload.com/">
              <a:extLst>
                <a:ext uri="{FF2B5EF4-FFF2-40B4-BE49-F238E27FC236}">
                  <a16:creationId xmlns:a16="http://schemas.microsoft.com/office/drawing/2014/main" id="{2ACB0F13-E462-48F4-A8B6-FD41570E9DC6}"/>
                </a:ext>
              </a:extLst>
            </p:cNvPr>
            <p:cNvSpPr>
              <a:spLocks/>
            </p:cNvSpPr>
            <p:nvPr/>
          </p:nvSpPr>
          <p:spPr bwMode="gray">
            <a:xfrm>
              <a:off x="2349" y="641"/>
              <a:ext cx="619" cy="618"/>
            </a:xfrm>
            <a:custGeom>
              <a:avLst/>
              <a:gdLst/>
              <a:ahLst/>
              <a:cxnLst>
                <a:cxn ang="0">
                  <a:pos x="552" y="140"/>
                </a:cxn>
                <a:cxn ang="0">
                  <a:pos x="524" y="152"/>
                </a:cxn>
                <a:cxn ang="0">
                  <a:pos x="482" y="143"/>
                </a:cxn>
                <a:cxn ang="0">
                  <a:pos x="464" y="142"/>
                </a:cxn>
                <a:cxn ang="0">
                  <a:pos x="429" y="124"/>
                </a:cxn>
                <a:cxn ang="0">
                  <a:pos x="423" y="143"/>
                </a:cxn>
                <a:cxn ang="0">
                  <a:pos x="395" y="131"/>
                </a:cxn>
                <a:cxn ang="0">
                  <a:pos x="388" y="114"/>
                </a:cxn>
                <a:cxn ang="0">
                  <a:pos x="365" y="84"/>
                </a:cxn>
                <a:cxn ang="0">
                  <a:pos x="368" y="71"/>
                </a:cxn>
                <a:cxn ang="0">
                  <a:pos x="333" y="43"/>
                </a:cxn>
                <a:cxn ang="0">
                  <a:pos x="281" y="38"/>
                </a:cxn>
                <a:cxn ang="0">
                  <a:pos x="233" y="36"/>
                </a:cxn>
                <a:cxn ang="0">
                  <a:pos x="191" y="20"/>
                </a:cxn>
                <a:cxn ang="0">
                  <a:pos x="165" y="33"/>
                </a:cxn>
                <a:cxn ang="0">
                  <a:pos x="128" y="21"/>
                </a:cxn>
                <a:cxn ang="0">
                  <a:pos x="92" y="21"/>
                </a:cxn>
                <a:cxn ang="0">
                  <a:pos x="70" y="37"/>
                </a:cxn>
                <a:cxn ang="0">
                  <a:pos x="49" y="30"/>
                </a:cxn>
                <a:cxn ang="0">
                  <a:pos x="26" y="49"/>
                </a:cxn>
                <a:cxn ang="0">
                  <a:pos x="21" y="107"/>
                </a:cxn>
                <a:cxn ang="0">
                  <a:pos x="8" y="137"/>
                </a:cxn>
                <a:cxn ang="0">
                  <a:pos x="4" y="151"/>
                </a:cxn>
                <a:cxn ang="0">
                  <a:pos x="26" y="223"/>
                </a:cxn>
                <a:cxn ang="0">
                  <a:pos x="6" y="263"/>
                </a:cxn>
                <a:cxn ang="0">
                  <a:pos x="26" y="295"/>
                </a:cxn>
                <a:cxn ang="0">
                  <a:pos x="33" y="329"/>
                </a:cxn>
                <a:cxn ang="0">
                  <a:pos x="125" y="395"/>
                </a:cxn>
                <a:cxn ang="0">
                  <a:pos x="118" y="409"/>
                </a:cxn>
                <a:cxn ang="0">
                  <a:pos x="136" y="414"/>
                </a:cxn>
                <a:cxn ang="0">
                  <a:pos x="165" y="449"/>
                </a:cxn>
                <a:cxn ang="0">
                  <a:pos x="181" y="461"/>
                </a:cxn>
                <a:cxn ang="0">
                  <a:pos x="160" y="502"/>
                </a:cxn>
                <a:cxn ang="0">
                  <a:pos x="197" y="519"/>
                </a:cxn>
                <a:cxn ang="0">
                  <a:pos x="201" y="539"/>
                </a:cxn>
                <a:cxn ang="0">
                  <a:pos x="217" y="544"/>
                </a:cxn>
                <a:cxn ang="0">
                  <a:pos x="234" y="534"/>
                </a:cxn>
                <a:cxn ang="0">
                  <a:pos x="244" y="537"/>
                </a:cxn>
                <a:cxn ang="0">
                  <a:pos x="274" y="517"/>
                </a:cxn>
                <a:cxn ang="0">
                  <a:pos x="286" y="534"/>
                </a:cxn>
                <a:cxn ang="0">
                  <a:pos x="337" y="537"/>
                </a:cxn>
                <a:cxn ang="0">
                  <a:pos x="372" y="537"/>
                </a:cxn>
                <a:cxn ang="0">
                  <a:pos x="414" y="562"/>
                </a:cxn>
                <a:cxn ang="0">
                  <a:pos x="442" y="559"/>
                </a:cxn>
                <a:cxn ang="0">
                  <a:pos x="441" y="545"/>
                </a:cxn>
                <a:cxn ang="0">
                  <a:pos x="472" y="470"/>
                </a:cxn>
                <a:cxn ang="0">
                  <a:pos x="490" y="411"/>
                </a:cxn>
                <a:cxn ang="0">
                  <a:pos x="469" y="399"/>
                </a:cxn>
                <a:cxn ang="0">
                  <a:pos x="458" y="343"/>
                </a:cxn>
                <a:cxn ang="0">
                  <a:pos x="508" y="299"/>
                </a:cxn>
                <a:cxn ang="0">
                  <a:pos x="477" y="242"/>
                </a:cxn>
                <a:cxn ang="0">
                  <a:pos x="449" y="243"/>
                </a:cxn>
                <a:cxn ang="0">
                  <a:pos x="429" y="223"/>
                </a:cxn>
                <a:cxn ang="0">
                  <a:pos x="450" y="166"/>
                </a:cxn>
                <a:cxn ang="0">
                  <a:pos x="465" y="189"/>
                </a:cxn>
                <a:cxn ang="0">
                  <a:pos x="533" y="197"/>
                </a:cxn>
                <a:cxn ang="0">
                  <a:pos x="563" y="150"/>
                </a:cxn>
              </a:cxnLst>
              <a:rect l="0" t="0" r="r" b="b"/>
              <a:pathLst>
                <a:path w="574" h="573">
                  <a:moveTo>
                    <a:pt x="563" y="150"/>
                  </a:moveTo>
                  <a:cubicBezTo>
                    <a:pt x="569" y="145"/>
                    <a:pt x="561" y="142"/>
                    <a:pt x="552" y="140"/>
                  </a:cubicBezTo>
                  <a:cubicBezTo>
                    <a:pt x="542" y="130"/>
                    <a:pt x="536" y="147"/>
                    <a:pt x="536" y="147"/>
                  </a:cubicBezTo>
                  <a:cubicBezTo>
                    <a:pt x="524" y="152"/>
                    <a:pt x="524" y="152"/>
                    <a:pt x="524" y="152"/>
                  </a:cubicBezTo>
                  <a:cubicBezTo>
                    <a:pt x="489" y="154"/>
                    <a:pt x="489" y="154"/>
                    <a:pt x="489" y="154"/>
                  </a:cubicBezTo>
                  <a:cubicBezTo>
                    <a:pt x="482" y="143"/>
                    <a:pt x="482" y="143"/>
                    <a:pt x="482" y="143"/>
                  </a:cubicBezTo>
                  <a:cubicBezTo>
                    <a:pt x="471" y="154"/>
                    <a:pt x="471" y="154"/>
                    <a:pt x="471" y="154"/>
                  </a:cubicBezTo>
                  <a:cubicBezTo>
                    <a:pt x="464" y="142"/>
                    <a:pt x="464" y="142"/>
                    <a:pt x="464" y="142"/>
                  </a:cubicBezTo>
                  <a:cubicBezTo>
                    <a:pt x="464" y="122"/>
                    <a:pt x="438" y="126"/>
                    <a:pt x="438" y="126"/>
                  </a:cubicBezTo>
                  <a:cubicBezTo>
                    <a:pt x="429" y="124"/>
                    <a:pt x="429" y="124"/>
                    <a:pt x="429" y="124"/>
                  </a:cubicBezTo>
                  <a:cubicBezTo>
                    <a:pt x="431" y="135"/>
                    <a:pt x="431" y="135"/>
                    <a:pt x="431" y="135"/>
                  </a:cubicBezTo>
                  <a:cubicBezTo>
                    <a:pt x="423" y="143"/>
                    <a:pt x="423" y="143"/>
                    <a:pt x="423" y="143"/>
                  </a:cubicBezTo>
                  <a:cubicBezTo>
                    <a:pt x="419" y="140"/>
                    <a:pt x="419" y="140"/>
                    <a:pt x="419" y="140"/>
                  </a:cubicBezTo>
                  <a:cubicBezTo>
                    <a:pt x="397" y="145"/>
                    <a:pt x="395" y="131"/>
                    <a:pt x="395" y="131"/>
                  </a:cubicBezTo>
                  <a:cubicBezTo>
                    <a:pt x="403" y="125"/>
                    <a:pt x="397" y="121"/>
                    <a:pt x="397" y="121"/>
                  </a:cubicBezTo>
                  <a:cubicBezTo>
                    <a:pt x="392" y="126"/>
                    <a:pt x="388" y="114"/>
                    <a:pt x="388" y="114"/>
                  </a:cubicBezTo>
                  <a:cubicBezTo>
                    <a:pt x="389" y="107"/>
                    <a:pt x="377" y="99"/>
                    <a:pt x="370" y="96"/>
                  </a:cubicBezTo>
                  <a:cubicBezTo>
                    <a:pt x="370" y="88"/>
                    <a:pt x="365" y="84"/>
                    <a:pt x="365" y="84"/>
                  </a:cubicBezTo>
                  <a:cubicBezTo>
                    <a:pt x="371" y="79"/>
                    <a:pt x="371" y="79"/>
                    <a:pt x="371" y="79"/>
                  </a:cubicBezTo>
                  <a:cubicBezTo>
                    <a:pt x="368" y="71"/>
                    <a:pt x="368" y="71"/>
                    <a:pt x="368" y="71"/>
                  </a:cubicBezTo>
                  <a:cubicBezTo>
                    <a:pt x="361" y="71"/>
                    <a:pt x="358" y="59"/>
                    <a:pt x="358" y="59"/>
                  </a:cubicBezTo>
                  <a:cubicBezTo>
                    <a:pt x="333" y="43"/>
                    <a:pt x="333" y="43"/>
                    <a:pt x="333" y="43"/>
                  </a:cubicBezTo>
                  <a:cubicBezTo>
                    <a:pt x="317" y="61"/>
                    <a:pt x="297" y="38"/>
                    <a:pt x="297" y="38"/>
                  </a:cubicBezTo>
                  <a:cubicBezTo>
                    <a:pt x="297" y="38"/>
                    <a:pt x="297" y="38"/>
                    <a:pt x="281" y="38"/>
                  </a:cubicBezTo>
                  <a:cubicBezTo>
                    <a:pt x="272" y="54"/>
                    <a:pt x="245" y="52"/>
                    <a:pt x="243" y="48"/>
                  </a:cubicBezTo>
                  <a:cubicBezTo>
                    <a:pt x="241" y="44"/>
                    <a:pt x="233" y="36"/>
                    <a:pt x="233" y="36"/>
                  </a:cubicBezTo>
                  <a:cubicBezTo>
                    <a:pt x="233" y="36"/>
                    <a:pt x="223" y="33"/>
                    <a:pt x="212" y="31"/>
                  </a:cubicBezTo>
                  <a:cubicBezTo>
                    <a:pt x="206" y="20"/>
                    <a:pt x="191" y="20"/>
                    <a:pt x="191" y="20"/>
                  </a:cubicBezTo>
                  <a:cubicBezTo>
                    <a:pt x="175" y="19"/>
                    <a:pt x="175" y="19"/>
                    <a:pt x="175" y="19"/>
                  </a:cubicBezTo>
                  <a:cubicBezTo>
                    <a:pt x="165" y="33"/>
                    <a:pt x="165" y="33"/>
                    <a:pt x="165" y="33"/>
                  </a:cubicBezTo>
                  <a:cubicBezTo>
                    <a:pt x="165" y="33"/>
                    <a:pt x="162" y="29"/>
                    <a:pt x="145" y="30"/>
                  </a:cubicBezTo>
                  <a:cubicBezTo>
                    <a:pt x="126" y="45"/>
                    <a:pt x="129" y="24"/>
                    <a:pt x="128" y="21"/>
                  </a:cubicBezTo>
                  <a:cubicBezTo>
                    <a:pt x="128" y="5"/>
                    <a:pt x="111" y="1"/>
                    <a:pt x="104" y="0"/>
                  </a:cubicBezTo>
                  <a:cubicBezTo>
                    <a:pt x="92" y="21"/>
                    <a:pt x="92" y="21"/>
                    <a:pt x="92" y="21"/>
                  </a:cubicBezTo>
                  <a:cubicBezTo>
                    <a:pt x="78" y="22"/>
                    <a:pt x="78" y="22"/>
                    <a:pt x="78" y="22"/>
                  </a:cubicBezTo>
                  <a:cubicBezTo>
                    <a:pt x="70" y="37"/>
                    <a:pt x="70" y="37"/>
                    <a:pt x="70" y="37"/>
                  </a:cubicBezTo>
                  <a:cubicBezTo>
                    <a:pt x="58" y="30"/>
                    <a:pt x="58" y="30"/>
                    <a:pt x="58" y="30"/>
                  </a:cubicBezTo>
                  <a:cubicBezTo>
                    <a:pt x="49" y="30"/>
                    <a:pt x="49" y="30"/>
                    <a:pt x="49" y="30"/>
                  </a:cubicBezTo>
                  <a:cubicBezTo>
                    <a:pt x="32" y="25"/>
                    <a:pt x="32" y="25"/>
                    <a:pt x="32" y="25"/>
                  </a:cubicBezTo>
                  <a:cubicBezTo>
                    <a:pt x="32" y="25"/>
                    <a:pt x="30" y="51"/>
                    <a:pt x="26" y="49"/>
                  </a:cubicBezTo>
                  <a:cubicBezTo>
                    <a:pt x="38" y="63"/>
                    <a:pt x="38" y="78"/>
                    <a:pt x="38" y="78"/>
                  </a:cubicBezTo>
                  <a:cubicBezTo>
                    <a:pt x="38" y="78"/>
                    <a:pt x="25" y="102"/>
                    <a:pt x="21" y="107"/>
                  </a:cubicBezTo>
                  <a:cubicBezTo>
                    <a:pt x="17" y="113"/>
                    <a:pt x="25" y="125"/>
                    <a:pt x="25" y="125"/>
                  </a:cubicBezTo>
                  <a:cubicBezTo>
                    <a:pt x="8" y="137"/>
                    <a:pt x="8" y="137"/>
                    <a:pt x="8" y="137"/>
                  </a:cubicBezTo>
                  <a:cubicBezTo>
                    <a:pt x="14" y="143"/>
                    <a:pt x="14" y="143"/>
                    <a:pt x="14" y="143"/>
                  </a:cubicBezTo>
                  <a:cubicBezTo>
                    <a:pt x="4" y="151"/>
                    <a:pt x="4" y="151"/>
                    <a:pt x="4" y="151"/>
                  </a:cubicBezTo>
                  <a:cubicBezTo>
                    <a:pt x="4" y="151"/>
                    <a:pt x="20" y="197"/>
                    <a:pt x="17" y="201"/>
                  </a:cubicBezTo>
                  <a:cubicBezTo>
                    <a:pt x="28" y="195"/>
                    <a:pt x="25" y="214"/>
                    <a:pt x="26" y="223"/>
                  </a:cubicBezTo>
                  <a:cubicBezTo>
                    <a:pt x="28" y="233"/>
                    <a:pt x="4" y="242"/>
                    <a:pt x="4" y="242"/>
                  </a:cubicBezTo>
                  <a:cubicBezTo>
                    <a:pt x="6" y="263"/>
                    <a:pt x="6" y="263"/>
                    <a:pt x="6" y="263"/>
                  </a:cubicBezTo>
                  <a:cubicBezTo>
                    <a:pt x="0" y="277"/>
                    <a:pt x="0" y="277"/>
                    <a:pt x="0" y="277"/>
                  </a:cubicBezTo>
                  <a:cubicBezTo>
                    <a:pt x="26" y="295"/>
                    <a:pt x="26" y="295"/>
                    <a:pt x="26" y="295"/>
                  </a:cubicBezTo>
                  <a:cubicBezTo>
                    <a:pt x="25" y="335"/>
                    <a:pt x="25" y="335"/>
                    <a:pt x="25" y="335"/>
                  </a:cubicBezTo>
                  <a:cubicBezTo>
                    <a:pt x="33" y="329"/>
                    <a:pt x="33" y="329"/>
                    <a:pt x="33" y="329"/>
                  </a:cubicBezTo>
                  <a:cubicBezTo>
                    <a:pt x="33" y="329"/>
                    <a:pt x="68" y="356"/>
                    <a:pt x="67" y="359"/>
                  </a:cubicBezTo>
                  <a:cubicBezTo>
                    <a:pt x="84" y="359"/>
                    <a:pt x="125" y="395"/>
                    <a:pt x="125" y="395"/>
                  </a:cubicBezTo>
                  <a:cubicBezTo>
                    <a:pt x="113" y="401"/>
                    <a:pt x="113" y="401"/>
                    <a:pt x="113" y="401"/>
                  </a:cubicBezTo>
                  <a:cubicBezTo>
                    <a:pt x="118" y="409"/>
                    <a:pt x="118" y="409"/>
                    <a:pt x="118" y="409"/>
                  </a:cubicBezTo>
                  <a:cubicBezTo>
                    <a:pt x="118" y="409"/>
                    <a:pt x="120" y="412"/>
                    <a:pt x="120" y="415"/>
                  </a:cubicBezTo>
                  <a:cubicBezTo>
                    <a:pt x="126" y="411"/>
                    <a:pt x="136" y="414"/>
                    <a:pt x="136" y="414"/>
                  </a:cubicBezTo>
                  <a:cubicBezTo>
                    <a:pt x="149" y="437"/>
                    <a:pt x="149" y="437"/>
                    <a:pt x="149" y="437"/>
                  </a:cubicBezTo>
                  <a:cubicBezTo>
                    <a:pt x="165" y="426"/>
                    <a:pt x="165" y="449"/>
                    <a:pt x="165" y="449"/>
                  </a:cubicBezTo>
                  <a:cubicBezTo>
                    <a:pt x="174" y="450"/>
                    <a:pt x="174" y="450"/>
                    <a:pt x="174" y="450"/>
                  </a:cubicBezTo>
                  <a:cubicBezTo>
                    <a:pt x="181" y="461"/>
                    <a:pt x="181" y="461"/>
                    <a:pt x="181" y="461"/>
                  </a:cubicBezTo>
                  <a:cubicBezTo>
                    <a:pt x="170" y="466"/>
                    <a:pt x="170" y="490"/>
                    <a:pt x="170" y="490"/>
                  </a:cubicBezTo>
                  <a:cubicBezTo>
                    <a:pt x="160" y="502"/>
                    <a:pt x="160" y="502"/>
                    <a:pt x="160" y="502"/>
                  </a:cubicBezTo>
                  <a:cubicBezTo>
                    <a:pt x="177" y="506"/>
                    <a:pt x="177" y="506"/>
                    <a:pt x="177" y="506"/>
                  </a:cubicBezTo>
                  <a:cubicBezTo>
                    <a:pt x="197" y="519"/>
                    <a:pt x="197" y="519"/>
                    <a:pt x="197" y="519"/>
                  </a:cubicBezTo>
                  <a:cubicBezTo>
                    <a:pt x="198" y="537"/>
                    <a:pt x="198" y="537"/>
                    <a:pt x="198" y="537"/>
                  </a:cubicBezTo>
                  <a:cubicBezTo>
                    <a:pt x="201" y="539"/>
                    <a:pt x="201" y="539"/>
                    <a:pt x="201" y="539"/>
                  </a:cubicBezTo>
                  <a:cubicBezTo>
                    <a:pt x="214" y="547"/>
                    <a:pt x="214" y="547"/>
                    <a:pt x="214" y="547"/>
                  </a:cubicBezTo>
                  <a:cubicBezTo>
                    <a:pt x="217" y="544"/>
                    <a:pt x="217" y="544"/>
                    <a:pt x="217" y="544"/>
                  </a:cubicBezTo>
                  <a:cubicBezTo>
                    <a:pt x="224" y="533"/>
                    <a:pt x="224" y="533"/>
                    <a:pt x="224" y="533"/>
                  </a:cubicBezTo>
                  <a:cubicBezTo>
                    <a:pt x="234" y="534"/>
                    <a:pt x="234" y="534"/>
                    <a:pt x="234" y="534"/>
                  </a:cubicBezTo>
                  <a:cubicBezTo>
                    <a:pt x="230" y="543"/>
                    <a:pt x="230" y="543"/>
                    <a:pt x="230" y="543"/>
                  </a:cubicBezTo>
                  <a:cubicBezTo>
                    <a:pt x="244" y="537"/>
                    <a:pt x="244" y="537"/>
                    <a:pt x="244" y="537"/>
                  </a:cubicBezTo>
                  <a:cubicBezTo>
                    <a:pt x="249" y="523"/>
                    <a:pt x="249" y="523"/>
                    <a:pt x="249" y="523"/>
                  </a:cubicBezTo>
                  <a:cubicBezTo>
                    <a:pt x="274" y="517"/>
                    <a:pt x="274" y="517"/>
                    <a:pt x="274" y="517"/>
                  </a:cubicBezTo>
                  <a:cubicBezTo>
                    <a:pt x="273" y="533"/>
                    <a:pt x="273" y="533"/>
                    <a:pt x="273" y="533"/>
                  </a:cubicBezTo>
                  <a:cubicBezTo>
                    <a:pt x="286" y="534"/>
                    <a:pt x="286" y="534"/>
                    <a:pt x="286" y="534"/>
                  </a:cubicBezTo>
                  <a:cubicBezTo>
                    <a:pt x="285" y="543"/>
                    <a:pt x="285" y="543"/>
                    <a:pt x="285" y="543"/>
                  </a:cubicBezTo>
                  <a:cubicBezTo>
                    <a:pt x="285" y="543"/>
                    <a:pt x="333" y="526"/>
                    <a:pt x="337" y="537"/>
                  </a:cubicBezTo>
                  <a:cubicBezTo>
                    <a:pt x="341" y="547"/>
                    <a:pt x="346" y="554"/>
                    <a:pt x="346" y="554"/>
                  </a:cubicBezTo>
                  <a:cubicBezTo>
                    <a:pt x="372" y="537"/>
                    <a:pt x="372" y="537"/>
                    <a:pt x="372" y="537"/>
                  </a:cubicBezTo>
                  <a:cubicBezTo>
                    <a:pt x="381" y="549"/>
                    <a:pt x="381" y="549"/>
                    <a:pt x="381" y="549"/>
                  </a:cubicBezTo>
                  <a:cubicBezTo>
                    <a:pt x="414" y="562"/>
                    <a:pt x="414" y="562"/>
                    <a:pt x="414" y="562"/>
                  </a:cubicBezTo>
                  <a:cubicBezTo>
                    <a:pt x="414" y="562"/>
                    <a:pt x="422" y="573"/>
                    <a:pt x="428" y="570"/>
                  </a:cubicBezTo>
                  <a:cubicBezTo>
                    <a:pt x="433" y="567"/>
                    <a:pt x="442" y="559"/>
                    <a:pt x="442" y="559"/>
                  </a:cubicBezTo>
                  <a:cubicBezTo>
                    <a:pt x="437" y="550"/>
                    <a:pt x="437" y="550"/>
                    <a:pt x="437" y="550"/>
                  </a:cubicBezTo>
                  <a:cubicBezTo>
                    <a:pt x="441" y="545"/>
                    <a:pt x="441" y="545"/>
                    <a:pt x="441" y="545"/>
                  </a:cubicBezTo>
                  <a:cubicBezTo>
                    <a:pt x="442" y="514"/>
                    <a:pt x="442" y="514"/>
                    <a:pt x="442" y="514"/>
                  </a:cubicBezTo>
                  <a:cubicBezTo>
                    <a:pt x="442" y="514"/>
                    <a:pt x="460" y="511"/>
                    <a:pt x="472" y="470"/>
                  </a:cubicBezTo>
                  <a:cubicBezTo>
                    <a:pt x="476" y="470"/>
                    <a:pt x="469" y="466"/>
                    <a:pt x="469" y="466"/>
                  </a:cubicBezTo>
                  <a:cubicBezTo>
                    <a:pt x="490" y="411"/>
                    <a:pt x="490" y="411"/>
                    <a:pt x="490" y="411"/>
                  </a:cubicBezTo>
                  <a:cubicBezTo>
                    <a:pt x="489" y="402"/>
                    <a:pt x="489" y="402"/>
                    <a:pt x="489" y="402"/>
                  </a:cubicBezTo>
                  <a:cubicBezTo>
                    <a:pt x="489" y="402"/>
                    <a:pt x="469" y="411"/>
                    <a:pt x="469" y="399"/>
                  </a:cubicBezTo>
                  <a:cubicBezTo>
                    <a:pt x="469" y="387"/>
                    <a:pt x="472" y="349"/>
                    <a:pt x="472" y="349"/>
                  </a:cubicBezTo>
                  <a:cubicBezTo>
                    <a:pt x="458" y="343"/>
                    <a:pt x="458" y="343"/>
                    <a:pt x="458" y="343"/>
                  </a:cubicBezTo>
                  <a:cubicBezTo>
                    <a:pt x="480" y="338"/>
                    <a:pt x="480" y="338"/>
                    <a:pt x="480" y="338"/>
                  </a:cubicBezTo>
                  <a:cubicBezTo>
                    <a:pt x="480" y="338"/>
                    <a:pt x="505" y="337"/>
                    <a:pt x="508" y="299"/>
                  </a:cubicBezTo>
                  <a:cubicBezTo>
                    <a:pt x="506" y="304"/>
                    <a:pt x="487" y="294"/>
                    <a:pt x="505" y="262"/>
                  </a:cubicBezTo>
                  <a:cubicBezTo>
                    <a:pt x="502" y="260"/>
                    <a:pt x="483" y="244"/>
                    <a:pt x="477" y="242"/>
                  </a:cubicBezTo>
                  <a:cubicBezTo>
                    <a:pt x="470" y="239"/>
                    <a:pt x="457" y="258"/>
                    <a:pt x="457" y="258"/>
                  </a:cubicBezTo>
                  <a:cubicBezTo>
                    <a:pt x="449" y="243"/>
                    <a:pt x="449" y="243"/>
                    <a:pt x="449" y="243"/>
                  </a:cubicBezTo>
                  <a:cubicBezTo>
                    <a:pt x="457" y="233"/>
                    <a:pt x="457" y="233"/>
                    <a:pt x="457" y="233"/>
                  </a:cubicBezTo>
                  <a:cubicBezTo>
                    <a:pt x="429" y="223"/>
                    <a:pt x="429" y="223"/>
                    <a:pt x="429" y="223"/>
                  </a:cubicBezTo>
                  <a:cubicBezTo>
                    <a:pt x="429" y="223"/>
                    <a:pt x="434" y="203"/>
                    <a:pt x="444" y="205"/>
                  </a:cubicBezTo>
                  <a:cubicBezTo>
                    <a:pt x="450" y="166"/>
                    <a:pt x="450" y="166"/>
                    <a:pt x="450" y="166"/>
                  </a:cubicBezTo>
                  <a:cubicBezTo>
                    <a:pt x="456" y="167"/>
                    <a:pt x="456" y="167"/>
                    <a:pt x="456" y="167"/>
                  </a:cubicBezTo>
                  <a:cubicBezTo>
                    <a:pt x="465" y="189"/>
                    <a:pt x="465" y="189"/>
                    <a:pt x="465" y="189"/>
                  </a:cubicBezTo>
                  <a:cubicBezTo>
                    <a:pt x="493" y="193"/>
                    <a:pt x="493" y="193"/>
                    <a:pt x="493" y="193"/>
                  </a:cubicBezTo>
                  <a:cubicBezTo>
                    <a:pt x="493" y="193"/>
                    <a:pt x="498" y="217"/>
                    <a:pt x="533" y="197"/>
                  </a:cubicBezTo>
                  <a:cubicBezTo>
                    <a:pt x="533" y="197"/>
                    <a:pt x="553" y="229"/>
                    <a:pt x="574" y="164"/>
                  </a:cubicBezTo>
                  <a:lnTo>
                    <a:pt x="563" y="15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6" name="Alsace" descr="© INSCALE GmbH, 05.05.2010&#10;http://www.presentationload.com/">
              <a:extLst>
                <a:ext uri="{FF2B5EF4-FFF2-40B4-BE49-F238E27FC236}">
                  <a16:creationId xmlns:a16="http://schemas.microsoft.com/office/drawing/2014/main" id="{F0F39AF0-5E77-4803-A309-B0A4DD2EAFF8}"/>
                </a:ext>
              </a:extLst>
            </p:cNvPr>
            <p:cNvSpPr>
              <a:spLocks/>
            </p:cNvSpPr>
            <p:nvPr/>
          </p:nvSpPr>
          <p:spPr bwMode="gray">
            <a:xfrm>
              <a:off x="2808" y="818"/>
              <a:ext cx="317" cy="567"/>
            </a:xfrm>
            <a:custGeom>
              <a:avLst/>
              <a:gdLst/>
              <a:ahLst/>
              <a:cxnLst>
                <a:cxn ang="0">
                  <a:pos x="271" y="35"/>
                </a:cxn>
                <a:cxn ang="0">
                  <a:pos x="250" y="20"/>
                </a:cxn>
                <a:cxn ang="0">
                  <a:pos x="242" y="22"/>
                </a:cxn>
                <a:cxn ang="0">
                  <a:pos x="225" y="13"/>
                </a:cxn>
                <a:cxn ang="0">
                  <a:pos x="206" y="12"/>
                </a:cxn>
                <a:cxn ang="0">
                  <a:pos x="172" y="14"/>
                </a:cxn>
                <a:cxn ang="0">
                  <a:pos x="164" y="2"/>
                </a:cxn>
                <a:cxn ang="0">
                  <a:pos x="152" y="4"/>
                </a:cxn>
                <a:cxn ang="0">
                  <a:pos x="148" y="0"/>
                </a:cxn>
                <a:cxn ang="0">
                  <a:pos x="107" y="33"/>
                </a:cxn>
                <a:cxn ang="0">
                  <a:pos x="67" y="29"/>
                </a:cxn>
                <a:cxn ang="0">
                  <a:pos x="39" y="25"/>
                </a:cxn>
                <a:cxn ang="0">
                  <a:pos x="30" y="3"/>
                </a:cxn>
                <a:cxn ang="0">
                  <a:pos x="24" y="2"/>
                </a:cxn>
                <a:cxn ang="0">
                  <a:pos x="18" y="41"/>
                </a:cxn>
                <a:cxn ang="0">
                  <a:pos x="3" y="59"/>
                </a:cxn>
                <a:cxn ang="0">
                  <a:pos x="31" y="69"/>
                </a:cxn>
                <a:cxn ang="0">
                  <a:pos x="23" y="79"/>
                </a:cxn>
                <a:cxn ang="0">
                  <a:pos x="31" y="94"/>
                </a:cxn>
                <a:cxn ang="0">
                  <a:pos x="51" y="78"/>
                </a:cxn>
                <a:cxn ang="0">
                  <a:pos x="79" y="98"/>
                </a:cxn>
                <a:cxn ang="0">
                  <a:pos x="82" y="135"/>
                </a:cxn>
                <a:cxn ang="0">
                  <a:pos x="54" y="174"/>
                </a:cxn>
                <a:cxn ang="0">
                  <a:pos x="32" y="179"/>
                </a:cxn>
                <a:cxn ang="0">
                  <a:pos x="46" y="185"/>
                </a:cxn>
                <a:cxn ang="0">
                  <a:pos x="43" y="235"/>
                </a:cxn>
                <a:cxn ang="0">
                  <a:pos x="63" y="238"/>
                </a:cxn>
                <a:cxn ang="0">
                  <a:pos x="64" y="247"/>
                </a:cxn>
                <a:cxn ang="0">
                  <a:pos x="43" y="302"/>
                </a:cxn>
                <a:cxn ang="0">
                  <a:pos x="46" y="306"/>
                </a:cxn>
                <a:cxn ang="0">
                  <a:pos x="16" y="350"/>
                </a:cxn>
                <a:cxn ang="0">
                  <a:pos x="15" y="381"/>
                </a:cxn>
                <a:cxn ang="0">
                  <a:pos x="11" y="386"/>
                </a:cxn>
                <a:cxn ang="0">
                  <a:pos x="16" y="395"/>
                </a:cxn>
                <a:cxn ang="0">
                  <a:pos x="2" y="406"/>
                </a:cxn>
                <a:cxn ang="0">
                  <a:pos x="0" y="406"/>
                </a:cxn>
                <a:cxn ang="0">
                  <a:pos x="4" y="417"/>
                </a:cxn>
                <a:cxn ang="0">
                  <a:pos x="43" y="471"/>
                </a:cxn>
                <a:cxn ang="0">
                  <a:pos x="66" y="496"/>
                </a:cxn>
                <a:cxn ang="0">
                  <a:pos x="90" y="499"/>
                </a:cxn>
                <a:cxn ang="0">
                  <a:pos x="113" y="510"/>
                </a:cxn>
                <a:cxn ang="0">
                  <a:pos x="143" y="491"/>
                </a:cxn>
                <a:cxn ang="0">
                  <a:pos x="152" y="503"/>
                </a:cxn>
                <a:cxn ang="0">
                  <a:pos x="161" y="493"/>
                </a:cxn>
                <a:cxn ang="0">
                  <a:pos x="174" y="463"/>
                </a:cxn>
                <a:cxn ang="0">
                  <a:pos x="165" y="419"/>
                </a:cxn>
                <a:cxn ang="0">
                  <a:pos x="167" y="386"/>
                </a:cxn>
                <a:cxn ang="0">
                  <a:pos x="176" y="349"/>
                </a:cxn>
                <a:cxn ang="0">
                  <a:pos x="176" y="336"/>
                </a:cxn>
                <a:cxn ang="0">
                  <a:pos x="185" y="262"/>
                </a:cxn>
                <a:cxn ang="0">
                  <a:pos x="199" y="229"/>
                </a:cxn>
                <a:cxn ang="0">
                  <a:pos x="209" y="177"/>
                </a:cxn>
                <a:cxn ang="0">
                  <a:pos x="218" y="138"/>
                </a:cxn>
                <a:cxn ang="0">
                  <a:pos x="245" y="104"/>
                </a:cxn>
                <a:cxn ang="0">
                  <a:pos x="261" y="93"/>
                </a:cxn>
                <a:cxn ang="0">
                  <a:pos x="279" y="58"/>
                </a:cxn>
                <a:cxn ang="0">
                  <a:pos x="294" y="35"/>
                </a:cxn>
                <a:cxn ang="0">
                  <a:pos x="271" y="35"/>
                </a:cxn>
              </a:cxnLst>
              <a:rect l="0" t="0" r="r" b="b"/>
              <a:pathLst>
                <a:path w="294" h="526">
                  <a:moveTo>
                    <a:pt x="271" y="35"/>
                  </a:moveTo>
                  <a:cubicBezTo>
                    <a:pt x="250" y="20"/>
                    <a:pt x="250" y="20"/>
                    <a:pt x="250" y="20"/>
                  </a:cubicBezTo>
                  <a:cubicBezTo>
                    <a:pt x="242" y="22"/>
                    <a:pt x="242" y="22"/>
                    <a:pt x="242" y="22"/>
                  </a:cubicBezTo>
                  <a:cubicBezTo>
                    <a:pt x="233" y="7"/>
                    <a:pt x="232" y="15"/>
                    <a:pt x="225" y="13"/>
                  </a:cubicBezTo>
                  <a:cubicBezTo>
                    <a:pt x="215" y="25"/>
                    <a:pt x="206" y="12"/>
                    <a:pt x="206" y="12"/>
                  </a:cubicBezTo>
                  <a:cubicBezTo>
                    <a:pt x="172" y="14"/>
                    <a:pt x="172" y="14"/>
                    <a:pt x="172" y="14"/>
                  </a:cubicBezTo>
                  <a:cubicBezTo>
                    <a:pt x="164" y="2"/>
                    <a:pt x="164" y="2"/>
                    <a:pt x="164" y="2"/>
                  </a:cubicBezTo>
                  <a:cubicBezTo>
                    <a:pt x="152" y="4"/>
                    <a:pt x="152" y="4"/>
                    <a:pt x="152" y="4"/>
                  </a:cubicBezTo>
                  <a:cubicBezTo>
                    <a:pt x="148" y="0"/>
                    <a:pt x="148" y="0"/>
                    <a:pt x="148" y="0"/>
                  </a:cubicBezTo>
                  <a:cubicBezTo>
                    <a:pt x="127" y="65"/>
                    <a:pt x="107" y="33"/>
                    <a:pt x="107" y="33"/>
                  </a:cubicBezTo>
                  <a:cubicBezTo>
                    <a:pt x="72" y="53"/>
                    <a:pt x="67" y="29"/>
                    <a:pt x="67" y="29"/>
                  </a:cubicBezTo>
                  <a:cubicBezTo>
                    <a:pt x="39" y="25"/>
                    <a:pt x="39" y="25"/>
                    <a:pt x="39" y="25"/>
                  </a:cubicBezTo>
                  <a:cubicBezTo>
                    <a:pt x="30" y="3"/>
                    <a:pt x="30" y="3"/>
                    <a:pt x="30" y="3"/>
                  </a:cubicBezTo>
                  <a:cubicBezTo>
                    <a:pt x="24" y="2"/>
                    <a:pt x="24" y="2"/>
                    <a:pt x="24" y="2"/>
                  </a:cubicBezTo>
                  <a:cubicBezTo>
                    <a:pt x="18" y="41"/>
                    <a:pt x="18" y="41"/>
                    <a:pt x="18" y="41"/>
                  </a:cubicBezTo>
                  <a:cubicBezTo>
                    <a:pt x="8" y="39"/>
                    <a:pt x="3" y="59"/>
                    <a:pt x="3" y="59"/>
                  </a:cubicBezTo>
                  <a:cubicBezTo>
                    <a:pt x="31" y="69"/>
                    <a:pt x="31" y="69"/>
                    <a:pt x="31" y="69"/>
                  </a:cubicBezTo>
                  <a:cubicBezTo>
                    <a:pt x="23" y="79"/>
                    <a:pt x="23" y="79"/>
                    <a:pt x="23" y="79"/>
                  </a:cubicBezTo>
                  <a:cubicBezTo>
                    <a:pt x="31" y="94"/>
                    <a:pt x="31" y="94"/>
                    <a:pt x="31" y="94"/>
                  </a:cubicBezTo>
                  <a:cubicBezTo>
                    <a:pt x="31" y="94"/>
                    <a:pt x="44" y="75"/>
                    <a:pt x="51" y="78"/>
                  </a:cubicBezTo>
                  <a:cubicBezTo>
                    <a:pt x="57" y="80"/>
                    <a:pt x="76" y="96"/>
                    <a:pt x="79" y="98"/>
                  </a:cubicBezTo>
                  <a:cubicBezTo>
                    <a:pt x="61" y="130"/>
                    <a:pt x="80" y="140"/>
                    <a:pt x="82" y="135"/>
                  </a:cubicBezTo>
                  <a:cubicBezTo>
                    <a:pt x="79" y="173"/>
                    <a:pt x="54" y="174"/>
                    <a:pt x="54" y="174"/>
                  </a:cubicBezTo>
                  <a:cubicBezTo>
                    <a:pt x="32" y="179"/>
                    <a:pt x="32" y="179"/>
                    <a:pt x="32" y="179"/>
                  </a:cubicBezTo>
                  <a:cubicBezTo>
                    <a:pt x="46" y="185"/>
                    <a:pt x="46" y="185"/>
                    <a:pt x="46" y="185"/>
                  </a:cubicBezTo>
                  <a:cubicBezTo>
                    <a:pt x="46" y="185"/>
                    <a:pt x="43" y="223"/>
                    <a:pt x="43" y="235"/>
                  </a:cubicBezTo>
                  <a:cubicBezTo>
                    <a:pt x="43" y="247"/>
                    <a:pt x="63" y="238"/>
                    <a:pt x="63" y="238"/>
                  </a:cubicBezTo>
                  <a:cubicBezTo>
                    <a:pt x="64" y="247"/>
                    <a:pt x="64" y="247"/>
                    <a:pt x="64" y="247"/>
                  </a:cubicBezTo>
                  <a:cubicBezTo>
                    <a:pt x="43" y="302"/>
                    <a:pt x="43" y="302"/>
                    <a:pt x="43" y="302"/>
                  </a:cubicBezTo>
                  <a:cubicBezTo>
                    <a:pt x="43" y="302"/>
                    <a:pt x="50" y="306"/>
                    <a:pt x="46" y="306"/>
                  </a:cubicBezTo>
                  <a:cubicBezTo>
                    <a:pt x="34" y="347"/>
                    <a:pt x="16" y="350"/>
                    <a:pt x="16" y="350"/>
                  </a:cubicBezTo>
                  <a:cubicBezTo>
                    <a:pt x="15" y="381"/>
                    <a:pt x="15" y="381"/>
                    <a:pt x="15" y="381"/>
                  </a:cubicBezTo>
                  <a:cubicBezTo>
                    <a:pt x="11" y="386"/>
                    <a:pt x="11" y="386"/>
                    <a:pt x="11" y="386"/>
                  </a:cubicBezTo>
                  <a:cubicBezTo>
                    <a:pt x="16" y="395"/>
                    <a:pt x="16" y="395"/>
                    <a:pt x="16" y="395"/>
                  </a:cubicBezTo>
                  <a:cubicBezTo>
                    <a:pt x="16" y="395"/>
                    <a:pt x="7" y="403"/>
                    <a:pt x="2" y="406"/>
                  </a:cubicBezTo>
                  <a:cubicBezTo>
                    <a:pt x="1" y="406"/>
                    <a:pt x="1" y="406"/>
                    <a:pt x="0" y="406"/>
                  </a:cubicBezTo>
                  <a:cubicBezTo>
                    <a:pt x="4" y="417"/>
                    <a:pt x="4" y="417"/>
                    <a:pt x="4" y="417"/>
                  </a:cubicBezTo>
                  <a:cubicBezTo>
                    <a:pt x="4" y="417"/>
                    <a:pt x="52" y="414"/>
                    <a:pt x="43" y="471"/>
                  </a:cubicBezTo>
                  <a:cubicBezTo>
                    <a:pt x="45" y="477"/>
                    <a:pt x="61" y="476"/>
                    <a:pt x="66" y="496"/>
                  </a:cubicBezTo>
                  <a:cubicBezTo>
                    <a:pt x="76" y="498"/>
                    <a:pt x="87" y="500"/>
                    <a:pt x="90" y="499"/>
                  </a:cubicBezTo>
                  <a:cubicBezTo>
                    <a:pt x="92" y="526"/>
                    <a:pt x="116" y="512"/>
                    <a:pt x="113" y="510"/>
                  </a:cubicBezTo>
                  <a:cubicBezTo>
                    <a:pt x="153" y="521"/>
                    <a:pt x="143" y="491"/>
                    <a:pt x="143" y="491"/>
                  </a:cubicBezTo>
                  <a:cubicBezTo>
                    <a:pt x="152" y="503"/>
                    <a:pt x="152" y="503"/>
                    <a:pt x="152" y="503"/>
                  </a:cubicBezTo>
                  <a:cubicBezTo>
                    <a:pt x="152" y="503"/>
                    <a:pt x="152" y="503"/>
                    <a:pt x="161" y="493"/>
                  </a:cubicBezTo>
                  <a:cubicBezTo>
                    <a:pt x="158" y="468"/>
                    <a:pt x="174" y="468"/>
                    <a:pt x="174" y="463"/>
                  </a:cubicBezTo>
                  <a:cubicBezTo>
                    <a:pt x="154" y="435"/>
                    <a:pt x="165" y="419"/>
                    <a:pt x="165" y="419"/>
                  </a:cubicBezTo>
                  <a:cubicBezTo>
                    <a:pt x="165" y="419"/>
                    <a:pt x="159" y="406"/>
                    <a:pt x="167" y="386"/>
                  </a:cubicBezTo>
                  <a:cubicBezTo>
                    <a:pt x="166" y="363"/>
                    <a:pt x="176" y="349"/>
                    <a:pt x="176" y="349"/>
                  </a:cubicBezTo>
                  <a:cubicBezTo>
                    <a:pt x="176" y="336"/>
                    <a:pt x="176" y="336"/>
                    <a:pt x="176" y="336"/>
                  </a:cubicBezTo>
                  <a:cubicBezTo>
                    <a:pt x="144" y="322"/>
                    <a:pt x="179" y="281"/>
                    <a:pt x="185" y="262"/>
                  </a:cubicBezTo>
                  <a:cubicBezTo>
                    <a:pt x="180" y="238"/>
                    <a:pt x="199" y="232"/>
                    <a:pt x="199" y="229"/>
                  </a:cubicBezTo>
                  <a:cubicBezTo>
                    <a:pt x="191" y="200"/>
                    <a:pt x="207" y="183"/>
                    <a:pt x="209" y="177"/>
                  </a:cubicBezTo>
                  <a:cubicBezTo>
                    <a:pt x="200" y="156"/>
                    <a:pt x="215" y="141"/>
                    <a:pt x="218" y="138"/>
                  </a:cubicBezTo>
                  <a:cubicBezTo>
                    <a:pt x="247" y="113"/>
                    <a:pt x="245" y="104"/>
                    <a:pt x="245" y="104"/>
                  </a:cubicBezTo>
                  <a:cubicBezTo>
                    <a:pt x="251" y="104"/>
                    <a:pt x="261" y="93"/>
                    <a:pt x="261" y="93"/>
                  </a:cubicBezTo>
                  <a:cubicBezTo>
                    <a:pt x="270" y="94"/>
                    <a:pt x="279" y="58"/>
                    <a:pt x="279" y="58"/>
                  </a:cubicBezTo>
                  <a:cubicBezTo>
                    <a:pt x="294" y="35"/>
                    <a:pt x="294" y="35"/>
                    <a:pt x="294" y="35"/>
                  </a:cubicBezTo>
                  <a:lnTo>
                    <a:pt x="271" y="3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7" name="Franche-Comté" descr="© INSCALE GmbH, 05.05.2010&#10;http://www.presentationload.com/">
              <a:extLst>
                <a:ext uri="{FF2B5EF4-FFF2-40B4-BE49-F238E27FC236}">
                  <a16:creationId xmlns:a16="http://schemas.microsoft.com/office/drawing/2014/main" id="{1F490D34-6D95-4776-8198-C2E5920D6864}"/>
                </a:ext>
              </a:extLst>
            </p:cNvPr>
            <p:cNvSpPr>
              <a:spLocks/>
            </p:cNvSpPr>
            <p:nvPr/>
          </p:nvSpPr>
          <p:spPr bwMode="gray">
            <a:xfrm>
              <a:off x="2452" y="1199"/>
              <a:ext cx="435" cy="623"/>
            </a:xfrm>
            <a:custGeom>
              <a:avLst/>
              <a:gdLst/>
              <a:ahLst/>
              <a:cxnLst>
                <a:cxn ang="0">
                  <a:pos x="40" y="136"/>
                </a:cxn>
                <a:cxn ang="0">
                  <a:pos x="17" y="186"/>
                </a:cxn>
                <a:cxn ang="0">
                  <a:pos x="30" y="212"/>
                </a:cxn>
                <a:cxn ang="0">
                  <a:pos x="46" y="228"/>
                </a:cxn>
                <a:cxn ang="0">
                  <a:pos x="13" y="312"/>
                </a:cxn>
                <a:cxn ang="0">
                  <a:pos x="12" y="326"/>
                </a:cxn>
                <a:cxn ang="0">
                  <a:pos x="14" y="353"/>
                </a:cxn>
                <a:cxn ang="0">
                  <a:pos x="46" y="380"/>
                </a:cxn>
                <a:cxn ang="0">
                  <a:pos x="25" y="402"/>
                </a:cxn>
                <a:cxn ang="0">
                  <a:pos x="36" y="418"/>
                </a:cxn>
                <a:cxn ang="0">
                  <a:pos x="37" y="465"/>
                </a:cxn>
                <a:cxn ang="0">
                  <a:pos x="40" y="498"/>
                </a:cxn>
                <a:cxn ang="0">
                  <a:pos x="18" y="524"/>
                </a:cxn>
                <a:cxn ang="0">
                  <a:pos x="32" y="542"/>
                </a:cxn>
                <a:cxn ang="0">
                  <a:pos x="53" y="566"/>
                </a:cxn>
                <a:cxn ang="0">
                  <a:pos x="109" y="548"/>
                </a:cxn>
                <a:cxn ang="0">
                  <a:pos x="145" y="562"/>
                </a:cxn>
                <a:cxn ang="0">
                  <a:pos x="200" y="497"/>
                </a:cxn>
                <a:cxn ang="0">
                  <a:pos x="201" y="425"/>
                </a:cxn>
                <a:cxn ang="0">
                  <a:pos x="257" y="358"/>
                </a:cxn>
                <a:cxn ang="0">
                  <a:pos x="272" y="305"/>
                </a:cxn>
                <a:cxn ang="0">
                  <a:pos x="312" y="288"/>
                </a:cxn>
                <a:cxn ang="0">
                  <a:pos x="370" y="218"/>
                </a:cxn>
                <a:cxn ang="0">
                  <a:pos x="373" y="202"/>
                </a:cxn>
                <a:cxn ang="0">
                  <a:pos x="386" y="180"/>
                </a:cxn>
                <a:cxn ang="0">
                  <a:pos x="364" y="161"/>
                </a:cxn>
                <a:cxn ang="0">
                  <a:pos x="378" y="139"/>
                </a:cxn>
                <a:cxn ang="0">
                  <a:pos x="373" y="118"/>
                </a:cxn>
                <a:cxn ang="0">
                  <a:pos x="330" y="53"/>
                </a:cxn>
                <a:cxn ang="0">
                  <a:pos x="285" y="32"/>
                </a:cxn>
                <a:cxn ang="0">
                  <a:pos x="250" y="37"/>
                </a:cxn>
                <a:cxn ang="0">
                  <a:pos x="189" y="26"/>
                </a:cxn>
                <a:cxn ang="0">
                  <a:pos x="177" y="16"/>
                </a:cxn>
                <a:cxn ang="0">
                  <a:pos x="153" y="6"/>
                </a:cxn>
                <a:cxn ang="0">
                  <a:pos x="134" y="26"/>
                </a:cxn>
                <a:cxn ang="0">
                  <a:pos x="128" y="16"/>
                </a:cxn>
                <a:cxn ang="0">
                  <a:pos x="124" y="36"/>
                </a:cxn>
                <a:cxn ang="0">
                  <a:pos x="113" y="56"/>
                </a:cxn>
                <a:cxn ang="0">
                  <a:pos x="93" y="69"/>
                </a:cxn>
                <a:cxn ang="0">
                  <a:pos x="80" y="78"/>
                </a:cxn>
                <a:cxn ang="0">
                  <a:pos x="88" y="109"/>
                </a:cxn>
                <a:cxn ang="0">
                  <a:pos x="57" y="106"/>
                </a:cxn>
                <a:cxn ang="0">
                  <a:pos x="26" y="112"/>
                </a:cxn>
                <a:cxn ang="0">
                  <a:pos x="24" y="140"/>
                </a:cxn>
              </a:cxnLst>
              <a:rect l="0" t="0" r="r" b="b"/>
              <a:pathLst>
                <a:path w="403" h="577">
                  <a:moveTo>
                    <a:pt x="32" y="132"/>
                  </a:moveTo>
                  <a:cubicBezTo>
                    <a:pt x="40" y="136"/>
                    <a:pt x="40" y="136"/>
                    <a:pt x="40" y="136"/>
                  </a:cubicBezTo>
                  <a:cubicBezTo>
                    <a:pt x="40" y="136"/>
                    <a:pt x="45" y="176"/>
                    <a:pt x="29" y="176"/>
                  </a:cubicBezTo>
                  <a:cubicBezTo>
                    <a:pt x="13" y="176"/>
                    <a:pt x="25" y="186"/>
                    <a:pt x="17" y="186"/>
                  </a:cubicBezTo>
                  <a:cubicBezTo>
                    <a:pt x="9" y="186"/>
                    <a:pt x="30" y="190"/>
                    <a:pt x="30" y="190"/>
                  </a:cubicBezTo>
                  <a:cubicBezTo>
                    <a:pt x="30" y="212"/>
                    <a:pt x="30" y="212"/>
                    <a:pt x="30" y="212"/>
                  </a:cubicBezTo>
                  <a:cubicBezTo>
                    <a:pt x="49" y="208"/>
                    <a:pt x="49" y="208"/>
                    <a:pt x="49" y="208"/>
                  </a:cubicBezTo>
                  <a:cubicBezTo>
                    <a:pt x="46" y="228"/>
                    <a:pt x="46" y="228"/>
                    <a:pt x="46" y="228"/>
                  </a:cubicBezTo>
                  <a:cubicBezTo>
                    <a:pt x="54" y="236"/>
                    <a:pt x="54" y="236"/>
                    <a:pt x="54" y="236"/>
                  </a:cubicBezTo>
                  <a:cubicBezTo>
                    <a:pt x="54" y="236"/>
                    <a:pt x="34" y="301"/>
                    <a:pt x="13" y="312"/>
                  </a:cubicBezTo>
                  <a:cubicBezTo>
                    <a:pt x="10" y="316"/>
                    <a:pt x="5" y="325"/>
                    <a:pt x="5" y="325"/>
                  </a:cubicBezTo>
                  <a:cubicBezTo>
                    <a:pt x="12" y="326"/>
                    <a:pt x="12" y="326"/>
                    <a:pt x="12" y="326"/>
                  </a:cubicBezTo>
                  <a:cubicBezTo>
                    <a:pt x="12" y="326"/>
                    <a:pt x="0" y="340"/>
                    <a:pt x="0" y="352"/>
                  </a:cubicBezTo>
                  <a:cubicBezTo>
                    <a:pt x="14" y="353"/>
                    <a:pt x="14" y="353"/>
                    <a:pt x="14" y="353"/>
                  </a:cubicBezTo>
                  <a:cubicBezTo>
                    <a:pt x="18" y="364"/>
                    <a:pt x="18" y="364"/>
                    <a:pt x="18" y="364"/>
                  </a:cubicBezTo>
                  <a:cubicBezTo>
                    <a:pt x="18" y="364"/>
                    <a:pt x="30" y="368"/>
                    <a:pt x="46" y="380"/>
                  </a:cubicBezTo>
                  <a:cubicBezTo>
                    <a:pt x="13" y="392"/>
                    <a:pt x="13" y="392"/>
                    <a:pt x="13" y="392"/>
                  </a:cubicBezTo>
                  <a:cubicBezTo>
                    <a:pt x="25" y="402"/>
                    <a:pt x="25" y="402"/>
                    <a:pt x="25" y="402"/>
                  </a:cubicBezTo>
                  <a:cubicBezTo>
                    <a:pt x="25" y="422"/>
                    <a:pt x="25" y="422"/>
                    <a:pt x="25" y="422"/>
                  </a:cubicBezTo>
                  <a:cubicBezTo>
                    <a:pt x="36" y="418"/>
                    <a:pt x="36" y="418"/>
                    <a:pt x="36" y="418"/>
                  </a:cubicBezTo>
                  <a:cubicBezTo>
                    <a:pt x="36" y="418"/>
                    <a:pt x="28" y="436"/>
                    <a:pt x="45" y="445"/>
                  </a:cubicBezTo>
                  <a:cubicBezTo>
                    <a:pt x="40" y="445"/>
                    <a:pt x="37" y="465"/>
                    <a:pt x="37" y="465"/>
                  </a:cubicBezTo>
                  <a:cubicBezTo>
                    <a:pt x="37" y="465"/>
                    <a:pt x="16" y="484"/>
                    <a:pt x="41" y="490"/>
                  </a:cubicBezTo>
                  <a:cubicBezTo>
                    <a:pt x="44" y="492"/>
                    <a:pt x="40" y="498"/>
                    <a:pt x="40" y="498"/>
                  </a:cubicBezTo>
                  <a:cubicBezTo>
                    <a:pt x="21" y="504"/>
                    <a:pt x="21" y="504"/>
                    <a:pt x="21" y="504"/>
                  </a:cubicBezTo>
                  <a:cubicBezTo>
                    <a:pt x="18" y="524"/>
                    <a:pt x="18" y="524"/>
                    <a:pt x="18" y="524"/>
                  </a:cubicBezTo>
                  <a:cubicBezTo>
                    <a:pt x="32" y="529"/>
                    <a:pt x="32" y="529"/>
                    <a:pt x="32" y="529"/>
                  </a:cubicBezTo>
                  <a:cubicBezTo>
                    <a:pt x="32" y="542"/>
                    <a:pt x="32" y="542"/>
                    <a:pt x="32" y="542"/>
                  </a:cubicBezTo>
                  <a:cubicBezTo>
                    <a:pt x="56" y="553"/>
                    <a:pt x="56" y="553"/>
                    <a:pt x="56" y="553"/>
                  </a:cubicBezTo>
                  <a:cubicBezTo>
                    <a:pt x="53" y="566"/>
                    <a:pt x="53" y="566"/>
                    <a:pt x="53" y="566"/>
                  </a:cubicBezTo>
                  <a:cubicBezTo>
                    <a:pt x="53" y="566"/>
                    <a:pt x="76" y="577"/>
                    <a:pt x="93" y="538"/>
                  </a:cubicBezTo>
                  <a:cubicBezTo>
                    <a:pt x="89" y="545"/>
                    <a:pt x="109" y="548"/>
                    <a:pt x="109" y="548"/>
                  </a:cubicBezTo>
                  <a:cubicBezTo>
                    <a:pt x="113" y="564"/>
                    <a:pt x="113" y="564"/>
                    <a:pt x="113" y="564"/>
                  </a:cubicBezTo>
                  <a:cubicBezTo>
                    <a:pt x="145" y="562"/>
                    <a:pt x="145" y="562"/>
                    <a:pt x="145" y="562"/>
                  </a:cubicBezTo>
                  <a:cubicBezTo>
                    <a:pt x="202" y="503"/>
                    <a:pt x="202" y="503"/>
                    <a:pt x="202" y="503"/>
                  </a:cubicBezTo>
                  <a:cubicBezTo>
                    <a:pt x="201" y="500"/>
                    <a:pt x="200" y="497"/>
                    <a:pt x="200" y="497"/>
                  </a:cubicBezTo>
                  <a:cubicBezTo>
                    <a:pt x="166" y="487"/>
                    <a:pt x="201" y="445"/>
                    <a:pt x="201" y="445"/>
                  </a:cubicBezTo>
                  <a:cubicBezTo>
                    <a:pt x="188" y="434"/>
                    <a:pt x="201" y="425"/>
                    <a:pt x="201" y="425"/>
                  </a:cubicBezTo>
                  <a:cubicBezTo>
                    <a:pt x="201" y="425"/>
                    <a:pt x="253" y="379"/>
                    <a:pt x="253" y="376"/>
                  </a:cubicBezTo>
                  <a:cubicBezTo>
                    <a:pt x="261" y="375"/>
                    <a:pt x="271" y="367"/>
                    <a:pt x="257" y="358"/>
                  </a:cubicBezTo>
                  <a:cubicBezTo>
                    <a:pt x="276" y="339"/>
                    <a:pt x="259" y="323"/>
                    <a:pt x="259" y="323"/>
                  </a:cubicBezTo>
                  <a:cubicBezTo>
                    <a:pt x="272" y="305"/>
                    <a:pt x="272" y="305"/>
                    <a:pt x="272" y="305"/>
                  </a:cubicBezTo>
                  <a:cubicBezTo>
                    <a:pt x="302" y="298"/>
                    <a:pt x="302" y="298"/>
                    <a:pt x="302" y="298"/>
                  </a:cubicBezTo>
                  <a:cubicBezTo>
                    <a:pt x="312" y="288"/>
                    <a:pt x="312" y="288"/>
                    <a:pt x="312" y="288"/>
                  </a:cubicBezTo>
                  <a:cubicBezTo>
                    <a:pt x="315" y="277"/>
                    <a:pt x="315" y="277"/>
                    <a:pt x="315" y="277"/>
                  </a:cubicBezTo>
                  <a:cubicBezTo>
                    <a:pt x="315" y="277"/>
                    <a:pt x="368" y="222"/>
                    <a:pt x="370" y="218"/>
                  </a:cubicBezTo>
                  <a:cubicBezTo>
                    <a:pt x="365" y="210"/>
                    <a:pt x="376" y="203"/>
                    <a:pt x="375" y="202"/>
                  </a:cubicBezTo>
                  <a:cubicBezTo>
                    <a:pt x="374" y="202"/>
                    <a:pt x="374" y="202"/>
                    <a:pt x="373" y="202"/>
                  </a:cubicBezTo>
                  <a:cubicBezTo>
                    <a:pt x="374" y="202"/>
                    <a:pt x="374" y="202"/>
                    <a:pt x="375" y="202"/>
                  </a:cubicBezTo>
                  <a:cubicBezTo>
                    <a:pt x="403" y="203"/>
                    <a:pt x="386" y="180"/>
                    <a:pt x="386" y="180"/>
                  </a:cubicBezTo>
                  <a:cubicBezTo>
                    <a:pt x="354" y="184"/>
                    <a:pt x="354" y="184"/>
                    <a:pt x="354" y="184"/>
                  </a:cubicBezTo>
                  <a:cubicBezTo>
                    <a:pt x="364" y="161"/>
                    <a:pt x="364" y="161"/>
                    <a:pt x="364" y="161"/>
                  </a:cubicBezTo>
                  <a:cubicBezTo>
                    <a:pt x="380" y="152"/>
                    <a:pt x="380" y="152"/>
                    <a:pt x="380" y="152"/>
                  </a:cubicBezTo>
                  <a:cubicBezTo>
                    <a:pt x="378" y="139"/>
                    <a:pt x="378" y="139"/>
                    <a:pt x="378" y="139"/>
                  </a:cubicBezTo>
                  <a:cubicBezTo>
                    <a:pt x="378" y="139"/>
                    <a:pt x="387" y="141"/>
                    <a:pt x="396" y="143"/>
                  </a:cubicBezTo>
                  <a:cubicBezTo>
                    <a:pt x="391" y="123"/>
                    <a:pt x="375" y="124"/>
                    <a:pt x="373" y="118"/>
                  </a:cubicBezTo>
                  <a:cubicBezTo>
                    <a:pt x="382" y="61"/>
                    <a:pt x="334" y="64"/>
                    <a:pt x="334" y="64"/>
                  </a:cubicBezTo>
                  <a:cubicBezTo>
                    <a:pt x="330" y="53"/>
                    <a:pt x="330" y="53"/>
                    <a:pt x="330" y="53"/>
                  </a:cubicBezTo>
                  <a:cubicBezTo>
                    <a:pt x="325" y="54"/>
                    <a:pt x="318" y="45"/>
                    <a:pt x="318" y="45"/>
                  </a:cubicBezTo>
                  <a:cubicBezTo>
                    <a:pt x="285" y="32"/>
                    <a:pt x="285" y="32"/>
                    <a:pt x="285" y="32"/>
                  </a:cubicBezTo>
                  <a:cubicBezTo>
                    <a:pt x="276" y="20"/>
                    <a:pt x="276" y="20"/>
                    <a:pt x="276" y="20"/>
                  </a:cubicBezTo>
                  <a:cubicBezTo>
                    <a:pt x="250" y="37"/>
                    <a:pt x="250" y="37"/>
                    <a:pt x="250" y="37"/>
                  </a:cubicBezTo>
                  <a:cubicBezTo>
                    <a:pt x="250" y="37"/>
                    <a:pt x="245" y="30"/>
                    <a:pt x="241" y="20"/>
                  </a:cubicBezTo>
                  <a:cubicBezTo>
                    <a:pt x="237" y="9"/>
                    <a:pt x="189" y="26"/>
                    <a:pt x="189" y="26"/>
                  </a:cubicBezTo>
                  <a:cubicBezTo>
                    <a:pt x="190" y="17"/>
                    <a:pt x="190" y="17"/>
                    <a:pt x="190" y="17"/>
                  </a:cubicBezTo>
                  <a:cubicBezTo>
                    <a:pt x="177" y="16"/>
                    <a:pt x="177" y="16"/>
                    <a:pt x="177" y="16"/>
                  </a:cubicBezTo>
                  <a:cubicBezTo>
                    <a:pt x="178" y="0"/>
                    <a:pt x="178" y="0"/>
                    <a:pt x="178" y="0"/>
                  </a:cubicBezTo>
                  <a:cubicBezTo>
                    <a:pt x="153" y="6"/>
                    <a:pt x="153" y="6"/>
                    <a:pt x="153" y="6"/>
                  </a:cubicBezTo>
                  <a:cubicBezTo>
                    <a:pt x="148" y="20"/>
                    <a:pt x="148" y="20"/>
                    <a:pt x="148" y="20"/>
                  </a:cubicBezTo>
                  <a:cubicBezTo>
                    <a:pt x="134" y="26"/>
                    <a:pt x="134" y="26"/>
                    <a:pt x="134" y="26"/>
                  </a:cubicBezTo>
                  <a:cubicBezTo>
                    <a:pt x="138" y="17"/>
                    <a:pt x="138" y="17"/>
                    <a:pt x="138" y="17"/>
                  </a:cubicBezTo>
                  <a:cubicBezTo>
                    <a:pt x="128" y="16"/>
                    <a:pt x="128" y="16"/>
                    <a:pt x="128" y="16"/>
                  </a:cubicBezTo>
                  <a:cubicBezTo>
                    <a:pt x="121" y="27"/>
                    <a:pt x="121" y="27"/>
                    <a:pt x="121" y="27"/>
                  </a:cubicBezTo>
                  <a:cubicBezTo>
                    <a:pt x="124" y="36"/>
                    <a:pt x="124" y="36"/>
                    <a:pt x="124" y="36"/>
                  </a:cubicBezTo>
                  <a:cubicBezTo>
                    <a:pt x="116" y="41"/>
                    <a:pt x="116" y="41"/>
                    <a:pt x="116" y="41"/>
                  </a:cubicBezTo>
                  <a:cubicBezTo>
                    <a:pt x="113" y="56"/>
                    <a:pt x="113" y="56"/>
                    <a:pt x="113" y="56"/>
                  </a:cubicBezTo>
                  <a:cubicBezTo>
                    <a:pt x="100" y="54"/>
                    <a:pt x="100" y="54"/>
                    <a:pt x="100" y="54"/>
                  </a:cubicBezTo>
                  <a:cubicBezTo>
                    <a:pt x="93" y="69"/>
                    <a:pt x="93" y="69"/>
                    <a:pt x="93" y="69"/>
                  </a:cubicBezTo>
                  <a:cubicBezTo>
                    <a:pt x="85" y="68"/>
                    <a:pt x="85" y="68"/>
                    <a:pt x="85" y="68"/>
                  </a:cubicBezTo>
                  <a:cubicBezTo>
                    <a:pt x="80" y="78"/>
                    <a:pt x="80" y="78"/>
                    <a:pt x="80" y="78"/>
                  </a:cubicBezTo>
                  <a:cubicBezTo>
                    <a:pt x="90" y="78"/>
                    <a:pt x="90" y="78"/>
                    <a:pt x="90" y="78"/>
                  </a:cubicBezTo>
                  <a:cubicBezTo>
                    <a:pt x="88" y="109"/>
                    <a:pt x="88" y="109"/>
                    <a:pt x="88" y="109"/>
                  </a:cubicBezTo>
                  <a:cubicBezTo>
                    <a:pt x="69" y="114"/>
                    <a:pt x="69" y="114"/>
                    <a:pt x="69" y="114"/>
                  </a:cubicBezTo>
                  <a:cubicBezTo>
                    <a:pt x="57" y="106"/>
                    <a:pt x="57" y="106"/>
                    <a:pt x="57" y="106"/>
                  </a:cubicBezTo>
                  <a:cubicBezTo>
                    <a:pt x="56" y="113"/>
                    <a:pt x="56" y="113"/>
                    <a:pt x="56" y="113"/>
                  </a:cubicBezTo>
                  <a:cubicBezTo>
                    <a:pt x="26" y="112"/>
                    <a:pt x="26" y="112"/>
                    <a:pt x="26" y="112"/>
                  </a:cubicBezTo>
                  <a:cubicBezTo>
                    <a:pt x="26" y="112"/>
                    <a:pt x="24" y="129"/>
                    <a:pt x="21" y="136"/>
                  </a:cubicBezTo>
                  <a:cubicBezTo>
                    <a:pt x="24" y="140"/>
                    <a:pt x="24" y="140"/>
                    <a:pt x="24" y="140"/>
                  </a:cubicBezTo>
                  <a:lnTo>
                    <a:pt x="32" y="13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8" name="Bourgogne" descr="© INSCALE GmbH, 05.05.2010&#10;http://www.presentationload.com/">
              <a:extLst>
                <a:ext uri="{FF2B5EF4-FFF2-40B4-BE49-F238E27FC236}">
                  <a16:creationId xmlns:a16="http://schemas.microsoft.com/office/drawing/2014/main" id="{67CEE325-8000-4C18-B665-933A28B6F9A2}"/>
                </a:ext>
              </a:extLst>
            </p:cNvPr>
            <p:cNvSpPr>
              <a:spLocks/>
            </p:cNvSpPr>
            <p:nvPr/>
          </p:nvSpPr>
          <p:spPr bwMode="gray">
            <a:xfrm>
              <a:off x="1885" y="1086"/>
              <a:ext cx="625" cy="772"/>
            </a:xfrm>
            <a:custGeom>
              <a:avLst/>
              <a:gdLst/>
              <a:ahLst/>
              <a:cxnLst>
                <a:cxn ang="0">
                  <a:pos x="43" y="156"/>
                </a:cxn>
                <a:cxn ang="0">
                  <a:pos x="36" y="170"/>
                </a:cxn>
                <a:cxn ang="0">
                  <a:pos x="0" y="220"/>
                </a:cxn>
                <a:cxn ang="0">
                  <a:pos x="19" y="253"/>
                </a:cxn>
                <a:cxn ang="0">
                  <a:pos x="20" y="309"/>
                </a:cxn>
                <a:cxn ang="0">
                  <a:pos x="40" y="429"/>
                </a:cxn>
                <a:cxn ang="0">
                  <a:pos x="43" y="512"/>
                </a:cxn>
                <a:cxn ang="0">
                  <a:pos x="111" y="545"/>
                </a:cxn>
                <a:cxn ang="0">
                  <a:pos x="138" y="558"/>
                </a:cxn>
                <a:cxn ang="0">
                  <a:pos x="164" y="521"/>
                </a:cxn>
                <a:cxn ang="0">
                  <a:pos x="219" y="597"/>
                </a:cxn>
                <a:cxn ang="0">
                  <a:pos x="255" y="658"/>
                </a:cxn>
                <a:cxn ang="0">
                  <a:pos x="235" y="669"/>
                </a:cxn>
                <a:cxn ang="0">
                  <a:pos x="256" y="710"/>
                </a:cxn>
                <a:cxn ang="0">
                  <a:pos x="304" y="703"/>
                </a:cxn>
                <a:cxn ang="0">
                  <a:pos x="319" y="714"/>
                </a:cxn>
                <a:cxn ang="0">
                  <a:pos x="346" y="666"/>
                </a:cxn>
                <a:cxn ang="0">
                  <a:pos x="382" y="666"/>
                </a:cxn>
                <a:cxn ang="0">
                  <a:pos x="411" y="678"/>
                </a:cxn>
                <a:cxn ang="0">
                  <a:pos x="431" y="704"/>
                </a:cxn>
                <a:cxn ang="0">
                  <a:pos x="520" y="594"/>
                </a:cxn>
                <a:cxn ang="0">
                  <a:pos x="547" y="608"/>
                </a:cxn>
                <a:cxn ang="0">
                  <a:pos x="563" y="569"/>
                </a:cxn>
                <a:cxn ang="0">
                  <a:pos x="551" y="526"/>
                </a:cxn>
                <a:cxn ang="0">
                  <a:pos x="572" y="484"/>
                </a:cxn>
                <a:cxn ang="0">
                  <a:pos x="526" y="456"/>
                </a:cxn>
                <a:cxn ang="0">
                  <a:pos x="539" y="416"/>
                </a:cxn>
                <a:cxn ang="0">
                  <a:pos x="575" y="312"/>
                </a:cxn>
                <a:cxn ang="0">
                  <a:pos x="543" y="290"/>
                </a:cxn>
                <a:cxn ang="0">
                  <a:pos x="558" y="236"/>
                </a:cxn>
                <a:cxn ang="0">
                  <a:pos x="544" y="244"/>
                </a:cxn>
                <a:cxn ang="0">
                  <a:pos x="518" y="240"/>
                </a:cxn>
                <a:cxn ang="0">
                  <a:pos x="488" y="226"/>
                </a:cxn>
                <a:cxn ang="0">
                  <a:pos x="455" y="194"/>
                </a:cxn>
                <a:cxn ang="0">
                  <a:pos x="456" y="173"/>
                </a:cxn>
                <a:cxn ang="0">
                  <a:pos x="426" y="146"/>
                </a:cxn>
                <a:cxn ang="0">
                  <a:pos x="414" y="133"/>
                </a:cxn>
                <a:cxn ang="0">
                  <a:pos x="311" y="136"/>
                </a:cxn>
                <a:cxn ang="0">
                  <a:pos x="296" y="132"/>
                </a:cxn>
                <a:cxn ang="0">
                  <a:pos x="283" y="137"/>
                </a:cxn>
                <a:cxn ang="0">
                  <a:pos x="256" y="146"/>
                </a:cxn>
                <a:cxn ang="0">
                  <a:pos x="208" y="109"/>
                </a:cxn>
                <a:cxn ang="0">
                  <a:pos x="182" y="69"/>
                </a:cxn>
                <a:cxn ang="0">
                  <a:pos x="167" y="66"/>
                </a:cxn>
                <a:cxn ang="0">
                  <a:pos x="155" y="33"/>
                </a:cxn>
                <a:cxn ang="0">
                  <a:pos x="118" y="0"/>
                </a:cxn>
                <a:cxn ang="0">
                  <a:pos x="36" y="28"/>
                </a:cxn>
                <a:cxn ang="0">
                  <a:pos x="39" y="84"/>
                </a:cxn>
              </a:cxnLst>
              <a:rect l="0" t="0" r="r" b="b"/>
              <a:pathLst>
                <a:path w="580" h="715">
                  <a:moveTo>
                    <a:pt x="58" y="114"/>
                  </a:moveTo>
                  <a:cubicBezTo>
                    <a:pt x="59" y="133"/>
                    <a:pt x="59" y="133"/>
                    <a:pt x="59" y="133"/>
                  </a:cubicBezTo>
                  <a:cubicBezTo>
                    <a:pt x="43" y="156"/>
                    <a:pt x="43" y="156"/>
                    <a:pt x="43" y="156"/>
                  </a:cubicBezTo>
                  <a:cubicBezTo>
                    <a:pt x="34" y="157"/>
                    <a:pt x="34" y="157"/>
                    <a:pt x="34" y="157"/>
                  </a:cubicBezTo>
                  <a:cubicBezTo>
                    <a:pt x="31" y="170"/>
                    <a:pt x="31" y="170"/>
                    <a:pt x="31" y="170"/>
                  </a:cubicBezTo>
                  <a:cubicBezTo>
                    <a:pt x="36" y="170"/>
                    <a:pt x="36" y="170"/>
                    <a:pt x="36" y="170"/>
                  </a:cubicBezTo>
                  <a:cubicBezTo>
                    <a:pt x="36" y="194"/>
                    <a:pt x="36" y="194"/>
                    <a:pt x="36" y="194"/>
                  </a:cubicBezTo>
                  <a:cubicBezTo>
                    <a:pt x="2" y="204"/>
                    <a:pt x="2" y="204"/>
                    <a:pt x="2" y="204"/>
                  </a:cubicBezTo>
                  <a:cubicBezTo>
                    <a:pt x="0" y="220"/>
                    <a:pt x="0" y="220"/>
                    <a:pt x="0" y="220"/>
                  </a:cubicBezTo>
                  <a:cubicBezTo>
                    <a:pt x="10" y="218"/>
                    <a:pt x="10" y="218"/>
                    <a:pt x="10" y="218"/>
                  </a:cubicBezTo>
                  <a:cubicBezTo>
                    <a:pt x="23" y="240"/>
                    <a:pt x="23" y="240"/>
                    <a:pt x="23" y="240"/>
                  </a:cubicBezTo>
                  <a:cubicBezTo>
                    <a:pt x="19" y="253"/>
                    <a:pt x="19" y="253"/>
                    <a:pt x="19" y="253"/>
                  </a:cubicBezTo>
                  <a:cubicBezTo>
                    <a:pt x="27" y="265"/>
                    <a:pt x="27" y="265"/>
                    <a:pt x="27" y="265"/>
                  </a:cubicBezTo>
                  <a:cubicBezTo>
                    <a:pt x="4" y="270"/>
                    <a:pt x="4" y="270"/>
                    <a:pt x="4" y="270"/>
                  </a:cubicBezTo>
                  <a:cubicBezTo>
                    <a:pt x="20" y="309"/>
                    <a:pt x="20" y="309"/>
                    <a:pt x="20" y="309"/>
                  </a:cubicBezTo>
                  <a:cubicBezTo>
                    <a:pt x="6" y="344"/>
                    <a:pt x="6" y="344"/>
                    <a:pt x="6" y="344"/>
                  </a:cubicBezTo>
                  <a:cubicBezTo>
                    <a:pt x="31" y="365"/>
                    <a:pt x="31" y="365"/>
                    <a:pt x="31" y="365"/>
                  </a:cubicBezTo>
                  <a:cubicBezTo>
                    <a:pt x="31" y="365"/>
                    <a:pt x="40" y="385"/>
                    <a:pt x="40" y="429"/>
                  </a:cubicBezTo>
                  <a:cubicBezTo>
                    <a:pt x="50" y="437"/>
                    <a:pt x="50" y="437"/>
                    <a:pt x="50" y="437"/>
                  </a:cubicBezTo>
                  <a:cubicBezTo>
                    <a:pt x="50" y="437"/>
                    <a:pt x="51" y="469"/>
                    <a:pt x="46" y="474"/>
                  </a:cubicBezTo>
                  <a:cubicBezTo>
                    <a:pt x="40" y="480"/>
                    <a:pt x="56" y="497"/>
                    <a:pt x="43" y="512"/>
                  </a:cubicBezTo>
                  <a:cubicBezTo>
                    <a:pt x="47" y="514"/>
                    <a:pt x="67" y="546"/>
                    <a:pt x="76" y="548"/>
                  </a:cubicBezTo>
                  <a:cubicBezTo>
                    <a:pt x="86" y="549"/>
                    <a:pt x="91" y="538"/>
                    <a:pt x="95" y="538"/>
                  </a:cubicBezTo>
                  <a:cubicBezTo>
                    <a:pt x="99" y="538"/>
                    <a:pt x="107" y="545"/>
                    <a:pt x="111" y="545"/>
                  </a:cubicBezTo>
                  <a:cubicBezTo>
                    <a:pt x="115" y="545"/>
                    <a:pt x="126" y="537"/>
                    <a:pt x="126" y="537"/>
                  </a:cubicBezTo>
                  <a:cubicBezTo>
                    <a:pt x="138" y="544"/>
                    <a:pt x="138" y="544"/>
                    <a:pt x="138" y="544"/>
                  </a:cubicBezTo>
                  <a:cubicBezTo>
                    <a:pt x="138" y="558"/>
                    <a:pt x="138" y="558"/>
                    <a:pt x="138" y="558"/>
                  </a:cubicBezTo>
                  <a:cubicBezTo>
                    <a:pt x="150" y="544"/>
                    <a:pt x="150" y="544"/>
                    <a:pt x="150" y="544"/>
                  </a:cubicBezTo>
                  <a:cubicBezTo>
                    <a:pt x="159" y="545"/>
                    <a:pt x="159" y="545"/>
                    <a:pt x="159" y="545"/>
                  </a:cubicBezTo>
                  <a:cubicBezTo>
                    <a:pt x="159" y="545"/>
                    <a:pt x="160" y="517"/>
                    <a:pt x="164" y="521"/>
                  </a:cubicBezTo>
                  <a:cubicBezTo>
                    <a:pt x="168" y="525"/>
                    <a:pt x="198" y="576"/>
                    <a:pt x="198" y="576"/>
                  </a:cubicBezTo>
                  <a:cubicBezTo>
                    <a:pt x="202" y="594"/>
                    <a:pt x="202" y="594"/>
                    <a:pt x="202" y="594"/>
                  </a:cubicBezTo>
                  <a:cubicBezTo>
                    <a:pt x="219" y="597"/>
                    <a:pt x="219" y="597"/>
                    <a:pt x="219" y="597"/>
                  </a:cubicBezTo>
                  <a:cubicBezTo>
                    <a:pt x="230" y="610"/>
                    <a:pt x="230" y="610"/>
                    <a:pt x="230" y="610"/>
                  </a:cubicBezTo>
                  <a:cubicBezTo>
                    <a:pt x="230" y="610"/>
                    <a:pt x="258" y="600"/>
                    <a:pt x="256" y="614"/>
                  </a:cubicBezTo>
                  <a:cubicBezTo>
                    <a:pt x="255" y="629"/>
                    <a:pt x="255" y="658"/>
                    <a:pt x="255" y="658"/>
                  </a:cubicBezTo>
                  <a:cubicBezTo>
                    <a:pt x="248" y="658"/>
                    <a:pt x="248" y="658"/>
                    <a:pt x="248" y="658"/>
                  </a:cubicBezTo>
                  <a:cubicBezTo>
                    <a:pt x="243" y="672"/>
                    <a:pt x="243" y="672"/>
                    <a:pt x="243" y="672"/>
                  </a:cubicBezTo>
                  <a:cubicBezTo>
                    <a:pt x="235" y="669"/>
                    <a:pt x="235" y="669"/>
                    <a:pt x="235" y="669"/>
                  </a:cubicBezTo>
                  <a:cubicBezTo>
                    <a:pt x="236" y="697"/>
                    <a:pt x="236" y="697"/>
                    <a:pt x="236" y="697"/>
                  </a:cubicBezTo>
                  <a:cubicBezTo>
                    <a:pt x="250" y="697"/>
                    <a:pt x="250" y="697"/>
                    <a:pt x="250" y="697"/>
                  </a:cubicBezTo>
                  <a:cubicBezTo>
                    <a:pt x="256" y="710"/>
                    <a:pt x="256" y="710"/>
                    <a:pt x="256" y="710"/>
                  </a:cubicBezTo>
                  <a:cubicBezTo>
                    <a:pt x="280" y="704"/>
                    <a:pt x="280" y="704"/>
                    <a:pt x="280" y="704"/>
                  </a:cubicBezTo>
                  <a:cubicBezTo>
                    <a:pt x="280" y="704"/>
                    <a:pt x="280" y="705"/>
                    <a:pt x="295" y="706"/>
                  </a:cubicBezTo>
                  <a:cubicBezTo>
                    <a:pt x="305" y="707"/>
                    <a:pt x="305" y="705"/>
                    <a:pt x="304" y="703"/>
                  </a:cubicBezTo>
                  <a:cubicBezTo>
                    <a:pt x="303" y="702"/>
                    <a:pt x="303" y="701"/>
                    <a:pt x="303" y="701"/>
                  </a:cubicBezTo>
                  <a:cubicBezTo>
                    <a:pt x="303" y="701"/>
                    <a:pt x="304" y="702"/>
                    <a:pt x="304" y="703"/>
                  </a:cubicBezTo>
                  <a:cubicBezTo>
                    <a:pt x="307" y="707"/>
                    <a:pt x="314" y="715"/>
                    <a:pt x="319" y="714"/>
                  </a:cubicBezTo>
                  <a:cubicBezTo>
                    <a:pt x="326" y="713"/>
                    <a:pt x="320" y="706"/>
                    <a:pt x="326" y="706"/>
                  </a:cubicBezTo>
                  <a:cubicBezTo>
                    <a:pt x="331" y="706"/>
                    <a:pt x="342" y="705"/>
                    <a:pt x="342" y="705"/>
                  </a:cubicBezTo>
                  <a:cubicBezTo>
                    <a:pt x="346" y="666"/>
                    <a:pt x="346" y="666"/>
                    <a:pt x="346" y="666"/>
                  </a:cubicBezTo>
                  <a:cubicBezTo>
                    <a:pt x="358" y="665"/>
                    <a:pt x="358" y="665"/>
                    <a:pt x="358" y="665"/>
                  </a:cubicBezTo>
                  <a:cubicBezTo>
                    <a:pt x="367" y="678"/>
                    <a:pt x="367" y="678"/>
                    <a:pt x="367" y="678"/>
                  </a:cubicBezTo>
                  <a:cubicBezTo>
                    <a:pt x="382" y="666"/>
                    <a:pt x="382" y="666"/>
                    <a:pt x="382" y="666"/>
                  </a:cubicBezTo>
                  <a:cubicBezTo>
                    <a:pt x="382" y="666"/>
                    <a:pt x="382" y="676"/>
                    <a:pt x="387" y="676"/>
                  </a:cubicBezTo>
                  <a:cubicBezTo>
                    <a:pt x="392" y="676"/>
                    <a:pt x="391" y="660"/>
                    <a:pt x="402" y="664"/>
                  </a:cubicBezTo>
                  <a:cubicBezTo>
                    <a:pt x="412" y="668"/>
                    <a:pt x="411" y="678"/>
                    <a:pt x="411" y="678"/>
                  </a:cubicBezTo>
                  <a:cubicBezTo>
                    <a:pt x="419" y="686"/>
                    <a:pt x="419" y="686"/>
                    <a:pt x="419" y="686"/>
                  </a:cubicBezTo>
                  <a:cubicBezTo>
                    <a:pt x="420" y="702"/>
                    <a:pt x="420" y="702"/>
                    <a:pt x="420" y="702"/>
                  </a:cubicBezTo>
                  <a:cubicBezTo>
                    <a:pt x="431" y="704"/>
                    <a:pt x="431" y="704"/>
                    <a:pt x="431" y="704"/>
                  </a:cubicBezTo>
                  <a:cubicBezTo>
                    <a:pt x="459" y="596"/>
                    <a:pt x="459" y="596"/>
                    <a:pt x="459" y="596"/>
                  </a:cubicBezTo>
                  <a:cubicBezTo>
                    <a:pt x="459" y="596"/>
                    <a:pt x="476" y="602"/>
                    <a:pt x="490" y="602"/>
                  </a:cubicBezTo>
                  <a:cubicBezTo>
                    <a:pt x="503" y="602"/>
                    <a:pt x="518" y="589"/>
                    <a:pt x="520" y="594"/>
                  </a:cubicBezTo>
                  <a:cubicBezTo>
                    <a:pt x="523" y="600"/>
                    <a:pt x="524" y="612"/>
                    <a:pt x="528" y="612"/>
                  </a:cubicBezTo>
                  <a:cubicBezTo>
                    <a:pt x="530" y="612"/>
                    <a:pt x="538" y="613"/>
                    <a:pt x="546" y="614"/>
                  </a:cubicBezTo>
                  <a:cubicBezTo>
                    <a:pt x="547" y="608"/>
                    <a:pt x="547" y="608"/>
                    <a:pt x="547" y="608"/>
                  </a:cubicBezTo>
                  <a:cubicBezTo>
                    <a:pt x="566" y="602"/>
                    <a:pt x="566" y="602"/>
                    <a:pt x="566" y="602"/>
                  </a:cubicBezTo>
                  <a:cubicBezTo>
                    <a:pt x="566" y="602"/>
                    <a:pt x="570" y="596"/>
                    <a:pt x="567" y="594"/>
                  </a:cubicBezTo>
                  <a:cubicBezTo>
                    <a:pt x="542" y="588"/>
                    <a:pt x="563" y="569"/>
                    <a:pt x="563" y="569"/>
                  </a:cubicBezTo>
                  <a:cubicBezTo>
                    <a:pt x="563" y="569"/>
                    <a:pt x="566" y="549"/>
                    <a:pt x="571" y="549"/>
                  </a:cubicBezTo>
                  <a:cubicBezTo>
                    <a:pt x="554" y="540"/>
                    <a:pt x="562" y="522"/>
                    <a:pt x="562" y="522"/>
                  </a:cubicBezTo>
                  <a:cubicBezTo>
                    <a:pt x="551" y="526"/>
                    <a:pt x="551" y="526"/>
                    <a:pt x="551" y="526"/>
                  </a:cubicBezTo>
                  <a:cubicBezTo>
                    <a:pt x="551" y="506"/>
                    <a:pt x="551" y="506"/>
                    <a:pt x="551" y="506"/>
                  </a:cubicBezTo>
                  <a:cubicBezTo>
                    <a:pt x="539" y="496"/>
                    <a:pt x="539" y="496"/>
                    <a:pt x="539" y="496"/>
                  </a:cubicBezTo>
                  <a:cubicBezTo>
                    <a:pt x="572" y="484"/>
                    <a:pt x="572" y="484"/>
                    <a:pt x="572" y="484"/>
                  </a:cubicBezTo>
                  <a:cubicBezTo>
                    <a:pt x="556" y="472"/>
                    <a:pt x="544" y="468"/>
                    <a:pt x="544" y="468"/>
                  </a:cubicBezTo>
                  <a:cubicBezTo>
                    <a:pt x="540" y="457"/>
                    <a:pt x="540" y="457"/>
                    <a:pt x="540" y="457"/>
                  </a:cubicBezTo>
                  <a:cubicBezTo>
                    <a:pt x="526" y="456"/>
                    <a:pt x="526" y="456"/>
                    <a:pt x="526" y="456"/>
                  </a:cubicBezTo>
                  <a:cubicBezTo>
                    <a:pt x="526" y="444"/>
                    <a:pt x="538" y="430"/>
                    <a:pt x="538" y="430"/>
                  </a:cubicBezTo>
                  <a:cubicBezTo>
                    <a:pt x="531" y="429"/>
                    <a:pt x="531" y="429"/>
                    <a:pt x="531" y="429"/>
                  </a:cubicBezTo>
                  <a:cubicBezTo>
                    <a:pt x="531" y="429"/>
                    <a:pt x="536" y="420"/>
                    <a:pt x="539" y="416"/>
                  </a:cubicBezTo>
                  <a:cubicBezTo>
                    <a:pt x="560" y="405"/>
                    <a:pt x="580" y="340"/>
                    <a:pt x="580" y="340"/>
                  </a:cubicBezTo>
                  <a:cubicBezTo>
                    <a:pt x="572" y="332"/>
                    <a:pt x="572" y="332"/>
                    <a:pt x="572" y="332"/>
                  </a:cubicBezTo>
                  <a:cubicBezTo>
                    <a:pt x="575" y="312"/>
                    <a:pt x="575" y="312"/>
                    <a:pt x="575" y="312"/>
                  </a:cubicBezTo>
                  <a:cubicBezTo>
                    <a:pt x="556" y="316"/>
                    <a:pt x="556" y="316"/>
                    <a:pt x="556" y="316"/>
                  </a:cubicBezTo>
                  <a:cubicBezTo>
                    <a:pt x="556" y="294"/>
                    <a:pt x="556" y="294"/>
                    <a:pt x="556" y="294"/>
                  </a:cubicBezTo>
                  <a:cubicBezTo>
                    <a:pt x="556" y="294"/>
                    <a:pt x="535" y="290"/>
                    <a:pt x="543" y="290"/>
                  </a:cubicBezTo>
                  <a:cubicBezTo>
                    <a:pt x="551" y="290"/>
                    <a:pt x="539" y="280"/>
                    <a:pt x="555" y="280"/>
                  </a:cubicBezTo>
                  <a:cubicBezTo>
                    <a:pt x="571" y="280"/>
                    <a:pt x="566" y="240"/>
                    <a:pt x="566" y="240"/>
                  </a:cubicBezTo>
                  <a:cubicBezTo>
                    <a:pt x="558" y="236"/>
                    <a:pt x="558" y="236"/>
                    <a:pt x="558" y="236"/>
                  </a:cubicBezTo>
                  <a:cubicBezTo>
                    <a:pt x="550" y="244"/>
                    <a:pt x="550" y="244"/>
                    <a:pt x="550" y="244"/>
                  </a:cubicBezTo>
                  <a:cubicBezTo>
                    <a:pt x="547" y="240"/>
                    <a:pt x="547" y="240"/>
                    <a:pt x="547" y="240"/>
                  </a:cubicBezTo>
                  <a:cubicBezTo>
                    <a:pt x="546" y="242"/>
                    <a:pt x="545" y="244"/>
                    <a:pt x="544" y="244"/>
                  </a:cubicBezTo>
                  <a:cubicBezTo>
                    <a:pt x="540" y="244"/>
                    <a:pt x="535" y="241"/>
                    <a:pt x="535" y="241"/>
                  </a:cubicBezTo>
                  <a:cubicBezTo>
                    <a:pt x="518" y="253"/>
                    <a:pt x="518" y="253"/>
                    <a:pt x="518" y="253"/>
                  </a:cubicBezTo>
                  <a:cubicBezTo>
                    <a:pt x="518" y="240"/>
                    <a:pt x="518" y="240"/>
                    <a:pt x="518" y="240"/>
                  </a:cubicBezTo>
                  <a:cubicBezTo>
                    <a:pt x="502" y="232"/>
                    <a:pt x="502" y="232"/>
                    <a:pt x="502" y="232"/>
                  </a:cubicBezTo>
                  <a:cubicBezTo>
                    <a:pt x="502" y="222"/>
                    <a:pt x="502" y="222"/>
                    <a:pt x="502" y="222"/>
                  </a:cubicBezTo>
                  <a:cubicBezTo>
                    <a:pt x="502" y="222"/>
                    <a:pt x="498" y="226"/>
                    <a:pt x="488" y="226"/>
                  </a:cubicBezTo>
                  <a:cubicBezTo>
                    <a:pt x="479" y="226"/>
                    <a:pt x="467" y="212"/>
                    <a:pt x="467" y="212"/>
                  </a:cubicBezTo>
                  <a:cubicBezTo>
                    <a:pt x="455" y="217"/>
                    <a:pt x="455" y="217"/>
                    <a:pt x="455" y="217"/>
                  </a:cubicBezTo>
                  <a:cubicBezTo>
                    <a:pt x="455" y="194"/>
                    <a:pt x="455" y="194"/>
                    <a:pt x="455" y="194"/>
                  </a:cubicBezTo>
                  <a:cubicBezTo>
                    <a:pt x="446" y="192"/>
                    <a:pt x="446" y="192"/>
                    <a:pt x="446" y="192"/>
                  </a:cubicBezTo>
                  <a:cubicBezTo>
                    <a:pt x="446" y="191"/>
                    <a:pt x="446" y="191"/>
                    <a:pt x="446" y="191"/>
                  </a:cubicBezTo>
                  <a:cubicBezTo>
                    <a:pt x="456" y="173"/>
                    <a:pt x="456" y="173"/>
                    <a:pt x="456" y="173"/>
                  </a:cubicBezTo>
                  <a:cubicBezTo>
                    <a:pt x="450" y="165"/>
                    <a:pt x="439" y="144"/>
                    <a:pt x="439" y="144"/>
                  </a:cubicBezTo>
                  <a:cubicBezTo>
                    <a:pt x="432" y="150"/>
                    <a:pt x="432" y="150"/>
                    <a:pt x="432" y="150"/>
                  </a:cubicBezTo>
                  <a:cubicBezTo>
                    <a:pt x="426" y="146"/>
                    <a:pt x="426" y="146"/>
                    <a:pt x="426" y="146"/>
                  </a:cubicBezTo>
                  <a:cubicBezTo>
                    <a:pt x="432" y="138"/>
                    <a:pt x="432" y="138"/>
                    <a:pt x="432" y="138"/>
                  </a:cubicBezTo>
                  <a:cubicBezTo>
                    <a:pt x="427" y="133"/>
                    <a:pt x="427" y="133"/>
                    <a:pt x="427" y="133"/>
                  </a:cubicBezTo>
                  <a:cubicBezTo>
                    <a:pt x="414" y="133"/>
                    <a:pt x="414" y="133"/>
                    <a:pt x="414" y="133"/>
                  </a:cubicBezTo>
                  <a:cubicBezTo>
                    <a:pt x="414" y="133"/>
                    <a:pt x="414" y="133"/>
                    <a:pt x="415" y="116"/>
                  </a:cubicBezTo>
                  <a:cubicBezTo>
                    <a:pt x="334" y="100"/>
                    <a:pt x="366" y="134"/>
                    <a:pt x="366" y="134"/>
                  </a:cubicBezTo>
                  <a:cubicBezTo>
                    <a:pt x="311" y="136"/>
                    <a:pt x="311" y="136"/>
                    <a:pt x="311" y="136"/>
                  </a:cubicBezTo>
                  <a:cubicBezTo>
                    <a:pt x="311" y="148"/>
                    <a:pt x="311" y="148"/>
                    <a:pt x="311" y="148"/>
                  </a:cubicBezTo>
                  <a:cubicBezTo>
                    <a:pt x="302" y="145"/>
                    <a:pt x="302" y="145"/>
                    <a:pt x="302" y="145"/>
                  </a:cubicBezTo>
                  <a:cubicBezTo>
                    <a:pt x="296" y="132"/>
                    <a:pt x="296" y="132"/>
                    <a:pt x="296" y="132"/>
                  </a:cubicBezTo>
                  <a:cubicBezTo>
                    <a:pt x="287" y="132"/>
                    <a:pt x="287" y="132"/>
                    <a:pt x="287" y="132"/>
                  </a:cubicBezTo>
                  <a:cubicBezTo>
                    <a:pt x="290" y="141"/>
                    <a:pt x="290" y="141"/>
                    <a:pt x="290" y="141"/>
                  </a:cubicBezTo>
                  <a:cubicBezTo>
                    <a:pt x="283" y="137"/>
                    <a:pt x="283" y="137"/>
                    <a:pt x="283" y="137"/>
                  </a:cubicBezTo>
                  <a:cubicBezTo>
                    <a:pt x="270" y="148"/>
                    <a:pt x="270" y="148"/>
                    <a:pt x="270" y="148"/>
                  </a:cubicBezTo>
                  <a:cubicBezTo>
                    <a:pt x="258" y="141"/>
                    <a:pt x="258" y="141"/>
                    <a:pt x="258" y="141"/>
                  </a:cubicBezTo>
                  <a:cubicBezTo>
                    <a:pt x="256" y="146"/>
                    <a:pt x="256" y="146"/>
                    <a:pt x="256" y="146"/>
                  </a:cubicBezTo>
                  <a:cubicBezTo>
                    <a:pt x="222" y="145"/>
                    <a:pt x="222" y="145"/>
                    <a:pt x="222" y="145"/>
                  </a:cubicBezTo>
                  <a:cubicBezTo>
                    <a:pt x="222" y="145"/>
                    <a:pt x="226" y="128"/>
                    <a:pt x="226" y="125"/>
                  </a:cubicBezTo>
                  <a:cubicBezTo>
                    <a:pt x="216" y="133"/>
                    <a:pt x="218" y="129"/>
                    <a:pt x="208" y="109"/>
                  </a:cubicBezTo>
                  <a:cubicBezTo>
                    <a:pt x="199" y="89"/>
                    <a:pt x="190" y="81"/>
                    <a:pt x="190" y="81"/>
                  </a:cubicBezTo>
                  <a:cubicBezTo>
                    <a:pt x="190" y="70"/>
                    <a:pt x="190" y="70"/>
                    <a:pt x="190" y="70"/>
                  </a:cubicBezTo>
                  <a:cubicBezTo>
                    <a:pt x="182" y="69"/>
                    <a:pt x="182" y="69"/>
                    <a:pt x="182" y="69"/>
                  </a:cubicBezTo>
                  <a:cubicBezTo>
                    <a:pt x="182" y="78"/>
                    <a:pt x="182" y="78"/>
                    <a:pt x="182" y="78"/>
                  </a:cubicBezTo>
                  <a:cubicBezTo>
                    <a:pt x="176" y="81"/>
                    <a:pt x="176" y="81"/>
                    <a:pt x="176" y="81"/>
                  </a:cubicBezTo>
                  <a:cubicBezTo>
                    <a:pt x="167" y="66"/>
                    <a:pt x="167" y="66"/>
                    <a:pt x="167" y="66"/>
                  </a:cubicBezTo>
                  <a:cubicBezTo>
                    <a:pt x="158" y="69"/>
                    <a:pt x="158" y="69"/>
                    <a:pt x="158" y="69"/>
                  </a:cubicBezTo>
                  <a:cubicBezTo>
                    <a:pt x="167" y="60"/>
                    <a:pt x="159" y="38"/>
                    <a:pt x="159" y="38"/>
                  </a:cubicBezTo>
                  <a:cubicBezTo>
                    <a:pt x="155" y="33"/>
                    <a:pt x="155" y="33"/>
                    <a:pt x="155" y="33"/>
                  </a:cubicBezTo>
                  <a:cubicBezTo>
                    <a:pt x="155" y="18"/>
                    <a:pt x="128" y="8"/>
                    <a:pt x="128" y="8"/>
                  </a:cubicBezTo>
                  <a:cubicBezTo>
                    <a:pt x="122" y="10"/>
                    <a:pt x="122" y="10"/>
                    <a:pt x="122" y="10"/>
                  </a:cubicBezTo>
                  <a:cubicBezTo>
                    <a:pt x="118" y="0"/>
                    <a:pt x="118" y="0"/>
                    <a:pt x="118" y="0"/>
                  </a:cubicBezTo>
                  <a:cubicBezTo>
                    <a:pt x="103" y="8"/>
                    <a:pt x="103" y="8"/>
                    <a:pt x="103" y="8"/>
                  </a:cubicBezTo>
                  <a:cubicBezTo>
                    <a:pt x="44" y="8"/>
                    <a:pt x="44" y="8"/>
                    <a:pt x="44" y="8"/>
                  </a:cubicBezTo>
                  <a:cubicBezTo>
                    <a:pt x="36" y="28"/>
                    <a:pt x="36" y="28"/>
                    <a:pt x="36" y="28"/>
                  </a:cubicBezTo>
                  <a:cubicBezTo>
                    <a:pt x="42" y="44"/>
                    <a:pt x="42" y="44"/>
                    <a:pt x="42" y="44"/>
                  </a:cubicBezTo>
                  <a:cubicBezTo>
                    <a:pt x="42" y="44"/>
                    <a:pt x="28" y="66"/>
                    <a:pt x="20" y="75"/>
                  </a:cubicBezTo>
                  <a:cubicBezTo>
                    <a:pt x="39" y="84"/>
                    <a:pt x="39" y="84"/>
                    <a:pt x="39" y="84"/>
                  </a:cubicBezTo>
                  <a:cubicBezTo>
                    <a:pt x="39" y="84"/>
                    <a:pt x="28" y="104"/>
                    <a:pt x="58" y="114"/>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9" name="Centre" descr="© INSCALE GmbH, 05.05.2010&#10;http://www.presentationload.com/">
              <a:extLst>
                <a:ext uri="{FF2B5EF4-FFF2-40B4-BE49-F238E27FC236}">
                  <a16:creationId xmlns:a16="http://schemas.microsoft.com/office/drawing/2014/main" id="{2F93616E-9714-40DC-8DC4-1824DBEBEE72}"/>
                </a:ext>
              </a:extLst>
            </p:cNvPr>
            <p:cNvSpPr>
              <a:spLocks/>
            </p:cNvSpPr>
            <p:nvPr/>
          </p:nvSpPr>
          <p:spPr bwMode="gray">
            <a:xfrm>
              <a:off x="1233" y="903"/>
              <a:ext cx="716" cy="887"/>
            </a:xfrm>
            <a:custGeom>
              <a:avLst/>
              <a:gdLst/>
              <a:ahLst/>
              <a:cxnLst>
                <a:cxn ang="0">
                  <a:pos x="209" y="158"/>
                </a:cxn>
                <a:cxn ang="0">
                  <a:pos x="173" y="227"/>
                </a:cxn>
                <a:cxn ang="0">
                  <a:pos x="193" y="251"/>
                </a:cxn>
                <a:cxn ang="0">
                  <a:pos x="168" y="275"/>
                </a:cxn>
                <a:cxn ang="0">
                  <a:pos x="179" y="314"/>
                </a:cxn>
                <a:cxn ang="0">
                  <a:pos x="144" y="367"/>
                </a:cxn>
                <a:cxn ang="0">
                  <a:pos x="79" y="406"/>
                </a:cxn>
                <a:cxn ang="0">
                  <a:pos x="43" y="418"/>
                </a:cxn>
                <a:cxn ang="0">
                  <a:pos x="29" y="494"/>
                </a:cxn>
                <a:cxn ang="0">
                  <a:pos x="29" y="594"/>
                </a:cxn>
                <a:cxn ang="0">
                  <a:pos x="56" y="598"/>
                </a:cxn>
                <a:cxn ang="0">
                  <a:pos x="79" y="632"/>
                </a:cxn>
                <a:cxn ang="0">
                  <a:pos x="108" y="611"/>
                </a:cxn>
                <a:cxn ang="0">
                  <a:pos x="185" y="712"/>
                </a:cxn>
                <a:cxn ang="0">
                  <a:pos x="233" y="788"/>
                </a:cxn>
                <a:cxn ang="0">
                  <a:pos x="251" y="820"/>
                </a:cxn>
                <a:cxn ang="0">
                  <a:pos x="287" y="811"/>
                </a:cxn>
                <a:cxn ang="0">
                  <a:pos x="320" y="814"/>
                </a:cxn>
                <a:cxn ang="0">
                  <a:pos x="353" y="806"/>
                </a:cxn>
                <a:cxn ang="0">
                  <a:pos x="404" y="802"/>
                </a:cxn>
                <a:cxn ang="0">
                  <a:pos x="539" y="771"/>
                </a:cxn>
                <a:cxn ang="0">
                  <a:pos x="559" y="719"/>
                </a:cxn>
                <a:cxn ang="0">
                  <a:pos x="650" y="684"/>
                </a:cxn>
                <a:cxn ang="0">
                  <a:pos x="655" y="607"/>
                </a:cxn>
                <a:cxn ang="0">
                  <a:pos x="611" y="514"/>
                </a:cxn>
                <a:cxn ang="0">
                  <a:pos x="632" y="435"/>
                </a:cxn>
                <a:cxn ang="0">
                  <a:pos x="615" y="388"/>
                </a:cxn>
                <a:cxn ang="0">
                  <a:pos x="641" y="364"/>
                </a:cxn>
                <a:cxn ang="0">
                  <a:pos x="639" y="327"/>
                </a:cxn>
                <a:cxn ang="0">
                  <a:pos x="663" y="284"/>
                </a:cxn>
                <a:cxn ang="0">
                  <a:pos x="624" y="246"/>
                </a:cxn>
                <a:cxn ang="0">
                  <a:pos x="581" y="247"/>
                </a:cxn>
                <a:cxn ang="0">
                  <a:pos x="520" y="254"/>
                </a:cxn>
                <a:cxn ang="0">
                  <a:pos x="513" y="214"/>
                </a:cxn>
                <a:cxn ang="0">
                  <a:pos x="491" y="194"/>
                </a:cxn>
                <a:cxn ang="0">
                  <a:pos x="468" y="188"/>
                </a:cxn>
                <a:cxn ang="0">
                  <a:pos x="419" y="204"/>
                </a:cxn>
                <a:cxn ang="0">
                  <a:pos x="405" y="154"/>
                </a:cxn>
                <a:cxn ang="0">
                  <a:pos x="364" y="115"/>
                </a:cxn>
                <a:cxn ang="0">
                  <a:pos x="341" y="88"/>
                </a:cxn>
                <a:cxn ang="0">
                  <a:pos x="344" y="59"/>
                </a:cxn>
                <a:cxn ang="0">
                  <a:pos x="331" y="23"/>
                </a:cxn>
                <a:cxn ang="0">
                  <a:pos x="312" y="3"/>
                </a:cxn>
                <a:cxn ang="0">
                  <a:pos x="287" y="51"/>
                </a:cxn>
                <a:cxn ang="0">
                  <a:pos x="225" y="54"/>
                </a:cxn>
                <a:cxn ang="0">
                  <a:pos x="177" y="98"/>
                </a:cxn>
              </a:cxnLst>
              <a:rect l="0" t="0" r="r" b="b"/>
              <a:pathLst>
                <a:path w="664" h="822">
                  <a:moveTo>
                    <a:pt x="205" y="131"/>
                  </a:moveTo>
                  <a:cubicBezTo>
                    <a:pt x="205" y="136"/>
                    <a:pt x="201" y="144"/>
                    <a:pt x="201" y="144"/>
                  </a:cubicBezTo>
                  <a:cubicBezTo>
                    <a:pt x="209" y="158"/>
                    <a:pt x="209" y="158"/>
                    <a:pt x="209" y="158"/>
                  </a:cubicBezTo>
                  <a:cubicBezTo>
                    <a:pt x="197" y="172"/>
                    <a:pt x="197" y="172"/>
                    <a:pt x="197" y="172"/>
                  </a:cubicBezTo>
                  <a:cubicBezTo>
                    <a:pt x="197" y="172"/>
                    <a:pt x="171" y="179"/>
                    <a:pt x="168" y="190"/>
                  </a:cubicBezTo>
                  <a:cubicBezTo>
                    <a:pt x="165" y="200"/>
                    <a:pt x="173" y="227"/>
                    <a:pt x="173" y="227"/>
                  </a:cubicBezTo>
                  <a:cubicBezTo>
                    <a:pt x="173" y="235"/>
                    <a:pt x="173" y="235"/>
                    <a:pt x="173" y="235"/>
                  </a:cubicBezTo>
                  <a:cubicBezTo>
                    <a:pt x="193" y="242"/>
                    <a:pt x="193" y="242"/>
                    <a:pt x="193" y="242"/>
                  </a:cubicBezTo>
                  <a:cubicBezTo>
                    <a:pt x="193" y="251"/>
                    <a:pt x="193" y="251"/>
                    <a:pt x="193" y="251"/>
                  </a:cubicBezTo>
                  <a:cubicBezTo>
                    <a:pt x="179" y="252"/>
                    <a:pt x="179" y="252"/>
                    <a:pt x="179" y="252"/>
                  </a:cubicBezTo>
                  <a:cubicBezTo>
                    <a:pt x="179" y="270"/>
                    <a:pt x="179" y="270"/>
                    <a:pt x="179" y="270"/>
                  </a:cubicBezTo>
                  <a:cubicBezTo>
                    <a:pt x="168" y="275"/>
                    <a:pt x="168" y="275"/>
                    <a:pt x="168" y="275"/>
                  </a:cubicBezTo>
                  <a:cubicBezTo>
                    <a:pt x="176" y="287"/>
                    <a:pt x="176" y="287"/>
                    <a:pt x="176" y="287"/>
                  </a:cubicBezTo>
                  <a:cubicBezTo>
                    <a:pt x="172" y="300"/>
                    <a:pt x="172" y="300"/>
                    <a:pt x="172" y="300"/>
                  </a:cubicBezTo>
                  <a:cubicBezTo>
                    <a:pt x="179" y="314"/>
                    <a:pt x="179" y="314"/>
                    <a:pt x="179" y="314"/>
                  </a:cubicBezTo>
                  <a:cubicBezTo>
                    <a:pt x="171" y="324"/>
                    <a:pt x="171" y="324"/>
                    <a:pt x="171" y="324"/>
                  </a:cubicBezTo>
                  <a:cubicBezTo>
                    <a:pt x="171" y="324"/>
                    <a:pt x="161" y="328"/>
                    <a:pt x="161" y="343"/>
                  </a:cubicBezTo>
                  <a:cubicBezTo>
                    <a:pt x="157" y="347"/>
                    <a:pt x="144" y="367"/>
                    <a:pt x="144" y="367"/>
                  </a:cubicBezTo>
                  <a:cubicBezTo>
                    <a:pt x="144" y="367"/>
                    <a:pt x="112" y="388"/>
                    <a:pt x="128" y="394"/>
                  </a:cubicBezTo>
                  <a:cubicBezTo>
                    <a:pt x="124" y="395"/>
                    <a:pt x="95" y="402"/>
                    <a:pt x="95" y="402"/>
                  </a:cubicBezTo>
                  <a:cubicBezTo>
                    <a:pt x="95" y="402"/>
                    <a:pt x="96" y="424"/>
                    <a:pt x="79" y="406"/>
                  </a:cubicBezTo>
                  <a:cubicBezTo>
                    <a:pt x="80" y="408"/>
                    <a:pt x="69" y="415"/>
                    <a:pt x="69" y="415"/>
                  </a:cubicBezTo>
                  <a:cubicBezTo>
                    <a:pt x="80" y="430"/>
                    <a:pt x="80" y="430"/>
                    <a:pt x="80" y="430"/>
                  </a:cubicBezTo>
                  <a:cubicBezTo>
                    <a:pt x="43" y="418"/>
                    <a:pt x="43" y="418"/>
                    <a:pt x="43" y="418"/>
                  </a:cubicBezTo>
                  <a:cubicBezTo>
                    <a:pt x="43" y="418"/>
                    <a:pt x="32" y="446"/>
                    <a:pt x="39" y="454"/>
                  </a:cubicBezTo>
                  <a:cubicBezTo>
                    <a:pt x="35" y="464"/>
                    <a:pt x="23" y="482"/>
                    <a:pt x="23" y="482"/>
                  </a:cubicBezTo>
                  <a:cubicBezTo>
                    <a:pt x="29" y="494"/>
                    <a:pt x="29" y="494"/>
                    <a:pt x="29" y="494"/>
                  </a:cubicBezTo>
                  <a:cubicBezTo>
                    <a:pt x="29" y="494"/>
                    <a:pt x="0" y="528"/>
                    <a:pt x="3" y="556"/>
                  </a:cubicBezTo>
                  <a:cubicBezTo>
                    <a:pt x="5" y="584"/>
                    <a:pt x="29" y="580"/>
                    <a:pt x="29" y="580"/>
                  </a:cubicBezTo>
                  <a:cubicBezTo>
                    <a:pt x="29" y="594"/>
                    <a:pt x="29" y="594"/>
                    <a:pt x="29" y="594"/>
                  </a:cubicBezTo>
                  <a:cubicBezTo>
                    <a:pt x="43" y="587"/>
                    <a:pt x="43" y="587"/>
                    <a:pt x="43" y="587"/>
                  </a:cubicBezTo>
                  <a:cubicBezTo>
                    <a:pt x="47" y="594"/>
                    <a:pt x="47" y="594"/>
                    <a:pt x="47" y="594"/>
                  </a:cubicBezTo>
                  <a:cubicBezTo>
                    <a:pt x="56" y="598"/>
                    <a:pt x="56" y="598"/>
                    <a:pt x="56" y="598"/>
                  </a:cubicBezTo>
                  <a:cubicBezTo>
                    <a:pt x="56" y="598"/>
                    <a:pt x="44" y="624"/>
                    <a:pt x="56" y="628"/>
                  </a:cubicBezTo>
                  <a:cubicBezTo>
                    <a:pt x="68" y="632"/>
                    <a:pt x="67" y="626"/>
                    <a:pt x="67" y="626"/>
                  </a:cubicBezTo>
                  <a:cubicBezTo>
                    <a:pt x="79" y="632"/>
                    <a:pt x="79" y="632"/>
                    <a:pt x="79" y="632"/>
                  </a:cubicBezTo>
                  <a:cubicBezTo>
                    <a:pt x="93" y="624"/>
                    <a:pt x="93" y="624"/>
                    <a:pt x="93" y="624"/>
                  </a:cubicBezTo>
                  <a:cubicBezTo>
                    <a:pt x="116" y="624"/>
                    <a:pt x="116" y="624"/>
                    <a:pt x="116" y="624"/>
                  </a:cubicBezTo>
                  <a:cubicBezTo>
                    <a:pt x="108" y="611"/>
                    <a:pt x="108" y="611"/>
                    <a:pt x="108" y="611"/>
                  </a:cubicBezTo>
                  <a:cubicBezTo>
                    <a:pt x="140" y="622"/>
                    <a:pt x="140" y="622"/>
                    <a:pt x="140" y="622"/>
                  </a:cubicBezTo>
                  <a:cubicBezTo>
                    <a:pt x="140" y="622"/>
                    <a:pt x="143" y="654"/>
                    <a:pt x="160" y="670"/>
                  </a:cubicBezTo>
                  <a:cubicBezTo>
                    <a:pt x="177" y="686"/>
                    <a:pt x="153" y="679"/>
                    <a:pt x="185" y="712"/>
                  </a:cubicBezTo>
                  <a:cubicBezTo>
                    <a:pt x="184" y="726"/>
                    <a:pt x="179" y="755"/>
                    <a:pt x="207" y="756"/>
                  </a:cubicBezTo>
                  <a:cubicBezTo>
                    <a:pt x="211" y="758"/>
                    <a:pt x="208" y="767"/>
                    <a:pt x="208" y="767"/>
                  </a:cubicBezTo>
                  <a:cubicBezTo>
                    <a:pt x="208" y="767"/>
                    <a:pt x="227" y="746"/>
                    <a:pt x="233" y="788"/>
                  </a:cubicBezTo>
                  <a:cubicBezTo>
                    <a:pt x="237" y="795"/>
                    <a:pt x="248" y="800"/>
                    <a:pt x="248" y="800"/>
                  </a:cubicBezTo>
                  <a:cubicBezTo>
                    <a:pt x="244" y="811"/>
                    <a:pt x="244" y="811"/>
                    <a:pt x="244" y="811"/>
                  </a:cubicBezTo>
                  <a:cubicBezTo>
                    <a:pt x="251" y="820"/>
                    <a:pt x="251" y="820"/>
                    <a:pt x="251" y="820"/>
                  </a:cubicBezTo>
                  <a:cubicBezTo>
                    <a:pt x="269" y="818"/>
                    <a:pt x="269" y="818"/>
                    <a:pt x="269" y="818"/>
                  </a:cubicBezTo>
                  <a:cubicBezTo>
                    <a:pt x="269" y="811"/>
                    <a:pt x="269" y="811"/>
                    <a:pt x="269" y="811"/>
                  </a:cubicBezTo>
                  <a:cubicBezTo>
                    <a:pt x="287" y="811"/>
                    <a:pt x="287" y="811"/>
                    <a:pt x="287" y="811"/>
                  </a:cubicBezTo>
                  <a:cubicBezTo>
                    <a:pt x="292" y="822"/>
                    <a:pt x="292" y="822"/>
                    <a:pt x="292" y="822"/>
                  </a:cubicBezTo>
                  <a:cubicBezTo>
                    <a:pt x="319" y="802"/>
                    <a:pt x="319" y="802"/>
                    <a:pt x="319" y="802"/>
                  </a:cubicBezTo>
                  <a:cubicBezTo>
                    <a:pt x="320" y="814"/>
                    <a:pt x="320" y="814"/>
                    <a:pt x="320" y="814"/>
                  </a:cubicBezTo>
                  <a:cubicBezTo>
                    <a:pt x="337" y="803"/>
                    <a:pt x="337" y="803"/>
                    <a:pt x="337" y="803"/>
                  </a:cubicBezTo>
                  <a:cubicBezTo>
                    <a:pt x="340" y="811"/>
                    <a:pt x="340" y="811"/>
                    <a:pt x="340" y="811"/>
                  </a:cubicBezTo>
                  <a:cubicBezTo>
                    <a:pt x="353" y="806"/>
                    <a:pt x="353" y="806"/>
                    <a:pt x="353" y="806"/>
                  </a:cubicBezTo>
                  <a:cubicBezTo>
                    <a:pt x="363" y="812"/>
                    <a:pt x="363" y="812"/>
                    <a:pt x="363" y="812"/>
                  </a:cubicBezTo>
                  <a:cubicBezTo>
                    <a:pt x="368" y="794"/>
                    <a:pt x="368" y="794"/>
                    <a:pt x="368" y="794"/>
                  </a:cubicBezTo>
                  <a:cubicBezTo>
                    <a:pt x="368" y="794"/>
                    <a:pt x="392" y="804"/>
                    <a:pt x="404" y="802"/>
                  </a:cubicBezTo>
                  <a:cubicBezTo>
                    <a:pt x="416" y="799"/>
                    <a:pt x="411" y="790"/>
                    <a:pt x="436" y="803"/>
                  </a:cubicBezTo>
                  <a:cubicBezTo>
                    <a:pt x="441" y="812"/>
                    <a:pt x="483" y="802"/>
                    <a:pt x="483" y="802"/>
                  </a:cubicBezTo>
                  <a:cubicBezTo>
                    <a:pt x="483" y="802"/>
                    <a:pt x="505" y="759"/>
                    <a:pt x="539" y="771"/>
                  </a:cubicBezTo>
                  <a:cubicBezTo>
                    <a:pt x="555" y="760"/>
                    <a:pt x="555" y="760"/>
                    <a:pt x="555" y="760"/>
                  </a:cubicBezTo>
                  <a:cubicBezTo>
                    <a:pt x="555" y="760"/>
                    <a:pt x="545" y="738"/>
                    <a:pt x="552" y="732"/>
                  </a:cubicBezTo>
                  <a:cubicBezTo>
                    <a:pt x="559" y="727"/>
                    <a:pt x="559" y="719"/>
                    <a:pt x="559" y="719"/>
                  </a:cubicBezTo>
                  <a:cubicBezTo>
                    <a:pt x="559" y="719"/>
                    <a:pt x="577" y="700"/>
                    <a:pt x="581" y="700"/>
                  </a:cubicBezTo>
                  <a:cubicBezTo>
                    <a:pt x="585" y="700"/>
                    <a:pt x="600" y="722"/>
                    <a:pt x="608" y="706"/>
                  </a:cubicBezTo>
                  <a:cubicBezTo>
                    <a:pt x="615" y="691"/>
                    <a:pt x="625" y="683"/>
                    <a:pt x="650" y="684"/>
                  </a:cubicBezTo>
                  <a:cubicBezTo>
                    <a:pt x="649" y="683"/>
                    <a:pt x="649" y="682"/>
                    <a:pt x="648" y="682"/>
                  </a:cubicBezTo>
                  <a:cubicBezTo>
                    <a:pt x="661" y="667"/>
                    <a:pt x="645" y="650"/>
                    <a:pt x="651" y="644"/>
                  </a:cubicBezTo>
                  <a:cubicBezTo>
                    <a:pt x="656" y="639"/>
                    <a:pt x="655" y="607"/>
                    <a:pt x="655" y="607"/>
                  </a:cubicBezTo>
                  <a:cubicBezTo>
                    <a:pt x="645" y="599"/>
                    <a:pt x="645" y="599"/>
                    <a:pt x="645" y="599"/>
                  </a:cubicBezTo>
                  <a:cubicBezTo>
                    <a:pt x="645" y="555"/>
                    <a:pt x="636" y="535"/>
                    <a:pt x="636" y="535"/>
                  </a:cubicBezTo>
                  <a:cubicBezTo>
                    <a:pt x="611" y="514"/>
                    <a:pt x="611" y="514"/>
                    <a:pt x="611" y="514"/>
                  </a:cubicBezTo>
                  <a:cubicBezTo>
                    <a:pt x="625" y="479"/>
                    <a:pt x="625" y="479"/>
                    <a:pt x="625" y="479"/>
                  </a:cubicBezTo>
                  <a:cubicBezTo>
                    <a:pt x="609" y="440"/>
                    <a:pt x="609" y="440"/>
                    <a:pt x="609" y="440"/>
                  </a:cubicBezTo>
                  <a:cubicBezTo>
                    <a:pt x="632" y="435"/>
                    <a:pt x="632" y="435"/>
                    <a:pt x="632" y="435"/>
                  </a:cubicBezTo>
                  <a:cubicBezTo>
                    <a:pt x="624" y="423"/>
                    <a:pt x="624" y="423"/>
                    <a:pt x="624" y="423"/>
                  </a:cubicBezTo>
                  <a:cubicBezTo>
                    <a:pt x="628" y="410"/>
                    <a:pt x="628" y="410"/>
                    <a:pt x="628" y="410"/>
                  </a:cubicBezTo>
                  <a:cubicBezTo>
                    <a:pt x="615" y="388"/>
                    <a:pt x="615" y="388"/>
                    <a:pt x="615" y="388"/>
                  </a:cubicBezTo>
                  <a:cubicBezTo>
                    <a:pt x="605" y="390"/>
                    <a:pt x="605" y="390"/>
                    <a:pt x="605" y="390"/>
                  </a:cubicBezTo>
                  <a:cubicBezTo>
                    <a:pt x="607" y="374"/>
                    <a:pt x="607" y="374"/>
                    <a:pt x="607" y="374"/>
                  </a:cubicBezTo>
                  <a:cubicBezTo>
                    <a:pt x="641" y="364"/>
                    <a:pt x="641" y="364"/>
                    <a:pt x="641" y="364"/>
                  </a:cubicBezTo>
                  <a:cubicBezTo>
                    <a:pt x="641" y="340"/>
                    <a:pt x="641" y="340"/>
                    <a:pt x="641" y="340"/>
                  </a:cubicBezTo>
                  <a:cubicBezTo>
                    <a:pt x="636" y="340"/>
                    <a:pt x="636" y="340"/>
                    <a:pt x="636" y="340"/>
                  </a:cubicBezTo>
                  <a:cubicBezTo>
                    <a:pt x="639" y="327"/>
                    <a:pt x="639" y="327"/>
                    <a:pt x="639" y="327"/>
                  </a:cubicBezTo>
                  <a:cubicBezTo>
                    <a:pt x="648" y="326"/>
                    <a:pt x="648" y="326"/>
                    <a:pt x="648" y="326"/>
                  </a:cubicBezTo>
                  <a:cubicBezTo>
                    <a:pt x="664" y="303"/>
                    <a:pt x="664" y="303"/>
                    <a:pt x="664" y="303"/>
                  </a:cubicBezTo>
                  <a:cubicBezTo>
                    <a:pt x="663" y="284"/>
                    <a:pt x="663" y="284"/>
                    <a:pt x="663" y="284"/>
                  </a:cubicBezTo>
                  <a:cubicBezTo>
                    <a:pt x="633" y="274"/>
                    <a:pt x="644" y="254"/>
                    <a:pt x="644" y="254"/>
                  </a:cubicBezTo>
                  <a:cubicBezTo>
                    <a:pt x="625" y="245"/>
                    <a:pt x="625" y="245"/>
                    <a:pt x="625" y="245"/>
                  </a:cubicBezTo>
                  <a:cubicBezTo>
                    <a:pt x="625" y="245"/>
                    <a:pt x="624" y="246"/>
                    <a:pt x="624" y="246"/>
                  </a:cubicBezTo>
                  <a:cubicBezTo>
                    <a:pt x="616" y="254"/>
                    <a:pt x="593" y="258"/>
                    <a:pt x="593" y="258"/>
                  </a:cubicBezTo>
                  <a:cubicBezTo>
                    <a:pt x="593" y="247"/>
                    <a:pt x="593" y="247"/>
                    <a:pt x="593" y="247"/>
                  </a:cubicBezTo>
                  <a:cubicBezTo>
                    <a:pt x="581" y="247"/>
                    <a:pt x="581" y="247"/>
                    <a:pt x="581" y="247"/>
                  </a:cubicBezTo>
                  <a:cubicBezTo>
                    <a:pt x="581" y="255"/>
                    <a:pt x="581" y="255"/>
                    <a:pt x="581" y="255"/>
                  </a:cubicBezTo>
                  <a:cubicBezTo>
                    <a:pt x="526" y="254"/>
                    <a:pt x="526" y="254"/>
                    <a:pt x="526" y="254"/>
                  </a:cubicBezTo>
                  <a:cubicBezTo>
                    <a:pt x="523" y="254"/>
                    <a:pt x="520" y="254"/>
                    <a:pt x="520" y="254"/>
                  </a:cubicBezTo>
                  <a:cubicBezTo>
                    <a:pt x="526" y="254"/>
                    <a:pt x="526" y="254"/>
                    <a:pt x="526" y="254"/>
                  </a:cubicBezTo>
                  <a:cubicBezTo>
                    <a:pt x="530" y="253"/>
                    <a:pt x="536" y="250"/>
                    <a:pt x="537" y="239"/>
                  </a:cubicBezTo>
                  <a:cubicBezTo>
                    <a:pt x="540" y="220"/>
                    <a:pt x="513" y="214"/>
                    <a:pt x="513" y="214"/>
                  </a:cubicBezTo>
                  <a:cubicBezTo>
                    <a:pt x="509" y="198"/>
                    <a:pt x="509" y="198"/>
                    <a:pt x="509" y="198"/>
                  </a:cubicBezTo>
                  <a:cubicBezTo>
                    <a:pt x="507" y="199"/>
                    <a:pt x="507" y="199"/>
                    <a:pt x="507" y="199"/>
                  </a:cubicBezTo>
                  <a:cubicBezTo>
                    <a:pt x="491" y="194"/>
                    <a:pt x="491" y="194"/>
                    <a:pt x="491" y="194"/>
                  </a:cubicBezTo>
                  <a:cubicBezTo>
                    <a:pt x="477" y="202"/>
                    <a:pt x="477" y="202"/>
                    <a:pt x="477" y="202"/>
                  </a:cubicBezTo>
                  <a:cubicBezTo>
                    <a:pt x="475" y="191"/>
                    <a:pt x="475" y="191"/>
                    <a:pt x="475" y="191"/>
                  </a:cubicBezTo>
                  <a:cubicBezTo>
                    <a:pt x="468" y="188"/>
                    <a:pt x="468" y="188"/>
                    <a:pt x="468" y="188"/>
                  </a:cubicBezTo>
                  <a:cubicBezTo>
                    <a:pt x="461" y="202"/>
                    <a:pt x="461" y="202"/>
                    <a:pt x="461" y="202"/>
                  </a:cubicBezTo>
                  <a:cubicBezTo>
                    <a:pt x="461" y="202"/>
                    <a:pt x="451" y="202"/>
                    <a:pt x="443" y="202"/>
                  </a:cubicBezTo>
                  <a:cubicBezTo>
                    <a:pt x="435" y="202"/>
                    <a:pt x="428" y="212"/>
                    <a:pt x="419" y="204"/>
                  </a:cubicBezTo>
                  <a:cubicBezTo>
                    <a:pt x="409" y="196"/>
                    <a:pt x="421" y="170"/>
                    <a:pt x="421" y="170"/>
                  </a:cubicBezTo>
                  <a:cubicBezTo>
                    <a:pt x="411" y="168"/>
                    <a:pt x="411" y="168"/>
                    <a:pt x="411" y="168"/>
                  </a:cubicBezTo>
                  <a:cubicBezTo>
                    <a:pt x="411" y="168"/>
                    <a:pt x="409" y="155"/>
                    <a:pt x="405" y="154"/>
                  </a:cubicBezTo>
                  <a:cubicBezTo>
                    <a:pt x="403" y="162"/>
                    <a:pt x="379" y="147"/>
                    <a:pt x="379" y="147"/>
                  </a:cubicBezTo>
                  <a:cubicBezTo>
                    <a:pt x="377" y="122"/>
                    <a:pt x="377" y="122"/>
                    <a:pt x="377" y="122"/>
                  </a:cubicBezTo>
                  <a:cubicBezTo>
                    <a:pt x="364" y="115"/>
                    <a:pt x="364" y="115"/>
                    <a:pt x="364" y="115"/>
                  </a:cubicBezTo>
                  <a:cubicBezTo>
                    <a:pt x="365" y="103"/>
                    <a:pt x="365" y="103"/>
                    <a:pt x="365" y="103"/>
                  </a:cubicBezTo>
                  <a:cubicBezTo>
                    <a:pt x="356" y="100"/>
                    <a:pt x="356" y="100"/>
                    <a:pt x="356" y="100"/>
                  </a:cubicBezTo>
                  <a:cubicBezTo>
                    <a:pt x="341" y="88"/>
                    <a:pt x="341" y="88"/>
                    <a:pt x="341" y="88"/>
                  </a:cubicBezTo>
                  <a:cubicBezTo>
                    <a:pt x="343" y="78"/>
                    <a:pt x="343" y="78"/>
                    <a:pt x="343" y="78"/>
                  </a:cubicBezTo>
                  <a:cubicBezTo>
                    <a:pt x="333" y="74"/>
                    <a:pt x="333" y="74"/>
                    <a:pt x="333" y="74"/>
                  </a:cubicBezTo>
                  <a:cubicBezTo>
                    <a:pt x="344" y="59"/>
                    <a:pt x="344" y="59"/>
                    <a:pt x="344" y="59"/>
                  </a:cubicBezTo>
                  <a:cubicBezTo>
                    <a:pt x="337" y="52"/>
                    <a:pt x="337" y="52"/>
                    <a:pt x="337" y="52"/>
                  </a:cubicBezTo>
                  <a:cubicBezTo>
                    <a:pt x="339" y="28"/>
                    <a:pt x="339" y="28"/>
                    <a:pt x="339" y="28"/>
                  </a:cubicBezTo>
                  <a:cubicBezTo>
                    <a:pt x="331" y="23"/>
                    <a:pt x="331" y="23"/>
                    <a:pt x="331" y="23"/>
                  </a:cubicBezTo>
                  <a:cubicBezTo>
                    <a:pt x="335" y="14"/>
                    <a:pt x="335" y="14"/>
                    <a:pt x="335" y="14"/>
                  </a:cubicBezTo>
                  <a:cubicBezTo>
                    <a:pt x="320" y="0"/>
                    <a:pt x="320" y="0"/>
                    <a:pt x="320" y="0"/>
                  </a:cubicBezTo>
                  <a:cubicBezTo>
                    <a:pt x="312" y="3"/>
                    <a:pt x="312" y="3"/>
                    <a:pt x="312" y="3"/>
                  </a:cubicBezTo>
                  <a:cubicBezTo>
                    <a:pt x="312" y="3"/>
                    <a:pt x="313" y="10"/>
                    <a:pt x="312" y="15"/>
                  </a:cubicBezTo>
                  <a:cubicBezTo>
                    <a:pt x="311" y="20"/>
                    <a:pt x="292" y="28"/>
                    <a:pt x="292" y="28"/>
                  </a:cubicBezTo>
                  <a:cubicBezTo>
                    <a:pt x="292" y="28"/>
                    <a:pt x="293" y="40"/>
                    <a:pt x="287" y="51"/>
                  </a:cubicBezTo>
                  <a:cubicBezTo>
                    <a:pt x="280" y="62"/>
                    <a:pt x="236" y="47"/>
                    <a:pt x="236" y="47"/>
                  </a:cubicBezTo>
                  <a:cubicBezTo>
                    <a:pt x="235" y="58"/>
                    <a:pt x="235" y="58"/>
                    <a:pt x="235" y="58"/>
                  </a:cubicBezTo>
                  <a:cubicBezTo>
                    <a:pt x="235" y="58"/>
                    <a:pt x="227" y="58"/>
                    <a:pt x="225" y="54"/>
                  </a:cubicBezTo>
                  <a:cubicBezTo>
                    <a:pt x="203" y="76"/>
                    <a:pt x="195" y="64"/>
                    <a:pt x="191" y="64"/>
                  </a:cubicBezTo>
                  <a:cubicBezTo>
                    <a:pt x="187" y="74"/>
                    <a:pt x="182" y="78"/>
                    <a:pt x="176" y="79"/>
                  </a:cubicBezTo>
                  <a:cubicBezTo>
                    <a:pt x="177" y="98"/>
                    <a:pt x="177" y="98"/>
                    <a:pt x="177" y="98"/>
                  </a:cubicBezTo>
                  <a:cubicBezTo>
                    <a:pt x="177" y="98"/>
                    <a:pt x="205" y="126"/>
                    <a:pt x="205" y="13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0" name="Basse Normandie" descr="© INSCALE GmbH, 05.05.2010&#10;http://www.presentationload.com/">
              <a:extLst>
                <a:ext uri="{FF2B5EF4-FFF2-40B4-BE49-F238E27FC236}">
                  <a16:creationId xmlns:a16="http://schemas.microsoft.com/office/drawing/2014/main" id="{96C755B5-878D-43B1-9DB9-C3827DF7190E}"/>
                </a:ext>
              </a:extLst>
            </p:cNvPr>
            <p:cNvSpPr>
              <a:spLocks/>
            </p:cNvSpPr>
            <p:nvPr/>
          </p:nvSpPr>
          <p:spPr bwMode="gray">
            <a:xfrm>
              <a:off x="801" y="585"/>
              <a:ext cx="657" cy="573"/>
            </a:xfrm>
            <a:custGeom>
              <a:avLst/>
              <a:gdLst/>
              <a:ahLst/>
              <a:cxnLst>
                <a:cxn ang="0">
                  <a:pos x="197" y="413"/>
                </a:cxn>
                <a:cxn ang="0">
                  <a:pos x="245" y="437"/>
                </a:cxn>
                <a:cxn ang="0">
                  <a:pos x="265" y="435"/>
                </a:cxn>
                <a:cxn ang="0">
                  <a:pos x="315" y="422"/>
                </a:cxn>
                <a:cxn ang="0">
                  <a:pos x="336" y="415"/>
                </a:cxn>
                <a:cxn ang="0">
                  <a:pos x="348" y="405"/>
                </a:cxn>
                <a:cxn ang="0">
                  <a:pos x="373" y="439"/>
                </a:cxn>
                <a:cxn ang="0">
                  <a:pos x="395" y="465"/>
                </a:cxn>
                <a:cxn ang="0">
                  <a:pos x="485" y="481"/>
                </a:cxn>
                <a:cxn ang="0">
                  <a:pos x="512" y="513"/>
                </a:cxn>
                <a:cxn ang="0">
                  <a:pos x="561" y="531"/>
                </a:cxn>
                <a:cxn ang="0">
                  <a:pos x="573" y="522"/>
                </a:cxn>
                <a:cxn ang="0">
                  <a:pos x="597" y="467"/>
                </a:cxn>
                <a:cxn ang="0">
                  <a:pos x="601" y="439"/>
                </a:cxn>
                <a:cxn ang="0">
                  <a:pos x="577" y="393"/>
                </a:cxn>
                <a:cxn ang="0">
                  <a:pos x="563" y="374"/>
                </a:cxn>
                <a:cxn ang="0">
                  <a:pos x="536" y="325"/>
                </a:cxn>
                <a:cxn ang="0">
                  <a:pos x="496" y="303"/>
                </a:cxn>
                <a:cxn ang="0">
                  <a:pos x="496" y="259"/>
                </a:cxn>
                <a:cxn ang="0">
                  <a:pos x="495" y="246"/>
                </a:cxn>
                <a:cxn ang="0">
                  <a:pos x="491" y="218"/>
                </a:cxn>
                <a:cxn ang="0">
                  <a:pos x="477" y="186"/>
                </a:cxn>
                <a:cxn ang="0">
                  <a:pos x="463" y="93"/>
                </a:cxn>
                <a:cxn ang="0">
                  <a:pos x="357" y="137"/>
                </a:cxn>
                <a:cxn ang="0">
                  <a:pos x="239" y="114"/>
                </a:cxn>
                <a:cxn ang="0">
                  <a:pos x="168" y="123"/>
                </a:cxn>
                <a:cxn ang="0">
                  <a:pos x="157" y="102"/>
                </a:cxn>
                <a:cxn ang="0">
                  <a:pos x="130" y="51"/>
                </a:cxn>
                <a:cxn ang="0">
                  <a:pos x="140" y="11"/>
                </a:cxn>
                <a:cxn ang="0">
                  <a:pos x="91" y="21"/>
                </a:cxn>
                <a:cxn ang="0">
                  <a:pos x="1" y="0"/>
                </a:cxn>
                <a:cxn ang="0">
                  <a:pos x="16" y="23"/>
                </a:cxn>
                <a:cxn ang="0">
                  <a:pos x="22" y="85"/>
                </a:cxn>
                <a:cxn ang="0">
                  <a:pos x="66" y="158"/>
                </a:cxn>
                <a:cxn ang="0">
                  <a:pos x="73" y="216"/>
                </a:cxn>
                <a:cxn ang="0">
                  <a:pos x="78" y="239"/>
                </a:cxn>
                <a:cxn ang="0">
                  <a:pos x="69" y="294"/>
                </a:cxn>
                <a:cxn ang="0">
                  <a:pos x="83" y="331"/>
                </a:cxn>
                <a:cxn ang="0">
                  <a:pos x="58" y="332"/>
                </a:cxn>
                <a:cxn ang="0">
                  <a:pos x="136" y="402"/>
                </a:cxn>
              </a:cxnLst>
              <a:rect l="0" t="0" r="r" b="b"/>
              <a:pathLst>
                <a:path w="609" h="531">
                  <a:moveTo>
                    <a:pt x="136" y="402"/>
                  </a:moveTo>
                  <a:cubicBezTo>
                    <a:pt x="173" y="418"/>
                    <a:pt x="187" y="426"/>
                    <a:pt x="197" y="413"/>
                  </a:cubicBezTo>
                  <a:cubicBezTo>
                    <a:pt x="207" y="418"/>
                    <a:pt x="220" y="422"/>
                    <a:pt x="220" y="422"/>
                  </a:cubicBezTo>
                  <a:cubicBezTo>
                    <a:pt x="220" y="422"/>
                    <a:pt x="245" y="446"/>
                    <a:pt x="245" y="437"/>
                  </a:cubicBezTo>
                  <a:cubicBezTo>
                    <a:pt x="245" y="427"/>
                    <a:pt x="261" y="426"/>
                    <a:pt x="261" y="426"/>
                  </a:cubicBezTo>
                  <a:cubicBezTo>
                    <a:pt x="265" y="435"/>
                    <a:pt x="265" y="435"/>
                    <a:pt x="265" y="435"/>
                  </a:cubicBezTo>
                  <a:cubicBezTo>
                    <a:pt x="265" y="435"/>
                    <a:pt x="288" y="435"/>
                    <a:pt x="293" y="421"/>
                  </a:cubicBezTo>
                  <a:cubicBezTo>
                    <a:pt x="300" y="421"/>
                    <a:pt x="315" y="422"/>
                    <a:pt x="315" y="422"/>
                  </a:cubicBezTo>
                  <a:cubicBezTo>
                    <a:pt x="321" y="427"/>
                    <a:pt x="321" y="427"/>
                    <a:pt x="321" y="427"/>
                  </a:cubicBezTo>
                  <a:cubicBezTo>
                    <a:pt x="336" y="415"/>
                    <a:pt x="336" y="415"/>
                    <a:pt x="336" y="415"/>
                  </a:cubicBezTo>
                  <a:cubicBezTo>
                    <a:pt x="336" y="415"/>
                    <a:pt x="344" y="426"/>
                    <a:pt x="348" y="418"/>
                  </a:cubicBezTo>
                  <a:cubicBezTo>
                    <a:pt x="352" y="410"/>
                    <a:pt x="344" y="405"/>
                    <a:pt x="348" y="405"/>
                  </a:cubicBezTo>
                  <a:cubicBezTo>
                    <a:pt x="352" y="405"/>
                    <a:pt x="375" y="414"/>
                    <a:pt x="375" y="414"/>
                  </a:cubicBezTo>
                  <a:cubicBezTo>
                    <a:pt x="375" y="414"/>
                    <a:pt x="361" y="439"/>
                    <a:pt x="373" y="439"/>
                  </a:cubicBezTo>
                  <a:cubicBezTo>
                    <a:pt x="385" y="439"/>
                    <a:pt x="391" y="438"/>
                    <a:pt x="391" y="438"/>
                  </a:cubicBezTo>
                  <a:cubicBezTo>
                    <a:pt x="395" y="465"/>
                    <a:pt x="395" y="465"/>
                    <a:pt x="395" y="465"/>
                  </a:cubicBezTo>
                  <a:cubicBezTo>
                    <a:pt x="415" y="465"/>
                    <a:pt x="415" y="465"/>
                    <a:pt x="415" y="465"/>
                  </a:cubicBezTo>
                  <a:cubicBezTo>
                    <a:pt x="415" y="465"/>
                    <a:pt x="477" y="390"/>
                    <a:pt x="485" y="481"/>
                  </a:cubicBezTo>
                  <a:cubicBezTo>
                    <a:pt x="492" y="486"/>
                    <a:pt x="505" y="493"/>
                    <a:pt x="505" y="493"/>
                  </a:cubicBezTo>
                  <a:cubicBezTo>
                    <a:pt x="512" y="513"/>
                    <a:pt x="512" y="513"/>
                    <a:pt x="512" y="513"/>
                  </a:cubicBezTo>
                  <a:cubicBezTo>
                    <a:pt x="537" y="507"/>
                    <a:pt x="537" y="507"/>
                    <a:pt x="537" y="507"/>
                  </a:cubicBezTo>
                  <a:cubicBezTo>
                    <a:pt x="561" y="531"/>
                    <a:pt x="561" y="531"/>
                    <a:pt x="561" y="531"/>
                  </a:cubicBezTo>
                  <a:cubicBezTo>
                    <a:pt x="573" y="529"/>
                    <a:pt x="573" y="529"/>
                    <a:pt x="573" y="529"/>
                  </a:cubicBezTo>
                  <a:cubicBezTo>
                    <a:pt x="573" y="522"/>
                    <a:pt x="573" y="522"/>
                    <a:pt x="573" y="522"/>
                  </a:cubicBezTo>
                  <a:cubicBezTo>
                    <a:pt x="573" y="522"/>
                    <a:pt x="565" y="495"/>
                    <a:pt x="568" y="485"/>
                  </a:cubicBezTo>
                  <a:cubicBezTo>
                    <a:pt x="571" y="474"/>
                    <a:pt x="597" y="467"/>
                    <a:pt x="597" y="467"/>
                  </a:cubicBezTo>
                  <a:cubicBezTo>
                    <a:pt x="609" y="453"/>
                    <a:pt x="609" y="453"/>
                    <a:pt x="609" y="453"/>
                  </a:cubicBezTo>
                  <a:cubicBezTo>
                    <a:pt x="601" y="439"/>
                    <a:pt x="601" y="439"/>
                    <a:pt x="601" y="439"/>
                  </a:cubicBezTo>
                  <a:cubicBezTo>
                    <a:pt x="601" y="439"/>
                    <a:pt x="605" y="431"/>
                    <a:pt x="605" y="426"/>
                  </a:cubicBezTo>
                  <a:cubicBezTo>
                    <a:pt x="605" y="421"/>
                    <a:pt x="577" y="393"/>
                    <a:pt x="577" y="393"/>
                  </a:cubicBezTo>
                  <a:cubicBezTo>
                    <a:pt x="576" y="374"/>
                    <a:pt x="576" y="374"/>
                    <a:pt x="576" y="374"/>
                  </a:cubicBezTo>
                  <a:cubicBezTo>
                    <a:pt x="569" y="376"/>
                    <a:pt x="563" y="374"/>
                    <a:pt x="563" y="374"/>
                  </a:cubicBezTo>
                  <a:cubicBezTo>
                    <a:pt x="563" y="374"/>
                    <a:pt x="556" y="363"/>
                    <a:pt x="560" y="363"/>
                  </a:cubicBezTo>
                  <a:cubicBezTo>
                    <a:pt x="581" y="349"/>
                    <a:pt x="536" y="325"/>
                    <a:pt x="536" y="325"/>
                  </a:cubicBezTo>
                  <a:cubicBezTo>
                    <a:pt x="529" y="305"/>
                    <a:pt x="529" y="305"/>
                    <a:pt x="529" y="305"/>
                  </a:cubicBezTo>
                  <a:cubicBezTo>
                    <a:pt x="496" y="303"/>
                    <a:pt x="496" y="303"/>
                    <a:pt x="496" y="303"/>
                  </a:cubicBezTo>
                  <a:cubicBezTo>
                    <a:pt x="496" y="303"/>
                    <a:pt x="483" y="299"/>
                    <a:pt x="489" y="294"/>
                  </a:cubicBezTo>
                  <a:cubicBezTo>
                    <a:pt x="496" y="289"/>
                    <a:pt x="496" y="259"/>
                    <a:pt x="496" y="259"/>
                  </a:cubicBezTo>
                  <a:cubicBezTo>
                    <a:pt x="487" y="247"/>
                    <a:pt x="487" y="247"/>
                    <a:pt x="487" y="247"/>
                  </a:cubicBezTo>
                  <a:cubicBezTo>
                    <a:pt x="495" y="246"/>
                    <a:pt x="495" y="246"/>
                    <a:pt x="495" y="246"/>
                  </a:cubicBezTo>
                  <a:cubicBezTo>
                    <a:pt x="496" y="226"/>
                    <a:pt x="496" y="226"/>
                    <a:pt x="496" y="226"/>
                  </a:cubicBezTo>
                  <a:cubicBezTo>
                    <a:pt x="491" y="218"/>
                    <a:pt x="491" y="218"/>
                    <a:pt x="491" y="218"/>
                  </a:cubicBezTo>
                  <a:cubicBezTo>
                    <a:pt x="491" y="203"/>
                    <a:pt x="491" y="203"/>
                    <a:pt x="491" y="203"/>
                  </a:cubicBezTo>
                  <a:cubicBezTo>
                    <a:pt x="491" y="203"/>
                    <a:pt x="475" y="193"/>
                    <a:pt x="477" y="186"/>
                  </a:cubicBezTo>
                  <a:cubicBezTo>
                    <a:pt x="508" y="175"/>
                    <a:pt x="476" y="178"/>
                    <a:pt x="476" y="178"/>
                  </a:cubicBezTo>
                  <a:cubicBezTo>
                    <a:pt x="463" y="93"/>
                    <a:pt x="463" y="93"/>
                    <a:pt x="463" y="93"/>
                  </a:cubicBezTo>
                  <a:cubicBezTo>
                    <a:pt x="458" y="95"/>
                    <a:pt x="436" y="105"/>
                    <a:pt x="435" y="102"/>
                  </a:cubicBezTo>
                  <a:cubicBezTo>
                    <a:pt x="418" y="138"/>
                    <a:pt x="357" y="137"/>
                    <a:pt x="357" y="137"/>
                  </a:cubicBezTo>
                  <a:cubicBezTo>
                    <a:pt x="325" y="122"/>
                    <a:pt x="325" y="122"/>
                    <a:pt x="325" y="122"/>
                  </a:cubicBezTo>
                  <a:cubicBezTo>
                    <a:pt x="325" y="122"/>
                    <a:pt x="286" y="117"/>
                    <a:pt x="239" y="114"/>
                  </a:cubicBezTo>
                  <a:cubicBezTo>
                    <a:pt x="194" y="93"/>
                    <a:pt x="170" y="107"/>
                    <a:pt x="170" y="107"/>
                  </a:cubicBezTo>
                  <a:cubicBezTo>
                    <a:pt x="168" y="123"/>
                    <a:pt x="168" y="123"/>
                    <a:pt x="168" y="123"/>
                  </a:cubicBezTo>
                  <a:cubicBezTo>
                    <a:pt x="160" y="116"/>
                    <a:pt x="160" y="116"/>
                    <a:pt x="160" y="116"/>
                  </a:cubicBezTo>
                  <a:cubicBezTo>
                    <a:pt x="160" y="116"/>
                    <a:pt x="150" y="108"/>
                    <a:pt x="157" y="102"/>
                  </a:cubicBezTo>
                  <a:cubicBezTo>
                    <a:pt x="164" y="96"/>
                    <a:pt x="152" y="88"/>
                    <a:pt x="152" y="88"/>
                  </a:cubicBezTo>
                  <a:cubicBezTo>
                    <a:pt x="130" y="51"/>
                    <a:pt x="130" y="51"/>
                    <a:pt x="130" y="51"/>
                  </a:cubicBezTo>
                  <a:cubicBezTo>
                    <a:pt x="150" y="35"/>
                    <a:pt x="150" y="35"/>
                    <a:pt x="150" y="35"/>
                  </a:cubicBezTo>
                  <a:cubicBezTo>
                    <a:pt x="140" y="11"/>
                    <a:pt x="140" y="11"/>
                    <a:pt x="140" y="11"/>
                  </a:cubicBezTo>
                  <a:cubicBezTo>
                    <a:pt x="104" y="7"/>
                    <a:pt x="104" y="7"/>
                    <a:pt x="104" y="7"/>
                  </a:cubicBezTo>
                  <a:cubicBezTo>
                    <a:pt x="91" y="21"/>
                    <a:pt x="91" y="21"/>
                    <a:pt x="91" y="21"/>
                  </a:cubicBezTo>
                  <a:cubicBezTo>
                    <a:pt x="91" y="21"/>
                    <a:pt x="82" y="30"/>
                    <a:pt x="59" y="24"/>
                  </a:cubicBezTo>
                  <a:cubicBezTo>
                    <a:pt x="36" y="18"/>
                    <a:pt x="1" y="0"/>
                    <a:pt x="1" y="0"/>
                  </a:cubicBezTo>
                  <a:cubicBezTo>
                    <a:pt x="0" y="16"/>
                    <a:pt x="0" y="16"/>
                    <a:pt x="0" y="16"/>
                  </a:cubicBezTo>
                  <a:cubicBezTo>
                    <a:pt x="0" y="16"/>
                    <a:pt x="4" y="16"/>
                    <a:pt x="16" y="23"/>
                  </a:cubicBezTo>
                  <a:cubicBezTo>
                    <a:pt x="28" y="30"/>
                    <a:pt x="12" y="63"/>
                    <a:pt x="12" y="63"/>
                  </a:cubicBezTo>
                  <a:cubicBezTo>
                    <a:pt x="12" y="63"/>
                    <a:pt x="21" y="81"/>
                    <a:pt x="22" y="85"/>
                  </a:cubicBezTo>
                  <a:cubicBezTo>
                    <a:pt x="22" y="112"/>
                    <a:pt x="34" y="108"/>
                    <a:pt x="34" y="108"/>
                  </a:cubicBezTo>
                  <a:cubicBezTo>
                    <a:pt x="66" y="158"/>
                    <a:pt x="66" y="158"/>
                    <a:pt x="66" y="158"/>
                  </a:cubicBezTo>
                  <a:cubicBezTo>
                    <a:pt x="65" y="214"/>
                    <a:pt x="65" y="214"/>
                    <a:pt x="65" y="214"/>
                  </a:cubicBezTo>
                  <a:cubicBezTo>
                    <a:pt x="73" y="216"/>
                    <a:pt x="73" y="216"/>
                    <a:pt x="73" y="216"/>
                  </a:cubicBezTo>
                  <a:cubicBezTo>
                    <a:pt x="69" y="232"/>
                    <a:pt x="69" y="232"/>
                    <a:pt x="69" y="232"/>
                  </a:cubicBezTo>
                  <a:cubicBezTo>
                    <a:pt x="78" y="239"/>
                    <a:pt x="78" y="239"/>
                    <a:pt x="78" y="239"/>
                  </a:cubicBezTo>
                  <a:cubicBezTo>
                    <a:pt x="70" y="245"/>
                    <a:pt x="70" y="245"/>
                    <a:pt x="70" y="245"/>
                  </a:cubicBezTo>
                  <a:cubicBezTo>
                    <a:pt x="70" y="245"/>
                    <a:pt x="66" y="280"/>
                    <a:pt x="69" y="294"/>
                  </a:cubicBezTo>
                  <a:cubicBezTo>
                    <a:pt x="71" y="315"/>
                    <a:pt x="108" y="326"/>
                    <a:pt x="108" y="326"/>
                  </a:cubicBezTo>
                  <a:cubicBezTo>
                    <a:pt x="83" y="331"/>
                    <a:pt x="83" y="331"/>
                    <a:pt x="83" y="331"/>
                  </a:cubicBezTo>
                  <a:cubicBezTo>
                    <a:pt x="83" y="331"/>
                    <a:pt x="75" y="328"/>
                    <a:pt x="68" y="329"/>
                  </a:cubicBezTo>
                  <a:cubicBezTo>
                    <a:pt x="66" y="330"/>
                    <a:pt x="62" y="331"/>
                    <a:pt x="58" y="332"/>
                  </a:cubicBezTo>
                  <a:cubicBezTo>
                    <a:pt x="77" y="377"/>
                    <a:pt x="77" y="377"/>
                    <a:pt x="77" y="377"/>
                  </a:cubicBezTo>
                  <a:cubicBezTo>
                    <a:pt x="77" y="377"/>
                    <a:pt x="87" y="470"/>
                    <a:pt x="136" y="402"/>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1" name="Bretagne" descr="© INSCALE GmbH, 05.05.2010&#10;http://www.presentationload.com/">
              <a:extLst>
                <a:ext uri="{FF2B5EF4-FFF2-40B4-BE49-F238E27FC236}">
                  <a16:creationId xmlns:a16="http://schemas.microsoft.com/office/drawing/2014/main" id="{F823883D-B803-4C7E-982B-A6EA279E0036}"/>
                </a:ext>
              </a:extLst>
            </p:cNvPr>
            <p:cNvSpPr>
              <a:spLocks noEditPoints="1"/>
            </p:cNvSpPr>
            <p:nvPr/>
          </p:nvSpPr>
          <p:spPr bwMode="gray">
            <a:xfrm>
              <a:off x="48" y="857"/>
              <a:ext cx="953" cy="536"/>
            </a:xfrm>
            <a:custGeom>
              <a:avLst/>
              <a:gdLst/>
              <a:ahLst/>
              <a:cxnLst>
                <a:cxn ang="0">
                  <a:pos x="459" y="18"/>
                </a:cxn>
                <a:cxn ang="0">
                  <a:pos x="5" y="133"/>
                </a:cxn>
                <a:cxn ang="0">
                  <a:pos x="355" y="388"/>
                </a:cxn>
                <a:cxn ang="0">
                  <a:pos x="355" y="388"/>
                </a:cxn>
                <a:cxn ang="0">
                  <a:pos x="394" y="465"/>
                </a:cxn>
                <a:cxn ang="0">
                  <a:pos x="422" y="494"/>
                </a:cxn>
                <a:cxn ang="0">
                  <a:pos x="413" y="479"/>
                </a:cxn>
                <a:cxn ang="0">
                  <a:pos x="448" y="462"/>
                </a:cxn>
                <a:cxn ang="0">
                  <a:pos x="467" y="479"/>
                </a:cxn>
                <a:cxn ang="0">
                  <a:pos x="55" y="259"/>
                </a:cxn>
                <a:cxn ang="0">
                  <a:pos x="36" y="144"/>
                </a:cxn>
                <a:cxn ang="0">
                  <a:pos x="56" y="163"/>
                </a:cxn>
                <a:cxn ang="0">
                  <a:pos x="246" y="42"/>
                </a:cxn>
                <a:cxn ang="0">
                  <a:pos x="874" y="165"/>
                </a:cxn>
                <a:cxn ang="0">
                  <a:pos x="757" y="79"/>
                </a:cxn>
                <a:cxn ang="0">
                  <a:pos x="705" y="58"/>
                </a:cxn>
                <a:cxn ang="0">
                  <a:pos x="628" y="92"/>
                </a:cxn>
                <a:cxn ang="0">
                  <a:pos x="606" y="63"/>
                </a:cxn>
                <a:cxn ang="0">
                  <a:pos x="570" y="80"/>
                </a:cxn>
                <a:cxn ang="0">
                  <a:pos x="526" y="116"/>
                </a:cxn>
                <a:cxn ang="0">
                  <a:pos x="496" y="71"/>
                </a:cxn>
                <a:cxn ang="0">
                  <a:pos x="458" y="31"/>
                </a:cxn>
                <a:cxn ang="0">
                  <a:pos x="446" y="0"/>
                </a:cxn>
                <a:cxn ang="0">
                  <a:pos x="401" y="13"/>
                </a:cxn>
                <a:cxn ang="0">
                  <a:pos x="347" y="22"/>
                </a:cxn>
                <a:cxn ang="0">
                  <a:pos x="333" y="59"/>
                </a:cxn>
                <a:cxn ang="0">
                  <a:pos x="268" y="58"/>
                </a:cxn>
                <a:cxn ang="0">
                  <a:pos x="237" y="58"/>
                </a:cxn>
                <a:cxn ang="0">
                  <a:pos x="186" y="70"/>
                </a:cxn>
                <a:cxn ang="0">
                  <a:pos x="147" y="76"/>
                </a:cxn>
                <a:cxn ang="0">
                  <a:pos x="115" y="80"/>
                </a:cxn>
                <a:cxn ang="0">
                  <a:pos x="84" y="106"/>
                </a:cxn>
                <a:cxn ang="0">
                  <a:pos x="79" y="148"/>
                </a:cxn>
                <a:cxn ang="0">
                  <a:pos x="98" y="154"/>
                </a:cxn>
                <a:cxn ang="0">
                  <a:pos x="156" y="145"/>
                </a:cxn>
                <a:cxn ang="0">
                  <a:pos x="172" y="160"/>
                </a:cxn>
                <a:cxn ang="0">
                  <a:pos x="155" y="185"/>
                </a:cxn>
                <a:cxn ang="0">
                  <a:pos x="122" y="172"/>
                </a:cxn>
                <a:cxn ang="0">
                  <a:pos x="125" y="211"/>
                </a:cxn>
                <a:cxn ang="0">
                  <a:pos x="171" y="237"/>
                </a:cxn>
                <a:cxn ang="0">
                  <a:pos x="156" y="329"/>
                </a:cxn>
                <a:cxn ang="0">
                  <a:pos x="235" y="316"/>
                </a:cxn>
                <a:cxn ang="0">
                  <a:pos x="294" y="333"/>
                </a:cxn>
                <a:cxn ang="0">
                  <a:pos x="384" y="364"/>
                </a:cxn>
                <a:cxn ang="0">
                  <a:pos x="414" y="432"/>
                </a:cxn>
                <a:cxn ang="0">
                  <a:pos x="425" y="403"/>
                </a:cxn>
                <a:cxn ang="0">
                  <a:pos x="460" y="391"/>
                </a:cxn>
                <a:cxn ang="0">
                  <a:pos x="522" y="390"/>
                </a:cxn>
                <a:cxn ang="0">
                  <a:pos x="462" y="407"/>
                </a:cxn>
                <a:cxn ang="0">
                  <a:pos x="513" y="428"/>
                </a:cxn>
                <a:cxn ang="0">
                  <a:pos x="555" y="424"/>
                </a:cxn>
                <a:cxn ang="0">
                  <a:pos x="566" y="454"/>
                </a:cxn>
                <a:cxn ang="0">
                  <a:pos x="554" y="487"/>
                </a:cxn>
                <a:cxn ang="0">
                  <a:pos x="595" y="481"/>
                </a:cxn>
                <a:cxn ang="0">
                  <a:pos x="666" y="409"/>
                </a:cxn>
                <a:cxn ang="0">
                  <a:pos x="752" y="389"/>
                </a:cxn>
                <a:cxn ang="0">
                  <a:pos x="796" y="377"/>
                </a:cxn>
                <a:cxn ang="0">
                  <a:pos x="838" y="366"/>
                </a:cxn>
                <a:cxn ang="0">
                  <a:pos x="879" y="220"/>
                </a:cxn>
              </a:cxnLst>
              <a:rect l="0" t="0" r="r" b="b"/>
              <a:pathLst>
                <a:path w="884" h="496">
                  <a:moveTo>
                    <a:pt x="459" y="18"/>
                  </a:moveTo>
                  <a:cubicBezTo>
                    <a:pt x="460" y="17"/>
                    <a:pt x="460" y="17"/>
                    <a:pt x="460" y="15"/>
                  </a:cubicBezTo>
                  <a:cubicBezTo>
                    <a:pt x="460" y="12"/>
                    <a:pt x="459" y="14"/>
                    <a:pt x="459" y="18"/>
                  </a:cubicBezTo>
                  <a:close/>
                  <a:moveTo>
                    <a:pt x="17" y="117"/>
                  </a:moveTo>
                  <a:cubicBezTo>
                    <a:pt x="11" y="117"/>
                    <a:pt x="0" y="125"/>
                    <a:pt x="0" y="125"/>
                  </a:cubicBezTo>
                  <a:cubicBezTo>
                    <a:pt x="5" y="133"/>
                    <a:pt x="5" y="133"/>
                    <a:pt x="5" y="133"/>
                  </a:cubicBezTo>
                  <a:cubicBezTo>
                    <a:pt x="21" y="123"/>
                    <a:pt x="21" y="123"/>
                    <a:pt x="21" y="123"/>
                  </a:cubicBezTo>
                  <a:cubicBezTo>
                    <a:pt x="21" y="123"/>
                    <a:pt x="23" y="117"/>
                    <a:pt x="17" y="117"/>
                  </a:cubicBezTo>
                  <a:close/>
                  <a:moveTo>
                    <a:pt x="355" y="388"/>
                  </a:moveTo>
                  <a:cubicBezTo>
                    <a:pt x="346" y="382"/>
                    <a:pt x="339" y="378"/>
                    <a:pt x="339" y="378"/>
                  </a:cubicBezTo>
                  <a:cubicBezTo>
                    <a:pt x="339" y="378"/>
                    <a:pt x="333" y="390"/>
                    <a:pt x="344" y="389"/>
                  </a:cubicBezTo>
                  <a:cubicBezTo>
                    <a:pt x="355" y="388"/>
                    <a:pt x="364" y="394"/>
                    <a:pt x="355" y="388"/>
                  </a:cubicBezTo>
                  <a:close/>
                  <a:moveTo>
                    <a:pt x="413" y="479"/>
                  </a:moveTo>
                  <a:cubicBezTo>
                    <a:pt x="409" y="469"/>
                    <a:pt x="409" y="469"/>
                    <a:pt x="409" y="469"/>
                  </a:cubicBezTo>
                  <a:cubicBezTo>
                    <a:pt x="394" y="465"/>
                    <a:pt x="394" y="465"/>
                    <a:pt x="394" y="465"/>
                  </a:cubicBezTo>
                  <a:cubicBezTo>
                    <a:pt x="384" y="466"/>
                    <a:pt x="393" y="490"/>
                    <a:pt x="393" y="490"/>
                  </a:cubicBezTo>
                  <a:cubicBezTo>
                    <a:pt x="413" y="490"/>
                    <a:pt x="413" y="490"/>
                    <a:pt x="413" y="490"/>
                  </a:cubicBezTo>
                  <a:cubicBezTo>
                    <a:pt x="422" y="494"/>
                    <a:pt x="422" y="494"/>
                    <a:pt x="422" y="494"/>
                  </a:cubicBezTo>
                  <a:cubicBezTo>
                    <a:pt x="427" y="485"/>
                    <a:pt x="427" y="485"/>
                    <a:pt x="427" y="485"/>
                  </a:cubicBezTo>
                  <a:cubicBezTo>
                    <a:pt x="425" y="480"/>
                    <a:pt x="425" y="480"/>
                    <a:pt x="425" y="480"/>
                  </a:cubicBezTo>
                  <a:lnTo>
                    <a:pt x="413" y="479"/>
                  </a:lnTo>
                  <a:close/>
                  <a:moveTo>
                    <a:pt x="448" y="462"/>
                  </a:moveTo>
                  <a:cubicBezTo>
                    <a:pt x="448" y="462"/>
                    <a:pt x="454" y="467"/>
                    <a:pt x="454" y="465"/>
                  </a:cubicBezTo>
                  <a:cubicBezTo>
                    <a:pt x="454" y="462"/>
                    <a:pt x="454" y="462"/>
                    <a:pt x="448" y="462"/>
                  </a:cubicBezTo>
                  <a:close/>
                  <a:moveTo>
                    <a:pt x="467" y="479"/>
                  </a:moveTo>
                  <a:cubicBezTo>
                    <a:pt x="467" y="479"/>
                    <a:pt x="473" y="479"/>
                    <a:pt x="473" y="476"/>
                  </a:cubicBezTo>
                  <a:cubicBezTo>
                    <a:pt x="473" y="473"/>
                    <a:pt x="467" y="479"/>
                    <a:pt x="467" y="479"/>
                  </a:cubicBezTo>
                  <a:close/>
                  <a:moveTo>
                    <a:pt x="55" y="259"/>
                  </a:moveTo>
                  <a:cubicBezTo>
                    <a:pt x="58" y="258"/>
                    <a:pt x="53" y="251"/>
                    <a:pt x="53" y="251"/>
                  </a:cubicBezTo>
                  <a:cubicBezTo>
                    <a:pt x="53" y="251"/>
                    <a:pt x="52" y="260"/>
                    <a:pt x="55" y="259"/>
                  </a:cubicBezTo>
                  <a:close/>
                  <a:moveTo>
                    <a:pt x="36" y="144"/>
                  </a:moveTo>
                  <a:cubicBezTo>
                    <a:pt x="41" y="150"/>
                    <a:pt x="40" y="142"/>
                    <a:pt x="40" y="142"/>
                  </a:cubicBezTo>
                  <a:cubicBezTo>
                    <a:pt x="40" y="142"/>
                    <a:pt x="31" y="139"/>
                    <a:pt x="36" y="144"/>
                  </a:cubicBezTo>
                  <a:close/>
                  <a:moveTo>
                    <a:pt x="56" y="163"/>
                  </a:moveTo>
                  <a:cubicBezTo>
                    <a:pt x="56" y="163"/>
                    <a:pt x="64" y="161"/>
                    <a:pt x="59" y="156"/>
                  </a:cubicBezTo>
                  <a:cubicBezTo>
                    <a:pt x="54" y="152"/>
                    <a:pt x="56" y="163"/>
                    <a:pt x="56" y="163"/>
                  </a:cubicBezTo>
                  <a:close/>
                  <a:moveTo>
                    <a:pt x="247" y="36"/>
                  </a:moveTo>
                  <a:cubicBezTo>
                    <a:pt x="242" y="39"/>
                    <a:pt x="242" y="39"/>
                    <a:pt x="242" y="39"/>
                  </a:cubicBezTo>
                  <a:cubicBezTo>
                    <a:pt x="246" y="42"/>
                    <a:pt x="246" y="42"/>
                    <a:pt x="246" y="42"/>
                  </a:cubicBezTo>
                  <a:lnTo>
                    <a:pt x="247" y="36"/>
                  </a:lnTo>
                  <a:close/>
                  <a:moveTo>
                    <a:pt x="872" y="188"/>
                  </a:moveTo>
                  <a:cubicBezTo>
                    <a:pt x="874" y="165"/>
                    <a:pt x="874" y="165"/>
                    <a:pt x="874" y="165"/>
                  </a:cubicBezTo>
                  <a:cubicBezTo>
                    <a:pt x="865" y="163"/>
                    <a:pt x="853" y="157"/>
                    <a:pt x="835" y="149"/>
                  </a:cubicBezTo>
                  <a:cubicBezTo>
                    <a:pt x="786" y="217"/>
                    <a:pt x="776" y="124"/>
                    <a:pt x="776" y="124"/>
                  </a:cubicBezTo>
                  <a:cubicBezTo>
                    <a:pt x="757" y="79"/>
                    <a:pt x="757" y="79"/>
                    <a:pt x="757" y="79"/>
                  </a:cubicBezTo>
                  <a:cubicBezTo>
                    <a:pt x="750" y="81"/>
                    <a:pt x="742" y="83"/>
                    <a:pt x="742" y="83"/>
                  </a:cubicBezTo>
                  <a:cubicBezTo>
                    <a:pt x="742" y="83"/>
                    <a:pt x="722" y="85"/>
                    <a:pt x="710" y="84"/>
                  </a:cubicBezTo>
                  <a:cubicBezTo>
                    <a:pt x="698" y="83"/>
                    <a:pt x="705" y="58"/>
                    <a:pt x="705" y="58"/>
                  </a:cubicBezTo>
                  <a:cubicBezTo>
                    <a:pt x="692" y="58"/>
                    <a:pt x="664" y="78"/>
                    <a:pt x="664" y="78"/>
                  </a:cubicBezTo>
                  <a:cubicBezTo>
                    <a:pt x="647" y="76"/>
                    <a:pt x="647" y="76"/>
                    <a:pt x="647" y="76"/>
                  </a:cubicBezTo>
                  <a:cubicBezTo>
                    <a:pt x="647" y="76"/>
                    <a:pt x="636" y="91"/>
                    <a:pt x="628" y="92"/>
                  </a:cubicBezTo>
                  <a:cubicBezTo>
                    <a:pt x="620" y="93"/>
                    <a:pt x="616" y="75"/>
                    <a:pt x="616" y="75"/>
                  </a:cubicBezTo>
                  <a:cubicBezTo>
                    <a:pt x="601" y="80"/>
                    <a:pt x="601" y="80"/>
                    <a:pt x="601" y="80"/>
                  </a:cubicBezTo>
                  <a:cubicBezTo>
                    <a:pt x="601" y="80"/>
                    <a:pt x="609" y="67"/>
                    <a:pt x="606" y="63"/>
                  </a:cubicBezTo>
                  <a:cubicBezTo>
                    <a:pt x="603" y="59"/>
                    <a:pt x="584" y="75"/>
                    <a:pt x="584" y="75"/>
                  </a:cubicBezTo>
                  <a:cubicBezTo>
                    <a:pt x="571" y="72"/>
                    <a:pt x="571" y="72"/>
                    <a:pt x="571" y="72"/>
                  </a:cubicBezTo>
                  <a:cubicBezTo>
                    <a:pt x="570" y="80"/>
                    <a:pt x="570" y="80"/>
                    <a:pt x="570" y="80"/>
                  </a:cubicBezTo>
                  <a:cubicBezTo>
                    <a:pt x="533" y="109"/>
                    <a:pt x="533" y="109"/>
                    <a:pt x="533" y="109"/>
                  </a:cubicBezTo>
                  <a:cubicBezTo>
                    <a:pt x="529" y="106"/>
                    <a:pt x="529" y="106"/>
                    <a:pt x="529" y="106"/>
                  </a:cubicBezTo>
                  <a:cubicBezTo>
                    <a:pt x="526" y="116"/>
                    <a:pt x="526" y="116"/>
                    <a:pt x="526" y="116"/>
                  </a:cubicBezTo>
                  <a:cubicBezTo>
                    <a:pt x="516" y="96"/>
                    <a:pt x="516" y="96"/>
                    <a:pt x="516" y="96"/>
                  </a:cubicBezTo>
                  <a:cubicBezTo>
                    <a:pt x="499" y="88"/>
                    <a:pt x="499" y="88"/>
                    <a:pt x="499" y="88"/>
                  </a:cubicBezTo>
                  <a:cubicBezTo>
                    <a:pt x="496" y="71"/>
                    <a:pt x="496" y="71"/>
                    <a:pt x="496" y="71"/>
                  </a:cubicBezTo>
                  <a:cubicBezTo>
                    <a:pt x="473" y="49"/>
                    <a:pt x="473" y="49"/>
                    <a:pt x="473" y="49"/>
                  </a:cubicBezTo>
                  <a:cubicBezTo>
                    <a:pt x="473" y="36"/>
                    <a:pt x="473" y="36"/>
                    <a:pt x="473" y="36"/>
                  </a:cubicBezTo>
                  <a:cubicBezTo>
                    <a:pt x="473" y="36"/>
                    <a:pt x="459" y="35"/>
                    <a:pt x="458" y="31"/>
                  </a:cubicBezTo>
                  <a:cubicBezTo>
                    <a:pt x="457" y="29"/>
                    <a:pt x="458" y="22"/>
                    <a:pt x="459" y="18"/>
                  </a:cubicBezTo>
                  <a:cubicBezTo>
                    <a:pt x="455" y="21"/>
                    <a:pt x="444" y="18"/>
                    <a:pt x="444" y="18"/>
                  </a:cubicBezTo>
                  <a:cubicBezTo>
                    <a:pt x="446" y="0"/>
                    <a:pt x="446" y="0"/>
                    <a:pt x="446" y="0"/>
                  </a:cubicBezTo>
                  <a:cubicBezTo>
                    <a:pt x="426" y="10"/>
                    <a:pt x="426" y="10"/>
                    <a:pt x="426" y="10"/>
                  </a:cubicBezTo>
                  <a:cubicBezTo>
                    <a:pt x="415" y="4"/>
                    <a:pt x="415" y="4"/>
                    <a:pt x="415" y="4"/>
                  </a:cubicBezTo>
                  <a:cubicBezTo>
                    <a:pt x="415" y="4"/>
                    <a:pt x="411" y="10"/>
                    <a:pt x="401" y="13"/>
                  </a:cubicBezTo>
                  <a:cubicBezTo>
                    <a:pt x="387" y="15"/>
                    <a:pt x="372" y="26"/>
                    <a:pt x="372" y="26"/>
                  </a:cubicBezTo>
                  <a:cubicBezTo>
                    <a:pt x="371" y="19"/>
                    <a:pt x="356" y="12"/>
                    <a:pt x="351" y="12"/>
                  </a:cubicBezTo>
                  <a:cubicBezTo>
                    <a:pt x="346" y="12"/>
                    <a:pt x="347" y="22"/>
                    <a:pt x="347" y="22"/>
                  </a:cubicBezTo>
                  <a:cubicBezTo>
                    <a:pt x="341" y="25"/>
                    <a:pt x="341" y="25"/>
                    <a:pt x="341" y="25"/>
                  </a:cubicBezTo>
                  <a:cubicBezTo>
                    <a:pt x="347" y="40"/>
                    <a:pt x="347" y="40"/>
                    <a:pt x="347" y="40"/>
                  </a:cubicBezTo>
                  <a:cubicBezTo>
                    <a:pt x="347" y="40"/>
                    <a:pt x="336" y="60"/>
                    <a:pt x="333" y="59"/>
                  </a:cubicBezTo>
                  <a:cubicBezTo>
                    <a:pt x="300" y="51"/>
                    <a:pt x="285" y="50"/>
                    <a:pt x="282" y="56"/>
                  </a:cubicBezTo>
                  <a:cubicBezTo>
                    <a:pt x="279" y="62"/>
                    <a:pt x="280" y="72"/>
                    <a:pt x="277" y="72"/>
                  </a:cubicBezTo>
                  <a:cubicBezTo>
                    <a:pt x="274" y="72"/>
                    <a:pt x="268" y="58"/>
                    <a:pt x="268" y="58"/>
                  </a:cubicBezTo>
                  <a:cubicBezTo>
                    <a:pt x="258" y="63"/>
                    <a:pt x="258" y="63"/>
                    <a:pt x="258" y="63"/>
                  </a:cubicBezTo>
                  <a:cubicBezTo>
                    <a:pt x="258" y="63"/>
                    <a:pt x="251" y="44"/>
                    <a:pt x="245" y="47"/>
                  </a:cubicBezTo>
                  <a:cubicBezTo>
                    <a:pt x="239" y="50"/>
                    <a:pt x="237" y="58"/>
                    <a:pt x="237" y="58"/>
                  </a:cubicBezTo>
                  <a:cubicBezTo>
                    <a:pt x="237" y="58"/>
                    <a:pt x="226" y="55"/>
                    <a:pt x="217" y="54"/>
                  </a:cubicBezTo>
                  <a:cubicBezTo>
                    <a:pt x="208" y="53"/>
                    <a:pt x="200" y="64"/>
                    <a:pt x="200" y="64"/>
                  </a:cubicBezTo>
                  <a:cubicBezTo>
                    <a:pt x="186" y="70"/>
                    <a:pt x="186" y="70"/>
                    <a:pt x="186" y="70"/>
                  </a:cubicBezTo>
                  <a:cubicBezTo>
                    <a:pt x="173" y="60"/>
                    <a:pt x="173" y="60"/>
                    <a:pt x="173" y="60"/>
                  </a:cubicBezTo>
                  <a:cubicBezTo>
                    <a:pt x="173" y="60"/>
                    <a:pt x="168" y="65"/>
                    <a:pt x="161" y="69"/>
                  </a:cubicBezTo>
                  <a:cubicBezTo>
                    <a:pt x="154" y="73"/>
                    <a:pt x="147" y="76"/>
                    <a:pt x="147" y="76"/>
                  </a:cubicBezTo>
                  <a:cubicBezTo>
                    <a:pt x="147" y="76"/>
                    <a:pt x="131" y="70"/>
                    <a:pt x="126" y="70"/>
                  </a:cubicBezTo>
                  <a:cubicBezTo>
                    <a:pt x="121" y="70"/>
                    <a:pt x="134" y="84"/>
                    <a:pt x="134" y="84"/>
                  </a:cubicBezTo>
                  <a:cubicBezTo>
                    <a:pt x="115" y="80"/>
                    <a:pt x="115" y="80"/>
                    <a:pt x="115" y="80"/>
                  </a:cubicBezTo>
                  <a:cubicBezTo>
                    <a:pt x="115" y="85"/>
                    <a:pt x="115" y="85"/>
                    <a:pt x="115" y="85"/>
                  </a:cubicBezTo>
                  <a:cubicBezTo>
                    <a:pt x="105" y="87"/>
                    <a:pt x="105" y="87"/>
                    <a:pt x="105" y="87"/>
                  </a:cubicBezTo>
                  <a:cubicBezTo>
                    <a:pt x="105" y="87"/>
                    <a:pt x="96" y="98"/>
                    <a:pt x="84" y="106"/>
                  </a:cubicBezTo>
                  <a:cubicBezTo>
                    <a:pt x="72" y="114"/>
                    <a:pt x="86" y="121"/>
                    <a:pt x="86" y="121"/>
                  </a:cubicBezTo>
                  <a:cubicBezTo>
                    <a:pt x="86" y="121"/>
                    <a:pt x="76" y="131"/>
                    <a:pt x="75" y="139"/>
                  </a:cubicBezTo>
                  <a:cubicBezTo>
                    <a:pt x="74" y="147"/>
                    <a:pt x="79" y="148"/>
                    <a:pt x="79" y="148"/>
                  </a:cubicBezTo>
                  <a:cubicBezTo>
                    <a:pt x="79" y="148"/>
                    <a:pt x="74" y="150"/>
                    <a:pt x="75" y="160"/>
                  </a:cubicBezTo>
                  <a:cubicBezTo>
                    <a:pt x="76" y="170"/>
                    <a:pt x="86" y="164"/>
                    <a:pt x="86" y="164"/>
                  </a:cubicBezTo>
                  <a:cubicBezTo>
                    <a:pt x="98" y="154"/>
                    <a:pt x="98" y="154"/>
                    <a:pt x="98" y="154"/>
                  </a:cubicBezTo>
                  <a:cubicBezTo>
                    <a:pt x="107" y="157"/>
                    <a:pt x="107" y="157"/>
                    <a:pt x="107" y="157"/>
                  </a:cubicBezTo>
                  <a:cubicBezTo>
                    <a:pt x="107" y="157"/>
                    <a:pt x="112" y="161"/>
                    <a:pt x="122" y="156"/>
                  </a:cubicBezTo>
                  <a:cubicBezTo>
                    <a:pt x="132" y="151"/>
                    <a:pt x="156" y="145"/>
                    <a:pt x="156" y="145"/>
                  </a:cubicBezTo>
                  <a:cubicBezTo>
                    <a:pt x="145" y="163"/>
                    <a:pt x="145" y="163"/>
                    <a:pt x="145" y="163"/>
                  </a:cubicBezTo>
                  <a:cubicBezTo>
                    <a:pt x="157" y="168"/>
                    <a:pt x="157" y="168"/>
                    <a:pt x="157" y="168"/>
                  </a:cubicBezTo>
                  <a:cubicBezTo>
                    <a:pt x="172" y="160"/>
                    <a:pt x="172" y="160"/>
                    <a:pt x="172" y="160"/>
                  </a:cubicBezTo>
                  <a:cubicBezTo>
                    <a:pt x="174" y="166"/>
                    <a:pt x="186" y="174"/>
                    <a:pt x="183" y="174"/>
                  </a:cubicBezTo>
                  <a:cubicBezTo>
                    <a:pt x="180" y="174"/>
                    <a:pt x="166" y="183"/>
                    <a:pt x="166" y="183"/>
                  </a:cubicBezTo>
                  <a:cubicBezTo>
                    <a:pt x="155" y="185"/>
                    <a:pt x="155" y="185"/>
                    <a:pt x="155" y="185"/>
                  </a:cubicBezTo>
                  <a:cubicBezTo>
                    <a:pt x="145" y="173"/>
                    <a:pt x="145" y="173"/>
                    <a:pt x="145" y="173"/>
                  </a:cubicBezTo>
                  <a:cubicBezTo>
                    <a:pt x="137" y="178"/>
                    <a:pt x="137" y="178"/>
                    <a:pt x="137" y="178"/>
                  </a:cubicBezTo>
                  <a:cubicBezTo>
                    <a:pt x="122" y="172"/>
                    <a:pt x="122" y="172"/>
                    <a:pt x="122" y="172"/>
                  </a:cubicBezTo>
                  <a:cubicBezTo>
                    <a:pt x="109" y="181"/>
                    <a:pt x="109" y="181"/>
                    <a:pt x="109" y="181"/>
                  </a:cubicBezTo>
                  <a:cubicBezTo>
                    <a:pt x="120" y="189"/>
                    <a:pt x="120" y="189"/>
                    <a:pt x="120" y="189"/>
                  </a:cubicBezTo>
                  <a:cubicBezTo>
                    <a:pt x="120" y="189"/>
                    <a:pt x="124" y="208"/>
                    <a:pt x="125" y="211"/>
                  </a:cubicBezTo>
                  <a:cubicBezTo>
                    <a:pt x="126" y="214"/>
                    <a:pt x="130" y="192"/>
                    <a:pt x="141" y="191"/>
                  </a:cubicBezTo>
                  <a:cubicBezTo>
                    <a:pt x="152" y="190"/>
                    <a:pt x="135" y="190"/>
                    <a:pt x="164" y="204"/>
                  </a:cubicBezTo>
                  <a:cubicBezTo>
                    <a:pt x="193" y="218"/>
                    <a:pt x="171" y="237"/>
                    <a:pt x="171" y="237"/>
                  </a:cubicBezTo>
                  <a:cubicBezTo>
                    <a:pt x="144" y="227"/>
                    <a:pt x="79" y="254"/>
                    <a:pt x="79" y="254"/>
                  </a:cubicBezTo>
                  <a:cubicBezTo>
                    <a:pt x="139" y="267"/>
                    <a:pt x="141" y="276"/>
                    <a:pt x="153" y="293"/>
                  </a:cubicBezTo>
                  <a:cubicBezTo>
                    <a:pt x="165" y="310"/>
                    <a:pt x="156" y="329"/>
                    <a:pt x="156" y="329"/>
                  </a:cubicBezTo>
                  <a:cubicBezTo>
                    <a:pt x="197" y="333"/>
                    <a:pt x="197" y="333"/>
                    <a:pt x="197" y="333"/>
                  </a:cubicBezTo>
                  <a:cubicBezTo>
                    <a:pt x="197" y="333"/>
                    <a:pt x="207" y="310"/>
                    <a:pt x="214" y="310"/>
                  </a:cubicBezTo>
                  <a:cubicBezTo>
                    <a:pt x="221" y="310"/>
                    <a:pt x="231" y="316"/>
                    <a:pt x="235" y="316"/>
                  </a:cubicBezTo>
                  <a:cubicBezTo>
                    <a:pt x="239" y="316"/>
                    <a:pt x="249" y="301"/>
                    <a:pt x="249" y="301"/>
                  </a:cubicBezTo>
                  <a:cubicBezTo>
                    <a:pt x="268" y="334"/>
                    <a:pt x="268" y="334"/>
                    <a:pt x="268" y="334"/>
                  </a:cubicBezTo>
                  <a:cubicBezTo>
                    <a:pt x="294" y="333"/>
                    <a:pt x="294" y="333"/>
                    <a:pt x="294" y="333"/>
                  </a:cubicBezTo>
                  <a:cubicBezTo>
                    <a:pt x="296" y="338"/>
                    <a:pt x="335" y="344"/>
                    <a:pt x="335" y="344"/>
                  </a:cubicBezTo>
                  <a:cubicBezTo>
                    <a:pt x="335" y="344"/>
                    <a:pt x="355" y="365"/>
                    <a:pt x="358" y="365"/>
                  </a:cubicBezTo>
                  <a:cubicBezTo>
                    <a:pt x="361" y="365"/>
                    <a:pt x="384" y="364"/>
                    <a:pt x="384" y="364"/>
                  </a:cubicBezTo>
                  <a:cubicBezTo>
                    <a:pt x="414" y="401"/>
                    <a:pt x="414" y="401"/>
                    <a:pt x="414" y="401"/>
                  </a:cubicBezTo>
                  <a:cubicBezTo>
                    <a:pt x="410" y="421"/>
                    <a:pt x="410" y="421"/>
                    <a:pt x="410" y="421"/>
                  </a:cubicBezTo>
                  <a:cubicBezTo>
                    <a:pt x="414" y="432"/>
                    <a:pt x="414" y="432"/>
                    <a:pt x="414" y="432"/>
                  </a:cubicBezTo>
                  <a:cubicBezTo>
                    <a:pt x="414" y="432"/>
                    <a:pt x="426" y="438"/>
                    <a:pt x="422" y="432"/>
                  </a:cubicBezTo>
                  <a:cubicBezTo>
                    <a:pt x="418" y="426"/>
                    <a:pt x="421" y="398"/>
                    <a:pt x="421" y="398"/>
                  </a:cubicBezTo>
                  <a:cubicBezTo>
                    <a:pt x="425" y="403"/>
                    <a:pt x="425" y="403"/>
                    <a:pt x="425" y="403"/>
                  </a:cubicBezTo>
                  <a:cubicBezTo>
                    <a:pt x="442" y="399"/>
                    <a:pt x="442" y="399"/>
                    <a:pt x="442" y="399"/>
                  </a:cubicBezTo>
                  <a:cubicBezTo>
                    <a:pt x="452" y="403"/>
                    <a:pt x="452" y="403"/>
                    <a:pt x="452" y="403"/>
                  </a:cubicBezTo>
                  <a:cubicBezTo>
                    <a:pt x="460" y="391"/>
                    <a:pt x="460" y="391"/>
                    <a:pt x="460" y="391"/>
                  </a:cubicBezTo>
                  <a:cubicBezTo>
                    <a:pt x="466" y="399"/>
                    <a:pt x="466" y="399"/>
                    <a:pt x="466" y="399"/>
                  </a:cubicBezTo>
                  <a:cubicBezTo>
                    <a:pt x="481" y="388"/>
                    <a:pt x="481" y="388"/>
                    <a:pt x="481" y="388"/>
                  </a:cubicBezTo>
                  <a:cubicBezTo>
                    <a:pt x="481" y="388"/>
                    <a:pt x="518" y="389"/>
                    <a:pt x="522" y="390"/>
                  </a:cubicBezTo>
                  <a:cubicBezTo>
                    <a:pt x="517" y="392"/>
                    <a:pt x="502" y="416"/>
                    <a:pt x="502" y="416"/>
                  </a:cubicBezTo>
                  <a:cubicBezTo>
                    <a:pt x="502" y="416"/>
                    <a:pt x="503" y="411"/>
                    <a:pt x="495" y="411"/>
                  </a:cubicBezTo>
                  <a:cubicBezTo>
                    <a:pt x="487" y="411"/>
                    <a:pt x="462" y="407"/>
                    <a:pt x="462" y="407"/>
                  </a:cubicBezTo>
                  <a:cubicBezTo>
                    <a:pt x="487" y="429"/>
                    <a:pt x="487" y="429"/>
                    <a:pt x="487" y="429"/>
                  </a:cubicBezTo>
                  <a:cubicBezTo>
                    <a:pt x="505" y="422"/>
                    <a:pt x="505" y="422"/>
                    <a:pt x="505" y="422"/>
                  </a:cubicBezTo>
                  <a:cubicBezTo>
                    <a:pt x="513" y="428"/>
                    <a:pt x="513" y="428"/>
                    <a:pt x="513" y="428"/>
                  </a:cubicBezTo>
                  <a:cubicBezTo>
                    <a:pt x="517" y="419"/>
                    <a:pt x="517" y="419"/>
                    <a:pt x="517" y="419"/>
                  </a:cubicBezTo>
                  <a:cubicBezTo>
                    <a:pt x="538" y="427"/>
                    <a:pt x="538" y="427"/>
                    <a:pt x="538" y="427"/>
                  </a:cubicBezTo>
                  <a:cubicBezTo>
                    <a:pt x="538" y="427"/>
                    <a:pt x="548" y="420"/>
                    <a:pt x="555" y="424"/>
                  </a:cubicBezTo>
                  <a:cubicBezTo>
                    <a:pt x="562" y="428"/>
                    <a:pt x="557" y="444"/>
                    <a:pt x="557" y="444"/>
                  </a:cubicBezTo>
                  <a:cubicBezTo>
                    <a:pt x="563" y="444"/>
                    <a:pt x="563" y="444"/>
                    <a:pt x="563" y="444"/>
                  </a:cubicBezTo>
                  <a:cubicBezTo>
                    <a:pt x="566" y="454"/>
                    <a:pt x="566" y="454"/>
                    <a:pt x="566" y="454"/>
                  </a:cubicBezTo>
                  <a:cubicBezTo>
                    <a:pt x="555" y="452"/>
                    <a:pt x="555" y="452"/>
                    <a:pt x="555" y="452"/>
                  </a:cubicBezTo>
                  <a:cubicBezTo>
                    <a:pt x="545" y="463"/>
                    <a:pt x="545" y="463"/>
                    <a:pt x="545" y="463"/>
                  </a:cubicBezTo>
                  <a:cubicBezTo>
                    <a:pt x="554" y="487"/>
                    <a:pt x="554" y="487"/>
                    <a:pt x="554" y="487"/>
                  </a:cubicBezTo>
                  <a:cubicBezTo>
                    <a:pt x="567" y="476"/>
                    <a:pt x="567" y="476"/>
                    <a:pt x="567" y="476"/>
                  </a:cubicBezTo>
                  <a:cubicBezTo>
                    <a:pt x="575" y="481"/>
                    <a:pt x="575" y="481"/>
                    <a:pt x="575" y="481"/>
                  </a:cubicBezTo>
                  <a:cubicBezTo>
                    <a:pt x="595" y="481"/>
                    <a:pt x="595" y="481"/>
                    <a:pt x="595" y="481"/>
                  </a:cubicBezTo>
                  <a:cubicBezTo>
                    <a:pt x="596" y="469"/>
                    <a:pt x="596" y="469"/>
                    <a:pt x="596" y="469"/>
                  </a:cubicBezTo>
                  <a:cubicBezTo>
                    <a:pt x="596" y="469"/>
                    <a:pt x="635" y="496"/>
                    <a:pt x="642" y="436"/>
                  </a:cubicBezTo>
                  <a:cubicBezTo>
                    <a:pt x="666" y="409"/>
                    <a:pt x="666" y="409"/>
                    <a:pt x="666" y="409"/>
                  </a:cubicBezTo>
                  <a:cubicBezTo>
                    <a:pt x="674" y="418"/>
                    <a:pt x="674" y="418"/>
                    <a:pt x="674" y="418"/>
                  </a:cubicBezTo>
                  <a:cubicBezTo>
                    <a:pt x="674" y="418"/>
                    <a:pt x="706" y="416"/>
                    <a:pt x="734" y="410"/>
                  </a:cubicBezTo>
                  <a:cubicBezTo>
                    <a:pt x="752" y="389"/>
                    <a:pt x="752" y="389"/>
                    <a:pt x="752" y="389"/>
                  </a:cubicBezTo>
                  <a:cubicBezTo>
                    <a:pt x="778" y="385"/>
                    <a:pt x="778" y="385"/>
                    <a:pt x="778" y="385"/>
                  </a:cubicBezTo>
                  <a:cubicBezTo>
                    <a:pt x="780" y="370"/>
                    <a:pt x="780" y="370"/>
                    <a:pt x="780" y="370"/>
                  </a:cubicBezTo>
                  <a:cubicBezTo>
                    <a:pt x="796" y="377"/>
                    <a:pt x="796" y="377"/>
                    <a:pt x="796" y="377"/>
                  </a:cubicBezTo>
                  <a:cubicBezTo>
                    <a:pt x="799" y="386"/>
                    <a:pt x="799" y="386"/>
                    <a:pt x="799" y="386"/>
                  </a:cubicBezTo>
                  <a:cubicBezTo>
                    <a:pt x="830" y="392"/>
                    <a:pt x="830" y="392"/>
                    <a:pt x="830" y="392"/>
                  </a:cubicBezTo>
                  <a:cubicBezTo>
                    <a:pt x="830" y="392"/>
                    <a:pt x="832" y="378"/>
                    <a:pt x="838" y="366"/>
                  </a:cubicBezTo>
                  <a:cubicBezTo>
                    <a:pt x="843" y="354"/>
                    <a:pt x="848" y="328"/>
                    <a:pt x="870" y="328"/>
                  </a:cubicBezTo>
                  <a:cubicBezTo>
                    <a:pt x="884" y="316"/>
                    <a:pt x="875" y="334"/>
                    <a:pt x="867" y="242"/>
                  </a:cubicBezTo>
                  <a:cubicBezTo>
                    <a:pt x="875" y="214"/>
                    <a:pt x="879" y="220"/>
                    <a:pt x="879" y="220"/>
                  </a:cubicBezTo>
                  <a:lnTo>
                    <a:pt x="872" y="18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2" name="Pays-de-la-Loire" descr="© INSCALE GmbH, 05.05.2010&#10;http://www.presentationload.com/">
              <a:extLst>
                <a:ext uri="{FF2B5EF4-FFF2-40B4-BE49-F238E27FC236}">
                  <a16:creationId xmlns:a16="http://schemas.microsoft.com/office/drawing/2014/main" id="{85508898-E58C-4F8D-BC43-AB4DB22941C3}"/>
                </a:ext>
              </a:extLst>
            </p:cNvPr>
            <p:cNvSpPr>
              <a:spLocks noEditPoints="1"/>
            </p:cNvSpPr>
            <p:nvPr/>
          </p:nvSpPr>
          <p:spPr bwMode="gray">
            <a:xfrm>
              <a:off x="644" y="1006"/>
              <a:ext cx="797" cy="790"/>
            </a:xfrm>
            <a:custGeom>
              <a:avLst/>
              <a:gdLst/>
              <a:ahLst/>
              <a:cxnLst>
                <a:cxn ang="0">
                  <a:pos x="16" y="534"/>
                </a:cxn>
                <a:cxn ang="0">
                  <a:pos x="51" y="448"/>
                </a:cxn>
                <a:cxn ang="0">
                  <a:pos x="219" y="694"/>
                </a:cxn>
                <a:cxn ang="0">
                  <a:pos x="191" y="687"/>
                </a:cxn>
                <a:cxn ang="0">
                  <a:pos x="211" y="706"/>
                </a:cxn>
                <a:cxn ang="0">
                  <a:pos x="222" y="703"/>
                </a:cxn>
                <a:cxn ang="0">
                  <a:pos x="707" y="141"/>
                </a:cxn>
                <a:cxn ang="0">
                  <a:pos x="651" y="103"/>
                </a:cxn>
                <a:cxn ang="0">
                  <a:pos x="541" y="75"/>
                </a:cxn>
                <a:cxn ang="0">
                  <a:pos x="521" y="24"/>
                </a:cxn>
                <a:cxn ang="0">
                  <a:pos x="482" y="25"/>
                </a:cxn>
                <a:cxn ang="0">
                  <a:pos x="439" y="31"/>
                </a:cxn>
                <a:cxn ang="0">
                  <a:pos x="391" y="47"/>
                </a:cxn>
                <a:cxn ang="0">
                  <a:pos x="321" y="28"/>
                </a:cxn>
                <a:cxn ang="0">
                  <a:pos x="314" y="105"/>
                </a:cxn>
                <a:cxn ang="0">
                  <a:pos x="277" y="255"/>
                </a:cxn>
                <a:cxn ang="0">
                  <a:pos x="227" y="233"/>
                </a:cxn>
                <a:cxn ang="0">
                  <a:pos x="181" y="273"/>
                </a:cxn>
                <a:cxn ang="0">
                  <a:pos x="89" y="299"/>
                </a:cxn>
                <a:cxn ang="0">
                  <a:pos x="22" y="344"/>
                </a:cxn>
                <a:cxn ang="0">
                  <a:pos x="3" y="354"/>
                </a:cxn>
                <a:cxn ang="0">
                  <a:pos x="24" y="359"/>
                </a:cxn>
                <a:cxn ang="0">
                  <a:pos x="105" y="349"/>
                </a:cxn>
                <a:cxn ang="0">
                  <a:pos x="67" y="376"/>
                </a:cxn>
                <a:cxn ang="0">
                  <a:pos x="52" y="399"/>
                </a:cxn>
                <a:cxn ang="0">
                  <a:pos x="104" y="444"/>
                </a:cxn>
                <a:cxn ang="0">
                  <a:pos x="72" y="483"/>
                </a:cxn>
                <a:cxn ang="0">
                  <a:pos x="55" y="465"/>
                </a:cxn>
                <a:cxn ang="0">
                  <a:pos x="72" y="511"/>
                </a:cxn>
                <a:cxn ang="0">
                  <a:pos x="135" y="611"/>
                </a:cxn>
                <a:cxn ang="0">
                  <a:pos x="210" y="658"/>
                </a:cxn>
                <a:cxn ang="0">
                  <a:pos x="251" y="669"/>
                </a:cxn>
                <a:cxn ang="0">
                  <a:pos x="287" y="680"/>
                </a:cxn>
                <a:cxn ang="0">
                  <a:pos x="289" y="723"/>
                </a:cxn>
                <a:cxn ang="0">
                  <a:pos x="337" y="729"/>
                </a:cxn>
                <a:cxn ang="0">
                  <a:pos x="385" y="728"/>
                </a:cxn>
                <a:cxn ang="0">
                  <a:pos x="389" y="707"/>
                </a:cxn>
                <a:cxn ang="0">
                  <a:pos x="394" y="664"/>
                </a:cxn>
                <a:cxn ang="0">
                  <a:pos x="386" y="605"/>
                </a:cxn>
                <a:cxn ang="0">
                  <a:pos x="353" y="548"/>
                </a:cxn>
                <a:cxn ang="0">
                  <a:pos x="378" y="511"/>
                </a:cxn>
                <a:cxn ang="0">
                  <a:pos x="434" y="488"/>
                </a:cxn>
                <a:cxn ang="0">
                  <a:pos x="502" y="480"/>
                </a:cxn>
                <a:cxn ang="0">
                  <a:pos x="514" y="483"/>
                </a:cxn>
                <a:cxn ang="0">
                  <a:pos x="549" y="461"/>
                </a:cxn>
                <a:cxn ang="0">
                  <a:pos x="585" y="359"/>
                </a:cxn>
                <a:cxn ang="0">
                  <a:pos x="615" y="320"/>
                </a:cxn>
                <a:cxn ang="0">
                  <a:pos x="674" y="299"/>
                </a:cxn>
                <a:cxn ang="0">
                  <a:pos x="717" y="229"/>
                </a:cxn>
                <a:cxn ang="0">
                  <a:pos x="722" y="192"/>
                </a:cxn>
                <a:cxn ang="0">
                  <a:pos x="725" y="157"/>
                </a:cxn>
                <a:cxn ang="0">
                  <a:pos x="719" y="140"/>
                </a:cxn>
              </a:cxnLst>
              <a:rect l="0" t="0" r="r" b="b"/>
              <a:pathLst>
                <a:path w="739" h="732">
                  <a:moveTo>
                    <a:pt x="16" y="534"/>
                  </a:moveTo>
                  <a:cubicBezTo>
                    <a:pt x="10" y="548"/>
                    <a:pt x="22" y="548"/>
                    <a:pt x="37" y="548"/>
                  </a:cubicBezTo>
                  <a:cubicBezTo>
                    <a:pt x="32" y="535"/>
                    <a:pt x="16" y="534"/>
                    <a:pt x="16" y="534"/>
                  </a:cubicBezTo>
                  <a:close/>
                  <a:moveTo>
                    <a:pt x="38" y="440"/>
                  </a:moveTo>
                  <a:cubicBezTo>
                    <a:pt x="36" y="461"/>
                    <a:pt x="44" y="460"/>
                    <a:pt x="47" y="462"/>
                  </a:cubicBezTo>
                  <a:cubicBezTo>
                    <a:pt x="50" y="464"/>
                    <a:pt x="51" y="458"/>
                    <a:pt x="51" y="448"/>
                  </a:cubicBezTo>
                  <a:cubicBezTo>
                    <a:pt x="51" y="438"/>
                    <a:pt x="38" y="440"/>
                    <a:pt x="38" y="440"/>
                  </a:cubicBezTo>
                  <a:close/>
                  <a:moveTo>
                    <a:pt x="222" y="703"/>
                  </a:moveTo>
                  <a:cubicBezTo>
                    <a:pt x="219" y="694"/>
                    <a:pt x="219" y="694"/>
                    <a:pt x="219" y="694"/>
                  </a:cubicBezTo>
                  <a:cubicBezTo>
                    <a:pt x="201" y="701"/>
                    <a:pt x="201" y="701"/>
                    <a:pt x="201" y="701"/>
                  </a:cubicBezTo>
                  <a:cubicBezTo>
                    <a:pt x="203" y="686"/>
                    <a:pt x="203" y="686"/>
                    <a:pt x="203" y="686"/>
                  </a:cubicBezTo>
                  <a:cubicBezTo>
                    <a:pt x="191" y="687"/>
                    <a:pt x="191" y="687"/>
                    <a:pt x="191" y="687"/>
                  </a:cubicBezTo>
                  <a:cubicBezTo>
                    <a:pt x="190" y="693"/>
                    <a:pt x="190" y="693"/>
                    <a:pt x="190" y="693"/>
                  </a:cubicBezTo>
                  <a:cubicBezTo>
                    <a:pt x="200" y="708"/>
                    <a:pt x="200" y="708"/>
                    <a:pt x="200" y="708"/>
                  </a:cubicBezTo>
                  <a:cubicBezTo>
                    <a:pt x="211" y="706"/>
                    <a:pt x="211" y="706"/>
                    <a:pt x="211" y="706"/>
                  </a:cubicBezTo>
                  <a:cubicBezTo>
                    <a:pt x="230" y="714"/>
                    <a:pt x="230" y="714"/>
                    <a:pt x="230" y="714"/>
                  </a:cubicBezTo>
                  <a:cubicBezTo>
                    <a:pt x="238" y="725"/>
                    <a:pt x="246" y="718"/>
                    <a:pt x="250" y="719"/>
                  </a:cubicBezTo>
                  <a:cubicBezTo>
                    <a:pt x="241" y="705"/>
                    <a:pt x="222" y="703"/>
                    <a:pt x="222" y="703"/>
                  </a:cubicBezTo>
                  <a:close/>
                  <a:moveTo>
                    <a:pt x="719" y="140"/>
                  </a:moveTo>
                  <a:cubicBezTo>
                    <a:pt x="719" y="139"/>
                    <a:pt x="719" y="139"/>
                    <a:pt x="719" y="139"/>
                  </a:cubicBezTo>
                  <a:cubicBezTo>
                    <a:pt x="707" y="141"/>
                    <a:pt x="707" y="141"/>
                    <a:pt x="707" y="141"/>
                  </a:cubicBezTo>
                  <a:cubicBezTo>
                    <a:pt x="683" y="117"/>
                    <a:pt x="683" y="117"/>
                    <a:pt x="683" y="117"/>
                  </a:cubicBezTo>
                  <a:cubicBezTo>
                    <a:pt x="658" y="123"/>
                    <a:pt x="658" y="123"/>
                    <a:pt x="658" y="123"/>
                  </a:cubicBezTo>
                  <a:cubicBezTo>
                    <a:pt x="651" y="103"/>
                    <a:pt x="651" y="103"/>
                    <a:pt x="651" y="103"/>
                  </a:cubicBezTo>
                  <a:cubicBezTo>
                    <a:pt x="651" y="103"/>
                    <a:pt x="638" y="96"/>
                    <a:pt x="631" y="91"/>
                  </a:cubicBezTo>
                  <a:cubicBezTo>
                    <a:pt x="623" y="0"/>
                    <a:pt x="561" y="75"/>
                    <a:pt x="561" y="75"/>
                  </a:cubicBezTo>
                  <a:cubicBezTo>
                    <a:pt x="541" y="75"/>
                    <a:pt x="541" y="75"/>
                    <a:pt x="541" y="75"/>
                  </a:cubicBezTo>
                  <a:cubicBezTo>
                    <a:pt x="537" y="48"/>
                    <a:pt x="537" y="48"/>
                    <a:pt x="537" y="48"/>
                  </a:cubicBezTo>
                  <a:cubicBezTo>
                    <a:pt x="537" y="48"/>
                    <a:pt x="531" y="49"/>
                    <a:pt x="519" y="49"/>
                  </a:cubicBezTo>
                  <a:cubicBezTo>
                    <a:pt x="507" y="49"/>
                    <a:pt x="521" y="24"/>
                    <a:pt x="521" y="24"/>
                  </a:cubicBezTo>
                  <a:cubicBezTo>
                    <a:pt x="521" y="24"/>
                    <a:pt x="498" y="15"/>
                    <a:pt x="494" y="15"/>
                  </a:cubicBezTo>
                  <a:cubicBezTo>
                    <a:pt x="490" y="15"/>
                    <a:pt x="498" y="20"/>
                    <a:pt x="494" y="28"/>
                  </a:cubicBezTo>
                  <a:cubicBezTo>
                    <a:pt x="490" y="36"/>
                    <a:pt x="482" y="25"/>
                    <a:pt x="482" y="25"/>
                  </a:cubicBezTo>
                  <a:cubicBezTo>
                    <a:pt x="467" y="37"/>
                    <a:pt x="467" y="37"/>
                    <a:pt x="467" y="37"/>
                  </a:cubicBezTo>
                  <a:cubicBezTo>
                    <a:pt x="461" y="32"/>
                    <a:pt x="461" y="32"/>
                    <a:pt x="461" y="32"/>
                  </a:cubicBezTo>
                  <a:cubicBezTo>
                    <a:pt x="461" y="32"/>
                    <a:pt x="446" y="31"/>
                    <a:pt x="439" y="31"/>
                  </a:cubicBezTo>
                  <a:cubicBezTo>
                    <a:pt x="434" y="45"/>
                    <a:pt x="411" y="45"/>
                    <a:pt x="411" y="45"/>
                  </a:cubicBezTo>
                  <a:cubicBezTo>
                    <a:pt x="407" y="36"/>
                    <a:pt x="407" y="36"/>
                    <a:pt x="407" y="36"/>
                  </a:cubicBezTo>
                  <a:cubicBezTo>
                    <a:pt x="407" y="36"/>
                    <a:pt x="391" y="37"/>
                    <a:pt x="391" y="47"/>
                  </a:cubicBezTo>
                  <a:cubicBezTo>
                    <a:pt x="391" y="56"/>
                    <a:pt x="366" y="32"/>
                    <a:pt x="366" y="32"/>
                  </a:cubicBezTo>
                  <a:cubicBezTo>
                    <a:pt x="366" y="32"/>
                    <a:pt x="353" y="28"/>
                    <a:pt x="343" y="23"/>
                  </a:cubicBezTo>
                  <a:cubicBezTo>
                    <a:pt x="338" y="30"/>
                    <a:pt x="331" y="31"/>
                    <a:pt x="321" y="28"/>
                  </a:cubicBezTo>
                  <a:cubicBezTo>
                    <a:pt x="319" y="51"/>
                    <a:pt x="319" y="51"/>
                    <a:pt x="319" y="51"/>
                  </a:cubicBezTo>
                  <a:cubicBezTo>
                    <a:pt x="326" y="83"/>
                    <a:pt x="326" y="83"/>
                    <a:pt x="326" y="83"/>
                  </a:cubicBezTo>
                  <a:cubicBezTo>
                    <a:pt x="326" y="83"/>
                    <a:pt x="322" y="77"/>
                    <a:pt x="314" y="105"/>
                  </a:cubicBezTo>
                  <a:cubicBezTo>
                    <a:pt x="322" y="197"/>
                    <a:pt x="331" y="179"/>
                    <a:pt x="317" y="191"/>
                  </a:cubicBezTo>
                  <a:cubicBezTo>
                    <a:pt x="295" y="191"/>
                    <a:pt x="290" y="217"/>
                    <a:pt x="285" y="229"/>
                  </a:cubicBezTo>
                  <a:cubicBezTo>
                    <a:pt x="279" y="241"/>
                    <a:pt x="277" y="255"/>
                    <a:pt x="277" y="255"/>
                  </a:cubicBezTo>
                  <a:cubicBezTo>
                    <a:pt x="246" y="249"/>
                    <a:pt x="246" y="249"/>
                    <a:pt x="246" y="249"/>
                  </a:cubicBezTo>
                  <a:cubicBezTo>
                    <a:pt x="243" y="240"/>
                    <a:pt x="243" y="240"/>
                    <a:pt x="243" y="240"/>
                  </a:cubicBezTo>
                  <a:cubicBezTo>
                    <a:pt x="227" y="233"/>
                    <a:pt x="227" y="233"/>
                    <a:pt x="227" y="233"/>
                  </a:cubicBezTo>
                  <a:cubicBezTo>
                    <a:pt x="225" y="248"/>
                    <a:pt x="225" y="248"/>
                    <a:pt x="225" y="248"/>
                  </a:cubicBezTo>
                  <a:cubicBezTo>
                    <a:pt x="199" y="252"/>
                    <a:pt x="199" y="252"/>
                    <a:pt x="199" y="252"/>
                  </a:cubicBezTo>
                  <a:cubicBezTo>
                    <a:pt x="199" y="252"/>
                    <a:pt x="199" y="252"/>
                    <a:pt x="181" y="273"/>
                  </a:cubicBezTo>
                  <a:cubicBezTo>
                    <a:pt x="153" y="279"/>
                    <a:pt x="121" y="281"/>
                    <a:pt x="121" y="281"/>
                  </a:cubicBezTo>
                  <a:cubicBezTo>
                    <a:pt x="113" y="272"/>
                    <a:pt x="113" y="272"/>
                    <a:pt x="113" y="272"/>
                  </a:cubicBezTo>
                  <a:cubicBezTo>
                    <a:pt x="113" y="272"/>
                    <a:pt x="113" y="272"/>
                    <a:pt x="89" y="299"/>
                  </a:cubicBezTo>
                  <a:cubicBezTo>
                    <a:pt x="82" y="359"/>
                    <a:pt x="43" y="332"/>
                    <a:pt x="43" y="332"/>
                  </a:cubicBezTo>
                  <a:cubicBezTo>
                    <a:pt x="42" y="344"/>
                    <a:pt x="42" y="344"/>
                    <a:pt x="42" y="344"/>
                  </a:cubicBezTo>
                  <a:cubicBezTo>
                    <a:pt x="22" y="344"/>
                    <a:pt x="22" y="344"/>
                    <a:pt x="22" y="344"/>
                  </a:cubicBezTo>
                  <a:cubicBezTo>
                    <a:pt x="14" y="339"/>
                    <a:pt x="14" y="339"/>
                    <a:pt x="14" y="339"/>
                  </a:cubicBezTo>
                  <a:cubicBezTo>
                    <a:pt x="1" y="350"/>
                    <a:pt x="1" y="350"/>
                    <a:pt x="1" y="350"/>
                  </a:cubicBezTo>
                  <a:cubicBezTo>
                    <a:pt x="3" y="354"/>
                    <a:pt x="3" y="354"/>
                    <a:pt x="3" y="354"/>
                  </a:cubicBezTo>
                  <a:cubicBezTo>
                    <a:pt x="0" y="355"/>
                    <a:pt x="0" y="355"/>
                    <a:pt x="0" y="355"/>
                  </a:cubicBezTo>
                  <a:cubicBezTo>
                    <a:pt x="2" y="357"/>
                    <a:pt x="4" y="360"/>
                    <a:pt x="7" y="364"/>
                  </a:cubicBezTo>
                  <a:cubicBezTo>
                    <a:pt x="14" y="363"/>
                    <a:pt x="24" y="359"/>
                    <a:pt x="24" y="359"/>
                  </a:cubicBezTo>
                  <a:cubicBezTo>
                    <a:pt x="24" y="359"/>
                    <a:pt x="39" y="374"/>
                    <a:pt x="45" y="374"/>
                  </a:cubicBezTo>
                  <a:cubicBezTo>
                    <a:pt x="51" y="374"/>
                    <a:pt x="70" y="351"/>
                    <a:pt x="70" y="351"/>
                  </a:cubicBezTo>
                  <a:cubicBezTo>
                    <a:pt x="70" y="351"/>
                    <a:pt x="103" y="344"/>
                    <a:pt x="105" y="349"/>
                  </a:cubicBezTo>
                  <a:cubicBezTo>
                    <a:pt x="107" y="354"/>
                    <a:pt x="96" y="361"/>
                    <a:pt x="96" y="361"/>
                  </a:cubicBezTo>
                  <a:cubicBezTo>
                    <a:pt x="72" y="363"/>
                    <a:pt x="72" y="363"/>
                    <a:pt x="72" y="363"/>
                  </a:cubicBezTo>
                  <a:cubicBezTo>
                    <a:pt x="67" y="376"/>
                    <a:pt x="67" y="376"/>
                    <a:pt x="67" y="376"/>
                  </a:cubicBezTo>
                  <a:cubicBezTo>
                    <a:pt x="71" y="385"/>
                    <a:pt x="71" y="385"/>
                    <a:pt x="71" y="385"/>
                  </a:cubicBezTo>
                  <a:cubicBezTo>
                    <a:pt x="65" y="399"/>
                    <a:pt x="65" y="399"/>
                    <a:pt x="65" y="399"/>
                  </a:cubicBezTo>
                  <a:cubicBezTo>
                    <a:pt x="52" y="399"/>
                    <a:pt x="52" y="399"/>
                    <a:pt x="52" y="399"/>
                  </a:cubicBezTo>
                  <a:cubicBezTo>
                    <a:pt x="52" y="408"/>
                    <a:pt x="52" y="408"/>
                    <a:pt x="52" y="408"/>
                  </a:cubicBezTo>
                  <a:cubicBezTo>
                    <a:pt x="91" y="415"/>
                    <a:pt x="91" y="415"/>
                    <a:pt x="91" y="415"/>
                  </a:cubicBezTo>
                  <a:cubicBezTo>
                    <a:pt x="104" y="444"/>
                    <a:pt x="104" y="444"/>
                    <a:pt x="104" y="444"/>
                  </a:cubicBezTo>
                  <a:cubicBezTo>
                    <a:pt x="95" y="445"/>
                    <a:pt x="95" y="445"/>
                    <a:pt x="95" y="445"/>
                  </a:cubicBezTo>
                  <a:cubicBezTo>
                    <a:pt x="92" y="462"/>
                    <a:pt x="92" y="462"/>
                    <a:pt x="92" y="462"/>
                  </a:cubicBezTo>
                  <a:cubicBezTo>
                    <a:pt x="72" y="483"/>
                    <a:pt x="72" y="483"/>
                    <a:pt x="72" y="483"/>
                  </a:cubicBezTo>
                  <a:cubicBezTo>
                    <a:pt x="69" y="468"/>
                    <a:pt x="69" y="468"/>
                    <a:pt x="69" y="468"/>
                  </a:cubicBezTo>
                  <a:cubicBezTo>
                    <a:pt x="55" y="458"/>
                    <a:pt x="55" y="458"/>
                    <a:pt x="55" y="458"/>
                  </a:cubicBezTo>
                  <a:cubicBezTo>
                    <a:pt x="55" y="465"/>
                    <a:pt x="55" y="465"/>
                    <a:pt x="55" y="465"/>
                  </a:cubicBezTo>
                  <a:cubicBezTo>
                    <a:pt x="55" y="465"/>
                    <a:pt x="62" y="463"/>
                    <a:pt x="63" y="469"/>
                  </a:cubicBezTo>
                  <a:cubicBezTo>
                    <a:pt x="64" y="475"/>
                    <a:pt x="68" y="489"/>
                    <a:pt x="68" y="489"/>
                  </a:cubicBezTo>
                  <a:cubicBezTo>
                    <a:pt x="68" y="489"/>
                    <a:pt x="73" y="508"/>
                    <a:pt x="72" y="511"/>
                  </a:cubicBezTo>
                  <a:cubicBezTo>
                    <a:pt x="91" y="521"/>
                    <a:pt x="103" y="549"/>
                    <a:pt x="103" y="549"/>
                  </a:cubicBezTo>
                  <a:cubicBezTo>
                    <a:pt x="111" y="549"/>
                    <a:pt x="111" y="549"/>
                    <a:pt x="111" y="549"/>
                  </a:cubicBezTo>
                  <a:cubicBezTo>
                    <a:pt x="126" y="569"/>
                    <a:pt x="135" y="611"/>
                    <a:pt x="135" y="611"/>
                  </a:cubicBezTo>
                  <a:cubicBezTo>
                    <a:pt x="135" y="611"/>
                    <a:pt x="135" y="603"/>
                    <a:pt x="149" y="617"/>
                  </a:cubicBezTo>
                  <a:cubicBezTo>
                    <a:pt x="163" y="631"/>
                    <a:pt x="200" y="642"/>
                    <a:pt x="200" y="642"/>
                  </a:cubicBezTo>
                  <a:cubicBezTo>
                    <a:pt x="210" y="658"/>
                    <a:pt x="210" y="658"/>
                    <a:pt x="210" y="658"/>
                  </a:cubicBezTo>
                  <a:cubicBezTo>
                    <a:pt x="210" y="658"/>
                    <a:pt x="229" y="658"/>
                    <a:pt x="235" y="660"/>
                  </a:cubicBezTo>
                  <a:cubicBezTo>
                    <a:pt x="241" y="662"/>
                    <a:pt x="248" y="678"/>
                    <a:pt x="248" y="678"/>
                  </a:cubicBezTo>
                  <a:cubicBezTo>
                    <a:pt x="251" y="669"/>
                    <a:pt x="251" y="669"/>
                    <a:pt x="251" y="669"/>
                  </a:cubicBezTo>
                  <a:cubicBezTo>
                    <a:pt x="265" y="682"/>
                    <a:pt x="265" y="682"/>
                    <a:pt x="265" y="682"/>
                  </a:cubicBezTo>
                  <a:cubicBezTo>
                    <a:pt x="274" y="666"/>
                    <a:pt x="274" y="666"/>
                    <a:pt x="274" y="666"/>
                  </a:cubicBezTo>
                  <a:cubicBezTo>
                    <a:pt x="274" y="666"/>
                    <a:pt x="284" y="675"/>
                    <a:pt x="287" y="680"/>
                  </a:cubicBezTo>
                  <a:cubicBezTo>
                    <a:pt x="290" y="685"/>
                    <a:pt x="262" y="717"/>
                    <a:pt x="262" y="717"/>
                  </a:cubicBezTo>
                  <a:cubicBezTo>
                    <a:pt x="267" y="720"/>
                    <a:pt x="271" y="724"/>
                    <a:pt x="275" y="728"/>
                  </a:cubicBezTo>
                  <a:cubicBezTo>
                    <a:pt x="289" y="723"/>
                    <a:pt x="289" y="723"/>
                    <a:pt x="289" y="723"/>
                  </a:cubicBezTo>
                  <a:cubicBezTo>
                    <a:pt x="322" y="712"/>
                    <a:pt x="322" y="712"/>
                    <a:pt x="322" y="712"/>
                  </a:cubicBezTo>
                  <a:cubicBezTo>
                    <a:pt x="322" y="728"/>
                    <a:pt x="322" y="728"/>
                    <a:pt x="322" y="728"/>
                  </a:cubicBezTo>
                  <a:cubicBezTo>
                    <a:pt x="337" y="729"/>
                    <a:pt x="337" y="729"/>
                    <a:pt x="337" y="729"/>
                  </a:cubicBezTo>
                  <a:cubicBezTo>
                    <a:pt x="346" y="723"/>
                    <a:pt x="346" y="723"/>
                    <a:pt x="346" y="723"/>
                  </a:cubicBezTo>
                  <a:cubicBezTo>
                    <a:pt x="361" y="732"/>
                    <a:pt x="361" y="732"/>
                    <a:pt x="361" y="732"/>
                  </a:cubicBezTo>
                  <a:cubicBezTo>
                    <a:pt x="361" y="732"/>
                    <a:pt x="378" y="728"/>
                    <a:pt x="385" y="728"/>
                  </a:cubicBezTo>
                  <a:cubicBezTo>
                    <a:pt x="391" y="728"/>
                    <a:pt x="391" y="717"/>
                    <a:pt x="391" y="717"/>
                  </a:cubicBezTo>
                  <a:cubicBezTo>
                    <a:pt x="391" y="717"/>
                    <a:pt x="421" y="719"/>
                    <a:pt x="398" y="699"/>
                  </a:cubicBezTo>
                  <a:cubicBezTo>
                    <a:pt x="389" y="707"/>
                    <a:pt x="389" y="707"/>
                    <a:pt x="389" y="707"/>
                  </a:cubicBezTo>
                  <a:cubicBezTo>
                    <a:pt x="393" y="684"/>
                    <a:pt x="393" y="684"/>
                    <a:pt x="393" y="684"/>
                  </a:cubicBezTo>
                  <a:cubicBezTo>
                    <a:pt x="383" y="664"/>
                    <a:pt x="383" y="664"/>
                    <a:pt x="383" y="664"/>
                  </a:cubicBezTo>
                  <a:cubicBezTo>
                    <a:pt x="394" y="664"/>
                    <a:pt x="394" y="664"/>
                    <a:pt x="394" y="664"/>
                  </a:cubicBezTo>
                  <a:cubicBezTo>
                    <a:pt x="394" y="627"/>
                    <a:pt x="394" y="627"/>
                    <a:pt x="394" y="627"/>
                  </a:cubicBezTo>
                  <a:cubicBezTo>
                    <a:pt x="383" y="627"/>
                    <a:pt x="383" y="627"/>
                    <a:pt x="383" y="627"/>
                  </a:cubicBezTo>
                  <a:cubicBezTo>
                    <a:pt x="386" y="605"/>
                    <a:pt x="386" y="605"/>
                    <a:pt x="386" y="605"/>
                  </a:cubicBezTo>
                  <a:cubicBezTo>
                    <a:pt x="371" y="585"/>
                    <a:pt x="371" y="585"/>
                    <a:pt x="371" y="585"/>
                  </a:cubicBezTo>
                  <a:cubicBezTo>
                    <a:pt x="378" y="573"/>
                    <a:pt x="378" y="573"/>
                    <a:pt x="378" y="573"/>
                  </a:cubicBezTo>
                  <a:cubicBezTo>
                    <a:pt x="353" y="548"/>
                    <a:pt x="353" y="548"/>
                    <a:pt x="353" y="548"/>
                  </a:cubicBezTo>
                  <a:cubicBezTo>
                    <a:pt x="357" y="537"/>
                    <a:pt x="357" y="537"/>
                    <a:pt x="357" y="537"/>
                  </a:cubicBezTo>
                  <a:cubicBezTo>
                    <a:pt x="357" y="537"/>
                    <a:pt x="337" y="532"/>
                    <a:pt x="339" y="523"/>
                  </a:cubicBezTo>
                  <a:cubicBezTo>
                    <a:pt x="342" y="513"/>
                    <a:pt x="371" y="503"/>
                    <a:pt x="378" y="511"/>
                  </a:cubicBezTo>
                  <a:cubicBezTo>
                    <a:pt x="385" y="519"/>
                    <a:pt x="413" y="501"/>
                    <a:pt x="413" y="501"/>
                  </a:cubicBezTo>
                  <a:cubicBezTo>
                    <a:pt x="415" y="485"/>
                    <a:pt x="415" y="485"/>
                    <a:pt x="415" y="485"/>
                  </a:cubicBezTo>
                  <a:cubicBezTo>
                    <a:pt x="434" y="488"/>
                    <a:pt x="434" y="488"/>
                    <a:pt x="434" y="488"/>
                  </a:cubicBezTo>
                  <a:cubicBezTo>
                    <a:pt x="433" y="496"/>
                    <a:pt x="433" y="496"/>
                    <a:pt x="433" y="496"/>
                  </a:cubicBezTo>
                  <a:cubicBezTo>
                    <a:pt x="459" y="481"/>
                    <a:pt x="459" y="481"/>
                    <a:pt x="459" y="481"/>
                  </a:cubicBezTo>
                  <a:cubicBezTo>
                    <a:pt x="502" y="480"/>
                    <a:pt x="502" y="480"/>
                    <a:pt x="502" y="480"/>
                  </a:cubicBezTo>
                  <a:cubicBezTo>
                    <a:pt x="499" y="492"/>
                    <a:pt x="499" y="492"/>
                    <a:pt x="499" y="492"/>
                  </a:cubicBezTo>
                  <a:cubicBezTo>
                    <a:pt x="509" y="492"/>
                    <a:pt x="509" y="492"/>
                    <a:pt x="509" y="492"/>
                  </a:cubicBezTo>
                  <a:cubicBezTo>
                    <a:pt x="514" y="483"/>
                    <a:pt x="514" y="483"/>
                    <a:pt x="514" y="483"/>
                  </a:cubicBezTo>
                  <a:cubicBezTo>
                    <a:pt x="519" y="484"/>
                    <a:pt x="519" y="484"/>
                    <a:pt x="519" y="484"/>
                  </a:cubicBezTo>
                  <a:cubicBezTo>
                    <a:pt x="519" y="484"/>
                    <a:pt x="518" y="464"/>
                    <a:pt x="549" y="464"/>
                  </a:cubicBezTo>
                  <a:cubicBezTo>
                    <a:pt x="549" y="463"/>
                    <a:pt x="549" y="462"/>
                    <a:pt x="549" y="461"/>
                  </a:cubicBezTo>
                  <a:cubicBezTo>
                    <a:pt x="546" y="433"/>
                    <a:pt x="575" y="399"/>
                    <a:pt x="575" y="399"/>
                  </a:cubicBezTo>
                  <a:cubicBezTo>
                    <a:pt x="569" y="387"/>
                    <a:pt x="569" y="387"/>
                    <a:pt x="569" y="387"/>
                  </a:cubicBezTo>
                  <a:cubicBezTo>
                    <a:pt x="569" y="387"/>
                    <a:pt x="581" y="369"/>
                    <a:pt x="585" y="359"/>
                  </a:cubicBezTo>
                  <a:cubicBezTo>
                    <a:pt x="578" y="351"/>
                    <a:pt x="589" y="323"/>
                    <a:pt x="589" y="323"/>
                  </a:cubicBezTo>
                  <a:cubicBezTo>
                    <a:pt x="626" y="335"/>
                    <a:pt x="626" y="335"/>
                    <a:pt x="626" y="335"/>
                  </a:cubicBezTo>
                  <a:cubicBezTo>
                    <a:pt x="615" y="320"/>
                    <a:pt x="615" y="320"/>
                    <a:pt x="615" y="320"/>
                  </a:cubicBezTo>
                  <a:cubicBezTo>
                    <a:pt x="615" y="320"/>
                    <a:pt x="626" y="313"/>
                    <a:pt x="625" y="311"/>
                  </a:cubicBezTo>
                  <a:cubicBezTo>
                    <a:pt x="642" y="329"/>
                    <a:pt x="641" y="307"/>
                    <a:pt x="641" y="307"/>
                  </a:cubicBezTo>
                  <a:cubicBezTo>
                    <a:pt x="641" y="307"/>
                    <a:pt x="670" y="300"/>
                    <a:pt x="674" y="299"/>
                  </a:cubicBezTo>
                  <a:cubicBezTo>
                    <a:pt x="658" y="293"/>
                    <a:pt x="690" y="272"/>
                    <a:pt x="690" y="272"/>
                  </a:cubicBezTo>
                  <a:cubicBezTo>
                    <a:pt x="690" y="272"/>
                    <a:pt x="703" y="252"/>
                    <a:pt x="707" y="248"/>
                  </a:cubicBezTo>
                  <a:cubicBezTo>
                    <a:pt x="707" y="233"/>
                    <a:pt x="717" y="229"/>
                    <a:pt x="717" y="229"/>
                  </a:cubicBezTo>
                  <a:cubicBezTo>
                    <a:pt x="725" y="219"/>
                    <a:pt x="725" y="219"/>
                    <a:pt x="725" y="219"/>
                  </a:cubicBezTo>
                  <a:cubicBezTo>
                    <a:pt x="718" y="205"/>
                    <a:pt x="718" y="205"/>
                    <a:pt x="718" y="205"/>
                  </a:cubicBezTo>
                  <a:cubicBezTo>
                    <a:pt x="722" y="192"/>
                    <a:pt x="722" y="192"/>
                    <a:pt x="722" y="192"/>
                  </a:cubicBezTo>
                  <a:cubicBezTo>
                    <a:pt x="714" y="180"/>
                    <a:pt x="714" y="180"/>
                    <a:pt x="714" y="180"/>
                  </a:cubicBezTo>
                  <a:cubicBezTo>
                    <a:pt x="725" y="175"/>
                    <a:pt x="725" y="175"/>
                    <a:pt x="725" y="175"/>
                  </a:cubicBezTo>
                  <a:cubicBezTo>
                    <a:pt x="725" y="157"/>
                    <a:pt x="725" y="157"/>
                    <a:pt x="725" y="157"/>
                  </a:cubicBezTo>
                  <a:cubicBezTo>
                    <a:pt x="739" y="156"/>
                    <a:pt x="739" y="156"/>
                    <a:pt x="739" y="156"/>
                  </a:cubicBezTo>
                  <a:cubicBezTo>
                    <a:pt x="739" y="147"/>
                    <a:pt x="739" y="147"/>
                    <a:pt x="739" y="147"/>
                  </a:cubicBezTo>
                  <a:lnTo>
                    <a:pt x="719" y="14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3" name="POitou-Charentes" descr="© INSCALE GmbH, 05.05.2010&#10;http://www.presentationload.com/">
              <a:extLst>
                <a:ext uri="{FF2B5EF4-FFF2-40B4-BE49-F238E27FC236}">
                  <a16:creationId xmlns:a16="http://schemas.microsoft.com/office/drawing/2014/main" id="{3AE2A17A-E1A4-415C-BCBD-27B07359DE41}"/>
                </a:ext>
              </a:extLst>
            </p:cNvPr>
            <p:cNvSpPr>
              <a:spLocks noEditPoints="1"/>
            </p:cNvSpPr>
            <p:nvPr/>
          </p:nvSpPr>
          <p:spPr bwMode="gray">
            <a:xfrm>
              <a:off x="881" y="1507"/>
              <a:ext cx="619" cy="717"/>
            </a:xfrm>
            <a:custGeom>
              <a:avLst/>
              <a:gdLst/>
              <a:ahLst/>
              <a:cxnLst>
                <a:cxn ang="0">
                  <a:pos x="39" y="333"/>
                </a:cxn>
                <a:cxn ang="0">
                  <a:pos x="19" y="308"/>
                </a:cxn>
                <a:cxn ang="0">
                  <a:pos x="6" y="327"/>
                </a:cxn>
                <a:cxn ang="0">
                  <a:pos x="32" y="355"/>
                </a:cxn>
                <a:cxn ang="0">
                  <a:pos x="46" y="345"/>
                </a:cxn>
                <a:cxn ang="0">
                  <a:pos x="559" y="229"/>
                </a:cxn>
                <a:cxn ang="0">
                  <a:pos x="533" y="197"/>
                </a:cxn>
                <a:cxn ang="0">
                  <a:pos x="486" y="111"/>
                </a:cxn>
                <a:cxn ang="0">
                  <a:pos x="434" y="52"/>
                </a:cxn>
                <a:cxn ang="0">
                  <a:pos x="419" y="65"/>
                </a:cxn>
                <a:cxn ang="0">
                  <a:pos x="393" y="67"/>
                </a:cxn>
                <a:cxn ang="0">
                  <a:pos x="382" y="39"/>
                </a:cxn>
                <a:cxn ang="0">
                  <a:pos x="369" y="28"/>
                </a:cxn>
                <a:cxn ang="0">
                  <a:pos x="355" y="21"/>
                </a:cxn>
                <a:cxn ang="0">
                  <a:pos x="299" y="20"/>
                </a:cxn>
                <a:cxn ang="0">
                  <a:pos x="289" y="28"/>
                </a:cxn>
                <a:cxn ang="0">
                  <a:pos x="282" y="16"/>
                </a:cxn>
                <a:cxn ang="0">
                  <a:pos x="213" y="32"/>
                </a:cxn>
                <a:cxn ang="0">
                  <a:pos x="195" y="21"/>
                </a:cxn>
                <a:cxn ang="0">
                  <a:pos x="158" y="47"/>
                </a:cxn>
                <a:cxn ang="0">
                  <a:pos x="137" y="73"/>
                </a:cxn>
                <a:cxn ang="0">
                  <a:pos x="158" y="109"/>
                </a:cxn>
                <a:cxn ang="0">
                  <a:pos x="166" y="141"/>
                </a:cxn>
                <a:cxn ang="0">
                  <a:pos x="174" y="163"/>
                </a:cxn>
                <a:cxn ang="0">
                  <a:pos x="163" y="200"/>
                </a:cxn>
                <a:cxn ang="0">
                  <a:pos x="169" y="243"/>
                </a:cxn>
                <a:cxn ang="0">
                  <a:pos x="171" y="253"/>
                </a:cxn>
                <a:cxn ang="0">
                  <a:pos x="141" y="268"/>
                </a:cxn>
                <a:cxn ang="0">
                  <a:pos x="117" y="265"/>
                </a:cxn>
                <a:cxn ang="0">
                  <a:pos x="102" y="248"/>
                </a:cxn>
                <a:cxn ang="0">
                  <a:pos x="55" y="264"/>
                </a:cxn>
                <a:cxn ang="0">
                  <a:pos x="64" y="309"/>
                </a:cxn>
                <a:cxn ang="0">
                  <a:pos x="69" y="324"/>
                </a:cxn>
                <a:cxn ang="0">
                  <a:pos x="63" y="352"/>
                </a:cxn>
                <a:cxn ang="0">
                  <a:pos x="58" y="367"/>
                </a:cxn>
                <a:cxn ang="0">
                  <a:pos x="44" y="372"/>
                </a:cxn>
                <a:cxn ang="0">
                  <a:pos x="37" y="406"/>
                </a:cxn>
                <a:cxn ang="0">
                  <a:pos x="80" y="427"/>
                </a:cxn>
                <a:cxn ang="0">
                  <a:pos x="103" y="454"/>
                </a:cxn>
                <a:cxn ang="0">
                  <a:pos x="147" y="539"/>
                </a:cxn>
                <a:cxn ang="0">
                  <a:pos x="152" y="564"/>
                </a:cxn>
                <a:cxn ang="0">
                  <a:pos x="151" y="581"/>
                </a:cxn>
                <a:cxn ang="0">
                  <a:pos x="171" y="593"/>
                </a:cxn>
                <a:cxn ang="0">
                  <a:pos x="210" y="643"/>
                </a:cxn>
                <a:cxn ang="0">
                  <a:pos x="293" y="652"/>
                </a:cxn>
                <a:cxn ang="0">
                  <a:pos x="327" y="625"/>
                </a:cxn>
                <a:cxn ang="0">
                  <a:pos x="357" y="597"/>
                </a:cxn>
                <a:cxn ang="0">
                  <a:pos x="405" y="524"/>
                </a:cxn>
                <a:cxn ang="0">
                  <a:pos x="411" y="495"/>
                </a:cxn>
                <a:cxn ang="0">
                  <a:pos x="461" y="451"/>
                </a:cxn>
                <a:cxn ang="0">
                  <a:pos x="481" y="439"/>
                </a:cxn>
                <a:cxn ang="0">
                  <a:pos x="487" y="395"/>
                </a:cxn>
                <a:cxn ang="0">
                  <a:pos x="513" y="391"/>
                </a:cxn>
                <a:cxn ang="0">
                  <a:pos x="490" y="332"/>
                </a:cxn>
                <a:cxn ang="0">
                  <a:pos x="494" y="301"/>
                </a:cxn>
                <a:cxn ang="0">
                  <a:pos x="529" y="287"/>
                </a:cxn>
                <a:cxn ang="0">
                  <a:pos x="555" y="263"/>
                </a:cxn>
                <a:cxn ang="0">
                  <a:pos x="570" y="252"/>
                </a:cxn>
              </a:cxnLst>
              <a:rect l="0" t="0" r="r" b="b"/>
              <a:pathLst>
                <a:path w="574" h="665">
                  <a:moveTo>
                    <a:pt x="46" y="345"/>
                  </a:moveTo>
                  <a:cubicBezTo>
                    <a:pt x="39" y="333"/>
                    <a:pt x="39" y="333"/>
                    <a:pt x="39" y="333"/>
                  </a:cubicBezTo>
                  <a:cubicBezTo>
                    <a:pt x="38" y="311"/>
                    <a:pt x="38" y="311"/>
                    <a:pt x="38" y="311"/>
                  </a:cubicBezTo>
                  <a:cubicBezTo>
                    <a:pt x="19" y="308"/>
                    <a:pt x="19" y="308"/>
                    <a:pt x="19" y="308"/>
                  </a:cubicBezTo>
                  <a:cubicBezTo>
                    <a:pt x="4" y="289"/>
                    <a:pt x="4" y="289"/>
                    <a:pt x="4" y="289"/>
                  </a:cubicBezTo>
                  <a:cubicBezTo>
                    <a:pt x="0" y="293"/>
                    <a:pt x="6" y="327"/>
                    <a:pt x="6" y="327"/>
                  </a:cubicBezTo>
                  <a:cubicBezTo>
                    <a:pt x="19" y="337"/>
                    <a:pt x="19" y="337"/>
                    <a:pt x="19" y="337"/>
                  </a:cubicBezTo>
                  <a:cubicBezTo>
                    <a:pt x="32" y="355"/>
                    <a:pt x="32" y="355"/>
                    <a:pt x="32" y="355"/>
                  </a:cubicBezTo>
                  <a:cubicBezTo>
                    <a:pt x="36" y="368"/>
                    <a:pt x="36" y="368"/>
                    <a:pt x="36" y="368"/>
                  </a:cubicBezTo>
                  <a:lnTo>
                    <a:pt x="46" y="345"/>
                  </a:lnTo>
                  <a:close/>
                  <a:moveTo>
                    <a:pt x="574" y="241"/>
                  </a:moveTo>
                  <a:cubicBezTo>
                    <a:pt x="574" y="241"/>
                    <a:pt x="563" y="236"/>
                    <a:pt x="559" y="229"/>
                  </a:cubicBezTo>
                  <a:cubicBezTo>
                    <a:pt x="553" y="187"/>
                    <a:pt x="534" y="208"/>
                    <a:pt x="534" y="208"/>
                  </a:cubicBezTo>
                  <a:cubicBezTo>
                    <a:pt x="534" y="208"/>
                    <a:pt x="537" y="199"/>
                    <a:pt x="533" y="197"/>
                  </a:cubicBezTo>
                  <a:cubicBezTo>
                    <a:pt x="505" y="196"/>
                    <a:pt x="510" y="167"/>
                    <a:pt x="511" y="153"/>
                  </a:cubicBezTo>
                  <a:cubicBezTo>
                    <a:pt x="479" y="120"/>
                    <a:pt x="503" y="127"/>
                    <a:pt x="486" y="111"/>
                  </a:cubicBezTo>
                  <a:cubicBezTo>
                    <a:pt x="469" y="95"/>
                    <a:pt x="466" y="63"/>
                    <a:pt x="466" y="63"/>
                  </a:cubicBezTo>
                  <a:cubicBezTo>
                    <a:pt x="434" y="52"/>
                    <a:pt x="434" y="52"/>
                    <a:pt x="434" y="52"/>
                  </a:cubicBezTo>
                  <a:cubicBezTo>
                    <a:pt x="442" y="65"/>
                    <a:pt x="442" y="65"/>
                    <a:pt x="442" y="65"/>
                  </a:cubicBezTo>
                  <a:cubicBezTo>
                    <a:pt x="419" y="65"/>
                    <a:pt x="419" y="65"/>
                    <a:pt x="419" y="65"/>
                  </a:cubicBezTo>
                  <a:cubicBezTo>
                    <a:pt x="405" y="73"/>
                    <a:pt x="405" y="73"/>
                    <a:pt x="405" y="73"/>
                  </a:cubicBezTo>
                  <a:cubicBezTo>
                    <a:pt x="393" y="67"/>
                    <a:pt x="393" y="67"/>
                    <a:pt x="393" y="67"/>
                  </a:cubicBezTo>
                  <a:cubicBezTo>
                    <a:pt x="393" y="67"/>
                    <a:pt x="394" y="73"/>
                    <a:pt x="382" y="69"/>
                  </a:cubicBezTo>
                  <a:cubicBezTo>
                    <a:pt x="370" y="65"/>
                    <a:pt x="382" y="39"/>
                    <a:pt x="382" y="39"/>
                  </a:cubicBezTo>
                  <a:cubicBezTo>
                    <a:pt x="373" y="35"/>
                    <a:pt x="373" y="35"/>
                    <a:pt x="373" y="35"/>
                  </a:cubicBezTo>
                  <a:cubicBezTo>
                    <a:pt x="369" y="28"/>
                    <a:pt x="369" y="28"/>
                    <a:pt x="369" y="28"/>
                  </a:cubicBezTo>
                  <a:cubicBezTo>
                    <a:pt x="355" y="35"/>
                    <a:pt x="355" y="35"/>
                    <a:pt x="355" y="35"/>
                  </a:cubicBezTo>
                  <a:cubicBezTo>
                    <a:pt x="355" y="21"/>
                    <a:pt x="355" y="21"/>
                    <a:pt x="355" y="21"/>
                  </a:cubicBezTo>
                  <a:cubicBezTo>
                    <a:pt x="355" y="21"/>
                    <a:pt x="333" y="25"/>
                    <a:pt x="329" y="0"/>
                  </a:cubicBezTo>
                  <a:cubicBezTo>
                    <a:pt x="298" y="0"/>
                    <a:pt x="299" y="20"/>
                    <a:pt x="299" y="20"/>
                  </a:cubicBezTo>
                  <a:cubicBezTo>
                    <a:pt x="294" y="19"/>
                    <a:pt x="294" y="19"/>
                    <a:pt x="294" y="19"/>
                  </a:cubicBezTo>
                  <a:cubicBezTo>
                    <a:pt x="289" y="28"/>
                    <a:pt x="289" y="28"/>
                    <a:pt x="289" y="28"/>
                  </a:cubicBezTo>
                  <a:cubicBezTo>
                    <a:pt x="279" y="28"/>
                    <a:pt x="279" y="28"/>
                    <a:pt x="279" y="28"/>
                  </a:cubicBezTo>
                  <a:cubicBezTo>
                    <a:pt x="282" y="16"/>
                    <a:pt x="282" y="16"/>
                    <a:pt x="282" y="16"/>
                  </a:cubicBezTo>
                  <a:cubicBezTo>
                    <a:pt x="239" y="17"/>
                    <a:pt x="239" y="17"/>
                    <a:pt x="239" y="17"/>
                  </a:cubicBezTo>
                  <a:cubicBezTo>
                    <a:pt x="213" y="32"/>
                    <a:pt x="213" y="32"/>
                    <a:pt x="213" y="32"/>
                  </a:cubicBezTo>
                  <a:cubicBezTo>
                    <a:pt x="214" y="24"/>
                    <a:pt x="214" y="24"/>
                    <a:pt x="214" y="24"/>
                  </a:cubicBezTo>
                  <a:cubicBezTo>
                    <a:pt x="195" y="21"/>
                    <a:pt x="195" y="21"/>
                    <a:pt x="195" y="21"/>
                  </a:cubicBezTo>
                  <a:cubicBezTo>
                    <a:pt x="193" y="37"/>
                    <a:pt x="193" y="37"/>
                    <a:pt x="193" y="37"/>
                  </a:cubicBezTo>
                  <a:cubicBezTo>
                    <a:pt x="193" y="37"/>
                    <a:pt x="165" y="55"/>
                    <a:pt x="158" y="47"/>
                  </a:cubicBezTo>
                  <a:cubicBezTo>
                    <a:pt x="151" y="39"/>
                    <a:pt x="122" y="49"/>
                    <a:pt x="119" y="59"/>
                  </a:cubicBezTo>
                  <a:cubicBezTo>
                    <a:pt x="117" y="68"/>
                    <a:pt x="137" y="73"/>
                    <a:pt x="137" y="73"/>
                  </a:cubicBezTo>
                  <a:cubicBezTo>
                    <a:pt x="133" y="84"/>
                    <a:pt x="133" y="84"/>
                    <a:pt x="133" y="84"/>
                  </a:cubicBezTo>
                  <a:cubicBezTo>
                    <a:pt x="158" y="109"/>
                    <a:pt x="158" y="109"/>
                    <a:pt x="158" y="109"/>
                  </a:cubicBezTo>
                  <a:cubicBezTo>
                    <a:pt x="151" y="121"/>
                    <a:pt x="151" y="121"/>
                    <a:pt x="151" y="121"/>
                  </a:cubicBezTo>
                  <a:cubicBezTo>
                    <a:pt x="166" y="141"/>
                    <a:pt x="166" y="141"/>
                    <a:pt x="166" y="141"/>
                  </a:cubicBezTo>
                  <a:cubicBezTo>
                    <a:pt x="163" y="163"/>
                    <a:pt x="163" y="163"/>
                    <a:pt x="163" y="163"/>
                  </a:cubicBezTo>
                  <a:cubicBezTo>
                    <a:pt x="174" y="163"/>
                    <a:pt x="174" y="163"/>
                    <a:pt x="174" y="163"/>
                  </a:cubicBezTo>
                  <a:cubicBezTo>
                    <a:pt x="174" y="200"/>
                    <a:pt x="174" y="200"/>
                    <a:pt x="174" y="200"/>
                  </a:cubicBezTo>
                  <a:cubicBezTo>
                    <a:pt x="163" y="200"/>
                    <a:pt x="163" y="200"/>
                    <a:pt x="163" y="200"/>
                  </a:cubicBezTo>
                  <a:cubicBezTo>
                    <a:pt x="173" y="220"/>
                    <a:pt x="173" y="220"/>
                    <a:pt x="173" y="220"/>
                  </a:cubicBezTo>
                  <a:cubicBezTo>
                    <a:pt x="169" y="243"/>
                    <a:pt x="169" y="243"/>
                    <a:pt x="169" y="243"/>
                  </a:cubicBezTo>
                  <a:cubicBezTo>
                    <a:pt x="178" y="235"/>
                    <a:pt x="178" y="235"/>
                    <a:pt x="178" y="235"/>
                  </a:cubicBezTo>
                  <a:cubicBezTo>
                    <a:pt x="201" y="255"/>
                    <a:pt x="171" y="253"/>
                    <a:pt x="171" y="253"/>
                  </a:cubicBezTo>
                  <a:cubicBezTo>
                    <a:pt x="171" y="253"/>
                    <a:pt x="171" y="264"/>
                    <a:pt x="165" y="264"/>
                  </a:cubicBezTo>
                  <a:cubicBezTo>
                    <a:pt x="158" y="264"/>
                    <a:pt x="141" y="268"/>
                    <a:pt x="141" y="268"/>
                  </a:cubicBezTo>
                  <a:cubicBezTo>
                    <a:pt x="126" y="259"/>
                    <a:pt x="126" y="259"/>
                    <a:pt x="126" y="259"/>
                  </a:cubicBezTo>
                  <a:cubicBezTo>
                    <a:pt x="117" y="265"/>
                    <a:pt x="117" y="265"/>
                    <a:pt x="117" y="265"/>
                  </a:cubicBezTo>
                  <a:cubicBezTo>
                    <a:pt x="102" y="264"/>
                    <a:pt x="102" y="264"/>
                    <a:pt x="102" y="264"/>
                  </a:cubicBezTo>
                  <a:cubicBezTo>
                    <a:pt x="102" y="248"/>
                    <a:pt x="102" y="248"/>
                    <a:pt x="102" y="248"/>
                  </a:cubicBezTo>
                  <a:cubicBezTo>
                    <a:pt x="69" y="259"/>
                    <a:pt x="69" y="259"/>
                    <a:pt x="69" y="259"/>
                  </a:cubicBezTo>
                  <a:cubicBezTo>
                    <a:pt x="55" y="264"/>
                    <a:pt x="55" y="264"/>
                    <a:pt x="55" y="264"/>
                  </a:cubicBezTo>
                  <a:cubicBezTo>
                    <a:pt x="71" y="282"/>
                    <a:pt x="78" y="307"/>
                    <a:pt x="78" y="307"/>
                  </a:cubicBezTo>
                  <a:cubicBezTo>
                    <a:pt x="64" y="309"/>
                    <a:pt x="64" y="309"/>
                    <a:pt x="64" y="309"/>
                  </a:cubicBezTo>
                  <a:cubicBezTo>
                    <a:pt x="69" y="320"/>
                    <a:pt x="69" y="320"/>
                    <a:pt x="69" y="320"/>
                  </a:cubicBezTo>
                  <a:cubicBezTo>
                    <a:pt x="69" y="324"/>
                    <a:pt x="69" y="324"/>
                    <a:pt x="69" y="324"/>
                  </a:cubicBezTo>
                  <a:cubicBezTo>
                    <a:pt x="71" y="335"/>
                    <a:pt x="71" y="335"/>
                    <a:pt x="71" y="335"/>
                  </a:cubicBezTo>
                  <a:cubicBezTo>
                    <a:pt x="63" y="352"/>
                    <a:pt x="63" y="352"/>
                    <a:pt x="63" y="352"/>
                  </a:cubicBezTo>
                  <a:cubicBezTo>
                    <a:pt x="52" y="352"/>
                    <a:pt x="52" y="352"/>
                    <a:pt x="52" y="352"/>
                  </a:cubicBezTo>
                  <a:cubicBezTo>
                    <a:pt x="58" y="367"/>
                    <a:pt x="58" y="367"/>
                    <a:pt x="58" y="367"/>
                  </a:cubicBezTo>
                  <a:cubicBezTo>
                    <a:pt x="67" y="382"/>
                    <a:pt x="67" y="382"/>
                    <a:pt x="67" y="382"/>
                  </a:cubicBezTo>
                  <a:cubicBezTo>
                    <a:pt x="67" y="382"/>
                    <a:pt x="51" y="372"/>
                    <a:pt x="44" y="372"/>
                  </a:cubicBezTo>
                  <a:cubicBezTo>
                    <a:pt x="37" y="372"/>
                    <a:pt x="35" y="378"/>
                    <a:pt x="33" y="389"/>
                  </a:cubicBezTo>
                  <a:cubicBezTo>
                    <a:pt x="31" y="400"/>
                    <a:pt x="37" y="406"/>
                    <a:pt x="37" y="406"/>
                  </a:cubicBezTo>
                  <a:cubicBezTo>
                    <a:pt x="70" y="427"/>
                    <a:pt x="70" y="427"/>
                    <a:pt x="70" y="427"/>
                  </a:cubicBezTo>
                  <a:cubicBezTo>
                    <a:pt x="80" y="427"/>
                    <a:pt x="80" y="427"/>
                    <a:pt x="80" y="427"/>
                  </a:cubicBezTo>
                  <a:cubicBezTo>
                    <a:pt x="93" y="454"/>
                    <a:pt x="93" y="454"/>
                    <a:pt x="93" y="454"/>
                  </a:cubicBezTo>
                  <a:cubicBezTo>
                    <a:pt x="103" y="454"/>
                    <a:pt x="103" y="454"/>
                    <a:pt x="103" y="454"/>
                  </a:cubicBezTo>
                  <a:cubicBezTo>
                    <a:pt x="103" y="454"/>
                    <a:pt x="104" y="457"/>
                    <a:pt x="114" y="462"/>
                  </a:cubicBezTo>
                  <a:cubicBezTo>
                    <a:pt x="124" y="467"/>
                    <a:pt x="147" y="539"/>
                    <a:pt x="147" y="539"/>
                  </a:cubicBezTo>
                  <a:cubicBezTo>
                    <a:pt x="145" y="553"/>
                    <a:pt x="145" y="553"/>
                    <a:pt x="145" y="553"/>
                  </a:cubicBezTo>
                  <a:cubicBezTo>
                    <a:pt x="152" y="564"/>
                    <a:pt x="152" y="564"/>
                    <a:pt x="152" y="564"/>
                  </a:cubicBezTo>
                  <a:cubicBezTo>
                    <a:pt x="148" y="576"/>
                    <a:pt x="148" y="576"/>
                    <a:pt x="148" y="576"/>
                  </a:cubicBezTo>
                  <a:cubicBezTo>
                    <a:pt x="148" y="576"/>
                    <a:pt x="149" y="578"/>
                    <a:pt x="151" y="581"/>
                  </a:cubicBezTo>
                  <a:cubicBezTo>
                    <a:pt x="165" y="580"/>
                    <a:pt x="165" y="580"/>
                    <a:pt x="165" y="580"/>
                  </a:cubicBezTo>
                  <a:cubicBezTo>
                    <a:pt x="171" y="593"/>
                    <a:pt x="171" y="593"/>
                    <a:pt x="171" y="593"/>
                  </a:cubicBezTo>
                  <a:cubicBezTo>
                    <a:pt x="171" y="593"/>
                    <a:pt x="211" y="604"/>
                    <a:pt x="205" y="619"/>
                  </a:cubicBezTo>
                  <a:cubicBezTo>
                    <a:pt x="210" y="637"/>
                    <a:pt x="210" y="643"/>
                    <a:pt x="210" y="643"/>
                  </a:cubicBezTo>
                  <a:cubicBezTo>
                    <a:pt x="210" y="643"/>
                    <a:pt x="218" y="628"/>
                    <a:pt x="235" y="645"/>
                  </a:cubicBezTo>
                  <a:cubicBezTo>
                    <a:pt x="253" y="663"/>
                    <a:pt x="286" y="665"/>
                    <a:pt x="293" y="652"/>
                  </a:cubicBezTo>
                  <a:cubicBezTo>
                    <a:pt x="299" y="639"/>
                    <a:pt x="315" y="616"/>
                    <a:pt x="315" y="616"/>
                  </a:cubicBezTo>
                  <a:cubicBezTo>
                    <a:pt x="315" y="616"/>
                    <a:pt x="323" y="625"/>
                    <a:pt x="327" y="625"/>
                  </a:cubicBezTo>
                  <a:cubicBezTo>
                    <a:pt x="331" y="625"/>
                    <a:pt x="350" y="597"/>
                    <a:pt x="350" y="597"/>
                  </a:cubicBezTo>
                  <a:cubicBezTo>
                    <a:pt x="357" y="597"/>
                    <a:pt x="357" y="597"/>
                    <a:pt x="357" y="597"/>
                  </a:cubicBezTo>
                  <a:cubicBezTo>
                    <a:pt x="357" y="597"/>
                    <a:pt x="345" y="544"/>
                    <a:pt x="397" y="537"/>
                  </a:cubicBezTo>
                  <a:cubicBezTo>
                    <a:pt x="401" y="523"/>
                    <a:pt x="405" y="524"/>
                    <a:pt x="405" y="524"/>
                  </a:cubicBezTo>
                  <a:cubicBezTo>
                    <a:pt x="417" y="523"/>
                    <a:pt x="417" y="523"/>
                    <a:pt x="417" y="523"/>
                  </a:cubicBezTo>
                  <a:cubicBezTo>
                    <a:pt x="417" y="523"/>
                    <a:pt x="407" y="495"/>
                    <a:pt x="411" y="495"/>
                  </a:cubicBezTo>
                  <a:cubicBezTo>
                    <a:pt x="415" y="495"/>
                    <a:pt x="426" y="493"/>
                    <a:pt x="426" y="493"/>
                  </a:cubicBezTo>
                  <a:cubicBezTo>
                    <a:pt x="461" y="451"/>
                    <a:pt x="461" y="451"/>
                    <a:pt x="461" y="451"/>
                  </a:cubicBezTo>
                  <a:cubicBezTo>
                    <a:pt x="461" y="443"/>
                    <a:pt x="461" y="443"/>
                    <a:pt x="461" y="443"/>
                  </a:cubicBezTo>
                  <a:cubicBezTo>
                    <a:pt x="481" y="439"/>
                    <a:pt x="481" y="439"/>
                    <a:pt x="481" y="439"/>
                  </a:cubicBezTo>
                  <a:cubicBezTo>
                    <a:pt x="489" y="413"/>
                    <a:pt x="489" y="413"/>
                    <a:pt x="489" y="413"/>
                  </a:cubicBezTo>
                  <a:cubicBezTo>
                    <a:pt x="489" y="413"/>
                    <a:pt x="483" y="393"/>
                    <a:pt x="487" y="395"/>
                  </a:cubicBezTo>
                  <a:cubicBezTo>
                    <a:pt x="491" y="396"/>
                    <a:pt x="501" y="399"/>
                    <a:pt x="501" y="399"/>
                  </a:cubicBezTo>
                  <a:cubicBezTo>
                    <a:pt x="513" y="391"/>
                    <a:pt x="513" y="391"/>
                    <a:pt x="513" y="391"/>
                  </a:cubicBezTo>
                  <a:cubicBezTo>
                    <a:pt x="506" y="371"/>
                    <a:pt x="506" y="371"/>
                    <a:pt x="506" y="371"/>
                  </a:cubicBezTo>
                  <a:cubicBezTo>
                    <a:pt x="506" y="371"/>
                    <a:pt x="478" y="372"/>
                    <a:pt x="490" y="332"/>
                  </a:cubicBezTo>
                  <a:cubicBezTo>
                    <a:pt x="482" y="311"/>
                    <a:pt x="482" y="311"/>
                    <a:pt x="482" y="311"/>
                  </a:cubicBezTo>
                  <a:cubicBezTo>
                    <a:pt x="494" y="301"/>
                    <a:pt x="494" y="301"/>
                    <a:pt x="494" y="301"/>
                  </a:cubicBezTo>
                  <a:cubicBezTo>
                    <a:pt x="510" y="285"/>
                    <a:pt x="510" y="285"/>
                    <a:pt x="510" y="285"/>
                  </a:cubicBezTo>
                  <a:cubicBezTo>
                    <a:pt x="529" y="287"/>
                    <a:pt x="529" y="287"/>
                    <a:pt x="529" y="287"/>
                  </a:cubicBezTo>
                  <a:cubicBezTo>
                    <a:pt x="541" y="261"/>
                    <a:pt x="541" y="261"/>
                    <a:pt x="541" y="261"/>
                  </a:cubicBezTo>
                  <a:cubicBezTo>
                    <a:pt x="555" y="263"/>
                    <a:pt x="555" y="263"/>
                    <a:pt x="555" y="263"/>
                  </a:cubicBezTo>
                  <a:cubicBezTo>
                    <a:pt x="573" y="256"/>
                    <a:pt x="573" y="256"/>
                    <a:pt x="573" y="256"/>
                  </a:cubicBezTo>
                  <a:cubicBezTo>
                    <a:pt x="570" y="252"/>
                    <a:pt x="570" y="252"/>
                    <a:pt x="570" y="252"/>
                  </a:cubicBezTo>
                  <a:lnTo>
                    <a:pt x="574" y="241"/>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4" name="Limousin" descr="© INSCALE GmbH, 05.05.2010&#10;http://www.presentationload.com/">
              <a:extLst>
                <a:ext uri="{FF2B5EF4-FFF2-40B4-BE49-F238E27FC236}">
                  <a16:creationId xmlns:a16="http://schemas.microsoft.com/office/drawing/2014/main" id="{4FA2DC5F-8B28-45E5-99F2-EB35462EE5EB}"/>
                </a:ext>
              </a:extLst>
            </p:cNvPr>
            <p:cNvSpPr>
              <a:spLocks/>
            </p:cNvSpPr>
            <p:nvPr/>
          </p:nvSpPr>
          <p:spPr bwMode="gray">
            <a:xfrm>
              <a:off x="1360" y="1756"/>
              <a:ext cx="473" cy="536"/>
            </a:xfrm>
            <a:custGeom>
              <a:avLst/>
              <a:gdLst/>
              <a:ahLst/>
              <a:cxnLst>
                <a:cxn ang="0">
                  <a:pos x="50" y="266"/>
                </a:cxn>
                <a:cxn ang="0">
                  <a:pos x="97" y="293"/>
                </a:cxn>
                <a:cxn ang="0">
                  <a:pos x="110" y="314"/>
                </a:cxn>
                <a:cxn ang="0">
                  <a:pos x="135" y="337"/>
                </a:cxn>
                <a:cxn ang="0">
                  <a:pos x="133" y="369"/>
                </a:cxn>
                <a:cxn ang="0">
                  <a:pos x="141" y="386"/>
                </a:cxn>
                <a:cxn ang="0">
                  <a:pos x="142" y="404"/>
                </a:cxn>
                <a:cxn ang="0">
                  <a:pos x="169" y="426"/>
                </a:cxn>
                <a:cxn ang="0">
                  <a:pos x="175" y="461"/>
                </a:cxn>
                <a:cxn ang="0">
                  <a:pos x="258" y="493"/>
                </a:cxn>
                <a:cxn ang="0">
                  <a:pos x="286" y="481"/>
                </a:cxn>
                <a:cxn ang="0">
                  <a:pos x="319" y="474"/>
                </a:cxn>
                <a:cxn ang="0">
                  <a:pos x="343" y="440"/>
                </a:cxn>
                <a:cxn ang="0">
                  <a:pos x="350" y="412"/>
                </a:cxn>
                <a:cxn ang="0">
                  <a:pos x="363" y="374"/>
                </a:cxn>
                <a:cxn ang="0">
                  <a:pos x="385" y="365"/>
                </a:cxn>
                <a:cxn ang="0">
                  <a:pos x="402" y="348"/>
                </a:cxn>
                <a:cxn ang="0">
                  <a:pos x="410" y="330"/>
                </a:cxn>
                <a:cxn ang="0">
                  <a:pos x="419" y="265"/>
                </a:cxn>
                <a:cxn ang="0">
                  <a:pos x="403" y="193"/>
                </a:cxn>
                <a:cxn ang="0">
                  <a:pos x="438" y="161"/>
                </a:cxn>
                <a:cxn ang="0">
                  <a:pos x="430" y="105"/>
                </a:cxn>
                <a:cxn ang="0">
                  <a:pos x="397" y="54"/>
                </a:cxn>
                <a:cxn ang="0">
                  <a:pos x="375" y="28"/>
                </a:cxn>
                <a:cxn ang="0">
                  <a:pos x="365" y="11"/>
                </a:cxn>
                <a:cxn ang="0">
                  <a:pos x="318" y="13"/>
                </a:cxn>
                <a:cxn ang="0">
                  <a:pos x="250" y="4"/>
                </a:cxn>
                <a:cxn ang="0">
                  <a:pos x="235" y="16"/>
                </a:cxn>
                <a:cxn ang="0">
                  <a:pos x="219" y="13"/>
                </a:cxn>
                <a:cxn ang="0">
                  <a:pos x="201" y="12"/>
                </a:cxn>
                <a:cxn ang="0">
                  <a:pos x="169" y="21"/>
                </a:cxn>
                <a:cxn ang="0">
                  <a:pos x="151" y="28"/>
                </a:cxn>
                <a:cxn ang="0">
                  <a:pos x="129" y="25"/>
                </a:cxn>
                <a:cxn ang="0">
                  <a:pos x="97" y="30"/>
                </a:cxn>
                <a:cxn ang="0">
                  <a:pos x="66" y="54"/>
                </a:cxn>
                <a:cxn ang="0">
                  <a:pos x="38" y="80"/>
                </a:cxn>
                <a:cxn ang="0">
                  <a:pos x="62" y="140"/>
                </a:cxn>
                <a:cxn ang="0">
                  <a:pos x="57" y="168"/>
                </a:cxn>
                <a:cxn ang="0">
                  <a:pos x="45" y="182"/>
                </a:cxn>
                <a:cxn ang="0">
                  <a:pos x="17" y="212"/>
                </a:cxn>
                <a:cxn ang="0">
                  <a:pos x="0" y="240"/>
                </a:cxn>
                <a:cxn ang="0">
                  <a:pos x="31" y="277"/>
                </a:cxn>
              </a:cxnLst>
              <a:rect l="0" t="0" r="r" b="b"/>
              <a:pathLst>
                <a:path w="439" h="497">
                  <a:moveTo>
                    <a:pt x="31" y="277"/>
                  </a:moveTo>
                  <a:cubicBezTo>
                    <a:pt x="38" y="281"/>
                    <a:pt x="50" y="266"/>
                    <a:pt x="50" y="266"/>
                  </a:cubicBezTo>
                  <a:cubicBezTo>
                    <a:pt x="85" y="270"/>
                    <a:pt x="85" y="270"/>
                    <a:pt x="85" y="270"/>
                  </a:cubicBezTo>
                  <a:cubicBezTo>
                    <a:pt x="85" y="270"/>
                    <a:pt x="90" y="293"/>
                    <a:pt x="97" y="293"/>
                  </a:cubicBezTo>
                  <a:cubicBezTo>
                    <a:pt x="103" y="293"/>
                    <a:pt x="115" y="294"/>
                    <a:pt x="115" y="294"/>
                  </a:cubicBezTo>
                  <a:cubicBezTo>
                    <a:pt x="110" y="314"/>
                    <a:pt x="110" y="314"/>
                    <a:pt x="110" y="314"/>
                  </a:cubicBezTo>
                  <a:cubicBezTo>
                    <a:pt x="142" y="336"/>
                    <a:pt x="142" y="336"/>
                    <a:pt x="142" y="336"/>
                  </a:cubicBezTo>
                  <a:cubicBezTo>
                    <a:pt x="135" y="337"/>
                    <a:pt x="135" y="337"/>
                    <a:pt x="135" y="337"/>
                  </a:cubicBezTo>
                  <a:cubicBezTo>
                    <a:pt x="135" y="337"/>
                    <a:pt x="149" y="341"/>
                    <a:pt x="149" y="348"/>
                  </a:cubicBezTo>
                  <a:cubicBezTo>
                    <a:pt x="149" y="354"/>
                    <a:pt x="133" y="369"/>
                    <a:pt x="133" y="369"/>
                  </a:cubicBezTo>
                  <a:cubicBezTo>
                    <a:pt x="133" y="380"/>
                    <a:pt x="133" y="380"/>
                    <a:pt x="133" y="380"/>
                  </a:cubicBezTo>
                  <a:cubicBezTo>
                    <a:pt x="141" y="386"/>
                    <a:pt x="141" y="386"/>
                    <a:pt x="141" y="386"/>
                  </a:cubicBezTo>
                  <a:cubicBezTo>
                    <a:pt x="134" y="402"/>
                    <a:pt x="134" y="402"/>
                    <a:pt x="134" y="402"/>
                  </a:cubicBezTo>
                  <a:cubicBezTo>
                    <a:pt x="142" y="404"/>
                    <a:pt x="142" y="404"/>
                    <a:pt x="142" y="404"/>
                  </a:cubicBezTo>
                  <a:cubicBezTo>
                    <a:pt x="138" y="414"/>
                    <a:pt x="138" y="414"/>
                    <a:pt x="138" y="414"/>
                  </a:cubicBezTo>
                  <a:cubicBezTo>
                    <a:pt x="169" y="426"/>
                    <a:pt x="169" y="426"/>
                    <a:pt x="169" y="426"/>
                  </a:cubicBezTo>
                  <a:cubicBezTo>
                    <a:pt x="163" y="436"/>
                    <a:pt x="163" y="436"/>
                    <a:pt x="163" y="436"/>
                  </a:cubicBezTo>
                  <a:cubicBezTo>
                    <a:pt x="175" y="461"/>
                    <a:pt x="175" y="461"/>
                    <a:pt x="175" y="461"/>
                  </a:cubicBezTo>
                  <a:cubicBezTo>
                    <a:pt x="186" y="454"/>
                    <a:pt x="218" y="458"/>
                    <a:pt x="218" y="458"/>
                  </a:cubicBezTo>
                  <a:cubicBezTo>
                    <a:pt x="218" y="458"/>
                    <a:pt x="247" y="489"/>
                    <a:pt x="258" y="493"/>
                  </a:cubicBezTo>
                  <a:cubicBezTo>
                    <a:pt x="269" y="497"/>
                    <a:pt x="283" y="474"/>
                    <a:pt x="283" y="474"/>
                  </a:cubicBezTo>
                  <a:cubicBezTo>
                    <a:pt x="286" y="481"/>
                    <a:pt x="286" y="481"/>
                    <a:pt x="286" y="481"/>
                  </a:cubicBezTo>
                  <a:cubicBezTo>
                    <a:pt x="298" y="476"/>
                    <a:pt x="298" y="476"/>
                    <a:pt x="298" y="476"/>
                  </a:cubicBezTo>
                  <a:cubicBezTo>
                    <a:pt x="319" y="474"/>
                    <a:pt x="319" y="474"/>
                    <a:pt x="319" y="474"/>
                  </a:cubicBezTo>
                  <a:cubicBezTo>
                    <a:pt x="319" y="474"/>
                    <a:pt x="323" y="468"/>
                    <a:pt x="331" y="466"/>
                  </a:cubicBezTo>
                  <a:cubicBezTo>
                    <a:pt x="319" y="444"/>
                    <a:pt x="343" y="440"/>
                    <a:pt x="343" y="440"/>
                  </a:cubicBezTo>
                  <a:cubicBezTo>
                    <a:pt x="342" y="421"/>
                    <a:pt x="342" y="421"/>
                    <a:pt x="342" y="421"/>
                  </a:cubicBezTo>
                  <a:cubicBezTo>
                    <a:pt x="350" y="412"/>
                    <a:pt x="350" y="412"/>
                    <a:pt x="350" y="412"/>
                  </a:cubicBezTo>
                  <a:cubicBezTo>
                    <a:pt x="346" y="401"/>
                    <a:pt x="346" y="401"/>
                    <a:pt x="346" y="401"/>
                  </a:cubicBezTo>
                  <a:cubicBezTo>
                    <a:pt x="363" y="374"/>
                    <a:pt x="363" y="374"/>
                    <a:pt x="363" y="374"/>
                  </a:cubicBezTo>
                  <a:cubicBezTo>
                    <a:pt x="371" y="366"/>
                    <a:pt x="371" y="366"/>
                    <a:pt x="371" y="366"/>
                  </a:cubicBezTo>
                  <a:cubicBezTo>
                    <a:pt x="385" y="365"/>
                    <a:pt x="385" y="365"/>
                    <a:pt x="385" y="365"/>
                  </a:cubicBezTo>
                  <a:cubicBezTo>
                    <a:pt x="385" y="365"/>
                    <a:pt x="378" y="336"/>
                    <a:pt x="385" y="334"/>
                  </a:cubicBezTo>
                  <a:cubicBezTo>
                    <a:pt x="391" y="333"/>
                    <a:pt x="402" y="348"/>
                    <a:pt x="402" y="348"/>
                  </a:cubicBezTo>
                  <a:cubicBezTo>
                    <a:pt x="421" y="342"/>
                    <a:pt x="421" y="342"/>
                    <a:pt x="421" y="342"/>
                  </a:cubicBezTo>
                  <a:cubicBezTo>
                    <a:pt x="410" y="330"/>
                    <a:pt x="410" y="330"/>
                    <a:pt x="410" y="330"/>
                  </a:cubicBezTo>
                  <a:cubicBezTo>
                    <a:pt x="410" y="330"/>
                    <a:pt x="415" y="325"/>
                    <a:pt x="418" y="293"/>
                  </a:cubicBezTo>
                  <a:cubicBezTo>
                    <a:pt x="399" y="269"/>
                    <a:pt x="419" y="265"/>
                    <a:pt x="419" y="265"/>
                  </a:cubicBezTo>
                  <a:cubicBezTo>
                    <a:pt x="419" y="265"/>
                    <a:pt x="426" y="258"/>
                    <a:pt x="403" y="226"/>
                  </a:cubicBezTo>
                  <a:cubicBezTo>
                    <a:pt x="381" y="194"/>
                    <a:pt x="403" y="193"/>
                    <a:pt x="403" y="193"/>
                  </a:cubicBezTo>
                  <a:cubicBezTo>
                    <a:pt x="403" y="193"/>
                    <a:pt x="414" y="208"/>
                    <a:pt x="419" y="185"/>
                  </a:cubicBezTo>
                  <a:cubicBezTo>
                    <a:pt x="425" y="162"/>
                    <a:pt x="438" y="161"/>
                    <a:pt x="438" y="161"/>
                  </a:cubicBezTo>
                  <a:cubicBezTo>
                    <a:pt x="438" y="161"/>
                    <a:pt x="437" y="145"/>
                    <a:pt x="439" y="141"/>
                  </a:cubicBezTo>
                  <a:cubicBezTo>
                    <a:pt x="410" y="118"/>
                    <a:pt x="430" y="105"/>
                    <a:pt x="430" y="105"/>
                  </a:cubicBezTo>
                  <a:cubicBezTo>
                    <a:pt x="411" y="56"/>
                    <a:pt x="411" y="56"/>
                    <a:pt x="411" y="56"/>
                  </a:cubicBezTo>
                  <a:cubicBezTo>
                    <a:pt x="397" y="54"/>
                    <a:pt x="397" y="54"/>
                    <a:pt x="397" y="54"/>
                  </a:cubicBezTo>
                  <a:cubicBezTo>
                    <a:pt x="397" y="54"/>
                    <a:pt x="395" y="45"/>
                    <a:pt x="393" y="44"/>
                  </a:cubicBezTo>
                  <a:cubicBezTo>
                    <a:pt x="354" y="56"/>
                    <a:pt x="375" y="28"/>
                    <a:pt x="375" y="28"/>
                  </a:cubicBezTo>
                  <a:cubicBezTo>
                    <a:pt x="369" y="28"/>
                    <a:pt x="369" y="28"/>
                    <a:pt x="369" y="28"/>
                  </a:cubicBezTo>
                  <a:cubicBezTo>
                    <a:pt x="365" y="11"/>
                    <a:pt x="365" y="11"/>
                    <a:pt x="365" y="11"/>
                  </a:cubicBezTo>
                  <a:cubicBezTo>
                    <a:pt x="365" y="11"/>
                    <a:pt x="365" y="12"/>
                    <a:pt x="365" y="12"/>
                  </a:cubicBezTo>
                  <a:cubicBezTo>
                    <a:pt x="365" y="12"/>
                    <a:pt x="323" y="22"/>
                    <a:pt x="318" y="13"/>
                  </a:cubicBezTo>
                  <a:cubicBezTo>
                    <a:pt x="293" y="0"/>
                    <a:pt x="298" y="9"/>
                    <a:pt x="286" y="12"/>
                  </a:cubicBezTo>
                  <a:cubicBezTo>
                    <a:pt x="274" y="14"/>
                    <a:pt x="250" y="4"/>
                    <a:pt x="250" y="4"/>
                  </a:cubicBezTo>
                  <a:cubicBezTo>
                    <a:pt x="245" y="22"/>
                    <a:pt x="245" y="22"/>
                    <a:pt x="245" y="22"/>
                  </a:cubicBezTo>
                  <a:cubicBezTo>
                    <a:pt x="235" y="16"/>
                    <a:pt x="235" y="16"/>
                    <a:pt x="235" y="16"/>
                  </a:cubicBezTo>
                  <a:cubicBezTo>
                    <a:pt x="222" y="21"/>
                    <a:pt x="222" y="21"/>
                    <a:pt x="222" y="21"/>
                  </a:cubicBezTo>
                  <a:cubicBezTo>
                    <a:pt x="219" y="13"/>
                    <a:pt x="219" y="13"/>
                    <a:pt x="219" y="13"/>
                  </a:cubicBezTo>
                  <a:cubicBezTo>
                    <a:pt x="202" y="24"/>
                    <a:pt x="202" y="24"/>
                    <a:pt x="202" y="24"/>
                  </a:cubicBezTo>
                  <a:cubicBezTo>
                    <a:pt x="201" y="12"/>
                    <a:pt x="201" y="12"/>
                    <a:pt x="201" y="12"/>
                  </a:cubicBezTo>
                  <a:cubicBezTo>
                    <a:pt x="174" y="32"/>
                    <a:pt x="174" y="32"/>
                    <a:pt x="174" y="32"/>
                  </a:cubicBezTo>
                  <a:cubicBezTo>
                    <a:pt x="169" y="21"/>
                    <a:pt x="169" y="21"/>
                    <a:pt x="169" y="21"/>
                  </a:cubicBezTo>
                  <a:cubicBezTo>
                    <a:pt x="151" y="21"/>
                    <a:pt x="151" y="21"/>
                    <a:pt x="151" y="21"/>
                  </a:cubicBezTo>
                  <a:cubicBezTo>
                    <a:pt x="151" y="28"/>
                    <a:pt x="151" y="28"/>
                    <a:pt x="151" y="28"/>
                  </a:cubicBezTo>
                  <a:cubicBezTo>
                    <a:pt x="133" y="30"/>
                    <a:pt x="133" y="30"/>
                    <a:pt x="133" y="30"/>
                  </a:cubicBezTo>
                  <a:cubicBezTo>
                    <a:pt x="129" y="25"/>
                    <a:pt x="129" y="25"/>
                    <a:pt x="129" y="25"/>
                  </a:cubicBezTo>
                  <a:cubicBezTo>
                    <a:pt x="111" y="32"/>
                    <a:pt x="111" y="32"/>
                    <a:pt x="111" y="32"/>
                  </a:cubicBezTo>
                  <a:cubicBezTo>
                    <a:pt x="97" y="30"/>
                    <a:pt x="97" y="30"/>
                    <a:pt x="97" y="30"/>
                  </a:cubicBezTo>
                  <a:cubicBezTo>
                    <a:pt x="85" y="56"/>
                    <a:pt x="85" y="56"/>
                    <a:pt x="85" y="56"/>
                  </a:cubicBezTo>
                  <a:cubicBezTo>
                    <a:pt x="66" y="54"/>
                    <a:pt x="66" y="54"/>
                    <a:pt x="66" y="54"/>
                  </a:cubicBezTo>
                  <a:cubicBezTo>
                    <a:pt x="50" y="70"/>
                    <a:pt x="50" y="70"/>
                    <a:pt x="50" y="70"/>
                  </a:cubicBezTo>
                  <a:cubicBezTo>
                    <a:pt x="38" y="80"/>
                    <a:pt x="38" y="80"/>
                    <a:pt x="38" y="80"/>
                  </a:cubicBezTo>
                  <a:cubicBezTo>
                    <a:pt x="46" y="101"/>
                    <a:pt x="46" y="101"/>
                    <a:pt x="46" y="101"/>
                  </a:cubicBezTo>
                  <a:cubicBezTo>
                    <a:pt x="34" y="141"/>
                    <a:pt x="62" y="140"/>
                    <a:pt x="62" y="140"/>
                  </a:cubicBezTo>
                  <a:cubicBezTo>
                    <a:pt x="69" y="160"/>
                    <a:pt x="69" y="160"/>
                    <a:pt x="69" y="160"/>
                  </a:cubicBezTo>
                  <a:cubicBezTo>
                    <a:pt x="57" y="168"/>
                    <a:pt x="57" y="168"/>
                    <a:pt x="57" y="168"/>
                  </a:cubicBezTo>
                  <a:cubicBezTo>
                    <a:pt x="57" y="168"/>
                    <a:pt x="47" y="165"/>
                    <a:pt x="43" y="164"/>
                  </a:cubicBezTo>
                  <a:cubicBezTo>
                    <a:pt x="39" y="162"/>
                    <a:pt x="45" y="182"/>
                    <a:pt x="45" y="182"/>
                  </a:cubicBezTo>
                  <a:cubicBezTo>
                    <a:pt x="37" y="208"/>
                    <a:pt x="37" y="208"/>
                    <a:pt x="37" y="208"/>
                  </a:cubicBezTo>
                  <a:cubicBezTo>
                    <a:pt x="17" y="212"/>
                    <a:pt x="17" y="212"/>
                    <a:pt x="17" y="212"/>
                  </a:cubicBezTo>
                  <a:cubicBezTo>
                    <a:pt x="17" y="220"/>
                    <a:pt x="17" y="220"/>
                    <a:pt x="17" y="220"/>
                  </a:cubicBezTo>
                  <a:cubicBezTo>
                    <a:pt x="0" y="240"/>
                    <a:pt x="0" y="240"/>
                    <a:pt x="0" y="240"/>
                  </a:cubicBezTo>
                  <a:cubicBezTo>
                    <a:pt x="18" y="243"/>
                    <a:pt x="31" y="249"/>
                    <a:pt x="31" y="249"/>
                  </a:cubicBezTo>
                  <a:cubicBezTo>
                    <a:pt x="31" y="249"/>
                    <a:pt x="25" y="273"/>
                    <a:pt x="31" y="2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5" name="Auvergne" descr="© INSCALE GmbH, 05.05.2010&#10;http://www.presentationload.com/">
              <a:extLst>
                <a:ext uri="{FF2B5EF4-FFF2-40B4-BE49-F238E27FC236}">
                  <a16:creationId xmlns:a16="http://schemas.microsoft.com/office/drawing/2014/main" id="{9BD5E988-15D3-4B08-876C-E8948F7A9579}"/>
                </a:ext>
              </a:extLst>
            </p:cNvPr>
            <p:cNvSpPr>
              <a:spLocks/>
            </p:cNvSpPr>
            <p:nvPr/>
          </p:nvSpPr>
          <p:spPr bwMode="gray">
            <a:xfrm>
              <a:off x="1704" y="1640"/>
              <a:ext cx="593" cy="753"/>
            </a:xfrm>
            <a:custGeom>
              <a:avLst/>
              <a:gdLst/>
              <a:ahLst/>
              <a:cxnLst>
                <a:cxn ang="0">
                  <a:pos x="15" y="669"/>
                </a:cxn>
                <a:cxn ang="0">
                  <a:pos x="31" y="697"/>
                </a:cxn>
                <a:cxn ang="0">
                  <a:pos x="60" y="689"/>
                </a:cxn>
                <a:cxn ang="0">
                  <a:pos x="111" y="665"/>
                </a:cxn>
                <a:cxn ang="0">
                  <a:pos x="122" y="617"/>
                </a:cxn>
                <a:cxn ang="0">
                  <a:pos x="186" y="636"/>
                </a:cxn>
                <a:cxn ang="0">
                  <a:pos x="218" y="663"/>
                </a:cxn>
                <a:cxn ang="0">
                  <a:pos x="231" y="607"/>
                </a:cxn>
                <a:cxn ang="0">
                  <a:pos x="266" y="611"/>
                </a:cxn>
                <a:cxn ang="0">
                  <a:pos x="266" y="603"/>
                </a:cxn>
                <a:cxn ang="0">
                  <a:pos x="318" y="635"/>
                </a:cxn>
                <a:cxn ang="0">
                  <a:pos x="378" y="629"/>
                </a:cxn>
                <a:cxn ang="0">
                  <a:pos x="424" y="628"/>
                </a:cxn>
                <a:cxn ang="0">
                  <a:pos x="472" y="612"/>
                </a:cxn>
                <a:cxn ang="0">
                  <a:pos x="504" y="560"/>
                </a:cxn>
                <a:cxn ang="0">
                  <a:pos x="522" y="535"/>
                </a:cxn>
                <a:cxn ang="0">
                  <a:pos x="536" y="517"/>
                </a:cxn>
                <a:cxn ang="0">
                  <a:pos x="507" y="467"/>
                </a:cxn>
                <a:cxn ang="0">
                  <a:pos x="450" y="463"/>
                </a:cxn>
                <a:cxn ang="0">
                  <a:pos x="430" y="449"/>
                </a:cxn>
                <a:cxn ang="0">
                  <a:pos x="408" y="445"/>
                </a:cxn>
                <a:cxn ang="0">
                  <a:pos x="364" y="320"/>
                </a:cxn>
                <a:cxn ang="0">
                  <a:pos x="362" y="273"/>
                </a:cxn>
                <a:cxn ang="0">
                  <a:pos x="386" y="217"/>
                </a:cxn>
                <a:cxn ang="0">
                  <a:pos x="378" y="176"/>
                </a:cxn>
                <a:cxn ang="0">
                  <a:pos x="411" y="159"/>
                </a:cxn>
                <a:cxn ang="0">
                  <a:pos x="424" y="101"/>
                </a:cxn>
                <a:cxn ang="0">
                  <a:pos x="370" y="81"/>
                </a:cxn>
                <a:cxn ang="0">
                  <a:pos x="327" y="32"/>
                </a:cxn>
                <a:cxn ang="0">
                  <a:pos x="306" y="31"/>
                </a:cxn>
                <a:cxn ang="0">
                  <a:pos x="263" y="25"/>
                </a:cxn>
                <a:cxn ang="0">
                  <a:pos x="171" y="23"/>
                </a:cxn>
                <a:cxn ang="0">
                  <a:pos x="115" y="49"/>
                </a:cxn>
                <a:cxn ang="0">
                  <a:pos x="46" y="118"/>
                </a:cxn>
                <a:cxn ang="0">
                  <a:pos x="74" y="151"/>
                </a:cxn>
                <a:cxn ang="0">
                  <a:pos x="111" y="212"/>
                </a:cxn>
                <a:cxn ang="0">
                  <a:pos x="100" y="292"/>
                </a:cxn>
                <a:cxn ang="0">
                  <a:pos x="100" y="372"/>
                </a:cxn>
                <a:cxn ang="0">
                  <a:pos x="102" y="449"/>
                </a:cxn>
                <a:cxn ang="0">
                  <a:pos x="66" y="472"/>
                </a:cxn>
                <a:cxn ang="0">
                  <a:pos x="27" y="508"/>
                </a:cxn>
                <a:cxn ang="0">
                  <a:pos x="24" y="547"/>
                </a:cxn>
                <a:cxn ang="0">
                  <a:pos x="4" y="608"/>
                </a:cxn>
              </a:cxnLst>
              <a:rect l="0" t="0" r="r" b="b"/>
              <a:pathLst>
                <a:path w="550" h="697">
                  <a:moveTo>
                    <a:pt x="4" y="608"/>
                  </a:moveTo>
                  <a:cubicBezTo>
                    <a:pt x="20" y="635"/>
                    <a:pt x="20" y="635"/>
                    <a:pt x="20" y="635"/>
                  </a:cubicBezTo>
                  <a:cubicBezTo>
                    <a:pt x="15" y="669"/>
                    <a:pt x="15" y="669"/>
                    <a:pt x="15" y="669"/>
                  </a:cubicBezTo>
                  <a:cubicBezTo>
                    <a:pt x="24" y="675"/>
                    <a:pt x="24" y="675"/>
                    <a:pt x="24" y="675"/>
                  </a:cubicBezTo>
                  <a:cubicBezTo>
                    <a:pt x="26" y="691"/>
                    <a:pt x="26" y="691"/>
                    <a:pt x="26" y="691"/>
                  </a:cubicBezTo>
                  <a:cubicBezTo>
                    <a:pt x="31" y="697"/>
                    <a:pt x="31" y="697"/>
                    <a:pt x="31" y="697"/>
                  </a:cubicBezTo>
                  <a:cubicBezTo>
                    <a:pt x="30" y="685"/>
                    <a:pt x="30" y="685"/>
                    <a:pt x="30" y="685"/>
                  </a:cubicBezTo>
                  <a:cubicBezTo>
                    <a:pt x="59" y="684"/>
                    <a:pt x="59" y="684"/>
                    <a:pt x="59" y="684"/>
                  </a:cubicBezTo>
                  <a:cubicBezTo>
                    <a:pt x="60" y="689"/>
                    <a:pt x="60" y="689"/>
                    <a:pt x="60" y="689"/>
                  </a:cubicBezTo>
                  <a:cubicBezTo>
                    <a:pt x="94" y="687"/>
                    <a:pt x="94" y="687"/>
                    <a:pt x="94" y="687"/>
                  </a:cubicBezTo>
                  <a:cubicBezTo>
                    <a:pt x="98" y="675"/>
                    <a:pt x="98" y="675"/>
                    <a:pt x="98" y="675"/>
                  </a:cubicBezTo>
                  <a:cubicBezTo>
                    <a:pt x="111" y="665"/>
                    <a:pt x="111" y="665"/>
                    <a:pt x="111" y="665"/>
                  </a:cubicBezTo>
                  <a:cubicBezTo>
                    <a:pt x="112" y="645"/>
                    <a:pt x="112" y="645"/>
                    <a:pt x="112" y="645"/>
                  </a:cubicBezTo>
                  <a:cubicBezTo>
                    <a:pt x="120" y="639"/>
                    <a:pt x="120" y="639"/>
                    <a:pt x="120" y="639"/>
                  </a:cubicBezTo>
                  <a:cubicBezTo>
                    <a:pt x="122" y="617"/>
                    <a:pt x="122" y="617"/>
                    <a:pt x="122" y="617"/>
                  </a:cubicBezTo>
                  <a:cubicBezTo>
                    <a:pt x="122" y="617"/>
                    <a:pt x="122" y="624"/>
                    <a:pt x="131" y="616"/>
                  </a:cubicBezTo>
                  <a:cubicBezTo>
                    <a:pt x="157" y="579"/>
                    <a:pt x="163" y="607"/>
                    <a:pt x="161" y="614"/>
                  </a:cubicBezTo>
                  <a:cubicBezTo>
                    <a:pt x="172" y="606"/>
                    <a:pt x="186" y="636"/>
                    <a:pt x="186" y="636"/>
                  </a:cubicBezTo>
                  <a:cubicBezTo>
                    <a:pt x="195" y="647"/>
                    <a:pt x="195" y="647"/>
                    <a:pt x="195" y="647"/>
                  </a:cubicBezTo>
                  <a:cubicBezTo>
                    <a:pt x="204" y="687"/>
                    <a:pt x="204" y="687"/>
                    <a:pt x="204" y="687"/>
                  </a:cubicBezTo>
                  <a:cubicBezTo>
                    <a:pt x="218" y="663"/>
                    <a:pt x="218" y="663"/>
                    <a:pt x="218" y="663"/>
                  </a:cubicBezTo>
                  <a:cubicBezTo>
                    <a:pt x="224" y="636"/>
                    <a:pt x="224" y="636"/>
                    <a:pt x="224" y="636"/>
                  </a:cubicBezTo>
                  <a:cubicBezTo>
                    <a:pt x="232" y="627"/>
                    <a:pt x="232" y="627"/>
                    <a:pt x="232" y="627"/>
                  </a:cubicBezTo>
                  <a:cubicBezTo>
                    <a:pt x="231" y="607"/>
                    <a:pt x="231" y="607"/>
                    <a:pt x="231" y="607"/>
                  </a:cubicBezTo>
                  <a:cubicBezTo>
                    <a:pt x="240" y="603"/>
                    <a:pt x="240" y="603"/>
                    <a:pt x="240" y="603"/>
                  </a:cubicBezTo>
                  <a:cubicBezTo>
                    <a:pt x="248" y="616"/>
                    <a:pt x="248" y="616"/>
                    <a:pt x="248" y="616"/>
                  </a:cubicBezTo>
                  <a:cubicBezTo>
                    <a:pt x="266" y="611"/>
                    <a:pt x="266" y="611"/>
                    <a:pt x="266" y="611"/>
                  </a:cubicBezTo>
                  <a:cubicBezTo>
                    <a:pt x="266" y="603"/>
                    <a:pt x="266" y="603"/>
                    <a:pt x="266" y="603"/>
                  </a:cubicBezTo>
                  <a:cubicBezTo>
                    <a:pt x="263" y="603"/>
                    <a:pt x="267" y="593"/>
                    <a:pt x="267" y="593"/>
                  </a:cubicBezTo>
                  <a:cubicBezTo>
                    <a:pt x="266" y="603"/>
                    <a:pt x="266" y="603"/>
                    <a:pt x="266" y="603"/>
                  </a:cubicBezTo>
                  <a:cubicBezTo>
                    <a:pt x="267" y="603"/>
                    <a:pt x="269" y="602"/>
                    <a:pt x="271" y="600"/>
                  </a:cubicBezTo>
                  <a:cubicBezTo>
                    <a:pt x="282" y="591"/>
                    <a:pt x="300" y="584"/>
                    <a:pt x="300" y="584"/>
                  </a:cubicBezTo>
                  <a:cubicBezTo>
                    <a:pt x="318" y="635"/>
                    <a:pt x="318" y="635"/>
                    <a:pt x="318" y="635"/>
                  </a:cubicBezTo>
                  <a:cubicBezTo>
                    <a:pt x="318" y="635"/>
                    <a:pt x="318" y="635"/>
                    <a:pt x="342" y="627"/>
                  </a:cubicBezTo>
                  <a:cubicBezTo>
                    <a:pt x="346" y="600"/>
                    <a:pt x="356" y="624"/>
                    <a:pt x="356" y="624"/>
                  </a:cubicBezTo>
                  <a:cubicBezTo>
                    <a:pt x="378" y="629"/>
                    <a:pt x="378" y="629"/>
                    <a:pt x="378" y="629"/>
                  </a:cubicBezTo>
                  <a:cubicBezTo>
                    <a:pt x="399" y="655"/>
                    <a:pt x="399" y="655"/>
                    <a:pt x="399" y="655"/>
                  </a:cubicBezTo>
                  <a:cubicBezTo>
                    <a:pt x="424" y="644"/>
                    <a:pt x="424" y="644"/>
                    <a:pt x="424" y="644"/>
                  </a:cubicBezTo>
                  <a:cubicBezTo>
                    <a:pt x="424" y="628"/>
                    <a:pt x="424" y="628"/>
                    <a:pt x="424" y="628"/>
                  </a:cubicBezTo>
                  <a:cubicBezTo>
                    <a:pt x="443" y="619"/>
                    <a:pt x="443" y="619"/>
                    <a:pt x="443" y="619"/>
                  </a:cubicBezTo>
                  <a:cubicBezTo>
                    <a:pt x="444" y="613"/>
                    <a:pt x="444" y="613"/>
                    <a:pt x="444" y="613"/>
                  </a:cubicBezTo>
                  <a:cubicBezTo>
                    <a:pt x="472" y="612"/>
                    <a:pt x="472" y="612"/>
                    <a:pt x="472" y="612"/>
                  </a:cubicBezTo>
                  <a:cubicBezTo>
                    <a:pt x="484" y="584"/>
                    <a:pt x="484" y="584"/>
                    <a:pt x="484" y="584"/>
                  </a:cubicBezTo>
                  <a:cubicBezTo>
                    <a:pt x="504" y="580"/>
                    <a:pt x="504" y="580"/>
                    <a:pt x="504" y="580"/>
                  </a:cubicBezTo>
                  <a:cubicBezTo>
                    <a:pt x="504" y="560"/>
                    <a:pt x="504" y="560"/>
                    <a:pt x="504" y="560"/>
                  </a:cubicBezTo>
                  <a:cubicBezTo>
                    <a:pt x="519" y="560"/>
                    <a:pt x="519" y="560"/>
                    <a:pt x="519" y="560"/>
                  </a:cubicBezTo>
                  <a:cubicBezTo>
                    <a:pt x="519" y="560"/>
                    <a:pt x="512" y="548"/>
                    <a:pt x="512" y="544"/>
                  </a:cubicBezTo>
                  <a:cubicBezTo>
                    <a:pt x="512" y="540"/>
                    <a:pt x="522" y="535"/>
                    <a:pt x="522" y="535"/>
                  </a:cubicBezTo>
                  <a:cubicBezTo>
                    <a:pt x="519" y="523"/>
                    <a:pt x="519" y="523"/>
                    <a:pt x="519" y="523"/>
                  </a:cubicBezTo>
                  <a:cubicBezTo>
                    <a:pt x="533" y="534"/>
                    <a:pt x="533" y="534"/>
                    <a:pt x="533" y="534"/>
                  </a:cubicBezTo>
                  <a:cubicBezTo>
                    <a:pt x="532" y="533"/>
                    <a:pt x="532" y="529"/>
                    <a:pt x="536" y="517"/>
                  </a:cubicBezTo>
                  <a:cubicBezTo>
                    <a:pt x="550" y="468"/>
                    <a:pt x="519" y="489"/>
                    <a:pt x="519" y="489"/>
                  </a:cubicBezTo>
                  <a:cubicBezTo>
                    <a:pt x="512" y="471"/>
                    <a:pt x="512" y="471"/>
                    <a:pt x="512" y="471"/>
                  </a:cubicBezTo>
                  <a:cubicBezTo>
                    <a:pt x="507" y="467"/>
                    <a:pt x="507" y="467"/>
                    <a:pt x="507" y="467"/>
                  </a:cubicBezTo>
                  <a:cubicBezTo>
                    <a:pt x="520" y="456"/>
                    <a:pt x="495" y="459"/>
                    <a:pt x="488" y="449"/>
                  </a:cubicBezTo>
                  <a:cubicBezTo>
                    <a:pt x="482" y="440"/>
                    <a:pt x="452" y="455"/>
                    <a:pt x="452" y="455"/>
                  </a:cubicBezTo>
                  <a:cubicBezTo>
                    <a:pt x="450" y="463"/>
                    <a:pt x="450" y="463"/>
                    <a:pt x="450" y="463"/>
                  </a:cubicBezTo>
                  <a:cubicBezTo>
                    <a:pt x="444" y="456"/>
                    <a:pt x="444" y="456"/>
                    <a:pt x="444" y="456"/>
                  </a:cubicBezTo>
                  <a:cubicBezTo>
                    <a:pt x="434" y="461"/>
                    <a:pt x="434" y="461"/>
                    <a:pt x="434" y="461"/>
                  </a:cubicBezTo>
                  <a:cubicBezTo>
                    <a:pt x="430" y="449"/>
                    <a:pt x="430" y="449"/>
                    <a:pt x="430" y="449"/>
                  </a:cubicBezTo>
                  <a:cubicBezTo>
                    <a:pt x="418" y="449"/>
                    <a:pt x="418" y="449"/>
                    <a:pt x="418" y="449"/>
                  </a:cubicBezTo>
                  <a:cubicBezTo>
                    <a:pt x="412" y="468"/>
                    <a:pt x="412" y="468"/>
                    <a:pt x="412" y="468"/>
                  </a:cubicBezTo>
                  <a:cubicBezTo>
                    <a:pt x="408" y="445"/>
                    <a:pt x="408" y="445"/>
                    <a:pt x="408" y="445"/>
                  </a:cubicBezTo>
                  <a:cubicBezTo>
                    <a:pt x="408" y="445"/>
                    <a:pt x="422" y="439"/>
                    <a:pt x="424" y="432"/>
                  </a:cubicBezTo>
                  <a:cubicBezTo>
                    <a:pt x="436" y="412"/>
                    <a:pt x="396" y="376"/>
                    <a:pt x="391" y="376"/>
                  </a:cubicBezTo>
                  <a:cubicBezTo>
                    <a:pt x="387" y="356"/>
                    <a:pt x="364" y="320"/>
                    <a:pt x="364" y="320"/>
                  </a:cubicBezTo>
                  <a:cubicBezTo>
                    <a:pt x="366" y="292"/>
                    <a:pt x="366" y="292"/>
                    <a:pt x="366" y="292"/>
                  </a:cubicBezTo>
                  <a:cubicBezTo>
                    <a:pt x="374" y="289"/>
                    <a:pt x="374" y="289"/>
                    <a:pt x="374" y="289"/>
                  </a:cubicBezTo>
                  <a:cubicBezTo>
                    <a:pt x="362" y="273"/>
                    <a:pt x="362" y="273"/>
                    <a:pt x="362" y="273"/>
                  </a:cubicBezTo>
                  <a:cubicBezTo>
                    <a:pt x="362" y="261"/>
                    <a:pt x="362" y="261"/>
                    <a:pt x="362" y="261"/>
                  </a:cubicBezTo>
                  <a:cubicBezTo>
                    <a:pt x="387" y="252"/>
                    <a:pt x="387" y="252"/>
                    <a:pt x="387" y="252"/>
                  </a:cubicBezTo>
                  <a:cubicBezTo>
                    <a:pt x="386" y="217"/>
                    <a:pt x="386" y="217"/>
                    <a:pt x="386" y="217"/>
                  </a:cubicBezTo>
                  <a:cubicBezTo>
                    <a:pt x="379" y="204"/>
                    <a:pt x="379" y="204"/>
                    <a:pt x="379" y="204"/>
                  </a:cubicBezTo>
                  <a:cubicBezTo>
                    <a:pt x="383" y="189"/>
                    <a:pt x="383" y="189"/>
                    <a:pt x="383" y="189"/>
                  </a:cubicBezTo>
                  <a:cubicBezTo>
                    <a:pt x="378" y="176"/>
                    <a:pt x="378" y="176"/>
                    <a:pt x="378" y="176"/>
                  </a:cubicBezTo>
                  <a:cubicBezTo>
                    <a:pt x="403" y="165"/>
                    <a:pt x="403" y="165"/>
                    <a:pt x="403" y="165"/>
                  </a:cubicBezTo>
                  <a:cubicBezTo>
                    <a:pt x="403" y="156"/>
                    <a:pt x="403" y="156"/>
                    <a:pt x="403" y="156"/>
                  </a:cubicBezTo>
                  <a:cubicBezTo>
                    <a:pt x="411" y="159"/>
                    <a:pt x="411" y="159"/>
                    <a:pt x="411" y="159"/>
                  </a:cubicBezTo>
                  <a:cubicBezTo>
                    <a:pt x="416" y="145"/>
                    <a:pt x="416" y="145"/>
                    <a:pt x="416" y="145"/>
                  </a:cubicBezTo>
                  <a:cubicBezTo>
                    <a:pt x="423" y="145"/>
                    <a:pt x="423" y="145"/>
                    <a:pt x="423" y="145"/>
                  </a:cubicBezTo>
                  <a:cubicBezTo>
                    <a:pt x="423" y="145"/>
                    <a:pt x="423" y="116"/>
                    <a:pt x="424" y="101"/>
                  </a:cubicBezTo>
                  <a:cubicBezTo>
                    <a:pt x="426" y="87"/>
                    <a:pt x="398" y="97"/>
                    <a:pt x="398" y="97"/>
                  </a:cubicBezTo>
                  <a:cubicBezTo>
                    <a:pt x="387" y="84"/>
                    <a:pt x="387" y="84"/>
                    <a:pt x="387" y="84"/>
                  </a:cubicBezTo>
                  <a:cubicBezTo>
                    <a:pt x="370" y="81"/>
                    <a:pt x="370" y="81"/>
                    <a:pt x="370" y="81"/>
                  </a:cubicBezTo>
                  <a:cubicBezTo>
                    <a:pt x="366" y="63"/>
                    <a:pt x="366" y="63"/>
                    <a:pt x="366" y="63"/>
                  </a:cubicBezTo>
                  <a:cubicBezTo>
                    <a:pt x="366" y="63"/>
                    <a:pt x="336" y="12"/>
                    <a:pt x="332" y="8"/>
                  </a:cubicBezTo>
                  <a:cubicBezTo>
                    <a:pt x="328" y="4"/>
                    <a:pt x="327" y="32"/>
                    <a:pt x="327" y="32"/>
                  </a:cubicBezTo>
                  <a:cubicBezTo>
                    <a:pt x="318" y="31"/>
                    <a:pt x="318" y="31"/>
                    <a:pt x="318" y="31"/>
                  </a:cubicBezTo>
                  <a:cubicBezTo>
                    <a:pt x="306" y="45"/>
                    <a:pt x="306" y="45"/>
                    <a:pt x="306" y="45"/>
                  </a:cubicBezTo>
                  <a:cubicBezTo>
                    <a:pt x="306" y="31"/>
                    <a:pt x="306" y="31"/>
                    <a:pt x="306" y="31"/>
                  </a:cubicBezTo>
                  <a:cubicBezTo>
                    <a:pt x="294" y="24"/>
                    <a:pt x="294" y="24"/>
                    <a:pt x="294" y="24"/>
                  </a:cubicBezTo>
                  <a:cubicBezTo>
                    <a:pt x="294" y="24"/>
                    <a:pt x="283" y="32"/>
                    <a:pt x="279" y="32"/>
                  </a:cubicBezTo>
                  <a:cubicBezTo>
                    <a:pt x="275" y="32"/>
                    <a:pt x="267" y="25"/>
                    <a:pt x="263" y="25"/>
                  </a:cubicBezTo>
                  <a:cubicBezTo>
                    <a:pt x="259" y="25"/>
                    <a:pt x="254" y="36"/>
                    <a:pt x="244" y="35"/>
                  </a:cubicBezTo>
                  <a:cubicBezTo>
                    <a:pt x="236" y="34"/>
                    <a:pt x="220" y="9"/>
                    <a:pt x="213" y="1"/>
                  </a:cubicBezTo>
                  <a:cubicBezTo>
                    <a:pt x="188" y="0"/>
                    <a:pt x="178" y="8"/>
                    <a:pt x="171" y="23"/>
                  </a:cubicBezTo>
                  <a:cubicBezTo>
                    <a:pt x="163" y="39"/>
                    <a:pt x="148" y="17"/>
                    <a:pt x="144" y="17"/>
                  </a:cubicBezTo>
                  <a:cubicBezTo>
                    <a:pt x="140" y="17"/>
                    <a:pt x="122" y="36"/>
                    <a:pt x="122" y="36"/>
                  </a:cubicBezTo>
                  <a:cubicBezTo>
                    <a:pt x="122" y="36"/>
                    <a:pt x="122" y="44"/>
                    <a:pt x="115" y="49"/>
                  </a:cubicBezTo>
                  <a:cubicBezTo>
                    <a:pt x="108" y="55"/>
                    <a:pt x="118" y="77"/>
                    <a:pt x="118" y="77"/>
                  </a:cubicBezTo>
                  <a:cubicBezTo>
                    <a:pt x="118" y="77"/>
                    <a:pt x="118" y="77"/>
                    <a:pt x="102" y="88"/>
                  </a:cubicBezTo>
                  <a:cubicBezTo>
                    <a:pt x="72" y="77"/>
                    <a:pt x="50" y="111"/>
                    <a:pt x="46" y="118"/>
                  </a:cubicBezTo>
                  <a:cubicBezTo>
                    <a:pt x="50" y="135"/>
                    <a:pt x="50" y="135"/>
                    <a:pt x="50" y="135"/>
                  </a:cubicBezTo>
                  <a:cubicBezTo>
                    <a:pt x="56" y="135"/>
                    <a:pt x="56" y="135"/>
                    <a:pt x="56" y="135"/>
                  </a:cubicBezTo>
                  <a:cubicBezTo>
                    <a:pt x="56" y="135"/>
                    <a:pt x="35" y="163"/>
                    <a:pt x="74" y="151"/>
                  </a:cubicBezTo>
                  <a:cubicBezTo>
                    <a:pt x="76" y="152"/>
                    <a:pt x="78" y="161"/>
                    <a:pt x="78" y="161"/>
                  </a:cubicBezTo>
                  <a:cubicBezTo>
                    <a:pt x="92" y="163"/>
                    <a:pt x="92" y="163"/>
                    <a:pt x="92" y="163"/>
                  </a:cubicBezTo>
                  <a:cubicBezTo>
                    <a:pt x="111" y="212"/>
                    <a:pt x="111" y="212"/>
                    <a:pt x="111" y="212"/>
                  </a:cubicBezTo>
                  <a:cubicBezTo>
                    <a:pt x="111" y="212"/>
                    <a:pt x="91" y="225"/>
                    <a:pt x="120" y="248"/>
                  </a:cubicBezTo>
                  <a:cubicBezTo>
                    <a:pt x="118" y="252"/>
                    <a:pt x="119" y="268"/>
                    <a:pt x="119" y="268"/>
                  </a:cubicBezTo>
                  <a:cubicBezTo>
                    <a:pt x="119" y="268"/>
                    <a:pt x="106" y="269"/>
                    <a:pt x="100" y="292"/>
                  </a:cubicBezTo>
                  <a:cubicBezTo>
                    <a:pt x="95" y="315"/>
                    <a:pt x="84" y="300"/>
                    <a:pt x="84" y="300"/>
                  </a:cubicBezTo>
                  <a:cubicBezTo>
                    <a:pt x="84" y="300"/>
                    <a:pt x="62" y="301"/>
                    <a:pt x="84" y="333"/>
                  </a:cubicBezTo>
                  <a:cubicBezTo>
                    <a:pt x="107" y="365"/>
                    <a:pt x="100" y="372"/>
                    <a:pt x="100" y="372"/>
                  </a:cubicBezTo>
                  <a:cubicBezTo>
                    <a:pt x="100" y="372"/>
                    <a:pt x="80" y="376"/>
                    <a:pt x="99" y="400"/>
                  </a:cubicBezTo>
                  <a:cubicBezTo>
                    <a:pt x="96" y="432"/>
                    <a:pt x="91" y="437"/>
                    <a:pt x="91" y="437"/>
                  </a:cubicBezTo>
                  <a:cubicBezTo>
                    <a:pt x="102" y="449"/>
                    <a:pt x="102" y="449"/>
                    <a:pt x="102" y="449"/>
                  </a:cubicBezTo>
                  <a:cubicBezTo>
                    <a:pt x="83" y="455"/>
                    <a:pt x="83" y="455"/>
                    <a:pt x="83" y="455"/>
                  </a:cubicBezTo>
                  <a:cubicBezTo>
                    <a:pt x="83" y="455"/>
                    <a:pt x="72" y="440"/>
                    <a:pt x="66" y="441"/>
                  </a:cubicBezTo>
                  <a:cubicBezTo>
                    <a:pt x="59" y="443"/>
                    <a:pt x="66" y="472"/>
                    <a:pt x="66" y="472"/>
                  </a:cubicBezTo>
                  <a:cubicBezTo>
                    <a:pt x="52" y="473"/>
                    <a:pt x="52" y="473"/>
                    <a:pt x="52" y="473"/>
                  </a:cubicBezTo>
                  <a:cubicBezTo>
                    <a:pt x="44" y="481"/>
                    <a:pt x="44" y="481"/>
                    <a:pt x="44" y="481"/>
                  </a:cubicBezTo>
                  <a:cubicBezTo>
                    <a:pt x="27" y="508"/>
                    <a:pt x="27" y="508"/>
                    <a:pt x="27" y="508"/>
                  </a:cubicBezTo>
                  <a:cubicBezTo>
                    <a:pt x="31" y="519"/>
                    <a:pt x="31" y="519"/>
                    <a:pt x="31" y="519"/>
                  </a:cubicBezTo>
                  <a:cubicBezTo>
                    <a:pt x="23" y="528"/>
                    <a:pt x="23" y="528"/>
                    <a:pt x="23" y="528"/>
                  </a:cubicBezTo>
                  <a:cubicBezTo>
                    <a:pt x="24" y="547"/>
                    <a:pt x="24" y="547"/>
                    <a:pt x="24" y="547"/>
                  </a:cubicBezTo>
                  <a:cubicBezTo>
                    <a:pt x="24" y="547"/>
                    <a:pt x="0" y="551"/>
                    <a:pt x="12" y="573"/>
                  </a:cubicBezTo>
                  <a:cubicBezTo>
                    <a:pt x="8" y="574"/>
                    <a:pt x="5" y="576"/>
                    <a:pt x="3" y="578"/>
                  </a:cubicBezTo>
                  <a:cubicBezTo>
                    <a:pt x="6" y="591"/>
                    <a:pt x="4" y="608"/>
                    <a:pt x="4" y="608"/>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6" name="Provence" descr="© INSCALE GmbH, 05.05.2010&#10;http://www.presentationload.com/">
              <a:extLst>
                <a:ext uri="{FF2B5EF4-FFF2-40B4-BE49-F238E27FC236}">
                  <a16:creationId xmlns:a16="http://schemas.microsoft.com/office/drawing/2014/main" id="{9A4171FE-BD58-4F57-89AE-DD2732B8B4B6}"/>
                </a:ext>
              </a:extLst>
            </p:cNvPr>
            <p:cNvSpPr>
              <a:spLocks/>
            </p:cNvSpPr>
            <p:nvPr/>
          </p:nvSpPr>
          <p:spPr bwMode="gray">
            <a:xfrm>
              <a:off x="2233" y="2198"/>
              <a:ext cx="838" cy="739"/>
            </a:xfrm>
            <a:custGeom>
              <a:avLst/>
              <a:gdLst/>
              <a:ahLst/>
              <a:cxnLst>
                <a:cxn ang="0">
                  <a:pos x="68" y="539"/>
                </a:cxn>
                <a:cxn ang="0">
                  <a:pos x="78" y="572"/>
                </a:cxn>
                <a:cxn ang="0">
                  <a:pos x="129" y="586"/>
                </a:cxn>
                <a:cxn ang="0">
                  <a:pos x="134" y="565"/>
                </a:cxn>
                <a:cxn ang="0">
                  <a:pos x="161" y="554"/>
                </a:cxn>
                <a:cxn ang="0">
                  <a:pos x="214" y="585"/>
                </a:cxn>
                <a:cxn ang="0">
                  <a:pos x="251" y="596"/>
                </a:cxn>
                <a:cxn ang="0">
                  <a:pos x="255" y="612"/>
                </a:cxn>
                <a:cxn ang="0">
                  <a:pos x="295" y="632"/>
                </a:cxn>
                <a:cxn ang="0">
                  <a:pos x="332" y="649"/>
                </a:cxn>
                <a:cxn ang="0">
                  <a:pos x="364" y="684"/>
                </a:cxn>
                <a:cxn ang="0">
                  <a:pos x="407" y="679"/>
                </a:cxn>
                <a:cxn ang="0">
                  <a:pos x="426" y="679"/>
                </a:cxn>
                <a:cxn ang="0">
                  <a:pos x="465" y="665"/>
                </a:cxn>
                <a:cxn ang="0">
                  <a:pos x="526" y="641"/>
                </a:cxn>
                <a:cxn ang="0">
                  <a:pos x="549" y="634"/>
                </a:cxn>
                <a:cxn ang="0">
                  <a:pos x="532" y="604"/>
                </a:cxn>
                <a:cxn ang="0">
                  <a:pos x="569" y="558"/>
                </a:cxn>
                <a:cxn ang="0">
                  <a:pos x="631" y="523"/>
                </a:cxn>
                <a:cxn ang="0">
                  <a:pos x="667" y="477"/>
                </a:cxn>
                <a:cxn ang="0">
                  <a:pos x="691" y="466"/>
                </a:cxn>
                <a:cxn ang="0">
                  <a:pos x="715" y="460"/>
                </a:cxn>
                <a:cxn ang="0">
                  <a:pos x="723" y="445"/>
                </a:cxn>
                <a:cxn ang="0">
                  <a:pos x="727" y="410"/>
                </a:cxn>
                <a:cxn ang="0">
                  <a:pos x="749" y="384"/>
                </a:cxn>
                <a:cxn ang="0">
                  <a:pos x="764" y="325"/>
                </a:cxn>
                <a:cxn ang="0">
                  <a:pos x="758" y="308"/>
                </a:cxn>
                <a:cxn ang="0">
                  <a:pos x="725" y="323"/>
                </a:cxn>
                <a:cxn ang="0">
                  <a:pos x="630" y="285"/>
                </a:cxn>
                <a:cxn ang="0">
                  <a:pos x="612" y="282"/>
                </a:cxn>
                <a:cxn ang="0">
                  <a:pos x="589" y="238"/>
                </a:cxn>
                <a:cxn ang="0">
                  <a:pos x="579" y="182"/>
                </a:cxn>
                <a:cxn ang="0">
                  <a:pos x="609" y="133"/>
                </a:cxn>
                <a:cxn ang="0">
                  <a:pos x="614" y="82"/>
                </a:cxn>
                <a:cxn ang="0">
                  <a:pos x="548" y="49"/>
                </a:cxn>
                <a:cxn ang="0">
                  <a:pos x="534" y="16"/>
                </a:cxn>
                <a:cxn ang="0">
                  <a:pos x="528" y="2"/>
                </a:cxn>
                <a:cxn ang="0">
                  <a:pos x="501" y="14"/>
                </a:cxn>
                <a:cxn ang="0">
                  <a:pos x="476" y="0"/>
                </a:cxn>
                <a:cxn ang="0">
                  <a:pos x="449" y="11"/>
                </a:cxn>
                <a:cxn ang="0">
                  <a:pos x="468" y="40"/>
                </a:cxn>
                <a:cxn ang="0">
                  <a:pos x="413" y="94"/>
                </a:cxn>
                <a:cxn ang="0">
                  <a:pos x="361" y="116"/>
                </a:cxn>
                <a:cxn ang="0">
                  <a:pos x="321" y="162"/>
                </a:cxn>
                <a:cxn ang="0">
                  <a:pos x="325" y="198"/>
                </a:cxn>
                <a:cxn ang="0">
                  <a:pos x="281" y="206"/>
                </a:cxn>
                <a:cxn ang="0">
                  <a:pos x="286" y="230"/>
                </a:cxn>
                <a:cxn ang="0">
                  <a:pos x="286" y="256"/>
                </a:cxn>
                <a:cxn ang="0">
                  <a:pos x="334" y="278"/>
                </a:cxn>
                <a:cxn ang="0">
                  <a:pos x="322" y="311"/>
                </a:cxn>
                <a:cxn ang="0">
                  <a:pos x="288" y="326"/>
                </a:cxn>
                <a:cxn ang="0">
                  <a:pos x="265" y="314"/>
                </a:cxn>
                <a:cxn ang="0">
                  <a:pos x="237" y="295"/>
                </a:cxn>
                <a:cxn ang="0">
                  <a:pos x="213" y="294"/>
                </a:cxn>
                <a:cxn ang="0">
                  <a:pos x="201" y="276"/>
                </a:cxn>
                <a:cxn ang="0">
                  <a:pos x="136" y="296"/>
                </a:cxn>
                <a:cxn ang="0">
                  <a:pos x="100" y="283"/>
                </a:cxn>
                <a:cxn ang="0">
                  <a:pos x="104" y="303"/>
                </a:cxn>
                <a:cxn ang="0">
                  <a:pos x="114" y="343"/>
                </a:cxn>
                <a:cxn ang="0">
                  <a:pos x="145" y="371"/>
                </a:cxn>
                <a:cxn ang="0">
                  <a:pos x="94" y="472"/>
                </a:cxn>
                <a:cxn ang="0">
                  <a:pos x="54" y="490"/>
                </a:cxn>
                <a:cxn ang="0">
                  <a:pos x="0" y="540"/>
                </a:cxn>
              </a:cxnLst>
              <a:rect l="0" t="0" r="r" b="b"/>
              <a:pathLst>
                <a:path w="778" h="684">
                  <a:moveTo>
                    <a:pt x="2" y="541"/>
                  </a:moveTo>
                  <a:cubicBezTo>
                    <a:pt x="3" y="544"/>
                    <a:pt x="54" y="539"/>
                    <a:pt x="68" y="539"/>
                  </a:cubicBezTo>
                  <a:cubicBezTo>
                    <a:pt x="82" y="539"/>
                    <a:pt x="80" y="555"/>
                    <a:pt x="80" y="555"/>
                  </a:cubicBezTo>
                  <a:cubicBezTo>
                    <a:pt x="57" y="564"/>
                    <a:pt x="80" y="563"/>
                    <a:pt x="78" y="572"/>
                  </a:cubicBezTo>
                  <a:cubicBezTo>
                    <a:pt x="76" y="581"/>
                    <a:pt x="119" y="577"/>
                    <a:pt x="119" y="577"/>
                  </a:cubicBezTo>
                  <a:cubicBezTo>
                    <a:pt x="119" y="577"/>
                    <a:pt x="127" y="583"/>
                    <a:pt x="129" y="586"/>
                  </a:cubicBezTo>
                  <a:cubicBezTo>
                    <a:pt x="131" y="589"/>
                    <a:pt x="138" y="577"/>
                    <a:pt x="144" y="575"/>
                  </a:cubicBezTo>
                  <a:cubicBezTo>
                    <a:pt x="150" y="573"/>
                    <a:pt x="138" y="576"/>
                    <a:pt x="134" y="565"/>
                  </a:cubicBezTo>
                  <a:cubicBezTo>
                    <a:pt x="130" y="554"/>
                    <a:pt x="139" y="558"/>
                    <a:pt x="139" y="554"/>
                  </a:cubicBezTo>
                  <a:cubicBezTo>
                    <a:pt x="139" y="550"/>
                    <a:pt x="151" y="554"/>
                    <a:pt x="161" y="554"/>
                  </a:cubicBezTo>
                  <a:cubicBezTo>
                    <a:pt x="171" y="554"/>
                    <a:pt x="177" y="583"/>
                    <a:pt x="177" y="583"/>
                  </a:cubicBezTo>
                  <a:cubicBezTo>
                    <a:pt x="214" y="585"/>
                    <a:pt x="214" y="585"/>
                    <a:pt x="214" y="585"/>
                  </a:cubicBezTo>
                  <a:cubicBezTo>
                    <a:pt x="214" y="585"/>
                    <a:pt x="233" y="578"/>
                    <a:pt x="240" y="569"/>
                  </a:cubicBezTo>
                  <a:cubicBezTo>
                    <a:pt x="247" y="560"/>
                    <a:pt x="251" y="596"/>
                    <a:pt x="251" y="596"/>
                  </a:cubicBezTo>
                  <a:cubicBezTo>
                    <a:pt x="251" y="596"/>
                    <a:pt x="248" y="600"/>
                    <a:pt x="245" y="600"/>
                  </a:cubicBezTo>
                  <a:cubicBezTo>
                    <a:pt x="242" y="600"/>
                    <a:pt x="252" y="608"/>
                    <a:pt x="255" y="612"/>
                  </a:cubicBezTo>
                  <a:cubicBezTo>
                    <a:pt x="258" y="616"/>
                    <a:pt x="248" y="623"/>
                    <a:pt x="248" y="623"/>
                  </a:cubicBezTo>
                  <a:cubicBezTo>
                    <a:pt x="248" y="623"/>
                    <a:pt x="291" y="631"/>
                    <a:pt x="295" y="632"/>
                  </a:cubicBezTo>
                  <a:cubicBezTo>
                    <a:pt x="305" y="651"/>
                    <a:pt x="316" y="636"/>
                    <a:pt x="322" y="637"/>
                  </a:cubicBezTo>
                  <a:cubicBezTo>
                    <a:pt x="328" y="638"/>
                    <a:pt x="320" y="648"/>
                    <a:pt x="332" y="649"/>
                  </a:cubicBezTo>
                  <a:cubicBezTo>
                    <a:pt x="344" y="650"/>
                    <a:pt x="354" y="671"/>
                    <a:pt x="348" y="676"/>
                  </a:cubicBezTo>
                  <a:cubicBezTo>
                    <a:pt x="342" y="681"/>
                    <a:pt x="356" y="680"/>
                    <a:pt x="364" y="684"/>
                  </a:cubicBezTo>
                  <a:cubicBezTo>
                    <a:pt x="372" y="671"/>
                    <a:pt x="393" y="669"/>
                    <a:pt x="399" y="666"/>
                  </a:cubicBezTo>
                  <a:cubicBezTo>
                    <a:pt x="405" y="663"/>
                    <a:pt x="404" y="681"/>
                    <a:pt x="407" y="679"/>
                  </a:cubicBezTo>
                  <a:cubicBezTo>
                    <a:pt x="410" y="677"/>
                    <a:pt x="418" y="669"/>
                    <a:pt x="424" y="674"/>
                  </a:cubicBezTo>
                  <a:cubicBezTo>
                    <a:pt x="426" y="676"/>
                    <a:pt x="426" y="678"/>
                    <a:pt x="426" y="679"/>
                  </a:cubicBezTo>
                  <a:cubicBezTo>
                    <a:pt x="427" y="679"/>
                    <a:pt x="437" y="672"/>
                    <a:pt x="443" y="663"/>
                  </a:cubicBezTo>
                  <a:cubicBezTo>
                    <a:pt x="449" y="654"/>
                    <a:pt x="443" y="663"/>
                    <a:pt x="465" y="665"/>
                  </a:cubicBezTo>
                  <a:cubicBezTo>
                    <a:pt x="472" y="679"/>
                    <a:pt x="481" y="671"/>
                    <a:pt x="481" y="671"/>
                  </a:cubicBezTo>
                  <a:cubicBezTo>
                    <a:pt x="469" y="660"/>
                    <a:pt x="520" y="642"/>
                    <a:pt x="526" y="641"/>
                  </a:cubicBezTo>
                  <a:cubicBezTo>
                    <a:pt x="532" y="640"/>
                    <a:pt x="538" y="646"/>
                    <a:pt x="538" y="646"/>
                  </a:cubicBezTo>
                  <a:cubicBezTo>
                    <a:pt x="538" y="646"/>
                    <a:pt x="547" y="639"/>
                    <a:pt x="549" y="634"/>
                  </a:cubicBezTo>
                  <a:cubicBezTo>
                    <a:pt x="551" y="629"/>
                    <a:pt x="551" y="618"/>
                    <a:pt x="548" y="610"/>
                  </a:cubicBezTo>
                  <a:cubicBezTo>
                    <a:pt x="518" y="622"/>
                    <a:pt x="535" y="604"/>
                    <a:pt x="532" y="604"/>
                  </a:cubicBezTo>
                  <a:cubicBezTo>
                    <a:pt x="529" y="604"/>
                    <a:pt x="552" y="584"/>
                    <a:pt x="560" y="578"/>
                  </a:cubicBezTo>
                  <a:cubicBezTo>
                    <a:pt x="559" y="561"/>
                    <a:pt x="569" y="558"/>
                    <a:pt x="569" y="558"/>
                  </a:cubicBezTo>
                  <a:cubicBezTo>
                    <a:pt x="581" y="586"/>
                    <a:pt x="609" y="532"/>
                    <a:pt x="609" y="532"/>
                  </a:cubicBezTo>
                  <a:cubicBezTo>
                    <a:pt x="603" y="509"/>
                    <a:pt x="629" y="516"/>
                    <a:pt x="631" y="523"/>
                  </a:cubicBezTo>
                  <a:cubicBezTo>
                    <a:pt x="630" y="511"/>
                    <a:pt x="644" y="515"/>
                    <a:pt x="648" y="508"/>
                  </a:cubicBezTo>
                  <a:cubicBezTo>
                    <a:pt x="647" y="480"/>
                    <a:pt x="667" y="477"/>
                    <a:pt x="667" y="477"/>
                  </a:cubicBezTo>
                  <a:cubicBezTo>
                    <a:pt x="675" y="465"/>
                    <a:pt x="675" y="465"/>
                    <a:pt x="675" y="465"/>
                  </a:cubicBezTo>
                  <a:cubicBezTo>
                    <a:pt x="691" y="466"/>
                    <a:pt x="691" y="466"/>
                    <a:pt x="691" y="466"/>
                  </a:cubicBezTo>
                  <a:cubicBezTo>
                    <a:pt x="696" y="456"/>
                    <a:pt x="696" y="456"/>
                    <a:pt x="696" y="456"/>
                  </a:cubicBezTo>
                  <a:cubicBezTo>
                    <a:pt x="715" y="460"/>
                    <a:pt x="715" y="460"/>
                    <a:pt x="715" y="460"/>
                  </a:cubicBezTo>
                  <a:cubicBezTo>
                    <a:pt x="713" y="442"/>
                    <a:pt x="713" y="442"/>
                    <a:pt x="713" y="442"/>
                  </a:cubicBezTo>
                  <a:cubicBezTo>
                    <a:pt x="723" y="445"/>
                    <a:pt x="723" y="445"/>
                    <a:pt x="723" y="445"/>
                  </a:cubicBezTo>
                  <a:cubicBezTo>
                    <a:pt x="736" y="435"/>
                    <a:pt x="736" y="435"/>
                    <a:pt x="736" y="435"/>
                  </a:cubicBezTo>
                  <a:cubicBezTo>
                    <a:pt x="727" y="410"/>
                    <a:pt x="727" y="410"/>
                    <a:pt x="727" y="410"/>
                  </a:cubicBezTo>
                  <a:cubicBezTo>
                    <a:pt x="746" y="398"/>
                    <a:pt x="746" y="398"/>
                    <a:pt x="746" y="398"/>
                  </a:cubicBezTo>
                  <a:cubicBezTo>
                    <a:pt x="749" y="384"/>
                    <a:pt x="749" y="384"/>
                    <a:pt x="749" y="384"/>
                  </a:cubicBezTo>
                  <a:cubicBezTo>
                    <a:pt x="763" y="390"/>
                    <a:pt x="778" y="338"/>
                    <a:pt x="778" y="338"/>
                  </a:cubicBezTo>
                  <a:cubicBezTo>
                    <a:pt x="764" y="325"/>
                    <a:pt x="764" y="325"/>
                    <a:pt x="764" y="325"/>
                  </a:cubicBezTo>
                  <a:cubicBezTo>
                    <a:pt x="768" y="311"/>
                    <a:pt x="768" y="311"/>
                    <a:pt x="768" y="311"/>
                  </a:cubicBezTo>
                  <a:cubicBezTo>
                    <a:pt x="758" y="308"/>
                    <a:pt x="758" y="308"/>
                    <a:pt x="758" y="308"/>
                  </a:cubicBezTo>
                  <a:cubicBezTo>
                    <a:pt x="751" y="316"/>
                    <a:pt x="751" y="316"/>
                    <a:pt x="751" y="316"/>
                  </a:cubicBezTo>
                  <a:cubicBezTo>
                    <a:pt x="751" y="316"/>
                    <a:pt x="730" y="316"/>
                    <a:pt x="725" y="323"/>
                  </a:cubicBezTo>
                  <a:cubicBezTo>
                    <a:pt x="717" y="339"/>
                    <a:pt x="690" y="316"/>
                    <a:pt x="690" y="316"/>
                  </a:cubicBezTo>
                  <a:cubicBezTo>
                    <a:pt x="630" y="285"/>
                    <a:pt x="630" y="285"/>
                    <a:pt x="630" y="285"/>
                  </a:cubicBezTo>
                  <a:cubicBezTo>
                    <a:pt x="623" y="288"/>
                    <a:pt x="623" y="288"/>
                    <a:pt x="623" y="288"/>
                  </a:cubicBezTo>
                  <a:cubicBezTo>
                    <a:pt x="612" y="282"/>
                    <a:pt x="612" y="282"/>
                    <a:pt x="612" y="282"/>
                  </a:cubicBezTo>
                  <a:cubicBezTo>
                    <a:pt x="613" y="271"/>
                    <a:pt x="613" y="271"/>
                    <a:pt x="613" y="271"/>
                  </a:cubicBezTo>
                  <a:cubicBezTo>
                    <a:pt x="589" y="238"/>
                    <a:pt x="589" y="238"/>
                    <a:pt x="589" y="238"/>
                  </a:cubicBezTo>
                  <a:cubicBezTo>
                    <a:pt x="598" y="219"/>
                    <a:pt x="598" y="219"/>
                    <a:pt x="598" y="219"/>
                  </a:cubicBezTo>
                  <a:cubicBezTo>
                    <a:pt x="579" y="182"/>
                    <a:pt x="579" y="182"/>
                    <a:pt x="579" y="182"/>
                  </a:cubicBezTo>
                  <a:cubicBezTo>
                    <a:pt x="579" y="182"/>
                    <a:pt x="601" y="155"/>
                    <a:pt x="604" y="152"/>
                  </a:cubicBezTo>
                  <a:cubicBezTo>
                    <a:pt x="598" y="134"/>
                    <a:pt x="611" y="136"/>
                    <a:pt x="609" y="133"/>
                  </a:cubicBezTo>
                  <a:cubicBezTo>
                    <a:pt x="622" y="140"/>
                    <a:pt x="620" y="121"/>
                    <a:pt x="624" y="123"/>
                  </a:cubicBezTo>
                  <a:cubicBezTo>
                    <a:pt x="611" y="113"/>
                    <a:pt x="614" y="82"/>
                    <a:pt x="614" y="82"/>
                  </a:cubicBezTo>
                  <a:cubicBezTo>
                    <a:pt x="577" y="74"/>
                    <a:pt x="577" y="74"/>
                    <a:pt x="577" y="74"/>
                  </a:cubicBezTo>
                  <a:cubicBezTo>
                    <a:pt x="548" y="49"/>
                    <a:pt x="548" y="49"/>
                    <a:pt x="548" y="49"/>
                  </a:cubicBezTo>
                  <a:cubicBezTo>
                    <a:pt x="550" y="19"/>
                    <a:pt x="550" y="19"/>
                    <a:pt x="550" y="19"/>
                  </a:cubicBezTo>
                  <a:cubicBezTo>
                    <a:pt x="534" y="16"/>
                    <a:pt x="534" y="16"/>
                    <a:pt x="534" y="16"/>
                  </a:cubicBezTo>
                  <a:cubicBezTo>
                    <a:pt x="532" y="7"/>
                    <a:pt x="532" y="7"/>
                    <a:pt x="532" y="7"/>
                  </a:cubicBezTo>
                  <a:cubicBezTo>
                    <a:pt x="530" y="6"/>
                    <a:pt x="529" y="4"/>
                    <a:pt x="528" y="2"/>
                  </a:cubicBezTo>
                  <a:cubicBezTo>
                    <a:pt x="504" y="6"/>
                    <a:pt x="504" y="6"/>
                    <a:pt x="504" y="6"/>
                  </a:cubicBezTo>
                  <a:cubicBezTo>
                    <a:pt x="501" y="14"/>
                    <a:pt x="501" y="14"/>
                    <a:pt x="501" y="14"/>
                  </a:cubicBezTo>
                  <a:cubicBezTo>
                    <a:pt x="477" y="14"/>
                    <a:pt x="477" y="14"/>
                    <a:pt x="477" y="14"/>
                  </a:cubicBezTo>
                  <a:cubicBezTo>
                    <a:pt x="476" y="0"/>
                    <a:pt x="476" y="0"/>
                    <a:pt x="476" y="0"/>
                  </a:cubicBezTo>
                  <a:cubicBezTo>
                    <a:pt x="446" y="3"/>
                    <a:pt x="446" y="3"/>
                    <a:pt x="446" y="3"/>
                  </a:cubicBezTo>
                  <a:cubicBezTo>
                    <a:pt x="449" y="11"/>
                    <a:pt x="449" y="11"/>
                    <a:pt x="449" y="11"/>
                  </a:cubicBezTo>
                  <a:cubicBezTo>
                    <a:pt x="449" y="11"/>
                    <a:pt x="444" y="24"/>
                    <a:pt x="444" y="35"/>
                  </a:cubicBezTo>
                  <a:cubicBezTo>
                    <a:pt x="444" y="46"/>
                    <a:pt x="468" y="40"/>
                    <a:pt x="468" y="40"/>
                  </a:cubicBezTo>
                  <a:cubicBezTo>
                    <a:pt x="468" y="40"/>
                    <a:pt x="469" y="59"/>
                    <a:pt x="476" y="82"/>
                  </a:cubicBezTo>
                  <a:cubicBezTo>
                    <a:pt x="410" y="80"/>
                    <a:pt x="420" y="100"/>
                    <a:pt x="413" y="94"/>
                  </a:cubicBezTo>
                  <a:cubicBezTo>
                    <a:pt x="406" y="87"/>
                    <a:pt x="397" y="110"/>
                    <a:pt x="397" y="110"/>
                  </a:cubicBezTo>
                  <a:cubicBezTo>
                    <a:pt x="397" y="110"/>
                    <a:pt x="373" y="116"/>
                    <a:pt x="361" y="116"/>
                  </a:cubicBezTo>
                  <a:cubicBezTo>
                    <a:pt x="349" y="116"/>
                    <a:pt x="354" y="128"/>
                    <a:pt x="358" y="138"/>
                  </a:cubicBezTo>
                  <a:cubicBezTo>
                    <a:pt x="362" y="147"/>
                    <a:pt x="321" y="162"/>
                    <a:pt x="321" y="162"/>
                  </a:cubicBezTo>
                  <a:cubicBezTo>
                    <a:pt x="308" y="188"/>
                    <a:pt x="308" y="188"/>
                    <a:pt x="308" y="188"/>
                  </a:cubicBezTo>
                  <a:cubicBezTo>
                    <a:pt x="325" y="198"/>
                    <a:pt x="325" y="198"/>
                    <a:pt x="325" y="198"/>
                  </a:cubicBezTo>
                  <a:cubicBezTo>
                    <a:pt x="310" y="210"/>
                    <a:pt x="310" y="210"/>
                    <a:pt x="310" y="210"/>
                  </a:cubicBezTo>
                  <a:cubicBezTo>
                    <a:pt x="281" y="206"/>
                    <a:pt x="281" y="206"/>
                    <a:pt x="281" y="206"/>
                  </a:cubicBezTo>
                  <a:cubicBezTo>
                    <a:pt x="278" y="218"/>
                    <a:pt x="278" y="218"/>
                    <a:pt x="278" y="218"/>
                  </a:cubicBezTo>
                  <a:cubicBezTo>
                    <a:pt x="286" y="230"/>
                    <a:pt x="286" y="230"/>
                    <a:pt x="286" y="230"/>
                  </a:cubicBezTo>
                  <a:cubicBezTo>
                    <a:pt x="270" y="231"/>
                    <a:pt x="270" y="231"/>
                    <a:pt x="270" y="231"/>
                  </a:cubicBezTo>
                  <a:cubicBezTo>
                    <a:pt x="286" y="256"/>
                    <a:pt x="286" y="256"/>
                    <a:pt x="286" y="256"/>
                  </a:cubicBezTo>
                  <a:cubicBezTo>
                    <a:pt x="317" y="258"/>
                    <a:pt x="317" y="258"/>
                    <a:pt x="317" y="258"/>
                  </a:cubicBezTo>
                  <a:cubicBezTo>
                    <a:pt x="334" y="278"/>
                    <a:pt x="334" y="278"/>
                    <a:pt x="334" y="278"/>
                  </a:cubicBezTo>
                  <a:cubicBezTo>
                    <a:pt x="334" y="300"/>
                    <a:pt x="334" y="300"/>
                    <a:pt x="334" y="300"/>
                  </a:cubicBezTo>
                  <a:cubicBezTo>
                    <a:pt x="334" y="300"/>
                    <a:pt x="320" y="314"/>
                    <a:pt x="322" y="311"/>
                  </a:cubicBezTo>
                  <a:cubicBezTo>
                    <a:pt x="298" y="303"/>
                    <a:pt x="308" y="314"/>
                    <a:pt x="308" y="314"/>
                  </a:cubicBezTo>
                  <a:cubicBezTo>
                    <a:pt x="288" y="326"/>
                    <a:pt x="288" y="326"/>
                    <a:pt x="288" y="326"/>
                  </a:cubicBezTo>
                  <a:cubicBezTo>
                    <a:pt x="278" y="319"/>
                    <a:pt x="278" y="319"/>
                    <a:pt x="278" y="319"/>
                  </a:cubicBezTo>
                  <a:cubicBezTo>
                    <a:pt x="278" y="319"/>
                    <a:pt x="265" y="323"/>
                    <a:pt x="265" y="314"/>
                  </a:cubicBezTo>
                  <a:cubicBezTo>
                    <a:pt x="265" y="304"/>
                    <a:pt x="258" y="300"/>
                    <a:pt x="258" y="300"/>
                  </a:cubicBezTo>
                  <a:cubicBezTo>
                    <a:pt x="237" y="295"/>
                    <a:pt x="237" y="295"/>
                    <a:pt x="237" y="295"/>
                  </a:cubicBezTo>
                  <a:cubicBezTo>
                    <a:pt x="238" y="302"/>
                    <a:pt x="238" y="302"/>
                    <a:pt x="238" y="302"/>
                  </a:cubicBezTo>
                  <a:cubicBezTo>
                    <a:pt x="213" y="294"/>
                    <a:pt x="213" y="294"/>
                    <a:pt x="213" y="294"/>
                  </a:cubicBezTo>
                  <a:cubicBezTo>
                    <a:pt x="213" y="270"/>
                    <a:pt x="213" y="270"/>
                    <a:pt x="213" y="270"/>
                  </a:cubicBezTo>
                  <a:cubicBezTo>
                    <a:pt x="201" y="276"/>
                    <a:pt x="201" y="276"/>
                    <a:pt x="201" y="276"/>
                  </a:cubicBezTo>
                  <a:cubicBezTo>
                    <a:pt x="190" y="272"/>
                    <a:pt x="190" y="272"/>
                    <a:pt x="190" y="272"/>
                  </a:cubicBezTo>
                  <a:cubicBezTo>
                    <a:pt x="136" y="296"/>
                    <a:pt x="136" y="296"/>
                    <a:pt x="136" y="296"/>
                  </a:cubicBezTo>
                  <a:cubicBezTo>
                    <a:pt x="134" y="260"/>
                    <a:pt x="100" y="268"/>
                    <a:pt x="100" y="268"/>
                  </a:cubicBezTo>
                  <a:cubicBezTo>
                    <a:pt x="100" y="283"/>
                    <a:pt x="100" y="283"/>
                    <a:pt x="100" y="283"/>
                  </a:cubicBezTo>
                  <a:cubicBezTo>
                    <a:pt x="95" y="281"/>
                    <a:pt x="95" y="281"/>
                    <a:pt x="95" y="281"/>
                  </a:cubicBezTo>
                  <a:cubicBezTo>
                    <a:pt x="104" y="303"/>
                    <a:pt x="104" y="303"/>
                    <a:pt x="104" y="303"/>
                  </a:cubicBezTo>
                  <a:cubicBezTo>
                    <a:pt x="114" y="304"/>
                    <a:pt x="114" y="304"/>
                    <a:pt x="114" y="304"/>
                  </a:cubicBezTo>
                  <a:cubicBezTo>
                    <a:pt x="114" y="343"/>
                    <a:pt x="114" y="343"/>
                    <a:pt x="114" y="343"/>
                  </a:cubicBezTo>
                  <a:cubicBezTo>
                    <a:pt x="125" y="339"/>
                    <a:pt x="125" y="339"/>
                    <a:pt x="125" y="339"/>
                  </a:cubicBezTo>
                  <a:cubicBezTo>
                    <a:pt x="145" y="371"/>
                    <a:pt x="145" y="371"/>
                    <a:pt x="145" y="371"/>
                  </a:cubicBezTo>
                  <a:cubicBezTo>
                    <a:pt x="102" y="415"/>
                    <a:pt x="102" y="415"/>
                    <a:pt x="102" y="415"/>
                  </a:cubicBezTo>
                  <a:cubicBezTo>
                    <a:pt x="94" y="472"/>
                    <a:pt x="94" y="472"/>
                    <a:pt x="94" y="472"/>
                  </a:cubicBezTo>
                  <a:cubicBezTo>
                    <a:pt x="69" y="466"/>
                    <a:pt x="69" y="466"/>
                    <a:pt x="69" y="466"/>
                  </a:cubicBezTo>
                  <a:cubicBezTo>
                    <a:pt x="54" y="490"/>
                    <a:pt x="54" y="490"/>
                    <a:pt x="54" y="490"/>
                  </a:cubicBezTo>
                  <a:cubicBezTo>
                    <a:pt x="58" y="500"/>
                    <a:pt x="58" y="500"/>
                    <a:pt x="58" y="500"/>
                  </a:cubicBezTo>
                  <a:cubicBezTo>
                    <a:pt x="0" y="540"/>
                    <a:pt x="0" y="540"/>
                    <a:pt x="0" y="540"/>
                  </a:cubicBezTo>
                  <a:cubicBezTo>
                    <a:pt x="1" y="541"/>
                    <a:pt x="2" y="541"/>
                    <a:pt x="2" y="54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7" name="Languedoc-Roussillon" descr="© INSCALE GmbH, 05.05.2010&#10;http://www.presentationload.com/">
              <a:extLst>
                <a:ext uri="{FF2B5EF4-FFF2-40B4-BE49-F238E27FC236}">
                  <a16:creationId xmlns:a16="http://schemas.microsoft.com/office/drawing/2014/main" id="{50A5143E-E69F-488B-AEDD-AD9B91FA6B95}"/>
                </a:ext>
              </a:extLst>
            </p:cNvPr>
            <p:cNvSpPr>
              <a:spLocks/>
            </p:cNvSpPr>
            <p:nvPr/>
          </p:nvSpPr>
          <p:spPr bwMode="gray">
            <a:xfrm>
              <a:off x="1594" y="2270"/>
              <a:ext cx="795" cy="930"/>
            </a:xfrm>
            <a:custGeom>
              <a:avLst/>
              <a:gdLst/>
              <a:ahLst/>
              <a:cxnLst>
                <a:cxn ang="0">
                  <a:pos x="20" y="800"/>
                </a:cxn>
                <a:cxn ang="0">
                  <a:pos x="61" y="817"/>
                </a:cxn>
                <a:cxn ang="0">
                  <a:pos x="99" y="847"/>
                </a:cxn>
                <a:cxn ang="0">
                  <a:pos x="151" y="830"/>
                </a:cxn>
                <a:cxn ang="0">
                  <a:pos x="230" y="858"/>
                </a:cxn>
                <a:cxn ang="0">
                  <a:pos x="248" y="831"/>
                </a:cxn>
                <a:cxn ang="0">
                  <a:pos x="282" y="817"/>
                </a:cxn>
                <a:cxn ang="0">
                  <a:pos x="318" y="812"/>
                </a:cxn>
                <a:cxn ang="0">
                  <a:pos x="347" y="824"/>
                </a:cxn>
                <a:cxn ang="0">
                  <a:pos x="335" y="788"/>
                </a:cxn>
                <a:cxn ang="0">
                  <a:pos x="322" y="658"/>
                </a:cxn>
                <a:cxn ang="0">
                  <a:pos x="319" y="622"/>
                </a:cxn>
                <a:cxn ang="0">
                  <a:pos x="466" y="488"/>
                </a:cxn>
                <a:cxn ang="0">
                  <a:pos x="564" y="442"/>
                </a:cxn>
                <a:cxn ang="0">
                  <a:pos x="650" y="433"/>
                </a:cxn>
                <a:cxn ang="0">
                  <a:pos x="661" y="399"/>
                </a:cxn>
                <a:cxn ang="0">
                  <a:pos x="694" y="348"/>
                </a:cxn>
                <a:cxn ang="0">
                  <a:pos x="717" y="272"/>
                </a:cxn>
                <a:cxn ang="0">
                  <a:pos x="706" y="237"/>
                </a:cxn>
                <a:cxn ang="0">
                  <a:pos x="687" y="214"/>
                </a:cxn>
                <a:cxn ang="0">
                  <a:pos x="641" y="209"/>
                </a:cxn>
                <a:cxn ang="0">
                  <a:pos x="634" y="195"/>
                </a:cxn>
                <a:cxn ang="0">
                  <a:pos x="600" y="225"/>
                </a:cxn>
                <a:cxn ang="0">
                  <a:pos x="549" y="208"/>
                </a:cxn>
                <a:cxn ang="0">
                  <a:pos x="536" y="159"/>
                </a:cxn>
                <a:cxn ang="0">
                  <a:pos x="518" y="121"/>
                </a:cxn>
                <a:cxn ang="0">
                  <a:pos x="501" y="71"/>
                </a:cxn>
                <a:cxn ang="0">
                  <a:pos x="458" y="40"/>
                </a:cxn>
                <a:cxn ang="0">
                  <a:pos x="420" y="51"/>
                </a:cxn>
                <a:cxn ang="0">
                  <a:pos x="373" y="16"/>
                </a:cxn>
                <a:cxn ang="0">
                  <a:pos x="368" y="27"/>
                </a:cxn>
                <a:cxn ang="0">
                  <a:pos x="342" y="19"/>
                </a:cxn>
                <a:cxn ang="0">
                  <a:pos x="334" y="43"/>
                </a:cxn>
                <a:cxn ang="0">
                  <a:pos x="320" y="79"/>
                </a:cxn>
                <a:cxn ang="0">
                  <a:pos x="308" y="108"/>
                </a:cxn>
                <a:cxn ang="0">
                  <a:pos x="325" y="155"/>
                </a:cxn>
                <a:cxn ang="0">
                  <a:pos x="348" y="208"/>
                </a:cxn>
                <a:cxn ang="0">
                  <a:pos x="361" y="232"/>
                </a:cxn>
                <a:cxn ang="0">
                  <a:pos x="393" y="256"/>
                </a:cxn>
                <a:cxn ang="0">
                  <a:pos x="393" y="285"/>
                </a:cxn>
                <a:cxn ang="0">
                  <a:pos x="418" y="303"/>
                </a:cxn>
                <a:cxn ang="0">
                  <a:pos x="394" y="345"/>
                </a:cxn>
                <a:cxn ang="0">
                  <a:pos x="373" y="364"/>
                </a:cxn>
                <a:cxn ang="0">
                  <a:pos x="328" y="405"/>
                </a:cxn>
                <a:cxn ang="0">
                  <a:pos x="253" y="427"/>
                </a:cxn>
                <a:cxn ang="0">
                  <a:pos x="198" y="492"/>
                </a:cxn>
                <a:cxn ang="0">
                  <a:pos x="130" y="509"/>
                </a:cxn>
                <a:cxn ang="0">
                  <a:pos x="96" y="496"/>
                </a:cxn>
                <a:cxn ang="0">
                  <a:pos x="62" y="508"/>
                </a:cxn>
                <a:cxn ang="0">
                  <a:pos x="37" y="520"/>
                </a:cxn>
                <a:cxn ang="0">
                  <a:pos x="14" y="572"/>
                </a:cxn>
                <a:cxn ang="0">
                  <a:pos x="68" y="612"/>
                </a:cxn>
                <a:cxn ang="0">
                  <a:pos x="64" y="651"/>
                </a:cxn>
                <a:cxn ang="0">
                  <a:pos x="77" y="669"/>
                </a:cxn>
                <a:cxn ang="0">
                  <a:pos x="53" y="693"/>
                </a:cxn>
                <a:cxn ang="0">
                  <a:pos x="101" y="713"/>
                </a:cxn>
                <a:cxn ang="0">
                  <a:pos x="76" y="743"/>
                </a:cxn>
                <a:cxn ang="0">
                  <a:pos x="57" y="760"/>
                </a:cxn>
                <a:cxn ang="0">
                  <a:pos x="26" y="768"/>
                </a:cxn>
                <a:cxn ang="0">
                  <a:pos x="25" y="777"/>
                </a:cxn>
              </a:cxnLst>
              <a:rect l="0" t="0" r="r" b="b"/>
              <a:pathLst>
                <a:path w="737" h="861">
                  <a:moveTo>
                    <a:pt x="25" y="777"/>
                  </a:moveTo>
                  <a:cubicBezTo>
                    <a:pt x="20" y="781"/>
                    <a:pt x="20" y="800"/>
                    <a:pt x="20" y="800"/>
                  </a:cubicBezTo>
                  <a:cubicBezTo>
                    <a:pt x="20" y="800"/>
                    <a:pt x="41" y="808"/>
                    <a:pt x="43" y="805"/>
                  </a:cubicBezTo>
                  <a:cubicBezTo>
                    <a:pt x="47" y="818"/>
                    <a:pt x="61" y="817"/>
                    <a:pt x="61" y="817"/>
                  </a:cubicBezTo>
                  <a:cubicBezTo>
                    <a:pt x="79" y="848"/>
                    <a:pt x="79" y="848"/>
                    <a:pt x="79" y="848"/>
                  </a:cubicBezTo>
                  <a:cubicBezTo>
                    <a:pt x="99" y="847"/>
                    <a:pt x="99" y="847"/>
                    <a:pt x="99" y="847"/>
                  </a:cubicBezTo>
                  <a:cubicBezTo>
                    <a:pt x="119" y="828"/>
                    <a:pt x="119" y="828"/>
                    <a:pt x="119" y="828"/>
                  </a:cubicBezTo>
                  <a:cubicBezTo>
                    <a:pt x="151" y="830"/>
                    <a:pt x="151" y="830"/>
                    <a:pt x="151" y="830"/>
                  </a:cubicBezTo>
                  <a:cubicBezTo>
                    <a:pt x="151" y="830"/>
                    <a:pt x="194" y="861"/>
                    <a:pt x="205" y="857"/>
                  </a:cubicBezTo>
                  <a:cubicBezTo>
                    <a:pt x="216" y="853"/>
                    <a:pt x="230" y="858"/>
                    <a:pt x="230" y="858"/>
                  </a:cubicBezTo>
                  <a:cubicBezTo>
                    <a:pt x="234" y="844"/>
                    <a:pt x="234" y="844"/>
                    <a:pt x="234" y="844"/>
                  </a:cubicBezTo>
                  <a:cubicBezTo>
                    <a:pt x="248" y="831"/>
                    <a:pt x="248" y="831"/>
                    <a:pt x="248" y="831"/>
                  </a:cubicBezTo>
                  <a:cubicBezTo>
                    <a:pt x="265" y="830"/>
                    <a:pt x="265" y="830"/>
                    <a:pt x="265" y="830"/>
                  </a:cubicBezTo>
                  <a:cubicBezTo>
                    <a:pt x="282" y="817"/>
                    <a:pt x="282" y="817"/>
                    <a:pt x="282" y="817"/>
                  </a:cubicBezTo>
                  <a:cubicBezTo>
                    <a:pt x="313" y="812"/>
                    <a:pt x="313" y="812"/>
                    <a:pt x="313" y="812"/>
                  </a:cubicBezTo>
                  <a:cubicBezTo>
                    <a:pt x="318" y="812"/>
                    <a:pt x="318" y="812"/>
                    <a:pt x="318" y="812"/>
                  </a:cubicBezTo>
                  <a:cubicBezTo>
                    <a:pt x="328" y="830"/>
                    <a:pt x="328" y="830"/>
                    <a:pt x="328" y="830"/>
                  </a:cubicBezTo>
                  <a:cubicBezTo>
                    <a:pt x="347" y="824"/>
                    <a:pt x="347" y="824"/>
                    <a:pt x="347" y="824"/>
                  </a:cubicBezTo>
                  <a:cubicBezTo>
                    <a:pt x="352" y="815"/>
                    <a:pt x="340" y="807"/>
                    <a:pt x="340" y="807"/>
                  </a:cubicBezTo>
                  <a:cubicBezTo>
                    <a:pt x="335" y="788"/>
                    <a:pt x="335" y="788"/>
                    <a:pt x="335" y="788"/>
                  </a:cubicBezTo>
                  <a:cubicBezTo>
                    <a:pt x="318" y="785"/>
                    <a:pt x="318" y="785"/>
                    <a:pt x="318" y="785"/>
                  </a:cubicBezTo>
                  <a:cubicBezTo>
                    <a:pt x="322" y="658"/>
                    <a:pt x="322" y="658"/>
                    <a:pt x="322" y="658"/>
                  </a:cubicBezTo>
                  <a:cubicBezTo>
                    <a:pt x="312" y="643"/>
                    <a:pt x="312" y="643"/>
                    <a:pt x="312" y="643"/>
                  </a:cubicBezTo>
                  <a:cubicBezTo>
                    <a:pt x="312" y="643"/>
                    <a:pt x="319" y="627"/>
                    <a:pt x="319" y="622"/>
                  </a:cubicBezTo>
                  <a:cubicBezTo>
                    <a:pt x="380" y="492"/>
                    <a:pt x="416" y="533"/>
                    <a:pt x="416" y="533"/>
                  </a:cubicBezTo>
                  <a:cubicBezTo>
                    <a:pt x="416" y="533"/>
                    <a:pt x="445" y="505"/>
                    <a:pt x="466" y="488"/>
                  </a:cubicBezTo>
                  <a:cubicBezTo>
                    <a:pt x="487" y="471"/>
                    <a:pt x="490" y="472"/>
                    <a:pt x="496" y="458"/>
                  </a:cubicBezTo>
                  <a:cubicBezTo>
                    <a:pt x="559" y="418"/>
                    <a:pt x="561" y="439"/>
                    <a:pt x="564" y="442"/>
                  </a:cubicBezTo>
                  <a:cubicBezTo>
                    <a:pt x="546" y="458"/>
                    <a:pt x="582" y="469"/>
                    <a:pt x="592" y="473"/>
                  </a:cubicBezTo>
                  <a:cubicBezTo>
                    <a:pt x="650" y="433"/>
                    <a:pt x="650" y="433"/>
                    <a:pt x="650" y="433"/>
                  </a:cubicBezTo>
                  <a:cubicBezTo>
                    <a:pt x="646" y="423"/>
                    <a:pt x="646" y="423"/>
                    <a:pt x="646" y="423"/>
                  </a:cubicBezTo>
                  <a:cubicBezTo>
                    <a:pt x="661" y="399"/>
                    <a:pt x="661" y="399"/>
                    <a:pt x="661" y="399"/>
                  </a:cubicBezTo>
                  <a:cubicBezTo>
                    <a:pt x="686" y="405"/>
                    <a:pt x="686" y="405"/>
                    <a:pt x="686" y="405"/>
                  </a:cubicBezTo>
                  <a:cubicBezTo>
                    <a:pt x="694" y="348"/>
                    <a:pt x="694" y="348"/>
                    <a:pt x="694" y="348"/>
                  </a:cubicBezTo>
                  <a:cubicBezTo>
                    <a:pt x="737" y="304"/>
                    <a:pt x="737" y="304"/>
                    <a:pt x="737" y="304"/>
                  </a:cubicBezTo>
                  <a:cubicBezTo>
                    <a:pt x="717" y="272"/>
                    <a:pt x="717" y="272"/>
                    <a:pt x="717" y="272"/>
                  </a:cubicBezTo>
                  <a:cubicBezTo>
                    <a:pt x="706" y="276"/>
                    <a:pt x="706" y="276"/>
                    <a:pt x="706" y="276"/>
                  </a:cubicBezTo>
                  <a:cubicBezTo>
                    <a:pt x="706" y="237"/>
                    <a:pt x="706" y="237"/>
                    <a:pt x="706" y="237"/>
                  </a:cubicBezTo>
                  <a:cubicBezTo>
                    <a:pt x="696" y="236"/>
                    <a:pt x="696" y="236"/>
                    <a:pt x="696" y="236"/>
                  </a:cubicBezTo>
                  <a:cubicBezTo>
                    <a:pt x="687" y="214"/>
                    <a:pt x="687" y="214"/>
                    <a:pt x="687" y="214"/>
                  </a:cubicBezTo>
                  <a:cubicBezTo>
                    <a:pt x="649" y="197"/>
                    <a:pt x="649" y="197"/>
                    <a:pt x="649" y="197"/>
                  </a:cubicBezTo>
                  <a:cubicBezTo>
                    <a:pt x="641" y="209"/>
                    <a:pt x="641" y="209"/>
                    <a:pt x="641" y="209"/>
                  </a:cubicBezTo>
                  <a:cubicBezTo>
                    <a:pt x="634" y="209"/>
                    <a:pt x="634" y="209"/>
                    <a:pt x="634" y="209"/>
                  </a:cubicBezTo>
                  <a:cubicBezTo>
                    <a:pt x="634" y="195"/>
                    <a:pt x="634" y="195"/>
                    <a:pt x="634" y="195"/>
                  </a:cubicBezTo>
                  <a:cubicBezTo>
                    <a:pt x="620" y="195"/>
                    <a:pt x="620" y="195"/>
                    <a:pt x="620" y="195"/>
                  </a:cubicBezTo>
                  <a:cubicBezTo>
                    <a:pt x="600" y="225"/>
                    <a:pt x="600" y="225"/>
                    <a:pt x="600" y="225"/>
                  </a:cubicBezTo>
                  <a:cubicBezTo>
                    <a:pt x="568" y="197"/>
                    <a:pt x="568" y="197"/>
                    <a:pt x="568" y="197"/>
                  </a:cubicBezTo>
                  <a:cubicBezTo>
                    <a:pt x="549" y="208"/>
                    <a:pt x="549" y="208"/>
                    <a:pt x="549" y="208"/>
                  </a:cubicBezTo>
                  <a:cubicBezTo>
                    <a:pt x="556" y="177"/>
                    <a:pt x="556" y="177"/>
                    <a:pt x="556" y="177"/>
                  </a:cubicBezTo>
                  <a:cubicBezTo>
                    <a:pt x="536" y="159"/>
                    <a:pt x="536" y="159"/>
                    <a:pt x="536" y="159"/>
                  </a:cubicBezTo>
                  <a:cubicBezTo>
                    <a:pt x="532" y="128"/>
                    <a:pt x="532" y="128"/>
                    <a:pt x="532" y="128"/>
                  </a:cubicBezTo>
                  <a:cubicBezTo>
                    <a:pt x="518" y="121"/>
                    <a:pt x="518" y="121"/>
                    <a:pt x="518" y="121"/>
                  </a:cubicBezTo>
                  <a:cubicBezTo>
                    <a:pt x="505" y="69"/>
                    <a:pt x="505" y="69"/>
                    <a:pt x="505" y="69"/>
                  </a:cubicBezTo>
                  <a:cubicBezTo>
                    <a:pt x="501" y="71"/>
                    <a:pt x="501" y="71"/>
                    <a:pt x="501" y="71"/>
                  </a:cubicBezTo>
                  <a:cubicBezTo>
                    <a:pt x="480" y="45"/>
                    <a:pt x="480" y="45"/>
                    <a:pt x="480" y="45"/>
                  </a:cubicBezTo>
                  <a:cubicBezTo>
                    <a:pt x="458" y="40"/>
                    <a:pt x="458" y="40"/>
                    <a:pt x="458" y="40"/>
                  </a:cubicBezTo>
                  <a:cubicBezTo>
                    <a:pt x="458" y="40"/>
                    <a:pt x="448" y="16"/>
                    <a:pt x="444" y="43"/>
                  </a:cubicBezTo>
                  <a:cubicBezTo>
                    <a:pt x="420" y="51"/>
                    <a:pt x="420" y="51"/>
                    <a:pt x="420" y="51"/>
                  </a:cubicBezTo>
                  <a:cubicBezTo>
                    <a:pt x="402" y="0"/>
                    <a:pt x="402" y="0"/>
                    <a:pt x="402" y="0"/>
                  </a:cubicBezTo>
                  <a:cubicBezTo>
                    <a:pt x="402" y="0"/>
                    <a:pt x="384" y="7"/>
                    <a:pt x="373" y="16"/>
                  </a:cubicBezTo>
                  <a:cubicBezTo>
                    <a:pt x="371" y="18"/>
                    <a:pt x="369" y="19"/>
                    <a:pt x="368" y="19"/>
                  </a:cubicBezTo>
                  <a:cubicBezTo>
                    <a:pt x="368" y="27"/>
                    <a:pt x="368" y="27"/>
                    <a:pt x="368" y="27"/>
                  </a:cubicBezTo>
                  <a:cubicBezTo>
                    <a:pt x="350" y="32"/>
                    <a:pt x="350" y="32"/>
                    <a:pt x="350" y="32"/>
                  </a:cubicBezTo>
                  <a:cubicBezTo>
                    <a:pt x="342" y="19"/>
                    <a:pt x="342" y="19"/>
                    <a:pt x="342" y="19"/>
                  </a:cubicBezTo>
                  <a:cubicBezTo>
                    <a:pt x="333" y="23"/>
                    <a:pt x="333" y="23"/>
                    <a:pt x="333" y="23"/>
                  </a:cubicBezTo>
                  <a:cubicBezTo>
                    <a:pt x="334" y="43"/>
                    <a:pt x="334" y="43"/>
                    <a:pt x="334" y="43"/>
                  </a:cubicBezTo>
                  <a:cubicBezTo>
                    <a:pt x="326" y="52"/>
                    <a:pt x="326" y="52"/>
                    <a:pt x="326" y="52"/>
                  </a:cubicBezTo>
                  <a:cubicBezTo>
                    <a:pt x="320" y="79"/>
                    <a:pt x="320" y="79"/>
                    <a:pt x="320" y="79"/>
                  </a:cubicBezTo>
                  <a:cubicBezTo>
                    <a:pt x="308" y="99"/>
                    <a:pt x="308" y="99"/>
                    <a:pt x="308" y="99"/>
                  </a:cubicBezTo>
                  <a:cubicBezTo>
                    <a:pt x="308" y="108"/>
                    <a:pt x="308" y="108"/>
                    <a:pt x="308" y="108"/>
                  </a:cubicBezTo>
                  <a:cubicBezTo>
                    <a:pt x="329" y="123"/>
                    <a:pt x="329" y="123"/>
                    <a:pt x="329" y="123"/>
                  </a:cubicBezTo>
                  <a:cubicBezTo>
                    <a:pt x="325" y="155"/>
                    <a:pt x="325" y="155"/>
                    <a:pt x="325" y="155"/>
                  </a:cubicBezTo>
                  <a:cubicBezTo>
                    <a:pt x="346" y="168"/>
                    <a:pt x="346" y="168"/>
                    <a:pt x="346" y="168"/>
                  </a:cubicBezTo>
                  <a:cubicBezTo>
                    <a:pt x="348" y="208"/>
                    <a:pt x="348" y="208"/>
                    <a:pt x="348" y="208"/>
                  </a:cubicBezTo>
                  <a:cubicBezTo>
                    <a:pt x="338" y="224"/>
                    <a:pt x="338" y="224"/>
                    <a:pt x="338" y="224"/>
                  </a:cubicBezTo>
                  <a:cubicBezTo>
                    <a:pt x="361" y="232"/>
                    <a:pt x="361" y="232"/>
                    <a:pt x="361" y="232"/>
                  </a:cubicBezTo>
                  <a:cubicBezTo>
                    <a:pt x="357" y="244"/>
                    <a:pt x="357" y="244"/>
                    <a:pt x="357" y="244"/>
                  </a:cubicBezTo>
                  <a:cubicBezTo>
                    <a:pt x="357" y="244"/>
                    <a:pt x="398" y="251"/>
                    <a:pt x="393" y="256"/>
                  </a:cubicBezTo>
                  <a:cubicBezTo>
                    <a:pt x="388" y="261"/>
                    <a:pt x="373" y="279"/>
                    <a:pt x="373" y="279"/>
                  </a:cubicBezTo>
                  <a:cubicBezTo>
                    <a:pt x="393" y="285"/>
                    <a:pt x="393" y="285"/>
                    <a:pt x="393" y="285"/>
                  </a:cubicBezTo>
                  <a:cubicBezTo>
                    <a:pt x="405" y="295"/>
                    <a:pt x="405" y="295"/>
                    <a:pt x="405" y="295"/>
                  </a:cubicBezTo>
                  <a:cubicBezTo>
                    <a:pt x="418" y="303"/>
                    <a:pt x="418" y="303"/>
                    <a:pt x="418" y="303"/>
                  </a:cubicBezTo>
                  <a:cubicBezTo>
                    <a:pt x="397" y="328"/>
                    <a:pt x="397" y="328"/>
                    <a:pt x="397" y="328"/>
                  </a:cubicBezTo>
                  <a:cubicBezTo>
                    <a:pt x="394" y="345"/>
                    <a:pt x="394" y="345"/>
                    <a:pt x="394" y="345"/>
                  </a:cubicBezTo>
                  <a:cubicBezTo>
                    <a:pt x="373" y="347"/>
                    <a:pt x="373" y="347"/>
                    <a:pt x="373" y="347"/>
                  </a:cubicBezTo>
                  <a:cubicBezTo>
                    <a:pt x="373" y="364"/>
                    <a:pt x="373" y="364"/>
                    <a:pt x="373" y="364"/>
                  </a:cubicBezTo>
                  <a:cubicBezTo>
                    <a:pt x="329" y="365"/>
                    <a:pt x="329" y="365"/>
                    <a:pt x="329" y="365"/>
                  </a:cubicBezTo>
                  <a:cubicBezTo>
                    <a:pt x="328" y="405"/>
                    <a:pt x="328" y="405"/>
                    <a:pt x="328" y="405"/>
                  </a:cubicBezTo>
                  <a:cubicBezTo>
                    <a:pt x="328" y="405"/>
                    <a:pt x="306" y="399"/>
                    <a:pt x="297" y="417"/>
                  </a:cubicBezTo>
                  <a:cubicBezTo>
                    <a:pt x="276" y="427"/>
                    <a:pt x="253" y="427"/>
                    <a:pt x="253" y="427"/>
                  </a:cubicBezTo>
                  <a:cubicBezTo>
                    <a:pt x="253" y="427"/>
                    <a:pt x="202" y="425"/>
                    <a:pt x="241" y="464"/>
                  </a:cubicBezTo>
                  <a:cubicBezTo>
                    <a:pt x="232" y="469"/>
                    <a:pt x="232" y="497"/>
                    <a:pt x="198" y="492"/>
                  </a:cubicBezTo>
                  <a:cubicBezTo>
                    <a:pt x="165" y="487"/>
                    <a:pt x="173" y="499"/>
                    <a:pt x="173" y="499"/>
                  </a:cubicBezTo>
                  <a:cubicBezTo>
                    <a:pt x="173" y="499"/>
                    <a:pt x="130" y="476"/>
                    <a:pt x="130" y="509"/>
                  </a:cubicBezTo>
                  <a:cubicBezTo>
                    <a:pt x="130" y="509"/>
                    <a:pt x="108" y="504"/>
                    <a:pt x="102" y="505"/>
                  </a:cubicBezTo>
                  <a:cubicBezTo>
                    <a:pt x="97" y="507"/>
                    <a:pt x="96" y="496"/>
                    <a:pt x="96" y="496"/>
                  </a:cubicBezTo>
                  <a:cubicBezTo>
                    <a:pt x="68" y="495"/>
                    <a:pt x="68" y="495"/>
                    <a:pt x="68" y="495"/>
                  </a:cubicBezTo>
                  <a:cubicBezTo>
                    <a:pt x="62" y="508"/>
                    <a:pt x="62" y="508"/>
                    <a:pt x="62" y="508"/>
                  </a:cubicBezTo>
                  <a:cubicBezTo>
                    <a:pt x="49" y="487"/>
                    <a:pt x="49" y="487"/>
                    <a:pt x="49" y="487"/>
                  </a:cubicBezTo>
                  <a:cubicBezTo>
                    <a:pt x="49" y="487"/>
                    <a:pt x="37" y="495"/>
                    <a:pt x="37" y="520"/>
                  </a:cubicBezTo>
                  <a:cubicBezTo>
                    <a:pt x="34" y="525"/>
                    <a:pt x="0" y="531"/>
                    <a:pt x="18" y="553"/>
                  </a:cubicBezTo>
                  <a:cubicBezTo>
                    <a:pt x="12" y="553"/>
                    <a:pt x="14" y="572"/>
                    <a:pt x="14" y="572"/>
                  </a:cubicBezTo>
                  <a:cubicBezTo>
                    <a:pt x="64" y="591"/>
                    <a:pt x="64" y="591"/>
                    <a:pt x="64" y="591"/>
                  </a:cubicBezTo>
                  <a:cubicBezTo>
                    <a:pt x="64" y="591"/>
                    <a:pt x="73" y="607"/>
                    <a:pt x="68" y="612"/>
                  </a:cubicBezTo>
                  <a:cubicBezTo>
                    <a:pt x="62" y="617"/>
                    <a:pt x="78" y="644"/>
                    <a:pt x="78" y="644"/>
                  </a:cubicBezTo>
                  <a:cubicBezTo>
                    <a:pt x="64" y="651"/>
                    <a:pt x="64" y="651"/>
                    <a:pt x="64" y="651"/>
                  </a:cubicBezTo>
                  <a:cubicBezTo>
                    <a:pt x="80" y="655"/>
                    <a:pt x="80" y="655"/>
                    <a:pt x="80" y="655"/>
                  </a:cubicBezTo>
                  <a:cubicBezTo>
                    <a:pt x="80" y="655"/>
                    <a:pt x="77" y="665"/>
                    <a:pt x="77" y="669"/>
                  </a:cubicBezTo>
                  <a:cubicBezTo>
                    <a:pt x="77" y="673"/>
                    <a:pt x="54" y="679"/>
                    <a:pt x="54" y="679"/>
                  </a:cubicBezTo>
                  <a:cubicBezTo>
                    <a:pt x="53" y="693"/>
                    <a:pt x="53" y="693"/>
                    <a:pt x="53" y="693"/>
                  </a:cubicBezTo>
                  <a:cubicBezTo>
                    <a:pt x="62" y="697"/>
                    <a:pt x="62" y="697"/>
                    <a:pt x="62" y="697"/>
                  </a:cubicBezTo>
                  <a:cubicBezTo>
                    <a:pt x="62" y="697"/>
                    <a:pt x="48" y="717"/>
                    <a:pt x="101" y="713"/>
                  </a:cubicBezTo>
                  <a:cubicBezTo>
                    <a:pt x="122" y="735"/>
                    <a:pt x="120" y="741"/>
                    <a:pt x="120" y="741"/>
                  </a:cubicBezTo>
                  <a:cubicBezTo>
                    <a:pt x="76" y="743"/>
                    <a:pt x="76" y="743"/>
                    <a:pt x="76" y="743"/>
                  </a:cubicBezTo>
                  <a:cubicBezTo>
                    <a:pt x="78" y="755"/>
                    <a:pt x="78" y="755"/>
                    <a:pt x="78" y="755"/>
                  </a:cubicBezTo>
                  <a:cubicBezTo>
                    <a:pt x="57" y="760"/>
                    <a:pt x="57" y="760"/>
                    <a:pt x="57" y="760"/>
                  </a:cubicBezTo>
                  <a:cubicBezTo>
                    <a:pt x="50" y="769"/>
                    <a:pt x="50" y="769"/>
                    <a:pt x="50" y="769"/>
                  </a:cubicBezTo>
                  <a:cubicBezTo>
                    <a:pt x="26" y="768"/>
                    <a:pt x="26" y="768"/>
                    <a:pt x="26" y="768"/>
                  </a:cubicBezTo>
                  <a:cubicBezTo>
                    <a:pt x="25" y="771"/>
                    <a:pt x="25" y="771"/>
                    <a:pt x="25" y="771"/>
                  </a:cubicBezTo>
                  <a:cubicBezTo>
                    <a:pt x="26" y="774"/>
                    <a:pt x="26" y="776"/>
                    <a:pt x="25" y="7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8" name="Midi-Pyrénnées" descr="© INSCALE GmbH, 05.05.2010&#10;http://www.presentationload.com/">
              <a:extLst>
                <a:ext uri="{FF2B5EF4-FFF2-40B4-BE49-F238E27FC236}">
                  <a16:creationId xmlns:a16="http://schemas.microsoft.com/office/drawing/2014/main" id="{A2F3FD82-C7EE-4A6F-8CF6-1DEA7DAD94F2}"/>
                </a:ext>
              </a:extLst>
            </p:cNvPr>
            <p:cNvSpPr>
              <a:spLocks/>
            </p:cNvSpPr>
            <p:nvPr/>
          </p:nvSpPr>
          <p:spPr bwMode="gray">
            <a:xfrm>
              <a:off x="1092" y="2246"/>
              <a:ext cx="953" cy="857"/>
            </a:xfrm>
            <a:custGeom>
              <a:avLst/>
              <a:gdLst/>
              <a:ahLst/>
              <a:cxnLst>
                <a:cxn ang="0">
                  <a:pos x="839" y="302"/>
                </a:cxn>
                <a:cxn ang="0">
                  <a:pos x="827" y="255"/>
                </a:cxn>
                <a:cxn ang="0">
                  <a:pos x="812" y="191"/>
                </a:cxn>
                <a:cxn ang="0">
                  <a:pos x="774" y="131"/>
                </a:cxn>
                <a:cxn ang="0">
                  <a:pos x="763" y="86"/>
                </a:cxn>
                <a:cxn ang="0">
                  <a:pos x="727" y="55"/>
                </a:cxn>
                <a:cxn ang="0">
                  <a:pos x="690" y="56"/>
                </a:cxn>
                <a:cxn ang="0">
                  <a:pos x="679" y="104"/>
                </a:cxn>
                <a:cxn ang="0">
                  <a:pos x="628" y="128"/>
                </a:cxn>
                <a:cxn ang="0">
                  <a:pos x="599" y="136"/>
                </a:cxn>
                <a:cxn ang="0">
                  <a:pos x="583" y="108"/>
                </a:cxn>
                <a:cxn ang="0">
                  <a:pos x="571" y="17"/>
                </a:cxn>
                <a:cxn ang="0">
                  <a:pos x="535" y="27"/>
                </a:cxn>
                <a:cxn ang="0">
                  <a:pos x="467" y="4"/>
                </a:cxn>
                <a:cxn ang="0">
                  <a:pos x="420" y="8"/>
                </a:cxn>
                <a:cxn ang="0">
                  <a:pos x="424" y="54"/>
                </a:cxn>
                <a:cxn ang="0">
                  <a:pos x="390" y="75"/>
                </a:cxn>
                <a:cxn ang="0">
                  <a:pos x="363" y="118"/>
                </a:cxn>
                <a:cxn ang="0">
                  <a:pos x="327" y="190"/>
                </a:cxn>
                <a:cxn ang="0">
                  <a:pos x="291" y="234"/>
                </a:cxn>
                <a:cxn ang="0">
                  <a:pos x="296" y="287"/>
                </a:cxn>
                <a:cxn ang="0">
                  <a:pos x="227" y="306"/>
                </a:cxn>
                <a:cxn ang="0">
                  <a:pos x="140" y="319"/>
                </a:cxn>
                <a:cxn ang="0">
                  <a:pos x="104" y="343"/>
                </a:cxn>
                <a:cxn ang="0">
                  <a:pos x="83" y="335"/>
                </a:cxn>
                <a:cxn ang="0">
                  <a:pos x="42" y="390"/>
                </a:cxn>
                <a:cxn ang="0">
                  <a:pos x="30" y="423"/>
                </a:cxn>
                <a:cxn ang="0">
                  <a:pos x="34" y="458"/>
                </a:cxn>
                <a:cxn ang="0">
                  <a:pos x="72" y="498"/>
                </a:cxn>
                <a:cxn ang="0">
                  <a:pos x="90" y="538"/>
                </a:cxn>
                <a:cxn ang="0">
                  <a:pos x="67" y="578"/>
                </a:cxn>
                <a:cxn ang="0">
                  <a:pos x="38" y="614"/>
                </a:cxn>
                <a:cxn ang="0">
                  <a:pos x="0" y="699"/>
                </a:cxn>
                <a:cxn ang="0">
                  <a:pos x="53" y="712"/>
                </a:cxn>
                <a:cxn ang="0">
                  <a:pos x="129" y="735"/>
                </a:cxn>
                <a:cxn ang="0">
                  <a:pos x="245" y="753"/>
                </a:cxn>
                <a:cxn ang="0">
                  <a:pos x="321" y="721"/>
                </a:cxn>
                <a:cxn ang="0">
                  <a:pos x="467" y="782"/>
                </a:cxn>
                <a:cxn ang="0">
                  <a:pos x="492" y="791"/>
                </a:cxn>
                <a:cxn ang="0">
                  <a:pos x="544" y="778"/>
                </a:cxn>
                <a:cxn ang="0">
                  <a:pos x="567" y="736"/>
                </a:cxn>
                <a:cxn ang="0">
                  <a:pos x="520" y="702"/>
                </a:cxn>
                <a:cxn ang="0">
                  <a:pos x="530" y="674"/>
                </a:cxn>
                <a:cxn ang="0">
                  <a:pos x="530" y="614"/>
                </a:cxn>
                <a:cxn ang="0">
                  <a:pos x="503" y="543"/>
                </a:cxn>
                <a:cxn ang="0">
                  <a:pos x="534" y="518"/>
                </a:cxn>
                <a:cxn ang="0">
                  <a:pos x="596" y="532"/>
                </a:cxn>
                <a:cxn ang="0">
                  <a:pos x="707" y="487"/>
                </a:cxn>
                <a:cxn ang="0">
                  <a:pos x="794" y="428"/>
                </a:cxn>
                <a:cxn ang="0">
                  <a:pos x="839" y="370"/>
                </a:cxn>
                <a:cxn ang="0">
                  <a:pos x="884" y="326"/>
                </a:cxn>
              </a:cxnLst>
              <a:rect l="0" t="0" r="r" b="b"/>
              <a:pathLst>
                <a:path w="884" h="794">
                  <a:moveTo>
                    <a:pt x="871" y="318"/>
                  </a:moveTo>
                  <a:cubicBezTo>
                    <a:pt x="859" y="308"/>
                    <a:pt x="859" y="308"/>
                    <a:pt x="859" y="308"/>
                  </a:cubicBezTo>
                  <a:cubicBezTo>
                    <a:pt x="839" y="302"/>
                    <a:pt x="839" y="302"/>
                    <a:pt x="839" y="302"/>
                  </a:cubicBezTo>
                  <a:cubicBezTo>
                    <a:pt x="839" y="302"/>
                    <a:pt x="854" y="284"/>
                    <a:pt x="859" y="279"/>
                  </a:cubicBezTo>
                  <a:cubicBezTo>
                    <a:pt x="864" y="274"/>
                    <a:pt x="823" y="267"/>
                    <a:pt x="823" y="267"/>
                  </a:cubicBezTo>
                  <a:cubicBezTo>
                    <a:pt x="827" y="255"/>
                    <a:pt x="827" y="255"/>
                    <a:pt x="827" y="255"/>
                  </a:cubicBezTo>
                  <a:cubicBezTo>
                    <a:pt x="804" y="247"/>
                    <a:pt x="804" y="247"/>
                    <a:pt x="804" y="247"/>
                  </a:cubicBezTo>
                  <a:cubicBezTo>
                    <a:pt x="814" y="231"/>
                    <a:pt x="814" y="231"/>
                    <a:pt x="814" y="231"/>
                  </a:cubicBezTo>
                  <a:cubicBezTo>
                    <a:pt x="812" y="191"/>
                    <a:pt x="812" y="191"/>
                    <a:pt x="812" y="191"/>
                  </a:cubicBezTo>
                  <a:cubicBezTo>
                    <a:pt x="791" y="178"/>
                    <a:pt x="791" y="178"/>
                    <a:pt x="791" y="178"/>
                  </a:cubicBezTo>
                  <a:cubicBezTo>
                    <a:pt x="795" y="146"/>
                    <a:pt x="795" y="146"/>
                    <a:pt x="795" y="146"/>
                  </a:cubicBezTo>
                  <a:cubicBezTo>
                    <a:pt x="774" y="131"/>
                    <a:pt x="774" y="131"/>
                    <a:pt x="774" y="131"/>
                  </a:cubicBezTo>
                  <a:cubicBezTo>
                    <a:pt x="774" y="122"/>
                    <a:pt x="774" y="122"/>
                    <a:pt x="774" y="122"/>
                  </a:cubicBezTo>
                  <a:cubicBezTo>
                    <a:pt x="772" y="126"/>
                    <a:pt x="772" y="126"/>
                    <a:pt x="772" y="126"/>
                  </a:cubicBezTo>
                  <a:cubicBezTo>
                    <a:pt x="763" y="86"/>
                    <a:pt x="763" y="86"/>
                    <a:pt x="763" y="86"/>
                  </a:cubicBezTo>
                  <a:cubicBezTo>
                    <a:pt x="754" y="75"/>
                    <a:pt x="754" y="75"/>
                    <a:pt x="754" y="75"/>
                  </a:cubicBezTo>
                  <a:cubicBezTo>
                    <a:pt x="754" y="75"/>
                    <a:pt x="740" y="45"/>
                    <a:pt x="729" y="53"/>
                  </a:cubicBezTo>
                  <a:cubicBezTo>
                    <a:pt x="729" y="55"/>
                    <a:pt x="728" y="56"/>
                    <a:pt x="727" y="55"/>
                  </a:cubicBezTo>
                  <a:cubicBezTo>
                    <a:pt x="728" y="54"/>
                    <a:pt x="728" y="54"/>
                    <a:pt x="729" y="53"/>
                  </a:cubicBezTo>
                  <a:cubicBezTo>
                    <a:pt x="731" y="46"/>
                    <a:pt x="725" y="18"/>
                    <a:pt x="699" y="55"/>
                  </a:cubicBezTo>
                  <a:cubicBezTo>
                    <a:pt x="690" y="63"/>
                    <a:pt x="690" y="56"/>
                    <a:pt x="690" y="56"/>
                  </a:cubicBezTo>
                  <a:cubicBezTo>
                    <a:pt x="688" y="78"/>
                    <a:pt x="688" y="78"/>
                    <a:pt x="688" y="78"/>
                  </a:cubicBezTo>
                  <a:cubicBezTo>
                    <a:pt x="680" y="84"/>
                    <a:pt x="680" y="84"/>
                    <a:pt x="680" y="84"/>
                  </a:cubicBezTo>
                  <a:cubicBezTo>
                    <a:pt x="679" y="104"/>
                    <a:pt x="679" y="104"/>
                    <a:pt x="679" y="104"/>
                  </a:cubicBezTo>
                  <a:cubicBezTo>
                    <a:pt x="666" y="114"/>
                    <a:pt x="666" y="114"/>
                    <a:pt x="666" y="114"/>
                  </a:cubicBezTo>
                  <a:cubicBezTo>
                    <a:pt x="662" y="126"/>
                    <a:pt x="662" y="126"/>
                    <a:pt x="662" y="126"/>
                  </a:cubicBezTo>
                  <a:cubicBezTo>
                    <a:pt x="628" y="128"/>
                    <a:pt x="628" y="128"/>
                    <a:pt x="628" y="128"/>
                  </a:cubicBezTo>
                  <a:cubicBezTo>
                    <a:pt x="627" y="123"/>
                    <a:pt x="627" y="123"/>
                    <a:pt x="627" y="123"/>
                  </a:cubicBezTo>
                  <a:cubicBezTo>
                    <a:pt x="598" y="124"/>
                    <a:pt x="598" y="124"/>
                    <a:pt x="598" y="124"/>
                  </a:cubicBezTo>
                  <a:cubicBezTo>
                    <a:pt x="599" y="136"/>
                    <a:pt x="599" y="136"/>
                    <a:pt x="599" y="136"/>
                  </a:cubicBezTo>
                  <a:cubicBezTo>
                    <a:pt x="594" y="130"/>
                    <a:pt x="594" y="130"/>
                    <a:pt x="594" y="130"/>
                  </a:cubicBezTo>
                  <a:cubicBezTo>
                    <a:pt x="592" y="114"/>
                    <a:pt x="592" y="114"/>
                    <a:pt x="592" y="114"/>
                  </a:cubicBezTo>
                  <a:cubicBezTo>
                    <a:pt x="583" y="108"/>
                    <a:pt x="583" y="108"/>
                    <a:pt x="583" y="108"/>
                  </a:cubicBezTo>
                  <a:cubicBezTo>
                    <a:pt x="588" y="74"/>
                    <a:pt x="588" y="74"/>
                    <a:pt x="588" y="74"/>
                  </a:cubicBezTo>
                  <a:cubicBezTo>
                    <a:pt x="572" y="47"/>
                    <a:pt x="572" y="47"/>
                    <a:pt x="572" y="47"/>
                  </a:cubicBezTo>
                  <a:cubicBezTo>
                    <a:pt x="572" y="47"/>
                    <a:pt x="574" y="30"/>
                    <a:pt x="571" y="17"/>
                  </a:cubicBezTo>
                  <a:cubicBezTo>
                    <a:pt x="569" y="19"/>
                    <a:pt x="568" y="20"/>
                    <a:pt x="568" y="20"/>
                  </a:cubicBezTo>
                  <a:cubicBezTo>
                    <a:pt x="547" y="22"/>
                    <a:pt x="547" y="22"/>
                    <a:pt x="547" y="22"/>
                  </a:cubicBezTo>
                  <a:cubicBezTo>
                    <a:pt x="535" y="27"/>
                    <a:pt x="535" y="27"/>
                    <a:pt x="535" y="27"/>
                  </a:cubicBezTo>
                  <a:cubicBezTo>
                    <a:pt x="532" y="20"/>
                    <a:pt x="532" y="20"/>
                    <a:pt x="532" y="20"/>
                  </a:cubicBezTo>
                  <a:cubicBezTo>
                    <a:pt x="532" y="20"/>
                    <a:pt x="518" y="43"/>
                    <a:pt x="507" y="39"/>
                  </a:cubicBezTo>
                  <a:cubicBezTo>
                    <a:pt x="496" y="35"/>
                    <a:pt x="467" y="4"/>
                    <a:pt x="467" y="4"/>
                  </a:cubicBezTo>
                  <a:cubicBezTo>
                    <a:pt x="467" y="4"/>
                    <a:pt x="435" y="0"/>
                    <a:pt x="424" y="7"/>
                  </a:cubicBezTo>
                  <a:cubicBezTo>
                    <a:pt x="423" y="4"/>
                    <a:pt x="423" y="4"/>
                    <a:pt x="423" y="4"/>
                  </a:cubicBezTo>
                  <a:cubicBezTo>
                    <a:pt x="420" y="8"/>
                    <a:pt x="420" y="8"/>
                    <a:pt x="420" y="8"/>
                  </a:cubicBezTo>
                  <a:cubicBezTo>
                    <a:pt x="426" y="39"/>
                    <a:pt x="426" y="39"/>
                    <a:pt x="426" y="39"/>
                  </a:cubicBezTo>
                  <a:cubicBezTo>
                    <a:pt x="419" y="44"/>
                    <a:pt x="419" y="44"/>
                    <a:pt x="419" y="44"/>
                  </a:cubicBezTo>
                  <a:cubicBezTo>
                    <a:pt x="424" y="54"/>
                    <a:pt x="424" y="54"/>
                    <a:pt x="424" y="54"/>
                  </a:cubicBezTo>
                  <a:cubicBezTo>
                    <a:pt x="407" y="60"/>
                    <a:pt x="407" y="60"/>
                    <a:pt x="407" y="60"/>
                  </a:cubicBezTo>
                  <a:cubicBezTo>
                    <a:pt x="406" y="74"/>
                    <a:pt x="406" y="74"/>
                    <a:pt x="406" y="74"/>
                  </a:cubicBezTo>
                  <a:cubicBezTo>
                    <a:pt x="390" y="75"/>
                    <a:pt x="390" y="75"/>
                    <a:pt x="390" y="75"/>
                  </a:cubicBezTo>
                  <a:cubicBezTo>
                    <a:pt x="398" y="92"/>
                    <a:pt x="398" y="92"/>
                    <a:pt x="398" y="92"/>
                  </a:cubicBezTo>
                  <a:cubicBezTo>
                    <a:pt x="384" y="112"/>
                    <a:pt x="384" y="112"/>
                    <a:pt x="384" y="112"/>
                  </a:cubicBezTo>
                  <a:cubicBezTo>
                    <a:pt x="363" y="118"/>
                    <a:pt x="363" y="118"/>
                    <a:pt x="363" y="118"/>
                  </a:cubicBezTo>
                  <a:cubicBezTo>
                    <a:pt x="344" y="147"/>
                    <a:pt x="344" y="147"/>
                    <a:pt x="344" y="147"/>
                  </a:cubicBezTo>
                  <a:cubicBezTo>
                    <a:pt x="316" y="156"/>
                    <a:pt x="316" y="156"/>
                    <a:pt x="316" y="156"/>
                  </a:cubicBezTo>
                  <a:cubicBezTo>
                    <a:pt x="316" y="156"/>
                    <a:pt x="327" y="186"/>
                    <a:pt x="327" y="190"/>
                  </a:cubicBezTo>
                  <a:cubicBezTo>
                    <a:pt x="327" y="194"/>
                    <a:pt x="334" y="198"/>
                    <a:pt x="334" y="198"/>
                  </a:cubicBezTo>
                  <a:cubicBezTo>
                    <a:pt x="334" y="198"/>
                    <a:pt x="331" y="223"/>
                    <a:pt x="312" y="216"/>
                  </a:cubicBezTo>
                  <a:cubicBezTo>
                    <a:pt x="294" y="210"/>
                    <a:pt x="291" y="234"/>
                    <a:pt x="291" y="234"/>
                  </a:cubicBezTo>
                  <a:cubicBezTo>
                    <a:pt x="308" y="246"/>
                    <a:pt x="308" y="246"/>
                    <a:pt x="308" y="246"/>
                  </a:cubicBezTo>
                  <a:cubicBezTo>
                    <a:pt x="291" y="270"/>
                    <a:pt x="291" y="270"/>
                    <a:pt x="291" y="270"/>
                  </a:cubicBezTo>
                  <a:cubicBezTo>
                    <a:pt x="296" y="287"/>
                    <a:pt x="296" y="287"/>
                    <a:pt x="296" y="287"/>
                  </a:cubicBezTo>
                  <a:cubicBezTo>
                    <a:pt x="274" y="286"/>
                    <a:pt x="274" y="286"/>
                    <a:pt x="274" y="286"/>
                  </a:cubicBezTo>
                  <a:cubicBezTo>
                    <a:pt x="274" y="286"/>
                    <a:pt x="262" y="322"/>
                    <a:pt x="247" y="322"/>
                  </a:cubicBezTo>
                  <a:cubicBezTo>
                    <a:pt x="232" y="322"/>
                    <a:pt x="227" y="306"/>
                    <a:pt x="227" y="306"/>
                  </a:cubicBezTo>
                  <a:cubicBezTo>
                    <a:pt x="214" y="311"/>
                    <a:pt x="214" y="311"/>
                    <a:pt x="214" y="311"/>
                  </a:cubicBezTo>
                  <a:cubicBezTo>
                    <a:pt x="214" y="311"/>
                    <a:pt x="183" y="326"/>
                    <a:pt x="168" y="327"/>
                  </a:cubicBezTo>
                  <a:cubicBezTo>
                    <a:pt x="154" y="328"/>
                    <a:pt x="140" y="319"/>
                    <a:pt x="140" y="319"/>
                  </a:cubicBezTo>
                  <a:cubicBezTo>
                    <a:pt x="127" y="328"/>
                    <a:pt x="127" y="328"/>
                    <a:pt x="127" y="328"/>
                  </a:cubicBezTo>
                  <a:cubicBezTo>
                    <a:pt x="118" y="326"/>
                    <a:pt x="118" y="326"/>
                    <a:pt x="118" y="326"/>
                  </a:cubicBezTo>
                  <a:cubicBezTo>
                    <a:pt x="118" y="326"/>
                    <a:pt x="103" y="338"/>
                    <a:pt x="104" y="343"/>
                  </a:cubicBezTo>
                  <a:cubicBezTo>
                    <a:pt x="106" y="348"/>
                    <a:pt x="112" y="362"/>
                    <a:pt x="104" y="359"/>
                  </a:cubicBezTo>
                  <a:cubicBezTo>
                    <a:pt x="96" y="356"/>
                    <a:pt x="91" y="348"/>
                    <a:pt x="88" y="342"/>
                  </a:cubicBezTo>
                  <a:cubicBezTo>
                    <a:pt x="86" y="335"/>
                    <a:pt x="83" y="335"/>
                    <a:pt x="83" y="335"/>
                  </a:cubicBezTo>
                  <a:cubicBezTo>
                    <a:pt x="83" y="335"/>
                    <a:pt x="74" y="344"/>
                    <a:pt x="67" y="344"/>
                  </a:cubicBezTo>
                  <a:cubicBezTo>
                    <a:pt x="60" y="344"/>
                    <a:pt x="38" y="358"/>
                    <a:pt x="38" y="358"/>
                  </a:cubicBezTo>
                  <a:cubicBezTo>
                    <a:pt x="42" y="390"/>
                    <a:pt x="42" y="390"/>
                    <a:pt x="42" y="390"/>
                  </a:cubicBezTo>
                  <a:cubicBezTo>
                    <a:pt x="38" y="387"/>
                    <a:pt x="38" y="387"/>
                    <a:pt x="38" y="387"/>
                  </a:cubicBezTo>
                  <a:cubicBezTo>
                    <a:pt x="43" y="408"/>
                    <a:pt x="43" y="408"/>
                    <a:pt x="43" y="408"/>
                  </a:cubicBezTo>
                  <a:cubicBezTo>
                    <a:pt x="30" y="423"/>
                    <a:pt x="30" y="423"/>
                    <a:pt x="30" y="423"/>
                  </a:cubicBezTo>
                  <a:cubicBezTo>
                    <a:pt x="31" y="442"/>
                    <a:pt x="31" y="442"/>
                    <a:pt x="31" y="442"/>
                  </a:cubicBezTo>
                  <a:cubicBezTo>
                    <a:pt x="22" y="446"/>
                    <a:pt x="22" y="446"/>
                    <a:pt x="22" y="446"/>
                  </a:cubicBezTo>
                  <a:cubicBezTo>
                    <a:pt x="34" y="458"/>
                    <a:pt x="34" y="458"/>
                    <a:pt x="34" y="458"/>
                  </a:cubicBezTo>
                  <a:cubicBezTo>
                    <a:pt x="34" y="458"/>
                    <a:pt x="72" y="471"/>
                    <a:pt x="76" y="480"/>
                  </a:cubicBezTo>
                  <a:cubicBezTo>
                    <a:pt x="80" y="490"/>
                    <a:pt x="83" y="494"/>
                    <a:pt x="83" y="494"/>
                  </a:cubicBezTo>
                  <a:cubicBezTo>
                    <a:pt x="72" y="498"/>
                    <a:pt x="72" y="498"/>
                    <a:pt x="72" y="498"/>
                  </a:cubicBezTo>
                  <a:cubicBezTo>
                    <a:pt x="72" y="514"/>
                    <a:pt x="72" y="514"/>
                    <a:pt x="72" y="514"/>
                  </a:cubicBezTo>
                  <a:cubicBezTo>
                    <a:pt x="88" y="508"/>
                    <a:pt x="88" y="508"/>
                    <a:pt x="88" y="508"/>
                  </a:cubicBezTo>
                  <a:cubicBezTo>
                    <a:pt x="90" y="538"/>
                    <a:pt x="90" y="538"/>
                    <a:pt x="90" y="538"/>
                  </a:cubicBezTo>
                  <a:cubicBezTo>
                    <a:pt x="78" y="543"/>
                    <a:pt x="78" y="543"/>
                    <a:pt x="78" y="543"/>
                  </a:cubicBezTo>
                  <a:cubicBezTo>
                    <a:pt x="78" y="543"/>
                    <a:pt x="72" y="555"/>
                    <a:pt x="79" y="563"/>
                  </a:cubicBezTo>
                  <a:cubicBezTo>
                    <a:pt x="79" y="568"/>
                    <a:pt x="67" y="578"/>
                    <a:pt x="67" y="578"/>
                  </a:cubicBezTo>
                  <a:cubicBezTo>
                    <a:pt x="67" y="588"/>
                    <a:pt x="67" y="588"/>
                    <a:pt x="67" y="588"/>
                  </a:cubicBezTo>
                  <a:cubicBezTo>
                    <a:pt x="58" y="588"/>
                    <a:pt x="58" y="588"/>
                    <a:pt x="58" y="588"/>
                  </a:cubicBezTo>
                  <a:cubicBezTo>
                    <a:pt x="38" y="614"/>
                    <a:pt x="38" y="614"/>
                    <a:pt x="38" y="614"/>
                  </a:cubicBezTo>
                  <a:cubicBezTo>
                    <a:pt x="38" y="632"/>
                    <a:pt x="38" y="632"/>
                    <a:pt x="38" y="632"/>
                  </a:cubicBezTo>
                  <a:cubicBezTo>
                    <a:pt x="22" y="634"/>
                    <a:pt x="22" y="634"/>
                    <a:pt x="22" y="634"/>
                  </a:cubicBezTo>
                  <a:cubicBezTo>
                    <a:pt x="0" y="699"/>
                    <a:pt x="0" y="699"/>
                    <a:pt x="0" y="699"/>
                  </a:cubicBezTo>
                  <a:cubicBezTo>
                    <a:pt x="0" y="699"/>
                    <a:pt x="1" y="701"/>
                    <a:pt x="1" y="705"/>
                  </a:cubicBezTo>
                  <a:cubicBezTo>
                    <a:pt x="24" y="689"/>
                    <a:pt x="48" y="712"/>
                    <a:pt x="48" y="712"/>
                  </a:cubicBezTo>
                  <a:cubicBezTo>
                    <a:pt x="53" y="712"/>
                    <a:pt x="53" y="712"/>
                    <a:pt x="53" y="712"/>
                  </a:cubicBezTo>
                  <a:cubicBezTo>
                    <a:pt x="79" y="748"/>
                    <a:pt x="79" y="748"/>
                    <a:pt x="79" y="748"/>
                  </a:cubicBezTo>
                  <a:cubicBezTo>
                    <a:pt x="119" y="746"/>
                    <a:pt x="119" y="746"/>
                    <a:pt x="119" y="746"/>
                  </a:cubicBezTo>
                  <a:cubicBezTo>
                    <a:pt x="129" y="735"/>
                    <a:pt x="129" y="735"/>
                    <a:pt x="129" y="735"/>
                  </a:cubicBezTo>
                  <a:cubicBezTo>
                    <a:pt x="129" y="735"/>
                    <a:pt x="153" y="752"/>
                    <a:pt x="162" y="757"/>
                  </a:cubicBezTo>
                  <a:cubicBezTo>
                    <a:pt x="170" y="733"/>
                    <a:pt x="192" y="748"/>
                    <a:pt x="192" y="748"/>
                  </a:cubicBezTo>
                  <a:cubicBezTo>
                    <a:pt x="192" y="748"/>
                    <a:pt x="239" y="752"/>
                    <a:pt x="245" y="753"/>
                  </a:cubicBezTo>
                  <a:cubicBezTo>
                    <a:pt x="251" y="754"/>
                    <a:pt x="245" y="741"/>
                    <a:pt x="245" y="741"/>
                  </a:cubicBezTo>
                  <a:cubicBezTo>
                    <a:pt x="234" y="718"/>
                    <a:pt x="253" y="691"/>
                    <a:pt x="253" y="691"/>
                  </a:cubicBezTo>
                  <a:cubicBezTo>
                    <a:pt x="253" y="691"/>
                    <a:pt x="302" y="721"/>
                    <a:pt x="321" y="721"/>
                  </a:cubicBezTo>
                  <a:cubicBezTo>
                    <a:pt x="340" y="721"/>
                    <a:pt x="364" y="744"/>
                    <a:pt x="364" y="744"/>
                  </a:cubicBezTo>
                  <a:cubicBezTo>
                    <a:pt x="398" y="728"/>
                    <a:pt x="420" y="779"/>
                    <a:pt x="421" y="782"/>
                  </a:cubicBezTo>
                  <a:cubicBezTo>
                    <a:pt x="442" y="756"/>
                    <a:pt x="467" y="782"/>
                    <a:pt x="467" y="782"/>
                  </a:cubicBezTo>
                  <a:cubicBezTo>
                    <a:pt x="479" y="774"/>
                    <a:pt x="479" y="774"/>
                    <a:pt x="479" y="774"/>
                  </a:cubicBezTo>
                  <a:cubicBezTo>
                    <a:pt x="479" y="774"/>
                    <a:pt x="488" y="786"/>
                    <a:pt x="491" y="794"/>
                  </a:cubicBezTo>
                  <a:cubicBezTo>
                    <a:pt x="492" y="791"/>
                    <a:pt x="492" y="791"/>
                    <a:pt x="492" y="791"/>
                  </a:cubicBezTo>
                  <a:cubicBezTo>
                    <a:pt x="516" y="792"/>
                    <a:pt x="516" y="792"/>
                    <a:pt x="516" y="792"/>
                  </a:cubicBezTo>
                  <a:cubicBezTo>
                    <a:pt x="523" y="783"/>
                    <a:pt x="523" y="783"/>
                    <a:pt x="523" y="783"/>
                  </a:cubicBezTo>
                  <a:cubicBezTo>
                    <a:pt x="544" y="778"/>
                    <a:pt x="544" y="778"/>
                    <a:pt x="544" y="778"/>
                  </a:cubicBezTo>
                  <a:cubicBezTo>
                    <a:pt x="542" y="766"/>
                    <a:pt x="542" y="766"/>
                    <a:pt x="542" y="766"/>
                  </a:cubicBezTo>
                  <a:cubicBezTo>
                    <a:pt x="586" y="764"/>
                    <a:pt x="586" y="764"/>
                    <a:pt x="586" y="764"/>
                  </a:cubicBezTo>
                  <a:cubicBezTo>
                    <a:pt x="586" y="764"/>
                    <a:pt x="588" y="758"/>
                    <a:pt x="567" y="736"/>
                  </a:cubicBezTo>
                  <a:cubicBezTo>
                    <a:pt x="514" y="740"/>
                    <a:pt x="528" y="720"/>
                    <a:pt x="528" y="720"/>
                  </a:cubicBezTo>
                  <a:cubicBezTo>
                    <a:pt x="519" y="716"/>
                    <a:pt x="519" y="716"/>
                    <a:pt x="519" y="716"/>
                  </a:cubicBezTo>
                  <a:cubicBezTo>
                    <a:pt x="520" y="702"/>
                    <a:pt x="520" y="702"/>
                    <a:pt x="520" y="702"/>
                  </a:cubicBezTo>
                  <a:cubicBezTo>
                    <a:pt x="520" y="702"/>
                    <a:pt x="543" y="696"/>
                    <a:pt x="543" y="692"/>
                  </a:cubicBezTo>
                  <a:cubicBezTo>
                    <a:pt x="543" y="688"/>
                    <a:pt x="546" y="678"/>
                    <a:pt x="546" y="678"/>
                  </a:cubicBezTo>
                  <a:cubicBezTo>
                    <a:pt x="530" y="674"/>
                    <a:pt x="530" y="674"/>
                    <a:pt x="530" y="674"/>
                  </a:cubicBezTo>
                  <a:cubicBezTo>
                    <a:pt x="544" y="667"/>
                    <a:pt x="544" y="667"/>
                    <a:pt x="544" y="667"/>
                  </a:cubicBezTo>
                  <a:cubicBezTo>
                    <a:pt x="544" y="667"/>
                    <a:pt x="528" y="640"/>
                    <a:pt x="534" y="635"/>
                  </a:cubicBezTo>
                  <a:cubicBezTo>
                    <a:pt x="539" y="630"/>
                    <a:pt x="530" y="614"/>
                    <a:pt x="530" y="614"/>
                  </a:cubicBezTo>
                  <a:cubicBezTo>
                    <a:pt x="480" y="595"/>
                    <a:pt x="480" y="595"/>
                    <a:pt x="480" y="595"/>
                  </a:cubicBezTo>
                  <a:cubicBezTo>
                    <a:pt x="480" y="595"/>
                    <a:pt x="478" y="576"/>
                    <a:pt x="484" y="576"/>
                  </a:cubicBezTo>
                  <a:cubicBezTo>
                    <a:pt x="466" y="554"/>
                    <a:pt x="500" y="548"/>
                    <a:pt x="503" y="543"/>
                  </a:cubicBezTo>
                  <a:cubicBezTo>
                    <a:pt x="503" y="518"/>
                    <a:pt x="515" y="510"/>
                    <a:pt x="515" y="510"/>
                  </a:cubicBezTo>
                  <a:cubicBezTo>
                    <a:pt x="528" y="531"/>
                    <a:pt x="528" y="531"/>
                    <a:pt x="528" y="531"/>
                  </a:cubicBezTo>
                  <a:cubicBezTo>
                    <a:pt x="534" y="518"/>
                    <a:pt x="534" y="518"/>
                    <a:pt x="534" y="518"/>
                  </a:cubicBezTo>
                  <a:cubicBezTo>
                    <a:pt x="562" y="519"/>
                    <a:pt x="562" y="519"/>
                    <a:pt x="562" y="519"/>
                  </a:cubicBezTo>
                  <a:cubicBezTo>
                    <a:pt x="562" y="519"/>
                    <a:pt x="563" y="530"/>
                    <a:pt x="568" y="528"/>
                  </a:cubicBezTo>
                  <a:cubicBezTo>
                    <a:pt x="574" y="527"/>
                    <a:pt x="596" y="532"/>
                    <a:pt x="596" y="532"/>
                  </a:cubicBezTo>
                  <a:cubicBezTo>
                    <a:pt x="596" y="499"/>
                    <a:pt x="639" y="522"/>
                    <a:pt x="639" y="522"/>
                  </a:cubicBezTo>
                  <a:cubicBezTo>
                    <a:pt x="639" y="522"/>
                    <a:pt x="631" y="510"/>
                    <a:pt x="664" y="515"/>
                  </a:cubicBezTo>
                  <a:cubicBezTo>
                    <a:pt x="698" y="520"/>
                    <a:pt x="698" y="492"/>
                    <a:pt x="707" y="487"/>
                  </a:cubicBezTo>
                  <a:cubicBezTo>
                    <a:pt x="668" y="448"/>
                    <a:pt x="719" y="450"/>
                    <a:pt x="719" y="450"/>
                  </a:cubicBezTo>
                  <a:cubicBezTo>
                    <a:pt x="719" y="450"/>
                    <a:pt x="742" y="450"/>
                    <a:pt x="763" y="440"/>
                  </a:cubicBezTo>
                  <a:cubicBezTo>
                    <a:pt x="772" y="422"/>
                    <a:pt x="794" y="428"/>
                    <a:pt x="794" y="428"/>
                  </a:cubicBezTo>
                  <a:cubicBezTo>
                    <a:pt x="795" y="388"/>
                    <a:pt x="795" y="388"/>
                    <a:pt x="795" y="388"/>
                  </a:cubicBezTo>
                  <a:cubicBezTo>
                    <a:pt x="839" y="387"/>
                    <a:pt x="839" y="387"/>
                    <a:pt x="839" y="387"/>
                  </a:cubicBezTo>
                  <a:cubicBezTo>
                    <a:pt x="839" y="370"/>
                    <a:pt x="839" y="370"/>
                    <a:pt x="839" y="370"/>
                  </a:cubicBezTo>
                  <a:cubicBezTo>
                    <a:pt x="860" y="368"/>
                    <a:pt x="860" y="368"/>
                    <a:pt x="860" y="368"/>
                  </a:cubicBezTo>
                  <a:cubicBezTo>
                    <a:pt x="863" y="351"/>
                    <a:pt x="863" y="351"/>
                    <a:pt x="863" y="351"/>
                  </a:cubicBezTo>
                  <a:cubicBezTo>
                    <a:pt x="884" y="326"/>
                    <a:pt x="884" y="326"/>
                    <a:pt x="884" y="326"/>
                  </a:cubicBezTo>
                  <a:lnTo>
                    <a:pt x="871" y="31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9" name="Aquitaine" descr="© INSCALE GmbH, 05.05.2010&#10;http://www.presentationload.com/">
              <a:extLst>
                <a:ext uri="{FF2B5EF4-FFF2-40B4-BE49-F238E27FC236}">
                  <a16:creationId xmlns:a16="http://schemas.microsoft.com/office/drawing/2014/main" id="{97CDBFD3-5115-4B18-AE8A-FC35BD36554B}"/>
                </a:ext>
              </a:extLst>
            </p:cNvPr>
            <p:cNvSpPr>
              <a:spLocks/>
            </p:cNvSpPr>
            <p:nvPr/>
          </p:nvSpPr>
          <p:spPr bwMode="gray">
            <a:xfrm>
              <a:off x="758" y="1992"/>
              <a:ext cx="793" cy="1021"/>
            </a:xfrm>
            <a:custGeom>
              <a:avLst/>
              <a:gdLst/>
              <a:ahLst/>
              <a:cxnLst>
                <a:cxn ang="0">
                  <a:pos x="347" y="849"/>
                </a:cxn>
                <a:cxn ang="0">
                  <a:pos x="376" y="813"/>
                </a:cxn>
                <a:cxn ang="0">
                  <a:pos x="399" y="773"/>
                </a:cxn>
                <a:cxn ang="0">
                  <a:pos x="381" y="733"/>
                </a:cxn>
                <a:cxn ang="0">
                  <a:pos x="343" y="693"/>
                </a:cxn>
                <a:cxn ang="0">
                  <a:pos x="339" y="658"/>
                </a:cxn>
                <a:cxn ang="0">
                  <a:pos x="351" y="625"/>
                </a:cxn>
                <a:cxn ang="0">
                  <a:pos x="392" y="570"/>
                </a:cxn>
                <a:cxn ang="0">
                  <a:pos x="413" y="578"/>
                </a:cxn>
                <a:cxn ang="0">
                  <a:pos x="449" y="554"/>
                </a:cxn>
                <a:cxn ang="0">
                  <a:pos x="536" y="541"/>
                </a:cxn>
                <a:cxn ang="0">
                  <a:pos x="605" y="522"/>
                </a:cxn>
                <a:cxn ang="0">
                  <a:pos x="600" y="469"/>
                </a:cxn>
                <a:cxn ang="0">
                  <a:pos x="636" y="425"/>
                </a:cxn>
                <a:cxn ang="0">
                  <a:pos x="672" y="353"/>
                </a:cxn>
                <a:cxn ang="0">
                  <a:pos x="699" y="310"/>
                </a:cxn>
                <a:cxn ang="0">
                  <a:pos x="733" y="289"/>
                </a:cxn>
                <a:cxn ang="0">
                  <a:pos x="729" y="243"/>
                </a:cxn>
                <a:cxn ang="0">
                  <a:pos x="727" y="207"/>
                </a:cxn>
                <a:cxn ang="0">
                  <a:pos x="692" y="183"/>
                </a:cxn>
                <a:cxn ang="0">
                  <a:pos x="691" y="150"/>
                </a:cxn>
                <a:cxn ang="0">
                  <a:pos x="700" y="117"/>
                </a:cxn>
                <a:cxn ang="0">
                  <a:pos x="655" y="74"/>
                </a:cxn>
                <a:cxn ang="0">
                  <a:pos x="589" y="58"/>
                </a:cxn>
                <a:cxn ang="0">
                  <a:pos x="540" y="43"/>
                </a:cxn>
                <a:cxn ang="0">
                  <a:pos x="519" y="74"/>
                </a:cxn>
                <a:cxn ang="0">
                  <a:pos x="464" y="147"/>
                </a:cxn>
                <a:cxn ang="0">
                  <a:pos x="407" y="202"/>
                </a:cxn>
                <a:cxn ang="0">
                  <a:pos x="319" y="169"/>
                </a:cxn>
                <a:cxn ang="0">
                  <a:pos x="265" y="131"/>
                </a:cxn>
                <a:cxn ang="0">
                  <a:pos x="279" y="178"/>
                </a:cxn>
                <a:cxn ang="0">
                  <a:pos x="239" y="76"/>
                </a:cxn>
                <a:cxn ang="0">
                  <a:pos x="185" y="0"/>
                </a:cxn>
                <a:cxn ang="0">
                  <a:pos x="133" y="309"/>
                </a:cxn>
                <a:cxn ang="0">
                  <a:pos x="147" y="302"/>
                </a:cxn>
                <a:cxn ang="0">
                  <a:pos x="23" y="730"/>
                </a:cxn>
                <a:cxn ang="0">
                  <a:pos x="34" y="764"/>
                </a:cxn>
                <a:cxn ang="0">
                  <a:pos x="86" y="787"/>
                </a:cxn>
                <a:cxn ang="0">
                  <a:pos x="110" y="831"/>
                </a:cxn>
                <a:cxn ang="0">
                  <a:pos x="142" y="869"/>
                </a:cxn>
                <a:cxn ang="0">
                  <a:pos x="228" y="882"/>
                </a:cxn>
                <a:cxn ang="0">
                  <a:pos x="293" y="943"/>
                </a:cxn>
                <a:cxn ang="0">
                  <a:pos x="309" y="934"/>
                </a:cxn>
              </a:cxnLst>
              <a:rect l="0" t="0" r="r" b="b"/>
              <a:pathLst>
                <a:path w="735" h="946">
                  <a:moveTo>
                    <a:pt x="331" y="869"/>
                  </a:moveTo>
                  <a:cubicBezTo>
                    <a:pt x="347" y="867"/>
                    <a:pt x="347" y="867"/>
                    <a:pt x="347" y="867"/>
                  </a:cubicBezTo>
                  <a:cubicBezTo>
                    <a:pt x="347" y="849"/>
                    <a:pt x="347" y="849"/>
                    <a:pt x="347" y="849"/>
                  </a:cubicBezTo>
                  <a:cubicBezTo>
                    <a:pt x="367" y="823"/>
                    <a:pt x="367" y="823"/>
                    <a:pt x="367" y="823"/>
                  </a:cubicBezTo>
                  <a:cubicBezTo>
                    <a:pt x="376" y="823"/>
                    <a:pt x="376" y="823"/>
                    <a:pt x="376" y="823"/>
                  </a:cubicBezTo>
                  <a:cubicBezTo>
                    <a:pt x="376" y="813"/>
                    <a:pt x="376" y="813"/>
                    <a:pt x="376" y="813"/>
                  </a:cubicBezTo>
                  <a:cubicBezTo>
                    <a:pt x="376" y="813"/>
                    <a:pt x="388" y="803"/>
                    <a:pt x="388" y="798"/>
                  </a:cubicBezTo>
                  <a:cubicBezTo>
                    <a:pt x="381" y="790"/>
                    <a:pt x="387" y="778"/>
                    <a:pt x="387" y="778"/>
                  </a:cubicBezTo>
                  <a:cubicBezTo>
                    <a:pt x="399" y="773"/>
                    <a:pt x="399" y="773"/>
                    <a:pt x="399" y="773"/>
                  </a:cubicBezTo>
                  <a:cubicBezTo>
                    <a:pt x="397" y="743"/>
                    <a:pt x="397" y="743"/>
                    <a:pt x="397" y="743"/>
                  </a:cubicBezTo>
                  <a:cubicBezTo>
                    <a:pt x="381" y="749"/>
                    <a:pt x="381" y="749"/>
                    <a:pt x="381" y="749"/>
                  </a:cubicBezTo>
                  <a:cubicBezTo>
                    <a:pt x="381" y="733"/>
                    <a:pt x="381" y="733"/>
                    <a:pt x="381" y="733"/>
                  </a:cubicBezTo>
                  <a:cubicBezTo>
                    <a:pt x="392" y="729"/>
                    <a:pt x="392" y="729"/>
                    <a:pt x="392" y="729"/>
                  </a:cubicBezTo>
                  <a:cubicBezTo>
                    <a:pt x="392" y="729"/>
                    <a:pt x="389" y="725"/>
                    <a:pt x="385" y="715"/>
                  </a:cubicBezTo>
                  <a:cubicBezTo>
                    <a:pt x="381" y="706"/>
                    <a:pt x="343" y="693"/>
                    <a:pt x="343" y="693"/>
                  </a:cubicBezTo>
                  <a:cubicBezTo>
                    <a:pt x="331" y="681"/>
                    <a:pt x="331" y="681"/>
                    <a:pt x="331" y="681"/>
                  </a:cubicBezTo>
                  <a:cubicBezTo>
                    <a:pt x="340" y="677"/>
                    <a:pt x="340" y="677"/>
                    <a:pt x="340" y="677"/>
                  </a:cubicBezTo>
                  <a:cubicBezTo>
                    <a:pt x="339" y="658"/>
                    <a:pt x="339" y="658"/>
                    <a:pt x="339" y="658"/>
                  </a:cubicBezTo>
                  <a:cubicBezTo>
                    <a:pt x="352" y="643"/>
                    <a:pt x="352" y="643"/>
                    <a:pt x="352" y="643"/>
                  </a:cubicBezTo>
                  <a:cubicBezTo>
                    <a:pt x="347" y="622"/>
                    <a:pt x="347" y="622"/>
                    <a:pt x="347" y="622"/>
                  </a:cubicBezTo>
                  <a:cubicBezTo>
                    <a:pt x="351" y="625"/>
                    <a:pt x="351" y="625"/>
                    <a:pt x="351" y="625"/>
                  </a:cubicBezTo>
                  <a:cubicBezTo>
                    <a:pt x="347" y="593"/>
                    <a:pt x="347" y="593"/>
                    <a:pt x="347" y="593"/>
                  </a:cubicBezTo>
                  <a:cubicBezTo>
                    <a:pt x="347" y="593"/>
                    <a:pt x="369" y="579"/>
                    <a:pt x="376" y="579"/>
                  </a:cubicBezTo>
                  <a:cubicBezTo>
                    <a:pt x="383" y="579"/>
                    <a:pt x="392" y="570"/>
                    <a:pt x="392" y="570"/>
                  </a:cubicBezTo>
                  <a:cubicBezTo>
                    <a:pt x="392" y="570"/>
                    <a:pt x="395" y="570"/>
                    <a:pt x="397" y="577"/>
                  </a:cubicBezTo>
                  <a:cubicBezTo>
                    <a:pt x="400" y="583"/>
                    <a:pt x="405" y="591"/>
                    <a:pt x="413" y="594"/>
                  </a:cubicBezTo>
                  <a:cubicBezTo>
                    <a:pt x="421" y="597"/>
                    <a:pt x="415" y="583"/>
                    <a:pt x="413" y="578"/>
                  </a:cubicBezTo>
                  <a:cubicBezTo>
                    <a:pt x="412" y="573"/>
                    <a:pt x="427" y="561"/>
                    <a:pt x="427" y="561"/>
                  </a:cubicBezTo>
                  <a:cubicBezTo>
                    <a:pt x="436" y="563"/>
                    <a:pt x="436" y="563"/>
                    <a:pt x="436" y="563"/>
                  </a:cubicBezTo>
                  <a:cubicBezTo>
                    <a:pt x="449" y="554"/>
                    <a:pt x="449" y="554"/>
                    <a:pt x="449" y="554"/>
                  </a:cubicBezTo>
                  <a:cubicBezTo>
                    <a:pt x="449" y="554"/>
                    <a:pt x="463" y="563"/>
                    <a:pt x="477" y="562"/>
                  </a:cubicBezTo>
                  <a:cubicBezTo>
                    <a:pt x="492" y="561"/>
                    <a:pt x="523" y="546"/>
                    <a:pt x="523" y="546"/>
                  </a:cubicBezTo>
                  <a:cubicBezTo>
                    <a:pt x="536" y="541"/>
                    <a:pt x="536" y="541"/>
                    <a:pt x="536" y="541"/>
                  </a:cubicBezTo>
                  <a:cubicBezTo>
                    <a:pt x="536" y="541"/>
                    <a:pt x="541" y="557"/>
                    <a:pt x="556" y="557"/>
                  </a:cubicBezTo>
                  <a:cubicBezTo>
                    <a:pt x="571" y="557"/>
                    <a:pt x="583" y="521"/>
                    <a:pt x="583" y="521"/>
                  </a:cubicBezTo>
                  <a:cubicBezTo>
                    <a:pt x="605" y="522"/>
                    <a:pt x="605" y="522"/>
                    <a:pt x="605" y="522"/>
                  </a:cubicBezTo>
                  <a:cubicBezTo>
                    <a:pt x="600" y="505"/>
                    <a:pt x="600" y="505"/>
                    <a:pt x="600" y="505"/>
                  </a:cubicBezTo>
                  <a:cubicBezTo>
                    <a:pt x="617" y="481"/>
                    <a:pt x="617" y="481"/>
                    <a:pt x="617" y="481"/>
                  </a:cubicBezTo>
                  <a:cubicBezTo>
                    <a:pt x="600" y="469"/>
                    <a:pt x="600" y="469"/>
                    <a:pt x="600" y="469"/>
                  </a:cubicBezTo>
                  <a:cubicBezTo>
                    <a:pt x="600" y="469"/>
                    <a:pt x="603" y="445"/>
                    <a:pt x="621" y="451"/>
                  </a:cubicBezTo>
                  <a:cubicBezTo>
                    <a:pt x="640" y="458"/>
                    <a:pt x="643" y="433"/>
                    <a:pt x="643" y="433"/>
                  </a:cubicBezTo>
                  <a:cubicBezTo>
                    <a:pt x="643" y="433"/>
                    <a:pt x="636" y="429"/>
                    <a:pt x="636" y="425"/>
                  </a:cubicBezTo>
                  <a:cubicBezTo>
                    <a:pt x="636" y="421"/>
                    <a:pt x="625" y="391"/>
                    <a:pt x="625" y="391"/>
                  </a:cubicBezTo>
                  <a:cubicBezTo>
                    <a:pt x="653" y="382"/>
                    <a:pt x="653" y="382"/>
                    <a:pt x="653" y="382"/>
                  </a:cubicBezTo>
                  <a:cubicBezTo>
                    <a:pt x="672" y="353"/>
                    <a:pt x="672" y="353"/>
                    <a:pt x="672" y="353"/>
                  </a:cubicBezTo>
                  <a:cubicBezTo>
                    <a:pt x="693" y="347"/>
                    <a:pt x="693" y="347"/>
                    <a:pt x="693" y="347"/>
                  </a:cubicBezTo>
                  <a:cubicBezTo>
                    <a:pt x="707" y="327"/>
                    <a:pt x="707" y="327"/>
                    <a:pt x="707" y="327"/>
                  </a:cubicBezTo>
                  <a:cubicBezTo>
                    <a:pt x="699" y="310"/>
                    <a:pt x="699" y="310"/>
                    <a:pt x="699" y="310"/>
                  </a:cubicBezTo>
                  <a:cubicBezTo>
                    <a:pt x="715" y="309"/>
                    <a:pt x="715" y="309"/>
                    <a:pt x="715" y="309"/>
                  </a:cubicBezTo>
                  <a:cubicBezTo>
                    <a:pt x="716" y="295"/>
                    <a:pt x="716" y="295"/>
                    <a:pt x="716" y="295"/>
                  </a:cubicBezTo>
                  <a:cubicBezTo>
                    <a:pt x="733" y="289"/>
                    <a:pt x="733" y="289"/>
                    <a:pt x="733" y="289"/>
                  </a:cubicBezTo>
                  <a:cubicBezTo>
                    <a:pt x="728" y="279"/>
                    <a:pt x="728" y="279"/>
                    <a:pt x="728" y="279"/>
                  </a:cubicBezTo>
                  <a:cubicBezTo>
                    <a:pt x="735" y="274"/>
                    <a:pt x="735" y="274"/>
                    <a:pt x="735" y="274"/>
                  </a:cubicBezTo>
                  <a:cubicBezTo>
                    <a:pt x="729" y="243"/>
                    <a:pt x="729" y="243"/>
                    <a:pt x="729" y="243"/>
                  </a:cubicBezTo>
                  <a:cubicBezTo>
                    <a:pt x="732" y="239"/>
                    <a:pt x="732" y="239"/>
                    <a:pt x="732" y="239"/>
                  </a:cubicBezTo>
                  <a:cubicBezTo>
                    <a:pt x="721" y="217"/>
                    <a:pt x="721" y="217"/>
                    <a:pt x="721" y="217"/>
                  </a:cubicBezTo>
                  <a:cubicBezTo>
                    <a:pt x="727" y="207"/>
                    <a:pt x="727" y="207"/>
                    <a:pt x="727" y="207"/>
                  </a:cubicBezTo>
                  <a:cubicBezTo>
                    <a:pt x="696" y="195"/>
                    <a:pt x="696" y="195"/>
                    <a:pt x="696" y="195"/>
                  </a:cubicBezTo>
                  <a:cubicBezTo>
                    <a:pt x="700" y="185"/>
                    <a:pt x="700" y="185"/>
                    <a:pt x="700" y="185"/>
                  </a:cubicBezTo>
                  <a:cubicBezTo>
                    <a:pt x="692" y="183"/>
                    <a:pt x="692" y="183"/>
                    <a:pt x="692" y="183"/>
                  </a:cubicBezTo>
                  <a:cubicBezTo>
                    <a:pt x="699" y="167"/>
                    <a:pt x="699" y="167"/>
                    <a:pt x="699" y="167"/>
                  </a:cubicBezTo>
                  <a:cubicBezTo>
                    <a:pt x="691" y="161"/>
                    <a:pt x="691" y="161"/>
                    <a:pt x="691" y="161"/>
                  </a:cubicBezTo>
                  <a:cubicBezTo>
                    <a:pt x="691" y="150"/>
                    <a:pt x="691" y="150"/>
                    <a:pt x="691" y="150"/>
                  </a:cubicBezTo>
                  <a:cubicBezTo>
                    <a:pt x="691" y="150"/>
                    <a:pt x="707" y="135"/>
                    <a:pt x="707" y="129"/>
                  </a:cubicBezTo>
                  <a:cubicBezTo>
                    <a:pt x="707" y="122"/>
                    <a:pt x="693" y="118"/>
                    <a:pt x="693" y="118"/>
                  </a:cubicBezTo>
                  <a:cubicBezTo>
                    <a:pt x="700" y="117"/>
                    <a:pt x="700" y="117"/>
                    <a:pt x="700" y="117"/>
                  </a:cubicBezTo>
                  <a:cubicBezTo>
                    <a:pt x="668" y="95"/>
                    <a:pt x="668" y="95"/>
                    <a:pt x="668" y="95"/>
                  </a:cubicBezTo>
                  <a:cubicBezTo>
                    <a:pt x="673" y="75"/>
                    <a:pt x="673" y="75"/>
                    <a:pt x="673" y="75"/>
                  </a:cubicBezTo>
                  <a:cubicBezTo>
                    <a:pt x="673" y="75"/>
                    <a:pt x="661" y="74"/>
                    <a:pt x="655" y="74"/>
                  </a:cubicBezTo>
                  <a:cubicBezTo>
                    <a:pt x="648" y="74"/>
                    <a:pt x="643" y="51"/>
                    <a:pt x="643" y="51"/>
                  </a:cubicBezTo>
                  <a:cubicBezTo>
                    <a:pt x="608" y="47"/>
                    <a:pt x="608" y="47"/>
                    <a:pt x="608" y="47"/>
                  </a:cubicBezTo>
                  <a:cubicBezTo>
                    <a:pt x="608" y="47"/>
                    <a:pt x="596" y="62"/>
                    <a:pt x="589" y="58"/>
                  </a:cubicBezTo>
                  <a:cubicBezTo>
                    <a:pt x="583" y="54"/>
                    <a:pt x="589" y="30"/>
                    <a:pt x="589" y="30"/>
                  </a:cubicBezTo>
                  <a:cubicBezTo>
                    <a:pt x="589" y="30"/>
                    <a:pt x="576" y="24"/>
                    <a:pt x="558" y="21"/>
                  </a:cubicBezTo>
                  <a:cubicBezTo>
                    <a:pt x="540" y="43"/>
                    <a:pt x="540" y="43"/>
                    <a:pt x="540" y="43"/>
                  </a:cubicBezTo>
                  <a:cubicBezTo>
                    <a:pt x="540" y="43"/>
                    <a:pt x="529" y="45"/>
                    <a:pt x="525" y="45"/>
                  </a:cubicBezTo>
                  <a:cubicBezTo>
                    <a:pt x="521" y="45"/>
                    <a:pt x="531" y="73"/>
                    <a:pt x="531" y="73"/>
                  </a:cubicBezTo>
                  <a:cubicBezTo>
                    <a:pt x="519" y="74"/>
                    <a:pt x="519" y="74"/>
                    <a:pt x="519" y="74"/>
                  </a:cubicBezTo>
                  <a:cubicBezTo>
                    <a:pt x="519" y="74"/>
                    <a:pt x="515" y="73"/>
                    <a:pt x="511" y="87"/>
                  </a:cubicBezTo>
                  <a:cubicBezTo>
                    <a:pt x="459" y="94"/>
                    <a:pt x="471" y="147"/>
                    <a:pt x="471" y="147"/>
                  </a:cubicBezTo>
                  <a:cubicBezTo>
                    <a:pt x="464" y="147"/>
                    <a:pt x="464" y="147"/>
                    <a:pt x="464" y="147"/>
                  </a:cubicBezTo>
                  <a:cubicBezTo>
                    <a:pt x="464" y="147"/>
                    <a:pt x="445" y="175"/>
                    <a:pt x="441" y="175"/>
                  </a:cubicBezTo>
                  <a:cubicBezTo>
                    <a:pt x="437" y="175"/>
                    <a:pt x="429" y="166"/>
                    <a:pt x="429" y="166"/>
                  </a:cubicBezTo>
                  <a:cubicBezTo>
                    <a:pt x="429" y="166"/>
                    <a:pt x="413" y="189"/>
                    <a:pt x="407" y="202"/>
                  </a:cubicBezTo>
                  <a:cubicBezTo>
                    <a:pt x="400" y="215"/>
                    <a:pt x="367" y="213"/>
                    <a:pt x="349" y="195"/>
                  </a:cubicBezTo>
                  <a:cubicBezTo>
                    <a:pt x="332" y="178"/>
                    <a:pt x="324" y="193"/>
                    <a:pt x="324" y="193"/>
                  </a:cubicBezTo>
                  <a:cubicBezTo>
                    <a:pt x="324" y="193"/>
                    <a:pt x="324" y="187"/>
                    <a:pt x="319" y="169"/>
                  </a:cubicBezTo>
                  <a:cubicBezTo>
                    <a:pt x="325" y="154"/>
                    <a:pt x="285" y="143"/>
                    <a:pt x="285" y="143"/>
                  </a:cubicBezTo>
                  <a:cubicBezTo>
                    <a:pt x="279" y="130"/>
                    <a:pt x="279" y="130"/>
                    <a:pt x="279" y="130"/>
                  </a:cubicBezTo>
                  <a:cubicBezTo>
                    <a:pt x="265" y="131"/>
                    <a:pt x="265" y="131"/>
                    <a:pt x="265" y="131"/>
                  </a:cubicBezTo>
                  <a:cubicBezTo>
                    <a:pt x="267" y="136"/>
                    <a:pt x="270" y="143"/>
                    <a:pt x="272" y="153"/>
                  </a:cubicBezTo>
                  <a:cubicBezTo>
                    <a:pt x="276" y="171"/>
                    <a:pt x="290" y="171"/>
                    <a:pt x="290" y="171"/>
                  </a:cubicBezTo>
                  <a:cubicBezTo>
                    <a:pt x="279" y="178"/>
                    <a:pt x="279" y="178"/>
                    <a:pt x="279" y="178"/>
                  </a:cubicBezTo>
                  <a:cubicBezTo>
                    <a:pt x="279" y="178"/>
                    <a:pt x="262" y="147"/>
                    <a:pt x="258" y="143"/>
                  </a:cubicBezTo>
                  <a:cubicBezTo>
                    <a:pt x="254" y="140"/>
                    <a:pt x="250" y="104"/>
                    <a:pt x="242" y="83"/>
                  </a:cubicBezTo>
                  <a:cubicBezTo>
                    <a:pt x="239" y="76"/>
                    <a:pt x="239" y="76"/>
                    <a:pt x="239" y="76"/>
                  </a:cubicBezTo>
                  <a:cubicBezTo>
                    <a:pt x="239" y="75"/>
                    <a:pt x="239" y="75"/>
                    <a:pt x="239" y="75"/>
                  </a:cubicBezTo>
                  <a:cubicBezTo>
                    <a:pt x="229" y="55"/>
                    <a:pt x="184" y="19"/>
                    <a:pt x="184" y="19"/>
                  </a:cubicBezTo>
                  <a:cubicBezTo>
                    <a:pt x="185" y="0"/>
                    <a:pt x="185" y="0"/>
                    <a:pt x="185" y="0"/>
                  </a:cubicBezTo>
                  <a:cubicBezTo>
                    <a:pt x="162" y="28"/>
                    <a:pt x="162" y="28"/>
                    <a:pt x="162" y="28"/>
                  </a:cubicBezTo>
                  <a:cubicBezTo>
                    <a:pt x="162" y="28"/>
                    <a:pt x="164" y="82"/>
                    <a:pt x="159" y="107"/>
                  </a:cubicBezTo>
                  <a:cubicBezTo>
                    <a:pt x="155" y="130"/>
                    <a:pt x="136" y="279"/>
                    <a:pt x="133" y="309"/>
                  </a:cubicBezTo>
                  <a:cubicBezTo>
                    <a:pt x="136" y="291"/>
                    <a:pt x="155" y="262"/>
                    <a:pt x="155" y="262"/>
                  </a:cubicBezTo>
                  <a:cubicBezTo>
                    <a:pt x="155" y="262"/>
                    <a:pt x="187" y="292"/>
                    <a:pt x="180" y="304"/>
                  </a:cubicBezTo>
                  <a:cubicBezTo>
                    <a:pt x="173" y="316"/>
                    <a:pt x="147" y="302"/>
                    <a:pt x="147" y="302"/>
                  </a:cubicBezTo>
                  <a:cubicBezTo>
                    <a:pt x="145" y="322"/>
                    <a:pt x="131" y="339"/>
                    <a:pt x="131" y="339"/>
                  </a:cubicBezTo>
                  <a:cubicBezTo>
                    <a:pt x="131" y="339"/>
                    <a:pt x="115" y="435"/>
                    <a:pt x="93" y="567"/>
                  </a:cubicBezTo>
                  <a:cubicBezTo>
                    <a:pt x="71" y="699"/>
                    <a:pt x="23" y="730"/>
                    <a:pt x="23" y="730"/>
                  </a:cubicBezTo>
                  <a:cubicBezTo>
                    <a:pt x="0" y="733"/>
                    <a:pt x="0" y="733"/>
                    <a:pt x="0" y="733"/>
                  </a:cubicBezTo>
                  <a:cubicBezTo>
                    <a:pt x="13" y="763"/>
                    <a:pt x="13" y="763"/>
                    <a:pt x="13" y="763"/>
                  </a:cubicBezTo>
                  <a:cubicBezTo>
                    <a:pt x="34" y="764"/>
                    <a:pt x="34" y="764"/>
                    <a:pt x="34" y="764"/>
                  </a:cubicBezTo>
                  <a:cubicBezTo>
                    <a:pt x="34" y="764"/>
                    <a:pt x="37" y="773"/>
                    <a:pt x="42" y="779"/>
                  </a:cubicBezTo>
                  <a:cubicBezTo>
                    <a:pt x="47" y="785"/>
                    <a:pt x="48" y="774"/>
                    <a:pt x="56" y="771"/>
                  </a:cubicBezTo>
                  <a:cubicBezTo>
                    <a:pt x="64" y="768"/>
                    <a:pt x="74" y="776"/>
                    <a:pt x="86" y="787"/>
                  </a:cubicBezTo>
                  <a:cubicBezTo>
                    <a:pt x="98" y="798"/>
                    <a:pt x="71" y="830"/>
                    <a:pt x="69" y="843"/>
                  </a:cubicBezTo>
                  <a:cubicBezTo>
                    <a:pt x="67" y="856"/>
                    <a:pt x="92" y="859"/>
                    <a:pt x="92" y="859"/>
                  </a:cubicBezTo>
                  <a:cubicBezTo>
                    <a:pt x="92" y="859"/>
                    <a:pt x="100" y="831"/>
                    <a:pt x="110" y="831"/>
                  </a:cubicBezTo>
                  <a:cubicBezTo>
                    <a:pt x="120" y="831"/>
                    <a:pt x="107" y="846"/>
                    <a:pt x="107" y="846"/>
                  </a:cubicBezTo>
                  <a:cubicBezTo>
                    <a:pt x="136" y="857"/>
                    <a:pt x="136" y="857"/>
                    <a:pt x="136" y="857"/>
                  </a:cubicBezTo>
                  <a:cubicBezTo>
                    <a:pt x="142" y="869"/>
                    <a:pt x="142" y="869"/>
                    <a:pt x="142" y="869"/>
                  </a:cubicBezTo>
                  <a:cubicBezTo>
                    <a:pt x="149" y="864"/>
                    <a:pt x="149" y="864"/>
                    <a:pt x="149" y="864"/>
                  </a:cubicBezTo>
                  <a:cubicBezTo>
                    <a:pt x="182" y="884"/>
                    <a:pt x="182" y="884"/>
                    <a:pt x="182" y="884"/>
                  </a:cubicBezTo>
                  <a:cubicBezTo>
                    <a:pt x="228" y="882"/>
                    <a:pt x="228" y="882"/>
                    <a:pt x="228" y="882"/>
                  </a:cubicBezTo>
                  <a:cubicBezTo>
                    <a:pt x="228" y="882"/>
                    <a:pt x="230" y="909"/>
                    <a:pt x="239" y="912"/>
                  </a:cubicBezTo>
                  <a:cubicBezTo>
                    <a:pt x="248" y="915"/>
                    <a:pt x="277" y="946"/>
                    <a:pt x="277" y="946"/>
                  </a:cubicBezTo>
                  <a:cubicBezTo>
                    <a:pt x="293" y="936"/>
                    <a:pt x="293" y="943"/>
                    <a:pt x="293" y="943"/>
                  </a:cubicBezTo>
                  <a:cubicBezTo>
                    <a:pt x="293" y="943"/>
                    <a:pt x="309" y="946"/>
                    <a:pt x="306" y="942"/>
                  </a:cubicBezTo>
                  <a:cubicBezTo>
                    <a:pt x="307" y="941"/>
                    <a:pt x="308" y="940"/>
                    <a:pt x="310" y="940"/>
                  </a:cubicBezTo>
                  <a:cubicBezTo>
                    <a:pt x="310" y="936"/>
                    <a:pt x="309" y="934"/>
                    <a:pt x="309" y="934"/>
                  </a:cubicBezTo>
                  <a:lnTo>
                    <a:pt x="331" y="869"/>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10" name="Rhône-Alpes" descr="© INSCALE GmbH, 05.05.2010&#10;http://www.presentationload.com/">
              <a:extLst>
                <a:ext uri="{FF2B5EF4-FFF2-40B4-BE49-F238E27FC236}">
                  <a16:creationId xmlns:a16="http://schemas.microsoft.com/office/drawing/2014/main" id="{C96232F3-AA0D-4686-B8F3-177F16EC3D67}"/>
                </a:ext>
              </a:extLst>
            </p:cNvPr>
            <p:cNvSpPr>
              <a:spLocks/>
            </p:cNvSpPr>
            <p:nvPr/>
          </p:nvSpPr>
          <p:spPr bwMode="gray">
            <a:xfrm>
              <a:off x="2094" y="1710"/>
              <a:ext cx="833" cy="840"/>
            </a:xfrm>
            <a:custGeom>
              <a:avLst/>
              <a:gdLst/>
              <a:ahLst/>
              <a:cxnLst>
                <a:cxn ang="0">
                  <a:pos x="92" y="696"/>
                </a:cxn>
                <a:cxn ang="0">
                  <a:pos x="136" y="744"/>
                </a:cxn>
                <a:cxn ang="0">
                  <a:pos x="170" y="728"/>
                </a:cxn>
                <a:cxn ang="0">
                  <a:pos x="228" y="735"/>
                </a:cxn>
                <a:cxn ang="0">
                  <a:pos x="318" y="724"/>
                </a:cxn>
                <a:cxn ang="0">
                  <a:pos x="341" y="746"/>
                </a:cxn>
                <a:cxn ang="0">
                  <a:pos x="386" y="752"/>
                </a:cxn>
                <a:cxn ang="0">
                  <a:pos x="416" y="778"/>
                </a:cxn>
                <a:cxn ang="0">
                  <a:pos x="462" y="752"/>
                </a:cxn>
                <a:cxn ang="0">
                  <a:pos x="414" y="708"/>
                </a:cxn>
                <a:cxn ang="0">
                  <a:pos x="406" y="670"/>
                </a:cxn>
                <a:cxn ang="0">
                  <a:pos x="453" y="650"/>
                </a:cxn>
                <a:cxn ang="0">
                  <a:pos x="486" y="590"/>
                </a:cxn>
                <a:cxn ang="0">
                  <a:pos x="541" y="546"/>
                </a:cxn>
                <a:cxn ang="0">
                  <a:pos x="572" y="487"/>
                </a:cxn>
                <a:cxn ang="0">
                  <a:pos x="604" y="452"/>
                </a:cxn>
                <a:cxn ang="0">
                  <a:pos x="632" y="458"/>
                </a:cxn>
                <a:cxn ang="0">
                  <a:pos x="685" y="426"/>
                </a:cxn>
                <a:cxn ang="0">
                  <a:pos x="772" y="342"/>
                </a:cxn>
                <a:cxn ang="0">
                  <a:pos x="686" y="232"/>
                </a:cxn>
                <a:cxn ang="0">
                  <a:pos x="706" y="121"/>
                </a:cxn>
                <a:cxn ang="0">
                  <a:pos x="684" y="108"/>
                </a:cxn>
                <a:cxn ang="0">
                  <a:pos x="670" y="33"/>
                </a:cxn>
                <a:cxn ang="0">
                  <a:pos x="611" y="0"/>
                </a:cxn>
                <a:cxn ang="0">
                  <a:pos x="560" y="31"/>
                </a:cxn>
                <a:cxn ang="0">
                  <a:pos x="569" y="68"/>
                </a:cxn>
                <a:cxn ang="0">
                  <a:pos x="517" y="99"/>
                </a:cxn>
                <a:cxn ang="0">
                  <a:pos x="512" y="67"/>
                </a:cxn>
                <a:cxn ang="0">
                  <a:pos x="534" y="29"/>
                </a:cxn>
                <a:cxn ang="0">
                  <a:pos x="441" y="74"/>
                </a:cxn>
                <a:cxn ang="0">
                  <a:pos x="388" y="79"/>
                </a:cxn>
                <a:cxn ang="0">
                  <a:pos x="350" y="50"/>
                </a:cxn>
                <a:cxn ang="0">
                  <a:pos x="326" y="16"/>
                </a:cxn>
                <a:cxn ang="0">
                  <a:pos x="237" y="126"/>
                </a:cxn>
                <a:cxn ang="0">
                  <a:pos x="217" y="100"/>
                </a:cxn>
                <a:cxn ang="0">
                  <a:pos x="188" y="88"/>
                </a:cxn>
                <a:cxn ang="0">
                  <a:pos x="152" y="88"/>
                </a:cxn>
                <a:cxn ang="0">
                  <a:pos x="125" y="136"/>
                </a:cxn>
                <a:cxn ang="0">
                  <a:pos x="86" y="126"/>
                </a:cxn>
                <a:cxn ang="0">
                  <a:pos x="42" y="119"/>
                </a:cxn>
                <a:cxn ang="0">
                  <a:pos x="21" y="124"/>
                </a:cxn>
                <a:cxn ang="0">
                  <a:pos x="25" y="187"/>
                </a:cxn>
                <a:cxn ang="0">
                  <a:pos x="12" y="224"/>
                </a:cxn>
                <a:cxn ang="0">
                  <a:pos x="29" y="311"/>
                </a:cxn>
                <a:cxn ang="0">
                  <a:pos x="50" y="403"/>
                </a:cxn>
                <a:cxn ang="0">
                  <a:pos x="72" y="396"/>
                </a:cxn>
                <a:cxn ang="0">
                  <a:pos x="90" y="390"/>
                </a:cxn>
                <a:cxn ang="0">
                  <a:pos x="150" y="406"/>
                </a:cxn>
                <a:cxn ang="0">
                  <a:pos x="171" y="469"/>
                </a:cxn>
                <a:cxn ang="0">
                  <a:pos x="157" y="458"/>
                </a:cxn>
                <a:cxn ang="0">
                  <a:pos x="157" y="495"/>
                </a:cxn>
                <a:cxn ang="0">
                  <a:pos x="122" y="519"/>
                </a:cxn>
                <a:cxn ang="0">
                  <a:pos x="81" y="554"/>
                </a:cxn>
                <a:cxn ang="0">
                  <a:pos x="41" y="588"/>
                </a:cxn>
              </a:cxnLst>
              <a:rect l="0" t="0" r="r" b="b"/>
              <a:pathLst>
                <a:path w="772" h="778">
                  <a:moveTo>
                    <a:pt x="68" y="647"/>
                  </a:moveTo>
                  <a:cubicBezTo>
                    <a:pt x="72" y="678"/>
                    <a:pt x="72" y="678"/>
                    <a:pt x="72" y="678"/>
                  </a:cubicBezTo>
                  <a:cubicBezTo>
                    <a:pt x="92" y="696"/>
                    <a:pt x="92" y="696"/>
                    <a:pt x="92" y="696"/>
                  </a:cubicBezTo>
                  <a:cubicBezTo>
                    <a:pt x="85" y="727"/>
                    <a:pt x="85" y="727"/>
                    <a:pt x="85" y="727"/>
                  </a:cubicBezTo>
                  <a:cubicBezTo>
                    <a:pt x="104" y="716"/>
                    <a:pt x="104" y="716"/>
                    <a:pt x="104" y="716"/>
                  </a:cubicBezTo>
                  <a:cubicBezTo>
                    <a:pt x="136" y="744"/>
                    <a:pt x="136" y="744"/>
                    <a:pt x="136" y="744"/>
                  </a:cubicBezTo>
                  <a:cubicBezTo>
                    <a:pt x="156" y="714"/>
                    <a:pt x="156" y="714"/>
                    <a:pt x="156" y="714"/>
                  </a:cubicBezTo>
                  <a:cubicBezTo>
                    <a:pt x="170" y="714"/>
                    <a:pt x="170" y="714"/>
                    <a:pt x="170" y="714"/>
                  </a:cubicBezTo>
                  <a:cubicBezTo>
                    <a:pt x="170" y="728"/>
                    <a:pt x="170" y="728"/>
                    <a:pt x="170" y="728"/>
                  </a:cubicBezTo>
                  <a:cubicBezTo>
                    <a:pt x="177" y="728"/>
                    <a:pt x="177" y="728"/>
                    <a:pt x="177" y="728"/>
                  </a:cubicBezTo>
                  <a:cubicBezTo>
                    <a:pt x="185" y="716"/>
                    <a:pt x="185" y="716"/>
                    <a:pt x="185" y="716"/>
                  </a:cubicBezTo>
                  <a:cubicBezTo>
                    <a:pt x="228" y="735"/>
                    <a:pt x="228" y="735"/>
                    <a:pt x="228" y="735"/>
                  </a:cubicBezTo>
                  <a:cubicBezTo>
                    <a:pt x="228" y="720"/>
                    <a:pt x="228" y="720"/>
                    <a:pt x="228" y="720"/>
                  </a:cubicBezTo>
                  <a:cubicBezTo>
                    <a:pt x="228" y="720"/>
                    <a:pt x="262" y="712"/>
                    <a:pt x="264" y="748"/>
                  </a:cubicBezTo>
                  <a:cubicBezTo>
                    <a:pt x="318" y="724"/>
                    <a:pt x="318" y="724"/>
                    <a:pt x="318" y="724"/>
                  </a:cubicBezTo>
                  <a:cubicBezTo>
                    <a:pt x="329" y="728"/>
                    <a:pt x="329" y="728"/>
                    <a:pt x="329" y="728"/>
                  </a:cubicBezTo>
                  <a:cubicBezTo>
                    <a:pt x="341" y="722"/>
                    <a:pt x="341" y="722"/>
                    <a:pt x="341" y="722"/>
                  </a:cubicBezTo>
                  <a:cubicBezTo>
                    <a:pt x="341" y="746"/>
                    <a:pt x="341" y="746"/>
                    <a:pt x="341" y="746"/>
                  </a:cubicBezTo>
                  <a:cubicBezTo>
                    <a:pt x="366" y="754"/>
                    <a:pt x="366" y="754"/>
                    <a:pt x="366" y="754"/>
                  </a:cubicBezTo>
                  <a:cubicBezTo>
                    <a:pt x="365" y="747"/>
                    <a:pt x="365" y="747"/>
                    <a:pt x="365" y="747"/>
                  </a:cubicBezTo>
                  <a:cubicBezTo>
                    <a:pt x="386" y="752"/>
                    <a:pt x="386" y="752"/>
                    <a:pt x="386" y="752"/>
                  </a:cubicBezTo>
                  <a:cubicBezTo>
                    <a:pt x="386" y="752"/>
                    <a:pt x="393" y="756"/>
                    <a:pt x="393" y="766"/>
                  </a:cubicBezTo>
                  <a:cubicBezTo>
                    <a:pt x="393" y="775"/>
                    <a:pt x="406" y="771"/>
                    <a:pt x="406" y="771"/>
                  </a:cubicBezTo>
                  <a:cubicBezTo>
                    <a:pt x="416" y="778"/>
                    <a:pt x="416" y="778"/>
                    <a:pt x="416" y="778"/>
                  </a:cubicBezTo>
                  <a:cubicBezTo>
                    <a:pt x="436" y="766"/>
                    <a:pt x="436" y="766"/>
                    <a:pt x="436" y="766"/>
                  </a:cubicBezTo>
                  <a:cubicBezTo>
                    <a:pt x="436" y="766"/>
                    <a:pt x="426" y="755"/>
                    <a:pt x="450" y="763"/>
                  </a:cubicBezTo>
                  <a:cubicBezTo>
                    <a:pt x="448" y="766"/>
                    <a:pt x="462" y="752"/>
                    <a:pt x="462" y="752"/>
                  </a:cubicBezTo>
                  <a:cubicBezTo>
                    <a:pt x="462" y="730"/>
                    <a:pt x="462" y="730"/>
                    <a:pt x="462" y="730"/>
                  </a:cubicBezTo>
                  <a:cubicBezTo>
                    <a:pt x="445" y="710"/>
                    <a:pt x="445" y="710"/>
                    <a:pt x="445" y="710"/>
                  </a:cubicBezTo>
                  <a:cubicBezTo>
                    <a:pt x="414" y="708"/>
                    <a:pt x="414" y="708"/>
                    <a:pt x="414" y="708"/>
                  </a:cubicBezTo>
                  <a:cubicBezTo>
                    <a:pt x="398" y="683"/>
                    <a:pt x="398" y="683"/>
                    <a:pt x="398" y="683"/>
                  </a:cubicBezTo>
                  <a:cubicBezTo>
                    <a:pt x="414" y="682"/>
                    <a:pt x="414" y="682"/>
                    <a:pt x="414" y="682"/>
                  </a:cubicBezTo>
                  <a:cubicBezTo>
                    <a:pt x="406" y="670"/>
                    <a:pt x="406" y="670"/>
                    <a:pt x="406" y="670"/>
                  </a:cubicBezTo>
                  <a:cubicBezTo>
                    <a:pt x="409" y="658"/>
                    <a:pt x="409" y="658"/>
                    <a:pt x="409" y="658"/>
                  </a:cubicBezTo>
                  <a:cubicBezTo>
                    <a:pt x="438" y="662"/>
                    <a:pt x="438" y="662"/>
                    <a:pt x="438" y="662"/>
                  </a:cubicBezTo>
                  <a:cubicBezTo>
                    <a:pt x="453" y="650"/>
                    <a:pt x="453" y="650"/>
                    <a:pt x="453" y="650"/>
                  </a:cubicBezTo>
                  <a:cubicBezTo>
                    <a:pt x="436" y="640"/>
                    <a:pt x="436" y="640"/>
                    <a:pt x="436" y="640"/>
                  </a:cubicBezTo>
                  <a:cubicBezTo>
                    <a:pt x="449" y="614"/>
                    <a:pt x="449" y="614"/>
                    <a:pt x="449" y="614"/>
                  </a:cubicBezTo>
                  <a:cubicBezTo>
                    <a:pt x="449" y="614"/>
                    <a:pt x="490" y="599"/>
                    <a:pt x="486" y="590"/>
                  </a:cubicBezTo>
                  <a:cubicBezTo>
                    <a:pt x="482" y="580"/>
                    <a:pt x="477" y="568"/>
                    <a:pt x="489" y="568"/>
                  </a:cubicBezTo>
                  <a:cubicBezTo>
                    <a:pt x="501" y="568"/>
                    <a:pt x="525" y="562"/>
                    <a:pt x="525" y="562"/>
                  </a:cubicBezTo>
                  <a:cubicBezTo>
                    <a:pt x="525" y="562"/>
                    <a:pt x="534" y="539"/>
                    <a:pt x="541" y="546"/>
                  </a:cubicBezTo>
                  <a:cubicBezTo>
                    <a:pt x="548" y="552"/>
                    <a:pt x="538" y="532"/>
                    <a:pt x="604" y="534"/>
                  </a:cubicBezTo>
                  <a:cubicBezTo>
                    <a:pt x="597" y="511"/>
                    <a:pt x="596" y="492"/>
                    <a:pt x="596" y="492"/>
                  </a:cubicBezTo>
                  <a:cubicBezTo>
                    <a:pt x="596" y="492"/>
                    <a:pt x="572" y="498"/>
                    <a:pt x="572" y="487"/>
                  </a:cubicBezTo>
                  <a:cubicBezTo>
                    <a:pt x="572" y="476"/>
                    <a:pt x="577" y="463"/>
                    <a:pt x="577" y="463"/>
                  </a:cubicBezTo>
                  <a:cubicBezTo>
                    <a:pt x="574" y="455"/>
                    <a:pt x="574" y="455"/>
                    <a:pt x="574" y="455"/>
                  </a:cubicBezTo>
                  <a:cubicBezTo>
                    <a:pt x="604" y="452"/>
                    <a:pt x="604" y="452"/>
                    <a:pt x="604" y="452"/>
                  </a:cubicBezTo>
                  <a:cubicBezTo>
                    <a:pt x="605" y="466"/>
                    <a:pt x="605" y="466"/>
                    <a:pt x="605" y="466"/>
                  </a:cubicBezTo>
                  <a:cubicBezTo>
                    <a:pt x="629" y="466"/>
                    <a:pt x="629" y="466"/>
                    <a:pt x="629" y="466"/>
                  </a:cubicBezTo>
                  <a:cubicBezTo>
                    <a:pt x="632" y="458"/>
                    <a:pt x="632" y="458"/>
                    <a:pt x="632" y="458"/>
                  </a:cubicBezTo>
                  <a:cubicBezTo>
                    <a:pt x="656" y="454"/>
                    <a:pt x="656" y="454"/>
                    <a:pt x="656" y="454"/>
                  </a:cubicBezTo>
                  <a:cubicBezTo>
                    <a:pt x="648" y="442"/>
                    <a:pt x="660" y="431"/>
                    <a:pt x="660" y="431"/>
                  </a:cubicBezTo>
                  <a:cubicBezTo>
                    <a:pt x="670" y="445"/>
                    <a:pt x="685" y="426"/>
                    <a:pt x="685" y="426"/>
                  </a:cubicBezTo>
                  <a:cubicBezTo>
                    <a:pt x="704" y="448"/>
                    <a:pt x="725" y="407"/>
                    <a:pt x="725" y="407"/>
                  </a:cubicBezTo>
                  <a:cubicBezTo>
                    <a:pt x="725" y="407"/>
                    <a:pt x="757" y="400"/>
                    <a:pt x="758" y="394"/>
                  </a:cubicBezTo>
                  <a:cubicBezTo>
                    <a:pt x="755" y="371"/>
                    <a:pt x="772" y="342"/>
                    <a:pt x="772" y="342"/>
                  </a:cubicBezTo>
                  <a:cubicBezTo>
                    <a:pt x="764" y="342"/>
                    <a:pt x="744" y="317"/>
                    <a:pt x="741" y="313"/>
                  </a:cubicBezTo>
                  <a:cubicBezTo>
                    <a:pt x="705" y="284"/>
                    <a:pt x="737" y="269"/>
                    <a:pt x="733" y="267"/>
                  </a:cubicBezTo>
                  <a:cubicBezTo>
                    <a:pt x="704" y="274"/>
                    <a:pt x="688" y="235"/>
                    <a:pt x="686" y="232"/>
                  </a:cubicBezTo>
                  <a:cubicBezTo>
                    <a:pt x="678" y="230"/>
                    <a:pt x="684" y="206"/>
                    <a:pt x="684" y="200"/>
                  </a:cubicBezTo>
                  <a:cubicBezTo>
                    <a:pt x="698" y="224"/>
                    <a:pt x="737" y="172"/>
                    <a:pt x="737" y="172"/>
                  </a:cubicBezTo>
                  <a:cubicBezTo>
                    <a:pt x="706" y="121"/>
                    <a:pt x="706" y="121"/>
                    <a:pt x="706" y="121"/>
                  </a:cubicBezTo>
                  <a:cubicBezTo>
                    <a:pt x="701" y="129"/>
                    <a:pt x="701" y="129"/>
                    <a:pt x="701" y="129"/>
                  </a:cubicBezTo>
                  <a:cubicBezTo>
                    <a:pt x="698" y="120"/>
                    <a:pt x="698" y="120"/>
                    <a:pt x="698" y="120"/>
                  </a:cubicBezTo>
                  <a:cubicBezTo>
                    <a:pt x="706" y="98"/>
                    <a:pt x="684" y="108"/>
                    <a:pt x="684" y="108"/>
                  </a:cubicBezTo>
                  <a:cubicBezTo>
                    <a:pt x="675" y="97"/>
                    <a:pt x="675" y="97"/>
                    <a:pt x="675" y="97"/>
                  </a:cubicBezTo>
                  <a:cubicBezTo>
                    <a:pt x="691" y="55"/>
                    <a:pt x="691" y="55"/>
                    <a:pt x="691" y="55"/>
                  </a:cubicBezTo>
                  <a:cubicBezTo>
                    <a:pt x="670" y="33"/>
                    <a:pt x="670" y="33"/>
                    <a:pt x="670" y="33"/>
                  </a:cubicBezTo>
                  <a:cubicBezTo>
                    <a:pt x="680" y="10"/>
                    <a:pt x="680" y="10"/>
                    <a:pt x="680" y="10"/>
                  </a:cubicBezTo>
                  <a:cubicBezTo>
                    <a:pt x="674" y="3"/>
                    <a:pt x="674" y="3"/>
                    <a:pt x="674" y="3"/>
                  </a:cubicBezTo>
                  <a:cubicBezTo>
                    <a:pt x="611" y="0"/>
                    <a:pt x="611" y="0"/>
                    <a:pt x="611" y="0"/>
                  </a:cubicBezTo>
                  <a:cubicBezTo>
                    <a:pt x="593" y="12"/>
                    <a:pt x="593" y="12"/>
                    <a:pt x="593" y="12"/>
                  </a:cubicBezTo>
                  <a:cubicBezTo>
                    <a:pt x="577" y="12"/>
                    <a:pt x="577" y="12"/>
                    <a:pt x="577" y="12"/>
                  </a:cubicBezTo>
                  <a:cubicBezTo>
                    <a:pt x="577" y="12"/>
                    <a:pt x="570" y="21"/>
                    <a:pt x="560" y="31"/>
                  </a:cubicBezTo>
                  <a:cubicBezTo>
                    <a:pt x="550" y="30"/>
                    <a:pt x="553" y="57"/>
                    <a:pt x="553" y="57"/>
                  </a:cubicBezTo>
                  <a:cubicBezTo>
                    <a:pt x="559" y="63"/>
                    <a:pt x="559" y="63"/>
                    <a:pt x="559" y="63"/>
                  </a:cubicBezTo>
                  <a:cubicBezTo>
                    <a:pt x="559" y="63"/>
                    <a:pt x="564" y="60"/>
                    <a:pt x="569" y="68"/>
                  </a:cubicBezTo>
                  <a:cubicBezTo>
                    <a:pt x="574" y="76"/>
                    <a:pt x="558" y="76"/>
                    <a:pt x="558" y="76"/>
                  </a:cubicBezTo>
                  <a:cubicBezTo>
                    <a:pt x="527" y="100"/>
                    <a:pt x="527" y="100"/>
                    <a:pt x="527" y="100"/>
                  </a:cubicBezTo>
                  <a:cubicBezTo>
                    <a:pt x="521" y="93"/>
                    <a:pt x="517" y="99"/>
                    <a:pt x="517" y="99"/>
                  </a:cubicBezTo>
                  <a:cubicBezTo>
                    <a:pt x="499" y="98"/>
                    <a:pt x="499" y="98"/>
                    <a:pt x="499" y="98"/>
                  </a:cubicBezTo>
                  <a:cubicBezTo>
                    <a:pt x="497" y="82"/>
                    <a:pt x="497" y="82"/>
                    <a:pt x="497" y="82"/>
                  </a:cubicBezTo>
                  <a:cubicBezTo>
                    <a:pt x="512" y="67"/>
                    <a:pt x="512" y="67"/>
                    <a:pt x="512" y="67"/>
                  </a:cubicBezTo>
                  <a:cubicBezTo>
                    <a:pt x="525" y="66"/>
                    <a:pt x="525" y="66"/>
                    <a:pt x="525" y="66"/>
                  </a:cubicBezTo>
                  <a:cubicBezTo>
                    <a:pt x="525" y="48"/>
                    <a:pt x="525" y="48"/>
                    <a:pt x="525" y="48"/>
                  </a:cubicBezTo>
                  <a:cubicBezTo>
                    <a:pt x="534" y="41"/>
                    <a:pt x="535" y="34"/>
                    <a:pt x="534" y="29"/>
                  </a:cubicBezTo>
                  <a:cubicBezTo>
                    <a:pt x="477" y="88"/>
                    <a:pt x="477" y="88"/>
                    <a:pt x="477" y="88"/>
                  </a:cubicBezTo>
                  <a:cubicBezTo>
                    <a:pt x="445" y="90"/>
                    <a:pt x="445" y="90"/>
                    <a:pt x="445" y="90"/>
                  </a:cubicBezTo>
                  <a:cubicBezTo>
                    <a:pt x="441" y="74"/>
                    <a:pt x="441" y="74"/>
                    <a:pt x="441" y="74"/>
                  </a:cubicBezTo>
                  <a:cubicBezTo>
                    <a:pt x="441" y="74"/>
                    <a:pt x="421" y="71"/>
                    <a:pt x="425" y="64"/>
                  </a:cubicBezTo>
                  <a:cubicBezTo>
                    <a:pt x="408" y="103"/>
                    <a:pt x="385" y="92"/>
                    <a:pt x="385" y="92"/>
                  </a:cubicBezTo>
                  <a:cubicBezTo>
                    <a:pt x="388" y="79"/>
                    <a:pt x="388" y="79"/>
                    <a:pt x="388" y="79"/>
                  </a:cubicBezTo>
                  <a:cubicBezTo>
                    <a:pt x="364" y="68"/>
                    <a:pt x="364" y="68"/>
                    <a:pt x="364" y="68"/>
                  </a:cubicBezTo>
                  <a:cubicBezTo>
                    <a:pt x="364" y="55"/>
                    <a:pt x="364" y="55"/>
                    <a:pt x="364" y="55"/>
                  </a:cubicBezTo>
                  <a:cubicBezTo>
                    <a:pt x="350" y="50"/>
                    <a:pt x="350" y="50"/>
                    <a:pt x="350" y="50"/>
                  </a:cubicBezTo>
                  <a:cubicBezTo>
                    <a:pt x="352" y="36"/>
                    <a:pt x="352" y="36"/>
                    <a:pt x="352" y="36"/>
                  </a:cubicBezTo>
                  <a:cubicBezTo>
                    <a:pt x="344" y="35"/>
                    <a:pt x="336" y="34"/>
                    <a:pt x="334" y="34"/>
                  </a:cubicBezTo>
                  <a:cubicBezTo>
                    <a:pt x="330" y="34"/>
                    <a:pt x="329" y="22"/>
                    <a:pt x="326" y="16"/>
                  </a:cubicBezTo>
                  <a:cubicBezTo>
                    <a:pt x="324" y="11"/>
                    <a:pt x="309" y="24"/>
                    <a:pt x="296" y="24"/>
                  </a:cubicBezTo>
                  <a:cubicBezTo>
                    <a:pt x="282" y="24"/>
                    <a:pt x="265" y="18"/>
                    <a:pt x="265" y="18"/>
                  </a:cubicBezTo>
                  <a:cubicBezTo>
                    <a:pt x="237" y="126"/>
                    <a:pt x="237" y="126"/>
                    <a:pt x="237" y="126"/>
                  </a:cubicBezTo>
                  <a:cubicBezTo>
                    <a:pt x="226" y="124"/>
                    <a:pt x="226" y="124"/>
                    <a:pt x="226" y="124"/>
                  </a:cubicBezTo>
                  <a:cubicBezTo>
                    <a:pt x="225" y="108"/>
                    <a:pt x="225" y="108"/>
                    <a:pt x="225" y="108"/>
                  </a:cubicBezTo>
                  <a:cubicBezTo>
                    <a:pt x="217" y="100"/>
                    <a:pt x="217" y="100"/>
                    <a:pt x="217" y="100"/>
                  </a:cubicBezTo>
                  <a:cubicBezTo>
                    <a:pt x="217" y="100"/>
                    <a:pt x="218" y="90"/>
                    <a:pt x="208" y="86"/>
                  </a:cubicBezTo>
                  <a:cubicBezTo>
                    <a:pt x="197" y="82"/>
                    <a:pt x="198" y="98"/>
                    <a:pt x="193" y="98"/>
                  </a:cubicBezTo>
                  <a:cubicBezTo>
                    <a:pt x="188" y="98"/>
                    <a:pt x="188" y="88"/>
                    <a:pt x="188" y="88"/>
                  </a:cubicBezTo>
                  <a:cubicBezTo>
                    <a:pt x="173" y="100"/>
                    <a:pt x="173" y="100"/>
                    <a:pt x="173" y="100"/>
                  </a:cubicBezTo>
                  <a:cubicBezTo>
                    <a:pt x="164" y="87"/>
                    <a:pt x="164" y="87"/>
                    <a:pt x="164" y="87"/>
                  </a:cubicBezTo>
                  <a:cubicBezTo>
                    <a:pt x="152" y="88"/>
                    <a:pt x="152" y="88"/>
                    <a:pt x="152" y="88"/>
                  </a:cubicBezTo>
                  <a:cubicBezTo>
                    <a:pt x="148" y="127"/>
                    <a:pt x="148" y="127"/>
                    <a:pt x="148" y="127"/>
                  </a:cubicBezTo>
                  <a:cubicBezTo>
                    <a:pt x="148" y="127"/>
                    <a:pt x="137" y="128"/>
                    <a:pt x="132" y="128"/>
                  </a:cubicBezTo>
                  <a:cubicBezTo>
                    <a:pt x="126" y="128"/>
                    <a:pt x="132" y="135"/>
                    <a:pt x="125" y="136"/>
                  </a:cubicBezTo>
                  <a:cubicBezTo>
                    <a:pt x="120" y="137"/>
                    <a:pt x="113" y="129"/>
                    <a:pt x="110" y="125"/>
                  </a:cubicBezTo>
                  <a:cubicBezTo>
                    <a:pt x="111" y="127"/>
                    <a:pt x="111" y="129"/>
                    <a:pt x="101" y="128"/>
                  </a:cubicBezTo>
                  <a:cubicBezTo>
                    <a:pt x="86" y="127"/>
                    <a:pt x="86" y="126"/>
                    <a:pt x="86" y="126"/>
                  </a:cubicBezTo>
                  <a:cubicBezTo>
                    <a:pt x="62" y="132"/>
                    <a:pt x="62" y="132"/>
                    <a:pt x="62" y="132"/>
                  </a:cubicBezTo>
                  <a:cubicBezTo>
                    <a:pt x="56" y="119"/>
                    <a:pt x="56" y="119"/>
                    <a:pt x="56" y="119"/>
                  </a:cubicBezTo>
                  <a:cubicBezTo>
                    <a:pt x="42" y="119"/>
                    <a:pt x="42" y="119"/>
                    <a:pt x="42" y="119"/>
                  </a:cubicBezTo>
                  <a:cubicBezTo>
                    <a:pt x="41" y="100"/>
                    <a:pt x="41" y="100"/>
                    <a:pt x="41" y="100"/>
                  </a:cubicBezTo>
                  <a:cubicBezTo>
                    <a:pt x="16" y="111"/>
                    <a:pt x="16" y="111"/>
                    <a:pt x="16" y="111"/>
                  </a:cubicBezTo>
                  <a:cubicBezTo>
                    <a:pt x="21" y="124"/>
                    <a:pt x="21" y="124"/>
                    <a:pt x="21" y="124"/>
                  </a:cubicBezTo>
                  <a:cubicBezTo>
                    <a:pt x="17" y="139"/>
                    <a:pt x="17" y="139"/>
                    <a:pt x="17" y="139"/>
                  </a:cubicBezTo>
                  <a:cubicBezTo>
                    <a:pt x="24" y="152"/>
                    <a:pt x="24" y="152"/>
                    <a:pt x="24" y="152"/>
                  </a:cubicBezTo>
                  <a:cubicBezTo>
                    <a:pt x="25" y="187"/>
                    <a:pt x="25" y="187"/>
                    <a:pt x="25" y="187"/>
                  </a:cubicBezTo>
                  <a:cubicBezTo>
                    <a:pt x="0" y="196"/>
                    <a:pt x="0" y="196"/>
                    <a:pt x="0" y="196"/>
                  </a:cubicBezTo>
                  <a:cubicBezTo>
                    <a:pt x="0" y="208"/>
                    <a:pt x="0" y="208"/>
                    <a:pt x="0" y="208"/>
                  </a:cubicBezTo>
                  <a:cubicBezTo>
                    <a:pt x="12" y="224"/>
                    <a:pt x="12" y="224"/>
                    <a:pt x="12" y="224"/>
                  </a:cubicBezTo>
                  <a:cubicBezTo>
                    <a:pt x="4" y="227"/>
                    <a:pt x="4" y="227"/>
                    <a:pt x="4" y="227"/>
                  </a:cubicBezTo>
                  <a:cubicBezTo>
                    <a:pt x="2" y="255"/>
                    <a:pt x="2" y="255"/>
                    <a:pt x="2" y="255"/>
                  </a:cubicBezTo>
                  <a:cubicBezTo>
                    <a:pt x="2" y="255"/>
                    <a:pt x="25" y="291"/>
                    <a:pt x="29" y="311"/>
                  </a:cubicBezTo>
                  <a:cubicBezTo>
                    <a:pt x="34" y="311"/>
                    <a:pt x="74" y="347"/>
                    <a:pt x="62" y="367"/>
                  </a:cubicBezTo>
                  <a:cubicBezTo>
                    <a:pt x="60" y="374"/>
                    <a:pt x="46" y="380"/>
                    <a:pt x="46" y="380"/>
                  </a:cubicBezTo>
                  <a:cubicBezTo>
                    <a:pt x="50" y="403"/>
                    <a:pt x="50" y="403"/>
                    <a:pt x="50" y="403"/>
                  </a:cubicBezTo>
                  <a:cubicBezTo>
                    <a:pt x="56" y="384"/>
                    <a:pt x="56" y="384"/>
                    <a:pt x="56" y="384"/>
                  </a:cubicBezTo>
                  <a:cubicBezTo>
                    <a:pt x="68" y="384"/>
                    <a:pt x="68" y="384"/>
                    <a:pt x="68" y="384"/>
                  </a:cubicBezTo>
                  <a:cubicBezTo>
                    <a:pt x="72" y="396"/>
                    <a:pt x="72" y="396"/>
                    <a:pt x="72" y="396"/>
                  </a:cubicBezTo>
                  <a:cubicBezTo>
                    <a:pt x="82" y="391"/>
                    <a:pt x="82" y="391"/>
                    <a:pt x="82" y="391"/>
                  </a:cubicBezTo>
                  <a:cubicBezTo>
                    <a:pt x="88" y="398"/>
                    <a:pt x="88" y="398"/>
                    <a:pt x="88" y="398"/>
                  </a:cubicBezTo>
                  <a:cubicBezTo>
                    <a:pt x="90" y="390"/>
                    <a:pt x="90" y="390"/>
                    <a:pt x="90" y="390"/>
                  </a:cubicBezTo>
                  <a:cubicBezTo>
                    <a:pt x="90" y="390"/>
                    <a:pt x="120" y="375"/>
                    <a:pt x="126" y="384"/>
                  </a:cubicBezTo>
                  <a:cubicBezTo>
                    <a:pt x="133" y="394"/>
                    <a:pt x="158" y="391"/>
                    <a:pt x="145" y="402"/>
                  </a:cubicBezTo>
                  <a:cubicBezTo>
                    <a:pt x="150" y="406"/>
                    <a:pt x="150" y="406"/>
                    <a:pt x="150" y="406"/>
                  </a:cubicBezTo>
                  <a:cubicBezTo>
                    <a:pt x="157" y="424"/>
                    <a:pt x="157" y="424"/>
                    <a:pt x="157" y="424"/>
                  </a:cubicBezTo>
                  <a:cubicBezTo>
                    <a:pt x="157" y="424"/>
                    <a:pt x="188" y="403"/>
                    <a:pt x="174" y="452"/>
                  </a:cubicBezTo>
                  <a:cubicBezTo>
                    <a:pt x="170" y="464"/>
                    <a:pt x="170" y="468"/>
                    <a:pt x="171" y="469"/>
                  </a:cubicBezTo>
                  <a:cubicBezTo>
                    <a:pt x="172" y="470"/>
                    <a:pt x="172" y="470"/>
                    <a:pt x="172" y="470"/>
                  </a:cubicBezTo>
                  <a:cubicBezTo>
                    <a:pt x="172" y="470"/>
                    <a:pt x="171" y="470"/>
                    <a:pt x="171" y="469"/>
                  </a:cubicBezTo>
                  <a:cubicBezTo>
                    <a:pt x="157" y="458"/>
                    <a:pt x="157" y="458"/>
                    <a:pt x="157" y="458"/>
                  </a:cubicBezTo>
                  <a:cubicBezTo>
                    <a:pt x="160" y="470"/>
                    <a:pt x="160" y="470"/>
                    <a:pt x="160" y="470"/>
                  </a:cubicBezTo>
                  <a:cubicBezTo>
                    <a:pt x="160" y="470"/>
                    <a:pt x="150" y="475"/>
                    <a:pt x="150" y="479"/>
                  </a:cubicBezTo>
                  <a:cubicBezTo>
                    <a:pt x="150" y="483"/>
                    <a:pt x="157" y="495"/>
                    <a:pt x="157" y="495"/>
                  </a:cubicBezTo>
                  <a:cubicBezTo>
                    <a:pt x="142" y="495"/>
                    <a:pt x="142" y="495"/>
                    <a:pt x="142" y="495"/>
                  </a:cubicBezTo>
                  <a:cubicBezTo>
                    <a:pt x="142" y="515"/>
                    <a:pt x="142" y="515"/>
                    <a:pt x="142" y="515"/>
                  </a:cubicBezTo>
                  <a:cubicBezTo>
                    <a:pt x="122" y="519"/>
                    <a:pt x="122" y="519"/>
                    <a:pt x="122" y="519"/>
                  </a:cubicBezTo>
                  <a:cubicBezTo>
                    <a:pt x="110" y="547"/>
                    <a:pt x="110" y="547"/>
                    <a:pt x="110" y="547"/>
                  </a:cubicBezTo>
                  <a:cubicBezTo>
                    <a:pt x="82" y="548"/>
                    <a:pt x="82" y="548"/>
                    <a:pt x="82" y="548"/>
                  </a:cubicBezTo>
                  <a:cubicBezTo>
                    <a:pt x="81" y="554"/>
                    <a:pt x="81" y="554"/>
                    <a:pt x="81" y="554"/>
                  </a:cubicBezTo>
                  <a:cubicBezTo>
                    <a:pt x="62" y="563"/>
                    <a:pt x="62" y="563"/>
                    <a:pt x="62" y="563"/>
                  </a:cubicBezTo>
                  <a:cubicBezTo>
                    <a:pt x="62" y="579"/>
                    <a:pt x="62" y="579"/>
                    <a:pt x="62" y="579"/>
                  </a:cubicBezTo>
                  <a:cubicBezTo>
                    <a:pt x="41" y="588"/>
                    <a:pt x="41" y="588"/>
                    <a:pt x="41" y="588"/>
                  </a:cubicBezTo>
                  <a:cubicBezTo>
                    <a:pt x="54" y="640"/>
                    <a:pt x="54" y="640"/>
                    <a:pt x="54" y="640"/>
                  </a:cubicBezTo>
                  <a:lnTo>
                    <a:pt x="68" y="647"/>
                  </a:lnTo>
                  <a:close/>
                </a:path>
              </a:pathLst>
            </a:custGeom>
            <a:solidFill>
              <a:srgbClr val="F4F3F0"/>
            </a:solid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grpSp>
      <p:pic>
        <p:nvPicPr>
          <p:cNvPr id="59" name="Graphique 58" descr="Utilisateur">
            <a:extLst>
              <a:ext uri="{FF2B5EF4-FFF2-40B4-BE49-F238E27FC236}">
                <a16:creationId xmlns:a16="http://schemas.microsoft.com/office/drawing/2014/main" id="{BCF539CA-033C-4E53-AA11-C9F1D57FD99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62600" y="918286"/>
            <a:ext cx="343642" cy="343642"/>
          </a:xfrm>
          <a:prstGeom prst="rect">
            <a:avLst/>
          </a:prstGeom>
        </p:spPr>
      </p:pic>
      <p:pic>
        <p:nvPicPr>
          <p:cNvPr id="60" name="Graphique 59" descr="Enfants">
            <a:extLst>
              <a:ext uri="{FF2B5EF4-FFF2-40B4-BE49-F238E27FC236}">
                <a16:creationId xmlns:a16="http://schemas.microsoft.com/office/drawing/2014/main" id="{D039143E-4976-4C18-9C94-0BA53EE64FF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82720" y="929748"/>
            <a:ext cx="357605" cy="357605"/>
          </a:xfrm>
          <a:prstGeom prst="rect">
            <a:avLst/>
          </a:prstGeom>
        </p:spPr>
      </p:pic>
      <p:pic>
        <p:nvPicPr>
          <p:cNvPr id="61" name="Graphique 60" descr="Hôpital">
            <a:extLst>
              <a:ext uri="{FF2B5EF4-FFF2-40B4-BE49-F238E27FC236}">
                <a16:creationId xmlns:a16="http://schemas.microsoft.com/office/drawing/2014/main" id="{5A6293E0-A850-432A-AEC2-55244F91F50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01315" y="898323"/>
            <a:ext cx="377667" cy="377667"/>
          </a:xfrm>
          <a:prstGeom prst="rect">
            <a:avLst/>
          </a:prstGeom>
        </p:spPr>
      </p:pic>
      <p:sp>
        <p:nvSpPr>
          <p:cNvPr id="71" name="ZoneTexte 70">
            <a:extLst>
              <a:ext uri="{FF2B5EF4-FFF2-40B4-BE49-F238E27FC236}">
                <a16:creationId xmlns:a16="http://schemas.microsoft.com/office/drawing/2014/main" id="{95275340-2C5E-4AB7-8968-428537133200}"/>
              </a:ext>
            </a:extLst>
          </p:cNvPr>
          <p:cNvSpPr txBox="1"/>
          <p:nvPr/>
        </p:nvSpPr>
        <p:spPr>
          <a:xfrm>
            <a:off x="3506076" y="959276"/>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ublic cible</a:t>
            </a:r>
          </a:p>
          <a:p>
            <a:pPr marL="171450" indent="-171450">
              <a:buFontTx/>
              <a:buChar char="-"/>
            </a:pPr>
            <a:endParaRPr lang="fr-FR" sz="1200">
              <a:solidFill>
                <a:srgbClr val="5F5F5F"/>
              </a:solidFill>
              <a:latin typeface="Tahoma"/>
            </a:endParaRPr>
          </a:p>
        </p:txBody>
      </p:sp>
      <p:sp>
        <p:nvSpPr>
          <p:cNvPr id="72" name="Rectangle 71">
            <a:extLst>
              <a:ext uri="{FF2B5EF4-FFF2-40B4-BE49-F238E27FC236}">
                <a16:creationId xmlns:a16="http://schemas.microsoft.com/office/drawing/2014/main" id="{CF33C1E5-DDE1-4156-A8BA-4E287E034C81}"/>
              </a:ext>
            </a:extLst>
          </p:cNvPr>
          <p:cNvSpPr/>
          <p:nvPr/>
        </p:nvSpPr>
        <p:spPr>
          <a:xfrm>
            <a:off x="3041222" y="920243"/>
            <a:ext cx="2566378"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3" name="Rectangle 72">
            <a:extLst>
              <a:ext uri="{FF2B5EF4-FFF2-40B4-BE49-F238E27FC236}">
                <a16:creationId xmlns:a16="http://schemas.microsoft.com/office/drawing/2014/main" id="{E85DFD2B-8AE0-4AEF-971A-2B7DB41E3803}"/>
              </a:ext>
            </a:extLst>
          </p:cNvPr>
          <p:cNvSpPr/>
          <p:nvPr/>
        </p:nvSpPr>
        <p:spPr>
          <a:xfrm>
            <a:off x="8329059" y="918287"/>
            <a:ext cx="2630482" cy="1028237"/>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4" name="ZoneTexte 73">
            <a:extLst>
              <a:ext uri="{FF2B5EF4-FFF2-40B4-BE49-F238E27FC236}">
                <a16:creationId xmlns:a16="http://schemas.microsoft.com/office/drawing/2014/main" id="{77576367-5766-4A85-8CC6-3A325240D7B8}"/>
              </a:ext>
            </a:extLst>
          </p:cNvPr>
          <p:cNvSpPr txBox="1"/>
          <p:nvPr/>
        </p:nvSpPr>
        <p:spPr>
          <a:xfrm>
            <a:off x="8699428" y="963457"/>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ortage / gestion du projet </a:t>
            </a:r>
          </a:p>
          <a:p>
            <a:pPr marL="171450" indent="-171450">
              <a:buFontTx/>
              <a:buChar char="-"/>
            </a:pPr>
            <a:endParaRPr lang="fr-FR" sz="1200">
              <a:solidFill>
                <a:srgbClr val="5F5F5F"/>
              </a:solidFill>
              <a:latin typeface="Tahoma"/>
            </a:endParaRPr>
          </a:p>
        </p:txBody>
      </p:sp>
      <p:sp>
        <p:nvSpPr>
          <p:cNvPr id="76" name="Rectangle 75">
            <a:extLst>
              <a:ext uri="{FF2B5EF4-FFF2-40B4-BE49-F238E27FC236}">
                <a16:creationId xmlns:a16="http://schemas.microsoft.com/office/drawing/2014/main" id="{DEA056E4-366B-4B6E-AD2A-2A7DACC2777B}"/>
              </a:ext>
            </a:extLst>
          </p:cNvPr>
          <p:cNvSpPr/>
          <p:nvPr/>
        </p:nvSpPr>
        <p:spPr>
          <a:xfrm>
            <a:off x="5657842" y="920242"/>
            <a:ext cx="2630482" cy="1026282"/>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7" name="ZoneTexte 76">
            <a:extLst>
              <a:ext uri="{FF2B5EF4-FFF2-40B4-BE49-F238E27FC236}">
                <a16:creationId xmlns:a16="http://schemas.microsoft.com/office/drawing/2014/main" id="{9B3B4E4E-968C-4AC1-A916-2CB2CBC81062}"/>
              </a:ext>
            </a:extLst>
          </p:cNvPr>
          <p:cNvSpPr txBox="1"/>
          <p:nvPr/>
        </p:nvSpPr>
        <p:spPr>
          <a:xfrm>
            <a:off x="6045885" y="987123"/>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Typologie de structure</a:t>
            </a:r>
          </a:p>
          <a:p>
            <a:pPr marL="171450" indent="-171450">
              <a:buFontTx/>
              <a:buChar char="-"/>
            </a:pPr>
            <a:endParaRPr lang="fr-FR" sz="1200">
              <a:solidFill>
                <a:srgbClr val="5F5F5F"/>
              </a:solidFill>
              <a:latin typeface="Tahoma"/>
            </a:endParaRPr>
          </a:p>
        </p:txBody>
      </p:sp>
      <p:sp>
        <p:nvSpPr>
          <p:cNvPr id="78" name="ZoneTexte 77">
            <a:extLst>
              <a:ext uri="{FF2B5EF4-FFF2-40B4-BE49-F238E27FC236}">
                <a16:creationId xmlns:a16="http://schemas.microsoft.com/office/drawing/2014/main" id="{96B574C6-E211-4064-9944-5448EE32BE54}"/>
              </a:ext>
            </a:extLst>
          </p:cNvPr>
          <p:cNvSpPr txBox="1"/>
          <p:nvPr/>
        </p:nvSpPr>
        <p:spPr>
          <a:xfrm>
            <a:off x="3023258" y="1273236"/>
            <a:ext cx="2583508" cy="595356"/>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Enfants et adultes présentant une maladie ou un handicap neuromoteur et leurs aidants</a:t>
            </a:r>
          </a:p>
        </p:txBody>
      </p:sp>
      <p:sp>
        <p:nvSpPr>
          <p:cNvPr id="79" name="ZoneTexte 78">
            <a:extLst>
              <a:ext uri="{FF2B5EF4-FFF2-40B4-BE49-F238E27FC236}">
                <a16:creationId xmlns:a16="http://schemas.microsoft.com/office/drawing/2014/main" id="{201EC015-8921-47D5-8EEB-4F8E037742E5}"/>
              </a:ext>
            </a:extLst>
          </p:cNvPr>
          <p:cNvSpPr txBox="1"/>
          <p:nvPr/>
        </p:nvSpPr>
        <p:spPr>
          <a:xfrm>
            <a:off x="5647501" y="1260959"/>
            <a:ext cx="2674364" cy="595356"/>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ESMS (loi du 2 janvier 2022) adossé à un FAM (les Hauts de </a:t>
            </a:r>
            <a:r>
              <a:rPr lang="fr-FR" sz="1050" err="1">
                <a:solidFill>
                  <a:srgbClr val="5F5F5F"/>
                </a:solidFill>
                <a:latin typeface="Tahoma"/>
              </a:rPr>
              <a:t>Versac</a:t>
            </a:r>
            <a:r>
              <a:rPr lang="fr-FR" sz="1050">
                <a:solidFill>
                  <a:srgbClr val="5F5F5F"/>
                </a:solidFill>
                <a:latin typeface="Tahoma"/>
              </a:rPr>
              <a:t>) géré par l'association </a:t>
            </a:r>
            <a:r>
              <a:rPr lang="fr-FR" sz="1050" err="1">
                <a:solidFill>
                  <a:srgbClr val="5F5F5F"/>
                </a:solidFill>
                <a:latin typeface="Tahoma"/>
              </a:rPr>
              <a:t>Odynéo</a:t>
            </a:r>
            <a:r>
              <a:rPr lang="fr-FR" sz="1050">
                <a:solidFill>
                  <a:srgbClr val="5F5F5F"/>
                </a:solidFill>
                <a:latin typeface="Tahoma"/>
              </a:rPr>
              <a:t>, ouverte en 2014</a:t>
            </a:r>
          </a:p>
        </p:txBody>
      </p:sp>
      <p:sp>
        <p:nvSpPr>
          <p:cNvPr id="80" name="ZoneTexte 79">
            <a:extLst>
              <a:ext uri="{FF2B5EF4-FFF2-40B4-BE49-F238E27FC236}">
                <a16:creationId xmlns:a16="http://schemas.microsoft.com/office/drawing/2014/main" id="{D486C829-4B6E-4981-9B49-72041AC2853F}"/>
              </a:ext>
            </a:extLst>
          </p:cNvPr>
          <p:cNvSpPr txBox="1"/>
          <p:nvPr/>
        </p:nvSpPr>
        <p:spPr>
          <a:xfrm>
            <a:off x="8328204" y="1263641"/>
            <a:ext cx="2734774" cy="595356"/>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Portage par un GCSMS associant l'AFSEP, l'AFM Téléthon et </a:t>
            </a:r>
            <a:r>
              <a:rPr lang="fr-FR" sz="1050" err="1">
                <a:solidFill>
                  <a:srgbClr val="5F5F5F"/>
                </a:solidFill>
                <a:latin typeface="Tahoma"/>
              </a:rPr>
              <a:t>Odynéo</a:t>
            </a:r>
            <a:r>
              <a:rPr lang="fr-FR" sz="1050">
                <a:solidFill>
                  <a:srgbClr val="5F5F5F"/>
                </a:solidFill>
                <a:latin typeface="Tahoma"/>
              </a:rPr>
              <a:t> (gestionnaire d'ESMS)</a:t>
            </a:r>
          </a:p>
        </p:txBody>
      </p:sp>
      <p:sp>
        <p:nvSpPr>
          <p:cNvPr id="31" name="ZoneTexte 30">
            <a:extLst>
              <a:ext uri="{FF2B5EF4-FFF2-40B4-BE49-F238E27FC236}">
                <a16:creationId xmlns:a16="http://schemas.microsoft.com/office/drawing/2014/main" id="{C39631CE-B746-44D2-AD28-BE401BB99C89}"/>
              </a:ext>
            </a:extLst>
          </p:cNvPr>
          <p:cNvSpPr txBox="1"/>
          <p:nvPr/>
        </p:nvSpPr>
        <p:spPr>
          <a:xfrm>
            <a:off x="2624667" y="2508140"/>
            <a:ext cx="3376602" cy="553457"/>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6" name="ZoneTexte 115">
            <a:extLst>
              <a:ext uri="{FF2B5EF4-FFF2-40B4-BE49-F238E27FC236}">
                <a16:creationId xmlns:a16="http://schemas.microsoft.com/office/drawing/2014/main" id="{5841F24B-1AD4-488A-A365-BF5647BD2308}"/>
              </a:ext>
            </a:extLst>
          </p:cNvPr>
          <p:cNvSpPr txBox="1"/>
          <p:nvPr/>
        </p:nvSpPr>
        <p:spPr>
          <a:xfrm>
            <a:off x="2634653" y="4743753"/>
            <a:ext cx="3366617" cy="1700660"/>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7" name="ZoneTexte 116">
            <a:extLst>
              <a:ext uri="{FF2B5EF4-FFF2-40B4-BE49-F238E27FC236}">
                <a16:creationId xmlns:a16="http://schemas.microsoft.com/office/drawing/2014/main" id="{EF317FFF-EA6E-44C5-B24E-8AE03952F5E8}"/>
              </a:ext>
            </a:extLst>
          </p:cNvPr>
          <p:cNvSpPr txBox="1"/>
          <p:nvPr/>
        </p:nvSpPr>
        <p:spPr>
          <a:xfrm>
            <a:off x="2624667" y="3134928"/>
            <a:ext cx="3376602" cy="1548075"/>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20" name="Rectangle 119">
            <a:extLst>
              <a:ext uri="{FF2B5EF4-FFF2-40B4-BE49-F238E27FC236}">
                <a16:creationId xmlns:a16="http://schemas.microsoft.com/office/drawing/2014/main" id="{5A8580EE-0AD3-4053-A66F-58A5DE5D3476}"/>
              </a:ext>
            </a:extLst>
          </p:cNvPr>
          <p:cNvSpPr/>
          <p:nvPr/>
        </p:nvSpPr>
        <p:spPr>
          <a:xfrm>
            <a:off x="1254009" y="2059375"/>
            <a:ext cx="4825165" cy="4434773"/>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21" name="ZoneTexte 120">
            <a:extLst>
              <a:ext uri="{FF2B5EF4-FFF2-40B4-BE49-F238E27FC236}">
                <a16:creationId xmlns:a16="http://schemas.microsoft.com/office/drawing/2014/main" id="{E5F58253-D1BD-4954-81FE-7B8DBC05FC92}"/>
              </a:ext>
            </a:extLst>
          </p:cNvPr>
          <p:cNvSpPr txBox="1"/>
          <p:nvPr/>
        </p:nvSpPr>
        <p:spPr>
          <a:xfrm>
            <a:off x="1254009" y="2080425"/>
            <a:ext cx="4815764" cy="307777"/>
          </a:xfrm>
          <a:prstGeom prst="rect">
            <a:avLst/>
          </a:prstGeom>
          <a:solidFill>
            <a:srgbClr val="B0ADCC"/>
          </a:solidFill>
          <a:ln>
            <a:noFill/>
          </a:ln>
        </p:spPr>
        <p:txBody>
          <a:bodyPr wrap="square" lIns="108000" rIns="108000" rtlCol="0">
            <a:spAutoFit/>
          </a:bodyPr>
          <a:lstStyle/>
          <a:p>
            <a:pPr algn="ctr"/>
            <a:r>
              <a:rPr lang="fr-FR" sz="1400" b="1">
                <a:solidFill>
                  <a:srgbClr val="FFFFFF"/>
                </a:solidFill>
                <a:latin typeface="Tahoma"/>
              </a:rPr>
              <a:t>Modèle opérationnel </a:t>
            </a:r>
          </a:p>
        </p:txBody>
      </p:sp>
      <p:sp>
        <p:nvSpPr>
          <p:cNvPr id="122" name="Rectangle 121">
            <a:extLst>
              <a:ext uri="{FF2B5EF4-FFF2-40B4-BE49-F238E27FC236}">
                <a16:creationId xmlns:a16="http://schemas.microsoft.com/office/drawing/2014/main" id="{EEE3ADDF-8F40-48B9-AE5E-299C1C497490}"/>
              </a:ext>
            </a:extLst>
          </p:cNvPr>
          <p:cNvSpPr/>
          <p:nvPr/>
        </p:nvSpPr>
        <p:spPr>
          <a:xfrm>
            <a:off x="6122614" y="2059375"/>
            <a:ext cx="4824000" cy="4434773"/>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23" name="ZoneTexte 122">
            <a:extLst>
              <a:ext uri="{FF2B5EF4-FFF2-40B4-BE49-F238E27FC236}">
                <a16:creationId xmlns:a16="http://schemas.microsoft.com/office/drawing/2014/main" id="{A32D682C-0E70-4C6A-98EA-32C315F12098}"/>
              </a:ext>
            </a:extLst>
          </p:cNvPr>
          <p:cNvSpPr txBox="1"/>
          <p:nvPr/>
        </p:nvSpPr>
        <p:spPr>
          <a:xfrm>
            <a:off x="6135540" y="2080426"/>
            <a:ext cx="4824000" cy="307777"/>
          </a:xfrm>
          <a:prstGeom prst="rect">
            <a:avLst/>
          </a:prstGeom>
          <a:solidFill>
            <a:srgbClr val="B24669"/>
          </a:solidFill>
          <a:ln>
            <a:noFill/>
          </a:ln>
        </p:spPr>
        <p:txBody>
          <a:bodyPr wrap="square" lIns="108000" rIns="108000" rtlCol="0">
            <a:spAutoFit/>
          </a:bodyPr>
          <a:lstStyle/>
          <a:p>
            <a:pPr algn="ctr"/>
            <a:r>
              <a:rPr lang="fr-FR" sz="1400" b="1">
                <a:solidFill>
                  <a:srgbClr val="FFFFFF"/>
                </a:solidFill>
                <a:latin typeface="Tahoma"/>
              </a:rPr>
              <a:t>Modèle économique </a:t>
            </a:r>
          </a:p>
        </p:txBody>
      </p:sp>
      <p:sp>
        <p:nvSpPr>
          <p:cNvPr id="124" name="ZoneTexte 123">
            <a:extLst>
              <a:ext uri="{FF2B5EF4-FFF2-40B4-BE49-F238E27FC236}">
                <a16:creationId xmlns:a16="http://schemas.microsoft.com/office/drawing/2014/main" id="{A49BC405-C11B-485E-BB12-6EA8FA6FC408}"/>
              </a:ext>
            </a:extLst>
          </p:cNvPr>
          <p:cNvSpPr txBox="1"/>
          <p:nvPr/>
        </p:nvSpPr>
        <p:spPr>
          <a:xfrm>
            <a:off x="2620265" y="2560804"/>
            <a:ext cx="3292679" cy="422488"/>
          </a:xfrm>
          <a:prstGeom prst="rect">
            <a:avLst/>
          </a:prstGeom>
          <a:noFill/>
          <a:ln>
            <a:noFill/>
          </a:ln>
        </p:spPr>
        <p:txBody>
          <a:bodyPr wrap="square" lIns="108000" rIns="108000" rtlCol="0">
            <a:spAutoFit/>
          </a:bodyPr>
          <a:lstStyle/>
          <a:p>
            <a:pPr marL="171450" indent="-171450" algn="just">
              <a:lnSpc>
                <a:spcPct val="107000"/>
              </a:lnSpc>
              <a:spcAft>
                <a:spcPts val="800"/>
              </a:spcAft>
              <a:buClr>
                <a:srgbClr val="503078"/>
              </a:buClr>
              <a:buFont typeface="Tahoma" panose="020B0604030504040204" pitchFamily="34" charset="0"/>
              <a:buChar char="⁄"/>
            </a:pPr>
            <a:r>
              <a:rPr lang="fr-FR" sz="1000">
                <a:solidFill>
                  <a:srgbClr val="5F5F5F"/>
                </a:solidFill>
                <a:latin typeface="Tahoma"/>
              </a:rPr>
              <a:t>16 chalets pour 2 à 6 personnes - 18 places d’AT (12 places adultes, 6 places enfants)</a:t>
            </a:r>
          </a:p>
        </p:txBody>
      </p:sp>
      <p:sp>
        <p:nvSpPr>
          <p:cNvPr id="126" name="ZoneTexte 125">
            <a:extLst>
              <a:ext uri="{FF2B5EF4-FFF2-40B4-BE49-F238E27FC236}">
                <a16:creationId xmlns:a16="http://schemas.microsoft.com/office/drawing/2014/main" id="{B49F6C26-2A8B-4C21-A64B-9E4007B97392}"/>
              </a:ext>
            </a:extLst>
          </p:cNvPr>
          <p:cNvSpPr txBox="1"/>
          <p:nvPr/>
        </p:nvSpPr>
        <p:spPr>
          <a:xfrm>
            <a:off x="2629660" y="4963998"/>
            <a:ext cx="3366617" cy="1142429"/>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Restauration non-assurée pour les personnes accompagnées (kitchenette dans les chalets), possibilité de restauration en livraison à domicile pour les personnes seule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nimation : activités encadrées et organisée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Service de ménage, laverie en self-service, courrier</a:t>
            </a:r>
          </a:p>
        </p:txBody>
      </p:sp>
      <p:sp>
        <p:nvSpPr>
          <p:cNvPr id="128" name="ZoneTexte 127">
            <a:extLst>
              <a:ext uri="{FF2B5EF4-FFF2-40B4-BE49-F238E27FC236}">
                <a16:creationId xmlns:a16="http://schemas.microsoft.com/office/drawing/2014/main" id="{D0B66643-80F9-42D8-8F09-B693AF7FBBCB}"/>
              </a:ext>
            </a:extLst>
          </p:cNvPr>
          <p:cNvSpPr txBox="1"/>
          <p:nvPr/>
        </p:nvSpPr>
        <p:spPr>
          <a:xfrm>
            <a:off x="2629904" y="3192105"/>
            <a:ext cx="3376359" cy="1384033"/>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quipements adaptés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ccompagnement aux actes de la vie quotidienne</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ermanence des soins sur prescription / dossier médical</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quipe soignante composée d’infirmiers et d’A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ccompagnement psychologique proposé aux aidants</a:t>
            </a:r>
          </a:p>
        </p:txBody>
      </p:sp>
      <p:sp>
        <p:nvSpPr>
          <p:cNvPr id="129" name="ZoneTexte 128">
            <a:extLst>
              <a:ext uri="{FF2B5EF4-FFF2-40B4-BE49-F238E27FC236}">
                <a16:creationId xmlns:a16="http://schemas.microsoft.com/office/drawing/2014/main" id="{B5C29EF3-8432-4FB1-A08C-C8DFD0F770E0}"/>
              </a:ext>
            </a:extLst>
          </p:cNvPr>
          <p:cNvSpPr txBox="1"/>
          <p:nvPr/>
        </p:nvSpPr>
        <p:spPr>
          <a:xfrm>
            <a:off x="6189871" y="2508140"/>
            <a:ext cx="3736745" cy="553457"/>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130" name="ZoneTexte 129">
            <a:extLst>
              <a:ext uri="{FF2B5EF4-FFF2-40B4-BE49-F238E27FC236}">
                <a16:creationId xmlns:a16="http://schemas.microsoft.com/office/drawing/2014/main" id="{C51512ED-D218-4E3C-8049-02770EADD196}"/>
              </a:ext>
            </a:extLst>
          </p:cNvPr>
          <p:cNvSpPr txBox="1"/>
          <p:nvPr/>
        </p:nvSpPr>
        <p:spPr>
          <a:xfrm>
            <a:off x="6179121" y="3135394"/>
            <a:ext cx="3743057" cy="911798"/>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pic>
        <p:nvPicPr>
          <p:cNvPr id="35" name="Graphique 34" descr="Logement avec un remplissage uni">
            <a:extLst>
              <a:ext uri="{FF2B5EF4-FFF2-40B4-BE49-F238E27FC236}">
                <a16:creationId xmlns:a16="http://schemas.microsoft.com/office/drawing/2014/main" id="{71FC271C-D2ED-4AF0-8123-6C7A28C751C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19351" y="2591112"/>
            <a:ext cx="447721" cy="447721"/>
          </a:xfrm>
          <a:prstGeom prst="rect">
            <a:avLst/>
          </a:prstGeom>
        </p:spPr>
      </p:pic>
      <p:sp>
        <p:nvSpPr>
          <p:cNvPr id="131" name="ZoneTexte 130">
            <a:extLst>
              <a:ext uri="{FF2B5EF4-FFF2-40B4-BE49-F238E27FC236}">
                <a16:creationId xmlns:a16="http://schemas.microsoft.com/office/drawing/2014/main" id="{1C14C040-B2C5-440C-B7E3-1882123D0301}"/>
              </a:ext>
            </a:extLst>
          </p:cNvPr>
          <p:cNvSpPr txBox="1"/>
          <p:nvPr/>
        </p:nvSpPr>
        <p:spPr>
          <a:xfrm>
            <a:off x="9948430" y="2423330"/>
            <a:ext cx="1092555" cy="446276"/>
          </a:xfrm>
          <a:prstGeom prst="rect">
            <a:avLst/>
          </a:prstGeom>
          <a:noFill/>
          <a:ln>
            <a:noFill/>
          </a:ln>
        </p:spPr>
        <p:txBody>
          <a:bodyPr wrap="square" lIns="108000" rIns="108000" rtlCol="0">
            <a:spAutoFit/>
          </a:bodyPr>
          <a:lstStyle/>
          <a:p>
            <a:pPr algn="ctr"/>
            <a:r>
              <a:rPr lang="fr-FR" sz="1100" b="1">
                <a:solidFill>
                  <a:srgbClr val="B24669"/>
                </a:solidFill>
                <a:latin typeface="Tahoma"/>
              </a:rPr>
              <a:t>Immobilier</a:t>
            </a:r>
          </a:p>
          <a:p>
            <a:pPr marL="171450" indent="-171450" algn="ctr">
              <a:buFontTx/>
              <a:buChar char="-"/>
            </a:pPr>
            <a:endParaRPr lang="fr-FR" sz="1200">
              <a:solidFill>
                <a:srgbClr val="B24669"/>
              </a:solidFill>
              <a:latin typeface="Tahoma"/>
            </a:endParaRPr>
          </a:p>
        </p:txBody>
      </p:sp>
      <p:sp>
        <p:nvSpPr>
          <p:cNvPr id="133" name="ZoneTexte 132">
            <a:extLst>
              <a:ext uri="{FF2B5EF4-FFF2-40B4-BE49-F238E27FC236}">
                <a16:creationId xmlns:a16="http://schemas.microsoft.com/office/drawing/2014/main" id="{B210A790-ECF0-4619-A27B-B52AFCD222D8}"/>
              </a:ext>
            </a:extLst>
          </p:cNvPr>
          <p:cNvSpPr txBox="1"/>
          <p:nvPr/>
        </p:nvSpPr>
        <p:spPr>
          <a:xfrm>
            <a:off x="6146429" y="2493061"/>
            <a:ext cx="3650012" cy="571503"/>
          </a:xfrm>
          <a:prstGeom prst="rect">
            <a:avLst/>
          </a:prstGeom>
          <a:noFill/>
          <a:ln>
            <a:noFill/>
          </a:ln>
        </p:spPr>
        <p:txBody>
          <a:bodyPr wrap="square" lIns="108000" rIns="108000" rtlCol="0">
            <a:spAutoFit/>
          </a:bodyPr>
          <a:lstStyle/>
          <a:p>
            <a:pPr marL="171450" indent="-171450" algn="just">
              <a:lnSpc>
                <a:spcPct val="107000"/>
              </a:lnSpc>
              <a:spcAft>
                <a:spcPts val="800"/>
              </a:spcAft>
              <a:buClr>
                <a:srgbClr val="503078"/>
              </a:buClr>
              <a:buFont typeface="Tahoma" panose="020B0604030504040204" pitchFamily="34" charset="0"/>
              <a:buChar char="⁄"/>
            </a:pPr>
            <a:r>
              <a:rPr lang="fr-FR" sz="1000">
                <a:solidFill>
                  <a:srgbClr val="5F5F5F"/>
                </a:solidFill>
                <a:latin typeface="Tahoma"/>
              </a:rPr>
              <a:t>Don du foncier / réhabilitation financée par des dons récoltés par l'AFM et l'AFSEP dans le cadre d'une expérimentation pour l'accueil du couple aidant / aidé</a:t>
            </a:r>
          </a:p>
        </p:txBody>
      </p:sp>
      <p:sp>
        <p:nvSpPr>
          <p:cNvPr id="134" name="ZoneTexte 133">
            <a:extLst>
              <a:ext uri="{FF2B5EF4-FFF2-40B4-BE49-F238E27FC236}">
                <a16:creationId xmlns:a16="http://schemas.microsoft.com/office/drawing/2014/main" id="{12CB5D0E-D3B7-4457-B3F8-7B85794AC4B0}"/>
              </a:ext>
            </a:extLst>
          </p:cNvPr>
          <p:cNvSpPr txBox="1"/>
          <p:nvPr/>
        </p:nvSpPr>
        <p:spPr>
          <a:xfrm>
            <a:off x="9948430" y="3173065"/>
            <a:ext cx="998185"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Frais de </a:t>
            </a:r>
            <a:r>
              <a:rPr lang="fr-FR" sz="1100" b="1" err="1">
                <a:solidFill>
                  <a:srgbClr val="B24669"/>
                </a:solidFill>
                <a:latin typeface="Tahoma"/>
              </a:rPr>
              <a:t>fonct</a:t>
            </a:r>
            <a:r>
              <a:rPr lang="fr-FR" sz="1100" b="1">
                <a:solidFill>
                  <a:srgbClr val="B24669"/>
                </a:solidFill>
                <a:latin typeface="Tahoma"/>
              </a:rPr>
              <a:t>.</a:t>
            </a:r>
          </a:p>
        </p:txBody>
      </p:sp>
      <p:sp>
        <p:nvSpPr>
          <p:cNvPr id="135" name="ZoneTexte 134">
            <a:extLst>
              <a:ext uri="{FF2B5EF4-FFF2-40B4-BE49-F238E27FC236}">
                <a16:creationId xmlns:a16="http://schemas.microsoft.com/office/drawing/2014/main" id="{3DA739DB-3B5D-4A54-A299-C5AE798A7F11}"/>
              </a:ext>
            </a:extLst>
          </p:cNvPr>
          <p:cNvSpPr txBox="1"/>
          <p:nvPr/>
        </p:nvSpPr>
        <p:spPr>
          <a:xfrm>
            <a:off x="6152869" y="3191875"/>
            <a:ext cx="3739535" cy="774636"/>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Financement des 18 places d’AT par l'ARS et le département dans le cadre d'un CPOM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Mise à disposition du personnel médico-social de l’ESMS « les Hauts de </a:t>
            </a:r>
            <a:r>
              <a:rPr lang="fr-FR" sz="1000" err="1">
                <a:solidFill>
                  <a:srgbClr val="5F5F5F"/>
                </a:solidFill>
                <a:latin typeface="Tahoma"/>
              </a:rPr>
              <a:t>Versac</a:t>
            </a:r>
            <a:r>
              <a:rPr lang="fr-FR" sz="1000">
                <a:solidFill>
                  <a:srgbClr val="5F5F5F"/>
                </a:solidFill>
                <a:latin typeface="Tahoma"/>
              </a:rPr>
              <a:t> »</a:t>
            </a:r>
          </a:p>
        </p:txBody>
      </p:sp>
      <p:sp>
        <p:nvSpPr>
          <p:cNvPr id="136" name="ZoneTexte 135">
            <a:extLst>
              <a:ext uri="{FF2B5EF4-FFF2-40B4-BE49-F238E27FC236}">
                <a16:creationId xmlns:a16="http://schemas.microsoft.com/office/drawing/2014/main" id="{FEA48678-D157-4E80-9C77-987BDFAE3851}"/>
              </a:ext>
            </a:extLst>
          </p:cNvPr>
          <p:cNvSpPr txBox="1"/>
          <p:nvPr/>
        </p:nvSpPr>
        <p:spPr>
          <a:xfrm>
            <a:off x="6173317" y="4106957"/>
            <a:ext cx="3743057" cy="1620532"/>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38" name="ZoneTexte 137">
            <a:extLst>
              <a:ext uri="{FF2B5EF4-FFF2-40B4-BE49-F238E27FC236}">
                <a16:creationId xmlns:a16="http://schemas.microsoft.com/office/drawing/2014/main" id="{6C835C83-70AD-4C89-BF1E-C624BB9BC8DE}"/>
              </a:ext>
            </a:extLst>
          </p:cNvPr>
          <p:cNvSpPr txBox="1"/>
          <p:nvPr/>
        </p:nvSpPr>
        <p:spPr>
          <a:xfrm>
            <a:off x="1139155" y="6563388"/>
            <a:ext cx="9213727" cy="230832"/>
          </a:xfrm>
          <a:prstGeom prst="rect">
            <a:avLst/>
          </a:prstGeom>
          <a:solidFill>
            <a:schemeClr val="bg1"/>
          </a:solidFill>
        </p:spPr>
        <p:txBody>
          <a:bodyPr wrap="square">
            <a:spAutoFit/>
          </a:bodyPr>
          <a:lstStyle/>
          <a:p>
            <a:r>
              <a:rPr lang="fr-FR" sz="900">
                <a:solidFill>
                  <a:srgbClr val="5F5F5F"/>
                </a:solidFill>
                <a:latin typeface="Tahoma"/>
              </a:rPr>
              <a:t>* Prise en charge par l’Agirc-</a:t>
            </a:r>
            <a:r>
              <a:rPr lang="fr-FR" sz="900" err="1">
                <a:solidFill>
                  <a:srgbClr val="5F5F5F"/>
                </a:solidFill>
                <a:latin typeface="Tahoma"/>
              </a:rPr>
              <a:t>Arcco</a:t>
            </a:r>
            <a:r>
              <a:rPr lang="fr-FR" sz="900">
                <a:solidFill>
                  <a:srgbClr val="5F5F5F"/>
                </a:solidFill>
                <a:latin typeface="Tahoma"/>
              </a:rPr>
              <a:t> de 75 à 85% du tarif du premier séjour et de 50% à 70% du tarif du second (sur la base de 14 jours annuels aidant / aidé) + agrément ANCV </a:t>
            </a:r>
          </a:p>
        </p:txBody>
      </p:sp>
      <p:sp>
        <p:nvSpPr>
          <p:cNvPr id="139" name="Rectangle 138">
            <a:extLst>
              <a:ext uri="{FF2B5EF4-FFF2-40B4-BE49-F238E27FC236}">
                <a16:creationId xmlns:a16="http://schemas.microsoft.com/office/drawing/2014/main" id="{23DA1D13-F6FC-42CC-8CBC-A6643FFAA543}"/>
              </a:ext>
            </a:extLst>
          </p:cNvPr>
          <p:cNvSpPr/>
          <p:nvPr/>
        </p:nvSpPr>
        <p:spPr>
          <a:xfrm>
            <a:off x="1254009" y="923574"/>
            <a:ext cx="1728514"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40" name="ZoneTexte 139">
            <a:extLst>
              <a:ext uri="{FF2B5EF4-FFF2-40B4-BE49-F238E27FC236}">
                <a16:creationId xmlns:a16="http://schemas.microsoft.com/office/drawing/2014/main" id="{807D6A60-04F3-43BD-94C2-76626F2816C8}"/>
              </a:ext>
            </a:extLst>
          </p:cNvPr>
          <p:cNvSpPr txBox="1"/>
          <p:nvPr/>
        </p:nvSpPr>
        <p:spPr>
          <a:xfrm>
            <a:off x="9886835" y="4504810"/>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rifs / reste à charge</a:t>
            </a:r>
          </a:p>
        </p:txBody>
      </p:sp>
      <p:pic>
        <p:nvPicPr>
          <p:cNvPr id="41" name="Graphique 40" descr="Clé avec un remplissage uni">
            <a:extLst>
              <a:ext uri="{FF2B5EF4-FFF2-40B4-BE49-F238E27FC236}">
                <a16:creationId xmlns:a16="http://schemas.microsoft.com/office/drawing/2014/main" id="{1FC8698B-AB58-44D0-8399-B572FCCD65E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50546" y="6014161"/>
            <a:ext cx="436000" cy="436000"/>
          </a:xfrm>
          <a:prstGeom prst="rect">
            <a:avLst/>
          </a:prstGeom>
        </p:spPr>
      </p:pic>
      <p:sp>
        <p:nvSpPr>
          <p:cNvPr id="141" name="ZoneTexte 140">
            <a:extLst>
              <a:ext uri="{FF2B5EF4-FFF2-40B4-BE49-F238E27FC236}">
                <a16:creationId xmlns:a16="http://schemas.microsoft.com/office/drawing/2014/main" id="{F5949C22-DA6A-4317-99B2-B19975E52561}"/>
              </a:ext>
            </a:extLst>
          </p:cNvPr>
          <p:cNvSpPr txBox="1"/>
          <p:nvPr/>
        </p:nvSpPr>
        <p:spPr>
          <a:xfrm>
            <a:off x="9909908" y="5679030"/>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ux d’occupation</a:t>
            </a:r>
          </a:p>
        </p:txBody>
      </p:sp>
      <p:sp>
        <p:nvSpPr>
          <p:cNvPr id="142" name="ZoneTexte 141">
            <a:extLst>
              <a:ext uri="{FF2B5EF4-FFF2-40B4-BE49-F238E27FC236}">
                <a16:creationId xmlns:a16="http://schemas.microsoft.com/office/drawing/2014/main" id="{8F48A671-85C8-478F-BBC5-AA8E0839A27E}"/>
              </a:ext>
            </a:extLst>
          </p:cNvPr>
          <p:cNvSpPr txBox="1"/>
          <p:nvPr/>
        </p:nvSpPr>
        <p:spPr>
          <a:xfrm>
            <a:off x="6173317" y="5797423"/>
            <a:ext cx="3736591" cy="625187"/>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43" name="ZoneTexte 142">
            <a:extLst>
              <a:ext uri="{FF2B5EF4-FFF2-40B4-BE49-F238E27FC236}">
                <a16:creationId xmlns:a16="http://schemas.microsoft.com/office/drawing/2014/main" id="{7C801268-29AF-4A45-808B-18ADBF5B32BE}"/>
              </a:ext>
            </a:extLst>
          </p:cNvPr>
          <p:cNvSpPr txBox="1"/>
          <p:nvPr/>
        </p:nvSpPr>
        <p:spPr>
          <a:xfrm>
            <a:off x="6154089" y="5781130"/>
            <a:ext cx="3650756" cy="672300"/>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Durée moyenne de séjour : 14 jour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Taux d’occupation d’environ 70 – 80% sur l’année</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Des taux d’annulation à J-30 pouvant atteindre 15% </a:t>
            </a:r>
          </a:p>
        </p:txBody>
      </p:sp>
      <p:pic>
        <p:nvPicPr>
          <p:cNvPr id="146" name="Graphique 145" descr="Tirelire avec un remplissage uni">
            <a:extLst>
              <a:ext uri="{FF2B5EF4-FFF2-40B4-BE49-F238E27FC236}">
                <a16:creationId xmlns:a16="http://schemas.microsoft.com/office/drawing/2014/main" id="{AC1ADC52-5381-42E2-AC24-383BB036C6C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219350" y="3628704"/>
            <a:ext cx="514426" cy="514426"/>
          </a:xfrm>
          <a:prstGeom prst="rect">
            <a:avLst/>
          </a:prstGeom>
        </p:spPr>
      </p:pic>
      <p:sp>
        <p:nvSpPr>
          <p:cNvPr id="81" name="ZoneTexte 80">
            <a:extLst>
              <a:ext uri="{FF2B5EF4-FFF2-40B4-BE49-F238E27FC236}">
                <a16:creationId xmlns:a16="http://schemas.microsoft.com/office/drawing/2014/main" id="{B6B02541-4955-4889-BA74-FB46F4880E07}"/>
              </a:ext>
            </a:extLst>
          </p:cNvPr>
          <p:cNvSpPr txBox="1"/>
          <p:nvPr/>
        </p:nvSpPr>
        <p:spPr>
          <a:xfrm>
            <a:off x="1649904" y="1280644"/>
            <a:ext cx="1382254" cy="707886"/>
          </a:xfrm>
          <a:prstGeom prst="rect">
            <a:avLst/>
          </a:prstGeom>
          <a:noFill/>
        </p:spPr>
        <p:txBody>
          <a:bodyPr wrap="square" lIns="108000" rIns="108000" rtlCol="0">
            <a:spAutoFit/>
          </a:bodyPr>
          <a:lstStyle/>
          <a:p>
            <a:endParaRPr lang="fr-FR" sz="1000">
              <a:solidFill>
                <a:srgbClr val="5F5F5F"/>
              </a:solidFill>
              <a:latin typeface="Tahoma"/>
            </a:endParaRPr>
          </a:p>
          <a:p>
            <a:pPr algn="ctr"/>
            <a:r>
              <a:rPr lang="fr-FR" sz="1000" b="1">
                <a:solidFill>
                  <a:srgbClr val="503078"/>
                </a:solidFill>
                <a:latin typeface="Tahoma"/>
              </a:rPr>
              <a:t>VRF Les </a:t>
            </a:r>
            <a:r>
              <a:rPr lang="fr-FR" sz="1000" b="1" err="1">
                <a:solidFill>
                  <a:srgbClr val="503078"/>
                </a:solidFill>
                <a:latin typeface="Tahoma"/>
              </a:rPr>
              <a:t>Cizes</a:t>
            </a:r>
            <a:endParaRPr lang="fr-FR" sz="1000" b="1">
              <a:solidFill>
                <a:srgbClr val="503078"/>
              </a:solidFill>
              <a:latin typeface="Tahoma"/>
            </a:endParaRPr>
          </a:p>
          <a:p>
            <a:pPr algn="ctr"/>
            <a:r>
              <a:rPr lang="fr-FR" sz="1000">
                <a:solidFill>
                  <a:srgbClr val="5F5F5F"/>
                </a:solidFill>
                <a:latin typeface="Tahoma"/>
              </a:rPr>
              <a:t>Saint-Lupicin (39)</a:t>
            </a:r>
          </a:p>
          <a:p>
            <a:endParaRPr lang="fr-FR" sz="1000">
              <a:solidFill>
                <a:srgbClr val="5F5F5F"/>
              </a:solidFill>
              <a:latin typeface="Tahoma"/>
            </a:endParaRPr>
          </a:p>
        </p:txBody>
      </p:sp>
      <p:pic>
        <p:nvPicPr>
          <p:cNvPr id="82" name="Location-White-Background">
            <a:extLst>
              <a:ext uri="{FF2B5EF4-FFF2-40B4-BE49-F238E27FC236}">
                <a16:creationId xmlns:a16="http://schemas.microsoft.com/office/drawing/2014/main" id="{23FE517D-84D3-4474-804F-DE6049B1856D}"/>
              </a:ext>
            </a:extLst>
          </p:cNvPr>
          <p:cNvPicPr>
            <a:picLocks noChangeAspect="1"/>
          </p:cNvPicPr>
          <p:nvPr/>
        </p:nvPicPr>
        <p:blipFill>
          <a:blip r:embed="rId15" cstate="print">
            <a:extLst>
              <a:ext uri="{BEBA8EAE-BF5A-486C-A8C5-ECC9F3942E4B}">
                <a14:imgProps xmlns:a14="http://schemas.microsoft.com/office/drawing/2010/main">
                  <a14:imgLayer r:embed="rId16">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2216132" y="1268147"/>
            <a:ext cx="242960" cy="226717"/>
          </a:xfrm>
          <a:prstGeom prst="rect">
            <a:avLst/>
          </a:prstGeom>
        </p:spPr>
      </p:pic>
      <p:sp>
        <p:nvSpPr>
          <p:cNvPr id="86" name="ZoneTexte 85">
            <a:extLst>
              <a:ext uri="{FF2B5EF4-FFF2-40B4-BE49-F238E27FC236}">
                <a16:creationId xmlns:a16="http://schemas.microsoft.com/office/drawing/2014/main" id="{54650390-EFB3-4DC0-8880-157BFA99BEEE}"/>
              </a:ext>
            </a:extLst>
          </p:cNvPr>
          <p:cNvSpPr txBox="1"/>
          <p:nvPr/>
        </p:nvSpPr>
        <p:spPr>
          <a:xfrm>
            <a:off x="6150269" y="4156454"/>
            <a:ext cx="3776346" cy="1507529"/>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Frais d’AT pris en charge par l’Assurance Maladie dans la limite de 90 J/an, forfait journalier à la charge des familles (notification d’AT à obtenir auprès de la MDPH)</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Frais d’hébergement à la charge des familles*, définis en fonction de la saison : </a:t>
            </a:r>
          </a:p>
          <a:p>
            <a:pPr marL="357188" lvl="1" indent="-171450" algn="just">
              <a:lnSpc>
                <a:spcPct val="107000"/>
              </a:lnSpc>
              <a:spcAft>
                <a:spcPts val="300"/>
              </a:spcAft>
              <a:buClr>
                <a:srgbClr val="503078"/>
              </a:buClr>
              <a:buFont typeface="Wingdings" panose="05000000000000000000" pitchFamily="2" charset="2"/>
              <a:buChar char="§"/>
            </a:pPr>
            <a:r>
              <a:rPr lang="fr-FR" sz="800">
                <a:solidFill>
                  <a:srgbClr val="5F5F5F"/>
                </a:solidFill>
                <a:latin typeface="Tahoma"/>
              </a:rPr>
              <a:t>pour 8J/7N : de 450 € à 650€ pour la location de pavillons de 4 à 6 personnes ; de 350€ à 450€ pour la location de studio pour 2 personnes, de 720€ à 1280€ pour du multi-accueil, jusqu'à 11 personnes</a:t>
            </a:r>
          </a:p>
        </p:txBody>
      </p:sp>
      <p:pic>
        <p:nvPicPr>
          <p:cNvPr id="87" name="Graphique 86" descr="Pièces avec un remplissage uni">
            <a:extLst>
              <a:ext uri="{FF2B5EF4-FFF2-40B4-BE49-F238E27FC236}">
                <a16:creationId xmlns:a16="http://schemas.microsoft.com/office/drawing/2014/main" id="{E36EB7B4-4BA2-4FF6-ACD4-B3A837709EE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221531" y="4925679"/>
            <a:ext cx="457966" cy="457966"/>
          </a:xfrm>
          <a:prstGeom prst="rect">
            <a:avLst/>
          </a:prstGeom>
        </p:spPr>
      </p:pic>
      <p:pic>
        <p:nvPicPr>
          <p:cNvPr id="88" name="Graphique 87" descr="Dormir avec un remplissage uni">
            <a:extLst>
              <a:ext uri="{FF2B5EF4-FFF2-40B4-BE49-F238E27FC236}">
                <a16:creationId xmlns:a16="http://schemas.microsoft.com/office/drawing/2014/main" id="{3885E703-23D1-4E96-B3E9-125BE59605D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648462" y="2583744"/>
            <a:ext cx="565198" cy="565198"/>
          </a:xfrm>
          <a:prstGeom prst="rect">
            <a:avLst/>
          </a:prstGeom>
        </p:spPr>
      </p:pic>
      <p:pic>
        <p:nvPicPr>
          <p:cNvPr id="112" name="Graphique 111" descr="Trousse de premiers secours avec un remplissage uni">
            <a:extLst>
              <a:ext uri="{FF2B5EF4-FFF2-40B4-BE49-F238E27FC236}">
                <a16:creationId xmlns:a16="http://schemas.microsoft.com/office/drawing/2014/main" id="{BABF679D-6B68-4EAE-8F5F-49A89FC95E6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683132" y="3767866"/>
            <a:ext cx="557136" cy="557136"/>
          </a:xfrm>
          <a:prstGeom prst="rect">
            <a:avLst/>
          </a:prstGeom>
        </p:spPr>
      </p:pic>
      <p:pic>
        <p:nvPicPr>
          <p:cNvPr id="113" name="Graphique 112" descr="Assiette couverte avec un remplissage uni">
            <a:extLst>
              <a:ext uri="{FF2B5EF4-FFF2-40B4-BE49-F238E27FC236}">
                <a16:creationId xmlns:a16="http://schemas.microsoft.com/office/drawing/2014/main" id="{2BA1A4CD-6005-4D09-A4C4-8F674495CB45}"/>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641740" y="5428411"/>
            <a:ext cx="565199" cy="565199"/>
          </a:xfrm>
          <a:prstGeom prst="rect">
            <a:avLst/>
          </a:prstGeom>
        </p:spPr>
      </p:pic>
      <p:sp>
        <p:nvSpPr>
          <p:cNvPr id="118" name="ZoneTexte 117">
            <a:extLst>
              <a:ext uri="{FF2B5EF4-FFF2-40B4-BE49-F238E27FC236}">
                <a16:creationId xmlns:a16="http://schemas.microsoft.com/office/drawing/2014/main" id="{CD86626E-5177-477C-B522-EB2297875B3C}"/>
              </a:ext>
            </a:extLst>
          </p:cNvPr>
          <p:cNvSpPr txBox="1"/>
          <p:nvPr/>
        </p:nvSpPr>
        <p:spPr>
          <a:xfrm>
            <a:off x="1254007" y="2505800"/>
            <a:ext cx="1376242" cy="446276"/>
          </a:xfrm>
          <a:prstGeom prst="rect">
            <a:avLst/>
          </a:prstGeom>
          <a:noFill/>
          <a:ln>
            <a:noFill/>
          </a:ln>
        </p:spPr>
        <p:txBody>
          <a:bodyPr wrap="square" lIns="108000" rIns="108000" rtlCol="0">
            <a:spAutoFit/>
          </a:bodyPr>
          <a:lstStyle/>
          <a:p>
            <a:pPr algn="ctr"/>
            <a:r>
              <a:rPr lang="fr-FR" sz="1100" b="1">
                <a:solidFill>
                  <a:srgbClr val="B0ADCC"/>
                </a:solidFill>
                <a:latin typeface="Tahoma"/>
              </a:rPr>
              <a:t>Hébergement</a:t>
            </a:r>
          </a:p>
          <a:p>
            <a:pPr marL="171450" indent="-171450" algn="ctr">
              <a:buFontTx/>
              <a:buChar char="-"/>
            </a:pPr>
            <a:endParaRPr lang="fr-FR" sz="1200">
              <a:solidFill>
                <a:srgbClr val="B0ADCC"/>
              </a:solidFill>
              <a:latin typeface="Tahoma"/>
            </a:endParaRPr>
          </a:p>
        </p:txBody>
      </p:sp>
      <p:sp>
        <p:nvSpPr>
          <p:cNvPr id="119" name="ZoneTexte 118">
            <a:extLst>
              <a:ext uri="{FF2B5EF4-FFF2-40B4-BE49-F238E27FC236}">
                <a16:creationId xmlns:a16="http://schemas.microsoft.com/office/drawing/2014/main" id="{B9A8D836-C9FC-454C-87A5-FA3B4E507CEE}"/>
              </a:ext>
            </a:extLst>
          </p:cNvPr>
          <p:cNvSpPr txBox="1"/>
          <p:nvPr/>
        </p:nvSpPr>
        <p:spPr>
          <a:xfrm>
            <a:off x="1450733" y="5080169"/>
            <a:ext cx="965590" cy="430887"/>
          </a:xfrm>
          <a:prstGeom prst="rect">
            <a:avLst/>
          </a:prstGeom>
          <a:noFill/>
          <a:ln>
            <a:noFill/>
          </a:ln>
        </p:spPr>
        <p:txBody>
          <a:bodyPr wrap="square" lIns="108000" rIns="108000" rtlCol="0">
            <a:spAutoFit/>
          </a:bodyPr>
          <a:lstStyle/>
          <a:p>
            <a:pPr algn="ctr"/>
            <a:r>
              <a:rPr lang="fr-FR" sz="1100" b="1">
                <a:solidFill>
                  <a:srgbClr val="B0ADCC"/>
                </a:solidFill>
                <a:latin typeface="Tahoma"/>
              </a:rPr>
              <a:t>Services </a:t>
            </a:r>
          </a:p>
          <a:p>
            <a:pPr algn="ctr"/>
            <a:r>
              <a:rPr lang="fr-FR" sz="1100" b="1">
                <a:solidFill>
                  <a:srgbClr val="B0ADCC"/>
                </a:solidFill>
                <a:latin typeface="Tahoma"/>
              </a:rPr>
              <a:t>hôteliers </a:t>
            </a:r>
          </a:p>
        </p:txBody>
      </p:sp>
      <p:sp>
        <p:nvSpPr>
          <p:cNvPr id="125" name="ZoneTexte 124">
            <a:extLst>
              <a:ext uri="{FF2B5EF4-FFF2-40B4-BE49-F238E27FC236}">
                <a16:creationId xmlns:a16="http://schemas.microsoft.com/office/drawing/2014/main" id="{5A4E0D0E-CEBF-41D1-8D3D-FDF955F216AC}"/>
              </a:ext>
            </a:extLst>
          </p:cNvPr>
          <p:cNvSpPr txBox="1"/>
          <p:nvPr/>
        </p:nvSpPr>
        <p:spPr>
          <a:xfrm>
            <a:off x="1074928" y="3430882"/>
            <a:ext cx="1743708" cy="615553"/>
          </a:xfrm>
          <a:prstGeom prst="rect">
            <a:avLst/>
          </a:prstGeom>
          <a:noFill/>
          <a:ln>
            <a:noFill/>
          </a:ln>
        </p:spPr>
        <p:txBody>
          <a:bodyPr wrap="square" lIns="108000" rIns="108000" rtlCol="0">
            <a:spAutoFit/>
          </a:bodyPr>
          <a:lstStyle/>
          <a:p>
            <a:pPr algn="ctr"/>
            <a:r>
              <a:rPr lang="fr-FR" sz="1100" b="1">
                <a:solidFill>
                  <a:srgbClr val="B0ADCC"/>
                </a:solidFill>
                <a:latin typeface="Tahoma"/>
              </a:rPr>
              <a:t>Accompagnement médico-social</a:t>
            </a:r>
          </a:p>
          <a:p>
            <a:pPr marL="171450" indent="-171450" algn="ctr">
              <a:buFontTx/>
              <a:buChar char="-"/>
            </a:pPr>
            <a:endParaRPr lang="fr-FR" sz="1200">
              <a:solidFill>
                <a:srgbClr val="B0ADCC"/>
              </a:solidFill>
              <a:latin typeface="Tahoma"/>
            </a:endParaRPr>
          </a:p>
        </p:txBody>
      </p:sp>
    </p:spTree>
    <p:extLst>
      <p:ext uri="{BB962C8B-B14F-4D97-AF65-F5344CB8AC3E}">
        <p14:creationId xmlns:p14="http://schemas.microsoft.com/office/powerpoint/2010/main" val="4873127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DDB96D-5870-433E-8224-8BA70AB31D5A}"/>
              </a:ext>
            </a:extLst>
          </p:cNvPr>
          <p:cNvSpPr>
            <a:spLocks noGrp="1"/>
          </p:cNvSpPr>
          <p:nvPr>
            <p:ph type="title"/>
          </p:nvPr>
        </p:nvSpPr>
        <p:spPr/>
        <p:txBody>
          <a:bodyPr/>
          <a:lstStyle/>
          <a:p>
            <a:r>
              <a:rPr lang="fr-FR"/>
              <a:t>VRF La Salamandre</a:t>
            </a:r>
          </a:p>
        </p:txBody>
      </p:sp>
      <p:sp>
        <p:nvSpPr>
          <p:cNvPr id="3" name="Espace réservé du texte 2">
            <a:extLst>
              <a:ext uri="{FF2B5EF4-FFF2-40B4-BE49-F238E27FC236}">
                <a16:creationId xmlns:a16="http://schemas.microsoft.com/office/drawing/2014/main" id="{9C630387-01A6-4667-A171-E57EE95EAA8D}"/>
              </a:ext>
            </a:extLst>
          </p:cNvPr>
          <p:cNvSpPr>
            <a:spLocks noGrp="1"/>
          </p:cNvSpPr>
          <p:nvPr>
            <p:ph type="body" sz="quarter" idx="13"/>
          </p:nvPr>
        </p:nvSpPr>
        <p:spPr/>
        <p:txBody>
          <a:bodyPr/>
          <a:lstStyle/>
          <a:p>
            <a:r>
              <a:rPr lang="fr-FR"/>
              <a:t>fiches initiatives</a:t>
            </a:r>
          </a:p>
        </p:txBody>
      </p:sp>
      <p:pic>
        <p:nvPicPr>
          <p:cNvPr id="1026" name="Picture 2" descr="Accueil">
            <a:extLst>
              <a:ext uri="{FF2B5EF4-FFF2-40B4-BE49-F238E27FC236}">
                <a16:creationId xmlns:a16="http://schemas.microsoft.com/office/drawing/2014/main" id="{246FA698-26EA-47C7-B5AC-FC5B02C27AF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186" r="72972"/>
          <a:stretch/>
        </p:blipFill>
        <p:spPr bwMode="auto">
          <a:xfrm>
            <a:off x="9393576" y="91117"/>
            <a:ext cx="1309825" cy="698611"/>
          </a:xfrm>
          <a:prstGeom prst="rect">
            <a:avLst/>
          </a:prstGeom>
          <a:noFill/>
          <a:extLst>
            <a:ext uri="{909E8E84-426E-40DD-AFC4-6F175D3DCCD1}">
              <a14:hiddenFill xmlns:a14="http://schemas.microsoft.com/office/drawing/2010/main">
                <a:solidFill>
                  <a:srgbClr val="FFFFFF"/>
                </a:solidFill>
              </a14:hiddenFill>
            </a:ext>
          </a:extLst>
        </p:spPr>
      </p:pic>
      <p:grpSp>
        <p:nvGrpSpPr>
          <p:cNvPr id="89" name="Group 219">
            <a:extLst>
              <a:ext uri="{FF2B5EF4-FFF2-40B4-BE49-F238E27FC236}">
                <a16:creationId xmlns:a16="http://schemas.microsoft.com/office/drawing/2014/main" id="{23563D0E-A6E2-449B-BBEF-8098E393884C}"/>
              </a:ext>
            </a:extLst>
          </p:cNvPr>
          <p:cNvGrpSpPr>
            <a:grpSpLocks/>
          </p:cNvGrpSpPr>
          <p:nvPr/>
        </p:nvGrpSpPr>
        <p:grpSpPr bwMode="gray">
          <a:xfrm>
            <a:off x="1498106" y="972493"/>
            <a:ext cx="1015402" cy="933665"/>
            <a:chOff x="48" y="168"/>
            <a:chExt cx="3077" cy="3032"/>
          </a:xfrm>
          <a:solidFill>
            <a:schemeClr val="tx2"/>
          </a:solidFill>
          <a:effectLst>
            <a:outerShdw blurRad="127000" dist="50800" dir="2700000" algn="ctr" rotWithShape="0">
              <a:schemeClr val="tx1">
                <a:alpha val="40000"/>
              </a:schemeClr>
            </a:outerShdw>
          </a:effectLst>
        </p:grpSpPr>
        <p:sp>
          <p:nvSpPr>
            <p:cNvPr id="90" name="Nord-Pas-de-Calais" descr="© INSCALE GmbH, 05.05.2010&#10;http://www.presentationload.com/">
              <a:extLst>
                <a:ext uri="{FF2B5EF4-FFF2-40B4-BE49-F238E27FC236}">
                  <a16:creationId xmlns:a16="http://schemas.microsoft.com/office/drawing/2014/main" id="{AB720DBB-1E99-4155-8615-016531D8396C}"/>
                </a:ext>
              </a:extLst>
            </p:cNvPr>
            <p:cNvSpPr>
              <a:spLocks/>
            </p:cNvSpPr>
            <p:nvPr/>
          </p:nvSpPr>
          <p:spPr bwMode="gray">
            <a:xfrm>
              <a:off x="1600" y="168"/>
              <a:ext cx="608" cy="383"/>
            </a:xfrm>
            <a:custGeom>
              <a:avLst/>
              <a:gdLst/>
              <a:ahLst/>
              <a:cxnLst>
                <a:cxn ang="0">
                  <a:pos x="77" y="236"/>
                </a:cxn>
                <a:cxn ang="0">
                  <a:pos x="101" y="257"/>
                </a:cxn>
                <a:cxn ang="0">
                  <a:pos x="117" y="279"/>
                </a:cxn>
                <a:cxn ang="0">
                  <a:pos x="159" y="269"/>
                </a:cxn>
                <a:cxn ang="0">
                  <a:pos x="187" y="273"/>
                </a:cxn>
                <a:cxn ang="0">
                  <a:pos x="173" y="309"/>
                </a:cxn>
                <a:cxn ang="0">
                  <a:pos x="208" y="304"/>
                </a:cxn>
                <a:cxn ang="0">
                  <a:pos x="232" y="300"/>
                </a:cxn>
                <a:cxn ang="0">
                  <a:pos x="244" y="323"/>
                </a:cxn>
                <a:cxn ang="0">
                  <a:pos x="272" y="324"/>
                </a:cxn>
                <a:cxn ang="0">
                  <a:pos x="279" y="321"/>
                </a:cxn>
                <a:cxn ang="0">
                  <a:pos x="343" y="329"/>
                </a:cxn>
                <a:cxn ang="0">
                  <a:pos x="364" y="327"/>
                </a:cxn>
                <a:cxn ang="0">
                  <a:pos x="440" y="317"/>
                </a:cxn>
                <a:cxn ang="0">
                  <a:pos x="473" y="333"/>
                </a:cxn>
                <a:cxn ang="0">
                  <a:pos x="492" y="335"/>
                </a:cxn>
                <a:cxn ang="0">
                  <a:pos x="548" y="320"/>
                </a:cxn>
                <a:cxn ang="0">
                  <a:pos x="556" y="283"/>
                </a:cxn>
                <a:cxn ang="0">
                  <a:pos x="545" y="269"/>
                </a:cxn>
                <a:cxn ang="0">
                  <a:pos x="559" y="243"/>
                </a:cxn>
                <a:cxn ang="0">
                  <a:pos x="543" y="243"/>
                </a:cxn>
                <a:cxn ang="0">
                  <a:pos x="517" y="215"/>
                </a:cxn>
                <a:cxn ang="0">
                  <a:pos x="500" y="219"/>
                </a:cxn>
                <a:cxn ang="0">
                  <a:pos x="486" y="217"/>
                </a:cxn>
                <a:cxn ang="0">
                  <a:pos x="452" y="228"/>
                </a:cxn>
                <a:cxn ang="0">
                  <a:pos x="442" y="201"/>
                </a:cxn>
                <a:cxn ang="0">
                  <a:pos x="436" y="174"/>
                </a:cxn>
                <a:cxn ang="0">
                  <a:pos x="409" y="165"/>
                </a:cxn>
                <a:cxn ang="0">
                  <a:pos x="362" y="157"/>
                </a:cxn>
                <a:cxn ang="0">
                  <a:pos x="353" y="124"/>
                </a:cxn>
                <a:cxn ang="0">
                  <a:pos x="350" y="110"/>
                </a:cxn>
                <a:cxn ang="0">
                  <a:pos x="325" y="90"/>
                </a:cxn>
                <a:cxn ang="0">
                  <a:pos x="283" y="114"/>
                </a:cxn>
                <a:cxn ang="0">
                  <a:pos x="262" y="106"/>
                </a:cxn>
                <a:cxn ang="0">
                  <a:pos x="245" y="76"/>
                </a:cxn>
                <a:cxn ang="0">
                  <a:pos x="221" y="67"/>
                </a:cxn>
                <a:cxn ang="0">
                  <a:pos x="224" y="42"/>
                </a:cxn>
                <a:cxn ang="0">
                  <a:pos x="212" y="9"/>
                </a:cxn>
                <a:cxn ang="0">
                  <a:pos x="157" y="7"/>
                </a:cxn>
                <a:cxn ang="0">
                  <a:pos x="54" y="31"/>
                </a:cxn>
                <a:cxn ang="0">
                  <a:pos x="7" y="57"/>
                </a:cxn>
                <a:cxn ang="0">
                  <a:pos x="5" y="106"/>
                </a:cxn>
                <a:cxn ang="0">
                  <a:pos x="4" y="192"/>
                </a:cxn>
                <a:cxn ang="0">
                  <a:pos x="1" y="228"/>
                </a:cxn>
                <a:cxn ang="0">
                  <a:pos x="12" y="235"/>
                </a:cxn>
                <a:cxn ang="0">
                  <a:pos x="65" y="237"/>
                </a:cxn>
              </a:cxnLst>
              <a:rect l="0" t="0" r="r" b="b"/>
              <a:pathLst>
                <a:path w="564" h="355">
                  <a:moveTo>
                    <a:pt x="65" y="237"/>
                  </a:moveTo>
                  <a:cubicBezTo>
                    <a:pt x="77" y="236"/>
                    <a:pt x="77" y="236"/>
                    <a:pt x="77" y="236"/>
                  </a:cubicBezTo>
                  <a:cubicBezTo>
                    <a:pt x="79" y="247"/>
                    <a:pt x="79" y="247"/>
                    <a:pt x="79" y="247"/>
                  </a:cubicBezTo>
                  <a:cubicBezTo>
                    <a:pt x="101" y="257"/>
                    <a:pt x="101" y="257"/>
                    <a:pt x="101" y="257"/>
                  </a:cubicBezTo>
                  <a:cubicBezTo>
                    <a:pt x="109" y="275"/>
                    <a:pt x="109" y="275"/>
                    <a:pt x="109" y="275"/>
                  </a:cubicBezTo>
                  <a:cubicBezTo>
                    <a:pt x="117" y="279"/>
                    <a:pt x="117" y="279"/>
                    <a:pt x="117" y="279"/>
                  </a:cubicBezTo>
                  <a:cubicBezTo>
                    <a:pt x="143" y="265"/>
                    <a:pt x="143" y="265"/>
                    <a:pt x="143" y="265"/>
                  </a:cubicBezTo>
                  <a:cubicBezTo>
                    <a:pt x="159" y="269"/>
                    <a:pt x="159" y="269"/>
                    <a:pt x="159" y="269"/>
                  </a:cubicBezTo>
                  <a:cubicBezTo>
                    <a:pt x="180" y="263"/>
                    <a:pt x="180" y="263"/>
                    <a:pt x="180" y="263"/>
                  </a:cubicBezTo>
                  <a:cubicBezTo>
                    <a:pt x="187" y="273"/>
                    <a:pt x="187" y="273"/>
                    <a:pt x="187" y="273"/>
                  </a:cubicBezTo>
                  <a:cubicBezTo>
                    <a:pt x="187" y="273"/>
                    <a:pt x="163" y="293"/>
                    <a:pt x="163" y="304"/>
                  </a:cubicBezTo>
                  <a:cubicBezTo>
                    <a:pt x="163" y="315"/>
                    <a:pt x="173" y="309"/>
                    <a:pt x="173" y="309"/>
                  </a:cubicBezTo>
                  <a:cubicBezTo>
                    <a:pt x="173" y="309"/>
                    <a:pt x="193" y="289"/>
                    <a:pt x="193" y="300"/>
                  </a:cubicBezTo>
                  <a:cubicBezTo>
                    <a:pt x="193" y="300"/>
                    <a:pt x="208" y="297"/>
                    <a:pt x="208" y="304"/>
                  </a:cubicBezTo>
                  <a:cubicBezTo>
                    <a:pt x="208" y="311"/>
                    <a:pt x="227" y="313"/>
                    <a:pt x="227" y="313"/>
                  </a:cubicBezTo>
                  <a:cubicBezTo>
                    <a:pt x="232" y="300"/>
                    <a:pt x="232" y="300"/>
                    <a:pt x="232" y="300"/>
                  </a:cubicBezTo>
                  <a:cubicBezTo>
                    <a:pt x="248" y="303"/>
                    <a:pt x="248" y="303"/>
                    <a:pt x="248" y="303"/>
                  </a:cubicBezTo>
                  <a:cubicBezTo>
                    <a:pt x="244" y="323"/>
                    <a:pt x="244" y="323"/>
                    <a:pt x="244" y="323"/>
                  </a:cubicBezTo>
                  <a:cubicBezTo>
                    <a:pt x="263" y="313"/>
                    <a:pt x="263" y="313"/>
                    <a:pt x="263" y="313"/>
                  </a:cubicBezTo>
                  <a:cubicBezTo>
                    <a:pt x="272" y="324"/>
                    <a:pt x="272" y="324"/>
                    <a:pt x="272" y="324"/>
                  </a:cubicBezTo>
                  <a:cubicBezTo>
                    <a:pt x="265" y="332"/>
                    <a:pt x="265" y="332"/>
                    <a:pt x="265" y="332"/>
                  </a:cubicBezTo>
                  <a:cubicBezTo>
                    <a:pt x="279" y="321"/>
                    <a:pt x="279" y="321"/>
                    <a:pt x="279" y="321"/>
                  </a:cubicBezTo>
                  <a:cubicBezTo>
                    <a:pt x="313" y="321"/>
                    <a:pt x="313" y="321"/>
                    <a:pt x="313" y="321"/>
                  </a:cubicBezTo>
                  <a:cubicBezTo>
                    <a:pt x="313" y="321"/>
                    <a:pt x="320" y="341"/>
                    <a:pt x="343" y="329"/>
                  </a:cubicBezTo>
                  <a:cubicBezTo>
                    <a:pt x="348" y="331"/>
                    <a:pt x="348" y="335"/>
                    <a:pt x="348" y="335"/>
                  </a:cubicBezTo>
                  <a:cubicBezTo>
                    <a:pt x="348" y="335"/>
                    <a:pt x="359" y="339"/>
                    <a:pt x="364" y="327"/>
                  </a:cubicBezTo>
                  <a:cubicBezTo>
                    <a:pt x="364" y="327"/>
                    <a:pt x="400" y="337"/>
                    <a:pt x="404" y="319"/>
                  </a:cubicBezTo>
                  <a:cubicBezTo>
                    <a:pt x="403" y="323"/>
                    <a:pt x="413" y="339"/>
                    <a:pt x="440" y="317"/>
                  </a:cubicBezTo>
                  <a:cubicBezTo>
                    <a:pt x="473" y="327"/>
                    <a:pt x="473" y="327"/>
                    <a:pt x="473" y="327"/>
                  </a:cubicBezTo>
                  <a:cubicBezTo>
                    <a:pt x="473" y="333"/>
                    <a:pt x="473" y="333"/>
                    <a:pt x="473" y="333"/>
                  </a:cubicBezTo>
                  <a:cubicBezTo>
                    <a:pt x="492" y="321"/>
                    <a:pt x="492" y="321"/>
                    <a:pt x="492" y="321"/>
                  </a:cubicBezTo>
                  <a:cubicBezTo>
                    <a:pt x="492" y="335"/>
                    <a:pt x="492" y="335"/>
                    <a:pt x="492" y="335"/>
                  </a:cubicBezTo>
                  <a:cubicBezTo>
                    <a:pt x="492" y="335"/>
                    <a:pt x="522" y="355"/>
                    <a:pt x="554" y="333"/>
                  </a:cubicBezTo>
                  <a:cubicBezTo>
                    <a:pt x="551" y="330"/>
                    <a:pt x="549" y="325"/>
                    <a:pt x="548" y="320"/>
                  </a:cubicBezTo>
                  <a:cubicBezTo>
                    <a:pt x="547" y="313"/>
                    <a:pt x="558" y="305"/>
                    <a:pt x="561" y="303"/>
                  </a:cubicBezTo>
                  <a:cubicBezTo>
                    <a:pt x="564" y="301"/>
                    <a:pt x="556" y="283"/>
                    <a:pt x="556" y="283"/>
                  </a:cubicBezTo>
                  <a:cubicBezTo>
                    <a:pt x="556" y="283"/>
                    <a:pt x="553" y="283"/>
                    <a:pt x="547" y="283"/>
                  </a:cubicBezTo>
                  <a:cubicBezTo>
                    <a:pt x="541" y="283"/>
                    <a:pt x="545" y="269"/>
                    <a:pt x="545" y="269"/>
                  </a:cubicBezTo>
                  <a:cubicBezTo>
                    <a:pt x="547" y="260"/>
                    <a:pt x="547" y="260"/>
                    <a:pt x="547" y="260"/>
                  </a:cubicBezTo>
                  <a:cubicBezTo>
                    <a:pt x="547" y="260"/>
                    <a:pt x="558" y="246"/>
                    <a:pt x="559" y="243"/>
                  </a:cubicBezTo>
                  <a:cubicBezTo>
                    <a:pt x="560" y="240"/>
                    <a:pt x="554" y="236"/>
                    <a:pt x="554" y="236"/>
                  </a:cubicBezTo>
                  <a:cubicBezTo>
                    <a:pt x="543" y="243"/>
                    <a:pt x="543" y="243"/>
                    <a:pt x="543" y="243"/>
                  </a:cubicBezTo>
                  <a:cubicBezTo>
                    <a:pt x="542" y="233"/>
                    <a:pt x="542" y="233"/>
                    <a:pt x="542" y="233"/>
                  </a:cubicBezTo>
                  <a:cubicBezTo>
                    <a:pt x="517" y="215"/>
                    <a:pt x="517" y="215"/>
                    <a:pt x="517" y="215"/>
                  </a:cubicBezTo>
                  <a:cubicBezTo>
                    <a:pt x="514" y="219"/>
                    <a:pt x="514" y="219"/>
                    <a:pt x="514" y="219"/>
                  </a:cubicBezTo>
                  <a:cubicBezTo>
                    <a:pt x="500" y="219"/>
                    <a:pt x="500" y="219"/>
                    <a:pt x="500" y="219"/>
                  </a:cubicBezTo>
                  <a:cubicBezTo>
                    <a:pt x="493" y="225"/>
                    <a:pt x="493" y="225"/>
                    <a:pt x="493" y="225"/>
                  </a:cubicBezTo>
                  <a:cubicBezTo>
                    <a:pt x="486" y="217"/>
                    <a:pt x="486" y="217"/>
                    <a:pt x="486" y="217"/>
                  </a:cubicBezTo>
                  <a:cubicBezTo>
                    <a:pt x="460" y="216"/>
                    <a:pt x="460" y="216"/>
                    <a:pt x="460" y="216"/>
                  </a:cubicBezTo>
                  <a:cubicBezTo>
                    <a:pt x="452" y="228"/>
                    <a:pt x="452" y="228"/>
                    <a:pt x="452" y="228"/>
                  </a:cubicBezTo>
                  <a:cubicBezTo>
                    <a:pt x="443" y="216"/>
                    <a:pt x="443" y="216"/>
                    <a:pt x="443" y="216"/>
                  </a:cubicBezTo>
                  <a:cubicBezTo>
                    <a:pt x="442" y="201"/>
                    <a:pt x="442" y="201"/>
                    <a:pt x="442" y="201"/>
                  </a:cubicBezTo>
                  <a:cubicBezTo>
                    <a:pt x="449" y="195"/>
                    <a:pt x="449" y="195"/>
                    <a:pt x="449" y="195"/>
                  </a:cubicBezTo>
                  <a:cubicBezTo>
                    <a:pt x="436" y="174"/>
                    <a:pt x="436" y="174"/>
                    <a:pt x="436" y="174"/>
                  </a:cubicBezTo>
                  <a:cubicBezTo>
                    <a:pt x="410" y="172"/>
                    <a:pt x="410" y="172"/>
                    <a:pt x="410" y="172"/>
                  </a:cubicBezTo>
                  <a:cubicBezTo>
                    <a:pt x="409" y="165"/>
                    <a:pt x="409" y="165"/>
                    <a:pt x="409" y="165"/>
                  </a:cubicBezTo>
                  <a:cubicBezTo>
                    <a:pt x="409" y="165"/>
                    <a:pt x="390" y="174"/>
                    <a:pt x="383" y="174"/>
                  </a:cubicBezTo>
                  <a:cubicBezTo>
                    <a:pt x="376" y="174"/>
                    <a:pt x="362" y="157"/>
                    <a:pt x="362" y="157"/>
                  </a:cubicBezTo>
                  <a:cubicBezTo>
                    <a:pt x="362" y="141"/>
                    <a:pt x="362" y="141"/>
                    <a:pt x="362" y="141"/>
                  </a:cubicBezTo>
                  <a:cubicBezTo>
                    <a:pt x="353" y="124"/>
                    <a:pt x="353" y="124"/>
                    <a:pt x="353" y="124"/>
                  </a:cubicBezTo>
                  <a:cubicBezTo>
                    <a:pt x="353" y="124"/>
                    <a:pt x="360" y="119"/>
                    <a:pt x="359" y="116"/>
                  </a:cubicBezTo>
                  <a:cubicBezTo>
                    <a:pt x="358" y="113"/>
                    <a:pt x="350" y="110"/>
                    <a:pt x="350" y="110"/>
                  </a:cubicBezTo>
                  <a:cubicBezTo>
                    <a:pt x="335" y="85"/>
                    <a:pt x="335" y="85"/>
                    <a:pt x="335" y="85"/>
                  </a:cubicBezTo>
                  <a:cubicBezTo>
                    <a:pt x="325" y="90"/>
                    <a:pt x="325" y="90"/>
                    <a:pt x="325" y="90"/>
                  </a:cubicBezTo>
                  <a:cubicBezTo>
                    <a:pt x="325" y="90"/>
                    <a:pt x="291" y="99"/>
                    <a:pt x="291" y="106"/>
                  </a:cubicBezTo>
                  <a:cubicBezTo>
                    <a:pt x="291" y="113"/>
                    <a:pt x="283" y="114"/>
                    <a:pt x="283" y="114"/>
                  </a:cubicBezTo>
                  <a:cubicBezTo>
                    <a:pt x="273" y="106"/>
                    <a:pt x="273" y="106"/>
                    <a:pt x="273" y="106"/>
                  </a:cubicBezTo>
                  <a:cubicBezTo>
                    <a:pt x="262" y="106"/>
                    <a:pt x="262" y="106"/>
                    <a:pt x="262" y="106"/>
                  </a:cubicBezTo>
                  <a:cubicBezTo>
                    <a:pt x="262" y="106"/>
                    <a:pt x="253" y="99"/>
                    <a:pt x="253" y="95"/>
                  </a:cubicBezTo>
                  <a:cubicBezTo>
                    <a:pt x="253" y="91"/>
                    <a:pt x="245" y="76"/>
                    <a:pt x="245" y="76"/>
                  </a:cubicBezTo>
                  <a:cubicBezTo>
                    <a:pt x="231" y="77"/>
                    <a:pt x="231" y="77"/>
                    <a:pt x="231" y="77"/>
                  </a:cubicBezTo>
                  <a:cubicBezTo>
                    <a:pt x="221" y="67"/>
                    <a:pt x="221" y="67"/>
                    <a:pt x="221" y="67"/>
                  </a:cubicBezTo>
                  <a:cubicBezTo>
                    <a:pt x="223" y="56"/>
                    <a:pt x="223" y="56"/>
                    <a:pt x="223" y="56"/>
                  </a:cubicBezTo>
                  <a:cubicBezTo>
                    <a:pt x="223" y="56"/>
                    <a:pt x="221" y="42"/>
                    <a:pt x="224" y="42"/>
                  </a:cubicBezTo>
                  <a:cubicBezTo>
                    <a:pt x="227" y="42"/>
                    <a:pt x="221" y="27"/>
                    <a:pt x="221" y="27"/>
                  </a:cubicBezTo>
                  <a:cubicBezTo>
                    <a:pt x="221" y="27"/>
                    <a:pt x="212" y="15"/>
                    <a:pt x="212" y="9"/>
                  </a:cubicBezTo>
                  <a:cubicBezTo>
                    <a:pt x="212" y="3"/>
                    <a:pt x="207" y="0"/>
                    <a:pt x="207" y="0"/>
                  </a:cubicBezTo>
                  <a:cubicBezTo>
                    <a:pt x="207" y="0"/>
                    <a:pt x="174" y="6"/>
                    <a:pt x="157" y="7"/>
                  </a:cubicBezTo>
                  <a:cubicBezTo>
                    <a:pt x="140" y="8"/>
                    <a:pt x="143" y="8"/>
                    <a:pt x="115" y="17"/>
                  </a:cubicBezTo>
                  <a:cubicBezTo>
                    <a:pt x="87" y="26"/>
                    <a:pt x="75" y="27"/>
                    <a:pt x="54" y="31"/>
                  </a:cubicBezTo>
                  <a:cubicBezTo>
                    <a:pt x="33" y="35"/>
                    <a:pt x="26" y="54"/>
                    <a:pt x="26" y="54"/>
                  </a:cubicBezTo>
                  <a:cubicBezTo>
                    <a:pt x="7" y="57"/>
                    <a:pt x="7" y="57"/>
                    <a:pt x="7" y="57"/>
                  </a:cubicBezTo>
                  <a:cubicBezTo>
                    <a:pt x="7" y="57"/>
                    <a:pt x="16" y="74"/>
                    <a:pt x="15" y="87"/>
                  </a:cubicBezTo>
                  <a:cubicBezTo>
                    <a:pt x="14" y="100"/>
                    <a:pt x="5" y="100"/>
                    <a:pt x="5" y="106"/>
                  </a:cubicBezTo>
                  <a:cubicBezTo>
                    <a:pt x="5" y="112"/>
                    <a:pt x="14" y="157"/>
                    <a:pt x="14" y="157"/>
                  </a:cubicBezTo>
                  <a:cubicBezTo>
                    <a:pt x="4" y="192"/>
                    <a:pt x="4" y="192"/>
                    <a:pt x="4" y="192"/>
                  </a:cubicBezTo>
                  <a:cubicBezTo>
                    <a:pt x="4" y="192"/>
                    <a:pt x="7" y="201"/>
                    <a:pt x="12" y="203"/>
                  </a:cubicBezTo>
                  <a:cubicBezTo>
                    <a:pt x="4" y="203"/>
                    <a:pt x="0" y="217"/>
                    <a:pt x="1" y="228"/>
                  </a:cubicBezTo>
                  <a:cubicBezTo>
                    <a:pt x="2" y="239"/>
                    <a:pt x="9" y="232"/>
                    <a:pt x="9" y="232"/>
                  </a:cubicBezTo>
                  <a:cubicBezTo>
                    <a:pt x="9" y="232"/>
                    <a:pt x="10" y="233"/>
                    <a:pt x="12" y="235"/>
                  </a:cubicBezTo>
                  <a:cubicBezTo>
                    <a:pt x="21" y="231"/>
                    <a:pt x="35" y="224"/>
                    <a:pt x="39" y="224"/>
                  </a:cubicBezTo>
                  <a:cubicBezTo>
                    <a:pt x="44" y="224"/>
                    <a:pt x="65" y="237"/>
                    <a:pt x="65" y="23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1" name="Picardie" descr="© INSCALE GmbH, 05.05.2010&#10;http://www.presentationload.com/">
              <a:extLst>
                <a:ext uri="{FF2B5EF4-FFF2-40B4-BE49-F238E27FC236}">
                  <a16:creationId xmlns:a16="http://schemas.microsoft.com/office/drawing/2014/main" id="{2A78403A-7F28-4A1F-B641-DECB4BC24BE4}"/>
                </a:ext>
              </a:extLst>
            </p:cNvPr>
            <p:cNvSpPr>
              <a:spLocks/>
            </p:cNvSpPr>
            <p:nvPr/>
          </p:nvSpPr>
          <p:spPr bwMode="gray">
            <a:xfrm>
              <a:off x="1552" y="410"/>
              <a:ext cx="644" cy="519"/>
            </a:xfrm>
            <a:custGeom>
              <a:avLst/>
              <a:gdLst/>
              <a:ahLst/>
              <a:cxnLst>
                <a:cxn ang="0">
                  <a:pos x="17" y="99"/>
                </a:cxn>
                <a:cxn ang="0">
                  <a:pos x="85" y="189"/>
                </a:cxn>
                <a:cxn ang="0">
                  <a:pos x="79" y="213"/>
                </a:cxn>
                <a:cxn ang="0">
                  <a:pos x="79" y="264"/>
                </a:cxn>
                <a:cxn ang="0">
                  <a:pos x="83" y="275"/>
                </a:cxn>
                <a:cxn ang="0">
                  <a:pos x="84" y="355"/>
                </a:cxn>
                <a:cxn ang="0">
                  <a:pos x="76" y="379"/>
                </a:cxn>
                <a:cxn ang="0">
                  <a:pos x="144" y="371"/>
                </a:cxn>
                <a:cxn ang="0">
                  <a:pos x="160" y="373"/>
                </a:cxn>
                <a:cxn ang="0">
                  <a:pos x="173" y="376"/>
                </a:cxn>
                <a:cxn ang="0">
                  <a:pos x="196" y="375"/>
                </a:cxn>
                <a:cxn ang="0">
                  <a:pos x="196" y="375"/>
                </a:cxn>
                <a:cxn ang="0">
                  <a:pos x="232" y="403"/>
                </a:cxn>
                <a:cxn ang="0">
                  <a:pos x="251" y="409"/>
                </a:cxn>
                <a:cxn ang="0">
                  <a:pos x="280" y="412"/>
                </a:cxn>
                <a:cxn ang="0">
                  <a:pos x="311" y="413"/>
                </a:cxn>
                <a:cxn ang="0">
                  <a:pos x="356" y="397"/>
                </a:cxn>
                <a:cxn ang="0">
                  <a:pos x="392" y="451"/>
                </a:cxn>
                <a:cxn ang="0">
                  <a:pos x="407" y="457"/>
                </a:cxn>
                <a:cxn ang="0">
                  <a:pos x="421" y="476"/>
                </a:cxn>
                <a:cxn ang="0">
                  <a:pos x="451" y="461"/>
                </a:cxn>
                <a:cxn ang="0">
                  <a:pos x="480" y="424"/>
                </a:cxn>
                <a:cxn ang="0">
                  <a:pos x="463" y="415"/>
                </a:cxn>
                <a:cxn ang="0">
                  <a:pos x="465" y="391"/>
                </a:cxn>
                <a:cxn ang="0">
                  <a:pos x="473" y="364"/>
                </a:cxn>
                <a:cxn ang="0">
                  <a:pos x="473" y="333"/>
                </a:cxn>
                <a:cxn ang="0">
                  <a:pos x="517" y="309"/>
                </a:cxn>
                <a:cxn ang="0">
                  <a:pos x="552" y="316"/>
                </a:cxn>
                <a:cxn ang="0">
                  <a:pos x="560" y="260"/>
                </a:cxn>
                <a:cxn ang="0">
                  <a:pos x="564" y="229"/>
                </a:cxn>
                <a:cxn ang="0">
                  <a:pos x="593" y="187"/>
                </a:cxn>
                <a:cxn ang="0">
                  <a:pos x="592" y="143"/>
                </a:cxn>
                <a:cxn ang="0">
                  <a:pos x="536" y="111"/>
                </a:cxn>
                <a:cxn ang="0">
                  <a:pos x="517" y="109"/>
                </a:cxn>
                <a:cxn ang="0">
                  <a:pos x="484" y="93"/>
                </a:cxn>
                <a:cxn ang="0">
                  <a:pos x="408" y="103"/>
                </a:cxn>
                <a:cxn ang="0">
                  <a:pos x="387" y="105"/>
                </a:cxn>
                <a:cxn ang="0">
                  <a:pos x="323" y="97"/>
                </a:cxn>
                <a:cxn ang="0">
                  <a:pos x="316" y="100"/>
                </a:cxn>
                <a:cxn ang="0">
                  <a:pos x="288" y="99"/>
                </a:cxn>
                <a:cxn ang="0">
                  <a:pos x="276" y="76"/>
                </a:cxn>
                <a:cxn ang="0">
                  <a:pos x="252" y="80"/>
                </a:cxn>
                <a:cxn ang="0">
                  <a:pos x="217" y="85"/>
                </a:cxn>
                <a:cxn ang="0">
                  <a:pos x="231" y="49"/>
                </a:cxn>
                <a:cxn ang="0">
                  <a:pos x="203" y="45"/>
                </a:cxn>
                <a:cxn ang="0">
                  <a:pos x="161" y="55"/>
                </a:cxn>
                <a:cxn ang="0">
                  <a:pos x="145" y="33"/>
                </a:cxn>
                <a:cxn ang="0">
                  <a:pos x="121" y="12"/>
                </a:cxn>
                <a:cxn ang="0">
                  <a:pos x="83" y="0"/>
                </a:cxn>
                <a:cxn ang="0">
                  <a:pos x="63" y="30"/>
                </a:cxn>
                <a:cxn ang="0">
                  <a:pos x="25" y="60"/>
                </a:cxn>
                <a:cxn ang="0">
                  <a:pos x="5" y="92"/>
                </a:cxn>
              </a:cxnLst>
              <a:rect l="0" t="0" r="r" b="b"/>
              <a:pathLst>
                <a:path w="597" h="481">
                  <a:moveTo>
                    <a:pt x="17" y="95"/>
                  </a:moveTo>
                  <a:cubicBezTo>
                    <a:pt x="17" y="99"/>
                    <a:pt x="17" y="99"/>
                    <a:pt x="17" y="99"/>
                  </a:cubicBezTo>
                  <a:cubicBezTo>
                    <a:pt x="17" y="99"/>
                    <a:pt x="43" y="136"/>
                    <a:pt x="61" y="139"/>
                  </a:cubicBezTo>
                  <a:cubicBezTo>
                    <a:pt x="85" y="189"/>
                    <a:pt x="85" y="189"/>
                    <a:pt x="85" y="189"/>
                  </a:cubicBezTo>
                  <a:cubicBezTo>
                    <a:pt x="85" y="189"/>
                    <a:pt x="64" y="211"/>
                    <a:pt x="68" y="212"/>
                  </a:cubicBezTo>
                  <a:cubicBezTo>
                    <a:pt x="72" y="213"/>
                    <a:pt x="79" y="213"/>
                    <a:pt x="79" y="213"/>
                  </a:cubicBezTo>
                  <a:cubicBezTo>
                    <a:pt x="69" y="244"/>
                    <a:pt x="69" y="244"/>
                    <a:pt x="69" y="244"/>
                  </a:cubicBezTo>
                  <a:cubicBezTo>
                    <a:pt x="79" y="264"/>
                    <a:pt x="79" y="264"/>
                    <a:pt x="79" y="264"/>
                  </a:cubicBezTo>
                  <a:cubicBezTo>
                    <a:pt x="73" y="276"/>
                    <a:pt x="73" y="276"/>
                    <a:pt x="73" y="276"/>
                  </a:cubicBezTo>
                  <a:cubicBezTo>
                    <a:pt x="83" y="275"/>
                    <a:pt x="83" y="275"/>
                    <a:pt x="83" y="275"/>
                  </a:cubicBezTo>
                  <a:cubicBezTo>
                    <a:pt x="73" y="303"/>
                    <a:pt x="73" y="303"/>
                    <a:pt x="73" y="303"/>
                  </a:cubicBezTo>
                  <a:cubicBezTo>
                    <a:pt x="73" y="303"/>
                    <a:pt x="85" y="340"/>
                    <a:pt x="84" y="355"/>
                  </a:cubicBezTo>
                  <a:cubicBezTo>
                    <a:pt x="65" y="349"/>
                    <a:pt x="65" y="349"/>
                    <a:pt x="65" y="349"/>
                  </a:cubicBezTo>
                  <a:cubicBezTo>
                    <a:pt x="76" y="379"/>
                    <a:pt x="76" y="379"/>
                    <a:pt x="76" y="379"/>
                  </a:cubicBezTo>
                  <a:cubicBezTo>
                    <a:pt x="128" y="375"/>
                    <a:pt x="128" y="375"/>
                    <a:pt x="128" y="375"/>
                  </a:cubicBezTo>
                  <a:cubicBezTo>
                    <a:pt x="144" y="371"/>
                    <a:pt x="144" y="371"/>
                    <a:pt x="144" y="371"/>
                  </a:cubicBezTo>
                  <a:cubicBezTo>
                    <a:pt x="151" y="376"/>
                    <a:pt x="151" y="376"/>
                    <a:pt x="151" y="376"/>
                  </a:cubicBezTo>
                  <a:cubicBezTo>
                    <a:pt x="160" y="373"/>
                    <a:pt x="160" y="373"/>
                    <a:pt x="160" y="373"/>
                  </a:cubicBezTo>
                  <a:cubicBezTo>
                    <a:pt x="169" y="383"/>
                    <a:pt x="169" y="383"/>
                    <a:pt x="169" y="383"/>
                  </a:cubicBezTo>
                  <a:cubicBezTo>
                    <a:pt x="173" y="376"/>
                    <a:pt x="173" y="376"/>
                    <a:pt x="173" y="376"/>
                  </a:cubicBezTo>
                  <a:cubicBezTo>
                    <a:pt x="177" y="384"/>
                    <a:pt x="177" y="384"/>
                    <a:pt x="177" y="384"/>
                  </a:cubicBezTo>
                  <a:cubicBezTo>
                    <a:pt x="196" y="375"/>
                    <a:pt x="196" y="375"/>
                    <a:pt x="196" y="375"/>
                  </a:cubicBezTo>
                  <a:cubicBezTo>
                    <a:pt x="197" y="375"/>
                    <a:pt x="197" y="375"/>
                    <a:pt x="197" y="375"/>
                  </a:cubicBezTo>
                  <a:cubicBezTo>
                    <a:pt x="196" y="375"/>
                    <a:pt x="196" y="375"/>
                    <a:pt x="196" y="375"/>
                  </a:cubicBezTo>
                  <a:cubicBezTo>
                    <a:pt x="194" y="376"/>
                    <a:pt x="190" y="380"/>
                    <a:pt x="203" y="383"/>
                  </a:cubicBezTo>
                  <a:cubicBezTo>
                    <a:pt x="219" y="387"/>
                    <a:pt x="237" y="399"/>
                    <a:pt x="232" y="403"/>
                  </a:cubicBezTo>
                  <a:cubicBezTo>
                    <a:pt x="227" y="407"/>
                    <a:pt x="245" y="399"/>
                    <a:pt x="245" y="399"/>
                  </a:cubicBezTo>
                  <a:cubicBezTo>
                    <a:pt x="251" y="409"/>
                    <a:pt x="251" y="409"/>
                    <a:pt x="251" y="409"/>
                  </a:cubicBezTo>
                  <a:cubicBezTo>
                    <a:pt x="251" y="409"/>
                    <a:pt x="253" y="397"/>
                    <a:pt x="260" y="401"/>
                  </a:cubicBezTo>
                  <a:cubicBezTo>
                    <a:pt x="267" y="405"/>
                    <a:pt x="272" y="409"/>
                    <a:pt x="280" y="412"/>
                  </a:cubicBezTo>
                  <a:cubicBezTo>
                    <a:pt x="288" y="415"/>
                    <a:pt x="297" y="405"/>
                    <a:pt x="297" y="405"/>
                  </a:cubicBezTo>
                  <a:cubicBezTo>
                    <a:pt x="311" y="413"/>
                    <a:pt x="311" y="413"/>
                    <a:pt x="311" y="413"/>
                  </a:cubicBezTo>
                  <a:cubicBezTo>
                    <a:pt x="349" y="403"/>
                    <a:pt x="349" y="403"/>
                    <a:pt x="349" y="403"/>
                  </a:cubicBezTo>
                  <a:cubicBezTo>
                    <a:pt x="356" y="397"/>
                    <a:pt x="356" y="397"/>
                    <a:pt x="356" y="397"/>
                  </a:cubicBezTo>
                  <a:cubicBezTo>
                    <a:pt x="356" y="397"/>
                    <a:pt x="380" y="399"/>
                    <a:pt x="376" y="431"/>
                  </a:cubicBezTo>
                  <a:cubicBezTo>
                    <a:pt x="377" y="436"/>
                    <a:pt x="393" y="443"/>
                    <a:pt x="392" y="451"/>
                  </a:cubicBezTo>
                  <a:cubicBezTo>
                    <a:pt x="391" y="459"/>
                    <a:pt x="404" y="449"/>
                    <a:pt x="404" y="449"/>
                  </a:cubicBezTo>
                  <a:cubicBezTo>
                    <a:pt x="407" y="457"/>
                    <a:pt x="407" y="457"/>
                    <a:pt x="407" y="457"/>
                  </a:cubicBezTo>
                  <a:cubicBezTo>
                    <a:pt x="417" y="457"/>
                    <a:pt x="417" y="457"/>
                    <a:pt x="417" y="457"/>
                  </a:cubicBezTo>
                  <a:cubicBezTo>
                    <a:pt x="417" y="457"/>
                    <a:pt x="417" y="476"/>
                    <a:pt x="421" y="476"/>
                  </a:cubicBezTo>
                  <a:cubicBezTo>
                    <a:pt x="425" y="476"/>
                    <a:pt x="441" y="481"/>
                    <a:pt x="441" y="481"/>
                  </a:cubicBezTo>
                  <a:cubicBezTo>
                    <a:pt x="451" y="461"/>
                    <a:pt x="451" y="461"/>
                    <a:pt x="451" y="461"/>
                  </a:cubicBezTo>
                  <a:cubicBezTo>
                    <a:pt x="457" y="459"/>
                    <a:pt x="457" y="459"/>
                    <a:pt x="457" y="459"/>
                  </a:cubicBezTo>
                  <a:cubicBezTo>
                    <a:pt x="457" y="459"/>
                    <a:pt x="487" y="429"/>
                    <a:pt x="480" y="424"/>
                  </a:cubicBezTo>
                  <a:cubicBezTo>
                    <a:pt x="473" y="419"/>
                    <a:pt x="461" y="420"/>
                    <a:pt x="461" y="420"/>
                  </a:cubicBezTo>
                  <a:cubicBezTo>
                    <a:pt x="463" y="415"/>
                    <a:pt x="463" y="415"/>
                    <a:pt x="463" y="415"/>
                  </a:cubicBezTo>
                  <a:cubicBezTo>
                    <a:pt x="471" y="408"/>
                    <a:pt x="471" y="408"/>
                    <a:pt x="471" y="408"/>
                  </a:cubicBezTo>
                  <a:cubicBezTo>
                    <a:pt x="471" y="408"/>
                    <a:pt x="463" y="396"/>
                    <a:pt x="465" y="391"/>
                  </a:cubicBezTo>
                  <a:cubicBezTo>
                    <a:pt x="468" y="385"/>
                    <a:pt x="492" y="380"/>
                    <a:pt x="492" y="380"/>
                  </a:cubicBezTo>
                  <a:cubicBezTo>
                    <a:pt x="473" y="364"/>
                    <a:pt x="473" y="364"/>
                    <a:pt x="473" y="364"/>
                  </a:cubicBezTo>
                  <a:cubicBezTo>
                    <a:pt x="479" y="353"/>
                    <a:pt x="479" y="353"/>
                    <a:pt x="479" y="353"/>
                  </a:cubicBezTo>
                  <a:cubicBezTo>
                    <a:pt x="473" y="333"/>
                    <a:pt x="473" y="333"/>
                    <a:pt x="473" y="333"/>
                  </a:cubicBezTo>
                  <a:cubicBezTo>
                    <a:pt x="473" y="333"/>
                    <a:pt x="495" y="315"/>
                    <a:pt x="512" y="320"/>
                  </a:cubicBezTo>
                  <a:cubicBezTo>
                    <a:pt x="516" y="319"/>
                    <a:pt x="517" y="309"/>
                    <a:pt x="517" y="309"/>
                  </a:cubicBezTo>
                  <a:cubicBezTo>
                    <a:pt x="528" y="303"/>
                    <a:pt x="528" y="303"/>
                    <a:pt x="528" y="303"/>
                  </a:cubicBezTo>
                  <a:cubicBezTo>
                    <a:pt x="528" y="303"/>
                    <a:pt x="547" y="316"/>
                    <a:pt x="552" y="316"/>
                  </a:cubicBezTo>
                  <a:cubicBezTo>
                    <a:pt x="557" y="316"/>
                    <a:pt x="552" y="267"/>
                    <a:pt x="552" y="267"/>
                  </a:cubicBezTo>
                  <a:cubicBezTo>
                    <a:pt x="560" y="260"/>
                    <a:pt x="560" y="260"/>
                    <a:pt x="560" y="260"/>
                  </a:cubicBezTo>
                  <a:cubicBezTo>
                    <a:pt x="548" y="231"/>
                    <a:pt x="548" y="231"/>
                    <a:pt x="548" y="231"/>
                  </a:cubicBezTo>
                  <a:cubicBezTo>
                    <a:pt x="564" y="229"/>
                    <a:pt x="564" y="229"/>
                    <a:pt x="564" y="229"/>
                  </a:cubicBezTo>
                  <a:cubicBezTo>
                    <a:pt x="571" y="215"/>
                    <a:pt x="571" y="215"/>
                    <a:pt x="571" y="215"/>
                  </a:cubicBezTo>
                  <a:cubicBezTo>
                    <a:pt x="593" y="187"/>
                    <a:pt x="593" y="187"/>
                    <a:pt x="593" y="187"/>
                  </a:cubicBezTo>
                  <a:cubicBezTo>
                    <a:pt x="587" y="180"/>
                    <a:pt x="587" y="180"/>
                    <a:pt x="587" y="180"/>
                  </a:cubicBezTo>
                  <a:cubicBezTo>
                    <a:pt x="592" y="143"/>
                    <a:pt x="592" y="143"/>
                    <a:pt x="592" y="143"/>
                  </a:cubicBezTo>
                  <a:cubicBezTo>
                    <a:pt x="592" y="143"/>
                    <a:pt x="583" y="130"/>
                    <a:pt x="597" y="110"/>
                  </a:cubicBezTo>
                  <a:cubicBezTo>
                    <a:pt x="566" y="131"/>
                    <a:pt x="536" y="111"/>
                    <a:pt x="536" y="111"/>
                  </a:cubicBezTo>
                  <a:cubicBezTo>
                    <a:pt x="536" y="97"/>
                    <a:pt x="536" y="97"/>
                    <a:pt x="536" y="97"/>
                  </a:cubicBezTo>
                  <a:cubicBezTo>
                    <a:pt x="517" y="109"/>
                    <a:pt x="517" y="109"/>
                    <a:pt x="517" y="109"/>
                  </a:cubicBezTo>
                  <a:cubicBezTo>
                    <a:pt x="517" y="103"/>
                    <a:pt x="517" y="103"/>
                    <a:pt x="517" y="103"/>
                  </a:cubicBezTo>
                  <a:cubicBezTo>
                    <a:pt x="484" y="93"/>
                    <a:pt x="484" y="93"/>
                    <a:pt x="484" y="93"/>
                  </a:cubicBezTo>
                  <a:cubicBezTo>
                    <a:pt x="457" y="115"/>
                    <a:pt x="447" y="99"/>
                    <a:pt x="448" y="95"/>
                  </a:cubicBezTo>
                  <a:cubicBezTo>
                    <a:pt x="444" y="113"/>
                    <a:pt x="408" y="103"/>
                    <a:pt x="408" y="103"/>
                  </a:cubicBezTo>
                  <a:cubicBezTo>
                    <a:pt x="403" y="115"/>
                    <a:pt x="392" y="111"/>
                    <a:pt x="392" y="111"/>
                  </a:cubicBezTo>
                  <a:cubicBezTo>
                    <a:pt x="392" y="111"/>
                    <a:pt x="392" y="107"/>
                    <a:pt x="387" y="105"/>
                  </a:cubicBezTo>
                  <a:cubicBezTo>
                    <a:pt x="364" y="117"/>
                    <a:pt x="357" y="97"/>
                    <a:pt x="357" y="97"/>
                  </a:cubicBezTo>
                  <a:cubicBezTo>
                    <a:pt x="323" y="97"/>
                    <a:pt x="323" y="97"/>
                    <a:pt x="323" y="97"/>
                  </a:cubicBezTo>
                  <a:cubicBezTo>
                    <a:pt x="309" y="108"/>
                    <a:pt x="309" y="108"/>
                    <a:pt x="309" y="108"/>
                  </a:cubicBezTo>
                  <a:cubicBezTo>
                    <a:pt x="316" y="100"/>
                    <a:pt x="316" y="100"/>
                    <a:pt x="316" y="100"/>
                  </a:cubicBezTo>
                  <a:cubicBezTo>
                    <a:pt x="307" y="89"/>
                    <a:pt x="307" y="89"/>
                    <a:pt x="307" y="89"/>
                  </a:cubicBezTo>
                  <a:cubicBezTo>
                    <a:pt x="288" y="99"/>
                    <a:pt x="288" y="99"/>
                    <a:pt x="288" y="99"/>
                  </a:cubicBezTo>
                  <a:cubicBezTo>
                    <a:pt x="292" y="79"/>
                    <a:pt x="292" y="79"/>
                    <a:pt x="292" y="79"/>
                  </a:cubicBezTo>
                  <a:cubicBezTo>
                    <a:pt x="276" y="76"/>
                    <a:pt x="276" y="76"/>
                    <a:pt x="276" y="76"/>
                  </a:cubicBezTo>
                  <a:cubicBezTo>
                    <a:pt x="271" y="89"/>
                    <a:pt x="271" y="89"/>
                    <a:pt x="271" y="89"/>
                  </a:cubicBezTo>
                  <a:cubicBezTo>
                    <a:pt x="271" y="89"/>
                    <a:pt x="252" y="87"/>
                    <a:pt x="252" y="80"/>
                  </a:cubicBezTo>
                  <a:cubicBezTo>
                    <a:pt x="252" y="73"/>
                    <a:pt x="237" y="76"/>
                    <a:pt x="237" y="76"/>
                  </a:cubicBezTo>
                  <a:cubicBezTo>
                    <a:pt x="237" y="65"/>
                    <a:pt x="217" y="85"/>
                    <a:pt x="217" y="85"/>
                  </a:cubicBezTo>
                  <a:cubicBezTo>
                    <a:pt x="217" y="85"/>
                    <a:pt x="207" y="91"/>
                    <a:pt x="207" y="80"/>
                  </a:cubicBezTo>
                  <a:cubicBezTo>
                    <a:pt x="207" y="69"/>
                    <a:pt x="231" y="49"/>
                    <a:pt x="231" y="49"/>
                  </a:cubicBezTo>
                  <a:cubicBezTo>
                    <a:pt x="224" y="39"/>
                    <a:pt x="224" y="39"/>
                    <a:pt x="224" y="39"/>
                  </a:cubicBezTo>
                  <a:cubicBezTo>
                    <a:pt x="203" y="45"/>
                    <a:pt x="203" y="45"/>
                    <a:pt x="203" y="45"/>
                  </a:cubicBezTo>
                  <a:cubicBezTo>
                    <a:pt x="187" y="41"/>
                    <a:pt x="187" y="41"/>
                    <a:pt x="187" y="41"/>
                  </a:cubicBezTo>
                  <a:cubicBezTo>
                    <a:pt x="161" y="55"/>
                    <a:pt x="161" y="55"/>
                    <a:pt x="161" y="55"/>
                  </a:cubicBezTo>
                  <a:cubicBezTo>
                    <a:pt x="153" y="51"/>
                    <a:pt x="153" y="51"/>
                    <a:pt x="153" y="51"/>
                  </a:cubicBezTo>
                  <a:cubicBezTo>
                    <a:pt x="145" y="33"/>
                    <a:pt x="145" y="33"/>
                    <a:pt x="145" y="33"/>
                  </a:cubicBezTo>
                  <a:cubicBezTo>
                    <a:pt x="123" y="23"/>
                    <a:pt x="123" y="23"/>
                    <a:pt x="123" y="23"/>
                  </a:cubicBezTo>
                  <a:cubicBezTo>
                    <a:pt x="121" y="12"/>
                    <a:pt x="121" y="12"/>
                    <a:pt x="121" y="12"/>
                  </a:cubicBezTo>
                  <a:cubicBezTo>
                    <a:pt x="109" y="13"/>
                    <a:pt x="109" y="13"/>
                    <a:pt x="109" y="13"/>
                  </a:cubicBezTo>
                  <a:cubicBezTo>
                    <a:pt x="109" y="13"/>
                    <a:pt x="88" y="0"/>
                    <a:pt x="83" y="0"/>
                  </a:cubicBezTo>
                  <a:cubicBezTo>
                    <a:pt x="79" y="0"/>
                    <a:pt x="65" y="7"/>
                    <a:pt x="56" y="11"/>
                  </a:cubicBezTo>
                  <a:cubicBezTo>
                    <a:pt x="60" y="16"/>
                    <a:pt x="69" y="27"/>
                    <a:pt x="63" y="30"/>
                  </a:cubicBezTo>
                  <a:cubicBezTo>
                    <a:pt x="55" y="34"/>
                    <a:pt x="45" y="21"/>
                    <a:pt x="45" y="21"/>
                  </a:cubicBezTo>
                  <a:cubicBezTo>
                    <a:pt x="35" y="27"/>
                    <a:pt x="25" y="60"/>
                    <a:pt x="25" y="60"/>
                  </a:cubicBezTo>
                  <a:cubicBezTo>
                    <a:pt x="25" y="60"/>
                    <a:pt x="14" y="68"/>
                    <a:pt x="0" y="77"/>
                  </a:cubicBezTo>
                  <a:cubicBezTo>
                    <a:pt x="5" y="92"/>
                    <a:pt x="5" y="92"/>
                    <a:pt x="5" y="92"/>
                  </a:cubicBezTo>
                  <a:lnTo>
                    <a:pt x="17" y="9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2" name="Haute Normandie" descr="© INSCALE GmbH, 05.05.2010&#10;http://www.presentationload.com/">
              <a:extLst>
                <a:ext uri="{FF2B5EF4-FFF2-40B4-BE49-F238E27FC236}">
                  <a16:creationId xmlns:a16="http://schemas.microsoft.com/office/drawing/2014/main" id="{67DE9D41-AD0D-42D6-AE91-CBB98FF22C82}"/>
                </a:ext>
              </a:extLst>
            </p:cNvPr>
            <p:cNvSpPr>
              <a:spLocks/>
            </p:cNvSpPr>
            <p:nvPr/>
          </p:nvSpPr>
          <p:spPr bwMode="gray">
            <a:xfrm>
              <a:off x="1259" y="493"/>
              <a:ext cx="385" cy="503"/>
            </a:xfrm>
            <a:custGeom>
              <a:avLst/>
              <a:gdLst/>
              <a:ahLst/>
              <a:cxnLst>
                <a:cxn ang="0">
                  <a:pos x="355" y="198"/>
                </a:cxn>
                <a:cxn ang="0">
                  <a:pos x="345" y="199"/>
                </a:cxn>
                <a:cxn ang="0">
                  <a:pos x="351" y="187"/>
                </a:cxn>
                <a:cxn ang="0">
                  <a:pos x="341" y="167"/>
                </a:cxn>
                <a:cxn ang="0">
                  <a:pos x="351" y="136"/>
                </a:cxn>
                <a:cxn ang="0">
                  <a:pos x="340" y="135"/>
                </a:cxn>
                <a:cxn ang="0">
                  <a:pos x="357" y="112"/>
                </a:cxn>
                <a:cxn ang="0">
                  <a:pos x="333" y="62"/>
                </a:cxn>
                <a:cxn ang="0">
                  <a:pos x="289" y="22"/>
                </a:cxn>
                <a:cxn ang="0">
                  <a:pos x="289" y="18"/>
                </a:cxn>
                <a:cxn ang="0">
                  <a:pos x="277" y="15"/>
                </a:cxn>
                <a:cxn ang="0">
                  <a:pos x="272" y="0"/>
                </a:cxn>
                <a:cxn ang="0">
                  <a:pos x="220" y="29"/>
                </a:cxn>
                <a:cxn ang="0">
                  <a:pos x="155" y="47"/>
                </a:cxn>
                <a:cxn ang="0">
                  <a:pos x="108" y="50"/>
                </a:cxn>
                <a:cxn ang="0">
                  <a:pos x="30" y="93"/>
                </a:cxn>
                <a:cxn ang="0">
                  <a:pos x="0" y="150"/>
                </a:cxn>
                <a:cxn ang="0">
                  <a:pos x="10" y="167"/>
                </a:cxn>
                <a:cxn ang="0">
                  <a:pos x="39" y="178"/>
                </a:cxn>
                <a:cxn ang="0">
                  <a:pos x="52" y="263"/>
                </a:cxn>
                <a:cxn ang="0">
                  <a:pos x="53" y="271"/>
                </a:cxn>
                <a:cxn ang="0">
                  <a:pos x="67" y="288"/>
                </a:cxn>
                <a:cxn ang="0">
                  <a:pos x="67" y="303"/>
                </a:cxn>
                <a:cxn ang="0">
                  <a:pos x="72" y="311"/>
                </a:cxn>
                <a:cxn ang="0">
                  <a:pos x="71" y="331"/>
                </a:cxn>
                <a:cxn ang="0">
                  <a:pos x="63" y="332"/>
                </a:cxn>
                <a:cxn ang="0">
                  <a:pos x="72" y="344"/>
                </a:cxn>
                <a:cxn ang="0">
                  <a:pos x="65" y="379"/>
                </a:cxn>
                <a:cxn ang="0">
                  <a:pos x="72" y="388"/>
                </a:cxn>
                <a:cxn ang="0">
                  <a:pos x="105" y="390"/>
                </a:cxn>
                <a:cxn ang="0">
                  <a:pos x="112" y="410"/>
                </a:cxn>
                <a:cxn ang="0">
                  <a:pos x="136" y="448"/>
                </a:cxn>
                <a:cxn ang="0">
                  <a:pos x="139" y="459"/>
                </a:cxn>
                <a:cxn ang="0">
                  <a:pos x="167" y="444"/>
                </a:cxn>
                <a:cxn ang="0">
                  <a:pos x="201" y="434"/>
                </a:cxn>
                <a:cxn ang="0">
                  <a:pos x="211" y="438"/>
                </a:cxn>
                <a:cxn ang="0">
                  <a:pos x="212" y="427"/>
                </a:cxn>
                <a:cxn ang="0">
                  <a:pos x="263" y="431"/>
                </a:cxn>
                <a:cxn ang="0">
                  <a:pos x="268" y="408"/>
                </a:cxn>
                <a:cxn ang="0">
                  <a:pos x="288" y="395"/>
                </a:cxn>
                <a:cxn ang="0">
                  <a:pos x="288" y="383"/>
                </a:cxn>
                <a:cxn ang="0">
                  <a:pos x="297" y="379"/>
                </a:cxn>
                <a:cxn ang="0">
                  <a:pos x="284" y="343"/>
                </a:cxn>
                <a:cxn ang="0">
                  <a:pos x="297" y="338"/>
                </a:cxn>
                <a:cxn ang="0">
                  <a:pos x="295" y="331"/>
                </a:cxn>
                <a:cxn ang="0">
                  <a:pos x="323" y="328"/>
                </a:cxn>
                <a:cxn ang="0">
                  <a:pos x="340" y="281"/>
                </a:cxn>
                <a:cxn ang="0">
                  <a:pos x="337" y="272"/>
                </a:cxn>
                <a:cxn ang="0">
                  <a:pos x="354" y="277"/>
                </a:cxn>
                <a:cxn ang="0">
                  <a:pos x="356" y="278"/>
                </a:cxn>
                <a:cxn ang="0">
                  <a:pos x="356" y="277"/>
                </a:cxn>
                <a:cxn ang="0">
                  <a:pos x="345" y="226"/>
                </a:cxn>
                <a:cxn ang="0">
                  <a:pos x="355" y="198"/>
                </a:cxn>
              </a:cxnLst>
              <a:rect l="0" t="0" r="r" b="b"/>
              <a:pathLst>
                <a:path w="357" h="466">
                  <a:moveTo>
                    <a:pt x="355" y="198"/>
                  </a:moveTo>
                  <a:cubicBezTo>
                    <a:pt x="345" y="199"/>
                    <a:pt x="345" y="199"/>
                    <a:pt x="345" y="199"/>
                  </a:cubicBezTo>
                  <a:cubicBezTo>
                    <a:pt x="351" y="187"/>
                    <a:pt x="351" y="187"/>
                    <a:pt x="351" y="187"/>
                  </a:cubicBezTo>
                  <a:cubicBezTo>
                    <a:pt x="341" y="167"/>
                    <a:pt x="341" y="167"/>
                    <a:pt x="341" y="167"/>
                  </a:cubicBezTo>
                  <a:cubicBezTo>
                    <a:pt x="351" y="136"/>
                    <a:pt x="351" y="136"/>
                    <a:pt x="351" y="136"/>
                  </a:cubicBezTo>
                  <a:cubicBezTo>
                    <a:pt x="351" y="136"/>
                    <a:pt x="344" y="136"/>
                    <a:pt x="340" y="135"/>
                  </a:cubicBezTo>
                  <a:cubicBezTo>
                    <a:pt x="336" y="134"/>
                    <a:pt x="357" y="112"/>
                    <a:pt x="357" y="112"/>
                  </a:cubicBezTo>
                  <a:cubicBezTo>
                    <a:pt x="333" y="62"/>
                    <a:pt x="333" y="62"/>
                    <a:pt x="333" y="62"/>
                  </a:cubicBezTo>
                  <a:cubicBezTo>
                    <a:pt x="315" y="59"/>
                    <a:pt x="289" y="22"/>
                    <a:pt x="289" y="22"/>
                  </a:cubicBezTo>
                  <a:cubicBezTo>
                    <a:pt x="289" y="18"/>
                    <a:pt x="289" y="18"/>
                    <a:pt x="289" y="18"/>
                  </a:cubicBezTo>
                  <a:cubicBezTo>
                    <a:pt x="277" y="15"/>
                    <a:pt x="277" y="15"/>
                    <a:pt x="277" y="15"/>
                  </a:cubicBezTo>
                  <a:cubicBezTo>
                    <a:pt x="272" y="0"/>
                    <a:pt x="272" y="0"/>
                    <a:pt x="272" y="0"/>
                  </a:cubicBezTo>
                  <a:cubicBezTo>
                    <a:pt x="255" y="11"/>
                    <a:pt x="233" y="25"/>
                    <a:pt x="220" y="29"/>
                  </a:cubicBezTo>
                  <a:cubicBezTo>
                    <a:pt x="196" y="38"/>
                    <a:pt x="155" y="47"/>
                    <a:pt x="155" y="47"/>
                  </a:cubicBezTo>
                  <a:cubicBezTo>
                    <a:pt x="155" y="47"/>
                    <a:pt x="110" y="54"/>
                    <a:pt x="108" y="50"/>
                  </a:cubicBezTo>
                  <a:cubicBezTo>
                    <a:pt x="81" y="78"/>
                    <a:pt x="30" y="93"/>
                    <a:pt x="30" y="93"/>
                  </a:cubicBezTo>
                  <a:cubicBezTo>
                    <a:pt x="0" y="150"/>
                    <a:pt x="0" y="150"/>
                    <a:pt x="0" y="150"/>
                  </a:cubicBezTo>
                  <a:cubicBezTo>
                    <a:pt x="10" y="167"/>
                    <a:pt x="10" y="167"/>
                    <a:pt x="10" y="167"/>
                  </a:cubicBezTo>
                  <a:cubicBezTo>
                    <a:pt x="10" y="167"/>
                    <a:pt x="44" y="176"/>
                    <a:pt x="39" y="178"/>
                  </a:cubicBezTo>
                  <a:cubicBezTo>
                    <a:pt x="52" y="263"/>
                    <a:pt x="52" y="263"/>
                    <a:pt x="52" y="263"/>
                  </a:cubicBezTo>
                  <a:cubicBezTo>
                    <a:pt x="52" y="263"/>
                    <a:pt x="84" y="260"/>
                    <a:pt x="53" y="271"/>
                  </a:cubicBezTo>
                  <a:cubicBezTo>
                    <a:pt x="51" y="278"/>
                    <a:pt x="67" y="288"/>
                    <a:pt x="67" y="288"/>
                  </a:cubicBezTo>
                  <a:cubicBezTo>
                    <a:pt x="67" y="303"/>
                    <a:pt x="67" y="303"/>
                    <a:pt x="67" y="303"/>
                  </a:cubicBezTo>
                  <a:cubicBezTo>
                    <a:pt x="72" y="311"/>
                    <a:pt x="72" y="311"/>
                    <a:pt x="72" y="311"/>
                  </a:cubicBezTo>
                  <a:cubicBezTo>
                    <a:pt x="71" y="331"/>
                    <a:pt x="71" y="331"/>
                    <a:pt x="71" y="331"/>
                  </a:cubicBezTo>
                  <a:cubicBezTo>
                    <a:pt x="63" y="332"/>
                    <a:pt x="63" y="332"/>
                    <a:pt x="63" y="332"/>
                  </a:cubicBezTo>
                  <a:cubicBezTo>
                    <a:pt x="72" y="344"/>
                    <a:pt x="72" y="344"/>
                    <a:pt x="72" y="344"/>
                  </a:cubicBezTo>
                  <a:cubicBezTo>
                    <a:pt x="72" y="344"/>
                    <a:pt x="72" y="374"/>
                    <a:pt x="65" y="379"/>
                  </a:cubicBezTo>
                  <a:cubicBezTo>
                    <a:pt x="59" y="384"/>
                    <a:pt x="72" y="388"/>
                    <a:pt x="72" y="388"/>
                  </a:cubicBezTo>
                  <a:cubicBezTo>
                    <a:pt x="105" y="390"/>
                    <a:pt x="105" y="390"/>
                    <a:pt x="105" y="390"/>
                  </a:cubicBezTo>
                  <a:cubicBezTo>
                    <a:pt x="112" y="410"/>
                    <a:pt x="112" y="410"/>
                    <a:pt x="112" y="410"/>
                  </a:cubicBezTo>
                  <a:cubicBezTo>
                    <a:pt x="112" y="410"/>
                    <a:pt x="157" y="434"/>
                    <a:pt x="136" y="448"/>
                  </a:cubicBezTo>
                  <a:cubicBezTo>
                    <a:pt x="132" y="448"/>
                    <a:pt x="139" y="459"/>
                    <a:pt x="139" y="459"/>
                  </a:cubicBezTo>
                  <a:cubicBezTo>
                    <a:pt x="139" y="459"/>
                    <a:pt x="159" y="466"/>
                    <a:pt x="167" y="444"/>
                  </a:cubicBezTo>
                  <a:cubicBezTo>
                    <a:pt x="171" y="444"/>
                    <a:pt x="179" y="456"/>
                    <a:pt x="201" y="434"/>
                  </a:cubicBezTo>
                  <a:cubicBezTo>
                    <a:pt x="203" y="438"/>
                    <a:pt x="211" y="438"/>
                    <a:pt x="211" y="438"/>
                  </a:cubicBezTo>
                  <a:cubicBezTo>
                    <a:pt x="212" y="427"/>
                    <a:pt x="212" y="427"/>
                    <a:pt x="212" y="427"/>
                  </a:cubicBezTo>
                  <a:cubicBezTo>
                    <a:pt x="212" y="427"/>
                    <a:pt x="256" y="442"/>
                    <a:pt x="263" y="431"/>
                  </a:cubicBezTo>
                  <a:cubicBezTo>
                    <a:pt x="269" y="420"/>
                    <a:pt x="268" y="408"/>
                    <a:pt x="268" y="408"/>
                  </a:cubicBezTo>
                  <a:cubicBezTo>
                    <a:pt x="268" y="408"/>
                    <a:pt x="287" y="400"/>
                    <a:pt x="288" y="395"/>
                  </a:cubicBezTo>
                  <a:cubicBezTo>
                    <a:pt x="289" y="390"/>
                    <a:pt x="288" y="383"/>
                    <a:pt x="288" y="383"/>
                  </a:cubicBezTo>
                  <a:cubicBezTo>
                    <a:pt x="297" y="379"/>
                    <a:pt x="297" y="379"/>
                    <a:pt x="297" y="379"/>
                  </a:cubicBezTo>
                  <a:cubicBezTo>
                    <a:pt x="284" y="343"/>
                    <a:pt x="284" y="343"/>
                    <a:pt x="284" y="343"/>
                  </a:cubicBezTo>
                  <a:cubicBezTo>
                    <a:pt x="284" y="343"/>
                    <a:pt x="301" y="338"/>
                    <a:pt x="297" y="338"/>
                  </a:cubicBezTo>
                  <a:cubicBezTo>
                    <a:pt x="293" y="338"/>
                    <a:pt x="295" y="331"/>
                    <a:pt x="295" y="331"/>
                  </a:cubicBezTo>
                  <a:cubicBezTo>
                    <a:pt x="323" y="328"/>
                    <a:pt x="323" y="328"/>
                    <a:pt x="323" y="328"/>
                  </a:cubicBezTo>
                  <a:cubicBezTo>
                    <a:pt x="340" y="281"/>
                    <a:pt x="340" y="281"/>
                    <a:pt x="340" y="281"/>
                  </a:cubicBezTo>
                  <a:cubicBezTo>
                    <a:pt x="337" y="272"/>
                    <a:pt x="337" y="272"/>
                    <a:pt x="337" y="272"/>
                  </a:cubicBezTo>
                  <a:cubicBezTo>
                    <a:pt x="354" y="277"/>
                    <a:pt x="354" y="277"/>
                    <a:pt x="354" y="277"/>
                  </a:cubicBezTo>
                  <a:cubicBezTo>
                    <a:pt x="356" y="278"/>
                    <a:pt x="356" y="278"/>
                    <a:pt x="356" y="278"/>
                  </a:cubicBezTo>
                  <a:cubicBezTo>
                    <a:pt x="356" y="278"/>
                    <a:pt x="356" y="277"/>
                    <a:pt x="356" y="277"/>
                  </a:cubicBezTo>
                  <a:cubicBezTo>
                    <a:pt x="357" y="262"/>
                    <a:pt x="345" y="226"/>
                    <a:pt x="345" y="226"/>
                  </a:cubicBezTo>
                  <a:lnTo>
                    <a:pt x="355" y="19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3" name="Ile-de-France" descr="© INSCALE GmbH, 05.05.2010&#10;http://www.presentationload.com/">
              <a:extLst>
                <a:ext uri="{FF2B5EF4-FFF2-40B4-BE49-F238E27FC236}">
                  <a16:creationId xmlns:a16="http://schemas.microsoft.com/office/drawing/2014/main" id="{AC31993E-D426-4B7A-9900-2091A79541F4}"/>
                </a:ext>
              </a:extLst>
            </p:cNvPr>
            <p:cNvSpPr>
              <a:spLocks/>
            </p:cNvSpPr>
            <p:nvPr/>
          </p:nvSpPr>
          <p:spPr bwMode="gray">
            <a:xfrm>
              <a:off x="1565" y="796"/>
              <a:ext cx="483" cy="386"/>
            </a:xfrm>
            <a:custGeom>
              <a:avLst/>
              <a:gdLst/>
              <a:ahLst/>
              <a:cxnLst>
                <a:cxn ang="0">
                  <a:pos x="31" y="127"/>
                </a:cxn>
                <a:cxn ang="0">
                  <a:pos x="36" y="158"/>
                </a:cxn>
                <a:cxn ang="0">
                  <a:pos x="35" y="177"/>
                </a:cxn>
                <a:cxn ang="0">
                  <a:pos x="48" y="199"/>
                </a:cxn>
                <a:cxn ang="0">
                  <a:pos x="56" y="214"/>
                </a:cxn>
                <a:cxn ang="0">
                  <a:pos x="71" y="246"/>
                </a:cxn>
                <a:cxn ang="0">
                  <a:pos x="103" y="267"/>
                </a:cxn>
                <a:cxn ang="0">
                  <a:pos x="111" y="303"/>
                </a:cxn>
                <a:cxn ang="0">
                  <a:pos x="153" y="301"/>
                </a:cxn>
                <a:cxn ang="0">
                  <a:pos x="167" y="290"/>
                </a:cxn>
                <a:cxn ang="0">
                  <a:pos x="183" y="293"/>
                </a:cxn>
                <a:cxn ang="0">
                  <a:pos x="201" y="297"/>
                </a:cxn>
                <a:cxn ang="0">
                  <a:pos x="229" y="338"/>
                </a:cxn>
                <a:cxn ang="0">
                  <a:pos x="273" y="354"/>
                </a:cxn>
                <a:cxn ang="0">
                  <a:pos x="285" y="346"/>
                </a:cxn>
                <a:cxn ang="0">
                  <a:pos x="316" y="345"/>
                </a:cxn>
                <a:cxn ang="0">
                  <a:pos x="333" y="297"/>
                </a:cxn>
                <a:cxn ang="0">
                  <a:pos x="400" y="277"/>
                </a:cxn>
                <a:cxn ang="0">
                  <a:pos x="411" y="243"/>
                </a:cxn>
                <a:cxn ang="0">
                  <a:pos x="413" y="225"/>
                </a:cxn>
                <a:cxn ang="0">
                  <a:pos x="424" y="210"/>
                </a:cxn>
                <a:cxn ang="0">
                  <a:pos x="437" y="199"/>
                </a:cxn>
                <a:cxn ang="0">
                  <a:pos x="440" y="191"/>
                </a:cxn>
                <a:cxn ang="0">
                  <a:pos x="425" y="158"/>
                </a:cxn>
                <a:cxn ang="0">
                  <a:pos x="411" y="147"/>
                </a:cxn>
                <a:cxn ang="0">
                  <a:pos x="412" y="137"/>
                </a:cxn>
                <a:cxn ang="0">
                  <a:pos x="428" y="123"/>
                </a:cxn>
                <a:cxn ang="0">
                  <a:pos x="405" y="99"/>
                </a:cxn>
                <a:cxn ang="0">
                  <a:pos x="392" y="91"/>
                </a:cxn>
                <a:cxn ang="0">
                  <a:pos x="364" y="73"/>
                </a:cxn>
                <a:cxn ang="0">
                  <a:pos x="337" y="45"/>
                </a:cxn>
                <a:cxn ang="0">
                  <a:pos x="285" y="47"/>
                </a:cxn>
                <a:cxn ang="0">
                  <a:pos x="248" y="43"/>
                </a:cxn>
                <a:cxn ang="0">
                  <a:pos x="233" y="41"/>
                </a:cxn>
                <a:cxn ang="0">
                  <a:pos x="191" y="25"/>
                </a:cxn>
                <a:cxn ang="0">
                  <a:pos x="165" y="26"/>
                </a:cxn>
                <a:cxn ang="0">
                  <a:pos x="157" y="25"/>
                </a:cxn>
                <a:cxn ang="0">
                  <a:pos x="139" y="18"/>
                </a:cxn>
                <a:cxn ang="0">
                  <a:pos x="116" y="17"/>
                </a:cxn>
                <a:cxn ang="0">
                  <a:pos x="56" y="0"/>
                </a:cxn>
                <a:cxn ang="0">
                  <a:pos x="11" y="50"/>
                </a:cxn>
                <a:cxn ang="0">
                  <a:pos x="0" y="62"/>
                </a:cxn>
                <a:cxn ang="0">
                  <a:pos x="12" y="99"/>
                </a:cxn>
                <a:cxn ang="0">
                  <a:pos x="23" y="122"/>
                </a:cxn>
              </a:cxnLst>
              <a:rect l="0" t="0" r="r" b="b"/>
              <a:pathLst>
                <a:path w="448" h="357">
                  <a:moveTo>
                    <a:pt x="23" y="122"/>
                  </a:moveTo>
                  <a:cubicBezTo>
                    <a:pt x="31" y="127"/>
                    <a:pt x="31" y="127"/>
                    <a:pt x="31" y="127"/>
                  </a:cubicBezTo>
                  <a:cubicBezTo>
                    <a:pt x="29" y="151"/>
                    <a:pt x="29" y="151"/>
                    <a:pt x="29" y="151"/>
                  </a:cubicBezTo>
                  <a:cubicBezTo>
                    <a:pt x="36" y="158"/>
                    <a:pt x="36" y="158"/>
                    <a:pt x="36" y="158"/>
                  </a:cubicBezTo>
                  <a:cubicBezTo>
                    <a:pt x="25" y="173"/>
                    <a:pt x="25" y="173"/>
                    <a:pt x="25" y="173"/>
                  </a:cubicBezTo>
                  <a:cubicBezTo>
                    <a:pt x="35" y="177"/>
                    <a:pt x="35" y="177"/>
                    <a:pt x="35" y="177"/>
                  </a:cubicBezTo>
                  <a:cubicBezTo>
                    <a:pt x="33" y="187"/>
                    <a:pt x="33" y="187"/>
                    <a:pt x="33" y="187"/>
                  </a:cubicBezTo>
                  <a:cubicBezTo>
                    <a:pt x="48" y="199"/>
                    <a:pt x="48" y="199"/>
                    <a:pt x="48" y="199"/>
                  </a:cubicBezTo>
                  <a:cubicBezTo>
                    <a:pt x="57" y="202"/>
                    <a:pt x="57" y="202"/>
                    <a:pt x="57" y="202"/>
                  </a:cubicBezTo>
                  <a:cubicBezTo>
                    <a:pt x="56" y="214"/>
                    <a:pt x="56" y="214"/>
                    <a:pt x="56" y="214"/>
                  </a:cubicBezTo>
                  <a:cubicBezTo>
                    <a:pt x="69" y="221"/>
                    <a:pt x="69" y="221"/>
                    <a:pt x="69" y="221"/>
                  </a:cubicBezTo>
                  <a:cubicBezTo>
                    <a:pt x="71" y="246"/>
                    <a:pt x="71" y="246"/>
                    <a:pt x="71" y="246"/>
                  </a:cubicBezTo>
                  <a:cubicBezTo>
                    <a:pt x="71" y="246"/>
                    <a:pt x="95" y="261"/>
                    <a:pt x="97" y="253"/>
                  </a:cubicBezTo>
                  <a:cubicBezTo>
                    <a:pt x="101" y="254"/>
                    <a:pt x="103" y="267"/>
                    <a:pt x="103" y="267"/>
                  </a:cubicBezTo>
                  <a:cubicBezTo>
                    <a:pt x="113" y="269"/>
                    <a:pt x="113" y="269"/>
                    <a:pt x="113" y="269"/>
                  </a:cubicBezTo>
                  <a:cubicBezTo>
                    <a:pt x="113" y="269"/>
                    <a:pt x="101" y="295"/>
                    <a:pt x="111" y="303"/>
                  </a:cubicBezTo>
                  <a:cubicBezTo>
                    <a:pt x="120" y="311"/>
                    <a:pt x="127" y="301"/>
                    <a:pt x="135" y="301"/>
                  </a:cubicBezTo>
                  <a:cubicBezTo>
                    <a:pt x="143" y="301"/>
                    <a:pt x="153" y="301"/>
                    <a:pt x="153" y="301"/>
                  </a:cubicBezTo>
                  <a:cubicBezTo>
                    <a:pt x="160" y="287"/>
                    <a:pt x="160" y="287"/>
                    <a:pt x="160" y="287"/>
                  </a:cubicBezTo>
                  <a:cubicBezTo>
                    <a:pt x="167" y="290"/>
                    <a:pt x="167" y="290"/>
                    <a:pt x="167" y="290"/>
                  </a:cubicBezTo>
                  <a:cubicBezTo>
                    <a:pt x="169" y="301"/>
                    <a:pt x="169" y="301"/>
                    <a:pt x="169" y="301"/>
                  </a:cubicBezTo>
                  <a:cubicBezTo>
                    <a:pt x="183" y="293"/>
                    <a:pt x="183" y="293"/>
                    <a:pt x="183" y="293"/>
                  </a:cubicBezTo>
                  <a:cubicBezTo>
                    <a:pt x="199" y="298"/>
                    <a:pt x="199" y="298"/>
                    <a:pt x="199" y="298"/>
                  </a:cubicBezTo>
                  <a:cubicBezTo>
                    <a:pt x="201" y="297"/>
                    <a:pt x="201" y="297"/>
                    <a:pt x="201" y="297"/>
                  </a:cubicBezTo>
                  <a:cubicBezTo>
                    <a:pt x="205" y="313"/>
                    <a:pt x="205" y="313"/>
                    <a:pt x="205" y="313"/>
                  </a:cubicBezTo>
                  <a:cubicBezTo>
                    <a:pt x="205" y="313"/>
                    <a:pt x="232" y="319"/>
                    <a:pt x="229" y="338"/>
                  </a:cubicBezTo>
                  <a:cubicBezTo>
                    <a:pt x="228" y="349"/>
                    <a:pt x="222" y="352"/>
                    <a:pt x="218" y="353"/>
                  </a:cubicBezTo>
                  <a:cubicBezTo>
                    <a:pt x="273" y="354"/>
                    <a:pt x="273" y="354"/>
                    <a:pt x="273" y="354"/>
                  </a:cubicBezTo>
                  <a:cubicBezTo>
                    <a:pt x="273" y="346"/>
                    <a:pt x="273" y="346"/>
                    <a:pt x="273" y="346"/>
                  </a:cubicBezTo>
                  <a:cubicBezTo>
                    <a:pt x="285" y="346"/>
                    <a:pt x="285" y="346"/>
                    <a:pt x="285" y="346"/>
                  </a:cubicBezTo>
                  <a:cubicBezTo>
                    <a:pt x="285" y="357"/>
                    <a:pt x="285" y="357"/>
                    <a:pt x="285" y="357"/>
                  </a:cubicBezTo>
                  <a:cubicBezTo>
                    <a:pt x="285" y="357"/>
                    <a:pt x="308" y="353"/>
                    <a:pt x="316" y="345"/>
                  </a:cubicBezTo>
                  <a:cubicBezTo>
                    <a:pt x="324" y="337"/>
                    <a:pt x="339" y="313"/>
                    <a:pt x="339" y="313"/>
                  </a:cubicBezTo>
                  <a:cubicBezTo>
                    <a:pt x="333" y="297"/>
                    <a:pt x="333" y="297"/>
                    <a:pt x="333" y="297"/>
                  </a:cubicBezTo>
                  <a:cubicBezTo>
                    <a:pt x="341" y="277"/>
                    <a:pt x="341" y="277"/>
                    <a:pt x="341" y="277"/>
                  </a:cubicBezTo>
                  <a:cubicBezTo>
                    <a:pt x="400" y="277"/>
                    <a:pt x="400" y="277"/>
                    <a:pt x="400" y="277"/>
                  </a:cubicBezTo>
                  <a:cubicBezTo>
                    <a:pt x="415" y="269"/>
                    <a:pt x="415" y="269"/>
                    <a:pt x="415" y="269"/>
                  </a:cubicBezTo>
                  <a:cubicBezTo>
                    <a:pt x="411" y="243"/>
                    <a:pt x="411" y="243"/>
                    <a:pt x="411" y="243"/>
                  </a:cubicBezTo>
                  <a:cubicBezTo>
                    <a:pt x="420" y="234"/>
                    <a:pt x="420" y="234"/>
                    <a:pt x="420" y="234"/>
                  </a:cubicBezTo>
                  <a:cubicBezTo>
                    <a:pt x="413" y="225"/>
                    <a:pt x="413" y="225"/>
                    <a:pt x="413" y="225"/>
                  </a:cubicBezTo>
                  <a:cubicBezTo>
                    <a:pt x="428" y="222"/>
                    <a:pt x="428" y="222"/>
                    <a:pt x="428" y="222"/>
                  </a:cubicBezTo>
                  <a:cubicBezTo>
                    <a:pt x="424" y="210"/>
                    <a:pt x="424" y="210"/>
                    <a:pt x="424" y="210"/>
                  </a:cubicBezTo>
                  <a:cubicBezTo>
                    <a:pt x="436" y="210"/>
                    <a:pt x="436" y="210"/>
                    <a:pt x="436" y="210"/>
                  </a:cubicBezTo>
                  <a:cubicBezTo>
                    <a:pt x="437" y="199"/>
                    <a:pt x="437" y="199"/>
                    <a:pt x="437" y="199"/>
                  </a:cubicBezTo>
                  <a:cubicBezTo>
                    <a:pt x="448" y="201"/>
                    <a:pt x="448" y="201"/>
                    <a:pt x="448" y="201"/>
                  </a:cubicBezTo>
                  <a:cubicBezTo>
                    <a:pt x="440" y="191"/>
                    <a:pt x="440" y="191"/>
                    <a:pt x="440" y="191"/>
                  </a:cubicBezTo>
                  <a:cubicBezTo>
                    <a:pt x="424" y="190"/>
                    <a:pt x="424" y="190"/>
                    <a:pt x="424" y="190"/>
                  </a:cubicBezTo>
                  <a:cubicBezTo>
                    <a:pt x="425" y="158"/>
                    <a:pt x="425" y="158"/>
                    <a:pt x="425" y="158"/>
                  </a:cubicBezTo>
                  <a:cubicBezTo>
                    <a:pt x="411" y="157"/>
                    <a:pt x="411" y="157"/>
                    <a:pt x="411" y="157"/>
                  </a:cubicBezTo>
                  <a:cubicBezTo>
                    <a:pt x="411" y="147"/>
                    <a:pt x="411" y="147"/>
                    <a:pt x="411" y="147"/>
                  </a:cubicBezTo>
                  <a:cubicBezTo>
                    <a:pt x="419" y="146"/>
                    <a:pt x="419" y="146"/>
                    <a:pt x="419" y="146"/>
                  </a:cubicBezTo>
                  <a:cubicBezTo>
                    <a:pt x="412" y="137"/>
                    <a:pt x="412" y="137"/>
                    <a:pt x="412" y="137"/>
                  </a:cubicBezTo>
                  <a:cubicBezTo>
                    <a:pt x="428" y="130"/>
                    <a:pt x="428" y="130"/>
                    <a:pt x="428" y="130"/>
                  </a:cubicBezTo>
                  <a:cubicBezTo>
                    <a:pt x="428" y="123"/>
                    <a:pt x="428" y="123"/>
                    <a:pt x="428" y="123"/>
                  </a:cubicBezTo>
                  <a:cubicBezTo>
                    <a:pt x="424" y="122"/>
                    <a:pt x="413" y="118"/>
                    <a:pt x="409" y="118"/>
                  </a:cubicBezTo>
                  <a:cubicBezTo>
                    <a:pt x="405" y="118"/>
                    <a:pt x="405" y="99"/>
                    <a:pt x="405" y="99"/>
                  </a:cubicBezTo>
                  <a:cubicBezTo>
                    <a:pt x="395" y="99"/>
                    <a:pt x="395" y="99"/>
                    <a:pt x="395" y="99"/>
                  </a:cubicBezTo>
                  <a:cubicBezTo>
                    <a:pt x="392" y="91"/>
                    <a:pt x="392" y="91"/>
                    <a:pt x="392" y="91"/>
                  </a:cubicBezTo>
                  <a:cubicBezTo>
                    <a:pt x="392" y="91"/>
                    <a:pt x="379" y="101"/>
                    <a:pt x="380" y="93"/>
                  </a:cubicBezTo>
                  <a:cubicBezTo>
                    <a:pt x="381" y="85"/>
                    <a:pt x="365" y="78"/>
                    <a:pt x="364" y="73"/>
                  </a:cubicBezTo>
                  <a:cubicBezTo>
                    <a:pt x="368" y="41"/>
                    <a:pt x="344" y="39"/>
                    <a:pt x="344" y="39"/>
                  </a:cubicBezTo>
                  <a:cubicBezTo>
                    <a:pt x="337" y="45"/>
                    <a:pt x="337" y="45"/>
                    <a:pt x="337" y="45"/>
                  </a:cubicBezTo>
                  <a:cubicBezTo>
                    <a:pt x="299" y="55"/>
                    <a:pt x="299" y="55"/>
                    <a:pt x="299" y="55"/>
                  </a:cubicBezTo>
                  <a:cubicBezTo>
                    <a:pt x="285" y="47"/>
                    <a:pt x="285" y="47"/>
                    <a:pt x="285" y="47"/>
                  </a:cubicBezTo>
                  <a:cubicBezTo>
                    <a:pt x="285" y="47"/>
                    <a:pt x="276" y="57"/>
                    <a:pt x="268" y="54"/>
                  </a:cubicBezTo>
                  <a:cubicBezTo>
                    <a:pt x="260" y="51"/>
                    <a:pt x="255" y="47"/>
                    <a:pt x="248" y="43"/>
                  </a:cubicBezTo>
                  <a:cubicBezTo>
                    <a:pt x="241" y="39"/>
                    <a:pt x="239" y="51"/>
                    <a:pt x="239" y="51"/>
                  </a:cubicBezTo>
                  <a:cubicBezTo>
                    <a:pt x="233" y="41"/>
                    <a:pt x="233" y="41"/>
                    <a:pt x="233" y="41"/>
                  </a:cubicBezTo>
                  <a:cubicBezTo>
                    <a:pt x="233" y="41"/>
                    <a:pt x="215" y="49"/>
                    <a:pt x="220" y="45"/>
                  </a:cubicBezTo>
                  <a:cubicBezTo>
                    <a:pt x="225" y="41"/>
                    <a:pt x="207" y="29"/>
                    <a:pt x="191" y="25"/>
                  </a:cubicBezTo>
                  <a:cubicBezTo>
                    <a:pt x="178" y="22"/>
                    <a:pt x="182" y="18"/>
                    <a:pt x="184" y="17"/>
                  </a:cubicBezTo>
                  <a:cubicBezTo>
                    <a:pt x="165" y="26"/>
                    <a:pt x="165" y="26"/>
                    <a:pt x="165" y="26"/>
                  </a:cubicBezTo>
                  <a:cubicBezTo>
                    <a:pt x="161" y="18"/>
                    <a:pt x="161" y="18"/>
                    <a:pt x="161" y="18"/>
                  </a:cubicBezTo>
                  <a:cubicBezTo>
                    <a:pt x="157" y="25"/>
                    <a:pt x="157" y="25"/>
                    <a:pt x="157" y="25"/>
                  </a:cubicBezTo>
                  <a:cubicBezTo>
                    <a:pt x="148" y="15"/>
                    <a:pt x="148" y="15"/>
                    <a:pt x="148" y="15"/>
                  </a:cubicBezTo>
                  <a:cubicBezTo>
                    <a:pt x="139" y="18"/>
                    <a:pt x="139" y="18"/>
                    <a:pt x="139" y="18"/>
                  </a:cubicBezTo>
                  <a:cubicBezTo>
                    <a:pt x="132" y="13"/>
                    <a:pt x="132" y="13"/>
                    <a:pt x="132" y="13"/>
                  </a:cubicBezTo>
                  <a:cubicBezTo>
                    <a:pt x="116" y="17"/>
                    <a:pt x="116" y="17"/>
                    <a:pt x="116" y="17"/>
                  </a:cubicBezTo>
                  <a:cubicBezTo>
                    <a:pt x="64" y="21"/>
                    <a:pt x="64" y="21"/>
                    <a:pt x="64" y="21"/>
                  </a:cubicBezTo>
                  <a:cubicBezTo>
                    <a:pt x="56" y="0"/>
                    <a:pt x="56" y="0"/>
                    <a:pt x="56" y="0"/>
                  </a:cubicBezTo>
                  <a:cubicBezTo>
                    <a:pt x="39" y="47"/>
                    <a:pt x="39" y="47"/>
                    <a:pt x="39" y="47"/>
                  </a:cubicBezTo>
                  <a:cubicBezTo>
                    <a:pt x="11" y="50"/>
                    <a:pt x="11" y="50"/>
                    <a:pt x="11" y="50"/>
                  </a:cubicBezTo>
                  <a:cubicBezTo>
                    <a:pt x="11" y="50"/>
                    <a:pt x="9" y="57"/>
                    <a:pt x="13" y="57"/>
                  </a:cubicBezTo>
                  <a:cubicBezTo>
                    <a:pt x="17" y="57"/>
                    <a:pt x="0" y="62"/>
                    <a:pt x="0" y="62"/>
                  </a:cubicBezTo>
                  <a:cubicBezTo>
                    <a:pt x="13" y="98"/>
                    <a:pt x="13" y="98"/>
                    <a:pt x="13" y="98"/>
                  </a:cubicBezTo>
                  <a:cubicBezTo>
                    <a:pt x="12" y="99"/>
                    <a:pt x="12" y="99"/>
                    <a:pt x="12" y="99"/>
                  </a:cubicBezTo>
                  <a:cubicBezTo>
                    <a:pt x="27" y="113"/>
                    <a:pt x="27" y="113"/>
                    <a:pt x="27" y="113"/>
                  </a:cubicBezTo>
                  <a:lnTo>
                    <a:pt x="23" y="12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4" name="Champagne-Ardenne" descr="© INSCALE GmbH, 05.05.2010&#10;http://www.presentationload.com/">
              <a:extLst>
                <a:ext uri="{FF2B5EF4-FFF2-40B4-BE49-F238E27FC236}">
                  <a16:creationId xmlns:a16="http://schemas.microsoft.com/office/drawing/2014/main" id="{42702F3F-420E-4857-A133-B4AD3E556CC4}"/>
                </a:ext>
              </a:extLst>
            </p:cNvPr>
            <p:cNvSpPr>
              <a:spLocks/>
            </p:cNvSpPr>
            <p:nvPr/>
          </p:nvSpPr>
          <p:spPr bwMode="gray">
            <a:xfrm>
              <a:off x="2008" y="466"/>
              <a:ext cx="578" cy="893"/>
            </a:xfrm>
            <a:custGeom>
              <a:avLst/>
              <a:gdLst/>
              <a:ahLst/>
              <a:cxnLst>
                <a:cxn ang="0">
                  <a:pos x="514" y="699"/>
                </a:cxn>
                <a:cxn ang="0">
                  <a:pos x="493" y="668"/>
                </a:cxn>
                <a:cxn ang="0">
                  <a:pos x="497" y="623"/>
                </a:cxn>
                <a:cxn ang="0">
                  <a:pos x="465" y="599"/>
                </a:cxn>
                <a:cxn ang="0">
                  <a:pos x="432" y="580"/>
                </a:cxn>
                <a:cxn ang="0">
                  <a:pos x="429" y="563"/>
                </a:cxn>
                <a:cxn ang="0">
                  <a:pos x="381" y="521"/>
                </a:cxn>
                <a:cxn ang="0">
                  <a:pos x="341" y="497"/>
                </a:cxn>
                <a:cxn ang="0">
                  <a:pos x="322" y="425"/>
                </a:cxn>
                <a:cxn ang="0">
                  <a:pos x="333" y="363"/>
                </a:cxn>
                <a:cxn ang="0">
                  <a:pos x="324" y="299"/>
                </a:cxn>
                <a:cxn ang="0">
                  <a:pos x="354" y="240"/>
                </a:cxn>
                <a:cxn ang="0">
                  <a:pos x="365" y="192"/>
                </a:cxn>
                <a:cxn ang="0">
                  <a:pos x="394" y="184"/>
                </a:cxn>
                <a:cxn ang="0">
                  <a:pos x="416" y="161"/>
                </a:cxn>
                <a:cxn ang="0">
                  <a:pos x="351" y="115"/>
                </a:cxn>
                <a:cxn ang="0">
                  <a:pos x="321" y="99"/>
                </a:cxn>
                <a:cxn ang="0">
                  <a:pos x="301" y="55"/>
                </a:cxn>
                <a:cxn ang="0">
                  <a:pos x="320" y="8"/>
                </a:cxn>
                <a:cxn ang="0">
                  <a:pos x="282" y="21"/>
                </a:cxn>
                <a:cxn ang="0">
                  <a:pos x="230" y="63"/>
                </a:cxn>
                <a:cxn ang="0">
                  <a:pos x="175" y="57"/>
                </a:cxn>
                <a:cxn ang="0">
                  <a:pos x="164" y="128"/>
                </a:cxn>
                <a:cxn ang="0">
                  <a:pos x="141" y="177"/>
                </a:cxn>
                <a:cxn ang="0">
                  <a:pos x="129" y="215"/>
                </a:cxn>
                <a:cxn ang="0">
                  <a:pos x="94" y="257"/>
                </a:cxn>
                <a:cxn ang="0">
                  <a:pos x="56" y="301"/>
                </a:cxn>
                <a:cxn ang="0">
                  <a:pos x="42" y="339"/>
                </a:cxn>
                <a:cxn ang="0">
                  <a:pos x="38" y="368"/>
                </a:cxn>
                <a:cxn ang="0">
                  <a:pos x="28" y="409"/>
                </a:cxn>
                <a:cxn ang="0">
                  <a:pos x="17" y="436"/>
                </a:cxn>
                <a:cxn ang="0">
                  <a:pos x="0" y="453"/>
                </a:cxn>
                <a:cxn ang="0">
                  <a:pos x="13" y="496"/>
                </a:cxn>
                <a:cxn ang="0">
                  <a:pos x="26" y="505"/>
                </a:cxn>
                <a:cxn ang="0">
                  <a:pos x="17" y="528"/>
                </a:cxn>
                <a:cxn ang="0">
                  <a:pos x="0" y="549"/>
                </a:cxn>
                <a:cxn ang="0">
                  <a:pos x="14" y="583"/>
                </a:cxn>
                <a:cxn ang="0">
                  <a:pos x="44" y="644"/>
                </a:cxn>
                <a:cxn ang="0">
                  <a:pos x="68" y="653"/>
                </a:cxn>
                <a:cxn ang="0">
                  <a:pos x="76" y="656"/>
                </a:cxn>
                <a:cxn ang="0">
                  <a:pos x="108" y="720"/>
                </a:cxn>
                <a:cxn ang="0">
                  <a:pos x="156" y="723"/>
                </a:cxn>
                <a:cxn ang="0">
                  <a:pos x="173" y="707"/>
                </a:cxn>
                <a:cxn ang="0">
                  <a:pos x="197" y="723"/>
                </a:cxn>
                <a:cxn ang="0">
                  <a:pos x="301" y="691"/>
                </a:cxn>
                <a:cxn ang="0">
                  <a:pos x="318" y="713"/>
                </a:cxn>
                <a:cxn ang="0">
                  <a:pos x="325" y="719"/>
                </a:cxn>
                <a:cxn ang="0">
                  <a:pos x="332" y="767"/>
                </a:cxn>
                <a:cxn ang="0">
                  <a:pos x="353" y="787"/>
                </a:cxn>
                <a:cxn ang="0">
                  <a:pos x="388" y="807"/>
                </a:cxn>
                <a:cxn ang="0">
                  <a:pos x="421" y="816"/>
                </a:cxn>
                <a:cxn ang="0">
                  <a:pos x="468" y="792"/>
                </a:cxn>
                <a:cxn ang="0">
                  <a:pos x="500" y="788"/>
                </a:cxn>
                <a:cxn ang="0">
                  <a:pos x="497" y="747"/>
                </a:cxn>
                <a:cxn ang="0">
                  <a:pos x="525" y="735"/>
                </a:cxn>
                <a:cxn ang="0">
                  <a:pos x="530" y="697"/>
                </a:cxn>
              </a:cxnLst>
              <a:rect l="0" t="0" r="r" b="b"/>
              <a:pathLst>
                <a:path w="536" h="828">
                  <a:moveTo>
                    <a:pt x="530" y="697"/>
                  </a:moveTo>
                  <a:cubicBezTo>
                    <a:pt x="517" y="701"/>
                    <a:pt x="517" y="701"/>
                    <a:pt x="517" y="701"/>
                  </a:cubicBezTo>
                  <a:cubicBezTo>
                    <a:pt x="514" y="699"/>
                    <a:pt x="514" y="699"/>
                    <a:pt x="514" y="699"/>
                  </a:cubicBezTo>
                  <a:cubicBezTo>
                    <a:pt x="514" y="701"/>
                    <a:pt x="514" y="701"/>
                    <a:pt x="514" y="701"/>
                  </a:cubicBezTo>
                  <a:cubicBezTo>
                    <a:pt x="513" y="681"/>
                    <a:pt x="513" y="681"/>
                    <a:pt x="513" y="681"/>
                  </a:cubicBezTo>
                  <a:cubicBezTo>
                    <a:pt x="493" y="668"/>
                    <a:pt x="493" y="668"/>
                    <a:pt x="493" y="668"/>
                  </a:cubicBezTo>
                  <a:cubicBezTo>
                    <a:pt x="476" y="664"/>
                    <a:pt x="476" y="664"/>
                    <a:pt x="476" y="664"/>
                  </a:cubicBezTo>
                  <a:cubicBezTo>
                    <a:pt x="486" y="652"/>
                    <a:pt x="486" y="652"/>
                    <a:pt x="486" y="652"/>
                  </a:cubicBezTo>
                  <a:cubicBezTo>
                    <a:pt x="486" y="652"/>
                    <a:pt x="486" y="628"/>
                    <a:pt x="497" y="623"/>
                  </a:cubicBezTo>
                  <a:cubicBezTo>
                    <a:pt x="490" y="612"/>
                    <a:pt x="490" y="612"/>
                    <a:pt x="490" y="612"/>
                  </a:cubicBezTo>
                  <a:cubicBezTo>
                    <a:pt x="481" y="611"/>
                    <a:pt x="481" y="611"/>
                    <a:pt x="481" y="611"/>
                  </a:cubicBezTo>
                  <a:cubicBezTo>
                    <a:pt x="481" y="611"/>
                    <a:pt x="481" y="588"/>
                    <a:pt x="465" y="599"/>
                  </a:cubicBezTo>
                  <a:cubicBezTo>
                    <a:pt x="452" y="576"/>
                    <a:pt x="452" y="576"/>
                    <a:pt x="452" y="576"/>
                  </a:cubicBezTo>
                  <a:cubicBezTo>
                    <a:pt x="452" y="576"/>
                    <a:pt x="442" y="573"/>
                    <a:pt x="436" y="577"/>
                  </a:cubicBezTo>
                  <a:cubicBezTo>
                    <a:pt x="435" y="579"/>
                    <a:pt x="434" y="581"/>
                    <a:pt x="432" y="580"/>
                  </a:cubicBezTo>
                  <a:cubicBezTo>
                    <a:pt x="433" y="579"/>
                    <a:pt x="434" y="578"/>
                    <a:pt x="436" y="577"/>
                  </a:cubicBezTo>
                  <a:cubicBezTo>
                    <a:pt x="436" y="574"/>
                    <a:pt x="434" y="571"/>
                    <a:pt x="434" y="571"/>
                  </a:cubicBezTo>
                  <a:cubicBezTo>
                    <a:pt x="429" y="563"/>
                    <a:pt x="429" y="563"/>
                    <a:pt x="429" y="563"/>
                  </a:cubicBezTo>
                  <a:cubicBezTo>
                    <a:pt x="441" y="557"/>
                    <a:pt x="441" y="557"/>
                    <a:pt x="441" y="557"/>
                  </a:cubicBezTo>
                  <a:cubicBezTo>
                    <a:pt x="441" y="557"/>
                    <a:pt x="400" y="521"/>
                    <a:pt x="383" y="521"/>
                  </a:cubicBezTo>
                  <a:cubicBezTo>
                    <a:pt x="383" y="522"/>
                    <a:pt x="382" y="522"/>
                    <a:pt x="381" y="521"/>
                  </a:cubicBezTo>
                  <a:cubicBezTo>
                    <a:pt x="382" y="521"/>
                    <a:pt x="382" y="521"/>
                    <a:pt x="383" y="521"/>
                  </a:cubicBezTo>
                  <a:cubicBezTo>
                    <a:pt x="384" y="518"/>
                    <a:pt x="349" y="491"/>
                    <a:pt x="349" y="491"/>
                  </a:cubicBezTo>
                  <a:cubicBezTo>
                    <a:pt x="341" y="497"/>
                    <a:pt x="341" y="497"/>
                    <a:pt x="341" y="497"/>
                  </a:cubicBezTo>
                  <a:cubicBezTo>
                    <a:pt x="342" y="457"/>
                    <a:pt x="342" y="457"/>
                    <a:pt x="342" y="457"/>
                  </a:cubicBezTo>
                  <a:cubicBezTo>
                    <a:pt x="316" y="439"/>
                    <a:pt x="316" y="439"/>
                    <a:pt x="316" y="439"/>
                  </a:cubicBezTo>
                  <a:cubicBezTo>
                    <a:pt x="322" y="425"/>
                    <a:pt x="322" y="425"/>
                    <a:pt x="322" y="425"/>
                  </a:cubicBezTo>
                  <a:cubicBezTo>
                    <a:pt x="320" y="404"/>
                    <a:pt x="320" y="404"/>
                    <a:pt x="320" y="404"/>
                  </a:cubicBezTo>
                  <a:cubicBezTo>
                    <a:pt x="320" y="404"/>
                    <a:pt x="344" y="395"/>
                    <a:pt x="342" y="385"/>
                  </a:cubicBezTo>
                  <a:cubicBezTo>
                    <a:pt x="341" y="376"/>
                    <a:pt x="344" y="357"/>
                    <a:pt x="333" y="363"/>
                  </a:cubicBezTo>
                  <a:cubicBezTo>
                    <a:pt x="336" y="359"/>
                    <a:pt x="320" y="313"/>
                    <a:pt x="320" y="313"/>
                  </a:cubicBezTo>
                  <a:cubicBezTo>
                    <a:pt x="330" y="305"/>
                    <a:pt x="330" y="305"/>
                    <a:pt x="330" y="305"/>
                  </a:cubicBezTo>
                  <a:cubicBezTo>
                    <a:pt x="324" y="299"/>
                    <a:pt x="324" y="299"/>
                    <a:pt x="324" y="299"/>
                  </a:cubicBezTo>
                  <a:cubicBezTo>
                    <a:pt x="341" y="287"/>
                    <a:pt x="341" y="287"/>
                    <a:pt x="341" y="287"/>
                  </a:cubicBezTo>
                  <a:cubicBezTo>
                    <a:pt x="341" y="287"/>
                    <a:pt x="333" y="275"/>
                    <a:pt x="337" y="269"/>
                  </a:cubicBezTo>
                  <a:cubicBezTo>
                    <a:pt x="341" y="264"/>
                    <a:pt x="354" y="240"/>
                    <a:pt x="354" y="240"/>
                  </a:cubicBezTo>
                  <a:cubicBezTo>
                    <a:pt x="354" y="240"/>
                    <a:pt x="354" y="225"/>
                    <a:pt x="342" y="211"/>
                  </a:cubicBezTo>
                  <a:cubicBezTo>
                    <a:pt x="346" y="213"/>
                    <a:pt x="348" y="187"/>
                    <a:pt x="348" y="187"/>
                  </a:cubicBezTo>
                  <a:cubicBezTo>
                    <a:pt x="365" y="192"/>
                    <a:pt x="365" y="192"/>
                    <a:pt x="365" y="192"/>
                  </a:cubicBezTo>
                  <a:cubicBezTo>
                    <a:pt x="374" y="192"/>
                    <a:pt x="374" y="192"/>
                    <a:pt x="374" y="192"/>
                  </a:cubicBezTo>
                  <a:cubicBezTo>
                    <a:pt x="386" y="199"/>
                    <a:pt x="386" y="199"/>
                    <a:pt x="386" y="199"/>
                  </a:cubicBezTo>
                  <a:cubicBezTo>
                    <a:pt x="394" y="184"/>
                    <a:pt x="394" y="184"/>
                    <a:pt x="394" y="184"/>
                  </a:cubicBezTo>
                  <a:cubicBezTo>
                    <a:pt x="408" y="183"/>
                    <a:pt x="408" y="183"/>
                    <a:pt x="408" y="183"/>
                  </a:cubicBezTo>
                  <a:cubicBezTo>
                    <a:pt x="420" y="162"/>
                    <a:pt x="420" y="162"/>
                    <a:pt x="420" y="162"/>
                  </a:cubicBezTo>
                  <a:cubicBezTo>
                    <a:pt x="417" y="162"/>
                    <a:pt x="416" y="161"/>
                    <a:pt x="416" y="161"/>
                  </a:cubicBezTo>
                  <a:cubicBezTo>
                    <a:pt x="420" y="146"/>
                    <a:pt x="412" y="145"/>
                    <a:pt x="412" y="145"/>
                  </a:cubicBezTo>
                  <a:cubicBezTo>
                    <a:pt x="412" y="145"/>
                    <a:pt x="402" y="139"/>
                    <a:pt x="385" y="140"/>
                  </a:cubicBezTo>
                  <a:cubicBezTo>
                    <a:pt x="369" y="118"/>
                    <a:pt x="358" y="115"/>
                    <a:pt x="351" y="115"/>
                  </a:cubicBezTo>
                  <a:cubicBezTo>
                    <a:pt x="346" y="106"/>
                    <a:pt x="344" y="108"/>
                    <a:pt x="334" y="109"/>
                  </a:cubicBezTo>
                  <a:cubicBezTo>
                    <a:pt x="325" y="118"/>
                    <a:pt x="316" y="104"/>
                    <a:pt x="316" y="104"/>
                  </a:cubicBezTo>
                  <a:cubicBezTo>
                    <a:pt x="321" y="99"/>
                    <a:pt x="321" y="99"/>
                    <a:pt x="321" y="99"/>
                  </a:cubicBezTo>
                  <a:cubicBezTo>
                    <a:pt x="321" y="99"/>
                    <a:pt x="319" y="96"/>
                    <a:pt x="315" y="89"/>
                  </a:cubicBezTo>
                  <a:cubicBezTo>
                    <a:pt x="322" y="83"/>
                    <a:pt x="321" y="72"/>
                    <a:pt x="321" y="72"/>
                  </a:cubicBezTo>
                  <a:cubicBezTo>
                    <a:pt x="321" y="72"/>
                    <a:pt x="296" y="57"/>
                    <a:pt x="301" y="55"/>
                  </a:cubicBezTo>
                  <a:cubicBezTo>
                    <a:pt x="306" y="53"/>
                    <a:pt x="311" y="35"/>
                    <a:pt x="311" y="35"/>
                  </a:cubicBezTo>
                  <a:cubicBezTo>
                    <a:pt x="308" y="25"/>
                    <a:pt x="308" y="25"/>
                    <a:pt x="308" y="25"/>
                  </a:cubicBezTo>
                  <a:cubicBezTo>
                    <a:pt x="308" y="25"/>
                    <a:pt x="319" y="13"/>
                    <a:pt x="320" y="8"/>
                  </a:cubicBezTo>
                  <a:cubicBezTo>
                    <a:pt x="321" y="3"/>
                    <a:pt x="311" y="0"/>
                    <a:pt x="303" y="0"/>
                  </a:cubicBezTo>
                  <a:cubicBezTo>
                    <a:pt x="295" y="0"/>
                    <a:pt x="289" y="17"/>
                    <a:pt x="289" y="17"/>
                  </a:cubicBezTo>
                  <a:cubicBezTo>
                    <a:pt x="289" y="17"/>
                    <a:pt x="286" y="17"/>
                    <a:pt x="282" y="21"/>
                  </a:cubicBezTo>
                  <a:cubicBezTo>
                    <a:pt x="278" y="25"/>
                    <a:pt x="280" y="45"/>
                    <a:pt x="279" y="49"/>
                  </a:cubicBezTo>
                  <a:cubicBezTo>
                    <a:pt x="278" y="53"/>
                    <a:pt x="263" y="50"/>
                    <a:pt x="254" y="49"/>
                  </a:cubicBezTo>
                  <a:cubicBezTo>
                    <a:pt x="249" y="63"/>
                    <a:pt x="236" y="63"/>
                    <a:pt x="230" y="63"/>
                  </a:cubicBezTo>
                  <a:cubicBezTo>
                    <a:pt x="224" y="63"/>
                    <a:pt x="207" y="56"/>
                    <a:pt x="199" y="55"/>
                  </a:cubicBezTo>
                  <a:cubicBezTo>
                    <a:pt x="191" y="54"/>
                    <a:pt x="187" y="59"/>
                    <a:pt x="181" y="60"/>
                  </a:cubicBezTo>
                  <a:cubicBezTo>
                    <a:pt x="179" y="61"/>
                    <a:pt x="176" y="59"/>
                    <a:pt x="175" y="57"/>
                  </a:cubicBezTo>
                  <a:cubicBezTo>
                    <a:pt x="174" y="57"/>
                    <a:pt x="174" y="58"/>
                    <a:pt x="174" y="58"/>
                  </a:cubicBezTo>
                  <a:cubicBezTo>
                    <a:pt x="160" y="78"/>
                    <a:pt x="169" y="91"/>
                    <a:pt x="169" y="91"/>
                  </a:cubicBezTo>
                  <a:cubicBezTo>
                    <a:pt x="164" y="128"/>
                    <a:pt x="164" y="128"/>
                    <a:pt x="164" y="128"/>
                  </a:cubicBezTo>
                  <a:cubicBezTo>
                    <a:pt x="170" y="135"/>
                    <a:pt x="170" y="135"/>
                    <a:pt x="170" y="135"/>
                  </a:cubicBezTo>
                  <a:cubicBezTo>
                    <a:pt x="148" y="163"/>
                    <a:pt x="148" y="163"/>
                    <a:pt x="148" y="163"/>
                  </a:cubicBezTo>
                  <a:cubicBezTo>
                    <a:pt x="141" y="177"/>
                    <a:pt x="141" y="177"/>
                    <a:pt x="141" y="177"/>
                  </a:cubicBezTo>
                  <a:cubicBezTo>
                    <a:pt x="125" y="179"/>
                    <a:pt x="125" y="179"/>
                    <a:pt x="125" y="179"/>
                  </a:cubicBezTo>
                  <a:cubicBezTo>
                    <a:pt x="137" y="208"/>
                    <a:pt x="137" y="208"/>
                    <a:pt x="137" y="208"/>
                  </a:cubicBezTo>
                  <a:cubicBezTo>
                    <a:pt x="129" y="215"/>
                    <a:pt x="129" y="215"/>
                    <a:pt x="129" y="215"/>
                  </a:cubicBezTo>
                  <a:cubicBezTo>
                    <a:pt x="129" y="215"/>
                    <a:pt x="134" y="264"/>
                    <a:pt x="129" y="264"/>
                  </a:cubicBezTo>
                  <a:cubicBezTo>
                    <a:pt x="124" y="264"/>
                    <a:pt x="105" y="251"/>
                    <a:pt x="105" y="251"/>
                  </a:cubicBezTo>
                  <a:cubicBezTo>
                    <a:pt x="94" y="257"/>
                    <a:pt x="94" y="257"/>
                    <a:pt x="94" y="257"/>
                  </a:cubicBezTo>
                  <a:cubicBezTo>
                    <a:pt x="94" y="257"/>
                    <a:pt x="93" y="267"/>
                    <a:pt x="89" y="268"/>
                  </a:cubicBezTo>
                  <a:cubicBezTo>
                    <a:pt x="72" y="263"/>
                    <a:pt x="50" y="281"/>
                    <a:pt x="50" y="281"/>
                  </a:cubicBezTo>
                  <a:cubicBezTo>
                    <a:pt x="56" y="301"/>
                    <a:pt x="56" y="301"/>
                    <a:pt x="56" y="301"/>
                  </a:cubicBezTo>
                  <a:cubicBezTo>
                    <a:pt x="50" y="312"/>
                    <a:pt x="50" y="312"/>
                    <a:pt x="50" y="312"/>
                  </a:cubicBezTo>
                  <a:cubicBezTo>
                    <a:pt x="69" y="328"/>
                    <a:pt x="69" y="328"/>
                    <a:pt x="69" y="328"/>
                  </a:cubicBezTo>
                  <a:cubicBezTo>
                    <a:pt x="69" y="328"/>
                    <a:pt x="45" y="333"/>
                    <a:pt x="42" y="339"/>
                  </a:cubicBezTo>
                  <a:cubicBezTo>
                    <a:pt x="40" y="344"/>
                    <a:pt x="48" y="356"/>
                    <a:pt x="48" y="356"/>
                  </a:cubicBezTo>
                  <a:cubicBezTo>
                    <a:pt x="40" y="363"/>
                    <a:pt x="40" y="363"/>
                    <a:pt x="40" y="363"/>
                  </a:cubicBezTo>
                  <a:cubicBezTo>
                    <a:pt x="38" y="368"/>
                    <a:pt x="38" y="368"/>
                    <a:pt x="38" y="368"/>
                  </a:cubicBezTo>
                  <a:cubicBezTo>
                    <a:pt x="38" y="368"/>
                    <a:pt x="50" y="367"/>
                    <a:pt x="57" y="372"/>
                  </a:cubicBezTo>
                  <a:cubicBezTo>
                    <a:pt x="64" y="377"/>
                    <a:pt x="34" y="407"/>
                    <a:pt x="34" y="407"/>
                  </a:cubicBezTo>
                  <a:cubicBezTo>
                    <a:pt x="28" y="409"/>
                    <a:pt x="28" y="409"/>
                    <a:pt x="28" y="409"/>
                  </a:cubicBezTo>
                  <a:cubicBezTo>
                    <a:pt x="18" y="429"/>
                    <a:pt x="18" y="429"/>
                    <a:pt x="18" y="429"/>
                  </a:cubicBezTo>
                  <a:cubicBezTo>
                    <a:pt x="18" y="429"/>
                    <a:pt x="18" y="429"/>
                    <a:pt x="17" y="429"/>
                  </a:cubicBezTo>
                  <a:cubicBezTo>
                    <a:pt x="17" y="436"/>
                    <a:pt x="17" y="436"/>
                    <a:pt x="17" y="436"/>
                  </a:cubicBezTo>
                  <a:cubicBezTo>
                    <a:pt x="1" y="443"/>
                    <a:pt x="1" y="443"/>
                    <a:pt x="1" y="443"/>
                  </a:cubicBezTo>
                  <a:cubicBezTo>
                    <a:pt x="8" y="452"/>
                    <a:pt x="8" y="452"/>
                    <a:pt x="8" y="452"/>
                  </a:cubicBezTo>
                  <a:cubicBezTo>
                    <a:pt x="0" y="453"/>
                    <a:pt x="0" y="453"/>
                    <a:pt x="0" y="453"/>
                  </a:cubicBezTo>
                  <a:cubicBezTo>
                    <a:pt x="0" y="463"/>
                    <a:pt x="0" y="463"/>
                    <a:pt x="0" y="463"/>
                  </a:cubicBezTo>
                  <a:cubicBezTo>
                    <a:pt x="14" y="464"/>
                    <a:pt x="14" y="464"/>
                    <a:pt x="14" y="464"/>
                  </a:cubicBezTo>
                  <a:cubicBezTo>
                    <a:pt x="13" y="496"/>
                    <a:pt x="13" y="496"/>
                    <a:pt x="13" y="496"/>
                  </a:cubicBezTo>
                  <a:cubicBezTo>
                    <a:pt x="29" y="497"/>
                    <a:pt x="29" y="497"/>
                    <a:pt x="29" y="497"/>
                  </a:cubicBezTo>
                  <a:cubicBezTo>
                    <a:pt x="37" y="507"/>
                    <a:pt x="37" y="507"/>
                    <a:pt x="37" y="507"/>
                  </a:cubicBezTo>
                  <a:cubicBezTo>
                    <a:pt x="26" y="505"/>
                    <a:pt x="26" y="505"/>
                    <a:pt x="26" y="505"/>
                  </a:cubicBezTo>
                  <a:cubicBezTo>
                    <a:pt x="25" y="516"/>
                    <a:pt x="25" y="516"/>
                    <a:pt x="25" y="516"/>
                  </a:cubicBezTo>
                  <a:cubicBezTo>
                    <a:pt x="13" y="516"/>
                    <a:pt x="13" y="516"/>
                    <a:pt x="13" y="516"/>
                  </a:cubicBezTo>
                  <a:cubicBezTo>
                    <a:pt x="17" y="528"/>
                    <a:pt x="17" y="528"/>
                    <a:pt x="17" y="528"/>
                  </a:cubicBezTo>
                  <a:cubicBezTo>
                    <a:pt x="2" y="531"/>
                    <a:pt x="2" y="531"/>
                    <a:pt x="2" y="531"/>
                  </a:cubicBezTo>
                  <a:cubicBezTo>
                    <a:pt x="9" y="540"/>
                    <a:pt x="9" y="540"/>
                    <a:pt x="9" y="540"/>
                  </a:cubicBezTo>
                  <a:cubicBezTo>
                    <a:pt x="0" y="549"/>
                    <a:pt x="0" y="549"/>
                    <a:pt x="0" y="549"/>
                  </a:cubicBezTo>
                  <a:cubicBezTo>
                    <a:pt x="4" y="575"/>
                    <a:pt x="4" y="575"/>
                    <a:pt x="4" y="575"/>
                  </a:cubicBezTo>
                  <a:cubicBezTo>
                    <a:pt x="8" y="585"/>
                    <a:pt x="8" y="585"/>
                    <a:pt x="8" y="585"/>
                  </a:cubicBezTo>
                  <a:cubicBezTo>
                    <a:pt x="14" y="583"/>
                    <a:pt x="14" y="583"/>
                    <a:pt x="14" y="583"/>
                  </a:cubicBezTo>
                  <a:cubicBezTo>
                    <a:pt x="14" y="583"/>
                    <a:pt x="41" y="593"/>
                    <a:pt x="41" y="608"/>
                  </a:cubicBezTo>
                  <a:cubicBezTo>
                    <a:pt x="45" y="613"/>
                    <a:pt x="45" y="613"/>
                    <a:pt x="45" y="613"/>
                  </a:cubicBezTo>
                  <a:cubicBezTo>
                    <a:pt x="45" y="613"/>
                    <a:pt x="53" y="635"/>
                    <a:pt x="44" y="644"/>
                  </a:cubicBezTo>
                  <a:cubicBezTo>
                    <a:pt x="53" y="641"/>
                    <a:pt x="53" y="641"/>
                    <a:pt x="53" y="641"/>
                  </a:cubicBezTo>
                  <a:cubicBezTo>
                    <a:pt x="62" y="656"/>
                    <a:pt x="62" y="656"/>
                    <a:pt x="62" y="656"/>
                  </a:cubicBezTo>
                  <a:cubicBezTo>
                    <a:pt x="68" y="653"/>
                    <a:pt x="68" y="653"/>
                    <a:pt x="68" y="653"/>
                  </a:cubicBezTo>
                  <a:cubicBezTo>
                    <a:pt x="68" y="644"/>
                    <a:pt x="68" y="644"/>
                    <a:pt x="68" y="644"/>
                  </a:cubicBezTo>
                  <a:cubicBezTo>
                    <a:pt x="76" y="645"/>
                    <a:pt x="76" y="645"/>
                    <a:pt x="76" y="645"/>
                  </a:cubicBezTo>
                  <a:cubicBezTo>
                    <a:pt x="76" y="656"/>
                    <a:pt x="76" y="656"/>
                    <a:pt x="76" y="656"/>
                  </a:cubicBezTo>
                  <a:cubicBezTo>
                    <a:pt x="76" y="656"/>
                    <a:pt x="85" y="664"/>
                    <a:pt x="94" y="684"/>
                  </a:cubicBezTo>
                  <a:cubicBezTo>
                    <a:pt x="104" y="704"/>
                    <a:pt x="102" y="708"/>
                    <a:pt x="112" y="700"/>
                  </a:cubicBezTo>
                  <a:cubicBezTo>
                    <a:pt x="112" y="703"/>
                    <a:pt x="108" y="720"/>
                    <a:pt x="108" y="720"/>
                  </a:cubicBezTo>
                  <a:cubicBezTo>
                    <a:pt x="142" y="721"/>
                    <a:pt x="142" y="721"/>
                    <a:pt x="142" y="721"/>
                  </a:cubicBezTo>
                  <a:cubicBezTo>
                    <a:pt x="144" y="716"/>
                    <a:pt x="144" y="716"/>
                    <a:pt x="144" y="716"/>
                  </a:cubicBezTo>
                  <a:cubicBezTo>
                    <a:pt x="156" y="723"/>
                    <a:pt x="156" y="723"/>
                    <a:pt x="156" y="723"/>
                  </a:cubicBezTo>
                  <a:cubicBezTo>
                    <a:pt x="169" y="712"/>
                    <a:pt x="169" y="712"/>
                    <a:pt x="169" y="712"/>
                  </a:cubicBezTo>
                  <a:cubicBezTo>
                    <a:pt x="176" y="716"/>
                    <a:pt x="176" y="716"/>
                    <a:pt x="176" y="716"/>
                  </a:cubicBezTo>
                  <a:cubicBezTo>
                    <a:pt x="173" y="707"/>
                    <a:pt x="173" y="707"/>
                    <a:pt x="173" y="707"/>
                  </a:cubicBezTo>
                  <a:cubicBezTo>
                    <a:pt x="182" y="707"/>
                    <a:pt x="182" y="707"/>
                    <a:pt x="182" y="707"/>
                  </a:cubicBezTo>
                  <a:cubicBezTo>
                    <a:pt x="188" y="720"/>
                    <a:pt x="188" y="720"/>
                    <a:pt x="188" y="720"/>
                  </a:cubicBezTo>
                  <a:cubicBezTo>
                    <a:pt x="197" y="723"/>
                    <a:pt x="197" y="723"/>
                    <a:pt x="197" y="723"/>
                  </a:cubicBezTo>
                  <a:cubicBezTo>
                    <a:pt x="197" y="711"/>
                    <a:pt x="197" y="711"/>
                    <a:pt x="197" y="711"/>
                  </a:cubicBezTo>
                  <a:cubicBezTo>
                    <a:pt x="252" y="709"/>
                    <a:pt x="252" y="709"/>
                    <a:pt x="252" y="709"/>
                  </a:cubicBezTo>
                  <a:cubicBezTo>
                    <a:pt x="252" y="709"/>
                    <a:pt x="220" y="675"/>
                    <a:pt x="301" y="691"/>
                  </a:cubicBezTo>
                  <a:cubicBezTo>
                    <a:pt x="300" y="708"/>
                    <a:pt x="300" y="708"/>
                    <a:pt x="300" y="708"/>
                  </a:cubicBezTo>
                  <a:cubicBezTo>
                    <a:pt x="313" y="708"/>
                    <a:pt x="313" y="708"/>
                    <a:pt x="313" y="708"/>
                  </a:cubicBezTo>
                  <a:cubicBezTo>
                    <a:pt x="318" y="713"/>
                    <a:pt x="318" y="713"/>
                    <a:pt x="318" y="713"/>
                  </a:cubicBezTo>
                  <a:cubicBezTo>
                    <a:pt x="312" y="721"/>
                    <a:pt x="312" y="721"/>
                    <a:pt x="312" y="721"/>
                  </a:cubicBezTo>
                  <a:cubicBezTo>
                    <a:pt x="318" y="725"/>
                    <a:pt x="318" y="725"/>
                    <a:pt x="318" y="725"/>
                  </a:cubicBezTo>
                  <a:cubicBezTo>
                    <a:pt x="325" y="719"/>
                    <a:pt x="325" y="719"/>
                    <a:pt x="325" y="719"/>
                  </a:cubicBezTo>
                  <a:cubicBezTo>
                    <a:pt x="325" y="719"/>
                    <a:pt x="336" y="740"/>
                    <a:pt x="342" y="748"/>
                  </a:cubicBezTo>
                  <a:cubicBezTo>
                    <a:pt x="332" y="766"/>
                    <a:pt x="332" y="766"/>
                    <a:pt x="332" y="766"/>
                  </a:cubicBezTo>
                  <a:cubicBezTo>
                    <a:pt x="332" y="767"/>
                    <a:pt x="332" y="767"/>
                    <a:pt x="332" y="767"/>
                  </a:cubicBezTo>
                  <a:cubicBezTo>
                    <a:pt x="341" y="769"/>
                    <a:pt x="341" y="769"/>
                    <a:pt x="341" y="769"/>
                  </a:cubicBezTo>
                  <a:cubicBezTo>
                    <a:pt x="341" y="792"/>
                    <a:pt x="341" y="792"/>
                    <a:pt x="341" y="792"/>
                  </a:cubicBezTo>
                  <a:cubicBezTo>
                    <a:pt x="353" y="787"/>
                    <a:pt x="353" y="787"/>
                    <a:pt x="353" y="787"/>
                  </a:cubicBezTo>
                  <a:cubicBezTo>
                    <a:pt x="353" y="787"/>
                    <a:pt x="365" y="801"/>
                    <a:pt x="374" y="801"/>
                  </a:cubicBezTo>
                  <a:cubicBezTo>
                    <a:pt x="384" y="801"/>
                    <a:pt x="388" y="797"/>
                    <a:pt x="388" y="797"/>
                  </a:cubicBezTo>
                  <a:cubicBezTo>
                    <a:pt x="388" y="807"/>
                    <a:pt x="388" y="807"/>
                    <a:pt x="388" y="807"/>
                  </a:cubicBezTo>
                  <a:cubicBezTo>
                    <a:pt x="404" y="815"/>
                    <a:pt x="404" y="815"/>
                    <a:pt x="404" y="815"/>
                  </a:cubicBezTo>
                  <a:cubicBezTo>
                    <a:pt x="404" y="828"/>
                    <a:pt x="404" y="828"/>
                    <a:pt x="404" y="828"/>
                  </a:cubicBezTo>
                  <a:cubicBezTo>
                    <a:pt x="421" y="816"/>
                    <a:pt x="421" y="816"/>
                    <a:pt x="421" y="816"/>
                  </a:cubicBezTo>
                  <a:cubicBezTo>
                    <a:pt x="421" y="816"/>
                    <a:pt x="426" y="819"/>
                    <a:pt x="430" y="819"/>
                  </a:cubicBezTo>
                  <a:cubicBezTo>
                    <a:pt x="434" y="819"/>
                    <a:pt x="438" y="791"/>
                    <a:pt x="438" y="791"/>
                  </a:cubicBezTo>
                  <a:cubicBezTo>
                    <a:pt x="468" y="792"/>
                    <a:pt x="468" y="792"/>
                    <a:pt x="468" y="792"/>
                  </a:cubicBezTo>
                  <a:cubicBezTo>
                    <a:pt x="469" y="785"/>
                    <a:pt x="469" y="785"/>
                    <a:pt x="469" y="785"/>
                  </a:cubicBezTo>
                  <a:cubicBezTo>
                    <a:pt x="481" y="793"/>
                    <a:pt x="481" y="793"/>
                    <a:pt x="481" y="793"/>
                  </a:cubicBezTo>
                  <a:cubicBezTo>
                    <a:pt x="500" y="788"/>
                    <a:pt x="500" y="788"/>
                    <a:pt x="500" y="788"/>
                  </a:cubicBezTo>
                  <a:cubicBezTo>
                    <a:pt x="502" y="757"/>
                    <a:pt x="502" y="757"/>
                    <a:pt x="502" y="757"/>
                  </a:cubicBezTo>
                  <a:cubicBezTo>
                    <a:pt x="492" y="757"/>
                    <a:pt x="492" y="757"/>
                    <a:pt x="492" y="757"/>
                  </a:cubicBezTo>
                  <a:cubicBezTo>
                    <a:pt x="497" y="747"/>
                    <a:pt x="497" y="747"/>
                    <a:pt x="497" y="747"/>
                  </a:cubicBezTo>
                  <a:cubicBezTo>
                    <a:pt x="505" y="748"/>
                    <a:pt x="505" y="748"/>
                    <a:pt x="505" y="748"/>
                  </a:cubicBezTo>
                  <a:cubicBezTo>
                    <a:pt x="512" y="733"/>
                    <a:pt x="512" y="733"/>
                    <a:pt x="512" y="733"/>
                  </a:cubicBezTo>
                  <a:cubicBezTo>
                    <a:pt x="525" y="735"/>
                    <a:pt x="525" y="735"/>
                    <a:pt x="525" y="735"/>
                  </a:cubicBezTo>
                  <a:cubicBezTo>
                    <a:pt x="528" y="720"/>
                    <a:pt x="528" y="720"/>
                    <a:pt x="528" y="720"/>
                  </a:cubicBezTo>
                  <a:cubicBezTo>
                    <a:pt x="536" y="715"/>
                    <a:pt x="536" y="715"/>
                    <a:pt x="536" y="715"/>
                  </a:cubicBezTo>
                  <a:lnTo>
                    <a:pt x="530" y="697"/>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5" name="Lorraine" descr="© INSCALE GmbH, 05.05.2010&#10;http://www.presentationload.com/">
              <a:extLst>
                <a:ext uri="{FF2B5EF4-FFF2-40B4-BE49-F238E27FC236}">
                  <a16:creationId xmlns:a16="http://schemas.microsoft.com/office/drawing/2014/main" id="{2ACB0F13-E462-48F4-A8B6-FD41570E9DC6}"/>
                </a:ext>
              </a:extLst>
            </p:cNvPr>
            <p:cNvSpPr>
              <a:spLocks/>
            </p:cNvSpPr>
            <p:nvPr/>
          </p:nvSpPr>
          <p:spPr bwMode="gray">
            <a:xfrm>
              <a:off x="2349" y="641"/>
              <a:ext cx="619" cy="618"/>
            </a:xfrm>
            <a:custGeom>
              <a:avLst/>
              <a:gdLst/>
              <a:ahLst/>
              <a:cxnLst>
                <a:cxn ang="0">
                  <a:pos x="552" y="140"/>
                </a:cxn>
                <a:cxn ang="0">
                  <a:pos x="524" y="152"/>
                </a:cxn>
                <a:cxn ang="0">
                  <a:pos x="482" y="143"/>
                </a:cxn>
                <a:cxn ang="0">
                  <a:pos x="464" y="142"/>
                </a:cxn>
                <a:cxn ang="0">
                  <a:pos x="429" y="124"/>
                </a:cxn>
                <a:cxn ang="0">
                  <a:pos x="423" y="143"/>
                </a:cxn>
                <a:cxn ang="0">
                  <a:pos x="395" y="131"/>
                </a:cxn>
                <a:cxn ang="0">
                  <a:pos x="388" y="114"/>
                </a:cxn>
                <a:cxn ang="0">
                  <a:pos x="365" y="84"/>
                </a:cxn>
                <a:cxn ang="0">
                  <a:pos x="368" y="71"/>
                </a:cxn>
                <a:cxn ang="0">
                  <a:pos x="333" y="43"/>
                </a:cxn>
                <a:cxn ang="0">
                  <a:pos x="281" y="38"/>
                </a:cxn>
                <a:cxn ang="0">
                  <a:pos x="233" y="36"/>
                </a:cxn>
                <a:cxn ang="0">
                  <a:pos x="191" y="20"/>
                </a:cxn>
                <a:cxn ang="0">
                  <a:pos x="165" y="33"/>
                </a:cxn>
                <a:cxn ang="0">
                  <a:pos x="128" y="21"/>
                </a:cxn>
                <a:cxn ang="0">
                  <a:pos x="92" y="21"/>
                </a:cxn>
                <a:cxn ang="0">
                  <a:pos x="70" y="37"/>
                </a:cxn>
                <a:cxn ang="0">
                  <a:pos x="49" y="30"/>
                </a:cxn>
                <a:cxn ang="0">
                  <a:pos x="26" y="49"/>
                </a:cxn>
                <a:cxn ang="0">
                  <a:pos x="21" y="107"/>
                </a:cxn>
                <a:cxn ang="0">
                  <a:pos x="8" y="137"/>
                </a:cxn>
                <a:cxn ang="0">
                  <a:pos x="4" y="151"/>
                </a:cxn>
                <a:cxn ang="0">
                  <a:pos x="26" y="223"/>
                </a:cxn>
                <a:cxn ang="0">
                  <a:pos x="6" y="263"/>
                </a:cxn>
                <a:cxn ang="0">
                  <a:pos x="26" y="295"/>
                </a:cxn>
                <a:cxn ang="0">
                  <a:pos x="33" y="329"/>
                </a:cxn>
                <a:cxn ang="0">
                  <a:pos x="125" y="395"/>
                </a:cxn>
                <a:cxn ang="0">
                  <a:pos x="118" y="409"/>
                </a:cxn>
                <a:cxn ang="0">
                  <a:pos x="136" y="414"/>
                </a:cxn>
                <a:cxn ang="0">
                  <a:pos x="165" y="449"/>
                </a:cxn>
                <a:cxn ang="0">
                  <a:pos x="181" y="461"/>
                </a:cxn>
                <a:cxn ang="0">
                  <a:pos x="160" y="502"/>
                </a:cxn>
                <a:cxn ang="0">
                  <a:pos x="197" y="519"/>
                </a:cxn>
                <a:cxn ang="0">
                  <a:pos x="201" y="539"/>
                </a:cxn>
                <a:cxn ang="0">
                  <a:pos x="217" y="544"/>
                </a:cxn>
                <a:cxn ang="0">
                  <a:pos x="234" y="534"/>
                </a:cxn>
                <a:cxn ang="0">
                  <a:pos x="244" y="537"/>
                </a:cxn>
                <a:cxn ang="0">
                  <a:pos x="274" y="517"/>
                </a:cxn>
                <a:cxn ang="0">
                  <a:pos x="286" y="534"/>
                </a:cxn>
                <a:cxn ang="0">
                  <a:pos x="337" y="537"/>
                </a:cxn>
                <a:cxn ang="0">
                  <a:pos x="372" y="537"/>
                </a:cxn>
                <a:cxn ang="0">
                  <a:pos x="414" y="562"/>
                </a:cxn>
                <a:cxn ang="0">
                  <a:pos x="442" y="559"/>
                </a:cxn>
                <a:cxn ang="0">
                  <a:pos x="441" y="545"/>
                </a:cxn>
                <a:cxn ang="0">
                  <a:pos x="472" y="470"/>
                </a:cxn>
                <a:cxn ang="0">
                  <a:pos x="490" y="411"/>
                </a:cxn>
                <a:cxn ang="0">
                  <a:pos x="469" y="399"/>
                </a:cxn>
                <a:cxn ang="0">
                  <a:pos x="458" y="343"/>
                </a:cxn>
                <a:cxn ang="0">
                  <a:pos x="508" y="299"/>
                </a:cxn>
                <a:cxn ang="0">
                  <a:pos x="477" y="242"/>
                </a:cxn>
                <a:cxn ang="0">
                  <a:pos x="449" y="243"/>
                </a:cxn>
                <a:cxn ang="0">
                  <a:pos x="429" y="223"/>
                </a:cxn>
                <a:cxn ang="0">
                  <a:pos x="450" y="166"/>
                </a:cxn>
                <a:cxn ang="0">
                  <a:pos x="465" y="189"/>
                </a:cxn>
                <a:cxn ang="0">
                  <a:pos x="533" y="197"/>
                </a:cxn>
                <a:cxn ang="0">
                  <a:pos x="563" y="150"/>
                </a:cxn>
              </a:cxnLst>
              <a:rect l="0" t="0" r="r" b="b"/>
              <a:pathLst>
                <a:path w="574" h="573">
                  <a:moveTo>
                    <a:pt x="563" y="150"/>
                  </a:moveTo>
                  <a:cubicBezTo>
                    <a:pt x="569" y="145"/>
                    <a:pt x="561" y="142"/>
                    <a:pt x="552" y="140"/>
                  </a:cubicBezTo>
                  <a:cubicBezTo>
                    <a:pt x="542" y="130"/>
                    <a:pt x="536" y="147"/>
                    <a:pt x="536" y="147"/>
                  </a:cubicBezTo>
                  <a:cubicBezTo>
                    <a:pt x="524" y="152"/>
                    <a:pt x="524" y="152"/>
                    <a:pt x="524" y="152"/>
                  </a:cubicBezTo>
                  <a:cubicBezTo>
                    <a:pt x="489" y="154"/>
                    <a:pt x="489" y="154"/>
                    <a:pt x="489" y="154"/>
                  </a:cubicBezTo>
                  <a:cubicBezTo>
                    <a:pt x="482" y="143"/>
                    <a:pt x="482" y="143"/>
                    <a:pt x="482" y="143"/>
                  </a:cubicBezTo>
                  <a:cubicBezTo>
                    <a:pt x="471" y="154"/>
                    <a:pt x="471" y="154"/>
                    <a:pt x="471" y="154"/>
                  </a:cubicBezTo>
                  <a:cubicBezTo>
                    <a:pt x="464" y="142"/>
                    <a:pt x="464" y="142"/>
                    <a:pt x="464" y="142"/>
                  </a:cubicBezTo>
                  <a:cubicBezTo>
                    <a:pt x="464" y="122"/>
                    <a:pt x="438" y="126"/>
                    <a:pt x="438" y="126"/>
                  </a:cubicBezTo>
                  <a:cubicBezTo>
                    <a:pt x="429" y="124"/>
                    <a:pt x="429" y="124"/>
                    <a:pt x="429" y="124"/>
                  </a:cubicBezTo>
                  <a:cubicBezTo>
                    <a:pt x="431" y="135"/>
                    <a:pt x="431" y="135"/>
                    <a:pt x="431" y="135"/>
                  </a:cubicBezTo>
                  <a:cubicBezTo>
                    <a:pt x="423" y="143"/>
                    <a:pt x="423" y="143"/>
                    <a:pt x="423" y="143"/>
                  </a:cubicBezTo>
                  <a:cubicBezTo>
                    <a:pt x="419" y="140"/>
                    <a:pt x="419" y="140"/>
                    <a:pt x="419" y="140"/>
                  </a:cubicBezTo>
                  <a:cubicBezTo>
                    <a:pt x="397" y="145"/>
                    <a:pt x="395" y="131"/>
                    <a:pt x="395" y="131"/>
                  </a:cubicBezTo>
                  <a:cubicBezTo>
                    <a:pt x="403" y="125"/>
                    <a:pt x="397" y="121"/>
                    <a:pt x="397" y="121"/>
                  </a:cubicBezTo>
                  <a:cubicBezTo>
                    <a:pt x="392" y="126"/>
                    <a:pt x="388" y="114"/>
                    <a:pt x="388" y="114"/>
                  </a:cubicBezTo>
                  <a:cubicBezTo>
                    <a:pt x="389" y="107"/>
                    <a:pt x="377" y="99"/>
                    <a:pt x="370" y="96"/>
                  </a:cubicBezTo>
                  <a:cubicBezTo>
                    <a:pt x="370" y="88"/>
                    <a:pt x="365" y="84"/>
                    <a:pt x="365" y="84"/>
                  </a:cubicBezTo>
                  <a:cubicBezTo>
                    <a:pt x="371" y="79"/>
                    <a:pt x="371" y="79"/>
                    <a:pt x="371" y="79"/>
                  </a:cubicBezTo>
                  <a:cubicBezTo>
                    <a:pt x="368" y="71"/>
                    <a:pt x="368" y="71"/>
                    <a:pt x="368" y="71"/>
                  </a:cubicBezTo>
                  <a:cubicBezTo>
                    <a:pt x="361" y="71"/>
                    <a:pt x="358" y="59"/>
                    <a:pt x="358" y="59"/>
                  </a:cubicBezTo>
                  <a:cubicBezTo>
                    <a:pt x="333" y="43"/>
                    <a:pt x="333" y="43"/>
                    <a:pt x="333" y="43"/>
                  </a:cubicBezTo>
                  <a:cubicBezTo>
                    <a:pt x="317" y="61"/>
                    <a:pt x="297" y="38"/>
                    <a:pt x="297" y="38"/>
                  </a:cubicBezTo>
                  <a:cubicBezTo>
                    <a:pt x="297" y="38"/>
                    <a:pt x="297" y="38"/>
                    <a:pt x="281" y="38"/>
                  </a:cubicBezTo>
                  <a:cubicBezTo>
                    <a:pt x="272" y="54"/>
                    <a:pt x="245" y="52"/>
                    <a:pt x="243" y="48"/>
                  </a:cubicBezTo>
                  <a:cubicBezTo>
                    <a:pt x="241" y="44"/>
                    <a:pt x="233" y="36"/>
                    <a:pt x="233" y="36"/>
                  </a:cubicBezTo>
                  <a:cubicBezTo>
                    <a:pt x="233" y="36"/>
                    <a:pt x="223" y="33"/>
                    <a:pt x="212" y="31"/>
                  </a:cubicBezTo>
                  <a:cubicBezTo>
                    <a:pt x="206" y="20"/>
                    <a:pt x="191" y="20"/>
                    <a:pt x="191" y="20"/>
                  </a:cubicBezTo>
                  <a:cubicBezTo>
                    <a:pt x="175" y="19"/>
                    <a:pt x="175" y="19"/>
                    <a:pt x="175" y="19"/>
                  </a:cubicBezTo>
                  <a:cubicBezTo>
                    <a:pt x="165" y="33"/>
                    <a:pt x="165" y="33"/>
                    <a:pt x="165" y="33"/>
                  </a:cubicBezTo>
                  <a:cubicBezTo>
                    <a:pt x="165" y="33"/>
                    <a:pt x="162" y="29"/>
                    <a:pt x="145" y="30"/>
                  </a:cubicBezTo>
                  <a:cubicBezTo>
                    <a:pt x="126" y="45"/>
                    <a:pt x="129" y="24"/>
                    <a:pt x="128" y="21"/>
                  </a:cubicBezTo>
                  <a:cubicBezTo>
                    <a:pt x="128" y="5"/>
                    <a:pt x="111" y="1"/>
                    <a:pt x="104" y="0"/>
                  </a:cubicBezTo>
                  <a:cubicBezTo>
                    <a:pt x="92" y="21"/>
                    <a:pt x="92" y="21"/>
                    <a:pt x="92" y="21"/>
                  </a:cubicBezTo>
                  <a:cubicBezTo>
                    <a:pt x="78" y="22"/>
                    <a:pt x="78" y="22"/>
                    <a:pt x="78" y="22"/>
                  </a:cubicBezTo>
                  <a:cubicBezTo>
                    <a:pt x="70" y="37"/>
                    <a:pt x="70" y="37"/>
                    <a:pt x="70" y="37"/>
                  </a:cubicBezTo>
                  <a:cubicBezTo>
                    <a:pt x="58" y="30"/>
                    <a:pt x="58" y="30"/>
                    <a:pt x="58" y="30"/>
                  </a:cubicBezTo>
                  <a:cubicBezTo>
                    <a:pt x="49" y="30"/>
                    <a:pt x="49" y="30"/>
                    <a:pt x="49" y="30"/>
                  </a:cubicBezTo>
                  <a:cubicBezTo>
                    <a:pt x="32" y="25"/>
                    <a:pt x="32" y="25"/>
                    <a:pt x="32" y="25"/>
                  </a:cubicBezTo>
                  <a:cubicBezTo>
                    <a:pt x="32" y="25"/>
                    <a:pt x="30" y="51"/>
                    <a:pt x="26" y="49"/>
                  </a:cubicBezTo>
                  <a:cubicBezTo>
                    <a:pt x="38" y="63"/>
                    <a:pt x="38" y="78"/>
                    <a:pt x="38" y="78"/>
                  </a:cubicBezTo>
                  <a:cubicBezTo>
                    <a:pt x="38" y="78"/>
                    <a:pt x="25" y="102"/>
                    <a:pt x="21" y="107"/>
                  </a:cubicBezTo>
                  <a:cubicBezTo>
                    <a:pt x="17" y="113"/>
                    <a:pt x="25" y="125"/>
                    <a:pt x="25" y="125"/>
                  </a:cubicBezTo>
                  <a:cubicBezTo>
                    <a:pt x="8" y="137"/>
                    <a:pt x="8" y="137"/>
                    <a:pt x="8" y="137"/>
                  </a:cubicBezTo>
                  <a:cubicBezTo>
                    <a:pt x="14" y="143"/>
                    <a:pt x="14" y="143"/>
                    <a:pt x="14" y="143"/>
                  </a:cubicBezTo>
                  <a:cubicBezTo>
                    <a:pt x="4" y="151"/>
                    <a:pt x="4" y="151"/>
                    <a:pt x="4" y="151"/>
                  </a:cubicBezTo>
                  <a:cubicBezTo>
                    <a:pt x="4" y="151"/>
                    <a:pt x="20" y="197"/>
                    <a:pt x="17" y="201"/>
                  </a:cubicBezTo>
                  <a:cubicBezTo>
                    <a:pt x="28" y="195"/>
                    <a:pt x="25" y="214"/>
                    <a:pt x="26" y="223"/>
                  </a:cubicBezTo>
                  <a:cubicBezTo>
                    <a:pt x="28" y="233"/>
                    <a:pt x="4" y="242"/>
                    <a:pt x="4" y="242"/>
                  </a:cubicBezTo>
                  <a:cubicBezTo>
                    <a:pt x="6" y="263"/>
                    <a:pt x="6" y="263"/>
                    <a:pt x="6" y="263"/>
                  </a:cubicBezTo>
                  <a:cubicBezTo>
                    <a:pt x="0" y="277"/>
                    <a:pt x="0" y="277"/>
                    <a:pt x="0" y="277"/>
                  </a:cubicBezTo>
                  <a:cubicBezTo>
                    <a:pt x="26" y="295"/>
                    <a:pt x="26" y="295"/>
                    <a:pt x="26" y="295"/>
                  </a:cubicBezTo>
                  <a:cubicBezTo>
                    <a:pt x="25" y="335"/>
                    <a:pt x="25" y="335"/>
                    <a:pt x="25" y="335"/>
                  </a:cubicBezTo>
                  <a:cubicBezTo>
                    <a:pt x="33" y="329"/>
                    <a:pt x="33" y="329"/>
                    <a:pt x="33" y="329"/>
                  </a:cubicBezTo>
                  <a:cubicBezTo>
                    <a:pt x="33" y="329"/>
                    <a:pt x="68" y="356"/>
                    <a:pt x="67" y="359"/>
                  </a:cubicBezTo>
                  <a:cubicBezTo>
                    <a:pt x="84" y="359"/>
                    <a:pt x="125" y="395"/>
                    <a:pt x="125" y="395"/>
                  </a:cubicBezTo>
                  <a:cubicBezTo>
                    <a:pt x="113" y="401"/>
                    <a:pt x="113" y="401"/>
                    <a:pt x="113" y="401"/>
                  </a:cubicBezTo>
                  <a:cubicBezTo>
                    <a:pt x="118" y="409"/>
                    <a:pt x="118" y="409"/>
                    <a:pt x="118" y="409"/>
                  </a:cubicBezTo>
                  <a:cubicBezTo>
                    <a:pt x="118" y="409"/>
                    <a:pt x="120" y="412"/>
                    <a:pt x="120" y="415"/>
                  </a:cubicBezTo>
                  <a:cubicBezTo>
                    <a:pt x="126" y="411"/>
                    <a:pt x="136" y="414"/>
                    <a:pt x="136" y="414"/>
                  </a:cubicBezTo>
                  <a:cubicBezTo>
                    <a:pt x="149" y="437"/>
                    <a:pt x="149" y="437"/>
                    <a:pt x="149" y="437"/>
                  </a:cubicBezTo>
                  <a:cubicBezTo>
                    <a:pt x="165" y="426"/>
                    <a:pt x="165" y="449"/>
                    <a:pt x="165" y="449"/>
                  </a:cubicBezTo>
                  <a:cubicBezTo>
                    <a:pt x="174" y="450"/>
                    <a:pt x="174" y="450"/>
                    <a:pt x="174" y="450"/>
                  </a:cubicBezTo>
                  <a:cubicBezTo>
                    <a:pt x="181" y="461"/>
                    <a:pt x="181" y="461"/>
                    <a:pt x="181" y="461"/>
                  </a:cubicBezTo>
                  <a:cubicBezTo>
                    <a:pt x="170" y="466"/>
                    <a:pt x="170" y="490"/>
                    <a:pt x="170" y="490"/>
                  </a:cubicBezTo>
                  <a:cubicBezTo>
                    <a:pt x="160" y="502"/>
                    <a:pt x="160" y="502"/>
                    <a:pt x="160" y="502"/>
                  </a:cubicBezTo>
                  <a:cubicBezTo>
                    <a:pt x="177" y="506"/>
                    <a:pt x="177" y="506"/>
                    <a:pt x="177" y="506"/>
                  </a:cubicBezTo>
                  <a:cubicBezTo>
                    <a:pt x="197" y="519"/>
                    <a:pt x="197" y="519"/>
                    <a:pt x="197" y="519"/>
                  </a:cubicBezTo>
                  <a:cubicBezTo>
                    <a:pt x="198" y="537"/>
                    <a:pt x="198" y="537"/>
                    <a:pt x="198" y="537"/>
                  </a:cubicBezTo>
                  <a:cubicBezTo>
                    <a:pt x="201" y="539"/>
                    <a:pt x="201" y="539"/>
                    <a:pt x="201" y="539"/>
                  </a:cubicBezTo>
                  <a:cubicBezTo>
                    <a:pt x="214" y="547"/>
                    <a:pt x="214" y="547"/>
                    <a:pt x="214" y="547"/>
                  </a:cubicBezTo>
                  <a:cubicBezTo>
                    <a:pt x="217" y="544"/>
                    <a:pt x="217" y="544"/>
                    <a:pt x="217" y="544"/>
                  </a:cubicBezTo>
                  <a:cubicBezTo>
                    <a:pt x="224" y="533"/>
                    <a:pt x="224" y="533"/>
                    <a:pt x="224" y="533"/>
                  </a:cubicBezTo>
                  <a:cubicBezTo>
                    <a:pt x="234" y="534"/>
                    <a:pt x="234" y="534"/>
                    <a:pt x="234" y="534"/>
                  </a:cubicBezTo>
                  <a:cubicBezTo>
                    <a:pt x="230" y="543"/>
                    <a:pt x="230" y="543"/>
                    <a:pt x="230" y="543"/>
                  </a:cubicBezTo>
                  <a:cubicBezTo>
                    <a:pt x="244" y="537"/>
                    <a:pt x="244" y="537"/>
                    <a:pt x="244" y="537"/>
                  </a:cubicBezTo>
                  <a:cubicBezTo>
                    <a:pt x="249" y="523"/>
                    <a:pt x="249" y="523"/>
                    <a:pt x="249" y="523"/>
                  </a:cubicBezTo>
                  <a:cubicBezTo>
                    <a:pt x="274" y="517"/>
                    <a:pt x="274" y="517"/>
                    <a:pt x="274" y="517"/>
                  </a:cubicBezTo>
                  <a:cubicBezTo>
                    <a:pt x="273" y="533"/>
                    <a:pt x="273" y="533"/>
                    <a:pt x="273" y="533"/>
                  </a:cubicBezTo>
                  <a:cubicBezTo>
                    <a:pt x="286" y="534"/>
                    <a:pt x="286" y="534"/>
                    <a:pt x="286" y="534"/>
                  </a:cubicBezTo>
                  <a:cubicBezTo>
                    <a:pt x="285" y="543"/>
                    <a:pt x="285" y="543"/>
                    <a:pt x="285" y="543"/>
                  </a:cubicBezTo>
                  <a:cubicBezTo>
                    <a:pt x="285" y="543"/>
                    <a:pt x="333" y="526"/>
                    <a:pt x="337" y="537"/>
                  </a:cubicBezTo>
                  <a:cubicBezTo>
                    <a:pt x="341" y="547"/>
                    <a:pt x="346" y="554"/>
                    <a:pt x="346" y="554"/>
                  </a:cubicBezTo>
                  <a:cubicBezTo>
                    <a:pt x="372" y="537"/>
                    <a:pt x="372" y="537"/>
                    <a:pt x="372" y="537"/>
                  </a:cubicBezTo>
                  <a:cubicBezTo>
                    <a:pt x="381" y="549"/>
                    <a:pt x="381" y="549"/>
                    <a:pt x="381" y="549"/>
                  </a:cubicBezTo>
                  <a:cubicBezTo>
                    <a:pt x="414" y="562"/>
                    <a:pt x="414" y="562"/>
                    <a:pt x="414" y="562"/>
                  </a:cubicBezTo>
                  <a:cubicBezTo>
                    <a:pt x="414" y="562"/>
                    <a:pt x="422" y="573"/>
                    <a:pt x="428" y="570"/>
                  </a:cubicBezTo>
                  <a:cubicBezTo>
                    <a:pt x="433" y="567"/>
                    <a:pt x="442" y="559"/>
                    <a:pt x="442" y="559"/>
                  </a:cubicBezTo>
                  <a:cubicBezTo>
                    <a:pt x="437" y="550"/>
                    <a:pt x="437" y="550"/>
                    <a:pt x="437" y="550"/>
                  </a:cubicBezTo>
                  <a:cubicBezTo>
                    <a:pt x="441" y="545"/>
                    <a:pt x="441" y="545"/>
                    <a:pt x="441" y="545"/>
                  </a:cubicBezTo>
                  <a:cubicBezTo>
                    <a:pt x="442" y="514"/>
                    <a:pt x="442" y="514"/>
                    <a:pt x="442" y="514"/>
                  </a:cubicBezTo>
                  <a:cubicBezTo>
                    <a:pt x="442" y="514"/>
                    <a:pt x="460" y="511"/>
                    <a:pt x="472" y="470"/>
                  </a:cubicBezTo>
                  <a:cubicBezTo>
                    <a:pt x="476" y="470"/>
                    <a:pt x="469" y="466"/>
                    <a:pt x="469" y="466"/>
                  </a:cubicBezTo>
                  <a:cubicBezTo>
                    <a:pt x="490" y="411"/>
                    <a:pt x="490" y="411"/>
                    <a:pt x="490" y="411"/>
                  </a:cubicBezTo>
                  <a:cubicBezTo>
                    <a:pt x="489" y="402"/>
                    <a:pt x="489" y="402"/>
                    <a:pt x="489" y="402"/>
                  </a:cubicBezTo>
                  <a:cubicBezTo>
                    <a:pt x="489" y="402"/>
                    <a:pt x="469" y="411"/>
                    <a:pt x="469" y="399"/>
                  </a:cubicBezTo>
                  <a:cubicBezTo>
                    <a:pt x="469" y="387"/>
                    <a:pt x="472" y="349"/>
                    <a:pt x="472" y="349"/>
                  </a:cubicBezTo>
                  <a:cubicBezTo>
                    <a:pt x="458" y="343"/>
                    <a:pt x="458" y="343"/>
                    <a:pt x="458" y="343"/>
                  </a:cubicBezTo>
                  <a:cubicBezTo>
                    <a:pt x="480" y="338"/>
                    <a:pt x="480" y="338"/>
                    <a:pt x="480" y="338"/>
                  </a:cubicBezTo>
                  <a:cubicBezTo>
                    <a:pt x="480" y="338"/>
                    <a:pt x="505" y="337"/>
                    <a:pt x="508" y="299"/>
                  </a:cubicBezTo>
                  <a:cubicBezTo>
                    <a:pt x="506" y="304"/>
                    <a:pt x="487" y="294"/>
                    <a:pt x="505" y="262"/>
                  </a:cubicBezTo>
                  <a:cubicBezTo>
                    <a:pt x="502" y="260"/>
                    <a:pt x="483" y="244"/>
                    <a:pt x="477" y="242"/>
                  </a:cubicBezTo>
                  <a:cubicBezTo>
                    <a:pt x="470" y="239"/>
                    <a:pt x="457" y="258"/>
                    <a:pt x="457" y="258"/>
                  </a:cubicBezTo>
                  <a:cubicBezTo>
                    <a:pt x="449" y="243"/>
                    <a:pt x="449" y="243"/>
                    <a:pt x="449" y="243"/>
                  </a:cubicBezTo>
                  <a:cubicBezTo>
                    <a:pt x="457" y="233"/>
                    <a:pt x="457" y="233"/>
                    <a:pt x="457" y="233"/>
                  </a:cubicBezTo>
                  <a:cubicBezTo>
                    <a:pt x="429" y="223"/>
                    <a:pt x="429" y="223"/>
                    <a:pt x="429" y="223"/>
                  </a:cubicBezTo>
                  <a:cubicBezTo>
                    <a:pt x="429" y="223"/>
                    <a:pt x="434" y="203"/>
                    <a:pt x="444" y="205"/>
                  </a:cubicBezTo>
                  <a:cubicBezTo>
                    <a:pt x="450" y="166"/>
                    <a:pt x="450" y="166"/>
                    <a:pt x="450" y="166"/>
                  </a:cubicBezTo>
                  <a:cubicBezTo>
                    <a:pt x="456" y="167"/>
                    <a:pt x="456" y="167"/>
                    <a:pt x="456" y="167"/>
                  </a:cubicBezTo>
                  <a:cubicBezTo>
                    <a:pt x="465" y="189"/>
                    <a:pt x="465" y="189"/>
                    <a:pt x="465" y="189"/>
                  </a:cubicBezTo>
                  <a:cubicBezTo>
                    <a:pt x="493" y="193"/>
                    <a:pt x="493" y="193"/>
                    <a:pt x="493" y="193"/>
                  </a:cubicBezTo>
                  <a:cubicBezTo>
                    <a:pt x="493" y="193"/>
                    <a:pt x="498" y="217"/>
                    <a:pt x="533" y="197"/>
                  </a:cubicBezTo>
                  <a:cubicBezTo>
                    <a:pt x="533" y="197"/>
                    <a:pt x="553" y="229"/>
                    <a:pt x="574" y="164"/>
                  </a:cubicBezTo>
                  <a:lnTo>
                    <a:pt x="563" y="15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6" name="Alsace" descr="© INSCALE GmbH, 05.05.2010&#10;http://www.presentationload.com/">
              <a:extLst>
                <a:ext uri="{FF2B5EF4-FFF2-40B4-BE49-F238E27FC236}">
                  <a16:creationId xmlns:a16="http://schemas.microsoft.com/office/drawing/2014/main" id="{F0F39AF0-5E77-4803-A309-B0A4DD2EAFF8}"/>
                </a:ext>
              </a:extLst>
            </p:cNvPr>
            <p:cNvSpPr>
              <a:spLocks/>
            </p:cNvSpPr>
            <p:nvPr/>
          </p:nvSpPr>
          <p:spPr bwMode="gray">
            <a:xfrm>
              <a:off x="2808" y="818"/>
              <a:ext cx="317" cy="567"/>
            </a:xfrm>
            <a:custGeom>
              <a:avLst/>
              <a:gdLst/>
              <a:ahLst/>
              <a:cxnLst>
                <a:cxn ang="0">
                  <a:pos x="271" y="35"/>
                </a:cxn>
                <a:cxn ang="0">
                  <a:pos x="250" y="20"/>
                </a:cxn>
                <a:cxn ang="0">
                  <a:pos x="242" y="22"/>
                </a:cxn>
                <a:cxn ang="0">
                  <a:pos x="225" y="13"/>
                </a:cxn>
                <a:cxn ang="0">
                  <a:pos x="206" y="12"/>
                </a:cxn>
                <a:cxn ang="0">
                  <a:pos x="172" y="14"/>
                </a:cxn>
                <a:cxn ang="0">
                  <a:pos x="164" y="2"/>
                </a:cxn>
                <a:cxn ang="0">
                  <a:pos x="152" y="4"/>
                </a:cxn>
                <a:cxn ang="0">
                  <a:pos x="148" y="0"/>
                </a:cxn>
                <a:cxn ang="0">
                  <a:pos x="107" y="33"/>
                </a:cxn>
                <a:cxn ang="0">
                  <a:pos x="67" y="29"/>
                </a:cxn>
                <a:cxn ang="0">
                  <a:pos x="39" y="25"/>
                </a:cxn>
                <a:cxn ang="0">
                  <a:pos x="30" y="3"/>
                </a:cxn>
                <a:cxn ang="0">
                  <a:pos x="24" y="2"/>
                </a:cxn>
                <a:cxn ang="0">
                  <a:pos x="18" y="41"/>
                </a:cxn>
                <a:cxn ang="0">
                  <a:pos x="3" y="59"/>
                </a:cxn>
                <a:cxn ang="0">
                  <a:pos x="31" y="69"/>
                </a:cxn>
                <a:cxn ang="0">
                  <a:pos x="23" y="79"/>
                </a:cxn>
                <a:cxn ang="0">
                  <a:pos x="31" y="94"/>
                </a:cxn>
                <a:cxn ang="0">
                  <a:pos x="51" y="78"/>
                </a:cxn>
                <a:cxn ang="0">
                  <a:pos x="79" y="98"/>
                </a:cxn>
                <a:cxn ang="0">
                  <a:pos x="82" y="135"/>
                </a:cxn>
                <a:cxn ang="0">
                  <a:pos x="54" y="174"/>
                </a:cxn>
                <a:cxn ang="0">
                  <a:pos x="32" y="179"/>
                </a:cxn>
                <a:cxn ang="0">
                  <a:pos x="46" y="185"/>
                </a:cxn>
                <a:cxn ang="0">
                  <a:pos x="43" y="235"/>
                </a:cxn>
                <a:cxn ang="0">
                  <a:pos x="63" y="238"/>
                </a:cxn>
                <a:cxn ang="0">
                  <a:pos x="64" y="247"/>
                </a:cxn>
                <a:cxn ang="0">
                  <a:pos x="43" y="302"/>
                </a:cxn>
                <a:cxn ang="0">
                  <a:pos x="46" y="306"/>
                </a:cxn>
                <a:cxn ang="0">
                  <a:pos x="16" y="350"/>
                </a:cxn>
                <a:cxn ang="0">
                  <a:pos x="15" y="381"/>
                </a:cxn>
                <a:cxn ang="0">
                  <a:pos x="11" y="386"/>
                </a:cxn>
                <a:cxn ang="0">
                  <a:pos x="16" y="395"/>
                </a:cxn>
                <a:cxn ang="0">
                  <a:pos x="2" y="406"/>
                </a:cxn>
                <a:cxn ang="0">
                  <a:pos x="0" y="406"/>
                </a:cxn>
                <a:cxn ang="0">
                  <a:pos x="4" y="417"/>
                </a:cxn>
                <a:cxn ang="0">
                  <a:pos x="43" y="471"/>
                </a:cxn>
                <a:cxn ang="0">
                  <a:pos x="66" y="496"/>
                </a:cxn>
                <a:cxn ang="0">
                  <a:pos x="90" y="499"/>
                </a:cxn>
                <a:cxn ang="0">
                  <a:pos x="113" y="510"/>
                </a:cxn>
                <a:cxn ang="0">
                  <a:pos x="143" y="491"/>
                </a:cxn>
                <a:cxn ang="0">
                  <a:pos x="152" y="503"/>
                </a:cxn>
                <a:cxn ang="0">
                  <a:pos x="161" y="493"/>
                </a:cxn>
                <a:cxn ang="0">
                  <a:pos x="174" y="463"/>
                </a:cxn>
                <a:cxn ang="0">
                  <a:pos x="165" y="419"/>
                </a:cxn>
                <a:cxn ang="0">
                  <a:pos x="167" y="386"/>
                </a:cxn>
                <a:cxn ang="0">
                  <a:pos x="176" y="349"/>
                </a:cxn>
                <a:cxn ang="0">
                  <a:pos x="176" y="336"/>
                </a:cxn>
                <a:cxn ang="0">
                  <a:pos x="185" y="262"/>
                </a:cxn>
                <a:cxn ang="0">
                  <a:pos x="199" y="229"/>
                </a:cxn>
                <a:cxn ang="0">
                  <a:pos x="209" y="177"/>
                </a:cxn>
                <a:cxn ang="0">
                  <a:pos x="218" y="138"/>
                </a:cxn>
                <a:cxn ang="0">
                  <a:pos x="245" y="104"/>
                </a:cxn>
                <a:cxn ang="0">
                  <a:pos x="261" y="93"/>
                </a:cxn>
                <a:cxn ang="0">
                  <a:pos x="279" y="58"/>
                </a:cxn>
                <a:cxn ang="0">
                  <a:pos x="294" y="35"/>
                </a:cxn>
                <a:cxn ang="0">
                  <a:pos x="271" y="35"/>
                </a:cxn>
              </a:cxnLst>
              <a:rect l="0" t="0" r="r" b="b"/>
              <a:pathLst>
                <a:path w="294" h="526">
                  <a:moveTo>
                    <a:pt x="271" y="35"/>
                  </a:moveTo>
                  <a:cubicBezTo>
                    <a:pt x="250" y="20"/>
                    <a:pt x="250" y="20"/>
                    <a:pt x="250" y="20"/>
                  </a:cubicBezTo>
                  <a:cubicBezTo>
                    <a:pt x="242" y="22"/>
                    <a:pt x="242" y="22"/>
                    <a:pt x="242" y="22"/>
                  </a:cubicBezTo>
                  <a:cubicBezTo>
                    <a:pt x="233" y="7"/>
                    <a:pt x="232" y="15"/>
                    <a:pt x="225" y="13"/>
                  </a:cubicBezTo>
                  <a:cubicBezTo>
                    <a:pt x="215" y="25"/>
                    <a:pt x="206" y="12"/>
                    <a:pt x="206" y="12"/>
                  </a:cubicBezTo>
                  <a:cubicBezTo>
                    <a:pt x="172" y="14"/>
                    <a:pt x="172" y="14"/>
                    <a:pt x="172" y="14"/>
                  </a:cubicBezTo>
                  <a:cubicBezTo>
                    <a:pt x="164" y="2"/>
                    <a:pt x="164" y="2"/>
                    <a:pt x="164" y="2"/>
                  </a:cubicBezTo>
                  <a:cubicBezTo>
                    <a:pt x="152" y="4"/>
                    <a:pt x="152" y="4"/>
                    <a:pt x="152" y="4"/>
                  </a:cubicBezTo>
                  <a:cubicBezTo>
                    <a:pt x="148" y="0"/>
                    <a:pt x="148" y="0"/>
                    <a:pt x="148" y="0"/>
                  </a:cubicBezTo>
                  <a:cubicBezTo>
                    <a:pt x="127" y="65"/>
                    <a:pt x="107" y="33"/>
                    <a:pt x="107" y="33"/>
                  </a:cubicBezTo>
                  <a:cubicBezTo>
                    <a:pt x="72" y="53"/>
                    <a:pt x="67" y="29"/>
                    <a:pt x="67" y="29"/>
                  </a:cubicBezTo>
                  <a:cubicBezTo>
                    <a:pt x="39" y="25"/>
                    <a:pt x="39" y="25"/>
                    <a:pt x="39" y="25"/>
                  </a:cubicBezTo>
                  <a:cubicBezTo>
                    <a:pt x="30" y="3"/>
                    <a:pt x="30" y="3"/>
                    <a:pt x="30" y="3"/>
                  </a:cubicBezTo>
                  <a:cubicBezTo>
                    <a:pt x="24" y="2"/>
                    <a:pt x="24" y="2"/>
                    <a:pt x="24" y="2"/>
                  </a:cubicBezTo>
                  <a:cubicBezTo>
                    <a:pt x="18" y="41"/>
                    <a:pt x="18" y="41"/>
                    <a:pt x="18" y="41"/>
                  </a:cubicBezTo>
                  <a:cubicBezTo>
                    <a:pt x="8" y="39"/>
                    <a:pt x="3" y="59"/>
                    <a:pt x="3" y="59"/>
                  </a:cubicBezTo>
                  <a:cubicBezTo>
                    <a:pt x="31" y="69"/>
                    <a:pt x="31" y="69"/>
                    <a:pt x="31" y="69"/>
                  </a:cubicBezTo>
                  <a:cubicBezTo>
                    <a:pt x="23" y="79"/>
                    <a:pt x="23" y="79"/>
                    <a:pt x="23" y="79"/>
                  </a:cubicBezTo>
                  <a:cubicBezTo>
                    <a:pt x="31" y="94"/>
                    <a:pt x="31" y="94"/>
                    <a:pt x="31" y="94"/>
                  </a:cubicBezTo>
                  <a:cubicBezTo>
                    <a:pt x="31" y="94"/>
                    <a:pt x="44" y="75"/>
                    <a:pt x="51" y="78"/>
                  </a:cubicBezTo>
                  <a:cubicBezTo>
                    <a:pt x="57" y="80"/>
                    <a:pt x="76" y="96"/>
                    <a:pt x="79" y="98"/>
                  </a:cubicBezTo>
                  <a:cubicBezTo>
                    <a:pt x="61" y="130"/>
                    <a:pt x="80" y="140"/>
                    <a:pt x="82" y="135"/>
                  </a:cubicBezTo>
                  <a:cubicBezTo>
                    <a:pt x="79" y="173"/>
                    <a:pt x="54" y="174"/>
                    <a:pt x="54" y="174"/>
                  </a:cubicBezTo>
                  <a:cubicBezTo>
                    <a:pt x="32" y="179"/>
                    <a:pt x="32" y="179"/>
                    <a:pt x="32" y="179"/>
                  </a:cubicBezTo>
                  <a:cubicBezTo>
                    <a:pt x="46" y="185"/>
                    <a:pt x="46" y="185"/>
                    <a:pt x="46" y="185"/>
                  </a:cubicBezTo>
                  <a:cubicBezTo>
                    <a:pt x="46" y="185"/>
                    <a:pt x="43" y="223"/>
                    <a:pt x="43" y="235"/>
                  </a:cubicBezTo>
                  <a:cubicBezTo>
                    <a:pt x="43" y="247"/>
                    <a:pt x="63" y="238"/>
                    <a:pt x="63" y="238"/>
                  </a:cubicBezTo>
                  <a:cubicBezTo>
                    <a:pt x="64" y="247"/>
                    <a:pt x="64" y="247"/>
                    <a:pt x="64" y="247"/>
                  </a:cubicBezTo>
                  <a:cubicBezTo>
                    <a:pt x="43" y="302"/>
                    <a:pt x="43" y="302"/>
                    <a:pt x="43" y="302"/>
                  </a:cubicBezTo>
                  <a:cubicBezTo>
                    <a:pt x="43" y="302"/>
                    <a:pt x="50" y="306"/>
                    <a:pt x="46" y="306"/>
                  </a:cubicBezTo>
                  <a:cubicBezTo>
                    <a:pt x="34" y="347"/>
                    <a:pt x="16" y="350"/>
                    <a:pt x="16" y="350"/>
                  </a:cubicBezTo>
                  <a:cubicBezTo>
                    <a:pt x="15" y="381"/>
                    <a:pt x="15" y="381"/>
                    <a:pt x="15" y="381"/>
                  </a:cubicBezTo>
                  <a:cubicBezTo>
                    <a:pt x="11" y="386"/>
                    <a:pt x="11" y="386"/>
                    <a:pt x="11" y="386"/>
                  </a:cubicBezTo>
                  <a:cubicBezTo>
                    <a:pt x="16" y="395"/>
                    <a:pt x="16" y="395"/>
                    <a:pt x="16" y="395"/>
                  </a:cubicBezTo>
                  <a:cubicBezTo>
                    <a:pt x="16" y="395"/>
                    <a:pt x="7" y="403"/>
                    <a:pt x="2" y="406"/>
                  </a:cubicBezTo>
                  <a:cubicBezTo>
                    <a:pt x="1" y="406"/>
                    <a:pt x="1" y="406"/>
                    <a:pt x="0" y="406"/>
                  </a:cubicBezTo>
                  <a:cubicBezTo>
                    <a:pt x="4" y="417"/>
                    <a:pt x="4" y="417"/>
                    <a:pt x="4" y="417"/>
                  </a:cubicBezTo>
                  <a:cubicBezTo>
                    <a:pt x="4" y="417"/>
                    <a:pt x="52" y="414"/>
                    <a:pt x="43" y="471"/>
                  </a:cubicBezTo>
                  <a:cubicBezTo>
                    <a:pt x="45" y="477"/>
                    <a:pt x="61" y="476"/>
                    <a:pt x="66" y="496"/>
                  </a:cubicBezTo>
                  <a:cubicBezTo>
                    <a:pt x="76" y="498"/>
                    <a:pt x="87" y="500"/>
                    <a:pt x="90" y="499"/>
                  </a:cubicBezTo>
                  <a:cubicBezTo>
                    <a:pt x="92" y="526"/>
                    <a:pt x="116" y="512"/>
                    <a:pt x="113" y="510"/>
                  </a:cubicBezTo>
                  <a:cubicBezTo>
                    <a:pt x="153" y="521"/>
                    <a:pt x="143" y="491"/>
                    <a:pt x="143" y="491"/>
                  </a:cubicBezTo>
                  <a:cubicBezTo>
                    <a:pt x="152" y="503"/>
                    <a:pt x="152" y="503"/>
                    <a:pt x="152" y="503"/>
                  </a:cubicBezTo>
                  <a:cubicBezTo>
                    <a:pt x="152" y="503"/>
                    <a:pt x="152" y="503"/>
                    <a:pt x="161" y="493"/>
                  </a:cubicBezTo>
                  <a:cubicBezTo>
                    <a:pt x="158" y="468"/>
                    <a:pt x="174" y="468"/>
                    <a:pt x="174" y="463"/>
                  </a:cubicBezTo>
                  <a:cubicBezTo>
                    <a:pt x="154" y="435"/>
                    <a:pt x="165" y="419"/>
                    <a:pt x="165" y="419"/>
                  </a:cubicBezTo>
                  <a:cubicBezTo>
                    <a:pt x="165" y="419"/>
                    <a:pt x="159" y="406"/>
                    <a:pt x="167" y="386"/>
                  </a:cubicBezTo>
                  <a:cubicBezTo>
                    <a:pt x="166" y="363"/>
                    <a:pt x="176" y="349"/>
                    <a:pt x="176" y="349"/>
                  </a:cubicBezTo>
                  <a:cubicBezTo>
                    <a:pt x="176" y="336"/>
                    <a:pt x="176" y="336"/>
                    <a:pt x="176" y="336"/>
                  </a:cubicBezTo>
                  <a:cubicBezTo>
                    <a:pt x="144" y="322"/>
                    <a:pt x="179" y="281"/>
                    <a:pt x="185" y="262"/>
                  </a:cubicBezTo>
                  <a:cubicBezTo>
                    <a:pt x="180" y="238"/>
                    <a:pt x="199" y="232"/>
                    <a:pt x="199" y="229"/>
                  </a:cubicBezTo>
                  <a:cubicBezTo>
                    <a:pt x="191" y="200"/>
                    <a:pt x="207" y="183"/>
                    <a:pt x="209" y="177"/>
                  </a:cubicBezTo>
                  <a:cubicBezTo>
                    <a:pt x="200" y="156"/>
                    <a:pt x="215" y="141"/>
                    <a:pt x="218" y="138"/>
                  </a:cubicBezTo>
                  <a:cubicBezTo>
                    <a:pt x="247" y="113"/>
                    <a:pt x="245" y="104"/>
                    <a:pt x="245" y="104"/>
                  </a:cubicBezTo>
                  <a:cubicBezTo>
                    <a:pt x="251" y="104"/>
                    <a:pt x="261" y="93"/>
                    <a:pt x="261" y="93"/>
                  </a:cubicBezTo>
                  <a:cubicBezTo>
                    <a:pt x="270" y="94"/>
                    <a:pt x="279" y="58"/>
                    <a:pt x="279" y="58"/>
                  </a:cubicBezTo>
                  <a:cubicBezTo>
                    <a:pt x="294" y="35"/>
                    <a:pt x="294" y="35"/>
                    <a:pt x="294" y="35"/>
                  </a:cubicBezTo>
                  <a:lnTo>
                    <a:pt x="271" y="3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7" name="Franche-Comté" descr="© INSCALE GmbH, 05.05.2010&#10;http://www.presentationload.com/">
              <a:extLst>
                <a:ext uri="{FF2B5EF4-FFF2-40B4-BE49-F238E27FC236}">
                  <a16:creationId xmlns:a16="http://schemas.microsoft.com/office/drawing/2014/main" id="{1F490D34-6D95-4776-8198-C2E5920D6864}"/>
                </a:ext>
              </a:extLst>
            </p:cNvPr>
            <p:cNvSpPr>
              <a:spLocks/>
            </p:cNvSpPr>
            <p:nvPr/>
          </p:nvSpPr>
          <p:spPr bwMode="gray">
            <a:xfrm>
              <a:off x="2452" y="1199"/>
              <a:ext cx="435" cy="623"/>
            </a:xfrm>
            <a:custGeom>
              <a:avLst/>
              <a:gdLst/>
              <a:ahLst/>
              <a:cxnLst>
                <a:cxn ang="0">
                  <a:pos x="40" y="136"/>
                </a:cxn>
                <a:cxn ang="0">
                  <a:pos x="17" y="186"/>
                </a:cxn>
                <a:cxn ang="0">
                  <a:pos x="30" y="212"/>
                </a:cxn>
                <a:cxn ang="0">
                  <a:pos x="46" y="228"/>
                </a:cxn>
                <a:cxn ang="0">
                  <a:pos x="13" y="312"/>
                </a:cxn>
                <a:cxn ang="0">
                  <a:pos x="12" y="326"/>
                </a:cxn>
                <a:cxn ang="0">
                  <a:pos x="14" y="353"/>
                </a:cxn>
                <a:cxn ang="0">
                  <a:pos x="46" y="380"/>
                </a:cxn>
                <a:cxn ang="0">
                  <a:pos x="25" y="402"/>
                </a:cxn>
                <a:cxn ang="0">
                  <a:pos x="36" y="418"/>
                </a:cxn>
                <a:cxn ang="0">
                  <a:pos x="37" y="465"/>
                </a:cxn>
                <a:cxn ang="0">
                  <a:pos x="40" y="498"/>
                </a:cxn>
                <a:cxn ang="0">
                  <a:pos x="18" y="524"/>
                </a:cxn>
                <a:cxn ang="0">
                  <a:pos x="32" y="542"/>
                </a:cxn>
                <a:cxn ang="0">
                  <a:pos x="53" y="566"/>
                </a:cxn>
                <a:cxn ang="0">
                  <a:pos x="109" y="548"/>
                </a:cxn>
                <a:cxn ang="0">
                  <a:pos x="145" y="562"/>
                </a:cxn>
                <a:cxn ang="0">
                  <a:pos x="200" y="497"/>
                </a:cxn>
                <a:cxn ang="0">
                  <a:pos x="201" y="425"/>
                </a:cxn>
                <a:cxn ang="0">
                  <a:pos x="257" y="358"/>
                </a:cxn>
                <a:cxn ang="0">
                  <a:pos x="272" y="305"/>
                </a:cxn>
                <a:cxn ang="0">
                  <a:pos x="312" y="288"/>
                </a:cxn>
                <a:cxn ang="0">
                  <a:pos x="370" y="218"/>
                </a:cxn>
                <a:cxn ang="0">
                  <a:pos x="373" y="202"/>
                </a:cxn>
                <a:cxn ang="0">
                  <a:pos x="386" y="180"/>
                </a:cxn>
                <a:cxn ang="0">
                  <a:pos x="364" y="161"/>
                </a:cxn>
                <a:cxn ang="0">
                  <a:pos x="378" y="139"/>
                </a:cxn>
                <a:cxn ang="0">
                  <a:pos x="373" y="118"/>
                </a:cxn>
                <a:cxn ang="0">
                  <a:pos x="330" y="53"/>
                </a:cxn>
                <a:cxn ang="0">
                  <a:pos x="285" y="32"/>
                </a:cxn>
                <a:cxn ang="0">
                  <a:pos x="250" y="37"/>
                </a:cxn>
                <a:cxn ang="0">
                  <a:pos x="189" y="26"/>
                </a:cxn>
                <a:cxn ang="0">
                  <a:pos x="177" y="16"/>
                </a:cxn>
                <a:cxn ang="0">
                  <a:pos x="153" y="6"/>
                </a:cxn>
                <a:cxn ang="0">
                  <a:pos x="134" y="26"/>
                </a:cxn>
                <a:cxn ang="0">
                  <a:pos x="128" y="16"/>
                </a:cxn>
                <a:cxn ang="0">
                  <a:pos x="124" y="36"/>
                </a:cxn>
                <a:cxn ang="0">
                  <a:pos x="113" y="56"/>
                </a:cxn>
                <a:cxn ang="0">
                  <a:pos x="93" y="69"/>
                </a:cxn>
                <a:cxn ang="0">
                  <a:pos x="80" y="78"/>
                </a:cxn>
                <a:cxn ang="0">
                  <a:pos x="88" y="109"/>
                </a:cxn>
                <a:cxn ang="0">
                  <a:pos x="57" y="106"/>
                </a:cxn>
                <a:cxn ang="0">
                  <a:pos x="26" y="112"/>
                </a:cxn>
                <a:cxn ang="0">
                  <a:pos x="24" y="140"/>
                </a:cxn>
              </a:cxnLst>
              <a:rect l="0" t="0" r="r" b="b"/>
              <a:pathLst>
                <a:path w="403" h="577">
                  <a:moveTo>
                    <a:pt x="32" y="132"/>
                  </a:moveTo>
                  <a:cubicBezTo>
                    <a:pt x="40" y="136"/>
                    <a:pt x="40" y="136"/>
                    <a:pt x="40" y="136"/>
                  </a:cubicBezTo>
                  <a:cubicBezTo>
                    <a:pt x="40" y="136"/>
                    <a:pt x="45" y="176"/>
                    <a:pt x="29" y="176"/>
                  </a:cubicBezTo>
                  <a:cubicBezTo>
                    <a:pt x="13" y="176"/>
                    <a:pt x="25" y="186"/>
                    <a:pt x="17" y="186"/>
                  </a:cubicBezTo>
                  <a:cubicBezTo>
                    <a:pt x="9" y="186"/>
                    <a:pt x="30" y="190"/>
                    <a:pt x="30" y="190"/>
                  </a:cubicBezTo>
                  <a:cubicBezTo>
                    <a:pt x="30" y="212"/>
                    <a:pt x="30" y="212"/>
                    <a:pt x="30" y="212"/>
                  </a:cubicBezTo>
                  <a:cubicBezTo>
                    <a:pt x="49" y="208"/>
                    <a:pt x="49" y="208"/>
                    <a:pt x="49" y="208"/>
                  </a:cubicBezTo>
                  <a:cubicBezTo>
                    <a:pt x="46" y="228"/>
                    <a:pt x="46" y="228"/>
                    <a:pt x="46" y="228"/>
                  </a:cubicBezTo>
                  <a:cubicBezTo>
                    <a:pt x="54" y="236"/>
                    <a:pt x="54" y="236"/>
                    <a:pt x="54" y="236"/>
                  </a:cubicBezTo>
                  <a:cubicBezTo>
                    <a:pt x="54" y="236"/>
                    <a:pt x="34" y="301"/>
                    <a:pt x="13" y="312"/>
                  </a:cubicBezTo>
                  <a:cubicBezTo>
                    <a:pt x="10" y="316"/>
                    <a:pt x="5" y="325"/>
                    <a:pt x="5" y="325"/>
                  </a:cubicBezTo>
                  <a:cubicBezTo>
                    <a:pt x="12" y="326"/>
                    <a:pt x="12" y="326"/>
                    <a:pt x="12" y="326"/>
                  </a:cubicBezTo>
                  <a:cubicBezTo>
                    <a:pt x="12" y="326"/>
                    <a:pt x="0" y="340"/>
                    <a:pt x="0" y="352"/>
                  </a:cubicBezTo>
                  <a:cubicBezTo>
                    <a:pt x="14" y="353"/>
                    <a:pt x="14" y="353"/>
                    <a:pt x="14" y="353"/>
                  </a:cubicBezTo>
                  <a:cubicBezTo>
                    <a:pt x="18" y="364"/>
                    <a:pt x="18" y="364"/>
                    <a:pt x="18" y="364"/>
                  </a:cubicBezTo>
                  <a:cubicBezTo>
                    <a:pt x="18" y="364"/>
                    <a:pt x="30" y="368"/>
                    <a:pt x="46" y="380"/>
                  </a:cubicBezTo>
                  <a:cubicBezTo>
                    <a:pt x="13" y="392"/>
                    <a:pt x="13" y="392"/>
                    <a:pt x="13" y="392"/>
                  </a:cubicBezTo>
                  <a:cubicBezTo>
                    <a:pt x="25" y="402"/>
                    <a:pt x="25" y="402"/>
                    <a:pt x="25" y="402"/>
                  </a:cubicBezTo>
                  <a:cubicBezTo>
                    <a:pt x="25" y="422"/>
                    <a:pt x="25" y="422"/>
                    <a:pt x="25" y="422"/>
                  </a:cubicBezTo>
                  <a:cubicBezTo>
                    <a:pt x="36" y="418"/>
                    <a:pt x="36" y="418"/>
                    <a:pt x="36" y="418"/>
                  </a:cubicBezTo>
                  <a:cubicBezTo>
                    <a:pt x="36" y="418"/>
                    <a:pt x="28" y="436"/>
                    <a:pt x="45" y="445"/>
                  </a:cubicBezTo>
                  <a:cubicBezTo>
                    <a:pt x="40" y="445"/>
                    <a:pt x="37" y="465"/>
                    <a:pt x="37" y="465"/>
                  </a:cubicBezTo>
                  <a:cubicBezTo>
                    <a:pt x="37" y="465"/>
                    <a:pt x="16" y="484"/>
                    <a:pt x="41" y="490"/>
                  </a:cubicBezTo>
                  <a:cubicBezTo>
                    <a:pt x="44" y="492"/>
                    <a:pt x="40" y="498"/>
                    <a:pt x="40" y="498"/>
                  </a:cubicBezTo>
                  <a:cubicBezTo>
                    <a:pt x="21" y="504"/>
                    <a:pt x="21" y="504"/>
                    <a:pt x="21" y="504"/>
                  </a:cubicBezTo>
                  <a:cubicBezTo>
                    <a:pt x="18" y="524"/>
                    <a:pt x="18" y="524"/>
                    <a:pt x="18" y="524"/>
                  </a:cubicBezTo>
                  <a:cubicBezTo>
                    <a:pt x="32" y="529"/>
                    <a:pt x="32" y="529"/>
                    <a:pt x="32" y="529"/>
                  </a:cubicBezTo>
                  <a:cubicBezTo>
                    <a:pt x="32" y="542"/>
                    <a:pt x="32" y="542"/>
                    <a:pt x="32" y="542"/>
                  </a:cubicBezTo>
                  <a:cubicBezTo>
                    <a:pt x="56" y="553"/>
                    <a:pt x="56" y="553"/>
                    <a:pt x="56" y="553"/>
                  </a:cubicBezTo>
                  <a:cubicBezTo>
                    <a:pt x="53" y="566"/>
                    <a:pt x="53" y="566"/>
                    <a:pt x="53" y="566"/>
                  </a:cubicBezTo>
                  <a:cubicBezTo>
                    <a:pt x="53" y="566"/>
                    <a:pt x="76" y="577"/>
                    <a:pt x="93" y="538"/>
                  </a:cubicBezTo>
                  <a:cubicBezTo>
                    <a:pt x="89" y="545"/>
                    <a:pt x="109" y="548"/>
                    <a:pt x="109" y="548"/>
                  </a:cubicBezTo>
                  <a:cubicBezTo>
                    <a:pt x="113" y="564"/>
                    <a:pt x="113" y="564"/>
                    <a:pt x="113" y="564"/>
                  </a:cubicBezTo>
                  <a:cubicBezTo>
                    <a:pt x="145" y="562"/>
                    <a:pt x="145" y="562"/>
                    <a:pt x="145" y="562"/>
                  </a:cubicBezTo>
                  <a:cubicBezTo>
                    <a:pt x="202" y="503"/>
                    <a:pt x="202" y="503"/>
                    <a:pt x="202" y="503"/>
                  </a:cubicBezTo>
                  <a:cubicBezTo>
                    <a:pt x="201" y="500"/>
                    <a:pt x="200" y="497"/>
                    <a:pt x="200" y="497"/>
                  </a:cubicBezTo>
                  <a:cubicBezTo>
                    <a:pt x="166" y="487"/>
                    <a:pt x="201" y="445"/>
                    <a:pt x="201" y="445"/>
                  </a:cubicBezTo>
                  <a:cubicBezTo>
                    <a:pt x="188" y="434"/>
                    <a:pt x="201" y="425"/>
                    <a:pt x="201" y="425"/>
                  </a:cubicBezTo>
                  <a:cubicBezTo>
                    <a:pt x="201" y="425"/>
                    <a:pt x="253" y="379"/>
                    <a:pt x="253" y="376"/>
                  </a:cubicBezTo>
                  <a:cubicBezTo>
                    <a:pt x="261" y="375"/>
                    <a:pt x="271" y="367"/>
                    <a:pt x="257" y="358"/>
                  </a:cubicBezTo>
                  <a:cubicBezTo>
                    <a:pt x="276" y="339"/>
                    <a:pt x="259" y="323"/>
                    <a:pt x="259" y="323"/>
                  </a:cubicBezTo>
                  <a:cubicBezTo>
                    <a:pt x="272" y="305"/>
                    <a:pt x="272" y="305"/>
                    <a:pt x="272" y="305"/>
                  </a:cubicBezTo>
                  <a:cubicBezTo>
                    <a:pt x="302" y="298"/>
                    <a:pt x="302" y="298"/>
                    <a:pt x="302" y="298"/>
                  </a:cubicBezTo>
                  <a:cubicBezTo>
                    <a:pt x="312" y="288"/>
                    <a:pt x="312" y="288"/>
                    <a:pt x="312" y="288"/>
                  </a:cubicBezTo>
                  <a:cubicBezTo>
                    <a:pt x="315" y="277"/>
                    <a:pt x="315" y="277"/>
                    <a:pt x="315" y="277"/>
                  </a:cubicBezTo>
                  <a:cubicBezTo>
                    <a:pt x="315" y="277"/>
                    <a:pt x="368" y="222"/>
                    <a:pt x="370" y="218"/>
                  </a:cubicBezTo>
                  <a:cubicBezTo>
                    <a:pt x="365" y="210"/>
                    <a:pt x="376" y="203"/>
                    <a:pt x="375" y="202"/>
                  </a:cubicBezTo>
                  <a:cubicBezTo>
                    <a:pt x="374" y="202"/>
                    <a:pt x="374" y="202"/>
                    <a:pt x="373" y="202"/>
                  </a:cubicBezTo>
                  <a:cubicBezTo>
                    <a:pt x="374" y="202"/>
                    <a:pt x="374" y="202"/>
                    <a:pt x="375" y="202"/>
                  </a:cubicBezTo>
                  <a:cubicBezTo>
                    <a:pt x="403" y="203"/>
                    <a:pt x="386" y="180"/>
                    <a:pt x="386" y="180"/>
                  </a:cubicBezTo>
                  <a:cubicBezTo>
                    <a:pt x="354" y="184"/>
                    <a:pt x="354" y="184"/>
                    <a:pt x="354" y="184"/>
                  </a:cubicBezTo>
                  <a:cubicBezTo>
                    <a:pt x="364" y="161"/>
                    <a:pt x="364" y="161"/>
                    <a:pt x="364" y="161"/>
                  </a:cubicBezTo>
                  <a:cubicBezTo>
                    <a:pt x="380" y="152"/>
                    <a:pt x="380" y="152"/>
                    <a:pt x="380" y="152"/>
                  </a:cubicBezTo>
                  <a:cubicBezTo>
                    <a:pt x="378" y="139"/>
                    <a:pt x="378" y="139"/>
                    <a:pt x="378" y="139"/>
                  </a:cubicBezTo>
                  <a:cubicBezTo>
                    <a:pt x="378" y="139"/>
                    <a:pt x="387" y="141"/>
                    <a:pt x="396" y="143"/>
                  </a:cubicBezTo>
                  <a:cubicBezTo>
                    <a:pt x="391" y="123"/>
                    <a:pt x="375" y="124"/>
                    <a:pt x="373" y="118"/>
                  </a:cubicBezTo>
                  <a:cubicBezTo>
                    <a:pt x="382" y="61"/>
                    <a:pt x="334" y="64"/>
                    <a:pt x="334" y="64"/>
                  </a:cubicBezTo>
                  <a:cubicBezTo>
                    <a:pt x="330" y="53"/>
                    <a:pt x="330" y="53"/>
                    <a:pt x="330" y="53"/>
                  </a:cubicBezTo>
                  <a:cubicBezTo>
                    <a:pt x="325" y="54"/>
                    <a:pt x="318" y="45"/>
                    <a:pt x="318" y="45"/>
                  </a:cubicBezTo>
                  <a:cubicBezTo>
                    <a:pt x="285" y="32"/>
                    <a:pt x="285" y="32"/>
                    <a:pt x="285" y="32"/>
                  </a:cubicBezTo>
                  <a:cubicBezTo>
                    <a:pt x="276" y="20"/>
                    <a:pt x="276" y="20"/>
                    <a:pt x="276" y="20"/>
                  </a:cubicBezTo>
                  <a:cubicBezTo>
                    <a:pt x="250" y="37"/>
                    <a:pt x="250" y="37"/>
                    <a:pt x="250" y="37"/>
                  </a:cubicBezTo>
                  <a:cubicBezTo>
                    <a:pt x="250" y="37"/>
                    <a:pt x="245" y="30"/>
                    <a:pt x="241" y="20"/>
                  </a:cubicBezTo>
                  <a:cubicBezTo>
                    <a:pt x="237" y="9"/>
                    <a:pt x="189" y="26"/>
                    <a:pt x="189" y="26"/>
                  </a:cubicBezTo>
                  <a:cubicBezTo>
                    <a:pt x="190" y="17"/>
                    <a:pt x="190" y="17"/>
                    <a:pt x="190" y="17"/>
                  </a:cubicBezTo>
                  <a:cubicBezTo>
                    <a:pt x="177" y="16"/>
                    <a:pt x="177" y="16"/>
                    <a:pt x="177" y="16"/>
                  </a:cubicBezTo>
                  <a:cubicBezTo>
                    <a:pt x="178" y="0"/>
                    <a:pt x="178" y="0"/>
                    <a:pt x="178" y="0"/>
                  </a:cubicBezTo>
                  <a:cubicBezTo>
                    <a:pt x="153" y="6"/>
                    <a:pt x="153" y="6"/>
                    <a:pt x="153" y="6"/>
                  </a:cubicBezTo>
                  <a:cubicBezTo>
                    <a:pt x="148" y="20"/>
                    <a:pt x="148" y="20"/>
                    <a:pt x="148" y="20"/>
                  </a:cubicBezTo>
                  <a:cubicBezTo>
                    <a:pt x="134" y="26"/>
                    <a:pt x="134" y="26"/>
                    <a:pt x="134" y="26"/>
                  </a:cubicBezTo>
                  <a:cubicBezTo>
                    <a:pt x="138" y="17"/>
                    <a:pt x="138" y="17"/>
                    <a:pt x="138" y="17"/>
                  </a:cubicBezTo>
                  <a:cubicBezTo>
                    <a:pt x="128" y="16"/>
                    <a:pt x="128" y="16"/>
                    <a:pt x="128" y="16"/>
                  </a:cubicBezTo>
                  <a:cubicBezTo>
                    <a:pt x="121" y="27"/>
                    <a:pt x="121" y="27"/>
                    <a:pt x="121" y="27"/>
                  </a:cubicBezTo>
                  <a:cubicBezTo>
                    <a:pt x="124" y="36"/>
                    <a:pt x="124" y="36"/>
                    <a:pt x="124" y="36"/>
                  </a:cubicBezTo>
                  <a:cubicBezTo>
                    <a:pt x="116" y="41"/>
                    <a:pt x="116" y="41"/>
                    <a:pt x="116" y="41"/>
                  </a:cubicBezTo>
                  <a:cubicBezTo>
                    <a:pt x="113" y="56"/>
                    <a:pt x="113" y="56"/>
                    <a:pt x="113" y="56"/>
                  </a:cubicBezTo>
                  <a:cubicBezTo>
                    <a:pt x="100" y="54"/>
                    <a:pt x="100" y="54"/>
                    <a:pt x="100" y="54"/>
                  </a:cubicBezTo>
                  <a:cubicBezTo>
                    <a:pt x="93" y="69"/>
                    <a:pt x="93" y="69"/>
                    <a:pt x="93" y="69"/>
                  </a:cubicBezTo>
                  <a:cubicBezTo>
                    <a:pt x="85" y="68"/>
                    <a:pt x="85" y="68"/>
                    <a:pt x="85" y="68"/>
                  </a:cubicBezTo>
                  <a:cubicBezTo>
                    <a:pt x="80" y="78"/>
                    <a:pt x="80" y="78"/>
                    <a:pt x="80" y="78"/>
                  </a:cubicBezTo>
                  <a:cubicBezTo>
                    <a:pt x="90" y="78"/>
                    <a:pt x="90" y="78"/>
                    <a:pt x="90" y="78"/>
                  </a:cubicBezTo>
                  <a:cubicBezTo>
                    <a:pt x="88" y="109"/>
                    <a:pt x="88" y="109"/>
                    <a:pt x="88" y="109"/>
                  </a:cubicBezTo>
                  <a:cubicBezTo>
                    <a:pt x="69" y="114"/>
                    <a:pt x="69" y="114"/>
                    <a:pt x="69" y="114"/>
                  </a:cubicBezTo>
                  <a:cubicBezTo>
                    <a:pt x="57" y="106"/>
                    <a:pt x="57" y="106"/>
                    <a:pt x="57" y="106"/>
                  </a:cubicBezTo>
                  <a:cubicBezTo>
                    <a:pt x="56" y="113"/>
                    <a:pt x="56" y="113"/>
                    <a:pt x="56" y="113"/>
                  </a:cubicBezTo>
                  <a:cubicBezTo>
                    <a:pt x="26" y="112"/>
                    <a:pt x="26" y="112"/>
                    <a:pt x="26" y="112"/>
                  </a:cubicBezTo>
                  <a:cubicBezTo>
                    <a:pt x="26" y="112"/>
                    <a:pt x="24" y="129"/>
                    <a:pt x="21" y="136"/>
                  </a:cubicBezTo>
                  <a:cubicBezTo>
                    <a:pt x="24" y="140"/>
                    <a:pt x="24" y="140"/>
                    <a:pt x="24" y="140"/>
                  </a:cubicBezTo>
                  <a:lnTo>
                    <a:pt x="32" y="13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8" name="Bourgogne" descr="© INSCALE GmbH, 05.05.2010&#10;http://www.presentationload.com/">
              <a:extLst>
                <a:ext uri="{FF2B5EF4-FFF2-40B4-BE49-F238E27FC236}">
                  <a16:creationId xmlns:a16="http://schemas.microsoft.com/office/drawing/2014/main" id="{67CEE325-8000-4C18-B665-933A28B6F9A2}"/>
                </a:ext>
              </a:extLst>
            </p:cNvPr>
            <p:cNvSpPr>
              <a:spLocks/>
            </p:cNvSpPr>
            <p:nvPr/>
          </p:nvSpPr>
          <p:spPr bwMode="gray">
            <a:xfrm>
              <a:off x="1885" y="1086"/>
              <a:ext cx="625" cy="772"/>
            </a:xfrm>
            <a:custGeom>
              <a:avLst/>
              <a:gdLst/>
              <a:ahLst/>
              <a:cxnLst>
                <a:cxn ang="0">
                  <a:pos x="43" y="156"/>
                </a:cxn>
                <a:cxn ang="0">
                  <a:pos x="36" y="170"/>
                </a:cxn>
                <a:cxn ang="0">
                  <a:pos x="0" y="220"/>
                </a:cxn>
                <a:cxn ang="0">
                  <a:pos x="19" y="253"/>
                </a:cxn>
                <a:cxn ang="0">
                  <a:pos x="20" y="309"/>
                </a:cxn>
                <a:cxn ang="0">
                  <a:pos x="40" y="429"/>
                </a:cxn>
                <a:cxn ang="0">
                  <a:pos x="43" y="512"/>
                </a:cxn>
                <a:cxn ang="0">
                  <a:pos x="111" y="545"/>
                </a:cxn>
                <a:cxn ang="0">
                  <a:pos x="138" y="558"/>
                </a:cxn>
                <a:cxn ang="0">
                  <a:pos x="164" y="521"/>
                </a:cxn>
                <a:cxn ang="0">
                  <a:pos x="219" y="597"/>
                </a:cxn>
                <a:cxn ang="0">
                  <a:pos x="255" y="658"/>
                </a:cxn>
                <a:cxn ang="0">
                  <a:pos x="235" y="669"/>
                </a:cxn>
                <a:cxn ang="0">
                  <a:pos x="256" y="710"/>
                </a:cxn>
                <a:cxn ang="0">
                  <a:pos x="304" y="703"/>
                </a:cxn>
                <a:cxn ang="0">
                  <a:pos x="319" y="714"/>
                </a:cxn>
                <a:cxn ang="0">
                  <a:pos x="346" y="666"/>
                </a:cxn>
                <a:cxn ang="0">
                  <a:pos x="382" y="666"/>
                </a:cxn>
                <a:cxn ang="0">
                  <a:pos x="411" y="678"/>
                </a:cxn>
                <a:cxn ang="0">
                  <a:pos x="431" y="704"/>
                </a:cxn>
                <a:cxn ang="0">
                  <a:pos x="520" y="594"/>
                </a:cxn>
                <a:cxn ang="0">
                  <a:pos x="547" y="608"/>
                </a:cxn>
                <a:cxn ang="0">
                  <a:pos x="563" y="569"/>
                </a:cxn>
                <a:cxn ang="0">
                  <a:pos x="551" y="526"/>
                </a:cxn>
                <a:cxn ang="0">
                  <a:pos x="572" y="484"/>
                </a:cxn>
                <a:cxn ang="0">
                  <a:pos x="526" y="456"/>
                </a:cxn>
                <a:cxn ang="0">
                  <a:pos x="539" y="416"/>
                </a:cxn>
                <a:cxn ang="0">
                  <a:pos x="575" y="312"/>
                </a:cxn>
                <a:cxn ang="0">
                  <a:pos x="543" y="290"/>
                </a:cxn>
                <a:cxn ang="0">
                  <a:pos x="558" y="236"/>
                </a:cxn>
                <a:cxn ang="0">
                  <a:pos x="544" y="244"/>
                </a:cxn>
                <a:cxn ang="0">
                  <a:pos x="518" y="240"/>
                </a:cxn>
                <a:cxn ang="0">
                  <a:pos x="488" y="226"/>
                </a:cxn>
                <a:cxn ang="0">
                  <a:pos x="455" y="194"/>
                </a:cxn>
                <a:cxn ang="0">
                  <a:pos x="456" y="173"/>
                </a:cxn>
                <a:cxn ang="0">
                  <a:pos x="426" y="146"/>
                </a:cxn>
                <a:cxn ang="0">
                  <a:pos x="414" y="133"/>
                </a:cxn>
                <a:cxn ang="0">
                  <a:pos x="311" y="136"/>
                </a:cxn>
                <a:cxn ang="0">
                  <a:pos x="296" y="132"/>
                </a:cxn>
                <a:cxn ang="0">
                  <a:pos x="283" y="137"/>
                </a:cxn>
                <a:cxn ang="0">
                  <a:pos x="256" y="146"/>
                </a:cxn>
                <a:cxn ang="0">
                  <a:pos x="208" y="109"/>
                </a:cxn>
                <a:cxn ang="0">
                  <a:pos x="182" y="69"/>
                </a:cxn>
                <a:cxn ang="0">
                  <a:pos x="167" y="66"/>
                </a:cxn>
                <a:cxn ang="0">
                  <a:pos x="155" y="33"/>
                </a:cxn>
                <a:cxn ang="0">
                  <a:pos x="118" y="0"/>
                </a:cxn>
                <a:cxn ang="0">
                  <a:pos x="36" y="28"/>
                </a:cxn>
                <a:cxn ang="0">
                  <a:pos x="39" y="84"/>
                </a:cxn>
              </a:cxnLst>
              <a:rect l="0" t="0" r="r" b="b"/>
              <a:pathLst>
                <a:path w="580" h="715">
                  <a:moveTo>
                    <a:pt x="58" y="114"/>
                  </a:moveTo>
                  <a:cubicBezTo>
                    <a:pt x="59" y="133"/>
                    <a:pt x="59" y="133"/>
                    <a:pt x="59" y="133"/>
                  </a:cubicBezTo>
                  <a:cubicBezTo>
                    <a:pt x="43" y="156"/>
                    <a:pt x="43" y="156"/>
                    <a:pt x="43" y="156"/>
                  </a:cubicBezTo>
                  <a:cubicBezTo>
                    <a:pt x="34" y="157"/>
                    <a:pt x="34" y="157"/>
                    <a:pt x="34" y="157"/>
                  </a:cubicBezTo>
                  <a:cubicBezTo>
                    <a:pt x="31" y="170"/>
                    <a:pt x="31" y="170"/>
                    <a:pt x="31" y="170"/>
                  </a:cubicBezTo>
                  <a:cubicBezTo>
                    <a:pt x="36" y="170"/>
                    <a:pt x="36" y="170"/>
                    <a:pt x="36" y="170"/>
                  </a:cubicBezTo>
                  <a:cubicBezTo>
                    <a:pt x="36" y="194"/>
                    <a:pt x="36" y="194"/>
                    <a:pt x="36" y="194"/>
                  </a:cubicBezTo>
                  <a:cubicBezTo>
                    <a:pt x="2" y="204"/>
                    <a:pt x="2" y="204"/>
                    <a:pt x="2" y="204"/>
                  </a:cubicBezTo>
                  <a:cubicBezTo>
                    <a:pt x="0" y="220"/>
                    <a:pt x="0" y="220"/>
                    <a:pt x="0" y="220"/>
                  </a:cubicBezTo>
                  <a:cubicBezTo>
                    <a:pt x="10" y="218"/>
                    <a:pt x="10" y="218"/>
                    <a:pt x="10" y="218"/>
                  </a:cubicBezTo>
                  <a:cubicBezTo>
                    <a:pt x="23" y="240"/>
                    <a:pt x="23" y="240"/>
                    <a:pt x="23" y="240"/>
                  </a:cubicBezTo>
                  <a:cubicBezTo>
                    <a:pt x="19" y="253"/>
                    <a:pt x="19" y="253"/>
                    <a:pt x="19" y="253"/>
                  </a:cubicBezTo>
                  <a:cubicBezTo>
                    <a:pt x="27" y="265"/>
                    <a:pt x="27" y="265"/>
                    <a:pt x="27" y="265"/>
                  </a:cubicBezTo>
                  <a:cubicBezTo>
                    <a:pt x="4" y="270"/>
                    <a:pt x="4" y="270"/>
                    <a:pt x="4" y="270"/>
                  </a:cubicBezTo>
                  <a:cubicBezTo>
                    <a:pt x="20" y="309"/>
                    <a:pt x="20" y="309"/>
                    <a:pt x="20" y="309"/>
                  </a:cubicBezTo>
                  <a:cubicBezTo>
                    <a:pt x="6" y="344"/>
                    <a:pt x="6" y="344"/>
                    <a:pt x="6" y="344"/>
                  </a:cubicBezTo>
                  <a:cubicBezTo>
                    <a:pt x="31" y="365"/>
                    <a:pt x="31" y="365"/>
                    <a:pt x="31" y="365"/>
                  </a:cubicBezTo>
                  <a:cubicBezTo>
                    <a:pt x="31" y="365"/>
                    <a:pt x="40" y="385"/>
                    <a:pt x="40" y="429"/>
                  </a:cubicBezTo>
                  <a:cubicBezTo>
                    <a:pt x="50" y="437"/>
                    <a:pt x="50" y="437"/>
                    <a:pt x="50" y="437"/>
                  </a:cubicBezTo>
                  <a:cubicBezTo>
                    <a:pt x="50" y="437"/>
                    <a:pt x="51" y="469"/>
                    <a:pt x="46" y="474"/>
                  </a:cubicBezTo>
                  <a:cubicBezTo>
                    <a:pt x="40" y="480"/>
                    <a:pt x="56" y="497"/>
                    <a:pt x="43" y="512"/>
                  </a:cubicBezTo>
                  <a:cubicBezTo>
                    <a:pt x="47" y="514"/>
                    <a:pt x="67" y="546"/>
                    <a:pt x="76" y="548"/>
                  </a:cubicBezTo>
                  <a:cubicBezTo>
                    <a:pt x="86" y="549"/>
                    <a:pt x="91" y="538"/>
                    <a:pt x="95" y="538"/>
                  </a:cubicBezTo>
                  <a:cubicBezTo>
                    <a:pt x="99" y="538"/>
                    <a:pt x="107" y="545"/>
                    <a:pt x="111" y="545"/>
                  </a:cubicBezTo>
                  <a:cubicBezTo>
                    <a:pt x="115" y="545"/>
                    <a:pt x="126" y="537"/>
                    <a:pt x="126" y="537"/>
                  </a:cubicBezTo>
                  <a:cubicBezTo>
                    <a:pt x="138" y="544"/>
                    <a:pt x="138" y="544"/>
                    <a:pt x="138" y="544"/>
                  </a:cubicBezTo>
                  <a:cubicBezTo>
                    <a:pt x="138" y="558"/>
                    <a:pt x="138" y="558"/>
                    <a:pt x="138" y="558"/>
                  </a:cubicBezTo>
                  <a:cubicBezTo>
                    <a:pt x="150" y="544"/>
                    <a:pt x="150" y="544"/>
                    <a:pt x="150" y="544"/>
                  </a:cubicBezTo>
                  <a:cubicBezTo>
                    <a:pt x="159" y="545"/>
                    <a:pt x="159" y="545"/>
                    <a:pt x="159" y="545"/>
                  </a:cubicBezTo>
                  <a:cubicBezTo>
                    <a:pt x="159" y="545"/>
                    <a:pt x="160" y="517"/>
                    <a:pt x="164" y="521"/>
                  </a:cubicBezTo>
                  <a:cubicBezTo>
                    <a:pt x="168" y="525"/>
                    <a:pt x="198" y="576"/>
                    <a:pt x="198" y="576"/>
                  </a:cubicBezTo>
                  <a:cubicBezTo>
                    <a:pt x="202" y="594"/>
                    <a:pt x="202" y="594"/>
                    <a:pt x="202" y="594"/>
                  </a:cubicBezTo>
                  <a:cubicBezTo>
                    <a:pt x="219" y="597"/>
                    <a:pt x="219" y="597"/>
                    <a:pt x="219" y="597"/>
                  </a:cubicBezTo>
                  <a:cubicBezTo>
                    <a:pt x="230" y="610"/>
                    <a:pt x="230" y="610"/>
                    <a:pt x="230" y="610"/>
                  </a:cubicBezTo>
                  <a:cubicBezTo>
                    <a:pt x="230" y="610"/>
                    <a:pt x="258" y="600"/>
                    <a:pt x="256" y="614"/>
                  </a:cubicBezTo>
                  <a:cubicBezTo>
                    <a:pt x="255" y="629"/>
                    <a:pt x="255" y="658"/>
                    <a:pt x="255" y="658"/>
                  </a:cubicBezTo>
                  <a:cubicBezTo>
                    <a:pt x="248" y="658"/>
                    <a:pt x="248" y="658"/>
                    <a:pt x="248" y="658"/>
                  </a:cubicBezTo>
                  <a:cubicBezTo>
                    <a:pt x="243" y="672"/>
                    <a:pt x="243" y="672"/>
                    <a:pt x="243" y="672"/>
                  </a:cubicBezTo>
                  <a:cubicBezTo>
                    <a:pt x="235" y="669"/>
                    <a:pt x="235" y="669"/>
                    <a:pt x="235" y="669"/>
                  </a:cubicBezTo>
                  <a:cubicBezTo>
                    <a:pt x="236" y="697"/>
                    <a:pt x="236" y="697"/>
                    <a:pt x="236" y="697"/>
                  </a:cubicBezTo>
                  <a:cubicBezTo>
                    <a:pt x="250" y="697"/>
                    <a:pt x="250" y="697"/>
                    <a:pt x="250" y="697"/>
                  </a:cubicBezTo>
                  <a:cubicBezTo>
                    <a:pt x="256" y="710"/>
                    <a:pt x="256" y="710"/>
                    <a:pt x="256" y="710"/>
                  </a:cubicBezTo>
                  <a:cubicBezTo>
                    <a:pt x="280" y="704"/>
                    <a:pt x="280" y="704"/>
                    <a:pt x="280" y="704"/>
                  </a:cubicBezTo>
                  <a:cubicBezTo>
                    <a:pt x="280" y="704"/>
                    <a:pt x="280" y="705"/>
                    <a:pt x="295" y="706"/>
                  </a:cubicBezTo>
                  <a:cubicBezTo>
                    <a:pt x="305" y="707"/>
                    <a:pt x="305" y="705"/>
                    <a:pt x="304" y="703"/>
                  </a:cubicBezTo>
                  <a:cubicBezTo>
                    <a:pt x="303" y="702"/>
                    <a:pt x="303" y="701"/>
                    <a:pt x="303" y="701"/>
                  </a:cubicBezTo>
                  <a:cubicBezTo>
                    <a:pt x="303" y="701"/>
                    <a:pt x="304" y="702"/>
                    <a:pt x="304" y="703"/>
                  </a:cubicBezTo>
                  <a:cubicBezTo>
                    <a:pt x="307" y="707"/>
                    <a:pt x="314" y="715"/>
                    <a:pt x="319" y="714"/>
                  </a:cubicBezTo>
                  <a:cubicBezTo>
                    <a:pt x="326" y="713"/>
                    <a:pt x="320" y="706"/>
                    <a:pt x="326" y="706"/>
                  </a:cubicBezTo>
                  <a:cubicBezTo>
                    <a:pt x="331" y="706"/>
                    <a:pt x="342" y="705"/>
                    <a:pt x="342" y="705"/>
                  </a:cubicBezTo>
                  <a:cubicBezTo>
                    <a:pt x="346" y="666"/>
                    <a:pt x="346" y="666"/>
                    <a:pt x="346" y="666"/>
                  </a:cubicBezTo>
                  <a:cubicBezTo>
                    <a:pt x="358" y="665"/>
                    <a:pt x="358" y="665"/>
                    <a:pt x="358" y="665"/>
                  </a:cubicBezTo>
                  <a:cubicBezTo>
                    <a:pt x="367" y="678"/>
                    <a:pt x="367" y="678"/>
                    <a:pt x="367" y="678"/>
                  </a:cubicBezTo>
                  <a:cubicBezTo>
                    <a:pt x="382" y="666"/>
                    <a:pt x="382" y="666"/>
                    <a:pt x="382" y="666"/>
                  </a:cubicBezTo>
                  <a:cubicBezTo>
                    <a:pt x="382" y="666"/>
                    <a:pt x="382" y="676"/>
                    <a:pt x="387" y="676"/>
                  </a:cubicBezTo>
                  <a:cubicBezTo>
                    <a:pt x="392" y="676"/>
                    <a:pt x="391" y="660"/>
                    <a:pt x="402" y="664"/>
                  </a:cubicBezTo>
                  <a:cubicBezTo>
                    <a:pt x="412" y="668"/>
                    <a:pt x="411" y="678"/>
                    <a:pt x="411" y="678"/>
                  </a:cubicBezTo>
                  <a:cubicBezTo>
                    <a:pt x="419" y="686"/>
                    <a:pt x="419" y="686"/>
                    <a:pt x="419" y="686"/>
                  </a:cubicBezTo>
                  <a:cubicBezTo>
                    <a:pt x="420" y="702"/>
                    <a:pt x="420" y="702"/>
                    <a:pt x="420" y="702"/>
                  </a:cubicBezTo>
                  <a:cubicBezTo>
                    <a:pt x="431" y="704"/>
                    <a:pt x="431" y="704"/>
                    <a:pt x="431" y="704"/>
                  </a:cubicBezTo>
                  <a:cubicBezTo>
                    <a:pt x="459" y="596"/>
                    <a:pt x="459" y="596"/>
                    <a:pt x="459" y="596"/>
                  </a:cubicBezTo>
                  <a:cubicBezTo>
                    <a:pt x="459" y="596"/>
                    <a:pt x="476" y="602"/>
                    <a:pt x="490" y="602"/>
                  </a:cubicBezTo>
                  <a:cubicBezTo>
                    <a:pt x="503" y="602"/>
                    <a:pt x="518" y="589"/>
                    <a:pt x="520" y="594"/>
                  </a:cubicBezTo>
                  <a:cubicBezTo>
                    <a:pt x="523" y="600"/>
                    <a:pt x="524" y="612"/>
                    <a:pt x="528" y="612"/>
                  </a:cubicBezTo>
                  <a:cubicBezTo>
                    <a:pt x="530" y="612"/>
                    <a:pt x="538" y="613"/>
                    <a:pt x="546" y="614"/>
                  </a:cubicBezTo>
                  <a:cubicBezTo>
                    <a:pt x="547" y="608"/>
                    <a:pt x="547" y="608"/>
                    <a:pt x="547" y="608"/>
                  </a:cubicBezTo>
                  <a:cubicBezTo>
                    <a:pt x="566" y="602"/>
                    <a:pt x="566" y="602"/>
                    <a:pt x="566" y="602"/>
                  </a:cubicBezTo>
                  <a:cubicBezTo>
                    <a:pt x="566" y="602"/>
                    <a:pt x="570" y="596"/>
                    <a:pt x="567" y="594"/>
                  </a:cubicBezTo>
                  <a:cubicBezTo>
                    <a:pt x="542" y="588"/>
                    <a:pt x="563" y="569"/>
                    <a:pt x="563" y="569"/>
                  </a:cubicBezTo>
                  <a:cubicBezTo>
                    <a:pt x="563" y="569"/>
                    <a:pt x="566" y="549"/>
                    <a:pt x="571" y="549"/>
                  </a:cubicBezTo>
                  <a:cubicBezTo>
                    <a:pt x="554" y="540"/>
                    <a:pt x="562" y="522"/>
                    <a:pt x="562" y="522"/>
                  </a:cubicBezTo>
                  <a:cubicBezTo>
                    <a:pt x="551" y="526"/>
                    <a:pt x="551" y="526"/>
                    <a:pt x="551" y="526"/>
                  </a:cubicBezTo>
                  <a:cubicBezTo>
                    <a:pt x="551" y="506"/>
                    <a:pt x="551" y="506"/>
                    <a:pt x="551" y="506"/>
                  </a:cubicBezTo>
                  <a:cubicBezTo>
                    <a:pt x="539" y="496"/>
                    <a:pt x="539" y="496"/>
                    <a:pt x="539" y="496"/>
                  </a:cubicBezTo>
                  <a:cubicBezTo>
                    <a:pt x="572" y="484"/>
                    <a:pt x="572" y="484"/>
                    <a:pt x="572" y="484"/>
                  </a:cubicBezTo>
                  <a:cubicBezTo>
                    <a:pt x="556" y="472"/>
                    <a:pt x="544" y="468"/>
                    <a:pt x="544" y="468"/>
                  </a:cubicBezTo>
                  <a:cubicBezTo>
                    <a:pt x="540" y="457"/>
                    <a:pt x="540" y="457"/>
                    <a:pt x="540" y="457"/>
                  </a:cubicBezTo>
                  <a:cubicBezTo>
                    <a:pt x="526" y="456"/>
                    <a:pt x="526" y="456"/>
                    <a:pt x="526" y="456"/>
                  </a:cubicBezTo>
                  <a:cubicBezTo>
                    <a:pt x="526" y="444"/>
                    <a:pt x="538" y="430"/>
                    <a:pt x="538" y="430"/>
                  </a:cubicBezTo>
                  <a:cubicBezTo>
                    <a:pt x="531" y="429"/>
                    <a:pt x="531" y="429"/>
                    <a:pt x="531" y="429"/>
                  </a:cubicBezTo>
                  <a:cubicBezTo>
                    <a:pt x="531" y="429"/>
                    <a:pt x="536" y="420"/>
                    <a:pt x="539" y="416"/>
                  </a:cubicBezTo>
                  <a:cubicBezTo>
                    <a:pt x="560" y="405"/>
                    <a:pt x="580" y="340"/>
                    <a:pt x="580" y="340"/>
                  </a:cubicBezTo>
                  <a:cubicBezTo>
                    <a:pt x="572" y="332"/>
                    <a:pt x="572" y="332"/>
                    <a:pt x="572" y="332"/>
                  </a:cubicBezTo>
                  <a:cubicBezTo>
                    <a:pt x="575" y="312"/>
                    <a:pt x="575" y="312"/>
                    <a:pt x="575" y="312"/>
                  </a:cubicBezTo>
                  <a:cubicBezTo>
                    <a:pt x="556" y="316"/>
                    <a:pt x="556" y="316"/>
                    <a:pt x="556" y="316"/>
                  </a:cubicBezTo>
                  <a:cubicBezTo>
                    <a:pt x="556" y="294"/>
                    <a:pt x="556" y="294"/>
                    <a:pt x="556" y="294"/>
                  </a:cubicBezTo>
                  <a:cubicBezTo>
                    <a:pt x="556" y="294"/>
                    <a:pt x="535" y="290"/>
                    <a:pt x="543" y="290"/>
                  </a:cubicBezTo>
                  <a:cubicBezTo>
                    <a:pt x="551" y="290"/>
                    <a:pt x="539" y="280"/>
                    <a:pt x="555" y="280"/>
                  </a:cubicBezTo>
                  <a:cubicBezTo>
                    <a:pt x="571" y="280"/>
                    <a:pt x="566" y="240"/>
                    <a:pt x="566" y="240"/>
                  </a:cubicBezTo>
                  <a:cubicBezTo>
                    <a:pt x="558" y="236"/>
                    <a:pt x="558" y="236"/>
                    <a:pt x="558" y="236"/>
                  </a:cubicBezTo>
                  <a:cubicBezTo>
                    <a:pt x="550" y="244"/>
                    <a:pt x="550" y="244"/>
                    <a:pt x="550" y="244"/>
                  </a:cubicBezTo>
                  <a:cubicBezTo>
                    <a:pt x="547" y="240"/>
                    <a:pt x="547" y="240"/>
                    <a:pt x="547" y="240"/>
                  </a:cubicBezTo>
                  <a:cubicBezTo>
                    <a:pt x="546" y="242"/>
                    <a:pt x="545" y="244"/>
                    <a:pt x="544" y="244"/>
                  </a:cubicBezTo>
                  <a:cubicBezTo>
                    <a:pt x="540" y="244"/>
                    <a:pt x="535" y="241"/>
                    <a:pt x="535" y="241"/>
                  </a:cubicBezTo>
                  <a:cubicBezTo>
                    <a:pt x="518" y="253"/>
                    <a:pt x="518" y="253"/>
                    <a:pt x="518" y="253"/>
                  </a:cubicBezTo>
                  <a:cubicBezTo>
                    <a:pt x="518" y="240"/>
                    <a:pt x="518" y="240"/>
                    <a:pt x="518" y="240"/>
                  </a:cubicBezTo>
                  <a:cubicBezTo>
                    <a:pt x="502" y="232"/>
                    <a:pt x="502" y="232"/>
                    <a:pt x="502" y="232"/>
                  </a:cubicBezTo>
                  <a:cubicBezTo>
                    <a:pt x="502" y="222"/>
                    <a:pt x="502" y="222"/>
                    <a:pt x="502" y="222"/>
                  </a:cubicBezTo>
                  <a:cubicBezTo>
                    <a:pt x="502" y="222"/>
                    <a:pt x="498" y="226"/>
                    <a:pt x="488" y="226"/>
                  </a:cubicBezTo>
                  <a:cubicBezTo>
                    <a:pt x="479" y="226"/>
                    <a:pt x="467" y="212"/>
                    <a:pt x="467" y="212"/>
                  </a:cubicBezTo>
                  <a:cubicBezTo>
                    <a:pt x="455" y="217"/>
                    <a:pt x="455" y="217"/>
                    <a:pt x="455" y="217"/>
                  </a:cubicBezTo>
                  <a:cubicBezTo>
                    <a:pt x="455" y="194"/>
                    <a:pt x="455" y="194"/>
                    <a:pt x="455" y="194"/>
                  </a:cubicBezTo>
                  <a:cubicBezTo>
                    <a:pt x="446" y="192"/>
                    <a:pt x="446" y="192"/>
                    <a:pt x="446" y="192"/>
                  </a:cubicBezTo>
                  <a:cubicBezTo>
                    <a:pt x="446" y="191"/>
                    <a:pt x="446" y="191"/>
                    <a:pt x="446" y="191"/>
                  </a:cubicBezTo>
                  <a:cubicBezTo>
                    <a:pt x="456" y="173"/>
                    <a:pt x="456" y="173"/>
                    <a:pt x="456" y="173"/>
                  </a:cubicBezTo>
                  <a:cubicBezTo>
                    <a:pt x="450" y="165"/>
                    <a:pt x="439" y="144"/>
                    <a:pt x="439" y="144"/>
                  </a:cubicBezTo>
                  <a:cubicBezTo>
                    <a:pt x="432" y="150"/>
                    <a:pt x="432" y="150"/>
                    <a:pt x="432" y="150"/>
                  </a:cubicBezTo>
                  <a:cubicBezTo>
                    <a:pt x="426" y="146"/>
                    <a:pt x="426" y="146"/>
                    <a:pt x="426" y="146"/>
                  </a:cubicBezTo>
                  <a:cubicBezTo>
                    <a:pt x="432" y="138"/>
                    <a:pt x="432" y="138"/>
                    <a:pt x="432" y="138"/>
                  </a:cubicBezTo>
                  <a:cubicBezTo>
                    <a:pt x="427" y="133"/>
                    <a:pt x="427" y="133"/>
                    <a:pt x="427" y="133"/>
                  </a:cubicBezTo>
                  <a:cubicBezTo>
                    <a:pt x="414" y="133"/>
                    <a:pt x="414" y="133"/>
                    <a:pt x="414" y="133"/>
                  </a:cubicBezTo>
                  <a:cubicBezTo>
                    <a:pt x="414" y="133"/>
                    <a:pt x="414" y="133"/>
                    <a:pt x="415" y="116"/>
                  </a:cubicBezTo>
                  <a:cubicBezTo>
                    <a:pt x="334" y="100"/>
                    <a:pt x="366" y="134"/>
                    <a:pt x="366" y="134"/>
                  </a:cubicBezTo>
                  <a:cubicBezTo>
                    <a:pt x="311" y="136"/>
                    <a:pt x="311" y="136"/>
                    <a:pt x="311" y="136"/>
                  </a:cubicBezTo>
                  <a:cubicBezTo>
                    <a:pt x="311" y="148"/>
                    <a:pt x="311" y="148"/>
                    <a:pt x="311" y="148"/>
                  </a:cubicBezTo>
                  <a:cubicBezTo>
                    <a:pt x="302" y="145"/>
                    <a:pt x="302" y="145"/>
                    <a:pt x="302" y="145"/>
                  </a:cubicBezTo>
                  <a:cubicBezTo>
                    <a:pt x="296" y="132"/>
                    <a:pt x="296" y="132"/>
                    <a:pt x="296" y="132"/>
                  </a:cubicBezTo>
                  <a:cubicBezTo>
                    <a:pt x="287" y="132"/>
                    <a:pt x="287" y="132"/>
                    <a:pt x="287" y="132"/>
                  </a:cubicBezTo>
                  <a:cubicBezTo>
                    <a:pt x="290" y="141"/>
                    <a:pt x="290" y="141"/>
                    <a:pt x="290" y="141"/>
                  </a:cubicBezTo>
                  <a:cubicBezTo>
                    <a:pt x="283" y="137"/>
                    <a:pt x="283" y="137"/>
                    <a:pt x="283" y="137"/>
                  </a:cubicBezTo>
                  <a:cubicBezTo>
                    <a:pt x="270" y="148"/>
                    <a:pt x="270" y="148"/>
                    <a:pt x="270" y="148"/>
                  </a:cubicBezTo>
                  <a:cubicBezTo>
                    <a:pt x="258" y="141"/>
                    <a:pt x="258" y="141"/>
                    <a:pt x="258" y="141"/>
                  </a:cubicBezTo>
                  <a:cubicBezTo>
                    <a:pt x="256" y="146"/>
                    <a:pt x="256" y="146"/>
                    <a:pt x="256" y="146"/>
                  </a:cubicBezTo>
                  <a:cubicBezTo>
                    <a:pt x="222" y="145"/>
                    <a:pt x="222" y="145"/>
                    <a:pt x="222" y="145"/>
                  </a:cubicBezTo>
                  <a:cubicBezTo>
                    <a:pt x="222" y="145"/>
                    <a:pt x="226" y="128"/>
                    <a:pt x="226" y="125"/>
                  </a:cubicBezTo>
                  <a:cubicBezTo>
                    <a:pt x="216" y="133"/>
                    <a:pt x="218" y="129"/>
                    <a:pt x="208" y="109"/>
                  </a:cubicBezTo>
                  <a:cubicBezTo>
                    <a:pt x="199" y="89"/>
                    <a:pt x="190" y="81"/>
                    <a:pt x="190" y="81"/>
                  </a:cubicBezTo>
                  <a:cubicBezTo>
                    <a:pt x="190" y="70"/>
                    <a:pt x="190" y="70"/>
                    <a:pt x="190" y="70"/>
                  </a:cubicBezTo>
                  <a:cubicBezTo>
                    <a:pt x="182" y="69"/>
                    <a:pt x="182" y="69"/>
                    <a:pt x="182" y="69"/>
                  </a:cubicBezTo>
                  <a:cubicBezTo>
                    <a:pt x="182" y="78"/>
                    <a:pt x="182" y="78"/>
                    <a:pt x="182" y="78"/>
                  </a:cubicBezTo>
                  <a:cubicBezTo>
                    <a:pt x="176" y="81"/>
                    <a:pt x="176" y="81"/>
                    <a:pt x="176" y="81"/>
                  </a:cubicBezTo>
                  <a:cubicBezTo>
                    <a:pt x="167" y="66"/>
                    <a:pt x="167" y="66"/>
                    <a:pt x="167" y="66"/>
                  </a:cubicBezTo>
                  <a:cubicBezTo>
                    <a:pt x="158" y="69"/>
                    <a:pt x="158" y="69"/>
                    <a:pt x="158" y="69"/>
                  </a:cubicBezTo>
                  <a:cubicBezTo>
                    <a:pt x="167" y="60"/>
                    <a:pt x="159" y="38"/>
                    <a:pt x="159" y="38"/>
                  </a:cubicBezTo>
                  <a:cubicBezTo>
                    <a:pt x="155" y="33"/>
                    <a:pt x="155" y="33"/>
                    <a:pt x="155" y="33"/>
                  </a:cubicBezTo>
                  <a:cubicBezTo>
                    <a:pt x="155" y="18"/>
                    <a:pt x="128" y="8"/>
                    <a:pt x="128" y="8"/>
                  </a:cubicBezTo>
                  <a:cubicBezTo>
                    <a:pt x="122" y="10"/>
                    <a:pt x="122" y="10"/>
                    <a:pt x="122" y="10"/>
                  </a:cubicBezTo>
                  <a:cubicBezTo>
                    <a:pt x="118" y="0"/>
                    <a:pt x="118" y="0"/>
                    <a:pt x="118" y="0"/>
                  </a:cubicBezTo>
                  <a:cubicBezTo>
                    <a:pt x="103" y="8"/>
                    <a:pt x="103" y="8"/>
                    <a:pt x="103" y="8"/>
                  </a:cubicBezTo>
                  <a:cubicBezTo>
                    <a:pt x="44" y="8"/>
                    <a:pt x="44" y="8"/>
                    <a:pt x="44" y="8"/>
                  </a:cubicBezTo>
                  <a:cubicBezTo>
                    <a:pt x="36" y="28"/>
                    <a:pt x="36" y="28"/>
                    <a:pt x="36" y="28"/>
                  </a:cubicBezTo>
                  <a:cubicBezTo>
                    <a:pt x="42" y="44"/>
                    <a:pt x="42" y="44"/>
                    <a:pt x="42" y="44"/>
                  </a:cubicBezTo>
                  <a:cubicBezTo>
                    <a:pt x="42" y="44"/>
                    <a:pt x="28" y="66"/>
                    <a:pt x="20" y="75"/>
                  </a:cubicBezTo>
                  <a:cubicBezTo>
                    <a:pt x="39" y="84"/>
                    <a:pt x="39" y="84"/>
                    <a:pt x="39" y="84"/>
                  </a:cubicBezTo>
                  <a:cubicBezTo>
                    <a:pt x="39" y="84"/>
                    <a:pt x="28" y="104"/>
                    <a:pt x="58" y="114"/>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9" name="Centre" descr="© INSCALE GmbH, 05.05.2010&#10;http://www.presentationload.com/">
              <a:extLst>
                <a:ext uri="{FF2B5EF4-FFF2-40B4-BE49-F238E27FC236}">
                  <a16:creationId xmlns:a16="http://schemas.microsoft.com/office/drawing/2014/main" id="{2F93616E-9714-40DC-8DC4-1824DBEBEE72}"/>
                </a:ext>
              </a:extLst>
            </p:cNvPr>
            <p:cNvSpPr>
              <a:spLocks/>
            </p:cNvSpPr>
            <p:nvPr/>
          </p:nvSpPr>
          <p:spPr bwMode="gray">
            <a:xfrm>
              <a:off x="1233" y="903"/>
              <a:ext cx="716" cy="887"/>
            </a:xfrm>
            <a:custGeom>
              <a:avLst/>
              <a:gdLst/>
              <a:ahLst/>
              <a:cxnLst>
                <a:cxn ang="0">
                  <a:pos x="209" y="158"/>
                </a:cxn>
                <a:cxn ang="0">
                  <a:pos x="173" y="227"/>
                </a:cxn>
                <a:cxn ang="0">
                  <a:pos x="193" y="251"/>
                </a:cxn>
                <a:cxn ang="0">
                  <a:pos x="168" y="275"/>
                </a:cxn>
                <a:cxn ang="0">
                  <a:pos x="179" y="314"/>
                </a:cxn>
                <a:cxn ang="0">
                  <a:pos x="144" y="367"/>
                </a:cxn>
                <a:cxn ang="0">
                  <a:pos x="79" y="406"/>
                </a:cxn>
                <a:cxn ang="0">
                  <a:pos x="43" y="418"/>
                </a:cxn>
                <a:cxn ang="0">
                  <a:pos x="29" y="494"/>
                </a:cxn>
                <a:cxn ang="0">
                  <a:pos x="29" y="594"/>
                </a:cxn>
                <a:cxn ang="0">
                  <a:pos x="56" y="598"/>
                </a:cxn>
                <a:cxn ang="0">
                  <a:pos x="79" y="632"/>
                </a:cxn>
                <a:cxn ang="0">
                  <a:pos x="108" y="611"/>
                </a:cxn>
                <a:cxn ang="0">
                  <a:pos x="185" y="712"/>
                </a:cxn>
                <a:cxn ang="0">
                  <a:pos x="233" y="788"/>
                </a:cxn>
                <a:cxn ang="0">
                  <a:pos x="251" y="820"/>
                </a:cxn>
                <a:cxn ang="0">
                  <a:pos x="287" y="811"/>
                </a:cxn>
                <a:cxn ang="0">
                  <a:pos x="320" y="814"/>
                </a:cxn>
                <a:cxn ang="0">
                  <a:pos x="353" y="806"/>
                </a:cxn>
                <a:cxn ang="0">
                  <a:pos x="404" y="802"/>
                </a:cxn>
                <a:cxn ang="0">
                  <a:pos x="539" y="771"/>
                </a:cxn>
                <a:cxn ang="0">
                  <a:pos x="559" y="719"/>
                </a:cxn>
                <a:cxn ang="0">
                  <a:pos x="650" y="684"/>
                </a:cxn>
                <a:cxn ang="0">
                  <a:pos x="655" y="607"/>
                </a:cxn>
                <a:cxn ang="0">
                  <a:pos x="611" y="514"/>
                </a:cxn>
                <a:cxn ang="0">
                  <a:pos x="632" y="435"/>
                </a:cxn>
                <a:cxn ang="0">
                  <a:pos x="615" y="388"/>
                </a:cxn>
                <a:cxn ang="0">
                  <a:pos x="641" y="364"/>
                </a:cxn>
                <a:cxn ang="0">
                  <a:pos x="639" y="327"/>
                </a:cxn>
                <a:cxn ang="0">
                  <a:pos x="663" y="284"/>
                </a:cxn>
                <a:cxn ang="0">
                  <a:pos x="624" y="246"/>
                </a:cxn>
                <a:cxn ang="0">
                  <a:pos x="581" y="247"/>
                </a:cxn>
                <a:cxn ang="0">
                  <a:pos x="520" y="254"/>
                </a:cxn>
                <a:cxn ang="0">
                  <a:pos x="513" y="214"/>
                </a:cxn>
                <a:cxn ang="0">
                  <a:pos x="491" y="194"/>
                </a:cxn>
                <a:cxn ang="0">
                  <a:pos x="468" y="188"/>
                </a:cxn>
                <a:cxn ang="0">
                  <a:pos x="419" y="204"/>
                </a:cxn>
                <a:cxn ang="0">
                  <a:pos x="405" y="154"/>
                </a:cxn>
                <a:cxn ang="0">
                  <a:pos x="364" y="115"/>
                </a:cxn>
                <a:cxn ang="0">
                  <a:pos x="341" y="88"/>
                </a:cxn>
                <a:cxn ang="0">
                  <a:pos x="344" y="59"/>
                </a:cxn>
                <a:cxn ang="0">
                  <a:pos x="331" y="23"/>
                </a:cxn>
                <a:cxn ang="0">
                  <a:pos x="312" y="3"/>
                </a:cxn>
                <a:cxn ang="0">
                  <a:pos x="287" y="51"/>
                </a:cxn>
                <a:cxn ang="0">
                  <a:pos x="225" y="54"/>
                </a:cxn>
                <a:cxn ang="0">
                  <a:pos x="177" y="98"/>
                </a:cxn>
              </a:cxnLst>
              <a:rect l="0" t="0" r="r" b="b"/>
              <a:pathLst>
                <a:path w="664" h="822">
                  <a:moveTo>
                    <a:pt x="205" y="131"/>
                  </a:moveTo>
                  <a:cubicBezTo>
                    <a:pt x="205" y="136"/>
                    <a:pt x="201" y="144"/>
                    <a:pt x="201" y="144"/>
                  </a:cubicBezTo>
                  <a:cubicBezTo>
                    <a:pt x="209" y="158"/>
                    <a:pt x="209" y="158"/>
                    <a:pt x="209" y="158"/>
                  </a:cubicBezTo>
                  <a:cubicBezTo>
                    <a:pt x="197" y="172"/>
                    <a:pt x="197" y="172"/>
                    <a:pt x="197" y="172"/>
                  </a:cubicBezTo>
                  <a:cubicBezTo>
                    <a:pt x="197" y="172"/>
                    <a:pt x="171" y="179"/>
                    <a:pt x="168" y="190"/>
                  </a:cubicBezTo>
                  <a:cubicBezTo>
                    <a:pt x="165" y="200"/>
                    <a:pt x="173" y="227"/>
                    <a:pt x="173" y="227"/>
                  </a:cubicBezTo>
                  <a:cubicBezTo>
                    <a:pt x="173" y="235"/>
                    <a:pt x="173" y="235"/>
                    <a:pt x="173" y="235"/>
                  </a:cubicBezTo>
                  <a:cubicBezTo>
                    <a:pt x="193" y="242"/>
                    <a:pt x="193" y="242"/>
                    <a:pt x="193" y="242"/>
                  </a:cubicBezTo>
                  <a:cubicBezTo>
                    <a:pt x="193" y="251"/>
                    <a:pt x="193" y="251"/>
                    <a:pt x="193" y="251"/>
                  </a:cubicBezTo>
                  <a:cubicBezTo>
                    <a:pt x="179" y="252"/>
                    <a:pt x="179" y="252"/>
                    <a:pt x="179" y="252"/>
                  </a:cubicBezTo>
                  <a:cubicBezTo>
                    <a:pt x="179" y="270"/>
                    <a:pt x="179" y="270"/>
                    <a:pt x="179" y="270"/>
                  </a:cubicBezTo>
                  <a:cubicBezTo>
                    <a:pt x="168" y="275"/>
                    <a:pt x="168" y="275"/>
                    <a:pt x="168" y="275"/>
                  </a:cubicBezTo>
                  <a:cubicBezTo>
                    <a:pt x="176" y="287"/>
                    <a:pt x="176" y="287"/>
                    <a:pt x="176" y="287"/>
                  </a:cubicBezTo>
                  <a:cubicBezTo>
                    <a:pt x="172" y="300"/>
                    <a:pt x="172" y="300"/>
                    <a:pt x="172" y="300"/>
                  </a:cubicBezTo>
                  <a:cubicBezTo>
                    <a:pt x="179" y="314"/>
                    <a:pt x="179" y="314"/>
                    <a:pt x="179" y="314"/>
                  </a:cubicBezTo>
                  <a:cubicBezTo>
                    <a:pt x="171" y="324"/>
                    <a:pt x="171" y="324"/>
                    <a:pt x="171" y="324"/>
                  </a:cubicBezTo>
                  <a:cubicBezTo>
                    <a:pt x="171" y="324"/>
                    <a:pt x="161" y="328"/>
                    <a:pt x="161" y="343"/>
                  </a:cubicBezTo>
                  <a:cubicBezTo>
                    <a:pt x="157" y="347"/>
                    <a:pt x="144" y="367"/>
                    <a:pt x="144" y="367"/>
                  </a:cubicBezTo>
                  <a:cubicBezTo>
                    <a:pt x="144" y="367"/>
                    <a:pt x="112" y="388"/>
                    <a:pt x="128" y="394"/>
                  </a:cubicBezTo>
                  <a:cubicBezTo>
                    <a:pt x="124" y="395"/>
                    <a:pt x="95" y="402"/>
                    <a:pt x="95" y="402"/>
                  </a:cubicBezTo>
                  <a:cubicBezTo>
                    <a:pt x="95" y="402"/>
                    <a:pt x="96" y="424"/>
                    <a:pt x="79" y="406"/>
                  </a:cubicBezTo>
                  <a:cubicBezTo>
                    <a:pt x="80" y="408"/>
                    <a:pt x="69" y="415"/>
                    <a:pt x="69" y="415"/>
                  </a:cubicBezTo>
                  <a:cubicBezTo>
                    <a:pt x="80" y="430"/>
                    <a:pt x="80" y="430"/>
                    <a:pt x="80" y="430"/>
                  </a:cubicBezTo>
                  <a:cubicBezTo>
                    <a:pt x="43" y="418"/>
                    <a:pt x="43" y="418"/>
                    <a:pt x="43" y="418"/>
                  </a:cubicBezTo>
                  <a:cubicBezTo>
                    <a:pt x="43" y="418"/>
                    <a:pt x="32" y="446"/>
                    <a:pt x="39" y="454"/>
                  </a:cubicBezTo>
                  <a:cubicBezTo>
                    <a:pt x="35" y="464"/>
                    <a:pt x="23" y="482"/>
                    <a:pt x="23" y="482"/>
                  </a:cubicBezTo>
                  <a:cubicBezTo>
                    <a:pt x="29" y="494"/>
                    <a:pt x="29" y="494"/>
                    <a:pt x="29" y="494"/>
                  </a:cubicBezTo>
                  <a:cubicBezTo>
                    <a:pt x="29" y="494"/>
                    <a:pt x="0" y="528"/>
                    <a:pt x="3" y="556"/>
                  </a:cubicBezTo>
                  <a:cubicBezTo>
                    <a:pt x="5" y="584"/>
                    <a:pt x="29" y="580"/>
                    <a:pt x="29" y="580"/>
                  </a:cubicBezTo>
                  <a:cubicBezTo>
                    <a:pt x="29" y="594"/>
                    <a:pt x="29" y="594"/>
                    <a:pt x="29" y="594"/>
                  </a:cubicBezTo>
                  <a:cubicBezTo>
                    <a:pt x="43" y="587"/>
                    <a:pt x="43" y="587"/>
                    <a:pt x="43" y="587"/>
                  </a:cubicBezTo>
                  <a:cubicBezTo>
                    <a:pt x="47" y="594"/>
                    <a:pt x="47" y="594"/>
                    <a:pt x="47" y="594"/>
                  </a:cubicBezTo>
                  <a:cubicBezTo>
                    <a:pt x="56" y="598"/>
                    <a:pt x="56" y="598"/>
                    <a:pt x="56" y="598"/>
                  </a:cubicBezTo>
                  <a:cubicBezTo>
                    <a:pt x="56" y="598"/>
                    <a:pt x="44" y="624"/>
                    <a:pt x="56" y="628"/>
                  </a:cubicBezTo>
                  <a:cubicBezTo>
                    <a:pt x="68" y="632"/>
                    <a:pt x="67" y="626"/>
                    <a:pt x="67" y="626"/>
                  </a:cubicBezTo>
                  <a:cubicBezTo>
                    <a:pt x="79" y="632"/>
                    <a:pt x="79" y="632"/>
                    <a:pt x="79" y="632"/>
                  </a:cubicBezTo>
                  <a:cubicBezTo>
                    <a:pt x="93" y="624"/>
                    <a:pt x="93" y="624"/>
                    <a:pt x="93" y="624"/>
                  </a:cubicBezTo>
                  <a:cubicBezTo>
                    <a:pt x="116" y="624"/>
                    <a:pt x="116" y="624"/>
                    <a:pt x="116" y="624"/>
                  </a:cubicBezTo>
                  <a:cubicBezTo>
                    <a:pt x="108" y="611"/>
                    <a:pt x="108" y="611"/>
                    <a:pt x="108" y="611"/>
                  </a:cubicBezTo>
                  <a:cubicBezTo>
                    <a:pt x="140" y="622"/>
                    <a:pt x="140" y="622"/>
                    <a:pt x="140" y="622"/>
                  </a:cubicBezTo>
                  <a:cubicBezTo>
                    <a:pt x="140" y="622"/>
                    <a:pt x="143" y="654"/>
                    <a:pt x="160" y="670"/>
                  </a:cubicBezTo>
                  <a:cubicBezTo>
                    <a:pt x="177" y="686"/>
                    <a:pt x="153" y="679"/>
                    <a:pt x="185" y="712"/>
                  </a:cubicBezTo>
                  <a:cubicBezTo>
                    <a:pt x="184" y="726"/>
                    <a:pt x="179" y="755"/>
                    <a:pt x="207" y="756"/>
                  </a:cubicBezTo>
                  <a:cubicBezTo>
                    <a:pt x="211" y="758"/>
                    <a:pt x="208" y="767"/>
                    <a:pt x="208" y="767"/>
                  </a:cubicBezTo>
                  <a:cubicBezTo>
                    <a:pt x="208" y="767"/>
                    <a:pt x="227" y="746"/>
                    <a:pt x="233" y="788"/>
                  </a:cubicBezTo>
                  <a:cubicBezTo>
                    <a:pt x="237" y="795"/>
                    <a:pt x="248" y="800"/>
                    <a:pt x="248" y="800"/>
                  </a:cubicBezTo>
                  <a:cubicBezTo>
                    <a:pt x="244" y="811"/>
                    <a:pt x="244" y="811"/>
                    <a:pt x="244" y="811"/>
                  </a:cubicBezTo>
                  <a:cubicBezTo>
                    <a:pt x="251" y="820"/>
                    <a:pt x="251" y="820"/>
                    <a:pt x="251" y="820"/>
                  </a:cubicBezTo>
                  <a:cubicBezTo>
                    <a:pt x="269" y="818"/>
                    <a:pt x="269" y="818"/>
                    <a:pt x="269" y="818"/>
                  </a:cubicBezTo>
                  <a:cubicBezTo>
                    <a:pt x="269" y="811"/>
                    <a:pt x="269" y="811"/>
                    <a:pt x="269" y="811"/>
                  </a:cubicBezTo>
                  <a:cubicBezTo>
                    <a:pt x="287" y="811"/>
                    <a:pt x="287" y="811"/>
                    <a:pt x="287" y="811"/>
                  </a:cubicBezTo>
                  <a:cubicBezTo>
                    <a:pt x="292" y="822"/>
                    <a:pt x="292" y="822"/>
                    <a:pt x="292" y="822"/>
                  </a:cubicBezTo>
                  <a:cubicBezTo>
                    <a:pt x="319" y="802"/>
                    <a:pt x="319" y="802"/>
                    <a:pt x="319" y="802"/>
                  </a:cubicBezTo>
                  <a:cubicBezTo>
                    <a:pt x="320" y="814"/>
                    <a:pt x="320" y="814"/>
                    <a:pt x="320" y="814"/>
                  </a:cubicBezTo>
                  <a:cubicBezTo>
                    <a:pt x="337" y="803"/>
                    <a:pt x="337" y="803"/>
                    <a:pt x="337" y="803"/>
                  </a:cubicBezTo>
                  <a:cubicBezTo>
                    <a:pt x="340" y="811"/>
                    <a:pt x="340" y="811"/>
                    <a:pt x="340" y="811"/>
                  </a:cubicBezTo>
                  <a:cubicBezTo>
                    <a:pt x="353" y="806"/>
                    <a:pt x="353" y="806"/>
                    <a:pt x="353" y="806"/>
                  </a:cubicBezTo>
                  <a:cubicBezTo>
                    <a:pt x="363" y="812"/>
                    <a:pt x="363" y="812"/>
                    <a:pt x="363" y="812"/>
                  </a:cubicBezTo>
                  <a:cubicBezTo>
                    <a:pt x="368" y="794"/>
                    <a:pt x="368" y="794"/>
                    <a:pt x="368" y="794"/>
                  </a:cubicBezTo>
                  <a:cubicBezTo>
                    <a:pt x="368" y="794"/>
                    <a:pt x="392" y="804"/>
                    <a:pt x="404" y="802"/>
                  </a:cubicBezTo>
                  <a:cubicBezTo>
                    <a:pt x="416" y="799"/>
                    <a:pt x="411" y="790"/>
                    <a:pt x="436" y="803"/>
                  </a:cubicBezTo>
                  <a:cubicBezTo>
                    <a:pt x="441" y="812"/>
                    <a:pt x="483" y="802"/>
                    <a:pt x="483" y="802"/>
                  </a:cubicBezTo>
                  <a:cubicBezTo>
                    <a:pt x="483" y="802"/>
                    <a:pt x="505" y="759"/>
                    <a:pt x="539" y="771"/>
                  </a:cubicBezTo>
                  <a:cubicBezTo>
                    <a:pt x="555" y="760"/>
                    <a:pt x="555" y="760"/>
                    <a:pt x="555" y="760"/>
                  </a:cubicBezTo>
                  <a:cubicBezTo>
                    <a:pt x="555" y="760"/>
                    <a:pt x="545" y="738"/>
                    <a:pt x="552" y="732"/>
                  </a:cubicBezTo>
                  <a:cubicBezTo>
                    <a:pt x="559" y="727"/>
                    <a:pt x="559" y="719"/>
                    <a:pt x="559" y="719"/>
                  </a:cubicBezTo>
                  <a:cubicBezTo>
                    <a:pt x="559" y="719"/>
                    <a:pt x="577" y="700"/>
                    <a:pt x="581" y="700"/>
                  </a:cubicBezTo>
                  <a:cubicBezTo>
                    <a:pt x="585" y="700"/>
                    <a:pt x="600" y="722"/>
                    <a:pt x="608" y="706"/>
                  </a:cubicBezTo>
                  <a:cubicBezTo>
                    <a:pt x="615" y="691"/>
                    <a:pt x="625" y="683"/>
                    <a:pt x="650" y="684"/>
                  </a:cubicBezTo>
                  <a:cubicBezTo>
                    <a:pt x="649" y="683"/>
                    <a:pt x="649" y="682"/>
                    <a:pt x="648" y="682"/>
                  </a:cubicBezTo>
                  <a:cubicBezTo>
                    <a:pt x="661" y="667"/>
                    <a:pt x="645" y="650"/>
                    <a:pt x="651" y="644"/>
                  </a:cubicBezTo>
                  <a:cubicBezTo>
                    <a:pt x="656" y="639"/>
                    <a:pt x="655" y="607"/>
                    <a:pt x="655" y="607"/>
                  </a:cubicBezTo>
                  <a:cubicBezTo>
                    <a:pt x="645" y="599"/>
                    <a:pt x="645" y="599"/>
                    <a:pt x="645" y="599"/>
                  </a:cubicBezTo>
                  <a:cubicBezTo>
                    <a:pt x="645" y="555"/>
                    <a:pt x="636" y="535"/>
                    <a:pt x="636" y="535"/>
                  </a:cubicBezTo>
                  <a:cubicBezTo>
                    <a:pt x="611" y="514"/>
                    <a:pt x="611" y="514"/>
                    <a:pt x="611" y="514"/>
                  </a:cubicBezTo>
                  <a:cubicBezTo>
                    <a:pt x="625" y="479"/>
                    <a:pt x="625" y="479"/>
                    <a:pt x="625" y="479"/>
                  </a:cubicBezTo>
                  <a:cubicBezTo>
                    <a:pt x="609" y="440"/>
                    <a:pt x="609" y="440"/>
                    <a:pt x="609" y="440"/>
                  </a:cubicBezTo>
                  <a:cubicBezTo>
                    <a:pt x="632" y="435"/>
                    <a:pt x="632" y="435"/>
                    <a:pt x="632" y="435"/>
                  </a:cubicBezTo>
                  <a:cubicBezTo>
                    <a:pt x="624" y="423"/>
                    <a:pt x="624" y="423"/>
                    <a:pt x="624" y="423"/>
                  </a:cubicBezTo>
                  <a:cubicBezTo>
                    <a:pt x="628" y="410"/>
                    <a:pt x="628" y="410"/>
                    <a:pt x="628" y="410"/>
                  </a:cubicBezTo>
                  <a:cubicBezTo>
                    <a:pt x="615" y="388"/>
                    <a:pt x="615" y="388"/>
                    <a:pt x="615" y="388"/>
                  </a:cubicBezTo>
                  <a:cubicBezTo>
                    <a:pt x="605" y="390"/>
                    <a:pt x="605" y="390"/>
                    <a:pt x="605" y="390"/>
                  </a:cubicBezTo>
                  <a:cubicBezTo>
                    <a:pt x="607" y="374"/>
                    <a:pt x="607" y="374"/>
                    <a:pt x="607" y="374"/>
                  </a:cubicBezTo>
                  <a:cubicBezTo>
                    <a:pt x="641" y="364"/>
                    <a:pt x="641" y="364"/>
                    <a:pt x="641" y="364"/>
                  </a:cubicBezTo>
                  <a:cubicBezTo>
                    <a:pt x="641" y="340"/>
                    <a:pt x="641" y="340"/>
                    <a:pt x="641" y="340"/>
                  </a:cubicBezTo>
                  <a:cubicBezTo>
                    <a:pt x="636" y="340"/>
                    <a:pt x="636" y="340"/>
                    <a:pt x="636" y="340"/>
                  </a:cubicBezTo>
                  <a:cubicBezTo>
                    <a:pt x="639" y="327"/>
                    <a:pt x="639" y="327"/>
                    <a:pt x="639" y="327"/>
                  </a:cubicBezTo>
                  <a:cubicBezTo>
                    <a:pt x="648" y="326"/>
                    <a:pt x="648" y="326"/>
                    <a:pt x="648" y="326"/>
                  </a:cubicBezTo>
                  <a:cubicBezTo>
                    <a:pt x="664" y="303"/>
                    <a:pt x="664" y="303"/>
                    <a:pt x="664" y="303"/>
                  </a:cubicBezTo>
                  <a:cubicBezTo>
                    <a:pt x="663" y="284"/>
                    <a:pt x="663" y="284"/>
                    <a:pt x="663" y="284"/>
                  </a:cubicBezTo>
                  <a:cubicBezTo>
                    <a:pt x="633" y="274"/>
                    <a:pt x="644" y="254"/>
                    <a:pt x="644" y="254"/>
                  </a:cubicBezTo>
                  <a:cubicBezTo>
                    <a:pt x="625" y="245"/>
                    <a:pt x="625" y="245"/>
                    <a:pt x="625" y="245"/>
                  </a:cubicBezTo>
                  <a:cubicBezTo>
                    <a:pt x="625" y="245"/>
                    <a:pt x="624" y="246"/>
                    <a:pt x="624" y="246"/>
                  </a:cubicBezTo>
                  <a:cubicBezTo>
                    <a:pt x="616" y="254"/>
                    <a:pt x="593" y="258"/>
                    <a:pt x="593" y="258"/>
                  </a:cubicBezTo>
                  <a:cubicBezTo>
                    <a:pt x="593" y="247"/>
                    <a:pt x="593" y="247"/>
                    <a:pt x="593" y="247"/>
                  </a:cubicBezTo>
                  <a:cubicBezTo>
                    <a:pt x="581" y="247"/>
                    <a:pt x="581" y="247"/>
                    <a:pt x="581" y="247"/>
                  </a:cubicBezTo>
                  <a:cubicBezTo>
                    <a:pt x="581" y="255"/>
                    <a:pt x="581" y="255"/>
                    <a:pt x="581" y="255"/>
                  </a:cubicBezTo>
                  <a:cubicBezTo>
                    <a:pt x="526" y="254"/>
                    <a:pt x="526" y="254"/>
                    <a:pt x="526" y="254"/>
                  </a:cubicBezTo>
                  <a:cubicBezTo>
                    <a:pt x="523" y="254"/>
                    <a:pt x="520" y="254"/>
                    <a:pt x="520" y="254"/>
                  </a:cubicBezTo>
                  <a:cubicBezTo>
                    <a:pt x="526" y="254"/>
                    <a:pt x="526" y="254"/>
                    <a:pt x="526" y="254"/>
                  </a:cubicBezTo>
                  <a:cubicBezTo>
                    <a:pt x="530" y="253"/>
                    <a:pt x="536" y="250"/>
                    <a:pt x="537" y="239"/>
                  </a:cubicBezTo>
                  <a:cubicBezTo>
                    <a:pt x="540" y="220"/>
                    <a:pt x="513" y="214"/>
                    <a:pt x="513" y="214"/>
                  </a:cubicBezTo>
                  <a:cubicBezTo>
                    <a:pt x="509" y="198"/>
                    <a:pt x="509" y="198"/>
                    <a:pt x="509" y="198"/>
                  </a:cubicBezTo>
                  <a:cubicBezTo>
                    <a:pt x="507" y="199"/>
                    <a:pt x="507" y="199"/>
                    <a:pt x="507" y="199"/>
                  </a:cubicBezTo>
                  <a:cubicBezTo>
                    <a:pt x="491" y="194"/>
                    <a:pt x="491" y="194"/>
                    <a:pt x="491" y="194"/>
                  </a:cubicBezTo>
                  <a:cubicBezTo>
                    <a:pt x="477" y="202"/>
                    <a:pt x="477" y="202"/>
                    <a:pt x="477" y="202"/>
                  </a:cubicBezTo>
                  <a:cubicBezTo>
                    <a:pt x="475" y="191"/>
                    <a:pt x="475" y="191"/>
                    <a:pt x="475" y="191"/>
                  </a:cubicBezTo>
                  <a:cubicBezTo>
                    <a:pt x="468" y="188"/>
                    <a:pt x="468" y="188"/>
                    <a:pt x="468" y="188"/>
                  </a:cubicBezTo>
                  <a:cubicBezTo>
                    <a:pt x="461" y="202"/>
                    <a:pt x="461" y="202"/>
                    <a:pt x="461" y="202"/>
                  </a:cubicBezTo>
                  <a:cubicBezTo>
                    <a:pt x="461" y="202"/>
                    <a:pt x="451" y="202"/>
                    <a:pt x="443" y="202"/>
                  </a:cubicBezTo>
                  <a:cubicBezTo>
                    <a:pt x="435" y="202"/>
                    <a:pt x="428" y="212"/>
                    <a:pt x="419" y="204"/>
                  </a:cubicBezTo>
                  <a:cubicBezTo>
                    <a:pt x="409" y="196"/>
                    <a:pt x="421" y="170"/>
                    <a:pt x="421" y="170"/>
                  </a:cubicBezTo>
                  <a:cubicBezTo>
                    <a:pt x="411" y="168"/>
                    <a:pt x="411" y="168"/>
                    <a:pt x="411" y="168"/>
                  </a:cubicBezTo>
                  <a:cubicBezTo>
                    <a:pt x="411" y="168"/>
                    <a:pt x="409" y="155"/>
                    <a:pt x="405" y="154"/>
                  </a:cubicBezTo>
                  <a:cubicBezTo>
                    <a:pt x="403" y="162"/>
                    <a:pt x="379" y="147"/>
                    <a:pt x="379" y="147"/>
                  </a:cubicBezTo>
                  <a:cubicBezTo>
                    <a:pt x="377" y="122"/>
                    <a:pt x="377" y="122"/>
                    <a:pt x="377" y="122"/>
                  </a:cubicBezTo>
                  <a:cubicBezTo>
                    <a:pt x="364" y="115"/>
                    <a:pt x="364" y="115"/>
                    <a:pt x="364" y="115"/>
                  </a:cubicBezTo>
                  <a:cubicBezTo>
                    <a:pt x="365" y="103"/>
                    <a:pt x="365" y="103"/>
                    <a:pt x="365" y="103"/>
                  </a:cubicBezTo>
                  <a:cubicBezTo>
                    <a:pt x="356" y="100"/>
                    <a:pt x="356" y="100"/>
                    <a:pt x="356" y="100"/>
                  </a:cubicBezTo>
                  <a:cubicBezTo>
                    <a:pt x="341" y="88"/>
                    <a:pt x="341" y="88"/>
                    <a:pt x="341" y="88"/>
                  </a:cubicBezTo>
                  <a:cubicBezTo>
                    <a:pt x="343" y="78"/>
                    <a:pt x="343" y="78"/>
                    <a:pt x="343" y="78"/>
                  </a:cubicBezTo>
                  <a:cubicBezTo>
                    <a:pt x="333" y="74"/>
                    <a:pt x="333" y="74"/>
                    <a:pt x="333" y="74"/>
                  </a:cubicBezTo>
                  <a:cubicBezTo>
                    <a:pt x="344" y="59"/>
                    <a:pt x="344" y="59"/>
                    <a:pt x="344" y="59"/>
                  </a:cubicBezTo>
                  <a:cubicBezTo>
                    <a:pt x="337" y="52"/>
                    <a:pt x="337" y="52"/>
                    <a:pt x="337" y="52"/>
                  </a:cubicBezTo>
                  <a:cubicBezTo>
                    <a:pt x="339" y="28"/>
                    <a:pt x="339" y="28"/>
                    <a:pt x="339" y="28"/>
                  </a:cubicBezTo>
                  <a:cubicBezTo>
                    <a:pt x="331" y="23"/>
                    <a:pt x="331" y="23"/>
                    <a:pt x="331" y="23"/>
                  </a:cubicBezTo>
                  <a:cubicBezTo>
                    <a:pt x="335" y="14"/>
                    <a:pt x="335" y="14"/>
                    <a:pt x="335" y="14"/>
                  </a:cubicBezTo>
                  <a:cubicBezTo>
                    <a:pt x="320" y="0"/>
                    <a:pt x="320" y="0"/>
                    <a:pt x="320" y="0"/>
                  </a:cubicBezTo>
                  <a:cubicBezTo>
                    <a:pt x="312" y="3"/>
                    <a:pt x="312" y="3"/>
                    <a:pt x="312" y="3"/>
                  </a:cubicBezTo>
                  <a:cubicBezTo>
                    <a:pt x="312" y="3"/>
                    <a:pt x="313" y="10"/>
                    <a:pt x="312" y="15"/>
                  </a:cubicBezTo>
                  <a:cubicBezTo>
                    <a:pt x="311" y="20"/>
                    <a:pt x="292" y="28"/>
                    <a:pt x="292" y="28"/>
                  </a:cubicBezTo>
                  <a:cubicBezTo>
                    <a:pt x="292" y="28"/>
                    <a:pt x="293" y="40"/>
                    <a:pt x="287" y="51"/>
                  </a:cubicBezTo>
                  <a:cubicBezTo>
                    <a:pt x="280" y="62"/>
                    <a:pt x="236" y="47"/>
                    <a:pt x="236" y="47"/>
                  </a:cubicBezTo>
                  <a:cubicBezTo>
                    <a:pt x="235" y="58"/>
                    <a:pt x="235" y="58"/>
                    <a:pt x="235" y="58"/>
                  </a:cubicBezTo>
                  <a:cubicBezTo>
                    <a:pt x="235" y="58"/>
                    <a:pt x="227" y="58"/>
                    <a:pt x="225" y="54"/>
                  </a:cubicBezTo>
                  <a:cubicBezTo>
                    <a:pt x="203" y="76"/>
                    <a:pt x="195" y="64"/>
                    <a:pt x="191" y="64"/>
                  </a:cubicBezTo>
                  <a:cubicBezTo>
                    <a:pt x="187" y="74"/>
                    <a:pt x="182" y="78"/>
                    <a:pt x="176" y="79"/>
                  </a:cubicBezTo>
                  <a:cubicBezTo>
                    <a:pt x="177" y="98"/>
                    <a:pt x="177" y="98"/>
                    <a:pt x="177" y="98"/>
                  </a:cubicBezTo>
                  <a:cubicBezTo>
                    <a:pt x="177" y="98"/>
                    <a:pt x="205" y="126"/>
                    <a:pt x="205" y="13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0" name="Basse Normandie" descr="© INSCALE GmbH, 05.05.2010&#10;http://www.presentationload.com/">
              <a:extLst>
                <a:ext uri="{FF2B5EF4-FFF2-40B4-BE49-F238E27FC236}">
                  <a16:creationId xmlns:a16="http://schemas.microsoft.com/office/drawing/2014/main" id="{96C755B5-878D-43B1-9DB9-C3827DF7190E}"/>
                </a:ext>
              </a:extLst>
            </p:cNvPr>
            <p:cNvSpPr>
              <a:spLocks/>
            </p:cNvSpPr>
            <p:nvPr/>
          </p:nvSpPr>
          <p:spPr bwMode="gray">
            <a:xfrm>
              <a:off x="801" y="585"/>
              <a:ext cx="657" cy="573"/>
            </a:xfrm>
            <a:custGeom>
              <a:avLst/>
              <a:gdLst/>
              <a:ahLst/>
              <a:cxnLst>
                <a:cxn ang="0">
                  <a:pos x="197" y="413"/>
                </a:cxn>
                <a:cxn ang="0">
                  <a:pos x="245" y="437"/>
                </a:cxn>
                <a:cxn ang="0">
                  <a:pos x="265" y="435"/>
                </a:cxn>
                <a:cxn ang="0">
                  <a:pos x="315" y="422"/>
                </a:cxn>
                <a:cxn ang="0">
                  <a:pos x="336" y="415"/>
                </a:cxn>
                <a:cxn ang="0">
                  <a:pos x="348" y="405"/>
                </a:cxn>
                <a:cxn ang="0">
                  <a:pos x="373" y="439"/>
                </a:cxn>
                <a:cxn ang="0">
                  <a:pos x="395" y="465"/>
                </a:cxn>
                <a:cxn ang="0">
                  <a:pos x="485" y="481"/>
                </a:cxn>
                <a:cxn ang="0">
                  <a:pos x="512" y="513"/>
                </a:cxn>
                <a:cxn ang="0">
                  <a:pos x="561" y="531"/>
                </a:cxn>
                <a:cxn ang="0">
                  <a:pos x="573" y="522"/>
                </a:cxn>
                <a:cxn ang="0">
                  <a:pos x="597" y="467"/>
                </a:cxn>
                <a:cxn ang="0">
                  <a:pos x="601" y="439"/>
                </a:cxn>
                <a:cxn ang="0">
                  <a:pos x="577" y="393"/>
                </a:cxn>
                <a:cxn ang="0">
                  <a:pos x="563" y="374"/>
                </a:cxn>
                <a:cxn ang="0">
                  <a:pos x="536" y="325"/>
                </a:cxn>
                <a:cxn ang="0">
                  <a:pos x="496" y="303"/>
                </a:cxn>
                <a:cxn ang="0">
                  <a:pos x="496" y="259"/>
                </a:cxn>
                <a:cxn ang="0">
                  <a:pos x="495" y="246"/>
                </a:cxn>
                <a:cxn ang="0">
                  <a:pos x="491" y="218"/>
                </a:cxn>
                <a:cxn ang="0">
                  <a:pos x="477" y="186"/>
                </a:cxn>
                <a:cxn ang="0">
                  <a:pos x="463" y="93"/>
                </a:cxn>
                <a:cxn ang="0">
                  <a:pos x="357" y="137"/>
                </a:cxn>
                <a:cxn ang="0">
                  <a:pos x="239" y="114"/>
                </a:cxn>
                <a:cxn ang="0">
                  <a:pos x="168" y="123"/>
                </a:cxn>
                <a:cxn ang="0">
                  <a:pos x="157" y="102"/>
                </a:cxn>
                <a:cxn ang="0">
                  <a:pos x="130" y="51"/>
                </a:cxn>
                <a:cxn ang="0">
                  <a:pos x="140" y="11"/>
                </a:cxn>
                <a:cxn ang="0">
                  <a:pos x="91" y="21"/>
                </a:cxn>
                <a:cxn ang="0">
                  <a:pos x="1" y="0"/>
                </a:cxn>
                <a:cxn ang="0">
                  <a:pos x="16" y="23"/>
                </a:cxn>
                <a:cxn ang="0">
                  <a:pos x="22" y="85"/>
                </a:cxn>
                <a:cxn ang="0">
                  <a:pos x="66" y="158"/>
                </a:cxn>
                <a:cxn ang="0">
                  <a:pos x="73" y="216"/>
                </a:cxn>
                <a:cxn ang="0">
                  <a:pos x="78" y="239"/>
                </a:cxn>
                <a:cxn ang="0">
                  <a:pos x="69" y="294"/>
                </a:cxn>
                <a:cxn ang="0">
                  <a:pos x="83" y="331"/>
                </a:cxn>
                <a:cxn ang="0">
                  <a:pos x="58" y="332"/>
                </a:cxn>
                <a:cxn ang="0">
                  <a:pos x="136" y="402"/>
                </a:cxn>
              </a:cxnLst>
              <a:rect l="0" t="0" r="r" b="b"/>
              <a:pathLst>
                <a:path w="609" h="531">
                  <a:moveTo>
                    <a:pt x="136" y="402"/>
                  </a:moveTo>
                  <a:cubicBezTo>
                    <a:pt x="173" y="418"/>
                    <a:pt x="187" y="426"/>
                    <a:pt x="197" y="413"/>
                  </a:cubicBezTo>
                  <a:cubicBezTo>
                    <a:pt x="207" y="418"/>
                    <a:pt x="220" y="422"/>
                    <a:pt x="220" y="422"/>
                  </a:cubicBezTo>
                  <a:cubicBezTo>
                    <a:pt x="220" y="422"/>
                    <a:pt x="245" y="446"/>
                    <a:pt x="245" y="437"/>
                  </a:cubicBezTo>
                  <a:cubicBezTo>
                    <a:pt x="245" y="427"/>
                    <a:pt x="261" y="426"/>
                    <a:pt x="261" y="426"/>
                  </a:cubicBezTo>
                  <a:cubicBezTo>
                    <a:pt x="265" y="435"/>
                    <a:pt x="265" y="435"/>
                    <a:pt x="265" y="435"/>
                  </a:cubicBezTo>
                  <a:cubicBezTo>
                    <a:pt x="265" y="435"/>
                    <a:pt x="288" y="435"/>
                    <a:pt x="293" y="421"/>
                  </a:cubicBezTo>
                  <a:cubicBezTo>
                    <a:pt x="300" y="421"/>
                    <a:pt x="315" y="422"/>
                    <a:pt x="315" y="422"/>
                  </a:cubicBezTo>
                  <a:cubicBezTo>
                    <a:pt x="321" y="427"/>
                    <a:pt x="321" y="427"/>
                    <a:pt x="321" y="427"/>
                  </a:cubicBezTo>
                  <a:cubicBezTo>
                    <a:pt x="336" y="415"/>
                    <a:pt x="336" y="415"/>
                    <a:pt x="336" y="415"/>
                  </a:cubicBezTo>
                  <a:cubicBezTo>
                    <a:pt x="336" y="415"/>
                    <a:pt x="344" y="426"/>
                    <a:pt x="348" y="418"/>
                  </a:cubicBezTo>
                  <a:cubicBezTo>
                    <a:pt x="352" y="410"/>
                    <a:pt x="344" y="405"/>
                    <a:pt x="348" y="405"/>
                  </a:cubicBezTo>
                  <a:cubicBezTo>
                    <a:pt x="352" y="405"/>
                    <a:pt x="375" y="414"/>
                    <a:pt x="375" y="414"/>
                  </a:cubicBezTo>
                  <a:cubicBezTo>
                    <a:pt x="375" y="414"/>
                    <a:pt x="361" y="439"/>
                    <a:pt x="373" y="439"/>
                  </a:cubicBezTo>
                  <a:cubicBezTo>
                    <a:pt x="385" y="439"/>
                    <a:pt x="391" y="438"/>
                    <a:pt x="391" y="438"/>
                  </a:cubicBezTo>
                  <a:cubicBezTo>
                    <a:pt x="395" y="465"/>
                    <a:pt x="395" y="465"/>
                    <a:pt x="395" y="465"/>
                  </a:cubicBezTo>
                  <a:cubicBezTo>
                    <a:pt x="415" y="465"/>
                    <a:pt x="415" y="465"/>
                    <a:pt x="415" y="465"/>
                  </a:cubicBezTo>
                  <a:cubicBezTo>
                    <a:pt x="415" y="465"/>
                    <a:pt x="477" y="390"/>
                    <a:pt x="485" y="481"/>
                  </a:cubicBezTo>
                  <a:cubicBezTo>
                    <a:pt x="492" y="486"/>
                    <a:pt x="505" y="493"/>
                    <a:pt x="505" y="493"/>
                  </a:cubicBezTo>
                  <a:cubicBezTo>
                    <a:pt x="512" y="513"/>
                    <a:pt x="512" y="513"/>
                    <a:pt x="512" y="513"/>
                  </a:cubicBezTo>
                  <a:cubicBezTo>
                    <a:pt x="537" y="507"/>
                    <a:pt x="537" y="507"/>
                    <a:pt x="537" y="507"/>
                  </a:cubicBezTo>
                  <a:cubicBezTo>
                    <a:pt x="561" y="531"/>
                    <a:pt x="561" y="531"/>
                    <a:pt x="561" y="531"/>
                  </a:cubicBezTo>
                  <a:cubicBezTo>
                    <a:pt x="573" y="529"/>
                    <a:pt x="573" y="529"/>
                    <a:pt x="573" y="529"/>
                  </a:cubicBezTo>
                  <a:cubicBezTo>
                    <a:pt x="573" y="522"/>
                    <a:pt x="573" y="522"/>
                    <a:pt x="573" y="522"/>
                  </a:cubicBezTo>
                  <a:cubicBezTo>
                    <a:pt x="573" y="522"/>
                    <a:pt x="565" y="495"/>
                    <a:pt x="568" y="485"/>
                  </a:cubicBezTo>
                  <a:cubicBezTo>
                    <a:pt x="571" y="474"/>
                    <a:pt x="597" y="467"/>
                    <a:pt x="597" y="467"/>
                  </a:cubicBezTo>
                  <a:cubicBezTo>
                    <a:pt x="609" y="453"/>
                    <a:pt x="609" y="453"/>
                    <a:pt x="609" y="453"/>
                  </a:cubicBezTo>
                  <a:cubicBezTo>
                    <a:pt x="601" y="439"/>
                    <a:pt x="601" y="439"/>
                    <a:pt x="601" y="439"/>
                  </a:cubicBezTo>
                  <a:cubicBezTo>
                    <a:pt x="601" y="439"/>
                    <a:pt x="605" y="431"/>
                    <a:pt x="605" y="426"/>
                  </a:cubicBezTo>
                  <a:cubicBezTo>
                    <a:pt x="605" y="421"/>
                    <a:pt x="577" y="393"/>
                    <a:pt x="577" y="393"/>
                  </a:cubicBezTo>
                  <a:cubicBezTo>
                    <a:pt x="576" y="374"/>
                    <a:pt x="576" y="374"/>
                    <a:pt x="576" y="374"/>
                  </a:cubicBezTo>
                  <a:cubicBezTo>
                    <a:pt x="569" y="376"/>
                    <a:pt x="563" y="374"/>
                    <a:pt x="563" y="374"/>
                  </a:cubicBezTo>
                  <a:cubicBezTo>
                    <a:pt x="563" y="374"/>
                    <a:pt x="556" y="363"/>
                    <a:pt x="560" y="363"/>
                  </a:cubicBezTo>
                  <a:cubicBezTo>
                    <a:pt x="581" y="349"/>
                    <a:pt x="536" y="325"/>
                    <a:pt x="536" y="325"/>
                  </a:cubicBezTo>
                  <a:cubicBezTo>
                    <a:pt x="529" y="305"/>
                    <a:pt x="529" y="305"/>
                    <a:pt x="529" y="305"/>
                  </a:cubicBezTo>
                  <a:cubicBezTo>
                    <a:pt x="496" y="303"/>
                    <a:pt x="496" y="303"/>
                    <a:pt x="496" y="303"/>
                  </a:cubicBezTo>
                  <a:cubicBezTo>
                    <a:pt x="496" y="303"/>
                    <a:pt x="483" y="299"/>
                    <a:pt x="489" y="294"/>
                  </a:cubicBezTo>
                  <a:cubicBezTo>
                    <a:pt x="496" y="289"/>
                    <a:pt x="496" y="259"/>
                    <a:pt x="496" y="259"/>
                  </a:cubicBezTo>
                  <a:cubicBezTo>
                    <a:pt x="487" y="247"/>
                    <a:pt x="487" y="247"/>
                    <a:pt x="487" y="247"/>
                  </a:cubicBezTo>
                  <a:cubicBezTo>
                    <a:pt x="495" y="246"/>
                    <a:pt x="495" y="246"/>
                    <a:pt x="495" y="246"/>
                  </a:cubicBezTo>
                  <a:cubicBezTo>
                    <a:pt x="496" y="226"/>
                    <a:pt x="496" y="226"/>
                    <a:pt x="496" y="226"/>
                  </a:cubicBezTo>
                  <a:cubicBezTo>
                    <a:pt x="491" y="218"/>
                    <a:pt x="491" y="218"/>
                    <a:pt x="491" y="218"/>
                  </a:cubicBezTo>
                  <a:cubicBezTo>
                    <a:pt x="491" y="203"/>
                    <a:pt x="491" y="203"/>
                    <a:pt x="491" y="203"/>
                  </a:cubicBezTo>
                  <a:cubicBezTo>
                    <a:pt x="491" y="203"/>
                    <a:pt x="475" y="193"/>
                    <a:pt x="477" y="186"/>
                  </a:cubicBezTo>
                  <a:cubicBezTo>
                    <a:pt x="508" y="175"/>
                    <a:pt x="476" y="178"/>
                    <a:pt x="476" y="178"/>
                  </a:cubicBezTo>
                  <a:cubicBezTo>
                    <a:pt x="463" y="93"/>
                    <a:pt x="463" y="93"/>
                    <a:pt x="463" y="93"/>
                  </a:cubicBezTo>
                  <a:cubicBezTo>
                    <a:pt x="458" y="95"/>
                    <a:pt x="436" y="105"/>
                    <a:pt x="435" y="102"/>
                  </a:cubicBezTo>
                  <a:cubicBezTo>
                    <a:pt x="418" y="138"/>
                    <a:pt x="357" y="137"/>
                    <a:pt x="357" y="137"/>
                  </a:cubicBezTo>
                  <a:cubicBezTo>
                    <a:pt x="325" y="122"/>
                    <a:pt x="325" y="122"/>
                    <a:pt x="325" y="122"/>
                  </a:cubicBezTo>
                  <a:cubicBezTo>
                    <a:pt x="325" y="122"/>
                    <a:pt x="286" y="117"/>
                    <a:pt x="239" y="114"/>
                  </a:cubicBezTo>
                  <a:cubicBezTo>
                    <a:pt x="194" y="93"/>
                    <a:pt x="170" y="107"/>
                    <a:pt x="170" y="107"/>
                  </a:cubicBezTo>
                  <a:cubicBezTo>
                    <a:pt x="168" y="123"/>
                    <a:pt x="168" y="123"/>
                    <a:pt x="168" y="123"/>
                  </a:cubicBezTo>
                  <a:cubicBezTo>
                    <a:pt x="160" y="116"/>
                    <a:pt x="160" y="116"/>
                    <a:pt x="160" y="116"/>
                  </a:cubicBezTo>
                  <a:cubicBezTo>
                    <a:pt x="160" y="116"/>
                    <a:pt x="150" y="108"/>
                    <a:pt x="157" y="102"/>
                  </a:cubicBezTo>
                  <a:cubicBezTo>
                    <a:pt x="164" y="96"/>
                    <a:pt x="152" y="88"/>
                    <a:pt x="152" y="88"/>
                  </a:cubicBezTo>
                  <a:cubicBezTo>
                    <a:pt x="130" y="51"/>
                    <a:pt x="130" y="51"/>
                    <a:pt x="130" y="51"/>
                  </a:cubicBezTo>
                  <a:cubicBezTo>
                    <a:pt x="150" y="35"/>
                    <a:pt x="150" y="35"/>
                    <a:pt x="150" y="35"/>
                  </a:cubicBezTo>
                  <a:cubicBezTo>
                    <a:pt x="140" y="11"/>
                    <a:pt x="140" y="11"/>
                    <a:pt x="140" y="11"/>
                  </a:cubicBezTo>
                  <a:cubicBezTo>
                    <a:pt x="104" y="7"/>
                    <a:pt x="104" y="7"/>
                    <a:pt x="104" y="7"/>
                  </a:cubicBezTo>
                  <a:cubicBezTo>
                    <a:pt x="91" y="21"/>
                    <a:pt x="91" y="21"/>
                    <a:pt x="91" y="21"/>
                  </a:cubicBezTo>
                  <a:cubicBezTo>
                    <a:pt x="91" y="21"/>
                    <a:pt x="82" y="30"/>
                    <a:pt x="59" y="24"/>
                  </a:cubicBezTo>
                  <a:cubicBezTo>
                    <a:pt x="36" y="18"/>
                    <a:pt x="1" y="0"/>
                    <a:pt x="1" y="0"/>
                  </a:cubicBezTo>
                  <a:cubicBezTo>
                    <a:pt x="0" y="16"/>
                    <a:pt x="0" y="16"/>
                    <a:pt x="0" y="16"/>
                  </a:cubicBezTo>
                  <a:cubicBezTo>
                    <a:pt x="0" y="16"/>
                    <a:pt x="4" y="16"/>
                    <a:pt x="16" y="23"/>
                  </a:cubicBezTo>
                  <a:cubicBezTo>
                    <a:pt x="28" y="30"/>
                    <a:pt x="12" y="63"/>
                    <a:pt x="12" y="63"/>
                  </a:cubicBezTo>
                  <a:cubicBezTo>
                    <a:pt x="12" y="63"/>
                    <a:pt x="21" y="81"/>
                    <a:pt x="22" y="85"/>
                  </a:cubicBezTo>
                  <a:cubicBezTo>
                    <a:pt x="22" y="112"/>
                    <a:pt x="34" y="108"/>
                    <a:pt x="34" y="108"/>
                  </a:cubicBezTo>
                  <a:cubicBezTo>
                    <a:pt x="66" y="158"/>
                    <a:pt x="66" y="158"/>
                    <a:pt x="66" y="158"/>
                  </a:cubicBezTo>
                  <a:cubicBezTo>
                    <a:pt x="65" y="214"/>
                    <a:pt x="65" y="214"/>
                    <a:pt x="65" y="214"/>
                  </a:cubicBezTo>
                  <a:cubicBezTo>
                    <a:pt x="73" y="216"/>
                    <a:pt x="73" y="216"/>
                    <a:pt x="73" y="216"/>
                  </a:cubicBezTo>
                  <a:cubicBezTo>
                    <a:pt x="69" y="232"/>
                    <a:pt x="69" y="232"/>
                    <a:pt x="69" y="232"/>
                  </a:cubicBezTo>
                  <a:cubicBezTo>
                    <a:pt x="78" y="239"/>
                    <a:pt x="78" y="239"/>
                    <a:pt x="78" y="239"/>
                  </a:cubicBezTo>
                  <a:cubicBezTo>
                    <a:pt x="70" y="245"/>
                    <a:pt x="70" y="245"/>
                    <a:pt x="70" y="245"/>
                  </a:cubicBezTo>
                  <a:cubicBezTo>
                    <a:pt x="70" y="245"/>
                    <a:pt x="66" y="280"/>
                    <a:pt x="69" y="294"/>
                  </a:cubicBezTo>
                  <a:cubicBezTo>
                    <a:pt x="71" y="315"/>
                    <a:pt x="108" y="326"/>
                    <a:pt x="108" y="326"/>
                  </a:cubicBezTo>
                  <a:cubicBezTo>
                    <a:pt x="83" y="331"/>
                    <a:pt x="83" y="331"/>
                    <a:pt x="83" y="331"/>
                  </a:cubicBezTo>
                  <a:cubicBezTo>
                    <a:pt x="83" y="331"/>
                    <a:pt x="75" y="328"/>
                    <a:pt x="68" y="329"/>
                  </a:cubicBezTo>
                  <a:cubicBezTo>
                    <a:pt x="66" y="330"/>
                    <a:pt x="62" y="331"/>
                    <a:pt x="58" y="332"/>
                  </a:cubicBezTo>
                  <a:cubicBezTo>
                    <a:pt x="77" y="377"/>
                    <a:pt x="77" y="377"/>
                    <a:pt x="77" y="377"/>
                  </a:cubicBezTo>
                  <a:cubicBezTo>
                    <a:pt x="77" y="377"/>
                    <a:pt x="87" y="470"/>
                    <a:pt x="136" y="402"/>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1" name="Bretagne" descr="© INSCALE GmbH, 05.05.2010&#10;http://www.presentationload.com/">
              <a:extLst>
                <a:ext uri="{FF2B5EF4-FFF2-40B4-BE49-F238E27FC236}">
                  <a16:creationId xmlns:a16="http://schemas.microsoft.com/office/drawing/2014/main" id="{F823883D-B803-4C7E-982B-A6EA279E0036}"/>
                </a:ext>
              </a:extLst>
            </p:cNvPr>
            <p:cNvSpPr>
              <a:spLocks noEditPoints="1"/>
            </p:cNvSpPr>
            <p:nvPr/>
          </p:nvSpPr>
          <p:spPr bwMode="gray">
            <a:xfrm>
              <a:off x="48" y="857"/>
              <a:ext cx="953" cy="536"/>
            </a:xfrm>
            <a:custGeom>
              <a:avLst/>
              <a:gdLst/>
              <a:ahLst/>
              <a:cxnLst>
                <a:cxn ang="0">
                  <a:pos x="459" y="18"/>
                </a:cxn>
                <a:cxn ang="0">
                  <a:pos x="5" y="133"/>
                </a:cxn>
                <a:cxn ang="0">
                  <a:pos x="355" y="388"/>
                </a:cxn>
                <a:cxn ang="0">
                  <a:pos x="355" y="388"/>
                </a:cxn>
                <a:cxn ang="0">
                  <a:pos x="394" y="465"/>
                </a:cxn>
                <a:cxn ang="0">
                  <a:pos x="422" y="494"/>
                </a:cxn>
                <a:cxn ang="0">
                  <a:pos x="413" y="479"/>
                </a:cxn>
                <a:cxn ang="0">
                  <a:pos x="448" y="462"/>
                </a:cxn>
                <a:cxn ang="0">
                  <a:pos x="467" y="479"/>
                </a:cxn>
                <a:cxn ang="0">
                  <a:pos x="55" y="259"/>
                </a:cxn>
                <a:cxn ang="0">
                  <a:pos x="36" y="144"/>
                </a:cxn>
                <a:cxn ang="0">
                  <a:pos x="56" y="163"/>
                </a:cxn>
                <a:cxn ang="0">
                  <a:pos x="246" y="42"/>
                </a:cxn>
                <a:cxn ang="0">
                  <a:pos x="874" y="165"/>
                </a:cxn>
                <a:cxn ang="0">
                  <a:pos x="757" y="79"/>
                </a:cxn>
                <a:cxn ang="0">
                  <a:pos x="705" y="58"/>
                </a:cxn>
                <a:cxn ang="0">
                  <a:pos x="628" y="92"/>
                </a:cxn>
                <a:cxn ang="0">
                  <a:pos x="606" y="63"/>
                </a:cxn>
                <a:cxn ang="0">
                  <a:pos x="570" y="80"/>
                </a:cxn>
                <a:cxn ang="0">
                  <a:pos x="526" y="116"/>
                </a:cxn>
                <a:cxn ang="0">
                  <a:pos x="496" y="71"/>
                </a:cxn>
                <a:cxn ang="0">
                  <a:pos x="458" y="31"/>
                </a:cxn>
                <a:cxn ang="0">
                  <a:pos x="446" y="0"/>
                </a:cxn>
                <a:cxn ang="0">
                  <a:pos x="401" y="13"/>
                </a:cxn>
                <a:cxn ang="0">
                  <a:pos x="347" y="22"/>
                </a:cxn>
                <a:cxn ang="0">
                  <a:pos x="333" y="59"/>
                </a:cxn>
                <a:cxn ang="0">
                  <a:pos x="268" y="58"/>
                </a:cxn>
                <a:cxn ang="0">
                  <a:pos x="237" y="58"/>
                </a:cxn>
                <a:cxn ang="0">
                  <a:pos x="186" y="70"/>
                </a:cxn>
                <a:cxn ang="0">
                  <a:pos x="147" y="76"/>
                </a:cxn>
                <a:cxn ang="0">
                  <a:pos x="115" y="80"/>
                </a:cxn>
                <a:cxn ang="0">
                  <a:pos x="84" y="106"/>
                </a:cxn>
                <a:cxn ang="0">
                  <a:pos x="79" y="148"/>
                </a:cxn>
                <a:cxn ang="0">
                  <a:pos x="98" y="154"/>
                </a:cxn>
                <a:cxn ang="0">
                  <a:pos x="156" y="145"/>
                </a:cxn>
                <a:cxn ang="0">
                  <a:pos x="172" y="160"/>
                </a:cxn>
                <a:cxn ang="0">
                  <a:pos x="155" y="185"/>
                </a:cxn>
                <a:cxn ang="0">
                  <a:pos x="122" y="172"/>
                </a:cxn>
                <a:cxn ang="0">
                  <a:pos x="125" y="211"/>
                </a:cxn>
                <a:cxn ang="0">
                  <a:pos x="171" y="237"/>
                </a:cxn>
                <a:cxn ang="0">
                  <a:pos x="156" y="329"/>
                </a:cxn>
                <a:cxn ang="0">
                  <a:pos x="235" y="316"/>
                </a:cxn>
                <a:cxn ang="0">
                  <a:pos x="294" y="333"/>
                </a:cxn>
                <a:cxn ang="0">
                  <a:pos x="384" y="364"/>
                </a:cxn>
                <a:cxn ang="0">
                  <a:pos x="414" y="432"/>
                </a:cxn>
                <a:cxn ang="0">
                  <a:pos x="425" y="403"/>
                </a:cxn>
                <a:cxn ang="0">
                  <a:pos x="460" y="391"/>
                </a:cxn>
                <a:cxn ang="0">
                  <a:pos x="522" y="390"/>
                </a:cxn>
                <a:cxn ang="0">
                  <a:pos x="462" y="407"/>
                </a:cxn>
                <a:cxn ang="0">
                  <a:pos x="513" y="428"/>
                </a:cxn>
                <a:cxn ang="0">
                  <a:pos x="555" y="424"/>
                </a:cxn>
                <a:cxn ang="0">
                  <a:pos x="566" y="454"/>
                </a:cxn>
                <a:cxn ang="0">
                  <a:pos x="554" y="487"/>
                </a:cxn>
                <a:cxn ang="0">
                  <a:pos x="595" y="481"/>
                </a:cxn>
                <a:cxn ang="0">
                  <a:pos x="666" y="409"/>
                </a:cxn>
                <a:cxn ang="0">
                  <a:pos x="752" y="389"/>
                </a:cxn>
                <a:cxn ang="0">
                  <a:pos x="796" y="377"/>
                </a:cxn>
                <a:cxn ang="0">
                  <a:pos x="838" y="366"/>
                </a:cxn>
                <a:cxn ang="0">
                  <a:pos x="879" y="220"/>
                </a:cxn>
              </a:cxnLst>
              <a:rect l="0" t="0" r="r" b="b"/>
              <a:pathLst>
                <a:path w="884" h="496">
                  <a:moveTo>
                    <a:pt x="459" y="18"/>
                  </a:moveTo>
                  <a:cubicBezTo>
                    <a:pt x="460" y="17"/>
                    <a:pt x="460" y="17"/>
                    <a:pt x="460" y="15"/>
                  </a:cubicBezTo>
                  <a:cubicBezTo>
                    <a:pt x="460" y="12"/>
                    <a:pt x="459" y="14"/>
                    <a:pt x="459" y="18"/>
                  </a:cubicBezTo>
                  <a:close/>
                  <a:moveTo>
                    <a:pt x="17" y="117"/>
                  </a:moveTo>
                  <a:cubicBezTo>
                    <a:pt x="11" y="117"/>
                    <a:pt x="0" y="125"/>
                    <a:pt x="0" y="125"/>
                  </a:cubicBezTo>
                  <a:cubicBezTo>
                    <a:pt x="5" y="133"/>
                    <a:pt x="5" y="133"/>
                    <a:pt x="5" y="133"/>
                  </a:cubicBezTo>
                  <a:cubicBezTo>
                    <a:pt x="21" y="123"/>
                    <a:pt x="21" y="123"/>
                    <a:pt x="21" y="123"/>
                  </a:cubicBezTo>
                  <a:cubicBezTo>
                    <a:pt x="21" y="123"/>
                    <a:pt x="23" y="117"/>
                    <a:pt x="17" y="117"/>
                  </a:cubicBezTo>
                  <a:close/>
                  <a:moveTo>
                    <a:pt x="355" y="388"/>
                  </a:moveTo>
                  <a:cubicBezTo>
                    <a:pt x="346" y="382"/>
                    <a:pt x="339" y="378"/>
                    <a:pt x="339" y="378"/>
                  </a:cubicBezTo>
                  <a:cubicBezTo>
                    <a:pt x="339" y="378"/>
                    <a:pt x="333" y="390"/>
                    <a:pt x="344" y="389"/>
                  </a:cubicBezTo>
                  <a:cubicBezTo>
                    <a:pt x="355" y="388"/>
                    <a:pt x="364" y="394"/>
                    <a:pt x="355" y="388"/>
                  </a:cubicBezTo>
                  <a:close/>
                  <a:moveTo>
                    <a:pt x="413" y="479"/>
                  </a:moveTo>
                  <a:cubicBezTo>
                    <a:pt x="409" y="469"/>
                    <a:pt x="409" y="469"/>
                    <a:pt x="409" y="469"/>
                  </a:cubicBezTo>
                  <a:cubicBezTo>
                    <a:pt x="394" y="465"/>
                    <a:pt x="394" y="465"/>
                    <a:pt x="394" y="465"/>
                  </a:cubicBezTo>
                  <a:cubicBezTo>
                    <a:pt x="384" y="466"/>
                    <a:pt x="393" y="490"/>
                    <a:pt x="393" y="490"/>
                  </a:cubicBezTo>
                  <a:cubicBezTo>
                    <a:pt x="413" y="490"/>
                    <a:pt x="413" y="490"/>
                    <a:pt x="413" y="490"/>
                  </a:cubicBezTo>
                  <a:cubicBezTo>
                    <a:pt x="422" y="494"/>
                    <a:pt x="422" y="494"/>
                    <a:pt x="422" y="494"/>
                  </a:cubicBezTo>
                  <a:cubicBezTo>
                    <a:pt x="427" y="485"/>
                    <a:pt x="427" y="485"/>
                    <a:pt x="427" y="485"/>
                  </a:cubicBezTo>
                  <a:cubicBezTo>
                    <a:pt x="425" y="480"/>
                    <a:pt x="425" y="480"/>
                    <a:pt x="425" y="480"/>
                  </a:cubicBezTo>
                  <a:lnTo>
                    <a:pt x="413" y="479"/>
                  </a:lnTo>
                  <a:close/>
                  <a:moveTo>
                    <a:pt x="448" y="462"/>
                  </a:moveTo>
                  <a:cubicBezTo>
                    <a:pt x="448" y="462"/>
                    <a:pt x="454" y="467"/>
                    <a:pt x="454" y="465"/>
                  </a:cubicBezTo>
                  <a:cubicBezTo>
                    <a:pt x="454" y="462"/>
                    <a:pt x="454" y="462"/>
                    <a:pt x="448" y="462"/>
                  </a:cubicBezTo>
                  <a:close/>
                  <a:moveTo>
                    <a:pt x="467" y="479"/>
                  </a:moveTo>
                  <a:cubicBezTo>
                    <a:pt x="467" y="479"/>
                    <a:pt x="473" y="479"/>
                    <a:pt x="473" y="476"/>
                  </a:cubicBezTo>
                  <a:cubicBezTo>
                    <a:pt x="473" y="473"/>
                    <a:pt x="467" y="479"/>
                    <a:pt x="467" y="479"/>
                  </a:cubicBezTo>
                  <a:close/>
                  <a:moveTo>
                    <a:pt x="55" y="259"/>
                  </a:moveTo>
                  <a:cubicBezTo>
                    <a:pt x="58" y="258"/>
                    <a:pt x="53" y="251"/>
                    <a:pt x="53" y="251"/>
                  </a:cubicBezTo>
                  <a:cubicBezTo>
                    <a:pt x="53" y="251"/>
                    <a:pt x="52" y="260"/>
                    <a:pt x="55" y="259"/>
                  </a:cubicBezTo>
                  <a:close/>
                  <a:moveTo>
                    <a:pt x="36" y="144"/>
                  </a:moveTo>
                  <a:cubicBezTo>
                    <a:pt x="41" y="150"/>
                    <a:pt x="40" y="142"/>
                    <a:pt x="40" y="142"/>
                  </a:cubicBezTo>
                  <a:cubicBezTo>
                    <a:pt x="40" y="142"/>
                    <a:pt x="31" y="139"/>
                    <a:pt x="36" y="144"/>
                  </a:cubicBezTo>
                  <a:close/>
                  <a:moveTo>
                    <a:pt x="56" y="163"/>
                  </a:moveTo>
                  <a:cubicBezTo>
                    <a:pt x="56" y="163"/>
                    <a:pt x="64" y="161"/>
                    <a:pt x="59" y="156"/>
                  </a:cubicBezTo>
                  <a:cubicBezTo>
                    <a:pt x="54" y="152"/>
                    <a:pt x="56" y="163"/>
                    <a:pt x="56" y="163"/>
                  </a:cubicBezTo>
                  <a:close/>
                  <a:moveTo>
                    <a:pt x="247" y="36"/>
                  </a:moveTo>
                  <a:cubicBezTo>
                    <a:pt x="242" y="39"/>
                    <a:pt x="242" y="39"/>
                    <a:pt x="242" y="39"/>
                  </a:cubicBezTo>
                  <a:cubicBezTo>
                    <a:pt x="246" y="42"/>
                    <a:pt x="246" y="42"/>
                    <a:pt x="246" y="42"/>
                  </a:cubicBezTo>
                  <a:lnTo>
                    <a:pt x="247" y="36"/>
                  </a:lnTo>
                  <a:close/>
                  <a:moveTo>
                    <a:pt x="872" y="188"/>
                  </a:moveTo>
                  <a:cubicBezTo>
                    <a:pt x="874" y="165"/>
                    <a:pt x="874" y="165"/>
                    <a:pt x="874" y="165"/>
                  </a:cubicBezTo>
                  <a:cubicBezTo>
                    <a:pt x="865" y="163"/>
                    <a:pt x="853" y="157"/>
                    <a:pt x="835" y="149"/>
                  </a:cubicBezTo>
                  <a:cubicBezTo>
                    <a:pt x="786" y="217"/>
                    <a:pt x="776" y="124"/>
                    <a:pt x="776" y="124"/>
                  </a:cubicBezTo>
                  <a:cubicBezTo>
                    <a:pt x="757" y="79"/>
                    <a:pt x="757" y="79"/>
                    <a:pt x="757" y="79"/>
                  </a:cubicBezTo>
                  <a:cubicBezTo>
                    <a:pt x="750" y="81"/>
                    <a:pt x="742" y="83"/>
                    <a:pt x="742" y="83"/>
                  </a:cubicBezTo>
                  <a:cubicBezTo>
                    <a:pt x="742" y="83"/>
                    <a:pt x="722" y="85"/>
                    <a:pt x="710" y="84"/>
                  </a:cubicBezTo>
                  <a:cubicBezTo>
                    <a:pt x="698" y="83"/>
                    <a:pt x="705" y="58"/>
                    <a:pt x="705" y="58"/>
                  </a:cubicBezTo>
                  <a:cubicBezTo>
                    <a:pt x="692" y="58"/>
                    <a:pt x="664" y="78"/>
                    <a:pt x="664" y="78"/>
                  </a:cubicBezTo>
                  <a:cubicBezTo>
                    <a:pt x="647" y="76"/>
                    <a:pt x="647" y="76"/>
                    <a:pt x="647" y="76"/>
                  </a:cubicBezTo>
                  <a:cubicBezTo>
                    <a:pt x="647" y="76"/>
                    <a:pt x="636" y="91"/>
                    <a:pt x="628" y="92"/>
                  </a:cubicBezTo>
                  <a:cubicBezTo>
                    <a:pt x="620" y="93"/>
                    <a:pt x="616" y="75"/>
                    <a:pt x="616" y="75"/>
                  </a:cubicBezTo>
                  <a:cubicBezTo>
                    <a:pt x="601" y="80"/>
                    <a:pt x="601" y="80"/>
                    <a:pt x="601" y="80"/>
                  </a:cubicBezTo>
                  <a:cubicBezTo>
                    <a:pt x="601" y="80"/>
                    <a:pt x="609" y="67"/>
                    <a:pt x="606" y="63"/>
                  </a:cubicBezTo>
                  <a:cubicBezTo>
                    <a:pt x="603" y="59"/>
                    <a:pt x="584" y="75"/>
                    <a:pt x="584" y="75"/>
                  </a:cubicBezTo>
                  <a:cubicBezTo>
                    <a:pt x="571" y="72"/>
                    <a:pt x="571" y="72"/>
                    <a:pt x="571" y="72"/>
                  </a:cubicBezTo>
                  <a:cubicBezTo>
                    <a:pt x="570" y="80"/>
                    <a:pt x="570" y="80"/>
                    <a:pt x="570" y="80"/>
                  </a:cubicBezTo>
                  <a:cubicBezTo>
                    <a:pt x="533" y="109"/>
                    <a:pt x="533" y="109"/>
                    <a:pt x="533" y="109"/>
                  </a:cubicBezTo>
                  <a:cubicBezTo>
                    <a:pt x="529" y="106"/>
                    <a:pt x="529" y="106"/>
                    <a:pt x="529" y="106"/>
                  </a:cubicBezTo>
                  <a:cubicBezTo>
                    <a:pt x="526" y="116"/>
                    <a:pt x="526" y="116"/>
                    <a:pt x="526" y="116"/>
                  </a:cubicBezTo>
                  <a:cubicBezTo>
                    <a:pt x="516" y="96"/>
                    <a:pt x="516" y="96"/>
                    <a:pt x="516" y="96"/>
                  </a:cubicBezTo>
                  <a:cubicBezTo>
                    <a:pt x="499" y="88"/>
                    <a:pt x="499" y="88"/>
                    <a:pt x="499" y="88"/>
                  </a:cubicBezTo>
                  <a:cubicBezTo>
                    <a:pt x="496" y="71"/>
                    <a:pt x="496" y="71"/>
                    <a:pt x="496" y="71"/>
                  </a:cubicBezTo>
                  <a:cubicBezTo>
                    <a:pt x="473" y="49"/>
                    <a:pt x="473" y="49"/>
                    <a:pt x="473" y="49"/>
                  </a:cubicBezTo>
                  <a:cubicBezTo>
                    <a:pt x="473" y="36"/>
                    <a:pt x="473" y="36"/>
                    <a:pt x="473" y="36"/>
                  </a:cubicBezTo>
                  <a:cubicBezTo>
                    <a:pt x="473" y="36"/>
                    <a:pt x="459" y="35"/>
                    <a:pt x="458" y="31"/>
                  </a:cubicBezTo>
                  <a:cubicBezTo>
                    <a:pt x="457" y="29"/>
                    <a:pt x="458" y="22"/>
                    <a:pt x="459" y="18"/>
                  </a:cubicBezTo>
                  <a:cubicBezTo>
                    <a:pt x="455" y="21"/>
                    <a:pt x="444" y="18"/>
                    <a:pt x="444" y="18"/>
                  </a:cubicBezTo>
                  <a:cubicBezTo>
                    <a:pt x="446" y="0"/>
                    <a:pt x="446" y="0"/>
                    <a:pt x="446" y="0"/>
                  </a:cubicBezTo>
                  <a:cubicBezTo>
                    <a:pt x="426" y="10"/>
                    <a:pt x="426" y="10"/>
                    <a:pt x="426" y="10"/>
                  </a:cubicBezTo>
                  <a:cubicBezTo>
                    <a:pt x="415" y="4"/>
                    <a:pt x="415" y="4"/>
                    <a:pt x="415" y="4"/>
                  </a:cubicBezTo>
                  <a:cubicBezTo>
                    <a:pt x="415" y="4"/>
                    <a:pt x="411" y="10"/>
                    <a:pt x="401" y="13"/>
                  </a:cubicBezTo>
                  <a:cubicBezTo>
                    <a:pt x="387" y="15"/>
                    <a:pt x="372" y="26"/>
                    <a:pt x="372" y="26"/>
                  </a:cubicBezTo>
                  <a:cubicBezTo>
                    <a:pt x="371" y="19"/>
                    <a:pt x="356" y="12"/>
                    <a:pt x="351" y="12"/>
                  </a:cubicBezTo>
                  <a:cubicBezTo>
                    <a:pt x="346" y="12"/>
                    <a:pt x="347" y="22"/>
                    <a:pt x="347" y="22"/>
                  </a:cubicBezTo>
                  <a:cubicBezTo>
                    <a:pt x="341" y="25"/>
                    <a:pt x="341" y="25"/>
                    <a:pt x="341" y="25"/>
                  </a:cubicBezTo>
                  <a:cubicBezTo>
                    <a:pt x="347" y="40"/>
                    <a:pt x="347" y="40"/>
                    <a:pt x="347" y="40"/>
                  </a:cubicBezTo>
                  <a:cubicBezTo>
                    <a:pt x="347" y="40"/>
                    <a:pt x="336" y="60"/>
                    <a:pt x="333" y="59"/>
                  </a:cubicBezTo>
                  <a:cubicBezTo>
                    <a:pt x="300" y="51"/>
                    <a:pt x="285" y="50"/>
                    <a:pt x="282" y="56"/>
                  </a:cubicBezTo>
                  <a:cubicBezTo>
                    <a:pt x="279" y="62"/>
                    <a:pt x="280" y="72"/>
                    <a:pt x="277" y="72"/>
                  </a:cubicBezTo>
                  <a:cubicBezTo>
                    <a:pt x="274" y="72"/>
                    <a:pt x="268" y="58"/>
                    <a:pt x="268" y="58"/>
                  </a:cubicBezTo>
                  <a:cubicBezTo>
                    <a:pt x="258" y="63"/>
                    <a:pt x="258" y="63"/>
                    <a:pt x="258" y="63"/>
                  </a:cubicBezTo>
                  <a:cubicBezTo>
                    <a:pt x="258" y="63"/>
                    <a:pt x="251" y="44"/>
                    <a:pt x="245" y="47"/>
                  </a:cubicBezTo>
                  <a:cubicBezTo>
                    <a:pt x="239" y="50"/>
                    <a:pt x="237" y="58"/>
                    <a:pt x="237" y="58"/>
                  </a:cubicBezTo>
                  <a:cubicBezTo>
                    <a:pt x="237" y="58"/>
                    <a:pt x="226" y="55"/>
                    <a:pt x="217" y="54"/>
                  </a:cubicBezTo>
                  <a:cubicBezTo>
                    <a:pt x="208" y="53"/>
                    <a:pt x="200" y="64"/>
                    <a:pt x="200" y="64"/>
                  </a:cubicBezTo>
                  <a:cubicBezTo>
                    <a:pt x="186" y="70"/>
                    <a:pt x="186" y="70"/>
                    <a:pt x="186" y="70"/>
                  </a:cubicBezTo>
                  <a:cubicBezTo>
                    <a:pt x="173" y="60"/>
                    <a:pt x="173" y="60"/>
                    <a:pt x="173" y="60"/>
                  </a:cubicBezTo>
                  <a:cubicBezTo>
                    <a:pt x="173" y="60"/>
                    <a:pt x="168" y="65"/>
                    <a:pt x="161" y="69"/>
                  </a:cubicBezTo>
                  <a:cubicBezTo>
                    <a:pt x="154" y="73"/>
                    <a:pt x="147" y="76"/>
                    <a:pt x="147" y="76"/>
                  </a:cubicBezTo>
                  <a:cubicBezTo>
                    <a:pt x="147" y="76"/>
                    <a:pt x="131" y="70"/>
                    <a:pt x="126" y="70"/>
                  </a:cubicBezTo>
                  <a:cubicBezTo>
                    <a:pt x="121" y="70"/>
                    <a:pt x="134" y="84"/>
                    <a:pt x="134" y="84"/>
                  </a:cubicBezTo>
                  <a:cubicBezTo>
                    <a:pt x="115" y="80"/>
                    <a:pt x="115" y="80"/>
                    <a:pt x="115" y="80"/>
                  </a:cubicBezTo>
                  <a:cubicBezTo>
                    <a:pt x="115" y="85"/>
                    <a:pt x="115" y="85"/>
                    <a:pt x="115" y="85"/>
                  </a:cubicBezTo>
                  <a:cubicBezTo>
                    <a:pt x="105" y="87"/>
                    <a:pt x="105" y="87"/>
                    <a:pt x="105" y="87"/>
                  </a:cubicBezTo>
                  <a:cubicBezTo>
                    <a:pt x="105" y="87"/>
                    <a:pt x="96" y="98"/>
                    <a:pt x="84" y="106"/>
                  </a:cubicBezTo>
                  <a:cubicBezTo>
                    <a:pt x="72" y="114"/>
                    <a:pt x="86" y="121"/>
                    <a:pt x="86" y="121"/>
                  </a:cubicBezTo>
                  <a:cubicBezTo>
                    <a:pt x="86" y="121"/>
                    <a:pt x="76" y="131"/>
                    <a:pt x="75" y="139"/>
                  </a:cubicBezTo>
                  <a:cubicBezTo>
                    <a:pt x="74" y="147"/>
                    <a:pt x="79" y="148"/>
                    <a:pt x="79" y="148"/>
                  </a:cubicBezTo>
                  <a:cubicBezTo>
                    <a:pt x="79" y="148"/>
                    <a:pt x="74" y="150"/>
                    <a:pt x="75" y="160"/>
                  </a:cubicBezTo>
                  <a:cubicBezTo>
                    <a:pt x="76" y="170"/>
                    <a:pt x="86" y="164"/>
                    <a:pt x="86" y="164"/>
                  </a:cubicBezTo>
                  <a:cubicBezTo>
                    <a:pt x="98" y="154"/>
                    <a:pt x="98" y="154"/>
                    <a:pt x="98" y="154"/>
                  </a:cubicBezTo>
                  <a:cubicBezTo>
                    <a:pt x="107" y="157"/>
                    <a:pt x="107" y="157"/>
                    <a:pt x="107" y="157"/>
                  </a:cubicBezTo>
                  <a:cubicBezTo>
                    <a:pt x="107" y="157"/>
                    <a:pt x="112" y="161"/>
                    <a:pt x="122" y="156"/>
                  </a:cubicBezTo>
                  <a:cubicBezTo>
                    <a:pt x="132" y="151"/>
                    <a:pt x="156" y="145"/>
                    <a:pt x="156" y="145"/>
                  </a:cubicBezTo>
                  <a:cubicBezTo>
                    <a:pt x="145" y="163"/>
                    <a:pt x="145" y="163"/>
                    <a:pt x="145" y="163"/>
                  </a:cubicBezTo>
                  <a:cubicBezTo>
                    <a:pt x="157" y="168"/>
                    <a:pt x="157" y="168"/>
                    <a:pt x="157" y="168"/>
                  </a:cubicBezTo>
                  <a:cubicBezTo>
                    <a:pt x="172" y="160"/>
                    <a:pt x="172" y="160"/>
                    <a:pt x="172" y="160"/>
                  </a:cubicBezTo>
                  <a:cubicBezTo>
                    <a:pt x="174" y="166"/>
                    <a:pt x="186" y="174"/>
                    <a:pt x="183" y="174"/>
                  </a:cubicBezTo>
                  <a:cubicBezTo>
                    <a:pt x="180" y="174"/>
                    <a:pt x="166" y="183"/>
                    <a:pt x="166" y="183"/>
                  </a:cubicBezTo>
                  <a:cubicBezTo>
                    <a:pt x="155" y="185"/>
                    <a:pt x="155" y="185"/>
                    <a:pt x="155" y="185"/>
                  </a:cubicBezTo>
                  <a:cubicBezTo>
                    <a:pt x="145" y="173"/>
                    <a:pt x="145" y="173"/>
                    <a:pt x="145" y="173"/>
                  </a:cubicBezTo>
                  <a:cubicBezTo>
                    <a:pt x="137" y="178"/>
                    <a:pt x="137" y="178"/>
                    <a:pt x="137" y="178"/>
                  </a:cubicBezTo>
                  <a:cubicBezTo>
                    <a:pt x="122" y="172"/>
                    <a:pt x="122" y="172"/>
                    <a:pt x="122" y="172"/>
                  </a:cubicBezTo>
                  <a:cubicBezTo>
                    <a:pt x="109" y="181"/>
                    <a:pt x="109" y="181"/>
                    <a:pt x="109" y="181"/>
                  </a:cubicBezTo>
                  <a:cubicBezTo>
                    <a:pt x="120" y="189"/>
                    <a:pt x="120" y="189"/>
                    <a:pt x="120" y="189"/>
                  </a:cubicBezTo>
                  <a:cubicBezTo>
                    <a:pt x="120" y="189"/>
                    <a:pt x="124" y="208"/>
                    <a:pt x="125" y="211"/>
                  </a:cubicBezTo>
                  <a:cubicBezTo>
                    <a:pt x="126" y="214"/>
                    <a:pt x="130" y="192"/>
                    <a:pt x="141" y="191"/>
                  </a:cubicBezTo>
                  <a:cubicBezTo>
                    <a:pt x="152" y="190"/>
                    <a:pt x="135" y="190"/>
                    <a:pt x="164" y="204"/>
                  </a:cubicBezTo>
                  <a:cubicBezTo>
                    <a:pt x="193" y="218"/>
                    <a:pt x="171" y="237"/>
                    <a:pt x="171" y="237"/>
                  </a:cubicBezTo>
                  <a:cubicBezTo>
                    <a:pt x="144" y="227"/>
                    <a:pt x="79" y="254"/>
                    <a:pt x="79" y="254"/>
                  </a:cubicBezTo>
                  <a:cubicBezTo>
                    <a:pt x="139" y="267"/>
                    <a:pt x="141" y="276"/>
                    <a:pt x="153" y="293"/>
                  </a:cubicBezTo>
                  <a:cubicBezTo>
                    <a:pt x="165" y="310"/>
                    <a:pt x="156" y="329"/>
                    <a:pt x="156" y="329"/>
                  </a:cubicBezTo>
                  <a:cubicBezTo>
                    <a:pt x="197" y="333"/>
                    <a:pt x="197" y="333"/>
                    <a:pt x="197" y="333"/>
                  </a:cubicBezTo>
                  <a:cubicBezTo>
                    <a:pt x="197" y="333"/>
                    <a:pt x="207" y="310"/>
                    <a:pt x="214" y="310"/>
                  </a:cubicBezTo>
                  <a:cubicBezTo>
                    <a:pt x="221" y="310"/>
                    <a:pt x="231" y="316"/>
                    <a:pt x="235" y="316"/>
                  </a:cubicBezTo>
                  <a:cubicBezTo>
                    <a:pt x="239" y="316"/>
                    <a:pt x="249" y="301"/>
                    <a:pt x="249" y="301"/>
                  </a:cubicBezTo>
                  <a:cubicBezTo>
                    <a:pt x="268" y="334"/>
                    <a:pt x="268" y="334"/>
                    <a:pt x="268" y="334"/>
                  </a:cubicBezTo>
                  <a:cubicBezTo>
                    <a:pt x="294" y="333"/>
                    <a:pt x="294" y="333"/>
                    <a:pt x="294" y="333"/>
                  </a:cubicBezTo>
                  <a:cubicBezTo>
                    <a:pt x="296" y="338"/>
                    <a:pt x="335" y="344"/>
                    <a:pt x="335" y="344"/>
                  </a:cubicBezTo>
                  <a:cubicBezTo>
                    <a:pt x="335" y="344"/>
                    <a:pt x="355" y="365"/>
                    <a:pt x="358" y="365"/>
                  </a:cubicBezTo>
                  <a:cubicBezTo>
                    <a:pt x="361" y="365"/>
                    <a:pt x="384" y="364"/>
                    <a:pt x="384" y="364"/>
                  </a:cubicBezTo>
                  <a:cubicBezTo>
                    <a:pt x="414" y="401"/>
                    <a:pt x="414" y="401"/>
                    <a:pt x="414" y="401"/>
                  </a:cubicBezTo>
                  <a:cubicBezTo>
                    <a:pt x="410" y="421"/>
                    <a:pt x="410" y="421"/>
                    <a:pt x="410" y="421"/>
                  </a:cubicBezTo>
                  <a:cubicBezTo>
                    <a:pt x="414" y="432"/>
                    <a:pt x="414" y="432"/>
                    <a:pt x="414" y="432"/>
                  </a:cubicBezTo>
                  <a:cubicBezTo>
                    <a:pt x="414" y="432"/>
                    <a:pt x="426" y="438"/>
                    <a:pt x="422" y="432"/>
                  </a:cubicBezTo>
                  <a:cubicBezTo>
                    <a:pt x="418" y="426"/>
                    <a:pt x="421" y="398"/>
                    <a:pt x="421" y="398"/>
                  </a:cubicBezTo>
                  <a:cubicBezTo>
                    <a:pt x="425" y="403"/>
                    <a:pt x="425" y="403"/>
                    <a:pt x="425" y="403"/>
                  </a:cubicBezTo>
                  <a:cubicBezTo>
                    <a:pt x="442" y="399"/>
                    <a:pt x="442" y="399"/>
                    <a:pt x="442" y="399"/>
                  </a:cubicBezTo>
                  <a:cubicBezTo>
                    <a:pt x="452" y="403"/>
                    <a:pt x="452" y="403"/>
                    <a:pt x="452" y="403"/>
                  </a:cubicBezTo>
                  <a:cubicBezTo>
                    <a:pt x="460" y="391"/>
                    <a:pt x="460" y="391"/>
                    <a:pt x="460" y="391"/>
                  </a:cubicBezTo>
                  <a:cubicBezTo>
                    <a:pt x="466" y="399"/>
                    <a:pt x="466" y="399"/>
                    <a:pt x="466" y="399"/>
                  </a:cubicBezTo>
                  <a:cubicBezTo>
                    <a:pt x="481" y="388"/>
                    <a:pt x="481" y="388"/>
                    <a:pt x="481" y="388"/>
                  </a:cubicBezTo>
                  <a:cubicBezTo>
                    <a:pt x="481" y="388"/>
                    <a:pt x="518" y="389"/>
                    <a:pt x="522" y="390"/>
                  </a:cubicBezTo>
                  <a:cubicBezTo>
                    <a:pt x="517" y="392"/>
                    <a:pt x="502" y="416"/>
                    <a:pt x="502" y="416"/>
                  </a:cubicBezTo>
                  <a:cubicBezTo>
                    <a:pt x="502" y="416"/>
                    <a:pt x="503" y="411"/>
                    <a:pt x="495" y="411"/>
                  </a:cubicBezTo>
                  <a:cubicBezTo>
                    <a:pt x="487" y="411"/>
                    <a:pt x="462" y="407"/>
                    <a:pt x="462" y="407"/>
                  </a:cubicBezTo>
                  <a:cubicBezTo>
                    <a:pt x="487" y="429"/>
                    <a:pt x="487" y="429"/>
                    <a:pt x="487" y="429"/>
                  </a:cubicBezTo>
                  <a:cubicBezTo>
                    <a:pt x="505" y="422"/>
                    <a:pt x="505" y="422"/>
                    <a:pt x="505" y="422"/>
                  </a:cubicBezTo>
                  <a:cubicBezTo>
                    <a:pt x="513" y="428"/>
                    <a:pt x="513" y="428"/>
                    <a:pt x="513" y="428"/>
                  </a:cubicBezTo>
                  <a:cubicBezTo>
                    <a:pt x="517" y="419"/>
                    <a:pt x="517" y="419"/>
                    <a:pt x="517" y="419"/>
                  </a:cubicBezTo>
                  <a:cubicBezTo>
                    <a:pt x="538" y="427"/>
                    <a:pt x="538" y="427"/>
                    <a:pt x="538" y="427"/>
                  </a:cubicBezTo>
                  <a:cubicBezTo>
                    <a:pt x="538" y="427"/>
                    <a:pt x="548" y="420"/>
                    <a:pt x="555" y="424"/>
                  </a:cubicBezTo>
                  <a:cubicBezTo>
                    <a:pt x="562" y="428"/>
                    <a:pt x="557" y="444"/>
                    <a:pt x="557" y="444"/>
                  </a:cubicBezTo>
                  <a:cubicBezTo>
                    <a:pt x="563" y="444"/>
                    <a:pt x="563" y="444"/>
                    <a:pt x="563" y="444"/>
                  </a:cubicBezTo>
                  <a:cubicBezTo>
                    <a:pt x="566" y="454"/>
                    <a:pt x="566" y="454"/>
                    <a:pt x="566" y="454"/>
                  </a:cubicBezTo>
                  <a:cubicBezTo>
                    <a:pt x="555" y="452"/>
                    <a:pt x="555" y="452"/>
                    <a:pt x="555" y="452"/>
                  </a:cubicBezTo>
                  <a:cubicBezTo>
                    <a:pt x="545" y="463"/>
                    <a:pt x="545" y="463"/>
                    <a:pt x="545" y="463"/>
                  </a:cubicBezTo>
                  <a:cubicBezTo>
                    <a:pt x="554" y="487"/>
                    <a:pt x="554" y="487"/>
                    <a:pt x="554" y="487"/>
                  </a:cubicBezTo>
                  <a:cubicBezTo>
                    <a:pt x="567" y="476"/>
                    <a:pt x="567" y="476"/>
                    <a:pt x="567" y="476"/>
                  </a:cubicBezTo>
                  <a:cubicBezTo>
                    <a:pt x="575" y="481"/>
                    <a:pt x="575" y="481"/>
                    <a:pt x="575" y="481"/>
                  </a:cubicBezTo>
                  <a:cubicBezTo>
                    <a:pt x="595" y="481"/>
                    <a:pt x="595" y="481"/>
                    <a:pt x="595" y="481"/>
                  </a:cubicBezTo>
                  <a:cubicBezTo>
                    <a:pt x="596" y="469"/>
                    <a:pt x="596" y="469"/>
                    <a:pt x="596" y="469"/>
                  </a:cubicBezTo>
                  <a:cubicBezTo>
                    <a:pt x="596" y="469"/>
                    <a:pt x="635" y="496"/>
                    <a:pt x="642" y="436"/>
                  </a:cubicBezTo>
                  <a:cubicBezTo>
                    <a:pt x="666" y="409"/>
                    <a:pt x="666" y="409"/>
                    <a:pt x="666" y="409"/>
                  </a:cubicBezTo>
                  <a:cubicBezTo>
                    <a:pt x="674" y="418"/>
                    <a:pt x="674" y="418"/>
                    <a:pt x="674" y="418"/>
                  </a:cubicBezTo>
                  <a:cubicBezTo>
                    <a:pt x="674" y="418"/>
                    <a:pt x="706" y="416"/>
                    <a:pt x="734" y="410"/>
                  </a:cubicBezTo>
                  <a:cubicBezTo>
                    <a:pt x="752" y="389"/>
                    <a:pt x="752" y="389"/>
                    <a:pt x="752" y="389"/>
                  </a:cubicBezTo>
                  <a:cubicBezTo>
                    <a:pt x="778" y="385"/>
                    <a:pt x="778" y="385"/>
                    <a:pt x="778" y="385"/>
                  </a:cubicBezTo>
                  <a:cubicBezTo>
                    <a:pt x="780" y="370"/>
                    <a:pt x="780" y="370"/>
                    <a:pt x="780" y="370"/>
                  </a:cubicBezTo>
                  <a:cubicBezTo>
                    <a:pt x="796" y="377"/>
                    <a:pt x="796" y="377"/>
                    <a:pt x="796" y="377"/>
                  </a:cubicBezTo>
                  <a:cubicBezTo>
                    <a:pt x="799" y="386"/>
                    <a:pt x="799" y="386"/>
                    <a:pt x="799" y="386"/>
                  </a:cubicBezTo>
                  <a:cubicBezTo>
                    <a:pt x="830" y="392"/>
                    <a:pt x="830" y="392"/>
                    <a:pt x="830" y="392"/>
                  </a:cubicBezTo>
                  <a:cubicBezTo>
                    <a:pt x="830" y="392"/>
                    <a:pt x="832" y="378"/>
                    <a:pt x="838" y="366"/>
                  </a:cubicBezTo>
                  <a:cubicBezTo>
                    <a:pt x="843" y="354"/>
                    <a:pt x="848" y="328"/>
                    <a:pt x="870" y="328"/>
                  </a:cubicBezTo>
                  <a:cubicBezTo>
                    <a:pt x="884" y="316"/>
                    <a:pt x="875" y="334"/>
                    <a:pt x="867" y="242"/>
                  </a:cubicBezTo>
                  <a:cubicBezTo>
                    <a:pt x="875" y="214"/>
                    <a:pt x="879" y="220"/>
                    <a:pt x="879" y="220"/>
                  </a:cubicBezTo>
                  <a:lnTo>
                    <a:pt x="872" y="18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2" name="Pays-de-la-Loire" descr="© INSCALE GmbH, 05.05.2010&#10;http://www.presentationload.com/">
              <a:extLst>
                <a:ext uri="{FF2B5EF4-FFF2-40B4-BE49-F238E27FC236}">
                  <a16:creationId xmlns:a16="http://schemas.microsoft.com/office/drawing/2014/main" id="{85508898-E58C-4F8D-BC43-AB4DB22941C3}"/>
                </a:ext>
              </a:extLst>
            </p:cNvPr>
            <p:cNvSpPr>
              <a:spLocks noEditPoints="1"/>
            </p:cNvSpPr>
            <p:nvPr/>
          </p:nvSpPr>
          <p:spPr bwMode="gray">
            <a:xfrm>
              <a:off x="644" y="1006"/>
              <a:ext cx="797" cy="790"/>
            </a:xfrm>
            <a:custGeom>
              <a:avLst/>
              <a:gdLst/>
              <a:ahLst/>
              <a:cxnLst>
                <a:cxn ang="0">
                  <a:pos x="16" y="534"/>
                </a:cxn>
                <a:cxn ang="0">
                  <a:pos x="51" y="448"/>
                </a:cxn>
                <a:cxn ang="0">
                  <a:pos x="219" y="694"/>
                </a:cxn>
                <a:cxn ang="0">
                  <a:pos x="191" y="687"/>
                </a:cxn>
                <a:cxn ang="0">
                  <a:pos x="211" y="706"/>
                </a:cxn>
                <a:cxn ang="0">
                  <a:pos x="222" y="703"/>
                </a:cxn>
                <a:cxn ang="0">
                  <a:pos x="707" y="141"/>
                </a:cxn>
                <a:cxn ang="0">
                  <a:pos x="651" y="103"/>
                </a:cxn>
                <a:cxn ang="0">
                  <a:pos x="541" y="75"/>
                </a:cxn>
                <a:cxn ang="0">
                  <a:pos x="521" y="24"/>
                </a:cxn>
                <a:cxn ang="0">
                  <a:pos x="482" y="25"/>
                </a:cxn>
                <a:cxn ang="0">
                  <a:pos x="439" y="31"/>
                </a:cxn>
                <a:cxn ang="0">
                  <a:pos x="391" y="47"/>
                </a:cxn>
                <a:cxn ang="0">
                  <a:pos x="321" y="28"/>
                </a:cxn>
                <a:cxn ang="0">
                  <a:pos x="314" y="105"/>
                </a:cxn>
                <a:cxn ang="0">
                  <a:pos x="277" y="255"/>
                </a:cxn>
                <a:cxn ang="0">
                  <a:pos x="227" y="233"/>
                </a:cxn>
                <a:cxn ang="0">
                  <a:pos x="181" y="273"/>
                </a:cxn>
                <a:cxn ang="0">
                  <a:pos x="89" y="299"/>
                </a:cxn>
                <a:cxn ang="0">
                  <a:pos x="22" y="344"/>
                </a:cxn>
                <a:cxn ang="0">
                  <a:pos x="3" y="354"/>
                </a:cxn>
                <a:cxn ang="0">
                  <a:pos x="24" y="359"/>
                </a:cxn>
                <a:cxn ang="0">
                  <a:pos x="105" y="349"/>
                </a:cxn>
                <a:cxn ang="0">
                  <a:pos x="67" y="376"/>
                </a:cxn>
                <a:cxn ang="0">
                  <a:pos x="52" y="399"/>
                </a:cxn>
                <a:cxn ang="0">
                  <a:pos x="104" y="444"/>
                </a:cxn>
                <a:cxn ang="0">
                  <a:pos x="72" y="483"/>
                </a:cxn>
                <a:cxn ang="0">
                  <a:pos x="55" y="465"/>
                </a:cxn>
                <a:cxn ang="0">
                  <a:pos x="72" y="511"/>
                </a:cxn>
                <a:cxn ang="0">
                  <a:pos x="135" y="611"/>
                </a:cxn>
                <a:cxn ang="0">
                  <a:pos x="210" y="658"/>
                </a:cxn>
                <a:cxn ang="0">
                  <a:pos x="251" y="669"/>
                </a:cxn>
                <a:cxn ang="0">
                  <a:pos x="287" y="680"/>
                </a:cxn>
                <a:cxn ang="0">
                  <a:pos x="289" y="723"/>
                </a:cxn>
                <a:cxn ang="0">
                  <a:pos x="337" y="729"/>
                </a:cxn>
                <a:cxn ang="0">
                  <a:pos x="385" y="728"/>
                </a:cxn>
                <a:cxn ang="0">
                  <a:pos x="389" y="707"/>
                </a:cxn>
                <a:cxn ang="0">
                  <a:pos x="394" y="664"/>
                </a:cxn>
                <a:cxn ang="0">
                  <a:pos x="386" y="605"/>
                </a:cxn>
                <a:cxn ang="0">
                  <a:pos x="353" y="548"/>
                </a:cxn>
                <a:cxn ang="0">
                  <a:pos x="378" y="511"/>
                </a:cxn>
                <a:cxn ang="0">
                  <a:pos x="434" y="488"/>
                </a:cxn>
                <a:cxn ang="0">
                  <a:pos x="502" y="480"/>
                </a:cxn>
                <a:cxn ang="0">
                  <a:pos x="514" y="483"/>
                </a:cxn>
                <a:cxn ang="0">
                  <a:pos x="549" y="461"/>
                </a:cxn>
                <a:cxn ang="0">
                  <a:pos x="585" y="359"/>
                </a:cxn>
                <a:cxn ang="0">
                  <a:pos x="615" y="320"/>
                </a:cxn>
                <a:cxn ang="0">
                  <a:pos x="674" y="299"/>
                </a:cxn>
                <a:cxn ang="0">
                  <a:pos x="717" y="229"/>
                </a:cxn>
                <a:cxn ang="0">
                  <a:pos x="722" y="192"/>
                </a:cxn>
                <a:cxn ang="0">
                  <a:pos x="725" y="157"/>
                </a:cxn>
                <a:cxn ang="0">
                  <a:pos x="719" y="140"/>
                </a:cxn>
              </a:cxnLst>
              <a:rect l="0" t="0" r="r" b="b"/>
              <a:pathLst>
                <a:path w="739" h="732">
                  <a:moveTo>
                    <a:pt x="16" y="534"/>
                  </a:moveTo>
                  <a:cubicBezTo>
                    <a:pt x="10" y="548"/>
                    <a:pt x="22" y="548"/>
                    <a:pt x="37" y="548"/>
                  </a:cubicBezTo>
                  <a:cubicBezTo>
                    <a:pt x="32" y="535"/>
                    <a:pt x="16" y="534"/>
                    <a:pt x="16" y="534"/>
                  </a:cubicBezTo>
                  <a:close/>
                  <a:moveTo>
                    <a:pt x="38" y="440"/>
                  </a:moveTo>
                  <a:cubicBezTo>
                    <a:pt x="36" y="461"/>
                    <a:pt x="44" y="460"/>
                    <a:pt x="47" y="462"/>
                  </a:cubicBezTo>
                  <a:cubicBezTo>
                    <a:pt x="50" y="464"/>
                    <a:pt x="51" y="458"/>
                    <a:pt x="51" y="448"/>
                  </a:cubicBezTo>
                  <a:cubicBezTo>
                    <a:pt x="51" y="438"/>
                    <a:pt x="38" y="440"/>
                    <a:pt x="38" y="440"/>
                  </a:cubicBezTo>
                  <a:close/>
                  <a:moveTo>
                    <a:pt x="222" y="703"/>
                  </a:moveTo>
                  <a:cubicBezTo>
                    <a:pt x="219" y="694"/>
                    <a:pt x="219" y="694"/>
                    <a:pt x="219" y="694"/>
                  </a:cubicBezTo>
                  <a:cubicBezTo>
                    <a:pt x="201" y="701"/>
                    <a:pt x="201" y="701"/>
                    <a:pt x="201" y="701"/>
                  </a:cubicBezTo>
                  <a:cubicBezTo>
                    <a:pt x="203" y="686"/>
                    <a:pt x="203" y="686"/>
                    <a:pt x="203" y="686"/>
                  </a:cubicBezTo>
                  <a:cubicBezTo>
                    <a:pt x="191" y="687"/>
                    <a:pt x="191" y="687"/>
                    <a:pt x="191" y="687"/>
                  </a:cubicBezTo>
                  <a:cubicBezTo>
                    <a:pt x="190" y="693"/>
                    <a:pt x="190" y="693"/>
                    <a:pt x="190" y="693"/>
                  </a:cubicBezTo>
                  <a:cubicBezTo>
                    <a:pt x="200" y="708"/>
                    <a:pt x="200" y="708"/>
                    <a:pt x="200" y="708"/>
                  </a:cubicBezTo>
                  <a:cubicBezTo>
                    <a:pt x="211" y="706"/>
                    <a:pt x="211" y="706"/>
                    <a:pt x="211" y="706"/>
                  </a:cubicBezTo>
                  <a:cubicBezTo>
                    <a:pt x="230" y="714"/>
                    <a:pt x="230" y="714"/>
                    <a:pt x="230" y="714"/>
                  </a:cubicBezTo>
                  <a:cubicBezTo>
                    <a:pt x="238" y="725"/>
                    <a:pt x="246" y="718"/>
                    <a:pt x="250" y="719"/>
                  </a:cubicBezTo>
                  <a:cubicBezTo>
                    <a:pt x="241" y="705"/>
                    <a:pt x="222" y="703"/>
                    <a:pt x="222" y="703"/>
                  </a:cubicBezTo>
                  <a:close/>
                  <a:moveTo>
                    <a:pt x="719" y="140"/>
                  </a:moveTo>
                  <a:cubicBezTo>
                    <a:pt x="719" y="139"/>
                    <a:pt x="719" y="139"/>
                    <a:pt x="719" y="139"/>
                  </a:cubicBezTo>
                  <a:cubicBezTo>
                    <a:pt x="707" y="141"/>
                    <a:pt x="707" y="141"/>
                    <a:pt x="707" y="141"/>
                  </a:cubicBezTo>
                  <a:cubicBezTo>
                    <a:pt x="683" y="117"/>
                    <a:pt x="683" y="117"/>
                    <a:pt x="683" y="117"/>
                  </a:cubicBezTo>
                  <a:cubicBezTo>
                    <a:pt x="658" y="123"/>
                    <a:pt x="658" y="123"/>
                    <a:pt x="658" y="123"/>
                  </a:cubicBezTo>
                  <a:cubicBezTo>
                    <a:pt x="651" y="103"/>
                    <a:pt x="651" y="103"/>
                    <a:pt x="651" y="103"/>
                  </a:cubicBezTo>
                  <a:cubicBezTo>
                    <a:pt x="651" y="103"/>
                    <a:pt x="638" y="96"/>
                    <a:pt x="631" y="91"/>
                  </a:cubicBezTo>
                  <a:cubicBezTo>
                    <a:pt x="623" y="0"/>
                    <a:pt x="561" y="75"/>
                    <a:pt x="561" y="75"/>
                  </a:cubicBezTo>
                  <a:cubicBezTo>
                    <a:pt x="541" y="75"/>
                    <a:pt x="541" y="75"/>
                    <a:pt x="541" y="75"/>
                  </a:cubicBezTo>
                  <a:cubicBezTo>
                    <a:pt x="537" y="48"/>
                    <a:pt x="537" y="48"/>
                    <a:pt x="537" y="48"/>
                  </a:cubicBezTo>
                  <a:cubicBezTo>
                    <a:pt x="537" y="48"/>
                    <a:pt x="531" y="49"/>
                    <a:pt x="519" y="49"/>
                  </a:cubicBezTo>
                  <a:cubicBezTo>
                    <a:pt x="507" y="49"/>
                    <a:pt x="521" y="24"/>
                    <a:pt x="521" y="24"/>
                  </a:cubicBezTo>
                  <a:cubicBezTo>
                    <a:pt x="521" y="24"/>
                    <a:pt x="498" y="15"/>
                    <a:pt x="494" y="15"/>
                  </a:cubicBezTo>
                  <a:cubicBezTo>
                    <a:pt x="490" y="15"/>
                    <a:pt x="498" y="20"/>
                    <a:pt x="494" y="28"/>
                  </a:cubicBezTo>
                  <a:cubicBezTo>
                    <a:pt x="490" y="36"/>
                    <a:pt x="482" y="25"/>
                    <a:pt x="482" y="25"/>
                  </a:cubicBezTo>
                  <a:cubicBezTo>
                    <a:pt x="467" y="37"/>
                    <a:pt x="467" y="37"/>
                    <a:pt x="467" y="37"/>
                  </a:cubicBezTo>
                  <a:cubicBezTo>
                    <a:pt x="461" y="32"/>
                    <a:pt x="461" y="32"/>
                    <a:pt x="461" y="32"/>
                  </a:cubicBezTo>
                  <a:cubicBezTo>
                    <a:pt x="461" y="32"/>
                    <a:pt x="446" y="31"/>
                    <a:pt x="439" y="31"/>
                  </a:cubicBezTo>
                  <a:cubicBezTo>
                    <a:pt x="434" y="45"/>
                    <a:pt x="411" y="45"/>
                    <a:pt x="411" y="45"/>
                  </a:cubicBezTo>
                  <a:cubicBezTo>
                    <a:pt x="407" y="36"/>
                    <a:pt x="407" y="36"/>
                    <a:pt x="407" y="36"/>
                  </a:cubicBezTo>
                  <a:cubicBezTo>
                    <a:pt x="407" y="36"/>
                    <a:pt x="391" y="37"/>
                    <a:pt x="391" y="47"/>
                  </a:cubicBezTo>
                  <a:cubicBezTo>
                    <a:pt x="391" y="56"/>
                    <a:pt x="366" y="32"/>
                    <a:pt x="366" y="32"/>
                  </a:cubicBezTo>
                  <a:cubicBezTo>
                    <a:pt x="366" y="32"/>
                    <a:pt x="353" y="28"/>
                    <a:pt x="343" y="23"/>
                  </a:cubicBezTo>
                  <a:cubicBezTo>
                    <a:pt x="338" y="30"/>
                    <a:pt x="331" y="31"/>
                    <a:pt x="321" y="28"/>
                  </a:cubicBezTo>
                  <a:cubicBezTo>
                    <a:pt x="319" y="51"/>
                    <a:pt x="319" y="51"/>
                    <a:pt x="319" y="51"/>
                  </a:cubicBezTo>
                  <a:cubicBezTo>
                    <a:pt x="326" y="83"/>
                    <a:pt x="326" y="83"/>
                    <a:pt x="326" y="83"/>
                  </a:cubicBezTo>
                  <a:cubicBezTo>
                    <a:pt x="326" y="83"/>
                    <a:pt x="322" y="77"/>
                    <a:pt x="314" y="105"/>
                  </a:cubicBezTo>
                  <a:cubicBezTo>
                    <a:pt x="322" y="197"/>
                    <a:pt x="331" y="179"/>
                    <a:pt x="317" y="191"/>
                  </a:cubicBezTo>
                  <a:cubicBezTo>
                    <a:pt x="295" y="191"/>
                    <a:pt x="290" y="217"/>
                    <a:pt x="285" y="229"/>
                  </a:cubicBezTo>
                  <a:cubicBezTo>
                    <a:pt x="279" y="241"/>
                    <a:pt x="277" y="255"/>
                    <a:pt x="277" y="255"/>
                  </a:cubicBezTo>
                  <a:cubicBezTo>
                    <a:pt x="246" y="249"/>
                    <a:pt x="246" y="249"/>
                    <a:pt x="246" y="249"/>
                  </a:cubicBezTo>
                  <a:cubicBezTo>
                    <a:pt x="243" y="240"/>
                    <a:pt x="243" y="240"/>
                    <a:pt x="243" y="240"/>
                  </a:cubicBezTo>
                  <a:cubicBezTo>
                    <a:pt x="227" y="233"/>
                    <a:pt x="227" y="233"/>
                    <a:pt x="227" y="233"/>
                  </a:cubicBezTo>
                  <a:cubicBezTo>
                    <a:pt x="225" y="248"/>
                    <a:pt x="225" y="248"/>
                    <a:pt x="225" y="248"/>
                  </a:cubicBezTo>
                  <a:cubicBezTo>
                    <a:pt x="199" y="252"/>
                    <a:pt x="199" y="252"/>
                    <a:pt x="199" y="252"/>
                  </a:cubicBezTo>
                  <a:cubicBezTo>
                    <a:pt x="199" y="252"/>
                    <a:pt x="199" y="252"/>
                    <a:pt x="181" y="273"/>
                  </a:cubicBezTo>
                  <a:cubicBezTo>
                    <a:pt x="153" y="279"/>
                    <a:pt x="121" y="281"/>
                    <a:pt x="121" y="281"/>
                  </a:cubicBezTo>
                  <a:cubicBezTo>
                    <a:pt x="113" y="272"/>
                    <a:pt x="113" y="272"/>
                    <a:pt x="113" y="272"/>
                  </a:cubicBezTo>
                  <a:cubicBezTo>
                    <a:pt x="113" y="272"/>
                    <a:pt x="113" y="272"/>
                    <a:pt x="89" y="299"/>
                  </a:cubicBezTo>
                  <a:cubicBezTo>
                    <a:pt x="82" y="359"/>
                    <a:pt x="43" y="332"/>
                    <a:pt x="43" y="332"/>
                  </a:cubicBezTo>
                  <a:cubicBezTo>
                    <a:pt x="42" y="344"/>
                    <a:pt x="42" y="344"/>
                    <a:pt x="42" y="344"/>
                  </a:cubicBezTo>
                  <a:cubicBezTo>
                    <a:pt x="22" y="344"/>
                    <a:pt x="22" y="344"/>
                    <a:pt x="22" y="344"/>
                  </a:cubicBezTo>
                  <a:cubicBezTo>
                    <a:pt x="14" y="339"/>
                    <a:pt x="14" y="339"/>
                    <a:pt x="14" y="339"/>
                  </a:cubicBezTo>
                  <a:cubicBezTo>
                    <a:pt x="1" y="350"/>
                    <a:pt x="1" y="350"/>
                    <a:pt x="1" y="350"/>
                  </a:cubicBezTo>
                  <a:cubicBezTo>
                    <a:pt x="3" y="354"/>
                    <a:pt x="3" y="354"/>
                    <a:pt x="3" y="354"/>
                  </a:cubicBezTo>
                  <a:cubicBezTo>
                    <a:pt x="0" y="355"/>
                    <a:pt x="0" y="355"/>
                    <a:pt x="0" y="355"/>
                  </a:cubicBezTo>
                  <a:cubicBezTo>
                    <a:pt x="2" y="357"/>
                    <a:pt x="4" y="360"/>
                    <a:pt x="7" y="364"/>
                  </a:cubicBezTo>
                  <a:cubicBezTo>
                    <a:pt x="14" y="363"/>
                    <a:pt x="24" y="359"/>
                    <a:pt x="24" y="359"/>
                  </a:cubicBezTo>
                  <a:cubicBezTo>
                    <a:pt x="24" y="359"/>
                    <a:pt x="39" y="374"/>
                    <a:pt x="45" y="374"/>
                  </a:cubicBezTo>
                  <a:cubicBezTo>
                    <a:pt x="51" y="374"/>
                    <a:pt x="70" y="351"/>
                    <a:pt x="70" y="351"/>
                  </a:cubicBezTo>
                  <a:cubicBezTo>
                    <a:pt x="70" y="351"/>
                    <a:pt x="103" y="344"/>
                    <a:pt x="105" y="349"/>
                  </a:cubicBezTo>
                  <a:cubicBezTo>
                    <a:pt x="107" y="354"/>
                    <a:pt x="96" y="361"/>
                    <a:pt x="96" y="361"/>
                  </a:cubicBezTo>
                  <a:cubicBezTo>
                    <a:pt x="72" y="363"/>
                    <a:pt x="72" y="363"/>
                    <a:pt x="72" y="363"/>
                  </a:cubicBezTo>
                  <a:cubicBezTo>
                    <a:pt x="67" y="376"/>
                    <a:pt x="67" y="376"/>
                    <a:pt x="67" y="376"/>
                  </a:cubicBezTo>
                  <a:cubicBezTo>
                    <a:pt x="71" y="385"/>
                    <a:pt x="71" y="385"/>
                    <a:pt x="71" y="385"/>
                  </a:cubicBezTo>
                  <a:cubicBezTo>
                    <a:pt x="65" y="399"/>
                    <a:pt x="65" y="399"/>
                    <a:pt x="65" y="399"/>
                  </a:cubicBezTo>
                  <a:cubicBezTo>
                    <a:pt x="52" y="399"/>
                    <a:pt x="52" y="399"/>
                    <a:pt x="52" y="399"/>
                  </a:cubicBezTo>
                  <a:cubicBezTo>
                    <a:pt x="52" y="408"/>
                    <a:pt x="52" y="408"/>
                    <a:pt x="52" y="408"/>
                  </a:cubicBezTo>
                  <a:cubicBezTo>
                    <a:pt x="91" y="415"/>
                    <a:pt x="91" y="415"/>
                    <a:pt x="91" y="415"/>
                  </a:cubicBezTo>
                  <a:cubicBezTo>
                    <a:pt x="104" y="444"/>
                    <a:pt x="104" y="444"/>
                    <a:pt x="104" y="444"/>
                  </a:cubicBezTo>
                  <a:cubicBezTo>
                    <a:pt x="95" y="445"/>
                    <a:pt x="95" y="445"/>
                    <a:pt x="95" y="445"/>
                  </a:cubicBezTo>
                  <a:cubicBezTo>
                    <a:pt x="92" y="462"/>
                    <a:pt x="92" y="462"/>
                    <a:pt x="92" y="462"/>
                  </a:cubicBezTo>
                  <a:cubicBezTo>
                    <a:pt x="72" y="483"/>
                    <a:pt x="72" y="483"/>
                    <a:pt x="72" y="483"/>
                  </a:cubicBezTo>
                  <a:cubicBezTo>
                    <a:pt x="69" y="468"/>
                    <a:pt x="69" y="468"/>
                    <a:pt x="69" y="468"/>
                  </a:cubicBezTo>
                  <a:cubicBezTo>
                    <a:pt x="55" y="458"/>
                    <a:pt x="55" y="458"/>
                    <a:pt x="55" y="458"/>
                  </a:cubicBezTo>
                  <a:cubicBezTo>
                    <a:pt x="55" y="465"/>
                    <a:pt x="55" y="465"/>
                    <a:pt x="55" y="465"/>
                  </a:cubicBezTo>
                  <a:cubicBezTo>
                    <a:pt x="55" y="465"/>
                    <a:pt x="62" y="463"/>
                    <a:pt x="63" y="469"/>
                  </a:cubicBezTo>
                  <a:cubicBezTo>
                    <a:pt x="64" y="475"/>
                    <a:pt x="68" y="489"/>
                    <a:pt x="68" y="489"/>
                  </a:cubicBezTo>
                  <a:cubicBezTo>
                    <a:pt x="68" y="489"/>
                    <a:pt x="73" y="508"/>
                    <a:pt x="72" y="511"/>
                  </a:cubicBezTo>
                  <a:cubicBezTo>
                    <a:pt x="91" y="521"/>
                    <a:pt x="103" y="549"/>
                    <a:pt x="103" y="549"/>
                  </a:cubicBezTo>
                  <a:cubicBezTo>
                    <a:pt x="111" y="549"/>
                    <a:pt x="111" y="549"/>
                    <a:pt x="111" y="549"/>
                  </a:cubicBezTo>
                  <a:cubicBezTo>
                    <a:pt x="126" y="569"/>
                    <a:pt x="135" y="611"/>
                    <a:pt x="135" y="611"/>
                  </a:cubicBezTo>
                  <a:cubicBezTo>
                    <a:pt x="135" y="611"/>
                    <a:pt x="135" y="603"/>
                    <a:pt x="149" y="617"/>
                  </a:cubicBezTo>
                  <a:cubicBezTo>
                    <a:pt x="163" y="631"/>
                    <a:pt x="200" y="642"/>
                    <a:pt x="200" y="642"/>
                  </a:cubicBezTo>
                  <a:cubicBezTo>
                    <a:pt x="210" y="658"/>
                    <a:pt x="210" y="658"/>
                    <a:pt x="210" y="658"/>
                  </a:cubicBezTo>
                  <a:cubicBezTo>
                    <a:pt x="210" y="658"/>
                    <a:pt x="229" y="658"/>
                    <a:pt x="235" y="660"/>
                  </a:cubicBezTo>
                  <a:cubicBezTo>
                    <a:pt x="241" y="662"/>
                    <a:pt x="248" y="678"/>
                    <a:pt x="248" y="678"/>
                  </a:cubicBezTo>
                  <a:cubicBezTo>
                    <a:pt x="251" y="669"/>
                    <a:pt x="251" y="669"/>
                    <a:pt x="251" y="669"/>
                  </a:cubicBezTo>
                  <a:cubicBezTo>
                    <a:pt x="265" y="682"/>
                    <a:pt x="265" y="682"/>
                    <a:pt x="265" y="682"/>
                  </a:cubicBezTo>
                  <a:cubicBezTo>
                    <a:pt x="274" y="666"/>
                    <a:pt x="274" y="666"/>
                    <a:pt x="274" y="666"/>
                  </a:cubicBezTo>
                  <a:cubicBezTo>
                    <a:pt x="274" y="666"/>
                    <a:pt x="284" y="675"/>
                    <a:pt x="287" y="680"/>
                  </a:cubicBezTo>
                  <a:cubicBezTo>
                    <a:pt x="290" y="685"/>
                    <a:pt x="262" y="717"/>
                    <a:pt x="262" y="717"/>
                  </a:cubicBezTo>
                  <a:cubicBezTo>
                    <a:pt x="267" y="720"/>
                    <a:pt x="271" y="724"/>
                    <a:pt x="275" y="728"/>
                  </a:cubicBezTo>
                  <a:cubicBezTo>
                    <a:pt x="289" y="723"/>
                    <a:pt x="289" y="723"/>
                    <a:pt x="289" y="723"/>
                  </a:cubicBezTo>
                  <a:cubicBezTo>
                    <a:pt x="322" y="712"/>
                    <a:pt x="322" y="712"/>
                    <a:pt x="322" y="712"/>
                  </a:cubicBezTo>
                  <a:cubicBezTo>
                    <a:pt x="322" y="728"/>
                    <a:pt x="322" y="728"/>
                    <a:pt x="322" y="728"/>
                  </a:cubicBezTo>
                  <a:cubicBezTo>
                    <a:pt x="337" y="729"/>
                    <a:pt x="337" y="729"/>
                    <a:pt x="337" y="729"/>
                  </a:cubicBezTo>
                  <a:cubicBezTo>
                    <a:pt x="346" y="723"/>
                    <a:pt x="346" y="723"/>
                    <a:pt x="346" y="723"/>
                  </a:cubicBezTo>
                  <a:cubicBezTo>
                    <a:pt x="361" y="732"/>
                    <a:pt x="361" y="732"/>
                    <a:pt x="361" y="732"/>
                  </a:cubicBezTo>
                  <a:cubicBezTo>
                    <a:pt x="361" y="732"/>
                    <a:pt x="378" y="728"/>
                    <a:pt x="385" y="728"/>
                  </a:cubicBezTo>
                  <a:cubicBezTo>
                    <a:pt x="391" y="728"/>
                    <a:pt x="391" y="717"/>
                    <a:pt x="391" y="717"/>
                  </a:cubicBezTo>
                  <a:cubicBezTo>
                    <a:pt x="391" y="717"/>
                    <a:pt x="421" y="719"/>
                    <a:pt x="398" y="699"/>
                  </a:cubicBezTo>
                  <a:cubicBezTo>
                    <a:pt x="389" y="707"/>
                    <a:pt x="389" y="707"/>
                    <a:pt x="389" y="707"/>
                  </a:cubicBezTo>
                  <a:cubicBezTo>
                    <a:pt x="393" y="684"/>
                    <a:pt x="393" y="684"/>
                    <a:pt x="393" y="684"/>
                  </a:cubicBezTo>
                  <a:cubicBezTo>
                    <a:pt x="383" y="664"/>
                    <a:pt x="383" y="664"/>
                    <a:pt x="383" y="664"/>
                  </a:cubicBezTo>
                  <a:cubicBezTo>
                    <a:pt x="394" y="664"/>
                    <a:pt x="394" y="664"/>
                    <a:pt x="394" y="664"/>
                  </a:cubicBezTo>
                  <a:cubicBezTo>
                    <a:pt x="394" y="627"/>
                    <a:pt x="394" y="627"/>
                    <a:pt x="394" y="627"/>
                  </a:cubicBezTo>
                  <a:cubicBezTo>
                    <a:pt x="383" y="627"/>
                    <a:pt x="383" y="627"/>
                    <a:pt x="383" y="627"/>
                  </a:cubicBezTo>
                  <a:cubicBezTo>
                    <a:pt x="386" y="605"/>
                    <a:pt x="386" y="605"/>
                    <a:pt x="386" y="605"/>
                  </a:cubicBezTo>
                  <a:cubicBezTo>
                    <a:pt x="371" y="585"/>
                    <a:pt x="371" y="585"/>
                    <a:pt x="371" y="585"/>
                  </a:cubicBezTo>
                  <a:cubicBezTo>
                    <a:pt x="378" y="573"/>
                    <a:pt x="378" y="573"/>
                    <a:pt x="378" y="573"/>
                  </a:cubicBezTo>
                  <a:cubicBezTo>
                    <a:pt x="353" y="548"/>
                    <a:pt x="353" y="548"/>
                    <a:pt x="353" y="548"/>
                  </a:cubicBezTo>
                  <a:cubicBezTo>
                    <a:pt x="357" y="537"/>
                    <a:pt x="357" y="537"/>
                    <a:pt x="357" y="537"/>
                  </a:cubicBezTo>
                  <a:cubicBezTo>
                    <a:pt x="357" y="537"/>
                    <a:pt x="337" y="532"/>
                    <a:pt x="339" y="523"/>
                  </a:cubicBezTo>
                  <a:cubicBezTo>
                    <a:pt x="342" y="513"/>
                    <a:pt x="371" y="503"/>
                    <a:pt x="378" y="511"/>
                  </a:cubicBezTo>
                  <a:cubicBezTo>
                    <a:pt x="385" y="519"/>
                    <a:pt x="413" y="501"/>
                    <a:pt x="413" y="501"/>
                  </a:cubicBezTo>
                  <a:cubicBezTo>
                    <a:pt x="415" y="485"/>
                    <a:pt x="415" y="485"/>
                    <a:pt x="415" y="485"/>
                  </a:cubicBezTo>
                  <a:cubicBezTo>
                    <a:pt x="434" y="488"/>
                    <a:pt x="434" y="488"/>
                    <a:pt x="434" y="488"/>
                  </a:cubicBezTo>
                  <a:cubicBezTo>
                    <a:pt x="433" y="496"/>
                    <a:pt x="433" y="496"/>
                    <a:pt x="433" y="496"/>
                  </a:cubicBezTo>
                  <a:cubicBezTo>
                    <a:pt x="459" y="481"/>
                    <a:pt x="459" y="481"/>
                    <a:pt x="459" y="481"/>
                  </a:cubicBezTo>
                  <a:cubicBezTo>
                    <a:pt x="502" y="480"/>
                    <a:pt x="502" y="480"/>
                    <a:pt x="502" y="480"/>
                  </a:cubicBezTo>
                  <a:cubicBezTo>
                    <a:pt x="499" y="492"/>
                    <a:pt x="499" y="492"/>
                    <a:pt x="499" y="492"/>
                  </a:cubicBezTo>
                  <a:cubicBezTo>
                    <a:pt x="509" y="492"/>
                    <a:pt x="509" y="492"/>
                    <a:pt x="509" y="492"/>
                  </a:cubicBezTo>
                  <a:cubicBezTo>
                    <a:pt x="514" y="483"/>
                    <a:pt x="514" y="483"/>
                    <a:pt x="514" y="483"/>
                  </a:cubicBezTo>
                  <a:cubicBezTo>
                    <a:pt x="519" y="484"/>
                    <a:pt x="519" y="484"/>
                    <a:pt x="519" y="484"/>
                  </a:cubicBezTo>
                  <a:cubicBezTo>
                    <a:pt x="519" y="484"/>
                    <a:pt x="518" y="464"/>
                    <a:pt x="549" y="464"/>
                  </a:cubicBezTo>
                  <a:cubicBezTo>
                    <a:pt x="549" y="463"/>
                    <a:pt x="549" y="462"/>
                    <a:pt x="549" y="461"/>
                  </a:cubicBezTo>
                  <a:cubicBezTo>
                    <a:pt x="546" y="433"/>
                    <a:pt x="575" y="399"/>
                    <a:pt x="575" y="399"/>
                  </a:cubicBezTo>
                  <a:cubicBezTo>
                    <a:pt x="569" y="387"/>
                    <a:pt x="569" y="387"/>
                    <a:pt x="569" y="387"/>
                  </a:cubicBezTo>
                  <a:cubicBezTo>
                    <a:pt x="569" y="387"/>
                    <a:pt x="581" y="369"/>
                    <a:pt x="585" y="359"/>
                  </a:cubicBezTo>
                  <a:cubicBezTo>
                    <a:pt x="578" y="351"/>
                    <a:pt x="589" y="323"/>
                    <a:pt x="589" y="323"/>
                  </a:cubicBezTo>
                  <a:cubicBezTo>
                    <a:pt x="626" y="335"/>
                    <a:pt x="626" y="335"/>
                    <a:pt x="626" y="335"/>
                  </a:cubicBezTo>
                  <a:cubicBezTo>
                    <a:pt x="615" y="320"/>
                    <a:pt x="615" y="320"/>
                    <a:pt x="615" y="320"/>
                  </a:cubicBezTo>
                  <a:cubicBezTo>
                    <a:pt x="615" y="320"/>
                    <a:pt x="626" y="313"/>
                    <a:pt x="625" y="311"/>
                  </a:cubicBezTo>
                  <a:cubicBezTo>
                    <a:pt x="642" y="329"/>
                    <a:pt x="641" y="307"/>
                    <a:pt x="641" y="307"/>
                  </a:cubicBezTo>
                  <a:cubicBezTo>
                    <a:pt x="641" y="307"/>
                    <a:pt x="670" y="300"/>
                    <a:pt x="674" y="299"/>
                  </a:cubicBezTo>
                  <a:cubicBezTo>
                    <a:pt x="658" y="293"/>
                    <a:pt x="690" y="272"/>
                    <a:pt x="690" y="272"/>
                  </a:cubicBezTo>
                  <a:cubicBezTo>
                    <a:pt x="690" y="272"/>
                    <a:pt x="703" y="252"/>
                    <a:pt x="707" y="248"/>
                  </a:cubicBezTo>
                  <a:cubicBezTo>
                    <a:pt x="707" y="233"/>
                    <a:pt x="717" y="229"/>
                    <a:pt x="717" y="229"/>
                  </a:cubicBezTo>
                  <a:cubicBezTo>
                    <a:pt x="725" y="219"/>
                    <a:pt x="725" y="219"/>
                    <a:pt x="725" y="219"/>
                  </a:cubicBezTo>
                  <a:cubicBezTo>
                    <a:pt x="718" y="205"/>
                    <a:pt x="718" y="205"/>
                    <a:pt x="718" y="205"/>
                  </a:cubicBezTo>
                  <a:cubicBezTo>
                    <a:pt x="722" y="192"/>
                    <a:pt x="722" y="192"/>
                    <a:pt x="722" y="192"/>
                  </a:cubicBezTo>
                  <a:cubicBezTo>
                    <a:pt x="714" y="180"/>
                    <a:pt x="714" y="180"/>
                    <a:pt x="714" y="180"/>
                  </a:cubicBezTo>
                  <a:cubicBezTo>
                    <a:pt x="725" y="175"/>
                    <a:pt x="725" y="175"/>
                    <a:pt x="725" y="175"/>
                  </a:cubicBezTo>
                  <a:cubicBezTo>
                    <a:pt x="725" y="157"/>
                    <a:pt x="725" y="157"/>
                    <a:pt x="725" y="157"/>
                  </a:cubicBezTo>
                  <a:cubicBezTo>
                    <a:pt x="739" y="156"/>
                    <a:pt x="739" y="156"/>
                    <a:pt x="739" y="156"/>
                  </a:cubicBezTo>
                  <a:cubicBezTo>
                    <a:pt x="739" y="147"/>
                    <a:pt x="739" y="147"/>
                    <a:pt x="739" y="147"/>
                  </a:cubicBezTo>
                  <a:lnTo>
                    <a:pt x="719" y="14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3" name="POitou-Charentes" descr="© INSCALE GmbH, 05.05.2010&#10;http://www.presentationload.com/">
              <a:extLst>
                <a:ext uri="{FF2B5EF4-FFF2-40B4-BE49-F238E27FC236}">
                  <a16:creationId xmlns:a16="http://schemas.microsoft.com/office/drawing/2014/main" id="{3AE2A17A-E1A4-415C-BCBD-27B07359DE41}"/>
                </a:ext>
              </a:extLst>
            </p:cNvPr>
            <p:cNvSpPr>
              <a:spLocks noEditPoints="1"/>
            </p:cNvSpPr>
            <p:nvPr/>
          </p:nvSpPr>
          <p:spPr bwMode="gray">
            <a:xfrm>
              <a:off x="881" y="1507"/>
              <a:ext cx="619" cy="717"/>
            </a:xfrm>
            <a:custGeom>
              <a:avLst/>
              <a:gdLst/>
              <a:ahLst/>
              <a:cxnLst>
                <a:cxn ang="0">
                  <a:pos x="39" y="333"/>
                </a:cxn>
                <a:cxn ang="0">
                  <a:pos x="19" y="308"/>
                </a:cxn>
                <a:cxn ang="0">
                  <a:pos x="6" y="327"/>
                </a:cxn>
                <a:cxn ang="0">
                  <a:pos x="32" y="355"/>
                </a:cxn>
                <a:cxn ang="0">
                  <a:pos x="46" y="345"/>
                </a:cxn>
                <a:cxn ang="0">
                  <a:pos x="559" y="229"/>
                </a:cxn>
                <a:cxn ang="0">
                  <a:pos x="533" y="197"/>
                </a:cxn>
                <a:cxn ang="0">
                  <a:pos x="486" y="111"/>
                </a:cxn>
                <a:cxn ang="0">
                  <a:pos x="434" y="52"/>
                </a:cxn>
                <a:cxn ang="0">
                  <a:pos x="419" y="65"/>
                </a:cxn>
                <a:cxn ang="0">
                  <a:pos x="393" y="67"/>
                </a:cxn>
                <a:cxn ang="0">
                  <a:pos x="382" y="39"/>
                </a:cxn>
                <a:cxn ang="0">
                  <a:pos x="369" y="28"/>
                </a:cxn>
                <a:cxn ang="0">
                  <a:pos x="355" y="21"/>
                </a:cxn>
                <a:cxn ang="0">
                  <a:pos x="299" y="20"/>
                </a:cxn>
                <a:cxn ang="0">
                  <a:pos x="289" y="28"/>
                </a:cxn>
                <a:cxn ang="0">
                  <a:pos x="282" y="16"/>
                </a:cxn>
                <a:cxn ang="0">
                  <a:pos x="213" y="32"/>
                </a:cxn>
                <a:cxn ang="0">
                  <a:pos x="195" y="21"/>
                </a:cxn>
                <a:cxn ang="0">
                  <a:pos x="158" y="47"/>
                </a:cxn>
                <a:cxn ang="0">
                  <a:pos x="137" y="73"/>
                </a:cxn>
                <a:cxn ang="0">
                  <a:pos x="158" y="109"/>
                </a:cxn>
                <a:cxn ang="0">
                  <a:pos x="166" y="141"/>
                </a:cxn>
                <a:cxn ang="0">
                  <a:pos x="174" y="163"/>
                </a:cxn>
                <a:cxn ang="0">
                  <a:pos x="163" y="200"/>
                </a:cxn>
                <a:cxn ang="0">
                  <a:pos x="169" y="243"/>
                </a:cxn>
                <a:cxn ang="0">
                  <a:pos x="171" y="253"/>
                </a:cxn>
                <a:cxn ang="0">
                  <a:pos x="141" y="268"/>
                </a:cxn>
                <a:cxn ang="0">
                  <a:pos x="117" y="265"/>
                </a:cxn>
                <a:cxn ang="0">
                  <a:pos x="102" y="248"/>
                </a:cxn>
                <a:cxn ang="0">
                  <a:pos x="55" y="264"/>
                </a:cxn>
                <a:cxn ang="0">
                  <a:pos x="64" y="309"/>
                </a:cxn>
                <a:cxn ang="0">
                  <a:pos x="69" y="324"/>
                </a:cxn>
                <a:cxn ang="0">
                  <a:pos x="63" y="352"/>
                </a:cxn>
                <a:cxn ang="0">
                  <a:pos x="58" y="367"/>
                </a:cxn>
                <a:cxn ang="0">
                  <a:pos x="44" y="372"/>
                </a:cxn>
                <a:cxn ang="0">
                  <a:pos x="37" y="406"/>
                </a:cxn>
                <a:cxn ang="0">
                  <a:pos x="80" y="427"/>
                </a:cxn>
                <a:cxn ang="0">
                  <a:pos x="103" y="454"/>
                </a:cxn>
                <a:cxn ang="0">
                  <a:pos x="147" y="539"/>
                </a:cxn>
                <a:cxn ang="0">
                  <a:pos x="152" y="564"/>
                </a:cxn>
                <a:cxn ang="0">
                  <a:pos x="151" y="581"/>
                </a:cxn>
                <a:cxn ang="0">
                  <a:pos x="171" y="593"/>
                </a:cxn>
                <a:cxn ang="0">
                  <a:pos x="210" y="643"/>
                </a:cxn>
                <a:cxn ang="0">
                  <a:pos x="293" y="652"/>
                </a:cxn>
                <a:cxn ang="0">
                  <a:pos x="327" y="625"/>
                </a:cxn>
                <a:cxn ang="0">
                  <a:pos x="357" y="597"/>
                </a:cxn>
                <a:cxn ang="0">
                  <a:pos x="405" y="524"/>
                </a:cxn>
                <a:cxn ang="0">
                  <a:pos x="411" y="495"/>
                </a:cxn>
                <a:cxn ang="0">
                  <a:pos x="461" y="451"/>
                </a:cxn>
                <a:cxn ang="0">
                  <a:pos x="481" y="439"/>
                </a:cxn>
                <a:cxn ang="0">
                  <a:pos x="487" y="395"/>
                </a:cxn>
                <a:cxn ang="0">
                  <a:pos x="513" y="391"/>
                </a:cxn>
                <a:cxn ang="0">
                  <a:pos x="490" y="332"/>
                </a:cxn>
                <a:cxn ang="0">
                  <a:pos x="494" y="301"/>
                </a:cxn>
                <a:cxn ang="0">
                  <a:pos x="529" y="287"/>
                </a:cxn>
                <a:cxn ang="0">
                  <a:pos x="555" y="263"/>
                </a:cxn>
                <a:cxn ang="0">
                  <a:pos x="570" y="252"/>
                </a:cxn>
              </a:cxnLst>
              <a:rect l="0" t="0" r="r" b="b"/>
              <a:pathLst>
                <a:path w="574" h="665">
                  <a:moveTo>
                    <a:pt x="46" y="345"/>
                  </a:moveTo>
                  <a:cubicBezTo>
                    <a:pt x="39" y="333"/>
                    <a:pt x="39" y="333"/>
                    <a:pt x="39" y="333"/>
                  </a:cubicBezTo>
                  <a:cubicBezTo>
                    <a:pt x="38" y="311"/>
                    <a:pt x="38" y="311"/>
                    <a:pt x="38" y="311"/>
                  </a:cubicBezTo>
                  <a:cubicBezTo>
                    <a:pt x="19" y="308"/>
                    <a:pt x="19" y="308"/>
                    <a:pt x="19" y="308"/>
                  </a:cubicBezTo>
                  <a:cubicBezTo>
                    <a:pt x="4" y="289"/>
                    <a:pt x="4" y="289"/>
                    <a:pt x="4" y="289"/>
                  </a:cubicBezTo>
                  <a:cubicBezTo>
                    <a:pt x="0" y="293"/>
                    <a:pt x="6" y="327"/>
                    <a:pt x="6" y="327"/>
                  </a:cubicBezTo>
                  <a:cubicBezTo>
                    <a:pt x="19" y="337"/>
                    <a:pt x="19" y="337"/>
                    <a:pt x="19" y="337"/>
                  </a:cubicBezTo>
                  <a:cubicBezTo>
                    <a:pt x="32" y="355"/>
                    <a:pt x="32" y="355"/>
                    <a:pt x="32" y="355"/>
                  </a:cubicBezTo>
                  <a:cubicBezTo>
                    <a:pt x="36" y="368"/>
                    <a:pt x="36" y="368"/>
                    <a:pt x="36" y="368"/>
                  </a:cubicBezTo>
                  <a:lnTo>
                    <a:pt x="46" y="345"/>
                  </a:lnTo>
                  <a:close/>
                  <a:moveTo>
                    <a:pt x="574" y="241"/>
                  </a:moveTo>
                  <a:cubicBezTo>
                    <a:pt x="574" y="241"/>
                    <a:pt x="563" y="236"/>
                    <a:pt x="559" y="229"/>
                  </a:cubicBezTo>
                  <a:cubicBezTo>
                    <a:pt x="553" y="187"/>
                    <a:pt x="534" y="208"/>
                    <a:pt x="534" y="208"/>
                  </a:cubicBezTo>
                  <a:cubicBezTo>
                    <a:pt x="534" y="208"/>
                    <a:pt x="537" y="199"/>
                    <a:pt x="533" y="197"/>
                  </a:cubicBezTo>
                  <a:cubicBezTo>
                    <a:pt x="505" y="196"/>
                    <a:pt x="510" y="167"/>
                    <a:pt x="511" y="153"/>
                  </a:cubicBezTo>
                  <a:cubicBezTo>
                    <a:pt x="479" y="120"/>
                    <a:pt x="503" y="127"/>
                    <a:pt x="486" y="111"/>
                  </a:cubicBezTo>
                  <a:cubicBezTo>
                    <a:pt x="469" y="95"/>
                    <a:pt x="466" y="63"/>
                    <a:pt x="466" y="63"/>
                  </a:cubicBezTo>
                  <a:cubicBezTo>
                    <a:pt x="434" y="52"/>
                    <a:pt x="434" y="52"/>
                    <a:pt x="434" y="52"/>
                  </a:cubicBezTo>
                  <a:cubicBezTo>
                    <a:pt x="442" y="65"/>
                    <a:pt x="442" y="65"/>
                    <a:pt x="442" y="65"/>
                  </a:cubicBezTo>
                  <a:cubicBezTo>
                    <a:pt x="419" y="65"/>
                    <a:pt x="419" y="65"/>
                    <a:pt x="419" y="65"/>
                  </a:cubicBezTo>
                  <a:cubicBezTo>
                    <a:pt x="405" y="73"/>
                    <a:pt x="405" y="73"/>
                    <a:pt x="405" y="73"/>
                  </a:cubicBezTo>
                  <a:cubicBezTo>
                    <a:pt x="393" y="67"/>
                    <a:pt x="393" y="67"/>
                    <a:pt x="393" y="67"/>
                  </a:cubicBezTo>
                  <a:cubicBezTo>
                    <a:pt x="393" y="67"/>
                    <a:pt x="394" y="73"/>
                    <a:pt x="382" y="69"/>
                  </a:cubicBezTo>
                  <a:cubicBezTo>
                    <a:pt x="370" y="65"/>
                    <a:pt x="382" y="39"/>
                    <a:pt x="382" y="39"/>
                  </a:cubicBezTo>
                  <a:cubicBezTo>
                    <a:pt x="373" y="35"/>
                    <a:pt x="373" y="35"/>
                    <a:pt x="373" y="35"/>
                  </a:cubicBezTo>
                  <a:cubicBezTo>
                    <a:pt x="369" y="28"/>
                    <a:pt x="369" y="28"/>
                    <a:pt x="369" y="28"/>
                  </a:cubicBezTo>
                  <a:cubicBezTo>
                    <a:pt x="355" y="35"/>
                    <a:pt x="355" y="35"/>
                    <a:pt x="355" y="35"/>
                  </a:cubicBezTo>
                  <a:cubicBezTo>
                    <a:pt x="355" y="21"/>
                    <a:pt x="355" y="21"/>
                    <a:pt x="355" y="21"/>
                  </a:cubicBezTo>
                  <a:cubicBezTo>
                    <a:pt x="355" y="21"/>
                    <a:pt x="333" y="25"/>
                    <a:pt x="329" y="0"/>
                  </a:cubicBezTo>
                  <a:cubicBezTo>
                    <a:pt x="298" y="0"/>
                    <a:pt x="299" y="20"/>
                    <a:pt x="299" y="20"/>
                  </a:cubicBezTo>
                  <a:cubicBezTo>
                    <a:pt x="294" y="19"/>
                    <a:pt x="294" y="19"/>
                    <a:pt x="294" y="19"/>
                  </a:cubicBezTo>
                  <a:cubicBezTo>
                    <a:pt x="289" y="28"/>
                    <a:pt x="289" y="28"/>
                    <a:pt x="289" y="28"/>
                  </a:cubicBezTo>
                  <a:cubicBezTo>
                    <a:pt x="279" y="28"/>
                    <a:pt x="279" y="28"/>
                    <a:pt x="279" y="28"/>
                  </a:cubicBezTo>
                  <a:cubicBezTo>
                    <a:pt x="282" y="16"/>
                    <a:pt x="282" y="16"/>
                    <a:pt x="282" y="16"/>
                  </a:cubicBezTo>
                  <a:cubicBezTo>
                    <a:pt x="239" y="17"/>
                    <a:pt x="239" y="17"/>
                    <a:pt x="239" y="17"/>
                  </a:cubicBezTo>
                  <a:cubicBezTo>
                    <a:pt x="213" y="32"/>
                    <a:pt x="213" y="32"/>
                    <a:pt x="213" y="32"/>
                  </a:cubicBezTo>
                  <a:cubicBezTo>
                    <a:pt x="214" y="24"/>
                    <a:pt x="214" y="24"/>
                    <a:pt x="214" y="24"/>
                  </a:cubicBezTo>
                  <a:cubicBezTo>
                    <a:pt x="195" y="21"/>
                    <a:pt x="195" y="21"/>
                    <a:pt x="195" y="21"/>
                  </a:cubicBezTo>
                  <a:cubicBezTo>
                    <a:pt x="193" y="37"/>
                    <a:pt x="193" y="37"/>
                    <a:pt x="193" y="37"/>
                  </a:cubicBezTo>
                  <a:cubicBezTo>
                    <a:pt x="193" y="37"/>
                    <a:pt x="165" y="55"/>
                    <a:pt x="158" y="47"/>
                  </a:cubicBezTo>
                  <a:cubicBezTo>
                    <a:pt x="151" y="39"/>
                    <a:pt x="122" y="49"/>
                    <a:pt x="119" y="59"/>
                  </a:cubicBezTo>
                  <a:cubicBezTo>
                    <a:pt x="117" y="68"/>
                    <a:pt x="137" y="73"/>
                    <a:pt x="137" y="73"/>
                  </a:cubicBezTo>
                  <a:cubicBezTo>
                    <a:pt x="133" y="84"/>
                    <a:pt x="133" y="84"/>
                    <a:pt x="133" y="84"/>
                  </a:cubicBezTo>
                  <a:cubicBezTo>
                    <a:pt x="158" y="109"/>
                    <a:pt x="158" y="109"/>
                    <a:pt x="158" y="109"/>
                  </a:cubicBezTo>
                  <a:cubicBezTo>
                    <a:pt x="151" y="121"/>
                    <a:pt x="151" y="121"/>
                    <a:pt x="151" y="121"/>
                  </a:cubicBezTo>
                  <a:cubicBezTo>
                    <a:pt x="166" y="141"/>
                    <a:pt x="166" y="141"/>
                    <a:pt x="166" y="141"/>
                  </a:cubicBezTo>
                  <a:cubicBezTo>
                    <a:pt x="163" y="163"/>
                    <a:pt x="163" y="163"/>
                    <a:pt x="163" y="163"/>
                  </a:cubicBezTo>
                  <a:cubicBezTo>
                    <a:pt x="174" y="163"/>
                    <a:pt x="174" y="163"/>
                    <a:pt x="174" y="163"/>
                  </a:cubicBezTo>
                  <a:cubicBezTo>
                    <a:pt x="174" y="200"/>
                    <a:pt x="174" y="200"/>
                    <a:pt x="174" y="200"/>
                  </a:cubicBezTo>
                  <a:cubicBezTo>
                    <a:pt x="163" y="200"/>
                    <a:pt x="163" y="200"/>
                    <a:pt x="163" y="200"/>
                  </a:cubicBezTo>
                  <a:cubicBezTo>
                    <a:pt x="173" y="220"/>
                    <a:pt x="173" y="220"/>
                    <a:pt x="173" y="220"/>
                  </a:cubicBezTo>
                  <a:cubicBezTo>
                    <a:pt x="169" y="243"/>
                    <a:pt x="169" y="243"/>
                    <a:pt x="169" y="243"/>
                  </a:cubicBezTo>
                  <a:cubicBezTo>
                    <a:pt x="178" y="235"/>
                    <a:pt x="178" y="235"/>
                    <a:pt x="178" y="235"/>
                  </a:cubicBezTo>
                  <a:cubicBezTo>
                    <a:pt x="201" y="255"/>
                    <a:pt x="171" y="253"/>
                    <a:pt x="171" y="253"/>
                  </a:cubicBezTo>
                  <a:cubicBezTo>
                    <a:pt x="171" y="253"/>
                    <a:pt x="171" y="264"/>
                    <a:pt x="165" y="264"/>
                  </a:cubicBezTo>
                  <a:cubicBezTo>
                    <a:pt x="158" y="264"/>
                    <a:pt x="141" y="268"/>
                    <a:pt x="141" y="268"/>
                  </a:cubicBezTo>
                  <a:cubicBezTo>
                    <a:pt x="126" y="259"/>
                    <a:pt x="126" y="259"/>
                    <a:pt x="126" y="259"/>
                  </a:cubicBezTo>
                  <a:cubicBezTo>
                    <a:pt x="117" y="265"/>
                    <a:pt x="117" y="265"/>
                    <a:pt x="117" y="265"/>
                  </a:cubicBezTo>
                  <a:cubicBezTo>
                    <a:pt x="102" y="264"/>
                    <a:pt x="102" y="264"/>
                    <a:pt x="102" y="264"/>
                  </a:cubicBezTo>
                  <a:cubicBezTo>
                    <a:pt x="102" y="248"/>
                    <a:pt x="102" y="248"/>
                    <a:pt x="102" y="248"/>
                  </a:cubicBezTo>
                  <a:cubicBezTo>
                    <a:pt x="69" y="259"/>
                    <a:pt x="69" y="259"/>
                    <a:pt x="69" y="259"/>
                  </a:cubicBezTo>
                  <a:cubicBezTo>
                    <a:pt x="55" y="264"/>
                    <a:pt x="55" y="264"/>
                    <a:pt x="55" y="264"/>
                  </a:cubicBezTo>
                  <a:cubicBezTo>
                    <a:pt x="71" y="282"/>
                    <a:pt x="78" y="307"/>
                    <a:pt x="78" y="307"/>
                  </a:cubicBezTo>
                  <a:cubicBezTo>
                    <a:pt x="64" y="309"/>
                    <a:pt x="64" y="309"/>
                    <a:pt x="64" y="309"/>
                  </a:cubicBezTo>
                  <a:cubicBezTo>
                    <a:pt x="69" y="320"/>
                    <a:pt x="69" y="320"/>
                    <a:pt x="69" y="320"/>
                  </a:cubicBezTo>
                  <a:cubicBezTo>
                    <a:pt x="69" y="324"/>
                    <a:pt x="69" y="324"/>
                    <a:pt x="69" y="324"/>
                  </a:cubicBezTo>
                  <a:cubicBezTo>
                    <a:pt x="71" y="335"/>
                    <a:pt x="71" y="335"/>
                    <a:pt x="71" y="335"/>
                  </a:cubicBezTo>
                  <a:cubicBezTo>
                    <a:pt x="63" y="352"/>
                    <a:pt x="63" y="352"/>
                    <a:pt x="63" y="352"/>
                  </a:cubicBezTo>
                  <a:cubicBezTo>
                    <a:pt x="52" y="352"/>
                    <a:pt x="52" y="352"/>
                    <a:pt x="52" y="352"/>
                  </a:cubicBezTo>
                  <a:cubicBezTo>
                    <a:pt x="58" y="367"/>
                    <a:pt x="58" y="367"/>
                    <a:pt x="58" y="367"/>
                  </a:cubicBezTo>
                  <a:cubicBezTo>
                    <a:pt x="67" y="382"/>
                    <a:pt x="67" y="382"/>
                    <a:pt x="67" y="382"/>
                  </a:cubicBezTo>
                  <a:cubicBezTo>
                    <a:pt x="67" y="382"/>
                    <a:pt x="51" y="372"/>
                    <a:pt x="44" y="372"/>
                  </a:cubicBezTo>
                  <a:cubicBezTo>
                    <a:pt x="37" y="372"/>
                    <a:pt x="35" y="378"/>
                    <a:pt x="33" y="389"/>
                  </a:cubicBezTo>
                  <a:cubicBezTo>
                    <a:pt x="31" y="400"/>
                    <a:pt x="37" y="406"/>
                    <a:pt x="37" y="406"/>
                  </a:cubicBezTo>
                  <a:cubicBezTo>
                    <a:pt x="70" y="427"/>
                    <a:pt x="70" y="427"/>
                    <a:pt x="70" y="427"/>
                  </a:cubicBezTo>
                  <a:cubicBezTo>
                    <a:pt x="80" y="427"/>
                    <a:pt x="80" y="427"/>
                    <a:pt x="80" y="427"/>
                  </a:cubicBezTo>
                  <a:cubicBezTo>
                    <a:pt x="93" y="454"/>
                    <a:pt x="93" y="454"/>
                    <a:pt x="93" y="454"/>
                  </a:cubicBezTo>
                  <a:cubicBezTo>
                    <a:pt x="103" y="454"/>
                    <a:pt x="103" y="454"/>
                    <a:pt x="103" y="454"/>
                  </a:cubicBezTo>
                  <a:cubicBezTo>
                    <a:pt x="103" y="454"/>
                    <a:pt x="104" y="457"/>
                    <a:pt x="114" y="462"/>
                  </a:cubicBezTo>
                  <a:cubicBezTo>
                    <a:pt x="124" y="467"/>
                    <a:pt x="147" y="539"/>
                    <a:pt x="147" y="539"/>
                  </a:cubicBezTo>
                  <a:cubicBezTo>
                    <a:pt x="145" y="553"/>
                    <a:pt x="145" y="553"/>
                    <a:pt x="145" y="553"/>
                  </a:cubicBezTo>
                  <a:cubicBezTo>
                    <a:pt x="152" y="564"/>
                    <a:pt x="152" y="564"/>
                    <a:pt x="152" y="564"/>
                  </a:cubicBezTo>
                  <a:cubicBezTo>
                    <a:pt x="148" y="576"/>
                    <a:pt x="148" y="576"/>
                    <a:pt x="148" y="576"/>
                  </a:cubicBezTo>
                  <a:cubicBezTo>
                    <a:pt x="148" y="576"/>
                    <a:pt x="149" y="578"/>
                    <a:pt x="151" y="581"/>
                  </a:cubicBezTo>
                  <a:cubicBezTo>
                    <a:pt x="165" y="580"/>
                    <a:pt x="165" y="580"/>
                    <a:pt x="165" y="580"/>
                  </a:cubicBezTo>
                  <a:cubicBezTo>
                    <a:pt x="171" y="593"/>
                    <a:pt x="171" y="593"/>
                    <a:pt x="171" y="593"/>
                  </a:cubicBezTo>
                  <a:cubicBezTo>
                    <a:pt x="171" y="593"/>
                    <a:pt x="211" y="604"/>
                    <a:pt x="205" y="619"/>
                  </a:cubicBezTo>
                  <a:cubicBezTo>
                    <a:pt x="210" y="637"/>
                    <a:pt x="210" y="643"/>
                    <a:pt x="210" y="643"/>
                  </a:cubicBezTo>
                  <a:cubicBezTo>
                    <a:pt x="210" y="643"/>
                    <a:pt x="218" y="628"/>
                    <a:pt x="235" y="645"/>
                  </a:cubicBezTo>
                  <a:cubicBezTo>
                    <a:pt x="253" y="663"/>
                    <a:pt x="286" y="665"/>
                    <a:pt x="293" y="652"/>
                  </a:cubicBezTo>
                  <a:cubicBezTo>
                    <a:pt x="299" y="639"/>
                    <a:pt x="315" y="616"/>
                    <a:pt x="315" y="616"/>
                  </a:cubicBezTo>
                  <a:cubicBezTo>
                    <a:pt x="315" y="616"/>
                    <a:pt x="323" y="625"/>
                    <a:pt x="327" y="625"/>
                  </a:cubicBezTo>
                  <a:cubicBezTo>
                    <a:pt x="331" y="625"/>
                    <a:pt x="350" y="597"/>
                    <a:pt x="350" y="597"/>
                  </a:cubicBezTo>
                  <a:cubicBezTo>
                    <a:pt x="357" y="597"/>
                    <a:pt x="357" y="597"/>
                    <a:pt x="357" y="597"/>
                  </a:cubicBezTo>
                  <a:cubicBezTo>
                    <a:pt x="357" y="597"/>
                    <a:pt x="345" y="544"/>
                    <a:pt x="397" y="537"/>
                  </a:cubicBezTo>
                  <a:cubicBezTo>
                    <a:pt x="401" y="523"/>
                    <a:pt x="405" y="524"/>
                    <a:pt x="405" y="524"/>
                  </a:cubicBezTo>
                  <a:cubicBezTo>
                    <a:pt x="417" y="523"/>
                    <a:pt x="417" y="523"/>
                    <a:pt x="417" y="523"/>
                  </a:cubicBezTo>
                  <a:cubicBezTo>
                    <a:pt x="417" y="523"/>
                    <a:pt x="407" y="495"/>
                    <a:pt x="411" y="495"/>
                  </a:cubicBezTo>
                  <a:cubicBezTo>
                    <a:pt x="415" y="495"/>
                    <a:pt x="426" y="493"/>
                    <a:pt x="426" y="493"/>
                  </a:cubicBezTo>
                  <a:cubicBezTo>
                    <a:pt x="461" y="451"/>
                    <a:pt x="461" y="451"/>
                    <a:pt x="461" y="451"/>
                  </a:cubicBezTo>
                  <a:cubicBezTo>
                    <a:pt x="461" y="443"/>
                    <a:pt x="461" y="443"/>
                    <a:pt x="461" y="443"/>
                  </a:cubicBezTo>
                  <a:cubicBezTo>
                    <a:pt x="481" y="439"/>
                    <a:pt x="481" y="439"/>
                    <a:pt x="481" y="439"/>
                  </a:cubicBezTo>
                  <a:cubicBezTo>
                    <a:pt x="489" y="413"/>
                    <a:pt x="489" y="413"/>
                    <a:pt x="489" y="413"/>
                  </a:cubicBezTo>
                  <a:cubicBezTo>
                    <a:pt x="489" y="413"/>
                    <a:pt x="483" y="393"/>
                    <a:pt x="487" y="395"/>
                  </a:cubicBezTo>
                  <a:cubicBezTo>
                    <a:pt x="491" y="396"/>
                    <a:pt x="501" y="399"/>
                    <a:pt x="501" y="399"/>
                  </a:cubicBezTo>
                  <a:cubicBezTo>
                    <a:pt x="513" y="391"/>
                    <a:pt x="513" y="391"/>
                    <a:pt x="513" y="391"/>
                  </a:cubicBezTo>
                  <a:cubicBezTo>
                    <a:pt x="506" y="371"/>
                    <a:pt x="506" y="371"/>
                    <a:pt x="506" y="371"/>
                  </a:cubicBezTo>
                  <a:cubicBezTo>
                    <a:pt x="506" y="371"/>
                    <a:pt x="478" y="372"/>
                    <a:pt x="490" y="332"/>
                  </a:cubicBezTo>
                  <a:cubicBezTo>
                    <a:pt x="482" y="311"/>
                    <a:pt x="482" y="311"/>
                    <a:pt x="482" y="311"/>
                  </a:cubicBezTo>
                  <a:cubicBezTo>
                    <a:pt x="494" y="301"/>
                    <a:pt x="494" y="301"/>
                    <a:pt x="494" y="301"/>
                  </a:cubicBezTo>
                  <a:cubicBezTo>
                    <a:pt x="510" y="285"/>
                    <a:pt x="510" y="285"/>
                    <a:pt x="510" y="285"/>
                  </a:cubicBezTo>
                  <a:cubicBezTo>
                    <a:pt x="529" y="287"/>
                    <a:pt x="529" y="287"/>
                    <a:pt x="529" y="287"/>
                  </a:cubicBezTo>
                  <a:cubicBezTo>
                    <a:pt x="541" y="261"/>
                    <a:pt x="541" y="261"/>
                    <a:pt x="541" y="261"/>
                  </a:cubicBezTo>
                  <a:cubicBezTo>
                    <a:pt x="555" y="263"/>
                    <a:pt x="555" y="263"/>
                    <a:pt x="555" y="263"/>
                  </a:cubicBezTo>
                  <a:cubicBezTo>
                    <a:pt x="573" y="256"/>
                    <a:pt x="573" y="256"/>
                    <a:pt x="573" y="256"/>
                  </a:cubicBezTo>
                  <a:cubicBezTo>
                    <a:pt x="570" y="252"/>
                    <a:pt x="570" y="252"/>
                    <a:pt x="570" y="252"/>
                  </a:cubicBezTo>
                  <a:lnTo>
                    <a:pt x="574" y="241"/>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4" name="Limousin" descr="© INSCALE GmbH, 05.05.2010&#10;http://www.presentationload.com/">
              <a:extLst>
                <a:ext uri="{FF2B5EF4-FFF2-40B4-BE49-F238E27FC236}">
                  <a16:creationId xmlns:a16="http://schemas.microsoft.com/office/drawing/2014/main" id="{4FA2DC5F-8B28-45E5-99F2-EB35462EE5EB}"/>
                </a:ext>
              </a:extLst>
            </p:cNvPr>
            <p:cNvSpPr>
              <a:spLocks/>
            </p:cNvSpPr>
            <p:nvPr/>
          </p:nvSpPr>
          <p:spPr bwMode="gray">
            <a:xfrm>
              <a:off x="1360" y="1756"/>
              <a:ext cx="473" cy="536"/>
            </a:xfrm>
            <a:custGeom>
              <a:avLst/>
              <a:gdLst/>
              <a:ahLst/>
              <a:cxnLst>
                <a:cxn ang="0">
                  <a:pos x="50" y="266"/>
                </a:cxn>
                <a:cxn ang="0">
                  <a:pos x="97" y="293"/>
                </a:cxn>
                <a:cxn ang="0">
                  <a:pos x="110" y="314"/>
                </a:cxn>
                <a:cxn ang="0">
                  <a:pos x="135" y="337"/>
                </a:cxn>
                <a:cxn ang="0">
                  <a:pos x="133" y="369"/>
                </a:cxn>
                <a:cxn ang="0">
                  <a:pos x="141" y="386"/>
                </a:cxn>
                <a:cxn ang="0">
                  <a:pos x="142" y="404"/>
                </a:cxn>
                <a:cxn ang="0">
                  <a:pos x="169" y="426"/>
                </a:cxn>
                <a:cxn ang="0">
                  <a:pos x="175" y="461"/>
                </a:cxn>
                <a:cxn ang="0">
                  <a:pos x="258" y="493"/>
                </a:cxn>
                <a:cxn ang="0">
                  <a:pos x="286" y="481"/>
                </a:cxn>
                <a:cxn ang="0">
                  <a:pos x="319" y="474"/>
                </a:cxn>
                <a:cxn ang="0">
                  <a:pos x="343" y="440"/>
                </a:cxn>
                <a:cxn ang="0">
                  <a:pos x="350" y="412"/>
                </a:cxn>
                <a:cxn ang="0">
                  <a:pos x="363" y="374"/>
                </a:cxn>
                <a:cxn ang="0">
                  <a:pos x="385" y="365"/>
                </a:cxn>
                <a:cxn ang="0">
                  <a:pos x="402" y="348"/>
                </a:cxn>
                <a:cxn ang="0">
                  <a:pos x="410" y="330"/>
                </a:cxn>
                <a:cxn ang="0">
                  <a:pos x="419" y="265"/>
                </a:cxn>
                <a:cxn ang="0">
                  <a:pos x="403" y="193"/>
                </a:cxn>
                <a:cxn ang="0">
                  <a:pos x="438" y="161"/>
                </a:cxn>
                <a:cxn ang="0">
                  <a:pos x="430" y="105"/>
                </a:cxn>
                <a:cxn ang="0">
                  <a:pos x="397" y="54"/>
                </a:cxn>
                <a:cxn ang="0">
                  <a:pos x="375" y="28"/>
                </a:cxn>
                <a:cxn ang="0">
                  <a:pos x="365" y="11"/>
                </a:cxn>
                <a:cxn ang="0">
                  <a:pos x="318" y="13"/>
                </a:cxn>
                <a:cxn ang="0">
                  <a:pos x="250" y="4"/>
                </a:cxn>
                <a:cxn ang="0">
                  <a:pos x="235" y="16"/>
                </a:cxn>
                <a:cxn ang="0">
                  <a:pos x="219" y="13"/>
                </a:cxn>
                <a:cxn ang="0">
                  <a:pos x="201" y="12"/>
                </a:cxn>
                <a:cxn ang="0">
                  <a:pos x="169" y="21"/>
                </a:cxn>
                <a:cxn ang="0">
                  <a:pos x="151" y="28"/>
                </a:cxn>
                <a:cxn ang="0">
                  <a:pos x="129" y="25"/>
                </a:cxn>
                <a:cxn ang="0">
                  <a:pos x="97" y="30"/>
                </a:cxn>
                <a:cxn ang="0">
                  <a:pos x="66" y="54"/>
                </a:cxn>
                <a:cxn ang="0">
                  <a:pos x="38" y="80"/>
                </a:cxn>
                <a:cxn ang="0">
                  <a:pos x="62" y="140"/>
                </a:cxn>
                <a:cxn ang="0">
                  <a:pos x="57" y="168"/>
                </a:cxn>
                <a:cxn ang="0">
                  <a:pos x="45" y="182"/>
                </a:cxn>
                <a:cxn ang="0">
                  <a:pos x="17" y="212"/>
                </a:cxn>
                <a:cxn ang="0">
                  <a:pos x="0" y="240"/>
                </a:cxn>
                <a:cxn ang="0">
                  <a:pos x="31" y="277"/>
                </a:cxn>
              </a:cxnLst>
              <a:rect l="0" t="0" r="r" b="b"/>
              <a:pathLst>
                <a:path w="439" h="497">
                  <a:moveTo>
                    <a:pt x="31" y="277"/>
                  </a:moveTo>
                  <a:cubicBezTo>
                    <a:pt x="38" y="281"/>
                    <a:pt x="50" y="266"/>
                    <a:pt x="50" y="266"/>
                  </a:cubicBezTo>
                  <a:cubicBezTo>
                    <a:pt x="85" y="270"/>
                    <a:pt x="85" y="270"/>
                    <a:pt x="85" y="270"/>
                  </a:cubicBezTo>
                  <a:cubicBezTo>
                    <a:pt x="85" y="270"/>
                    <a:pt x="90" y="293"/>
                    <a:pt x="97" y="293"/>
                  </a:cubicBezTo>
                  <a:cubicBezTo>
                    <a:pt x="103" y="293"/>
                    <a:pt x="115" y="294"/>
                    <a:pt x="115" y="294"/>
                  </a:cubicBezTo>
                  <a:cubicBezTo>
                    <a:pt x="110" y="314"/>
                    <a:pt x="110" y="314"/>
                    <a:pt x="110" y="314"/>
                  </a:cubicBezTo>
                  <a:cubicBezTo>
                    <a:pt x="142" y="336"/>
                    <a:pt x="142" y="336"/>
                    <a:pt x="142" y="336"/>
                  </a:cubicBezTo>
                  <a:cubicBezTo>
                    <a:pt x="135" y="337"/>
                    <a:pt x="135" y="337"/>
                    <a:pt x="135" y="337"/>
                  </a:cubicBezTo>
                  <a:cubicBezTo>
                    <a:pt x="135" y="337"/>
                    <a:pt x="149" y="341"/>
                    <a:pt x="149" y="348"/>
                  </a:cubicBezTo>
                  <a:cubicBezTo>
                    <a:pt x="149" y="354"/>
                    <a:pt x="133" y="369"/>
                    <a:pt x="133" y="369"/>
                  </a:cubicBezTo>
                  <a:cubicBezTo>
                    <a:pt x="133" y="380"/>
                    <a:pt x="133" y="380"/>
                    <a:pt x="133" y="380"/>
                  </a:cubicBezTo>
                  <a:cubicBezTo>
                    <a:pt x="141" y="386"/>
                    <a:pt x="141" y="386"/>
                    <a:pt x="141" y="386"/>
                  </a:cubicBezTo>
                  <a:cubicBezTo>
                    <a:pt x="134" y="402"/>
                    <a:pt x="134" y="402"/>
                    <a:pt x="134" y="402"/>
                  </a:cubicBezTo>
                  <a:cubicBezTo>
                    <a:pt x="142" y="404"/>
                    <a:pt x="142" y="404"/>
                    <a:pt x="142" y="404"/>
                  </a:cubicBezTo>
                  <a:cubicBezTo>
                    <a:pt x="138" y="414"/>
                    <a:pt x="138" y="414"/>
                    <a:pt x="138" y="414"/>
                  </a:cubicBezTo>
                  <a:cubicBezTo>
                    <a:pt x="169" y="426"/>
                    <a:pt x="169" y="426"/>
                    <a:pt x="169" y="426"/>
                  </a:cubicBezTo>
                  <a:cubicBezTo>
                    <a:pt x="163" y="436"/>
                    <a:pt x="163" y="436"/>
                    <a:pt x="163" y="436"/>
                  </a:cubicBezTo>
                  <a:cubicBezTo>
                    <a:pt x="175" y="461"/>
                    <a:pt x="175" y="461"/>
                    <a:pt x="175" y="461"/>
                  </a:cubicBezTo>
                  <a:cubicBezTo>
                    <a:pt x="186" y="454"/>
                    <a:pt x="218" y="458"/>
                    <a:pt x="218" y="458"/>
                  </a:cubicBezTo>
                  <a:cubicBezTo>
                    <a:pt x="218" y="458"/>
                    <a:pt x="247" y="489"/>
                    <a:pt x="258" y="493"/>
                  </a:cubicBezTo>
                  <a:cubicBezTo>
                    <a:pt x="269" y="497"/>
                    <a:pt x="283" y="474"/>
                    <a:pt x="283" y="474"/>
                  </a:cubicBezTo>
                  <a:cubicBezTo>
                    <a:pt x="286" y="481"/>
                    <a:pt x="286" y="481"/>
                    <a:pt x="286" y="481"/>
                  </a:cubicBezTo>
                  <a:cubicBezTo>
                    <a:pt x="298" y="476"/>
                    <a:pt x="298" y="476"/>
                    <a:pt x="298" y="476"/>
                  </a:cubicBezTo>
                  <a:cubicBezTo>
                    <a:pt x="319" y="474"/>
                    <a:pt x="319" y="474"/>
                    <a:pt x="319" y="474"/>
                  </a:cubicBezTo>
                  <a:cubicBezTo>
                    <a:pt x="319" y="474"/>
                    <a:pt x="323" y="468"/>
                    <a:pt x="331" y="466"/>
                  </a:cubicBezTo>
                  <a:cubicBezTo>
                    <a:pt x="319" y="444"/>
                    <a:pt x="343" y="440"/>
                    <a:pt x="343" y="440"/>
                  </a:cubicBezTo>
                  <a:cubicBezTo>
                    <a:pt x="342" y="421"/>
                    <a:pt x="342" y="421"/>
                    <a:pt x="342" y="421"/>
                  </a:cubicBezTo>
                  <a:cubicBezTo>
                    <a:pt x="350" y="412"/>
                    <a:pt x="350" y="412"/>
                    <a:pt x="350" y="412"/>
                  </a:cubicBezTo>
                  <a:cubicBezTo>
                    <a:pt x="346" y="401"/>
                    <a:pt x="346" y="401"/>
                    <a:pt x="346" y="401"/>
                  </a:cubicBezTo>
                  <a:cubicBezTo>
                    <a:pt x="363" y="374"/>
                    <a:pt x="363" y="374"/>
                    <a:pt x="363" y="374"/>
                  </a:cubicBezTo>
                  <a:cubicBezTo>
                    <a:pt x="371" y="366"/>
                    <a:pt x="371" y="366"/>
                    <a:pt x="371" y="366"/>
                  </a:cubicBezTo>
                  <a:cubicBezTo>
                    <a:pt x="385" y="365"/>
                    <a:pt x="385" y="365"/>
                    <a:pt x="385" y="365"/>
                  </a:cubicBezTo>
                  <a:cubicBezTo>
                    <a:pt x="385" y="365"/>
                    <a:pt x="378" y="336"/>
                    <a:pt x="385" y="334"/>
                  </a:cubicBezTo>
                  <a:cubicBezTo>
                    <a:pt x="391" y="333"/>
                    <a:pt x="402" y="348"/>
                    <a:pt x="402" y="348"/>
                  </a:cubicBezTo>
                  <a:cubicBezTo>
                    <a:pt x="421" y="342"/>
                    <a:pt x="421" y="342"/>
                    <a:pt x="421" y="342"/>
                  </a:cubicBezTo>
                  <a:cubicBezTo>
                    <a:pt x="410" y="330"/>
                    <a:pt x="410" y="330"/>
                    <a:pt x="410" y="330"/>
                  </a:cubicBezTo>
                  <a:cubicBezTo>
                    <a:pt x="410" y="330"/>
                    <a:pt x="415" y="325"/>
                    <a:pt x="418" y="293"/>
                  </a:cubicBezTo>
                  <a:cubicBezTo>
                    <a:pt x="399" y="269"/>
                    <a:pt x="419" y="265"/>
                    <a:pt x="419" y="265"/>
                  </a:cubicBezTo>
                  <a:cubicBezTo>
                    <a:pt x="419" y="265"/>
                    <a:pt x="426" y="258"/>
                    <a:pt x="403" y="226"/>
                  </a:cubicBezTo>
                  <a:cubicBezTo>
                    <a:pt x="381" y="194"/>
                    <a:pt x="403" y="193"/>
                    <a:pt x="403" y="193"/>
                  </a:cubicBezTo>
                  <a:cubicBezTo>
                    <a:pt x="403" y="193"/>
                    <a:pt x="414" y="208"/>
                    <a:pt x="419" y="185"/>
                  </a:cubicBezTo>
                  <a:cubicBezTo>
                    <a:pt x="425" y="162"/>
                    <a:pt x="438" y="161"/>
                    <a:pt x="438" y="161"/>
                  </a:cubicBezTo>
                  <a:cubicBezTo>
                    <a:pt x="438" y="161"/>
                    <a:pt x="437" y="145"/>
                    <a:pt x="439" y="141"/>
                  </a:cubicBezTo>
                  <a:cubicBezTo>
                    <a:pt x="410" y="118"/>
                    <a:pt x="430" y="105"/>
                    <a:pt x="430" y="105"/>
                  </a:cubicBezTo>
                  <a:cubicBezTo>
                    <a:pt x="411" y="56"/>
                    <a:pt x="411" y="56"/>
                    <a:pt x="411" y="56"/>
                  </a:cubicBezTo>
                  <a:cubicBezTo>
                    <a:pt x="397" y="54"/>
                    <a:pt x="397" y="54"/>
                    <a:pt x="397" y="54"/>
                  </a:cubicBezTo>
                  <a:cubicBezTo>
                    <a:pt x="397" y="54"/>
                    <a:pt x="395" y="45"/>
                    <a:pt x="393" y="44"/>
                  </a:cubicBezTo>
                  <a:cubicBezTo>
                    <a:pt x="354" y="56"/>
                    <a:pt x="375" y="28"/>
                    <a:pt x="375" y="28"/>
                  </a:cubicBezTo>
                  <a:cubicBezTo>
                    <a:pt x="369" y="28"/>
                    <a:pt x="369" y="28"/>
                    <a:pt x="369" y="28"/>
                  </a:cubicBezTo>
                  <a:cubicBezTo>
                    <a:pt x="365" y="11"/>
                    <a:pt x="365" y="11"/>
                    <a:pt x="365" y="11"/>
                  </a:cubicBezTo>
                  <a:cubicBezTo>
                    <a:pt x="365" y="11"/>
                    <a:pt x="365" y="12"/>
                    <a:pt x="365" y="12"/>
                  </a:cubicBezTo>
                  <a:cubicBezTo>
                    <a:pt x="365" y="12"/>
                    <a:pt x="323" y="22"/>
                    <a:pt x="318" y="13"/>
                  </a:cubicBezTo>
                  <a:cubicBezTo>
                    <a:pt x="293" y="0"/>
                    <a:pt x="298" y="9"/>
                    <a:pt x="286" y="12"/>
                  </a:cubicBezTo>
                  <a:cubicBezTo>
                    <a:pt x="274" y="14"/>
                    <a:pt x="250" y="4"/>
                    <a:pt x="250" y="4"/>
                  </a:cubicBezTo>
                  <a:cubicBezTo>
                    <a:pt x="245" y="22"/>
                    <a:pt x="245" y="22"/>
                    <a:pt x="245" y="22"/>
                  </a:cubicBezTo>
                  <a:cubicBezTo>
                    <a:pt x="235" y="16"/>
                    <a:pt x="235" y="16"/>
                    <a:pt x="235" y="16"/>
                  </a:cubicBezTo>
                  <a:cubicBezTo>
                    <a:pt x="222" y="21"/>
                    <a:pt x="222" y="21"/>
                    <a:pt x="222" y="21"/>
                  </a:cubicBezTo>
                  <a:cubicBezTo>
                    <a:pt x="219" y="13"/>
                    <a:pt x="219" y="13"/>
                    <a:pt x="219" y="13"/>
                  </a:cubicBezTo>
                  <a:cubicBezTo>
                    <a:pt x="202" y="24"/>
                    <a:pt x="202" y="24"/>
                    <a:pt x="202" y="24"/>
                  </a:cubicBezTo>
                  <a:cubicBezTo>
                    <a:pt x="201" y="12"/>
                    <a:pt x="201" y="12"/>
                    <a:pt x="201" y="12"/>
                  </a:cubicBezTo>
                  <a:cubicBezTo>
                    <a:pt x="174" y="32"/>
                    <a:pt x="174" y="32"/>
                    <a:pt x="174" y="32"/>
                  </a:cubicBezTo>
                  <a:cubicBezTo>
                    <a:pt x="169" y="21"/>
                    <a:pt x="169" y="21"/>
                    <a:pt x="169" y="21"/>
                  </a:cubicBezTo>
                  <a:cubicBezTo>
                    <a:pt x="151" y="21"/>
                    <a:pt x="151" y="21"/>
                    <a:pt x="151" y="21"/>
                  </a:cubicBezTo>
                  <a:cubicBezTo>
                    <a:pt x="151" y="28"/>
                    <a:pt x="151" y="28"/>
                    <a:pt x="151" y="28"/>
                  </a:cubicBezTo>
                  <a:cubicBezTo>
                    <a:pt x="133" y="30"/>
                    <a:pt x="133" y="30"/>
                    <a:pt x="133" y="30"/>
                  </a:cubicBezTo>
                  <a:cubicBezTo>
                    <a:pt x="129" y="25"/>
                    <a:pt x="129" y="25"/>
                    <a:pt x="129" y="25"/>
                  </a:cubicBezTo>
                  <a:cubicBezTo>
                    <a:pt x="111" y="32"/>
                    <a:pt x="111" y="32"/>
                    <a:pt x="111" y="32"/>
                  </a:cubicBezTo>
                  <a:cubicBezTo>
                    <a:pt x="97" y="30"/>
                    <a:pt x="97" y="30"/>
                    <a:pt x="97" y="30"/>
                  </a:cubicBezTo>
                  <a:cubicBezTo>
                    <a:pt x="85" y="56"/>
                    <a:pt x="85" y="56"/>
                    <a:pt x="85" y="56"/>
                  </a:cubicBezTo>
                  <a:cubicBezTo>
                    <a:pt x="66" y="54"/>
                    <a:pt x="66" y="54"/>
                    <a:pt x="66" y="54"/>
                  </a:cubicBezTo>
                  <a:cubicBezTo>
                    <a:pt x="50" y="70"/>
                    <a:pt x="50" y="70"/>
                    <a:pt x="50" y="70"/>
                  </a:cubicBezTo>
                  <a:cubicBezTo>
                    <a:pt x="38" y="80"/>
                    <a:pt x="38" y="80"/>
                    <a:pt x="38" y="80"/>
                  </a:cubicBezTo>
                  <a:cubicBezTo>
                    <a:pt x="46" y="101"/>
                    <a:pt x="46" y="101"/>
                    <a:pt x="46" y="101"/>
                  </a:cubicBezTo>
                  <a:cubicBezTo>
                    <a:pt x="34" y="141"/>
                    <a:pt x="62" y="140"/>
                    <a:pt x="62" y="140"/>
                  </a:cubicBezTo>
                  <a:cubicBezTo>
                    <a:pt x="69" y="160"/>
                    <a:pt x="69" y="160"/>
                    <a:pt x="69" y="160"/>
                  </a:cubicBezTo>
                  <a:cubicBezTo>
                    <a:pt x="57" y="168"/>
                    <a:pt x="57" y="168"/>
                    <a:pt x="57" y="168"/>
                  </a:cubicBezTo>
                  <a:cubicBezTo>
                    <a:pt x="57" y="168"/>
                    <a:pt x="47" y="165"/>
                    <a:pt x="43" y="164"/>
                  </a:cubicBezTo>
                  <a:cubicBezTo>
                    <a:pt x="39" y="162"/>
                    <a:pt x="45" y="182"/>
                    <a:pt x="45" y="182"/>
                  </a:cubicBezTo>
                  <a:cubicBezTo>
                    <a:pt x="37" y="208"/>
                    <a:pt x="37" y="208"/>
                    <a:pt x="37" y="208"/>
                  </a:cubicBezTo>
                  <a:cubicBezTo>
                    <a:pt x="17" y="212"/>
                    <a:pt x="17" y="212"/>
                    <a:pt x="17" y="212"/>
                  </a:cubicBezTo>
                  <a:cubicBezTo>
                    <a:pt x="17" y="220"/>
                    <a:pt x="17" y="220"/>
                    <a:pt x="17" y="220"/>
                  </a:cubicBezTo>
                  <a:cubicBezTo>
                    <a:pt x="0" y="240"/>
                    <a:pt x="0" y="240"/>
                    <a:pt x="0" y="240"/>
                  </a:cubicBezTo>
                  <a:cubicBezTo>
                    <a:pt x="18" y="243"/>
                    <a:pt x="31" y="249"/>
                    <a:pt x="31" y="249"/>
                  </a:cubicBezTo>
                  <a:cubicBezTo>
                    <a:pt x="31" y="249"/>
                    <a:pt x="25" y="273"/>
                    <a:pt x="31" y="2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5" name="Auvergne" descr="© INSCALE GmbH, 05.05.2010&#10;http://www.presentationload.com/">
              <a:extLst>
                <a:ext uri="{FF2B5EF4-FFF2-40B4-BE49-F238E27FC236}">
                  <a16:creationId xmlns:a16="http://schemas.microsoft.com/office/drawing/2014/main" id="{9BD5E988-15D3-4B08-876C-E8948F7A9579}"/>
                </a:ext>
              </a:extLst>
            </p:cNvPr>
            <p:cNvSpPr>
              <a:spLocks/>
            </p:cNvSpPr>
            <p:nvPr/>
          </p:nvSpPr>
          <p:spPr bwMode="gray">
            <a:xfrm>
              <a:off x="1704" y="1640"/>
              <a:ext cx="593" cy="753"/>
            </a:xfrm>
            <a:custGeom>
              <a:avLst/>
              <a:gdLst/>
              <a:ahLst/>
              <a:cxnLst>
                <a:cxn ang="0">
                  <a:pos x="15" y="669"/>
                </a:cxn>
                <a:cxn ang="0">
                  <a:pos x="31" y="697"/>
                </a:cxn>
                <a:cxn ang="0">
                  <a:pos x="60" y="689"/>
                </a:cxn>
                <a:cxn ang="0">
                  <a:pos x="111" y="665"/>
                </a:cxn>
                <a:cxn ang="0">
                  <a:pos x="122" y="617"/>
                </a:cxn>
                <a:cxn ang="0">
                  <a:pos x="186" y="636"/>
                </a:cxn>
                <a:cxn ang="0">
                  <a:pos x="218" y="663"/>
                </a:cxn>
                <a:cxn ang="0">
                  <a:pos x="231" y="607"/>
                </a:cxn>
                <a:cxn ang="0">
                  <a:pos x="266" y="611"/>
                </a:cxn>
                <a:cxn ang="0">
                  <a:pos x="266" y="603"/>
                </a:cxn>
                <a:cxn ang="0">
                  <a:pos x="318" y="635"/>
                </a:cxn>
                <a:cxn ang="0">
                  <a:pos x="378" y="629"/>
                </a:cxn>
                <a:cxn ang="0">
                  <a:pos x="424" y="628"/>
                </a:cxn>
                <a:cxn ang="0">
                  <a:pos x="472" y="612"/>
                </a:cxn>
                <a:cxn ang="0">
                  <a:pos x="504" y="560"/>
                </a:cxn>
                <a:cxn ang="0">
                  <a:pos x="522" y="535"/>
                </a:cxn>
                <a:cxn ang="0">
                  <a:pos x="536" y="517"/>
                </a:cxn>
                <a:cxn ang="0">
                  <a:pos x="507" y="467"/>
                </a:cxn>
                <a:cxn ang="0">
                  <a:pos x="450" y="463"/>
                </a:cxn>
                <a:cxn ang="0">
                  <a:pos x="430" y="449"/>
                </a:cxn>
                <a:cxn ang="0">
                  <a:pos x="408" y="445"/>
                </a:cxn>
                <a:cxn ang="0">
                  <a:pos x="364" y="320"/>
                </a:cxn>
                <a:cxn ang="0">
                  <a:pos x="362" y="273"/>
                </a:cxn>
                <a:cxn ang="0">
                  <a:pos x="386" y="217"/>
                </a:cxn>
                <a:cxn ang="0">
                  <a:pos x="378" y="176"/>
                </a:cxn>
                <a:cxn ang="0">
                  <a:pos x="411" y="159"/>
                </a:cxn>
                <a:cxn ang="0">
                  <a:pos x="424" y="101"/>
                </a:cxn>
                <a:cxn ang="0">
                  <a:pos x="370" y="81"/>
                </a:cxn>
                <a:cxn ang="0">
                  <a:pos x="327" y="32"/>
                </a:cxn>
                <a:cxn ang="0">
                  <a:pos x="306" y="31"/>
                </a:cxn>
                <a:cxn ang="0">
                  <a:pos x="263" y="25"/>
                </a:cxn>
                <a:cxn ang="0">
                  <a:pos x="171" y="23"/>
                </a:cxn>
                <a:cxn ang="0">
                  <a:pos x="115" y="49"/>
                </a:cxn>
                <a:cxn ang="0">
                  <a:pos x="46" y="118"/>
                </a:cxn>
                <a:cxn ang="0">
                  <a:pos x="74" y="151"/>
                </a:cxn>
                <a:cxn ang="0">
                  <a:pos x="111" y="212"/>
                </a:cxn>
                <a:cxn ang="0">
                  <a:pos x="100" y="292"/>
                </a:cxn>
                <a:cxn ang="0">
                  <a:pos x="100" y="372"/>
                </a:cxn>
                <a:cxn ang="0">
                  <a:pos x="102" y="449"/>
                </a:cxn>
                <a:cxn ang="0">
                  <a:pos x="66" y="472"/>
                </a:cxn>
                <a:cxn ang="0">
                  <a:pos x="27" y="508"/>
                </a:cxn>
                <a:cxn ang="0">
                  <a:pos x="24" y="547"/>
                </a:cxn>
                <a:cxn ang="0">
                  <a:pos x="4" y="608"/>
                </a:cxn>
              </a:cxnLst>
              <a:rect l="0" t="0" r="r" b="b"/>
              <a:pathLst>
                <a:path w="550" h="697">
                  <a:moveTo>
                    <a:pt x="4" y="608"/>
                  </a:moveTo>
                  <a:cubicBezTo>
                    <a:pt x="20" y="635"/>
                    <a:pt x="20" y="635"/>
                    <a:pt x="20" y="635"/>
                  </a:cubicBezTo>
                  <a:cubicBezTo>
                    <a:pt x="15" y="669"/>
                    <a:pt x="15" y="669"/>
                    <a:pt x="15" y="669"/>
                  </a:cubicBezTo>
                  <a:cubicBezTo>
                    <a:pt x="24" y="675"/>
                    <a:pt x="24" y="675"/>
                    <a:pt x="24" y="675"/>
                  </a:cubicBezTo>
                  <a:cubicBezTo>
                    <a:pt x="26" y="691"/>
                    <a:pt x="26" y="691"/>
                    <a:pt x="26" y="691"/>
                  </a:cubicBezTo>
                  <a:cubicBezTo>
                    <a:pt x="31" y="697"/>
                    <a:pt x="31" y="697"/>
                    <a:pt x="31" y="697"/>
                  </a:cubicBezTo>
                  <a:cubicBezTo>
                    <a:pt x="30" y="685"/>
                    <a:pt x="30" y="685"/>
                    <a:pt x="30" y="685"/>
                  </a:cubicBezTo>
                  <a:cubicBezTo>
                    <a:pt x="59" y="684"/>
                    <a:pt x="59" y="684"/>
                    <a:pt x="59" y="684"/>
                  </a:cubicBezTo>
                  <a:cubicBezTo>
                    <a:pt x="60" y="689"/>
                    <a:pt x="60" y="689"/>
                    <a:pt x="60" y="689"/>
                  </a:cubicBezTo>
                  <a:cubicBezTo>
                    <a:pt x="94" y="687"/>
                    <a:pt x="94" y="687"/>
                    <a:pt x="94" y="687"/>
                  </a:cubicBezTo>
                  <a:cubicBezTo>
                    <a:pt x="98" y="675"/>
                    <a:pt x="98" y="675"/>
                    <a:pt x="98" y="675"/>
                  </a:cubicBezTo>
                  <a:cubicBezTo>
                    <a:pt x="111" y="665"/>
                    <a:pt x="111" y="665"/>
                    <a:pt x="111" y="665"/>
                  </a:cubicBezTo>
                  <a:cubicBezTo>
                    <a:pt x="112" y="645"/>
                    <a:pt x="112" y="645"/>
                    <a:pt x="112" y="645"/>
                  </a:cubicBezTo>
                  <a:cubicBezTo>
                    <a:pt x="120" y="639"/>
                    <a:pt x="120" y="639"/>
                    <a:pt x="120" y="639"/>
                  </a:cubicBezTo>
                  <a:cubicBezTo>
                    <a:pt x="122" y="617"/>
                    <a:pt x="122" y="617"/>
                    <a:pt x="122" y="617"/>
                  </a:cubicBezTo>
                  <a:cubicBezTo>
                    <a:pt x="122" y="617"/>
                    <a:pt x="122" y="624"/>
                    <a:pt x="131" y="616"/>
                  </a:cubicBezTo>
                  <a:cubicBezTo>
                    <a:pt x="157" y="579"/>
                    <a:pt x="163" y="607"/>
                    <a:pt x="161" y="614"/>
                  </a:cubicBezTo>
                  <a:cubicBezTo>
                    <a:pt x="172" y="606"/>
                    <a:pt x="186" y="636"/>
                    <a:pt x="186" y="636"/>
                  </a:cubicBezTo>
                  <a:cubicBezTo>
                    <a:pt x="195" y="647"/>
                    <a:pt x="195" y="647"/>
                    <a:pt x="195" y="647"/>
                  </a:cubicBezTo>
                  <a:cubicBezTo>
                    <a:pt x="204" y="687"/>
                    <a:pt x="204" y="687"/>
                    <a:pt x="204" y="687"/>
                  </a:cubicBezTo>
                  <a:cubicBezTo>
                    <a:pt x="218" y="663"/>
                    <a:pt x="218" y="663"/>
                    <a:pt x="218" y="663"/>
                  </a:cubicBezTo>
                  <a:cubicBezTo>
                    <a:pt x="224" y="636"/>
                    <a:pt x="224" y="636"/>
                    <a:pt x="224" y="636"/>
                  </a:cubicBezTo>
                  <a:cubicBezTo>
                    <a:pt x="232" y="627"/>
                    <a:pt x="232" y="627"/>
                    <a:pt x="232" y="627"/>
                  </a:cubicBezTo>
                  <a:cubicBezTo>
                    <a:pt x="231" y="607"/>
                    <a:pt x="231" y="607"/>
                    <a:pt x="231" y="607"/>
                  </a:cubicBezTo>
                  <a:cubicBezTo>
                    <a:pt x="240" y="603"/>
                    <a:pt x="240" y="603"/>
                    <a:pt x="240" y="603"/>
                  </a:cubicBezTo>
                  <a:cubicBezTo>
                    <a:pt x="248" y="616"/>
                    <a:pt x="248" y="616"/>
                    <a:pt x="248" y="616"/>
                  </a:cubicBezTo>
                  <a:cubicBezTo>
                    <a:pt x="266" y="611"/>
                    <a:pt x="266" y="611"/>
                    <a:pt x="266" y="611"/>
                  </a:cubicBezTo>
                  <a:cubicBezTo>
                    <a:pt x="266" y="603"/>
                    <a:pt x="266" y="603"/>
                    <a:pt x="266" y="603"/>
                  </a:cubicBezTo>
                  <a:cubicBezTo>
                    <a:pt x="263" y="603"/>
                    <a:pt x="267" y="593"/>
                    <a:pt x="267" y="593"/>
                  </a:cubicBezTo>
                  <a:cubicBezTo>
                    <a:pt x="266" y="603"/>
                    <a:pt x="266" y="603"/>
                    <a:pt x="266" y="603"/>
                  </a:cubicBezTo>
                  <a:cubicBezTo>
                    <a:pt x="267" y="603"/>
                    <a:pt x="269" y="602"/>
                    <a:pt x="271" y="600"/>
                  </a:cubicBezTo>
                  <a:cubicBezTo>
                    <a:pt x="282" y="591"/>
                    <a:pt x="300" y="584"/>
                    <a:pt x="300" y="584"/>
                  </a:cubicBezTo>
                  <a:cubicBezTo>
                    <a:pt x="318" y="635"/>
                    <a:pt x="318" y="635"/>
                    <a:pt x="318" y="635"/>
                  </a:cubicBezTo>
                  <a:cubicBezTo>
                    <a:pt x="318" y="635"/>
                    <a:pt x="318" y="635"/>
                    <a:pt x="342" y="627"/>
                  </a:cubicBezTo>
                  <a:cubicBezTo>
                    <a:pt x="346" y="600"/>
                    <a:pt x="356" y="624"/>
                    <a:pt x="356" y="624"/>
                  </a:cubicBezTo>
                  <a:cubicBezTo>
                    <a:pt x="378" y="629"/>
                    <a:pt x="378" y="629"/>
                    <a:pt x="378" y="629"/>
                  </a:cubicBezTo>
                  <a:cubicBezTo>
                    <a:pt x="399" y="655"/>
                    <a:pt x="399" y="655"/>
                    <a:pt x="399" y="655"/>
                  </a:cubicBezTo>
                  <a:cubicBezTo>
                    <a:pt x="424" y="644"/>
                    <a:pt x="424" y="644"/>
                    <a:pt x="424" y="644"/>
                  </a:cubicBezTo>
                  <a:cubicBezTo>
                    <a:pt x="424" y="628"/>
                    <a:pt x="424" y="628"/>
                    <a:pt x="424" y="628"/>
                  </a:cubicBezTo>
                  <a:cubicBezTo>
                    <a:pt x="443" y="619"/>
                    <a:pt x="443" y="619"/>
                    <a:pt x="443" y="619"/>
                  </a:cubicBezTo>
                  <a:cubicBezTo>
                    <a:pt x="444" y="613"/>
                    <a:pt x="444" y="613"/>
                    <a:pt x="444" y="613"/>
                  </a:cubicBezTo>
                  <a:cubicBezTo>
                    <a:pt x="472" y="612"/>
                    <a:pt x="472" y="612"/>
                    <a:pt x="472" y="612"/>
                  </a:cubicBezTo>
                  <a:cubicBezTo>
                    <a:pt x="484" y="584"/>
                    <a:pt x="484" y="584"/>
                    <a:pt x="484" y="584"/>
                  </a:cubicBezTo>
                  <a:cubicBezTo>
                    <a:pt x="504" y="580"/>
                    <a:pt x="504" y="580"/>
                    <a:pt x="504" y="580"/>
                  </a:cubicBezTo>
                  <a:cubicBezTo>
                    <a:pt x="504" y="560"/>
                    <a:pt x="504" y="560"/>
                    <a:pt x="504" y="560"/>
                  </a:cubicBezTo>
                  <a:cubicBezTo>
                    <a:pt x="519" y="560"/>
                    <a:pt x="519" y="560"/>
                    <a:pt x="519" y="560"/>
                  </a:cubicBezTo>
                  <a:cubicBezTo>
                    <a:pt x="519" y="560"/>
                    <a:pt x="512" y="548"/>
                    <a:pt x="512" y="544"/>
                  </a:cubicBezTo>
                  <a:cubicBezTo>
                    <a:pt x="512" y="540"/>
                    <a:pt x="522" y="535"/>
                    <a:pt x="522" y="535"/>
                  </a:cubicBezTo>
                  <a:cubicBezTo>
                    <a:pt x="519" y="523"/>
                    <a:pt x="519" y="523"/>
                    <a:pt x="519" y="523"/>
                  </a:cubicBezTo>
                  <a:cubicBezTo>
                    <a:pt x="533" y="534"/>
                    <a:pt x="533" y="534"/>
                    <a:pt x="533" y="534"/>
                  </a:cubicBezTo>
                  <a:cubicBezTo>
                    <a:pt x="532" y="533"/>
                    <a:pt x="532" y="529"/>
                    <a:pt x="536" y="517"/>
                  </a:cubicBezTo>
                  <a:cubicBezTo>
                    <a:pt x="550" y="468"/>
                    <a:pt x="519" y="489"/>
                    <a:pt x="519" y="489"/>
                  </a:cubicBezTo>
                  <a:cubicBezTo>
                    <a:pt x="512" y="471"/>
                    <a:pt x="512" y="471"/>
                    <a:pt x="512" y="471"/>
                  </a:cubicBezTo>
                  <a:cubicBezTo>
                    <a:pt x="507" y="467"/>
                    <a:pt x="507" y="467"/>
                    <a:pt x="507" y="467"/>
                  </a:cubicBezTo>
                  <a:cubicBezTo>
                    <a:pt x="520" y="456"/>
                    <a:pt x="495" y="459"/>
                    <a:pt x="488" y="449"/>
                  </a:cubicBezTo>
                  <a:cubicBezTo>
                    <a:pt x="482" y="440"/>
                    <a:pt x="452" y="455"/>
                    <a:pt x="452" y="455"/>
                  </a:cubicBezTo>
                  <a:cubicBezTo>
                    <a:pt x="450" y="463"/>
                    <a:pt x="450" y="463"/>
                    <a:pt x="450" y="463"/>
                  </a:cubicBezTo>
                  <a:cubicBezTo>
                    <a:pt x="444" y="456"/>
                    <a:pt x="444" y="456"/>
                    <a:pt x="444" y="456"/>
                  </a:cubicBezTo>
                  <a:cubicBezTo>
                    <a:pt x="434" y="461"/>
                    <a:pt x="434" y="461"/>
                    <a:pt x="434" y="461"/>
                  </a:cubicBezTo>
                  <a:cubicBezTo>
                    <a:pt x="430" y="449"/>
                    <a:pt x="430" y="449"/>
                    <a:pt x="430" y="449"/>
                  </a:cubicBezTo>
                  <a:cubicBezTo>
                    <a:pt x="418" y="449"/>
                    <a:pt x="418" y="449"/>
                    <a:pt x="418" y="449"/>
                  </a:cubicBezTo>
                  <a:cubicBezTo>
                    <a:pt x="412" y="468"/>
                    <a:pt x="412" y="468"/>
                    <a:pt x="412" y="468"/>
                  </a:cubicBezTo>
                  <a:cubicBezTo>
                    <a:pt x="408" y="445"/>
                    <a:pt x="408" y="445"/>
                    <a:pt x="408" y="445"/>
                  </a:cubicBezTo>
                  <a:cubicBezTo>
                    <a:pt x="408" y="445"/>
                    <a:pt x="422" y="439"/>
                    <a:pt x="424" y="432"/>
                  </a:cubicBezTo>
                  <a:cubicBezTo>
                    <a:pt x="436" y="412"/>
                    <a:pt x="396" y="376"/>
                    <a:pt x="391" y="376"/>
                  </a:cubicBezTo>
                  <a:cubicBezTo>
                    <a:pt x="387" y="356"/>
                    <a:pt x="364" y="320"/>
                    <a:pt x="364" y="320"/>
                  </a:cubicBezTo>
                  <a:cubicBezTo>
                    <a:pt x="366" y="292"/>
                    <a:pt x="366" y="292"/>
                    <a:pt x="366" y="292"/>
                  </a:cubicBezTo>
                  <a:cubicBezTo>
                    <a:pt x="374" y="289"/>
                    <a:pt x="374" y="289"/>
                    <a:pt x="374" y="289"/>
                  </a:cubicBezTo>
                  <a:cubicBezTo>
                    <a:pt x="362" y="273"/>
                    <a:pt x="362" y="273"/>
                    <a:pt x="362" y="273"/>
                  </a:cubicBezTo>
                  <a:cubicBezTo>
                    <a:pt x="362" y="261"/>
                    <a:pt x="362" y="261"/>
                    <a:pt x="362" y="261"/>
                  </a:cubicBezTo>
                  <a:cubicBezTo>
                    <a:pt x="387" y="252"/>
                    <a:pt x="387" y="252"/>
                    <a:pt x="387" y="252"/>
                  </a:cubicBezTo>
                  <a:cubicBezTo>
                    <a:pt x="386" y="217"/>
                    <a:pt x="386" y="217"/>
                    <a:pt x="386" y="217"/>
                  </a:cubicBezTo>
                  <a:cubicBezTo>
                    <a:pt x="379" y="204"/>
                    <a:pt x="379" y="204"/>
                    <a:pt x="379" y="204"/>
                  </a:cubicBezTo>
                  <a:cubicBezTo>
                    <a:pt x="383" y="189"/>
                    <a:pt x="383" y="189"/>
                    <a:pt x="383" y="189"/>
                  </a:cubicBezTo>
                  <a:cubicBezTo>
                    <a:pt x="378" y="176"/>
                    <a:pt x="378" y="176"/>
                    <a:pt x="378" y="176"/>
                  </a:cubicBezTo>
                  <a:cubicBezTo>
                    <a:pt x="403" y="165"/>
                    <a:pt x="403" y="165"/>
                    <a:pt x="403" y="165"/>
                  </a:cubicBezTo>
                  <a:cubicBezTo>
                    <a:pt x="403" y="156"/>
                    <a:pt x="403" y="156"/>
                    <a:pt x="403" y="156"/>
                  </a:cubicBezTo>
                  <a:cubicBezTo>
                    <a:pt x="411" y="159"/>
                    <a:pt x="411" y="159"/>
                    <a:pt x="411" y="159"/>
                  </a:cubicBezTo>
                  <a:cubicBezTo>
                    <a:pt x="416" y="145"/>
                    <a:pt x="416" y="145"/>
                    <a:pt x="416" y="145"/>
                  </a:cubicBezTo>
                  <a:cubicBezTo>
                    <a:pt x="423" y="145"/>
                    <a:pt x="423" y="145"/>
                    <a:pt x="423" y="145"/>
                  </a:cubicBezTo>
                  <a:cubicBezTo>
                    <a:pt x="423" y="145"/>
                    <a:pt x="423" y="116"/>
                    <a:pt x="424" y="101"/>
                  </a:cubicBezTo>
                  <a:cubicBezTo>
                    <a:pt x="426" y="87"/>
                    <a:pt x="398" y="97"/>
                    <a:pt x="398" y="97"/>
                  </a:cubicBezTo>
                  <a:cubicBezTo>
                    <a:pt x="387" y="84"/>
                    <a:pt x="387" y="84"/>
                    <a:pt x="387" y="84"/>
                  </a:cubicBezTo>
                  <a:cubicBezTo>
                    <a:pt x="370" y="81"/>
                    <a:pt x="370" y="81"/>
                    <a:pt x="370" y="81"/>
                  </a:cubicBezTo>
                  <a:cubicBezTo>
                    <a:pt x="366" y="63"/>
                    <a:pt x="366" y="63"/>
                    <a:pt x="366" y="63"/>
                  </a:cubicBezTo>
                  <a:cubicBezTo>
                    <a:pt x="366" y="63"/>
                    <a:pt x="336" y="12"/>
                    <a:pt x="332" y="8"/>
                  </a:cubicBezTo>
                  <a:cubicBezTo>
                    <a:pt x="328" y="4"/>
                    <a:pt x="327" y="32"/>
                    <a:pt x="327" y="32"/>
                  </a:cubicBezTo>
                  <a:cubicBezTo>
                    <a:pt x="318" y="31"/>
                    <a:pt x="318" y="31"/>
                    <a:pt x="318" y="31"/>
                  </a:cubicBezTo>
                  <a:cubicBezTo>
                    <a:pt x="306" y="45"/>
                    <a:pt x="306" y="45"/>
                    <a:pt x="306" y="45"/>
                  </a:cubicBezTo>
                  <a:cubicBezTo>
                    <a:pt x="306" y="31"/>
                    <a:pt x="306" y="31"/>
                    <a:pt x="306" y="31"/>
                  </a:cubicBezTo>
                  <a:cubicBezTo>
                    <a:pt x="294" y="24"/>
                    <a:pt x="294" y="24"/>
                    <a:pt x="294" y="24"/>
                  </a:cubicBezTo>
                  <a:cubicBezTo>
                    <a:pt x="294" y="24"/>
                    <a:pt x="283" y="32"/>
                    <a:pt x="279" y="32"/>
                  </a:cubicBezTo>
                  <a:cubicBezTo>
                    <a:pt x="275" y="32"/>
                    <a:pt x="267" y="25"/>
                    <a:pt x="263" y="25"/>
                  </a:cubicBezTo>
                  <a:cubicBezTo>
                    <a:pt x="259" y="25"/>
                    <a:pt x="254" y="36"/>
                    <a:pt x="244" y="35"/>
                  </a:cubicBezTo>
                  <a:cubicBezTo>
                    <a:pt x="236" y="34"/>
                    <a:pt x="220" y="9"/>
                    <a:pt x="213" y="1"/>
                  </a:cubicBezTo>
                  <a:cubicBezTo>
                    <a:pt x="188" y="0"/>
                    <a:pt x="178" y="8"/>
                    <a:pt x="171" y="23"/>
                  </a:cubicBezTo>
                  <a:cubicBezTo>
                    <a:pt x="163" y="39"/>
                    <a:pt x="148" y="17"/>
                    <a:pt x="144" y="17"/>
                  </a:cubicBezTo>
                  <a:cubicBezTo>
                    <a:pt x="140" y="17"/>
                    <a:pt x="122" y="36"/>
                    <a:pt x="122" y="36"/>
                  </a:cubicBezTo>
                  <a:cubicBezTo>
                    <a:pt x="122" y="36"/>
                    <a:pt x="122" y="44"/>
                    <a:pt x="115" y="49"/>
                  </a:cubicBezTo>
                  <a:cubicBezTo>
                    <a:pt x="108" y="55"/>
                    <a:pt x="118" y="77"/>
                    <a:pt x="118" y="77"/>
                  </a:cubicBezTo>
                  <a:cubicBezTo>
                    <a:pt x="118" y="77"/>
                    <a:pt x="118" y="77"/>
                    <a:pt x="102" y="88"/>
                  </a:cubicBezTo>
                  <a:cubicBezTo>
                    <a:pt x="72" y="77"/>
                    <a:pt x="50" y="111"/>
                    <a:pt x="46" y="118"/>
                  </a:cubicBezTo>
                  <a:cubicBezTo>
                    <a:pt x="50" y="135"/>
                    <a:pt x="50" y="135"/>
                    <a:pt x="50" y="135"/>
                  </a:cubicBezTo>
                  <a:cubicBezTo>
                    <a:pt x="56" y="135"/>
                    <a:pt x="56" y="135"/>
                    <a:pt x="56" y="135"/>
                  </a:cubicBezTo>
                  <a:cubicBezTo>
                    <a:pt x="56" y="135"/>
                    <a:pt x="35" y="163"/>
                    <a:pt x="74" y="151"/>
                  </a:cubicBezTo>
                  <a:cubicBezTo>
                    <a:pt x="76" y="152"/>
                    <a:pt x="78" y="161"/>
                    <a:pt x="78" y="161"/>
                  </a:cubicBezTo>
                  <a:cubicBezTo>
                    <a:pt x="92" y="163"/>
                    <a:pt x="92" y="163"/>
                    <a:pt x="92" y="163"/>
                  </a:cubicBezTo>
                  <a:cubicBezTo>
                    <a:pt x="111" y="212"/>
                    <a:pt x="111" y="212"/>
                    <a:pt x="111" y="212"/>
                  </a:cubicBezTo>
                  <a:cubicBezTo>
                    <a:pt x="111" y="212"/>
                    <a:pt x="91" y="225"/>
                    <a:pt x="120" y="248"/>
                  </a:cubicBezTo>
                  <a:cubicBezTo>
                    <a:pt x="118" y="252"/>
                    <a:pt x="119" y="268"/>
                    <a:pt x="119" y="268"/>
                  </a:cubicBezTo>
                  <a:cubicBezTo>
                    <a:pt x="119" y="268"/>
                    <a:pt x="106" y="269"/>
                    <a:pt x="100" y="292"/>
                  </a:cubicBezTo>
                  <a:cubicBezTo>
                    <a:pt x="95" y="315"/>
                    <a:pt x="84" y="300"/>
                    <a:pt x="84" y="300"/>
                  </a:cubicBezTo>
                  <a:cubicBezTo>
                    <a:pt x="84" y="300"/>
                    <a:pt x="62" y="301"/>
                    <a:pt x="84" y="333"/>
                  </a:cubicBezTo>
                  <a:cubicBezTo>
                    <a:pt x="107" y="365"/>
                    <a:pt x="100" y="372"/>
                    <a:pt x="100" y="372"/>
                  </a:cubicBezTo>
                  <a:cubicBezTo>
                    <a:pt x="100" y="372"/>
                    <a:pt x="80" y="376"/>
                    <a:pt x="99" y="400"/>
                  </a:cubicBezTo>
                  <a:cubicBezTo>
                    <a:pt x="96" y="432"/>
                    <a:pt x="91" y="437"/>
                    <a:pt x="91" y="437"/>
                  </a:cubicBezTo>
                  <a:cubicBezTo>
                    <a:pt x="102" y="449"/>
                    <a:pt x="102" y="449"/>
                    <a:pt x="102" y="449"/>
                  </a:cubicBezTo>
                  <a:cubicBezTo>
                    <a:pt x="83" y="455"/>
                    <a:pt x="83" y="455"/>
                    <a:pt x="83" y="455"/>
                  </a:cubicBezTo>
                  <a:cubicBezTo>
                    <a:pt x="83" y="455"/>
                    <a:pt x="72" y="440"/>
                    <a:pt x="66" y="441"/>
                  </a:cubicBezTo>
                  <a:cubicBezTo>
                    <a:pt x="59" y="443"/>
                    <a:pt x="66" y="472"/>
                    <a:pt x="66" y="472"/>
                  </a:cubicBezTo>
                  <a:cubicBezTo>
                    <a:pt x="52" y="473"/>
                    <a:pt x="52" y="473"/>
                    <a:pt x="52" y="473"/>
                  </a:cubicBezTo>
                  <a:cubicBezTo>
                    <a:pt x="44" y="481"/>
                    <a:pt x="44" y="481"/>
                    <a:pt x="44" y="481"/>
                  </a:cubicBezTo>
                  <a:cubicBezTo>
                    <a:pt x="27" y="508"/>
                    <a:pt x="27" y="508"/>
                    <a:pt x="27" y="508"/>
                  </a:cubicBezTo>
                  <a:cubicBezTo>
                    <a:pt x="31" y="519"/>
                    <a:pt x="31" y="519"/>
                    <a:pt x="31" y="519"/>
                  </a:cubicBezTo>
                  <a:cubicBezTo>
                    <a:pt x="23" y="528"/>
                    <a:pt x="23" y="528"/>
                    <a:pt x="23" y="528"/>
                  </a:cubicBezTo>
                  <a:cubicBezTo>
                    <a:pt x="24" y="547"/>
                    <a:pt x="24" y="547"/>
                    <a:pt x="24" y="547"/>
                  </a:cubicBezTo>
                  <a:cubicBezTo>
                    <a:pt x="24" y="547"/>
                    <a:pt x="0" y="551"/>
                    <a:pt x="12" y="573"/>
                  </a:cubicBezTo>
                  <a:cubicBezTo>
                    <a:pt x="8" y="574"/>
                    <a:pt x="5" y="576"/>
                    <a:pt x="3" y="578"/>
                  </a:cubicBezTo>
                  <a:cubicBezTo>
                    <a:pt x="6" y="591"/>
                    <a:pt x="4" y="608"/>
                    <a:pt x="4" y="608"/>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6" name="Provence" descr="© INSCALE GmbH, 05.05.2010&#10;http://www.presentationload.com/">
              <a:extLst>
                <a:ext uri="{FF2B5EF4-FFF2-40B4-BE49-F238E27FC236}">
                  <a16:creationId xmlns:a16="http://schemas.microsoft.com/office/drawing/2014/main" id="{9A4171FE-BD58-4F57-89AE-DD2732B8B4B6}"/>
                </a:ext>
              </a:extLst>
            </p:cNvPr>
            <p:cNvSpPr>
              <a:spLocks/>
            </p:cNvSpPr>
            <p:nvPr/>
          </p:nvSpPr>
          <p:spPr bwMode="gray">
            <a:xfrm>
              <a:off x="2233" y="2198"/>
              <a:ext cx="838" cy="739"/>
            </a:xfrm>
            <a:custGeom>
              <a:avLst/>
              <a:gdLst/>
              <a:ahLst/>
              <a:cxnLst>
                <a:cxn ang="0">
                  <a:pos x="68" y="539"/>
                </a:cxn>
                <a:cxn ang="0">
                  <a:pos x="78" y="572"/>
                </a:cxn>
                <a:cxn ang="0">
                  <a:pos x="129" y="586"/>
                </a:cxn>
                <a:cxn ang="0">
                  <a:pos x="134" y="565"/>
                </a:cxn>
                <a:cxn ang="0">
                  <a:pos x="161" y="554"/>
                </a:cxn>
                <a:cxn ang="0">
                  <a:pos x="214" y="585"/>
                </a:cxn>
                <a:cxn ang="0">
                  <a:pos x="251" y="596"/>
                </a:cxn>
                <a:cxn ang="0">
                  <a:pos x="255" y="612"/>
                </a:cxn>
                <a:cxn ang="0">
                  <a:pos x="295" y="632"/>
                </a:cxn>
                <a:cxn ang="0">
                  <a:pos x="332" y="649"/>
                </a:cxn>
                <a:cxn ang="0">
                  <a:pos x="364" y="684"/>
                </a:cxn>
                <a:cxn ang="0">
                  <a:pos x="407" y="679"/>
                </a:cxn>
                <a:cxn ang="0">
                  <a:pos x="426" y="679"/>
                </a:cxn>
                <a:cxn ang="0">
                  <a:pos x="465" y="665"/>
                </a:cxn>
                <a:cxn ang="0">
                  <a:pos x="526" y="641"/>
                </a:cxn>
                <a:cxn ang="0">
                  <a:pos x="549" y="634"/>
                </a:cxn>
                <a:cxn ang="0">
                  <a:pos x="532" y="604"/>
                </a:cxn>
                <a:cxn ang="0">
                  <a:pos x="569" y="558"/>
                </a:cxn>
                <a:cxn ang="0">
                  <a:pos x="631" y="523"/>
                </a:cxn>
                <a:cxn ang="0">
                  <a:pos x="667" y="477"/>
                </a:cxn>
                <a:cxn ang="0">
                  <a:pos x="691" y="466"/>
                </a:cxn>
                <a:cxn ang="0">
                  <a:pos x="715" y="460"/>
                </a:cxn>
                <a:cxn ang="0">
                  <a:pos x="723" y="445"/>
                </a:cxn>
                <a:cxn ang="0">
                  <a:pos x="727" y="410"/>
                </a:cxn>
                <a:cxn ang="0">
                  <a:pos x="749" y="384"/>
                </a:cxn>
                <a:cxn ang="0">
                  <a:pos x="764" y="325"/>
                </a:cxn>
                <a:cxn ang="0">
                  <a:pos x="758" y="308"/>
                </a:cxn>
                <a:cxn ang="0">
                  <a:pos x="725" y="323"/>
                </a:cxn>
                <a:cxn ang="0">
                  <a:pos x="630" y="285"/>
                </a:cxn>
                <a:cxn ang="0">
                  <a:pos x="612" y="282"/>
                </a:cxn>
                <a:cxn ang="0">
                  <a:pos x="589" y="238"/>
                </a:cxn>
                <a:cxn ang="0">
                  <a:pos x="579" y="182"/>
                </a:cxn>
                <a:cxn ang="0">
                  <a:pos x="609" y="133"/>
                </a:cxn>
                <a:cxn ang="0">
                  <a:pos x="614" y="82"/>
                </a:cxn>
                <a:cxn ang="0">
                  <a:pos x="548" y="49"/>
                </a:cxn>
                <a:cxn ang="0">
                  <a:pos x="534" y="16"/>
                </a:cxn>
                <a:cxn ang="0">
                  <a:pos x="528" y="2"/>
                </a:cxn>
                <a:cxn ang="0">
                  <a:pos x="501" y="14"/>
                </a:cxn>
                <a:cxn ang="0">
                  <a:pos x="476" y="0"/>
                </a:cxn>
                <a:cxn ang="0">
                  <a:pos x="449" y="11"/>
                </a:cxn>
                <a:cxn ang="0">
                  <a:pos x="468" y="40"/>
                </a:cxn>
                <a:cxn ang="0">
                  <a:pos x="413" y="94"/>
                </a:cxn>
                <a:cxn ang="0">
                  <a:pos x="361" y="116"/>
                </a:cxn>
                <a:cxn ang="0">
                  <a:pos x="321" y="162"/>
                </a:cxn>
                <a:cxn ang="0">
                  <a:pos x="325" y="198"/>
                </a:cxn>
                <a:cxn ang="0">
                  <a:pos x="281" y="206"/>
                </a:cxn>
                <a:cxn ang="0">
                  <a:pos x="286" y="230"/>
                </a:cxn>
                <a:cxn ang="0">
                  <a:pos x="286" y="256"/>
                </a:cxn>
                <a:cxn ang="0">
                  <a:pos x="334" y="278"/>
                </a:cxn>
                <a:cxn ang="0">
                  <a:pos x="322" y="311"/>
                </a:cxn>
                <a:cxn ang="0">
                  <a:pos x="288" y="326"/>
                </a:cxn>
                <a:cxn ang="0">
                  <a:pos x="265" y="314"/>
                </a:cxn>
                <a:cxn ang="0">
                  <a:pos x="237" y="295"/>
                </a:cxn>
                <a:cxn ang="0">
                  <a:pos x="213" y="294"/>
                </a:cxn>
                <a:cxn ang="0">
                  <a:pos x="201" y="276"/>
                </a:cxn>
                <a:cxn ang="0">
                  <a:pos x="136" y="296"/>
                </a:cxn>
                <a:cxn ang="0">
                  <a:pos x="100" y="283"/>
                </a:cxn>
                <a:cxn ang="0">
                  <a:pos x="104" y="303"/>
                </a:cxn>
                <a:cxn ang="0">
                  <a:pos x="114" y="343"/>
                </a:cxn>
                <a:cxn ang="0">
                  <a:pos x="145" y="371"/>
                </a:cxn>
                <a:cxn ang="0">
                  <a:pos x="94" y="472"/>
                </a:cxn>
                <a:cxn ang="0">
                  <a:pos x="54" y="490"/>
                </a:cxn>
                <a:cxn ang="0">
                  <a:pos x="0" y="540"/>
                </a:cxn>
              </a:cxnLst>
              <a:rect l="0" t="0" r="r" b="b"/>
              <a:pathLst>
                <a:path w="778" h="684">
                  <a:moveTo>
                    <a:pt x="2" y="541"/>
                  </a:moveTo>
                  <a:cubicBezTo>
                    <a:pt x="3" y="544"/>
                    <a:pt x="54" y="539"/>
                    <a:pt x="68" y="539"/>
                  </a:cubicBezTo>
                  <a:cubicBezTo>
                    <a:pt x="82" y="539"/>
                    <a:pt x="80" y="555"/>
                    <a:pt x="80" y="555"/>
                  </a:cubicBezTo>
                  <a:cubicBezTo>
                    <a:pt x="57" y="564"/>
                    <a:pt x="80" y="563"/>
                    <a:pt x="78" y="572"/>
                  </a:cubicBezTo>
                  <a:cubicBezTo>
                    <a:pt x="76" y="581"/>
                    <a:pt x="119" y="577"/>
                    <a:pt x="119" y="577"/>
                  </a:cubicBezTo>
                  <a:cubicBezTo>
                    <a:pt x="119" y="577"/>
                    <a:pt x="127" y="583"/>
                    <a:pt x="129" y="586"/>
                  </a:cubicBezTo>
                  <a:cubicBezTo>
                    <a:pt x="131" y="589"/>
                    <a:pt x="138" y="577"/>
                    <a:pt x="144" y="575"/>
                  </a:cubicBezTo>
                  <a:cubicBezTo>
                    <a:pt x="150" y="573"/>
                    <a:pt x="138" y="576"/>
                    <a:pt x="134" y="565"/>
                  </a:cubicBezTo>
                  <a:cubicBezTo>
                    <a:pt x="130" y="554"/>
                    <a:pt x="139" y="558"/>
                    <a:pt x="139" y="554"/>
                  </a:cubicBezTo>
                  <a:cubicBezTo>
                    <a:pt x="139" y="550"/>
                    <a:pt x="151" y="554"/>
                    <a:pt x="161" y="554"/>
                  </a:cubicBezTo>
                  <a:cubicBezTo>
                    <a:pt x="171" y="554"/>
                    <a:pt x="177" y="583"/>
                    <a:pt x="177" y="583"/>
                  </a:cubicBezTo>
                  <a:cubicBezTo>
                    <a:pt x="214" y="585"/>
                    <a:pt x="214" y="585"/>
                    <a:pt x="214" y="585"/>
                  </a:cubicBezTo>
                  <a:cubicBezTo>
                    <a:pt x="214" y="585"/>
                    <a:pt x="233" y="578"/>
                    <a:pt x="240" y="569"/>
                  </a:cubicBezTo>
                  <a:cubicBezTo>
                    <a:pt x="247" y="560"/>
                    <a:pt x="251" y="596"/>
                    <a:pt x="251" y="596"/>
                  </a:cubicBezTo>
                  <a:cubicBezTo>
                    <a:pt x="251" y="596"/>
                    <a:pt x="248" y="600"/>
                    <a:pt x="245" y="600"/>
                  </a:cubicBezTo>
                  <a:cubicBezTo>
                    <a:pt x="242" y="600"/>
                    <a:pt x="252" y="608"/>
                    <a:pt x="255" y="612"/>
                  </a:cubicBezTo>
                  <a:cubicBezTo>
                    <a:pt x="258" y="616"/>
                    <a:pt x="248" y="623"/>
                    <a:pt x="248" y="623"/>
                  </a:cubicBezTo>
                  <a:cubicBezTo>
                    <a:pt x="248" y="623"/>
                    <a:pt x="291" y="631"/>
                    <a:pt x="295" y="632"/>
                  </a:cubicBezTo>
                  <a:cubicBezTo>
                    <a:pt x="305" y="651"/>
                    <a:pt x="316" y="636"/>
                    <a:pt x="322" y="637"/>
                  </a:cubicBezTo>
                  <a:cubicBezTo>
                    <a:pt x="328" y="638"/>
                    <a:pt x="320" y="648"/>
                    <a:pt x="332" y="649"/>
                  </a:cubicBezTo>
                  <a:cubicBezTo>
                    <a:pt x="344" y="650"/>
                    <a:pt x="354" y="671"/>
                    <a:pt x="348" y="676"/>
                  </a:cubicBezTo>
                  <a:cubicBezTo>
                    <a:pt x="342" y="681"/>
                    <a:pt x="356" y="680"/>
                    <a:pt x="364" y="684"/>
                  </a:cubicBezTo>
                  <a:cubicBezTo>
                    <a:pt x="372" y="671"/>
                    <a:pt x="393" y="669"/>
                    <a:pt x="399" y="666"/>
                  </a:cubicBezTo>
                  <a:cubicBezTo>
                    <a:pt x="405" y="663"/>
                    <a:pt x="404" y="681"/>
                    <a:pt x="407" y="679"/>
                  </a:cubicBezTo>
                  <a:cubicBezTo>
                    <a:pt x="410" y="677"/>
                    <a:pt x="418" y="669"/>
                    <a:pt x="424" y="674"/>
                  </a:cubicBezTo>
                  <a:cubicBezTo>
                    <a:pt x="426" y="676"/>
                    <a:pt x="426" y="678"/>
                    <a:pt x="426" y="679"/>
                  </a:cubicBezTo>
                  <a:cubicBezTo>
                    <a:pt x="427" y="679"/>
                    <a:pt x="437" y="672"/>
                    <a:pt x="443" y="663"/>
                  </a:cubicBezTo>
                  <a:cubicBezTo>
                    <a:pt x="449" y="654"/>
                    <a:pt x="443" y="663"/>
                    <a:pt x="465" y="665"/>
                  </a:cubicBezTo>
                  <a:cubicBezTo>
                    <a:pt x="472" y="679"/>
                    <a:pt x="481" y="671"/>
                    <a:pt x="481" y="671"/>
                  </a:cubicBezTo>
                  <a:cubicBezTo>
                    <a:pt x="469" y="660"/>
                    <a:pt x="520" y="642"/>
                    <a:pt x="526" y="641"/>
                  </a:cubicBezTo>
                  <a:cubicBezTo>
                    <a:pt x="532" y="640"/>
                    <a:pt x="538" y="646"/>
                    <a:pt x="538" y="646"/>
                  </a:cubicBezTo>
                  <a:cubicBezTo>
                    <a:pt x="538" y="646"/>
                    <a:pt x="547" y="639"/>
                    <a:pt x="549" y="634"/>
                  </a:cubicBezTo>
                  <a:cubicBezTo>
                    <a:pt x="551" y="629"/>
                    <a:pt x="551" y="618"/>
                    <a:pt x="548" y="610"/>
                  </a:cubicBezTo>
                  <a:cubicBezTo>
                    <a:pt x="518" y="622"/>
                    <a:pt x="535" y="604"/>
                    <a:pt x="532" y="604"/>
                  </a:cubicBezTo>
                  <a:cubicBezTo>
                    <a:pt x="529" y="604"/>
                    <a:pt x="552" y="584"/>
                    <a:pt x="560" y="578"/>
                  </a:cubicBezTo>
                  <a:cubicBezTo>
                    <a:pt x="559" y="561"/>
                    <a:pt x="569" y="558"/>
                    <a:pt x="569" y="558"/>
                  </a:cubicBezTo>
                  <a:cubicBezTo>
                    <a:pt x="581" y="586"/>
                    <a:pt x="609" y="532"/>
                    <a:pt x="609" y="532"/>
                  </a:cubicBezTo>
                  <a:cubicBezTo>
                    <a:pt x="603" y="509"/>
                    <a:pt x="629" y="516"/>
                    <a:pt x="631" y="523"/>
                  </a:cubicBezTo>
                  <a:cubicBezTo>
                    <a:pt x="630" y="511"/>
                    <a:pt x="644" y="515"/>
                    <a:pt x="648" y="508"/>
                  </a:cubicBezTo>
                  <a:cubicBezTo>
                    <a:pt x="647" y="480"/>
                    <a:pt x="667" y="477"/>
                    <a:pt x="667" y="477"/>
                  </a:cubicBezTo>
                  <a:cubicBezTo>
                    <a:pt x="675" y="465"/>
                    <a:pt x="675" y="465"/>
                    <a:pt x="675" y="465"/>
                  </a:cubicBezTo>
                  <a:cubicBezTo>
                    <a:pt x="691" y="466"/>
                    <a:pt x="691" y="466"/>
                    <a:pt x="691" y="466"/>
                  </a:cubicBezTo>
                  <a:cubicBezTo>
                    <a:pt x="696" y="456"/>
                    <a:pt x="696" y="456"/>
                    <a:pt x="696" y="456"/>
                  </a:cubicBezTo>
                  <a:cubicBezTo>
                    <a:pt x="715" y="460"/>
                    <a:pt x="715" y="460"/>
                    <a:pt x="715" y="460"/>
                  </a:cubicBezTo>
                  <a:cubicBezTo>
                    <a:pt x="713" y="442"/>
                    <a:pt x="713" y="442"/>
                    <a:pt x="713" y="442"/>
                  </a:cubicBezTo>
                  <a:cubicBezTo>
                    <a:pt x="723" y="445"/>
                    <a:pt x="723" y="445"/>
                    <a:pt x="723" y="445"/>
                  </a:cubicBezTo>
                  <a:cubicBezTo>
                    <a:pt x="736" y="435"/>
                    <a:pt x="736" y="435"/>
                    <a:pt x="736" y="435"/>
                  </a:cubicBezTo>
                  <a:cubicBezTo>
                    <a:pt x="727" y="410"/>
                    <a:pt x="727" y="410"/>
                    <a:pt x="727" y="410"/>
                  </a:cubicBezTo>
                  <a:cubicBezTo>
                    <a:pt x="746" y="398"/>
                    <a:pt x="746" y="398"/>
                    <a:pt x="746" y="398"/>
                  </a:cubicBezTo>
                  <a:cubicBezTo>
                    <a:pt x="749" y="384"/>
                    <a:pt x="749" y="384"/>
                    <a:pt x="749" y="384"/>
                  </a:cubicBezTo>
                  <a:cubicBezTo>
                    <a:pt x="763" y="390"/>
                    <a:pt x="778" y="338"/>
                    <a:pt x="778" y="338"/>
                  </a:cubicBezTo>
                  <a:cubicBezTo>
                    <a:pt x="764" y="325"/>
                    <a:pt x="764" y="325"/>
                    <a:pt x="764" y="325"/>
                  </a:cubicBezTo>
                  <a:cubicBezTo>
                    <a:pt x="768" y="311"/>
                    <a:pt x="768" y="311"/>
                    <a:pt x="768" y="311"/>
                  </a:cubicBezTo>
                  <a:cubicBezTo>
                    <a:pt x="758" y="308"/>
                    <a:pt x="758" y="308"/>
                    <a:pt x="758" y="308"/>
                  </a:cubicBezTo>
                  <a:cubicBezTo>
                    <a:pt x="751" y="316"/>
                    <a:pt x="751" y="316"/>
                    <a:pt x="751" y="316"/>
                  </a:cubicBezTo>
                  <a:cubicBezTo>
                    <a:pt x="751" y="316"/>
                    <a:pt x="730" y="316"/>
                    <a:pt x="725" y="323"/>
                  </a:cubicBezTo>
                  <a:cubicBezTo>
                    <a:pt x="717" y="339"/>
                    <a:pt x="690" y="316"/>
                    <a:pt x="690" y="316"/>
                  </a:cubicBezTo>
                  <a:cubicBezTo>
                    <a:pt x="630" y="285"/>
                    <a:pt x="630" y="285"/>
                    <a:pt x="630" y="285"/>
                  </a:cubicBezTo>
                  <a:cubicBezTo>
                    <a:pt x="623" y="288"/>
                    <a:pt x="623" y="288"/>
                    <a:pt x="623" y="288"/>
                  </a:cubicBezTo>
                  <a:cubicBezTo>
                    <a:pt x="612" y="282"/>
                    <a:pt x="612" y="282"/>
                    <a:pt x="612" y="282"/>
                  </a:cubicBezTo>
                  <a:cubicBezTo>
                    <a:pt x="613" y="271"/>
                    <a:pt x="613" y="271"/>
                    <a:pt x="613" y="271"/>
                  </a:cubicBezTo>
                  <a:cubicBezTo>
                    <a:pt x="589" y="238"/>
                    <a:pt x="589" y="238"/>
                    <a:pt x="589" y="238"/>
                  </a:cubicBezTo>
                  <a:cubicBezTo>
                    <a:pt x="598" y="219"/>
                    <a:pt x="598" y="219"/>
                    <a:pt x="598" y="219"/>
                  </a:cubicBezTo>
                  <a:cubicBezTo>
                    <a:pt x="579" y="182"/>
                    <a:pt x="579" y="182"/>
                    <a:pt x="579" y="182"/>
                  </a:cubicBezTo>
                  <a:cubicBezTo>
                    <a:pt x="579" y="182"/>
                    <a:pt x="601" y="155"/>
                    <a:pt x="604" y="152"/>
                  </a:cubicBezTo>
                  <a:cubicBezTo>
                    <a:pt x="598" y="134"/>
                    <a:pt x="611" y="136"/>
                    <a:pt x="609" y="133"/>
                  </a:cubicBezTo>
                  <a:cubicBezTo>
                    <a:pt x="622" y="140"/>
                    <a:pt x="620" y="121"/>
                    <a:pt x="624" y="123"/>
                  </a:cubicBezTo>
                  <a:cubicBezTo>
                    <a:pt x="611" y="113"/>
                    <a:pt x="614" y="82"/>
                    <a:pt x="614" y="82"/>
                  </a:cubicBezTo>
                  <a:cubicBezTo>
                    <a:pt x="577" y="74"/>
                    <a:pt x="577" y="74"/>
                    <a:pt x="577" y="74"/>
                  </a:cubicBezTo>
                  <a:cubicBezTo>
                    <a:pt x="548" y="49"/>
                    <a:pt x="548" y="49"/>
                    <a:pt x="548" y="49"/>
                  </a:cubicBezTo>
                  <a:cubicBezTo>
                    <a:pt x="550" y="19"/>
                    <a:pt x="550" y="19"/>
                    <a:pt x="550" y="19"/>
                  </a:cubicBezTo>
                  <a:cubicBezTo>
                    <a:pt x="534" y="16"/>
                    <a:pt x="534" y="16"/>
                    <a:pt x="534" y="16"/>
                  </a:cubicBezTo>
                  <a:cubicBezTo>
                    <a:pt x="532" y="7"/>
                    <a:pt x="532" y="7"/>
                    <a:pt x="532" y="7"/>
                  </a:cubicBezTo>
                  <a:cubicBezTo>
                    <a:pt x="530" y="6"/>
                    <a:pt x="529" y="4"/>
                    <a:pt x="528" y="2"/>
                  </a:cubicBezTo>
                  <a:cubicBezTo>
                    <a:pt x="504" y="6"/>
                    <a:pt x="504" y="6"/>
                    <a:pt x="504" y="6"/>
                  </a:cubicBezTo>
                  <a:cubicBezTo>
                    <a:pt x="501" y="14"/>
                    <a:pt x="501" y="14"/>
                    <a:pt x="501" y="14"/>
                  </a:cubicBezTo>
                  <a:cubicBezTo>
                    <a:pt x="477" y="14"/>
                    <a:pt x="477" y="14"/>
                    <a:pt x="477" y="14"/>
                  </a:cubicBezTo>
                  <a:cubicBezTo>
                    <a:pt x="476" y="0"/>
                    <a:pt x="476" y="0"/>
                    <a:pt x="476" y="0"/>
                  </a:cubicBezTo>
                  <a:cubicBezTo>
                    <a:pt x="446" y="3"/>
                    <a:pt x="446" y="3"/>
                    <a:pt x="446" y="3"/>
                  </a:cubicBezTo>
                  <a:cubicBezTo>
                    <a:pt x="449" y="11"/>
                    <a:pt x="449" y="11"/>
                    <a:pt x="449" y="11"/>
                  </a:cubicBezTo>
                  <a:cubicBezTo>
                    <a:pt x="449" y="11"/>
                    <a:pt x="444" y="24"/>
                    <a:pt x="444" y="35"/>
                  </a:cubicBezTo>
                  <a:cubicBezTo>
                    <a:pt x="444" y="46"/>
                    <a:pt x="468" y="40"/>
                    <a:pt x="468" y="40"/>
                  </a:cubicBezTo>
                  <a:cubicBezTo>
                    <a:pt x="468" y="40"/>
                    <a:pt x="469" y="59"/>
                    <a:pt x="476" y="82"/>
                  </a:cubicBezTo>
                  <a:cubicBezTo>
                    <a:pt x="410" y="80"/>
                    <a:pt x="420" y="100"/>
                    <a:pt x="413" y="94"/>
                  </a:cubicBezTo>
                  <a:cubicBezTo>
                    <a:pt x="406" y="87"/>
                    <a:pt x="397" y="110"/>
                    <a:pt x="397" y="110"/>
                  </a:cubicBezTo>
                  <a:cubicBezTo>
                    <a:pt x="397" y="110"/>
                    <a:pt x="373" y="116"/>
                    <a:pt x="361" y="116"/>
                  </a:cubicBezTo>
                  <a:cubicBezTo>
                    <a:pt x="349" y="116"/>
                    <a:pt x="354" y="128"/>
                    <a:pt x="358" y="138"/>
                  </a:cubicBezTo>
                  <a:cubicBezTo>
                    <a:pt x="362" y="147"/>
                    <a:pt x="321" y="162"/>
                    <a:pt x="321" y="162"/>
                  </a:cubicBezTo>
                  <a:cubicBezTo>
                    <a:pt x="308" y="188"/>
                    <a:pt x="308" y="188"/>
                    <a:pt x="308" y="188"/>
                  </a:cubicBezTo>
                  <a:cubicBezTo>
                    <a:pt x="325" y="198"/>
                    <a:pt x="325" y="198"/>
                    <a:pt x="325" y="198"/>
                  </a:cubicBezTo>
                  <a:cubicBezTo>
                    <a:pt x="310" y="210"/>
                    <a:pt x="310" y="210"/>
                    <a:pt x="310" y="210"/>
                  </a:cubicBezTo>
                  <a:cubicBezTo>
                    <a:pt x="281" y="206"/>
                    <a:pt x="281" y="206"/>
                    <a:pt x="281" y="206"/>
                  </a:cubicBezTo>
                  <a:cubicBezTo>
                    <a:pt x="278" y="218"/>
                    <a:pt x="278" y="218"/>
                    <a:pt x="278" y="218"/>
                  </a:cubicBezTo>
                  <a:cubicBezTo>
                    <a:pt x="286" y="230"/>
                    <a:pt x="286" y="230"/>
                    <a:pt x="286" y="230"/>
                  </a:cubicBezTo>
                  <a:cubicBezTo>
                    <a:pt x="270" y="231"/>
                    <a:pt x="270" y="231"/>
                    <a:pt x="270" y="231"/>
                  </a:cubicBezTo>
                  <a:cubicBezTo>
                    <a:pt x="286" y="256"/>
                    <a:pt x="286" y="256"/>
                    <a:pt x="286" y="256"/>
                  </a:cubicBezTo>
                  <a:cubicBezTo>
                    <a:pt x="317" y="258"/>
                    <a:pt x="317" y="258"/>
                    <a:pt x="317" y="258"/>
                  </a:cubicBezTo>
                  <a:cubicBezTo>
                    <a:pt x="334" y="278"/>
                    <a:pt x="334" y="278"/>
                    <a:pt x="334" y="278"/>
                  </a:cubicBezTo>
                  <a:cubicBezTo>
                    <a:pt x="334" y="300"/>
                    <a:pt x="334" y="300"/>
                    <a:pt x="334" y="300"/>
                  </a:cubicBezTo>
                  <a:cubicBezTo>
                    <a:pt x="334" y="300"/>
                    <a:pt x="320" y="314"/>
                    <a:pt x="322" y="311"/>
                  </a:cubicBezTo>
                  <a:cubicBezTo>
                    <a:pt x="298" y="303"/>
                    <a:pt x="308" y="314"/>
                    <a:pt x="308" y="314"/>
                  </a:cubicBezTo>
                  <a:cubicBezTo>
                    <a:pt x="288" y="326"/>
                    <a:pt x="288" y="326"/>
                    <a:pt x="288" y="326"/>
                  </a:cubicBezTo>
                  <a:cubicBezTo>
                    <a:pt x="278" y="319"/>
                    <a:pt x="278" y="319"/>
                    <a:pt x="278" y="319"/>
                  </a:cubicBezTo>
                  <a:cubicBezTo>
                    <a:pt x="278" y="319"/>
                    <a:pt x="265" y="323"/>
                    <a:pt x="265" y="314"/>
                  </a:cubicBezTo>
                  <a:cubicBezTo>
                    <a:pt x="265" y="304"/>
                    <a:pt x="258" y="300"/>
                    <a:pt x="258" y="300"/>
                  </a:cubicBezTo>
                  <a:cubicBezTo>
                    <a:pt x="237" y="295"/>
                    <a:pt x="237" y="295"/>
                    <a:pt x="237" y="295"/>
                  </a:cubicBezTo>
                  <a:cubicBezTo>
                    <a:pt x="238" y="302"/>
                    <a:pt x="238" y="302"/>
                    <a:pt x="238" y="302"/>
                  </a:cubicBezTo>
                  <a:cubicBezTo>
                    <a:pt x="213" y="294"/>
                    <a:pt x="213" y="294"/>
                    <a:pt x="213" y="294"/>
                  </a:cubicBezTo>
                  <a:cubicBezTo>
                    <a:pt x="213" y="270"/>
                    <a:pt x="213" y="270"/>
                    <a:pt x="213" y="270"/>
                  </a:cubicBezTo>
                  <a:cubicBezTo>
                    <a:pt x="201" y="276"/>
                    <a:pt x="201" y="276"/>
                    <a:pt x="201" y="276"/>
                  </a:cubicBezTo>
                  <a:cubicBezTo>
                    <a:pt x="190" y="272"/>
                    <a:pt x="190" y="272"/>
                    <a:pt x="190" y="272"/>
                  </a:cubicBezTo>
                  <a:cubicBezTo>
                    <a:pt x="136" y="296"/>
                    <a:pt x="136" y="296"/>
                    <a:pt x="136" y="296"/>
                  </a:cubicBezTo>
                  <a:cubicBezTo>
                    <a:pt x="134" y="260"/>
                    <a:pt x="100" y="268"/>
                    <a:pt x="100" y="268"/>
                  </a:cubicBezTo>
                  <a:cubicBezTo>
                    <a:pt x="100" y="283"/>
                    <a:pt x="100" y="283"/>
                    <a:pt x="100" y="283"/>
                  </a:cubicBezTo>
                  <a:cubicBezTo>
                    <a:pt x="95" y="281"/>
                    <a:pt x="95" y="281"/>
                    <a:pt x="95" y="281"/>
                  </a:cubicBezTo>
                  <a:cubicBezTo>
                    <a:pt x="104" y="303"/>
                    <a:pt x="104" y="303"/>
                    <a:pt x="104" y="303"/>
                  </a:cubicBezTo>
                  <a:cubicBezTo>
                    <a:pt x="114" y="304"/>
                    <a:pt x="114" y="304"/>
                    <a:pt x="114" y="304"/>
                  </a:cubicBezTo>
                  <a:cubicBezTo>
                    <a:pt x="114" y="343"/>
                    <a:pt x="114" y="343"/>
                    <a:pt x="114" y="343"/>
                  </a:cubicBezTo>
                  <a:cubicBezTo>
                    <a:pt x="125" y="339"/>
                    <a:pt x="125" y="339"/>
                    <a:pt x="125" y="339"/>
                  </a:cubicBezTo>
                  <a:cubicBezTo>
                    <a:pt x="145" y="371"/>
                    <a:pt x="145" y="371"/>
                    <a:pt x="145" y="371"/>
                  </a:cubicBezTo>
                  <a:cubicBezTo>
                    <a:pt x="102" y="415"/>
                    <a:pt x="102" y="415"/>
                    <a:pt x="102" y="415"/>
                  </a:cubicBezTo>
                  <a:cubicBezTo>
                    <a:pt x="94" y="472"/>
                    <a:pt x="94" y="472"/>
                    <a:pt x="94" y="472"/>
                  </a:cubicBezTo>
                  <a:cubicBezTo>
                    <a:pt x="69" y="466"/>
                    <a:pt x="69" y="466"/>
                    <a:pt x="69" y="466"/>
                  </a:cubicBezTo>
                  <a:cubicBezTo>
                    <a:pt x="54" y="490"/>
                    <a:pt x="54" y="490"/>
                    <a:pt x="54" y="490"/>
                  </a:cubicBezTo>
                  <a:cubicBezTo>
                    <a:pt x="58" y="500"/>
                    <a:pt x="58" y="500"/>
                    <a:pt x="58" y="500"/>
                  </a:cubicBezTo>
                  <a:cubicBezTo>
                    <a:pt x="0" y="540"/>
                    <a:pt x="0" y="540"/>
                    <a:pt x="0" y="540"/>
                  </a:cubicBezTo>
                  <a:cubicBezTo>
                    <a:pt x="1" y="541"/>
                    <a:pt x="2" y="541"/>
                    <a:pt x="2" y="54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7" name="Languedoc-Roussillon" descr="© INSCALE GmbH, 05.05.2010&#10;http://www.presentationload.com/">
              <a:extLst>
                <a:ext uri="{FF2B5EF4-FFF2-40B4-BE49-F238E27FC236}">
                  <a16:creationId xmlns:a16="http://schemas.microsoft.com/office/drawing/2014/main" id="{50A5143E-E69F-488B-AEDD-AD9B91FA6B95}"/>
                </a:ext>
              </a:extLst>
            </p:cNvPr>
            <p:cNvSpPr>
              <a:spLocks/>
            </p:cNvSpPr>
            <p:nvPr/>
          </p:nvSpPr>
          <p:spPr bwMode="gray">
            <a:xfrm>
              <a:off x="1594" y="2270"/>
              <a:ext cx="795" cy="930"/>
            </a:xfrm>
            <a:custGeom>
              <a:avLst/>
              <a:gdLst/>
              <a:ahLst/>
              <a:cxnLst>
                <a:cxn ang="0">
                  <a:pos x="20" y="800"/>
                </a:cxn>
                <a:cxn ang="0">
                  <a:pos x="61" y="817"/>
                </a:cxn>
                <a:cxn ang="0">
                  <a:pos x="99" y="847"/>
                </a:cxn>
                <a:cxn ang="0">
                  <a:pos x="151" y="830"/>
                </a:cxn>
                <a:cxn ang="0">
                  <a:pos x="230" y="858"/>
                </a:cxn>
                <a:cxn ang="0">
                  <a:pos x="248" y="831"/>
                </a:cxn>
                <a:cxn ang="0">
                  <a:pos x="282" y="817"/>
                </a:cxn>
                <a:cxn ang="0">
                  <a:pos x="318" y="812"/>
                </a:cxn>
                <a:cxn ang="0">
                  <a:pos x="347" y="824"/>
                </a:cxn>
                <a:cxn ang="0">
                  <a:pos x="335" y="788"/>
                </a:cxn>
                <a:cxn ang="0">
                  <a:pos x="322" y="658"/>
                </a:cxn>
                <a:cxn ang="0">
                  <a:pos x="319" y="622"/>
                </a:cxn>
                <a:cxn ang="0">
                  <a:pos x="466" y="488"/>
                </a:cxn>
                <a:cxn ang="0">
                  <a:pos x="564" y="442"/>
                </a:cxn>
                <a:cxn ang="0">
                  <a:pos x="650" y="433"/>
                </a:cxn>
                <a:cxn ang="0">
                  <a:pos x="661" y="399"/>
                </a:cxn>
                <a:cxn ang="0">
                  <a:pos x="694" y="348"/>
                </a:cxn>
                <a:cxn ang="0">
                  <a:pos x="717" y="272"/>
                </a:cxn>
                <a:cxn ang="0">
                  <a:pos x="706" y="237"/>
                </a:cxn>
                <a:cxn ang="0">
                  <a:pos x="687" y="214"/>
                </a:cxn>
                <a:cxn ang="0">
                  <a:pos x="641" y="209"/>
                </a:cxn>
                <a:cxn ang="0">
                  <a:pos x="634" y="195"/>
                </a:cxn>
                <a:cxn ang="0">
                  <a:pos x="600" y="225"/>
                </a:cxn>
                <a:cxn ang="0">
                  <a:pos x="549" y="208"/>
                </a:cxn>
                <a:cxn ang="0">
                  <a:pos x="536" y="159"/>
                </a:cxn>
                <a:cxn ang="0">
                  <a:pos x="518" y="121"/>
                </a:cxn>
                <a:cxn ang="0">
                  <a:pos x="501" y="71"/>
                </a:cxn>
                <a:cxn ang="0">
                  <a:pos x="458" y="40"/>
                </a:cxn>
                <a:cxn ang="0">
                  <a:pos x="420" y="51"/>
                </a:cxn>
                <a:cxn ang="0">
                  <a:pos x="373" y="16"/>
                </a:cxn>
                <a:cxn ang="0">
                  <a:pos x="368" y="27"/>
                </a:cxn>
                <a:cxn ang="0">
                  <a:pos x="342" y="19"/>
                </a:cxn>
                <a:cxn ang="0">
                  <a:pos x="334" y="43"/>
                </a:cxn>
                <a:cxn ang="0">
                  <a:pos x="320" y="79"/>
                </a:cxn>
                <a:cxn ang="0">
                  <a:pos x="308" y="108"/>
                </a:cxn>
                <a:cxn ang="0">
                  <a:pos x="325" y="155"/>
                </a:cxn>
                <a:cxn ang="0">
                  <a:pos x="348" y="208"/>
                </a:cxn>
                <a:cxn ang="0">
                  <a:pos x="361" y="232"/>
                </a:cxn>
                <a:cxn ang="0">
                  <a:pos x="393" y="256"/>
                </a:cxn>
                <a:cxn ang="0">
                  <a:pos x="393" y="285"/>
                </a:cxn>
                <a:cxn ang="0">
                  <a:pos x="418" y="303"/>
                </a:cxn>
                <a:cxn ang="0">
                  <a:pos x="394" y="345"/>
                </a:cxn>
                <a:cxn ang="0">
                  <a:pos x="373" y="364"/>
                </a:cxn>
                <a:cxn ang="0">
                  <a:pos x="328" y="405"/>
                </a:cxn>
                <a:cxn ang="0">
                  <a:pos x="253" y="427"/>
                </a:cxn>
                <a:cxn ang="0">
                  <a:pos x="198" y="492"/>
                </a:cxn>
                <a:cxn ang="0">
                  <a:pos x="130" y="509"/>
                </a:cxn>
                <a:cxn ang="0">
                  <a:pos x="96" y="496"/>
                </a:cxn>
                <a:cxn ang="0">
                  <a:pos x="62" y="508"/>
                </a:cxn>
                <a:cxn ang="0">
                  <a:pos x="37" y="520"/>
                </a:cxn>
                <a:cxn ang="0">
                  <a:pos x="14" y="572"/>
                </a:cxn>
                <a:cxn ang="0">
                  <a:pos x="68" y="612"/>
                </a:cxn>
                <a:cxn ang="0">
                  <a:pos x="64" y="651"/>
                </a:cxn>
                <a:cxn ang="0">
                  <a:pos x="77" y="669"/>
                </a:cxn>
                <a:cxn ang="0">
                  <a:pos x="53" y="693"/>
                </a:cxn>
                <a:cxn ang="0">
                  <a:pos x="101" y="713"/>
                </a:cxn>
                <a:cxn ang="0">
                  <a:pos x="76" y="743"/>
                </a:cxn>
                <a:cxn ang="0">
                  <a:pos x="57" y="760"/>
                </a:cxn>
                <a:cxn ang="0">
                  <a:pos x="26" y="768"/>
                </a:cxn>
                <a:cxn ang="0">
                  <a:pos x="25" y="777"/>
                </a:cxn>
              </a:cxnLst>
              <a:rect l="0" t="0" r="r" b="b"/>
              <a:pathLst>
                <a:path w="737" h="861">
                  <a:moveTo>
                    <a:pt x="25" y="777"/>
                  </a:moveTo>
                  <a:cubicBezTo>
                    <a:pt x="20" y="781"/>
                    <a:pt x="20" y="800"/>
                    <a:pt x="20" y="800"/>
                  </a:cubicBezTo>
                  <a:cubicBezTo>
                    <a:pt x="20" y="800"/>
                    <a:pt x="41" y="808"/>
                    <a:pt x="43" y="805"/>
                  </a:cubicBezTo>
                  <a:cubicBezTo>
                    <a:pt x="47" y="818"/>
                    <a:pt x="61" y="817"/>
                    <a:pt x="61" y="817"/>
                  </a:cubicBezTo>
                  <a:cubicBezTo>
                    <a:pt x="79" y="848"/>
                    <a:pt x="79" y="848"/>
                    <a:pt x="79" y="848"/>
                  </a:cubicBezTo>
                  <a:cubicBezTo>
                    <a:pt x="99" y="847"/>
                    <a:pt x="99" y="847"/>
                    <a:pt x="99" y="847"/>
                  </a:cubicBezTo>
                  <a:cubicBezTo>
                    <a:pt x="119" y="828"/>
                    <a:pt x="119" y="828"/>
                    <a:pt x="119" y="828"/>
                  </a:cubicBezTo>
                  <a:cubicBezTo>
                    <a:pt x="151" y="830"/>
                    <a:pt x="151" y="830"/>
                    <a:pt x="151" y="830"/>
                  </a:cubicBezTo>
                  <a:cubicBezTo>
                    <a:pt x="151" y="830"/>
                    <a:pt x="194" y="861"/>
                    <a:pt x="205" y="857"/>
                  </a:cubicBezTo>
                  <a:cubicBezTo>
                    <a:pt x="216" y="853"/>
                    <a:pt x="230" y="858"/>
                    <a:pt x="230" y="858"/>
                  </a:cubicBezTo>
                  <a:cubicBezTo>
                    <a:pt x="234" y="844"/>
                    <a:pt x="234" y="844"/>
                    <a:pt x="234" y="844"/>
                  </a:cubicBezTo>
                  <a:cubicBezTo>
                    <a:pt x="248" y="831"/>
                    <a:pt x="248" y="831"/>
                    <a:pt x="248" y="831"/>
                  </a:cubicBezTo>
                  <a:cubicBezTo>
                    <a:pt x="265" y="830"/>
                    <a:pt x="265" y="830"/>
                    <a:pt x="265" y="830"/>
                  </a:cubicBezTo>
                  <a:cubicBezTo>
                    <a:pt x="282" y="817"/>
                    <a:pt x="282" y="817"/>
                    <a:pt x="282" y="817"/>
                  </a:cubicBezTo>
                  <a:cubicBezTo>
                    <a:pt x="313" y="812"/>
                    <a:pt x="313" y="812"/>
                    <a:pt x="313" y="812"/>
                  </a:cubicBezTo>
                  <a:cubicBezTo>
                    <a:pt x="318" y="812"/>
                    <a:pt x="318" y="812"/>
                    <a:pt x="318" y="812"/>
                  </a:cubicBezTo>
                  <a:cubicBezTo>
                    <a:pt x="328" y="830"/>
                    <a:pt x="328" y="830"/>
                    <a:pt x="328" y="830"/>
                  </a:cubicBezTo>
                  <a:cubicBezTo>
                    <a:pt x="347" y="824"/>
                    <a:pt x="347" y="824"/>
                    <a:pt x="347" y="824"/>
                  </a:cubicBezTo>
                  <a:cubicBezTo>
                    <a:pt x="352" y="815"/>
                    <a:pt x="340" y="807"/>
                    <a:pt x="340" y="807"/>
                  </a:cubicBezTo>
                  <a:cubicBezTo>
                    <a:pt x="335" y="788"/>
                    <a:pt x="335" y="788"/>
                    <a:pt x="335" y="788"/>
                  </a:cubicBezTo>
                  <a:cubicBezTo>
                    <a:pt x="318" y="785"/>
                    <a:pt x="318" y="785"/>
                    <a:pt x="318" y="785"/>
                  </a:cubicBezTo>
                  <a:cubicBezTo>
                    <a:pt x="322" y="658"/>
                    <a:pt x="322" y="658"/>
                    <a:pt x="322" y="658"/>
                  </a:cubicBezTo>
                  <a:cubicBezTo>
                    <a:pt x="312" y="643"/>
                    <a:pt x="312" y="643"/>
                    <a:pt x="312" y="643"/>
                  </a:cubicBezTo>
                  <a:cubicBezTo>
                    <a:pt x="312" y="643"/>
                    <a:pt x="319" y="627"/>
                    <a:pt x="319" y="622"/>
                  </a:cubicBezTo>
                  <a:cubicBezTo>
                    <a:pt x="380" y="492"/>
                    <a:pt x="416" y="533"/>
                    <a:pt x="416" y="533"/>
                  </a:cubicBezTo>
                  <a:cubicBezTo>
                    <a:pt x="416" y="533"/>
                    <a:pt x="445" y="505"/>
                    <a:pt x="466" y="488"/>
                  </a:cubicBezTo>
                  <a:cubicBezTo>
                    <a:pt x="487" y="471"/>
                    <a:pt x="490" y="472"/>
                    <a:pt x="496" y="458"/>
                  </a:cubicBezTo>
                  <a:cubicBezTo>
                    <a:pt x="559" y="418"/>
                    <a:pt x="561" y="439"/>
                    <a:pt x="564" y="442"/>
                  </a:cubicBezTo>
                  <a:cubicBezTo>
                    <a:pt x="546" y="458"/>
                    <a:pt x="582" y="469"/>
                    <a:pt x="592" y="473"/>
                  </a:cubicBezTo>
                  <a:cubicBezTo>
                    <a:pt x="650" y="433"/>
                    <a:pt x="650" y="433"/>
                    <a:pt x="650" y="433"/>
                  </a:cubicBezTo>
                  <a:cubicBezTo>
                    <a:pt x="646" y="423"/>
                    <a:pt x="646" y="423"/>
                    <a:pt x="646" y="423"/>
                  </a:cubicBezTo>
                  <a:cubicBezTo>
                    <a:pt x="661" y="399"/>
                    <a:pt x="661" y="399"/>
                    <a:pt x="661" y="399"/>
                  </a:cubicBezTo>
                  <a:cubicBezTo>
                    <a:pt x="686" y="405"/>
                    <a:pt x="686" y="405"/>
                    <a:pt x="686" y="405"/>
                  </a:cubicBezTo>
                  <a:cubicBezTo>
                    <a:pt x="694" y="348"/>
                    <a:pt x="694" y="348"/>
                    <a:pt x="694" y="348"/>
                  </a:cubicBezTo>
                  <a:cubicBezTo>
                    <a:pt x="737" y="304"/>
                    <a:pt x="737" y="304"/>
                    <a:pt x="737" y="304"/>
                  </a:cubicBezTo>
                  <a:cubicBezTo>
                    <a:pt x="717" y="272"/>
                    <a:pt x="717" y="272"/>
                    <a:pt x="717" y="272"/>
                  </a:cubicBezTo>
                  <a:cubicBezTo>
                    <a:pt x="706" y="276"/>
                    <a:pt x="706" y="276"/>
                    <a:pt x="706" y="276"/>
                  </a:cubicBezTo>
                  <a:cubicBezTo>
                    <a:pt x="706" y="237"/>
                    <a:pt x="706" y="237"/>
                    <a:pt x="706" y="237"/>
                  </a:cubicBezTo>
                  <a:cubicBezTo>
                    <a:pt x="696" y="236"/>
                    <a:pt x="696" y="236"/>
                    <a:pt x="696" y="236"/>
                  </a:cubicBezTo>
                  <a:cubicBezTo>
                    <a:pt x="687" y="214"/>
                    <a:pt x="687" y="214"/>
                    <a:pt x="687" y="214"/>
                  </a:cubicBezTo>
                  <a:cubicBezTo>
                    <a:pt x="649" y="197"/>
                    <a:pt x="649" y="197"/>
                    <a:pt x="649" y="197"/>
                  </a:cubicBezTo>
                  <a:cubicBezTo>
                    <a:pt x="641" y="209"/>
                    <a:pt x="641" y="209"/>
                    <a:pt x="641" y="209"/>
                  </a:cubicBezTo>
                  <a:cubicBezTo>
                    <a:pt x="634" y="209"/>
                    <a:pt x="634" y="209"/>
                    <a:pt x="634" y="209"/>
                  </a:cubicBezTo>
                  <a:cubicBezTo>
                    <a:pt x="634" y="195"/>
                    <a:pt x="634" y="195"/>
                    <a:pt x="634" y="195"/>
                  </a:cubicBezTo>
                  <a:cubicBezTo>
                    <a:pt x="620" y="195"/>
                    <a:pt x="620" y="195"/>
                    <a:pt x="620" y="195"/>
                  </a:cubicBezTo>
                  <a:cubicBezTo>
                    <a:pt x="600" y="225"/>
                    <a:pt x="600" y="225"/>
                    <a:pt x="600" y="225"/>
                  </a:cubicBezTo>
                  <a:cubicBezTo>
                    <a:pt x="568" y="197"/>
                    <a:pt x="568" y="197"/>
                    <a:pt x="568" y="197"/>
                  </a:cubicBezTo>
                  <a:cubicBezTo>
                    <a:pt x="549" y="208"/>
                    <a:pt x="549" y="208"/>
                    <a:pt x="549" y="208"/>
                  </a:cubicBezTo>
                  <a:cubicBezTo>
                    <a:pt x="556" y="177"/>
                    <a:pt x="556" y="177"/>
                    <a:pt x="556" y="177"/>
                  </a:cubicBezTo>
                  <a:cubicBezTo>
                    <a:pt x="536" y="159"/>
                    <a:pt x="536" y="159"/>
                    <a:pt x="536" y="159"/>
                  </a:cubicBezTo>
                  <a:cubicBezTo>
                    <a:pt x="532" y="128"/>
                    <a:pt x="532" y="128"/>
                    <a:pt x="532" y="128"/>
                  </a:cubicBezTo>
                  <a:cubicBezTo>
                    <a:pt x="518" y="121"/>
                    <a:pt x="518" y="121"/>
                    <a:pt x="518" y="121"/>
                  </a:cubicBezTo>
                  <a:cubicBezTo>
                    <a:pt x="505" y="69"/>
                    <a:pt x="505" y="69"/>
                    <a:pt x="505" y="69"/>
                  </a:cubicBezTo>
                  <a:cubicBezTo>
                    <a:pt x="501" y="71"/>
                    <a:pt x="501" y="71"/>
                    <a:pt x="501" y="71"/>
                  </a:cubicBezTo>
                  <a:cubicBezTo>
                    <a:pt x="480" y="45"/>
                    <a:pt x="480" y="45"/>
                    <a:pt x="480" y="45"/>
                  </a:cubicBezTo>
                  <a:cubicBezTo>
                    <a:pt x="458" y="40"/>
                    <a:pt x="458" y="40"/>
                    <a:pt x="458" y="40"/>
                  </a:cubicBezTo>
                  <a:cubicBezTo>
                    <a:pt x="458" y="40"/>
                    <a:pt x="448" y="16"/>
                    <a:pt x="444" y="43"/>
                  </a:cubicBezTo>
                  <a:cubicBezTo>
                    <a:pt x="420" y="51"/>
                    <a:pt x="420" y="51"/>
                    <a:pt x="420" y="51"/>
                  </a:cubicBezTo>
                  <a:cubicBezTo>
                    <a:pt x="402" y="0"/>
                    <a:pt x="402" y="0"/>
                    <a:pt x="402" y="0"/>
                  </a:cubicBezTo>
                  <a:cubicBezTo>
                    <a:pt x="402" y="0"/>
                    <a:pt x="384" y="7"/>
                    <a:pt x="373" y="16"/>
                  </a:cubicBezTo>
                  <a:cubicBezTo>
                    <a:pt x="371" y="18"/>
                    <a:pt x="369" y="19"/>
                    <a:pt x="368" y="19"/>
                  </a:cubicBezTo>
                  <a:cubicBezTo>
                    <a:pt x="368" y="27"/>
                    <a:pt x="368" y="27"/>
                    <a:pt x="368" y="27"/>
                  </a:cubicBezTo>
                  <a:cubicBezTo>
                    <a:pt x="350" y="32"/>
                    <a:pt x="350" y="32"/>
                    <a:pt x="350" y="32"/>
                  </a:cubicBezTo>
                  <a:cubicBezTo>
                    <a:pt x="342" y="19"/>
                    <a:pt x="342" y="19"/>
                    <a:pt x="342" y="19"/>
                  </a:cubicBezTo>
                  <a:cubicBezTo>
                    <a:pt x="333" y="23"/>
                    <a:pt x="333" y="23"/>
                    <a:pt x="333" y="23"/>
                  </a:cubicBezTo>
                  <a:cubicBezTo>
                    <a:pt x="334" y="43"/>
                    <a:pt x="334" y="43"/>
                    <a:pt x="334" y="43"/>
                  </a:cubicBezTo>
                  <a:cubicBezTo>
                    <a:pt x="326" y="52"/>
                    <a:pt x="326" y="52"/>
                    <a:pt x="326" y="52"/>
                  </a:cubicBezTo>
                  <a:cubicBezTo>
                    <a:pt x="320" y="79"/>
                    <a:pt x="320" y="79"/>
                    <a:pt x="320" y="79"/>
                  </a:cubicBezTo>
                  <a:cubicBezTo>
                    <a:pt x="308" y="99"/>
                    <a:pt x="308" y="99"/>
                    <a:pt x="308" y="99"/>
                  </a:cubicBezTo>
                  <a:cubicBezTo>
                    <a:pt x="308" y="108"/>
                    <a:pt x="308" y="108"/>
                    <a:pt x="308" y="108"/>
                  </a:cubicBezTo>
                  <a:cubicBezTo>
                    <a:pt x="329" y="123"/>
                    <a:pt x="329" y="123"/>
                    <a:pt x="329" y="123"/>
                  </a:cubicBezTo>
                  <a:cubicBezTo>
                    <a:pt x="325" y="155"/>
                    <a:pt x="325" y="155"/>
                    <a:pt x="325" y="155"/>
                  </a:cubicBezTo>
                  <a:cubicBezTo>
                    <a:pt x="346" y="168"/>
                    <a:pt x="346" y="168"/>
                    <a:pt x="346" y="168"/>
                  </a:cubicBezTo>
                  <a:cubicBezTo>
                    <a:pt x="348" y="208"/>
                    <a:pt x="348" y="208"/>
                    <a:pt x="348" y="208"/>
                  </a:cubicBezTo>
                  <a:cubicBezTo>
                    <a:pt x="338" y="224"/>
                    <a:pt x="338" y="224"/>
                    <a:pt x="338" y="224"/>
                  </a:cubicBezTo>
                  <a:cubicBezTo>
                    <a:pt x="361" y="232"/>
                    <a:pt x="361" y="232"/>
                    <a:pt x="361" y="232"/>
                  </a:cubicBezTo>
                  <a:cubicBezTo>
                    <a:pt x="357" y="244"/>
                    <a:pt x="357" y="244"/>
                    <a:pt x="357" y="244"/>
                  </a:cubicBezTo>
                  <a:cubicBezTo>
                    <a:pt x="357" y="244"/>
                    <a:pt x="398" y="251"/>
                    <a:pt x="393" y="256"/>
                  </a:cubicBezTo>
                  <a:cubicBezTo>
                    <a:pt x="388" y="261"/>
                    <a:pt x="373" y="279"/>
                    <a:pt x="373" y="279"/>
                  </a:cubicBezTo>
                  <a:cubicBezTo>
                    <a:pt x="393" y="285"/>
                    <a:pt x="393" y="285"/>
                    <a:pt x="393" y="285"/>
                  </a:cubicBezTo>
                  <a:cubicBezTo>
                    <a:pt x="405" y="295"/>
                    <a:pt x="405" y="295"/>
                    <a:pt x="405" y="295"/>
                  </a:cubicBezTo>
                  <a:cubicBezTo>
                    <a:pt x="418" y="303"/>
                    <a:pt x="418" y="303"/>
                    <a:pt x="418" y="303"/>
                  </a:cubicBezTo>
                  <a:cubicBezTo>
                    <a:pt x="397" y="328"/>
                    <a:pt x="397" y="328"/>
                    <a:pt x="397" y="328"/>
                  </a:cubicBezTo>
                  <a:cubicBezTo>
                    <a:pt x="394" y="345"/>
                    <a:pt x="394" y="345"/>
                    <a:pt x="394" y="345"/>
                  </a:cubicBezTo>
                  <a:cubicBezTo>
                    <a:pt x="373" y="347"/>
                    <a:pt x="373" y="347"/>
                    <a:pt x="373" y="347"/>
                  </a:cubicBezTo>
                  <a:cubicBezTo>
                    <a:pt x="373" y="364"/>
                    <a:pt x="373" y="364"/>
                    <a:pt x="373" y="364"/>
                  </a:cubicBezTo>
                  <a:cubicBezTo>
                    <a:pt x="329" y="365"/>
                    <a:pt x="329" y="365"/>
                    <a:pt x="329" y="365"/>
                  </a:cubicBezTo>
                  <a:cubicBezTo>
                    <a:pt x="328" y="405"/>
                    <a:pt x="328" y="405"/>
                    <a:pt x="328" y="405"/>
                  </a:cubicBezTo>
                  <a:cubicBezTo>
                    <a:pt x="328" y="405"/>
                    <a:pt x="306" y="399"/>
                    <a:pt x="297" y="417"/>
                  </a:cubicBezTo>
                  <a:cubicBezTo>
                    <a:pt x="276" y="427"/>
                    <a:pt x="253" y="427"/>
                    <a:pt x="253" y="427"/>
                  </a:cubicBezTo>
                  <a:cubicBezTo>
                    <a:pt x="253" y="427"/>
                    <a:pt x="202" y="425"/>
                    <a:pt x="241" y="464"/>
                  </a:cubicBezTo>
                  <a:cubicBezTo>
                    <a:pt x="232" y="469"/>
                    <a:pt x="232" y="497"/>
                    <a:pt x="198" y="492"/>
                  </a:cubicBezTo>
                  <a:cubicBezTo>
                    <a:pt x="165" y="487"/>
                    <a:pt x="173" y="499"/>
                    <a:pt x="173" y="499"/>
                  </a:cubicBezTo>
                  <a:cubicBezTo>
                    <a:pt x="173" y="499"/>
                    <a:pt x="130" y="476"/>
                    <a:pt x="130" y="509"/>
                  </a:cubicBezTo>
                  <a:cubicBezTo>
                    <a:pt x="130" y="509"/>
                    <a:pt x="108" y="504"/>
                    <a:pt x="102" y="505"/>
                  </a:cubicBezTo>
                  <a:cubicBezTo>
                    <a:pt x="97" y="507"/>
                    <a:pt x="96" y="496"/>
                    <a:pt x="96" y="496"/>
                  </a:cubicBezTo>
                  <a:cubicBezTo>
                    <a:pt x="68" y="495"/>
                    <a:pt x="68" y="495"/>
                    <a:pt x="68" y="495"/>
                  </a:cubicBezTo>
                  <a:cubicBezTo>
                    <a:pt x="62" y="508"/>
                    <a:pt x="62" y="508"/>
                    <a:pt x="62" y="508"/>
                  </a:cubicBezTo>
                  <a:cubicBezTo>
                    <a:pt x="49" y="487"/>
                    <a:pt x="49" y="487"/>
                    <a:pt x="49" y="487"/>
                  </a:cubicBezTo>
                  <a:cubicBezTo>
                    <a:pt x="49" y="487"/>
                    <a:pt x="37" y="495"/>
                    <a:pt x="37" y="520"/>
                  </a:cubicBezTo>
                  <a:cubicBezTo>
                    <a:pt x="34" y="525"/>
                    <a:pt x="0" y="531"/>
                    <a:pt x="18" y="553"/>
                  </a:cubicBezTo>
                  <a:cubicBezTo>
                    <a:pt x="12" y="553"/>
                    <a:pt x="14" y="572"/>
                    <a:pt x="14" y="572"/>
                  </a:cubicBezTo>
                  <a:cubicBezTo>
                    <a:pt x="64" y="591"/>
                    <a:pt x="64" y="591"/>
                    <a:pt x="64" y="591"/>
                  </a:cubicBezTo>
                  <a:cubicBezTo>
                    <a:pt x="64" y="591"/>
                    <a:pt x="73" y="607"/>
                    <a:pt x="68" y="612"/>
                  </a:cubicBezTo>
                  <a:cubicBezTo>
                    <a:pt x="62" y="617"/>
                    <a:pt x="78" y="644"/>
                    <a:pt x="78" y="644"/>
                  </a:cubicBezTo>
                  <a:cubicBezTo>
                    <a:pt x="64" y="651"/>
                    <a:pt x="64" y="651"/>
                    <a:pt x="64" y="651"/>
                  </a:cubicBezTo>
                  <a:cubicBezTo>
                    <a:pt x="80" y="655"/>
                    <a:pt x="80" y="655"/>
                    <a:pt x="80" y="655"/>
                  </a:cubicBezTo>
                  <a:cubicBezTo>
                    <a:pt x="80" y="655"/>
                    <a:pt x="77" y="665"/>
                    <a:pt x="77" y="669"/>
                  </a:cubicBezTo>
                  <a:cubicBezTo>
                    <a:pt x="77" y="673"/>
                    <a:pt x="54" y="679"/>
                    <a:pt x="54" y="679"/>
                  </a:cubicBezTo>
                  <a:cubicBezTo>
                    <a:pt x="53" y="693"/>
                    <a:pt x="53" y="693"/>
                    <a:pt x="53" y="693"/>
                  </a:cubicBezTo>
                  <a:cubicBezTo>
                    <a:pt x="62" y="697"/>
                    <a:pt x="62" y="697"/>
                    <a:pt x="62" y="697"/>
                  </a:cubicBezTo>
                  <a:cubicBezTo>
                    <a:pt x="62" y="697"/>
                    <a:pt x="48" y="717"/>
                    <a:pt x="101" y="713"/>
                  </a:cubicBezTo>
                  <a:cubicBezTo>
                    <a:pt x="122" y="735"/>
                    <a:pt x="120" y="741"/>
                    <a:pt x="120" y="741"/>
                  </a:cubicBezTo>
                  <a:cubicBezTo>
                    <a:pt x="76" y="743"/>
                    <a:pt x="76" y="743"/>
                    <a:pt x="76" y="743"/>
                  </a:cubicBezTo>
                  <a:cubicBezTo>
                    <a:pt x="78" y="755"/>
                    <a:pt x="78" y="755"/>
                    <a:pt x="78" y="755"/>
                  </a:cubicBezTo>
                  <a:cubicBezTo>
                    <a:pt x="57" y="760"/>
                    <a:pt x="57" y="760"/>
                    <a:pt x="57" y="760"/>
                  </a:cubicBezTo>
                  <a:cubicBezTo>
                    <a:pt x="50" y="769"/>
                    <a:pt x="50" y="769"/>
                    <a:pt x="50" y="769"/>
                  </a:cubicBezTo>
                  <a:cubicBezTo>
                    <a:pt x="26" y="768"/>
                    <a:pt x="26" y="768"/>
                    <a:pt x="26" y="768"/>
                  </a:cubicBezTo>
                  <a:cubicBezTo>
                    <a:pt x="25" y="771"/>
                    <a:pt x="25" y="771"/>
                    <a:pt x="25" y="771"/>
                  </a:cubicBezTo>
                  <a:cubicBezTo>
                    <a:pt x="26" y="774"/>
                    <a:pt x="26" y="776"/>
                    <a:pt x="25" y="7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8" name="Midi-Pyrénnées" descr="© INSCALE GmbH, 05.05.2010&#10;http://www.presentationload.com/">
              <a:extLst>
                <a:ext uri="{FF2B5EF4-FFF2-40B4-BE49-F238E27FC236}">
                  <a16:creationId xmlns:a16="http://schemas.microsoft.com/office/drawing/2014/main" id="{A2F3FD82-C7EE-4A6F-8CF6-1DEA7DAD94F2}"/>
                </a:ext>
              </a:extLst>
            </p:cNvPr>
            <p:cNvSpPr>
              <a:spLocks/>
            </p:cNvSpPr>
            <p:nvPr/>
          </p:nvSpPr>
          <p:spPr bwMode="gray">
            <a:xfrm>
              <a:off x="1092" y="2246"/>
              <a:ext cx="953" cy="857"/>
            </a:xfrm>
            <a:custGeom>
              <a:avLst/>
              <a:gdLst/>
              <a:ahLst/>
              <a:cxnLst>
                <a:cxn ang="0">
                  <a:pos x="839" y="302"/>
                </a:cxn>
                <a:cxn ang="0">
                  <a:pos x="827" y="255"/>
                </a:cxn>
                <a:cxn ang="0">
                  <a:pos x="812" y="191"/>
                </a:cxn>
                <a:cxn ang="0">
                  <a:pos x="774" y="131"/>
                </a:cxn>
                <a:cxn ang="0">
                  <a:pos x="763" y="86"/>
                </a:cxn>
                <a:cxn ang="0">
                  <a:pos x="727" y="55"/>
                </a:cxn>
                <a:cxn ang="0">
                  <a:pos x="690" y="56"/>
                </a:cxn>
                <a:cxn ang="0">
                  <a:pos x="679" y="104"/>
                </a:cxn>
                <a:cxn ang="0">
                  <a:pos x="628" y="128"/>
                </a:cxn>
                <a:cxn ang="0">
                  <a:pos x="599" y="136"/>
                </a:cxn>
                <a:cxn ang="0">
                  <a:pos x="583" y="108"/>
                </a:cxn>
                <a:cxn ang="0">
                  <a:pos x="571" y="17"/>
                </a:cxn>
                <a:cxn ang="0">
                  <a:pos x="535" y="27"/>
                </a:cxn>
                <a:cxn ang="0">
                  <a:pos x="467" y="4"/>
                </a:cxn>
                <a:cxn ang="0">
                  <a:pos x="420" y="8"/>
                </a:cxn>
                <a:cxn ang="0">
                  <a:pos x="424" y="54"/>
                </a:cxn>
                <a:cxn ang="0">
                  <a:pos x="390" y="75"/>
                </a:cxn>
                <a:cxn ang="0">
                  <a:pos x="363" y="118"/>
                </a:cxn>
                <a:cxn ang="0">
                  <a:pos x="327" y="190"/>
                </a:cxn>
                <a:cxn ang="0">
                  <a:pos x="291" y="234"/>
                </a:cxn>
                <a:cxn ang="0">
                  <a:pos x="296" y="287"/>
                </a:cxn>
                <a:cxn ang="0">
                  <a:pos x="227" y="306"/>
                </a:cxn>
                <a:cxn ang="0">
                  <a:pos x="140" y="319"/>
                </a:cxn>
                <a:cxn ang="0">
                  <a:pos x="104" y="343"/>
                </a:cxn>
                <a:cxn ang="0">
                  <a:pos x="83" y="335"/>
                </a:cxn>
                <a:cxn ang="0">
                  <a:pos x="42" y="390"/>
                </a:cxn>
                <a:cxn ang="0">
                  <a:pos x="30" y="423"/>
                </a:cxn>
                <a:cxn ang="0">
                  <a:pos x="34" y="458"/>
                </a:cxn>
                <a:cxn ang="0">
                  <a:pos x="72" y="498"/>
                </a:cxn>
                <a:cxn ang="0">
                  <a:pos x="90" y="538"/>
                </a:cxn>
                <a:cxn ang="0">
                  <a:pos x="67" y="578"/>
                </a:cxn>
                <a:cxn ang="0">
                  <a:pos x="38" y="614"/>
                </a:cxn>
                <a:cxn ang="0">
                  <a:pos x="0" y="699"/>
                </a:cxn>
                <a:cxn ang="0">
                  <a:pos x="53" y="712"/>
                </a:cxn>
                <a:cxn ang="0">
                  <a:pos x="129" y="735"/>
                </a:cxn>
                <a:cxn ang="0">
                  <a:pos x="245" y="753"/>
                </a:cxn>
                <a:cxn ang="0">
                  <a:pos x="321" y="721"/>
                </a:cxn>
                <a:cxn ang="0">
                  <a:pos x="467" y="782"/>
                </a:cxn>
                <a:cxn ang="0">
                  <a:pos x="492" y="791"/>
                </a:cxn>
                <a:cxn ang="0">
                  <a:pos x="544" y="778"/>
                </a:cxn>
                <a:cxn ang="0">
                  <a:pos x="567" y="736"/>
                </a:cxn>
                <a:cxn ang="0">
                  <a:pos x="520" y="702"/>
                </a:cxn>
                <a:cxn ang="0">
                  <a:pos x="530" y="674"/>
                </a:cxn>
                <a:cxn ang="0">
                  <a:pos x="530" y="614"/>
                </a:cxn>
                <a:cxn ang="0">
                  <a:pos x="503" y="543"/>
                </a:cxn>
                <a:cxn ang="0">
                  <a:pos x="534" y="518"/>
                </a:cxn>
                <a:cxn ang="0">
                  <a:pos x="596" y="532"/>
                </a:cxn>
                <a:cxn ang="0">
                  <a:pos x="707" y="487"/>
                </a:cxn>
                <a:cxn ang="0">
                  <a:pos x="794" y="428"/>
                </a:cxn>
                <a:cxn ang="0">
                  <a:pos x="839" y="370"/>
                </a:cxn>
                <a:cxn ang="0">
                  <a:pos x="884" y="326"/>
                </a:cxn>
              </a:cxnLst>
              <a:rect l="0" t="0" r="r" b="b"/>
              <a:pathLst>
                <a:path w="884" h="794">
                  <a:moveTo>
                    <a:pt x="871" y="318"/>
                  </a:moveTo>
                  <a:cubicBezTo>
                    <a:pt x="859" y="308"/>
                    <a:pt x="859" y="308"/>
                    <a:pt x="859" y="308"/>
                  </a:cubicBezTo>
                  <a:cubicBezTo>
                    <a:pt x="839" y="302"/>
                    <a:pt x="839" y="302"/>
                    <a:pt x="839" y="302"/>
                  </a:cubicBezTo>
                  <a:cubicBezTo>
                    <a:pt x="839" y="302"/>
                    <a:pt x="854" y="284"/>
                    <a:pt x="859" y="279"/>
                  </a:cubicBezTo>
                  <a:cubicBezTo>
                    <a:pt x="864" y="274"/>
                    <a:pt x="823" y="267"/>
                    <a:pt x="823" y="267"/>
                  </a:cubicBezTo>
                  <a:cubicBezTo>
                    <a:pt x="827" y="255"/>
                    <a:pt x="827" y="255"/>
                    <a:pt x="827" y="255"/>
                  </a:cubicBezTo>
                  <a:cubicBezTo>
                    <a:pt x="804" y="247"/>
                    <a:pt x="804" y="247"/>
                    <a:pt x="804" y="247"/>
                  </a:cubicBezTo>
                  <a:cubicBezTo>
                    <a:pt x="814" y="231"/>
                    <a:pt x="814" y="231"/>
                    <a:pt x="814" y="231"/>
                  </a:cubicBezTo>
                  <a:cubicBezTo>
                    <a:pt x="812" y="191"/>
                    <a:pt x="812" y="191"/>
                    <a:pt x="812" y="191"/>
                  </a:cubicBezTo>
                  <a:cubicBezTo>
                    <a:pt x="791" y="178"/>
                    <a:pt x="791" y="178"/>
                    <a:pt x="791" y="178"/>
                  </a:cubicBezTo>
                  <a:cubicBezTo>
                    <a:pt x="795" y="146"/>
                    <a:pt x="795" y="146"/>
                    <a:pt x="795" y="146"/>
                  </a:cubicBezTo>
                  <a:cubicBezTo>
                    <a:pt x="774" y="131"/>
                    <a:pt x="774" y="131"/>
                    <a:pt x="774" y="131"/>
                  </a:cubicBezTo>
                  <a:cubicBezTo>
                    <a:pt x="774" y="122"/>
                    <a:pt x="774" y="122"/>
                    <a:pt x="774" y="122"/>
                  </a:cubicBezTo>
                  <a:cubicBezTo>
                    <a:pt x="772" y="126"/>
                    <a:pt x="772" y="126"/>
                    <a:pt x="772" y="126"/>
                  </a:cubicBezTo>
                  <a:cubicBezTo>
                    <a:pt x="763" y="86"/>
                    <a:pt x="763" y="86"/>
                    <a:pt x="763" y="86"/>
                  </a:cubicBezTo>
                  <a:cubicBezTo>
                    <a:pt x="754" y="75"/>
                    <a:pt x="754" y="75"/>
                    <a:pt x="754" y="75"/>
                  </a:cubicBezTo>
                  <a:cubicBezTo>
                    <a:pt x="754" y="75"/>
                    <a:pt x="740" y="45"/>
                    <a:pt x="729" y="53"/>
                  </a:cubicBezTo>
                  <a:cubicBezTo>
                    <a:pt x="729" y="55"/>
                    <a:pt x="728" y="56"/>
                    <a:pt x="727" y="55"/>
                  </a:cubicBezTo>
                  <a:cubicBezTo>
                    <a:pt x="728" y="54"/>
                    <a:pt x="728" y="54"/>
                    <a:pt x="729" y="53"/>
                  </a:cubicBezTo>
                  <a:cubicBezTo>
                    <a:pt x="731" y="46"/>
                    <a:pt x="725" y="18"/>
                    <a:pt x="699" y="55"/>
                  </a:cubicBezTo>
                  <a:cubicBezTo>
                    <a:pt x="690" y="63"/>
                    <a:pt x="690" y="56"/>
                    <a:pt x="690" y="56"/>
                  </a:cubicBezTo>
                  <a:cubicBezTo>
                    <a:pt x="688" y="78"/>
                    <a:pt x="688" y="78"/>
                    <a:pt x="688" y="78"/>
                  </a:cubicBezTo>
                  <a:cubicBezTo>
                    <a:pt x="680" y="84"/>
                    <a:pt x="680" y="84"/>
                    <a:pt x="680" y="84"/>
                  </a:cubicBezTo>
                  <a:cubicBezTo>
                    <a:pt x="679" y="104"/>
                    <a:pt x="679" y="104"/>
                    <a:pt x="679" y="104"/>
                  </a:cubicBezTo>
                  <a:cubicBezTo>
                    <a:pt x="666" y="114"/>
                    <a:pt x="666" y="114"/>
                    <a:pt x="666" y="114"/>
                  </a:cubicBezTo>
                  <a:cubicBezTo>
                    <a:pt x="662" y="126"/>
                    <a:pt x="662" y="126"/>
                    <a:pt x="662" y="126"/>
                  </a:cubicBezTo>
                  <a:cubicBezTo>
                    <a:pt x="628" y="128"/>
                    <a:pt x="628" y="128"/>
                    <a:pt x="628" y="128"/>
                  </a:cubicBezTo>
                  <a:cubicBezTo>
                    <a:pt x="627" y="123"/>
                    <a:pt x="627" y="123"/>
                    <a:pt x="627" y="123"/>
                  </a:cubicBezTo>
                  <a:cubicBezTo>
                    <a:pt x="598" y="124"/>
                    <a:pt x="598" y="124"/>
                    <a:pt x="598" y="124"/>
                  </a:cubicBezTo>
                  <a:cubicBezTo>
                    <a:pt x="599" y="136"/>
                    <a:pt x="599" y="136"/>
                    <a:pt x="599" y="136"/>
                  </a:cubicBezTo>
                  <a:cubicBezTo>
                    <a:pt x="594" y="130"/>
                    <a:pt x="594" y="130"/>
                    <a:pt x="594" y="130"/>
                  </a:cubicBezTo>
                  <a:cubicBezTo>
                    <a:pt x="592" y="114"/>
                    <a:pt x="592" y="114"/>
                    <a:pt x="592" y="114"/>
                  </a:cubicBezTo>
                  <a:cubicBezTo>
                    <a:pt x="583" y="108"/>
                    <a:pt x="583" y="108"/>
                    <a:pt x="583" y="108"/>
                  </a:cubicBezTo>
                  <a:cubicBezTo>
                    <a:pt x="588" y="74"/>
                    <a:pt x="588" y="74"/>
                    <a:pt x="588" y="74"/>
                  </a:cubicBezTo>
                  <a:cubicBezTo>
                    <a:pt x="572" y="47"/>
                    <a:pt x="572" y="47"/>
                    <a:pt x="572" y="47"/>
                  </a:cubicBezTo>
                  <a:cubicBezTo>
                    <a:pt x="572" y="47"/>
                    <a:pt x="574" y="30"/>
                    <a:pt x="571" y="17"/>
                  </a:cubicBezTo>
                  <a:cubicBezTo>
                    <a:pt x="569" y="19"/>
                    <a:pt x="568" y="20"/>
                    <a:pt x="568" y="20"/>
                  </a:cubicBezTo>
                  <a:cubicBezTo>
                    <a:pt x="547" y="22"/>
                    <a:pt x="547" y="22"/>
                    <a:pt x="547" y="22"/>
                  </a:cubicBezTo>
                  <a:cubicBezTo>
                    <a:pt x="535" y="27"/>
                    <a:pt x="535" y="27"/>
                    <a:pt x="535" y="27"/>
                  </a:cubicBezTo>
                  <a:cubicBezTo>
                    <a:pt x="532" y="20"/>
                    <a:pt x="532" y="20"/>
                    <a:pt x="532" y="20"/>
                  </a:cubicBezTo>
                  <a:cubicBezTo>
                    <a:pt x="532" y="20"/>
                    <a:pt x="518" y="43"/>
                    <a:pt x="507" y="39"/>
                  </a:cubicBezTo>
                  <a:cubicBezTo>
                    <a:pt x="496" y="35"/>
                    <a:pt x="467" y="4"/>
                    <a:pt x="467" y="4"/>
                  </a:cubicBezTo>
                  <a:cubicBezTo>
                    <a:pt x="467" y="4"/>
                    <a:pt x="435" y="0"/>
                    <a:pt x="424" y="7"/>
                  </a:cubicBezTo>
                  <a:cubicBezTo>
                    <a:pt x="423" y="4"/>
                    <a:pt x="423" y="4"/>
                    <a:pt x="423" y="4"/>
                  </a:cubicBezTo>
                  <a:cubicBezTo>
                    <a:pt x="420" y="8"/>
                    <a:pt x="420" y="8"/>
                    <a:pt x="420" y="8"/>
                  </a:cubicBezTo>
                  <a:cubicBezTo>
                    <a:pt x="426" y="39"/>
                    <a:pt x="426" y="39"/>
                    <a:pt x="426" y="39"/>
                  </a:cubicBezTo>
                  <a:cubicBezTo>
                    <a:pt x="419" y="44"/>
                    <a:pt x="419" y="44"/>
                    <a:pt x="419" y="44"/>
                  </a:cubicBezTo>
                  <a:cubicBezTo>
                    <a:pt x="424" y="54"/>
                    <a:pt x="424" y="54"/>
                    <a:pt x="424" y="54"/>
                  </a:cubicBezTo>
                  <a:cubicBezTo>
                    <a:pt x="407" y="60"/>
                    <a:pt x="407" y="60"/>
                    <a:pt x="407" y="60"/>
                  </a:cubicBezTo>
                  <a:cubicBezTo>
                    <a:pt x="406" y="74"/>
                    <a:pt x="406" y="74"/>
                    <a:pt x="406" y="74"/>
                  </a:cubicBezTo>
                  <a:cubicBezTo>
                    <a:pt x="390" y="75"/>
                    <a:pt x="390" y="75"/>
                    <a:pt x="390" y="75"/>
                  </a:cubicBezTo>
                  <a:cubicBezTo>
                    <a:pt x="398" y="92"/>
                    <a:pt x="398" y="92"/>
                    <a:pt x="398" y="92"/>
                  </a:cubicBezTo>
                  <a:cubicBezTo>
                    <a:pt x="384" y="112"/>
                    <a:pt x="384" y="112"/>
                    <a:pt x="384" y="112"/>
                  </a:cubicBezTo>
                  <a:cubicBezTo>
                    <a:pt x="363" y="118"/>
                    <a:pt x="363" y="118"/>
                    <a:pt x="363" y="118"/>
                  </a:cubicBezTo>
                  <a:cubicBezTo>
                    <a:pt x="344" y="147"/>
                    <a:pt x="344" y="147"/>
                    <a:pt x="344" y="147"/>
                  </a:cubicBezTo>
                  <a:cubicBezTo>
                    <a:pt x="316" y="156"/>
                    <a:pt x="316" y="156"/>
                    <a:pt x="316" y="156"/>
                  </a:cubicBezTo>
                  <a:cubicBezTo>
                    <a:pt x="316" y="156"/>
                    <a:pt x="327" y="186"/>
                    <a:pt x="327" y="190"/>
                  </a:cubicBezTo>
                  <a:cubicBezTo>
                    <a:pt x="327" y="194"/>
                    <a:pt x="334" y="198"/>
                    <a:pt x="334" y="198"/>
                  </a:cubicBezTo>
                  <a:cubicBezTo>
                    <a:pt x="334" y="198"/>
                    <a:pt x="331" y="223"/>
                    <a:pt x="312" y="216"/>
                  </a:cubicBezTo>
                  <a:cubicBezTo>
                    <a:pt x="294" y="210"/>
                    <a:pt x="291" y="234"/>
                    <a:pt x="291" y="234"/>
                  </a:cubicBezTo>
                  <a:cubicBezTo>
                    <a:pt x="308" y="246"/>
                    <a:pt x="308" y="246"/>
                    <a:pt x="308" y="246"/>
                  </a:cubicBezTo>
                  <a:cubicBezTo>
                    <a:pt x="291" y="270"/>
                    <a:pt x="291" y="270"/>
                    <a:pt x="291" y="270"/>
                  </a:cubicBezTo>
                  <a:cubicBezTo>
                    <a:pt x="296" y="287"/>
                    <a:pt x="296" y="287"/>
                    <a:pt x="296" y="287"/>
                  </a:cubicBezTo>
                  <a:cubicBezTo>
                    <a:pt x="274" y="286"/>
                    <a:pt x="274" y="286"/>
                    <a:pt x="274" y="286"/>
                  </a:cubicBezTo>
                  <a:cubicBezTo>
                    <a:pt x="274" y="286"/>
                    <a:pt x="262" y="322"/>
                    <a:pt x="247" y="322"/>
                  </a:cubicBezTo>
                  <a:cubicBezTo>
                    <a:pt x="232" y="322"/>
                    <a:pt x="227" y="306"/>
                    <a:pt x="227" y="306"/>
                  </a:cubicBezTo>
                  <a:cubicBezTo>
                    <a:pt x="214" y="311"/>
                    <a:pt x="214" y="311"/>
                    <a:pt x="214" y="311"/>
                  </a:cubicBezTo>
                  <a:cubicBezTo>
                    <a:pt x="214" y="311"/>
                    <a:pt x="183" y="326"/>
                    <a:pt x="168" y="327"/>
                  </a:cubicBezTo>
                  <a:cubicBezTo>
                    <a:pt x="154" y="328"/>
                    <a:pt x="140" y="319"/>
                    <a:pt x="140" y="319"/>
                  </a:cubicBezTo>
                  <a:cubicBezTo>
                    <a:pt x="127" y="328"/>
                    <a:pt x="127" y="328"/>
                    <a:pt x="127" y="328"/>
                  </a:cubicBezTo>
                  <a:cubicBezTo>
                    <a:pt x="118" y="326"/>
                    <a:pt x="118" y="326"/>
                    <a:pt x="118" y="326"/>
                  </a:cubicBezTo>
                  <a:cubicBezTo>
                    <a:pt x="118" y="326"/>
                    <a:pt x="103" y="338"/>
                    <a:pt x="104" y="343"/>
                  </a:cubicBezTo>
                  <a:cubicBezTo>
                    <a:pt x="106" y="348"/>
                    <a:pt x="112" y="362"/>
                    <a:pt x="104" y="359"/>
                  </a:cubicBezTo>
                  <a:cubicBezTo>
                    <a:pt x="96" y="356"/>
                    <a:pt x="91" y="348"/>
                    <a:pt x="88" y="342"/>
                  </a:cubicBezTo>
                  <a:cubicBezTo>
                    <a:pt x="86" y="335"/>
                    <a:pt x="83" y="335"/>
                    <a:pt x="83" y="335"/>
                  </a:cubicBezTo>
                  <a:cubicBezTo>
                    <a:pt x="83" y="335"/>
                    <a:pt x="74" y="344"/>
                    <a:pt x="67" y="344"/>
                  </a:cubicBezTo>
                  <a:cubicBezTo>
                    <a:pt x="60" y="344"/>
                    <a:pt x="38" y="358"/>
                    <a:pt x="38" y="358"/>
                  </a:cubicBezTo>
                  <a:cubicBezTo>
                    <a:pt x="42" y="390"/>
                    <a:pt x="42" y="390"/>
                    <a:pt x="42" y="390"/>
                  </a:cubicBezTo>
                  <a:cubicBezTo>
                    <a:pt x="38" y="387"/>
                    <a:pt x="38" y="387"/>
                    <a:pt x="38" y="387"/>
                  </a:cubicBezTo>
                  <a:cubicBezTo>
                    <a:pt x="43" y="408"/>
                    <a:pt x="43" y="408"/>
                    <a:pt x="43" y="408"/>
                  </a:cubicBezTo>
                  <a:cubicBezTo>
                    <a:pt x="30" y="423"/>
                    <a:pt x="30" y="423"/>
                    <a:pt x="30" y="423"/>
                  </a:cubicBezTo>
                  <a:cubicBezTo>
                    <a:pt x="31" y="442"/>
                    <a:pt x="31" y="442"/>
                    <a:pt x="31" y="442"/>
                  </a:cubicBezTo>
                  <a:cubicBezTo>
                    <a:pt x="22" y="446"/>
                    <a:pt x="22" y="446"/>
                    <a:pt x="22" y="446"/>
                  </a:cubicBezTo>
                  <a:cubicBezTo>
                    <a:pt x="34" y="458"/>
                    <a:pt x="34" y="458"/>
                    <a:pt x="34" y="458"/>
                  </a:cubicBezTo>
                  <a:cubicBezTo>
                    <a:pt x="34" y="458"/>
                    <a:pt x="72" y="471"/>
                    <a:pt x="76" y="480"/>
                  </a:cubicBezTo>
                  <a:cubicBezTo>
                    <a:pt x="80" y="490"/>
                    <a:pt x="83" y="494"/>
                    <a:pt x="83" y="494"/>
                  </a:cubicBezTo>
                  <a:cubicBezTo>
                    <a:pt x="72" y="498"/>
                    <a:pt x="72" y="498"/>
                    <a:pt x="72" y="498"/>
                  </a:cubicBezTo>
                  <a:cubicBezTo>
                    <a:pt x="72" y="514"/>
                    <a:pt x="72" y="514"/>
                    <a:pt x="72" y="514"/>
                  </a:cubicBezTo>
                  <a:cubicBezTo>
                    <a:pt x="88" y="508"/>
                    <a:pt x="88" y="508"/>
                    <a:pt x="88" y="508"/>
                  </a:cubicBezTo>
                  <a:cubicBezTo>
                    <a:pt x="90" y="538"/>
                    <a:pt x="90" y="538"/>
                    <a:pt x="90" y="538"/>
                  </a:cubicBezTo>
                  <a:cubicBezTo>
                    <a:pt x="78" y="543"/>
                    <a:pt x="78" y="543"/>
                    <a:pt x="78" y="543"/>
                  </a:cubicBezTo>
                  <a:cubicBezTo>
                    <a:pt x="78" y="543"/>
                    <a:pt x="72" y="555"/>
                    <a:pt x="79" y="563"/>
                  </a:cubicBezTo>
                  <a:cubicBezTo>
                    <a:pt x="79" y="568"/>
                    <a:pt x="67" y="578"/>
                    <a:pt x="67" y="578"/>
                  </a:cubicBezTo>
                  <a:cubicBezTo>
                    <a:pt x="67" y="588"/>
                    <a:pt x="67" y="588"/>
                    <a:pt x="67" y="588"/>
                  </a:cubicBezTo>
                  <a:cubicBezTo>
                    <a:pt x="58" y="588"/>
                    <a:pt x="58" y="588"/>
                    <a:pt x="58" y="588"/>
                  </a:cubicBezTo>
                  <a:cubicBezTo>
                    <a:pt x="38" y="614"/>
                    <a:pt x="38" y="614"/>
                    <a:pt x="38" y="614"/>
                  </a:cubicBezTo>
                  <a:cubicBezTo>
                    <a:pt x="38" y="632"/>
                    <a:pt x="38" y="632"/>
                    <a:pt x="38" y="632"/>
                  </a:cubicBezTo>
                  <a:cubicBezTo>
                    <a:pt x="22" y="634"/>
                    <a:pt x="22" y="634"/>
                    <a:pt x="22" y="634"/>
                  </a:cubicBezTo>
                  <a:cubicBezTo>
                    <a:pt x="0" y="699"/>
                    <a:pt x="0" y="699"/>
                    <a:pt x="0" y="699"/>
                  </a:cubicBezTo>
                  <a:cubicBezTo>
                    <a:pt x="0" y="699"/>
                    <a:pt x="1" y="701"/>
                    <a:pt x="1" y="705"/>
                  </a:cubicBezTo>
                  <a:cubicBezTo>
                    <a:pt x="24" y="689"/>
                    <a:pt x="48" y="712"/>
                    <a:pt x="48" y="712"/>
                  </a:cubicBezTo>
                  <a:cubicBezTo>
                    <a:pt x="53" y="712"/>
                    <a:pt x="53" y="712"/>
                    <a:pt x="53" y="712"/>
                  </a:cubicBezTo>
                  <a:cubicBezTo>
                    <a:pt x="79" y="748"/>
                    <a:pt x="79" y="748"/>
                    <a:pt x="79" y="748"/>
                  </a:cubicBezTo>
                  <a:cubicBezTo>
                    <a:pt x="119" y="746"/>
                    <a:pt x="119" y="746"/>
                    <a:pt x="119" y="746"/>
                  </a:cubicBezTo>
                  <a:cubicBezTo>
                    <a:pt x="129" y="735"/>
                    <a:pt x="129" y="735"/>
                    <a:pt x="129" y="735"/>
                  </a:cubicBezTo>
                  <a:cubicBezTo>
                    <a:pt x="129" y="735"/>
                    <a:pt x="153" y="752"/>
                    <a:pt x="162" y="757"/>
                  </a:cubicBezTo>
                  <a:cubicBezTo>
                    <a:pt x="170" y="733"/>
                    <a:pt x="192" y="748"/>
                    <a:pt x="192" y="748"/>
                  </a:cubicBezTo>
                  <a:cubicBezTo>
                    <a:pt x="192" y="748"/>
                    <a:pt x="239" y="752"/>
                    <a:pt x="245" y="753"/>
                  </a:cubicBezTo>
                  <a:cubicBezTo>
                    <a:pt x="251" y="754"/>
                    <a:pt x="245" y="741"/>
                    <a:pt x="245" y="741"/>
                  </a:cubicBezTo>
                  <a:cubicBezTo>
                    <a:pt x="234" y="718"/>
                    <a:pt x="253" y="691"/>
                    <a:pt x="253" y="691"/>
                  </a:cubicBezTo>
                  <a:cubicBezTo>
                    <a:pt x="253" y="691"/>
                    <a:pt x="302" y="721"/>
                    <a:pt x="321" y="721"/>
                  </a:cubicBezTo>
                  <a:cubicBezTo>
                    <a:pt x="340" y="721"/>
                    <a:pt x="364" y="744"/>
                    <a:pt x="364" y="744"/>
                  </a:cubicBezTo>
                  <a:cubicBezTo>
                    <a:pt x="398" y="728"/>
                    <a:pt x="420" y="779"/>
                    <a:pt x="421" y="782"/>
                  </a:cubicBezTo>
                  <a:cubicBezTo>
                    <a:pt x="442" y="756"/>
                    <a:pt x="467" y="782"/>
                    <a:pt x="467" y="782"/>
                  </a:cubicBezTo>
                  <a:cubicBezTo>
                    <a:pt x="479" y="774"/>
                    <a:pt x="479" y="774"/>
                    <a:pt x="479" y="774"/>
                  </a:cubicBezTo>
                  <a:cubicBezTo>
                    <a:pt x="479" y="774"/>
                    <a:pt x="488" y="786"/>
                    <a:pt x="491" y="794"/>
                  </a:cubicBezTo>
                  <a:cubicBezTo>
                    <a:pt x="492" y="791"/>
                    <a:pt x="492" y="791"/>
                    <a:pt x="492" y="791"/>
                  </a:cubicBezTo>
                  <a:cubicBezTo>
                    <a:pt x="516" y="792"/>
                    <a:pt x="516" y="792"/>
                    <a:pt x="516" y="792"/>
                  </a:cubicBezTo>
                  <a:cubicBezTo>
                    <a:pt x="523" y="783"/>
                    <a:pt x="523" y="783"/>
                    <a:pt x="523" y="783"/>
                  </a:cubicBezTo>
                  <a:cubicBezTo>
                    <a:pt x="544" y="778"/>
                    <a:pt x="544" y="778"/>
                    <a:pt x="544" y="778"/>
                  </a:cubicBezTo>
                  <a:cubicBezTo>
                    <a:pt x="542" y="766"/>
                    <a:pt x="542" y="766"/>
                    <a:pt x="542" y="766"/>
                  </a:cubicBezTo>
                  <a:cubicBezTo>
                    <a:pt x="586" y="764"/>
                    <a:pt x="586" y="764"/>
                    <a:pt x="586" y="764"/>
                  </a:cubicBezTo>
                  <a:cubicBezTo>
                    <a:pt x="586" y="764"/>
                    <a:pt x="588" y="758"/>
                    <a:pt x="567" y="736"/>
                  </a:cubicBezTo>
                  <a:cubicBezTo>
                    <a:pt x="514" y="740"/>
                    <a:pt x="528" y="720"/>
                    <a:pt x="528" y="720"/>
                  </a:cubicBezTo>
                  <a:cubicBezTo>
                    <a:pt x="519" y="716"/>
                    <a:pt x="519" y="716"/>
                    <a:pt x="519" y="716"/>
                  </a:cubicBezTo>
                  <a:cubicBezTo>
                    <a:pt x="520" y="702"/>
                    <a:pt x="520" y="702"/>
                    <a:pt x="520" y="702"/>
                  </a:cubicBezTo>
                  <a:cubicBezTo>
                    <a:pt x="520" y="702"/>
                    <a:pt x="543" y="696"/>
                    <a:pt x="543" y="692"/>
                  </a:cubicBezTo>
                  <a:cubicBezTo>
                    <a:pt x="543" y="688"/>
                    <a:pt x="546" y="678"/>
                    <a:pt x="546" y="678"/>
                  </a:cubicBezTo>
                  <a:cubicBezTo>
                    <a:pt x="530" y="674"/>
                    <a:pt x="530" y="674"/>
                    <a:pt x="530" y="674"/>
                  </a:cubicBezTo>
                  <a:cubicBezTo>
                    <a:pt x="544" y="667"/>
                    <a:pt x="544" y="667"/>
                    <a:pt x="544" y="667"/>
                  </a:cubicBezTo>
                  <a:cubicBezTo>
                    <a:pt x="544" y="667"/>
                    <a:pt x="528" y="640"/>
                    <a:pt x="534" y="635"/>
                  </a:cubicBezTo>
                  <a:cubicBezTo>
                    <a:pt x="539" y="630"/>
                    <a:pt x="530" y="614"/>
                    <a:pt x="530" y="614"/>
                  </a:cubicBezTo>
                  <a:cubicBezTo>
                    <a:pt x="480" y="595"/>
                    <a:pt x="480" y="595"/>
                    <a:pt x="480" y="595"/>
                  </a:cubicBezTo>
                  <a:cubicBezTo>
                    <a:pt x="480" y="595"/>
                    <a:pt x="478" y="576"/>
                    <a:pt x="484" y="576"/>
                  </a:cubicBezTo>
                  <a:cubicBezTo>
                    <a:pt x="466" y="554"/>
                    <a:pt x="500" y="548"/>
                    <a:pt x="503" y="543"/>
                  </a:cubicBezTo>
                  <a:cubicBezTo>
                    <a:pt x="503" y="518"/>
                    <a:pt x="515" y="510"/>
                    <a:pt x="515" y="510"/>
                  </a:cubicBezTo>
                  <a:cubicBezTo>
                    <a:pt x="528" y="531"/>
                    <a:pt x="528" y="531"/>
                    <a:pt x="528" y="531"/>
                  </a:cubicBezTo>
                  <a:cubicBezTo>
                    <a:pt x="534" y="518"/>
                    <a:pt x="534" y="518"/>
                    <a:pt x="534" y="518"/>
                  </a:cubicBezTo>
                  <a:cubicBezTo>
                    <a:pt x="562" y="519"/>
                    <a:pt x="562" y="519"/>
                    <a:pt x="562" y="519"/>
                  </a:cubicBezTo>
                  <a:cubicBezTo>
                    <a:pt x="562" y="519"/>
                    <a:pt x="563" y="530"/>
                    <a:pt x="568" y="528"/>
                  </a:cubicBezTo>
                  <a:cubicBezTo>
                    <a:pt x="574" y="527"/>
                    <a:pt x="596" y="532"/>
                    <a:pt x="596" y="532"/>
                  </a:cubicBezTo>
                  <a:cubicBezTo>
                    <a:pt x="596" y="499"/>
                    <a:pt x="639" y="522"/>
                    <a:pt x="639" y="522"/>
                  </a:cubicBezTo>
                  <a:cubicBezTo>
                    <a:pt x="639" y="522"/>
                    <a:pt x="631" y="510"/>
                    <a:pt x="664" y="515"/>
                  </a:cubicBezTo>
                  <a:cubicBezTo>
                    <a:pt x="698" y="520"/>
                    <a:pt x="698" y="492"/>
                    <a:pt x="707" y="487"/>
                  </a:cubicBezTo>
                  <a:cubicBezTo>
                    <a:pt x="668" y="448"/>
                    <a:pt x="719" y="450"/>
                    <a:pt x="719" y="450"/>
                  </a:cubicBezTo>
                  <a:cubicBezTo>
                    <a:pt x="719" y="450"/>
                    <a:pt x="742" y="450"/>
                    <a:pt x="763" y="440"/>
                  </a:cubicBezTo>
                  <a:cubicBezTo>
                    <a:pt x="772" y="422"/>
                    <a:pt x="794" y="428"/>
                    <a:pt x="794" y="428"/>
                  </a:cubicBezTo>
                  <a:cubicBezTo>
                    <a:pt x="795" y="388"/>
                    <a:pt x="795" y="388"/>
                    <a:pt x="795" y="388"/>
                  </a:cubicBezTo>
                  <a:cubicBezTo>
                    <a:pt x="839" y="387"/>
                    <a:pt x="839" y="387"/>
                    <a:pt x="839" y="387"/>
                  </a:cubicBezTo>
                  <a:cubicBezTo>
                    <a:pt x="839" y="370"/>
                    <a:pt x="839" y="370"/>
                    <a:pt x="839" y="370"/>
                  </a:cubicBezTo>
                  <a:cubicBezTo>
                    <a:pt x="860" y="368"/>
                    <a:pt x="860" y="368"/>
                    <a:pt x="860" y="368"/>
                  </a:cubicBezTo>
                  <a:cubicBezTo>
                    <a:pt x="863" y="351"/>
                    <a:pt x="863" y="351"/>
                    <a:pt x="863" y="351"/>
                  </a:cubicBezTo>
                  <a:cubicBezTo>
                    <a:pt x="884" y="326"/>
                    <a:pt x="884" y="326"/>
                    <a:pt x="884" y="326"/>
                  </a:cubicBezTo>
                  <a:lnTo>
                    <a:pt x="871" y="31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9" name="Aquitaine" descr="© INSCALE GmbH, 05.05.2010&#10;http://www.presentationload.com/">
              <a:extLst>
                <a:ext uri="{FF2B5EF4-FFF2-40B4-BE49-F238E27FC236}">
                  <a16:creationId xmlns:a16="http://schemas.microsoft.com/office/drawing/2014/main" id="{97CDBFD3-5115-4B18-AE8A-FC35BD36554B}"/>
                </a:ext>
              </a:extLst>
            </p:cNvPr>
            <p:cNvSpPr>
              <a:spLocks/>
            </p:cNvSpPr>
            <p:nvPr/>
          </p:nvSpPr>
          <p:spPr bwMode="gray">
            <a:xfrm>
              <a:off x="758" y="1992"/>
              <a:ext cx="793" cy="1021"/>
            </a:xfrm>
            <a:custGeom>
              <a:avLst/>
              <a:gdLst/>
              <a:ahLst/>
              <a:cxnLst>
                <a:cxn ang="0">
                  <a:pos x="347" y="849"/>
                </a:cxn>
                <a:cxn ang="0">
                  <a:pos x="376" y="813"/>
                </a:cxn>
                <a:cxn ang="0">
                  <a:pos x="399" y="773"/>
                </a:cxn>
                <a:cxn ang="0">
                  <a:pos x="381" y="733"/>
                </a:cxn>
                <a:cxn ang="0">
                  <a:pos x="343" y="693"/>
                </a:cxn>
                <a:cxn ang="0">
                  <a:pos x="339" y="658"/>
                </a:cxn>
                <a:cxn ang="0">
                  <a:pos x="351" y="625"/>
                </a:cxn>
                <a:cxn ang="0">
                  <a:pos x="392" y="570"/>
                </a:cxn>
                <a:cxn ang="0">
                  <a:pos x="413" y="578"/>
                </a:cxn>
                <a:cxn ang="0">
                  <a:pos x="449" y="554"/>
                </a:cxn>
                <a:cxn ang="0">
                  <a:pos x="536" y="541"/>
                </a:cxn>
                <a:cxn ang="0">
                  <a:pos x="605" y="522"/>
                </a:cxn>
                <a:cxn ang="0">
                  <a:pos x="600" y="469"/>
                </a:cxn>
                <a:cxn ang="0">
                  <a:pos x="636" y="425"/>
                </a:cxn>
                <a:cxn ang="0">
                  <a:pos x="672" y="353"/>
                </a:cxn>
                <a:cxn ang="0">
                  <a:pos x="699" y="310"/>
                </a:cxn>
                <a:cxn ang="0">
                  <a:pos x="733" y="289"/>
                </a:cxn>
                <a:cxn ang="0">
                  <a:pos x="729" y="243"/>
                </a:cxn>
                <a:cxn ang="0">
                  <a:pos x="727" y="207"/>
                </a:cxn>
                <a:cxn ang="0">
                  <a:pos x="692" y="183"/>
                </a:cxn>
                <a:cxn ang="0">
                  <a:pos x="691" y="150"/>
                </a:cxn>
                <a:cxn ang="0">
                  <a:pos x="700" y="117"/>
                </a:cxn>
                <a:cxn ang="0">
                  <a:pos x="655" y="74"/>
                </a:cxn>
                <a:cxn ang="0">
                  <a:pos x="589" y="58"/>
                </a:cxn>
                <a:cxn ang="0">
                  <a:pos x="540" y="43"/>
                </a:cxn>
                <a:cxn ang="0">
                  <a:pos x="519" y="74"/>
                </a:cxn>
                <a:cxn ang="0">
                  <a:pos x="464" y="147"/>
                </a:cxn>
                <a:cxn ang="0">
                  <a:pos x="407" y="202"/>
                </a:cxn>
                <a:cxn ang="0">
                  <a:pos x="319" y="169"/>
                </a:cxn>
                <a:cxn ang="0">
                  <a:pos x="265" y="131"/>
                </a:cxn>
                <a:cxn ang="0">
                  <a:pos x="279" y="178"/>
                </a:cxn>
                <a:cxn ang="0">
                  <a:pos x="239" y="76"/>
                </a:cxn>
                <a:cxn ang="0">
                  <a:pos x="185" y="0"/>
                </a:cxn>
                <a:cxn ang="0">
                  <a:pos x="133" y="309"/>
                </a:cxn>
                <a:cxn ang="0">
                  <a:pos x="147" y="302"/>
                </a:cxn>
                <a:cxn ang="0">
                  <a:pos x="23" y="730"/>
                </a:cxn>
                <a:cxn ang="0">
                  <a:pos x="34" y="764"/>
                </a:cxn>
                <a:cxn ang="0">
                  <a:pos x="86" y="787"/>
                </a:cxn>
                <a:cxn ang="0">
                  <a:pos x="110" y="831"/>
                </a:cxn>
                <a:cxn ang="0">
                  <a:pos x="142" y="869"/>
                </a:cxn>
                <a:cxn ang="0">
                  <a:pos x="228" y="882"/>
                </a:cxn>
                <a:cxn ang="0">
                  <a:pos x="293" y="943"/>
                </a:cxn>
                <a:cxn ang="0">
                  <a:pos x="309" y="934"/>
                </a:cxn>
              </a:cxnLst>
              <a:rect l="0" t="0" r="r" b="b"/>
              <a:pathLst>
                <a:path w="735" h="946">
                  <a:moveTo>
                    <a:pt x="331" y="869"/>
                  </a:moveTo>
                  <a:cubicBezTo>
                    <a:pt x="347" y="867"/>
                    <a:pt x="347" y="867"/>
                    <a:pt x="347" y="867"/>
                  </a:cubicBezTo>
                  <a:cubicBezTo>
                    <a:pt x="347" y="849"/>
                    <a:pt x="347" y="849"/>
                    <a:pt x="347" y="849"/>
                  </a:cubicBezTo>
                  <a:cubicBezTo>
                    <a:pt x="367" y="823"/>
                    <a:pt x="367" y="823"/>
                    <a:pt x="367" y="823"/>
                  </a:cubicBezTo>
                  <a:cubicBezTo>
                    <a:pt x="376" y="823"/>
                    <a:pt x="376" y="823"/>
                    <a:pt x="376" y="823"/>
                  </a:cubicBezTo>
                  <a:cubicBezTo>
                    <a:pt x="376" y="813"/>
                    <a:pt x="376" y="813"/>
                    <a:pt x="376" y="813"/>
                  </a:cubicBezTo>
                  <a:cubicBezTo>
                    <a:pt x="376" y="813"/>
                    <a:pt x="388" y="803"/>
                    <a:pt x="388" y="798"/>
                  </a:cubicBezTo>
                  <a:cubicBezTo>
                    <a:pt x="381" y="790"/>
                    <a:pt x="387" y="778"/>
                    <a:pt x="387" y="778"/>
                  </a:cubicBezTo>
                  <a:cubicBezTo>
                    <a:pt x="399" y="773"/>
                    <a:pt x="399" y="773"/>
                    <a:pt x="399" y="773"/>
                  </a:cubicBezTo>
                  <a:cubicBezTo>
                    <a:pt x="397" y="743"/>
                    <a:pt x="397" y="743"/>
                    <a:pt x="397" y="743"/>
                  </a:cubicBezTo>
                  <a:cubicBezTo>
                    <a:pt x="381" y="749"/>
                    <a:pt x="381" y="749"/>
                    <a:pt x="381" y="749"/>
                  </a:cubicBezTo>
                  <a:cubicBezTo>
                    <a:pt x="381" y="733"/>
                    <a:pt x="381" y="733"/>
                    <a:pt x="381" y="733"/>
                  </a:cubicBezTo>
                  <a:cubicBezTo>
                    <a:pt x="392" y="729"/>
                    <a:pt x="392" y="729"/>
                    <a:pt x="392" y="729"/>
                  </a:cubicBezTo>
                  <a:cubicBezTo>
                    <a:pt x="392" y="729"/>
                    <a:pt x="389" y="725"/>
                    <a:pt x="385" y="715"/>
                  </a:cubicBezTo>
                  <a:cubicBezTo>
                    <a:pt x="381" y="706"/>
                    <a:pt x="343" y="693"/>
                    <a:pt x="343" y="693"/>
                  </a:cubicBezTo>
                  <a:cubicBezTo>
                    <a:pt x="331" y="681"/>
                    <a:pt x="331" y="681"/>
                    <a:pt x="331" y="681"/>
                  </a:cubicBezTo>
                  <a:cubicBezTo>
                    <a:pt x="340" y="677"/>
                    <a:pt x="340" y="677"/>
                    <a:pt x="340" y="677"/>
                  </a:cubicBezTo>
                  <a:cubicBezTo>
                    <a:pt x="339" y="658"/>
                    <a:pt x="339" y="658"/>
                    <a:pt x="339" y="658"/>
                  </a:cubicBezTo>
                  <a:cubicBezTo>
                    <a:pt x="352" y="643"/>
                    <a:pt x="352" y="643"/>
                    <a:pt x="352" y="643"/>
                  </a:cubicBezTo>
                  <a:cubicBezTo>
                    <a:pt x="347" y="622"/>
                    <a:pt x="347" y="622"/>
                    <a:pt x="347" y="622"/>
                  </a:cubicBezTo>
                  <a:cubicBezTo>
                    <a:pt x="351" y="625"/>
                    <a:pt x="351" y="625"/>
                    <a:pt x="351" y="625"/>
                  </a:cubicBezTo>
                  <a:cubicBezTo>
                    <a:pt x="347" y="593"/>
                    <a:pt x="347" y="593"/>
                    <a:pt x="347" y="593"/>
                  </a:cubicBezTo>
                  <a:cubicBezTo>
                    <a:pt x="347" y="593"/>
                    <a:pt x="369" y="579"/>
                    <a:pt x="376" y="579"/>
                  </a:cubicBezTo>
                  <a:cubicBezTo>
                    <a:pt x="383" y="579"/>
                    <a:pt x="392" y="570"/>
                    <a:pt x="392" y="570"/>
                  </a:cubicBezTo>
                  <a:cubicBezTo>
                    <a:pt x="392" y="570"/>
                    <a:pt x="395" y="570"/>
                    <a:pt x="397" y="577"/>
                  </a:cubicBezTo>
                  <a:cubicBezTo>
                    <a:pt x="400" y="583"/>
                    <a:pt x="405" y="591"/>
                    <a:pt x="413" y="594"/>
                  </a:cubicBezTo>
                  <a:cubicBezTo>
                    <a:pt x="421" y="597"/>
                    <a:pt x="415" y="583"/>
                    <a:pt x="413" y="578"/>
                  </a:cubicBezTo>
                  <a:cubicBezTo>
                    <a:pt x="412" y="573"/>
                    <a:pt x="427" y="561"/>
                    <a:pt x="427" y="561"/>
                  </a:cubicBezTo>
                  <a:cubicBezTo>
                    <a:pt x="436" y="563"/>
                    <a:pt x="436" y="563"/>
                    <a:pt x="436" y="563"/>
                  </a:cubicBezTo>
                  <a:cubicBezTo>
                    <a:pt x="449" y="554"/>
                    <a:pt x="449" y="554"/>
                    <a:pt x="449" y="554"/>
                  </a:cubicBezTo>
                  <a:cubicBezTo>
                    <a:pt x="449" y="554"/>
                    <a:pt x="463" y="563"/>
                    <a:pt x="477" y="562"/>
                  </a:cubicBezTo>
                  <a:cubicBezTo>
                    <a:pt x="492" y="561"/>
                    <a:pt x="523" y="546"/>
                    <a:pt x="523" y="546"/>
                  </a:cubicBezTo>
                  <a:cubicBezTo>
                    <a:pt x="536" y="541"/>
                    <a:pt x="536" y="541"/>
                    <a:pt x="536" y="541"/>
                  </a:cubicBezTo>
                  <a:cubicBezTo>
                    <a:pt x="536" y="541"/>
                    <a:pt x="541" y="557"/>
                    <a:pt x="556" y="557"/>
                  </a:cubicBezTo>
                  <a:cubicBezTo>
                    <a:pt x="571" y="557"/>
                    <a:pt x="583" y="521"/>
                    <a:pt x="583" y="521"/>
                  </a:cubicBezTo>
                  <a:cubicBezTo>
                    <a:pt x="605" y="522"/>
                    <a:pt x="605" y="522"/>
                    <a:pt x="605" y="522"/>
                  </a:cubicBezTo>
                  <a:cubicBezTo>
                    <a:pt x="600" y="505"/>
                    <a:pt x="600" y="505"/>
                    <a:pt x="600" y="505"/>
                  </a:cubicBezTo>
                  <a:cubicBezTo>
                    <a:pt x="617" y="481"/>
                    <a:pt x="617" y="481"/>
                    <a:pt x="617" y="481"/>
                  </a:cubicBezTo>
                  <a:cubicBezTo>
                    <a:pt x="600" y="469"/>
                    <a:pt x="600" y="469"/>
                    <a:pt x="600" y="469"/>
                  </a:cubicBezTo>
                  <a:cubicBezTo>
                    <a:pt x="600" y="469"/>
                    <a:pt x="603" y="445"/>
                    <a:pt x="621" y="451"/>
                  </a:cubicBezTo>
                  <a:cubicBezTo>
                    <a:pt x="640" y="458"/>
                    <a:pt x="643" y="433"/>
                    <a:pt x="643" y="433"/>
                  </a:cubicBezTo>
                  <a:cubicBezTo>
                    <a:pt x="643" y="433"/>
                    <a:pt x="636" y="429"/>
                    <a:pt x="636" y="425"/>
                  </a:cubicBezTo>
                  <a:cubicBezTo>
                    <a:pt x="636" y="421"/>
                    <a:pt x="625" y="391"/>
                    <a:pt x="625" y="391"/>
                  </a:cubicBezTo>
                  <a:cubicBezTo>
                    <a:pt x="653" y="382"/>
                    <a:pt x="653" y="382"/>
                    <a:pt x="653" y="382"/>
                  </a:cubicBezTo>
                  <a:cubicBezTo>
                    <a:pt x="672" y="353"/>
                    <a:pt x="672" y="353"/>
                    <a:pt x="672" y="353"/>
                  </a:cubicBezTo>
                  <a:cubicBezTo>
                    <a:pt x="693" y="347"/>
                    <a:pt x="693" y="347"/>
                    <a:pt x="693" y="347"/>
                  </a:cubicBezTo>
                  <a:cubicBezTo>
                    <a:pt x="707" y="327"/>
                    <a:pt x="707" y="327"/>
                    <a:pt x="707" y="327"/>
                  </a:cubicBezTo>
                  <a:cubicBezTo>
                    <a:pt x="699" y="310"/>
                    <a:pt x="699" y="310"/>
                    <a:pt x="699" y="310"/>
                  </a:cubicBezTo>
                  <a:cubicBezTo>
                    <a:pt x="715" y="309"/>
                    <a:pt x="715" y="309"/>
                    <a:pt x="715" y="309"/>
                  </a:cubicBezTo>
                  <a:cubicBezTo>
                    <a:pt x="716" y="295"/>
                    <a:pt x="716" y="295"/>
                    <a:pt x="716" y="295"/>
                  </a:cubicBezTo>
                  <a:cubicBezTo>
                    <a:pt x="733" y="289"/>
                    <a:pt x="733" y="289"/>
                    <a:pt x="733" y="289"/>
                  </a:cubicBezTo>
                  <a:cubicBezTo>
                    <a:pt x="728" y="279"/>
                    <a:pt x="728" y="279"/>
                    <a:pt x="728" y="279"/>
                  </a:cubicBezTo>
                  <a:cubicBezTo>
                    <a:pt x="735" y="274"/>
                    <a:pt x="735" y="274"/>
                    <a:pt x="735" y="274"/>
                  </a:cubicBezTo>
                  <a:cubicBezTo>
                    <a:pt x="729" y="243"/>
                    <a:pt x="729" y="243"/>
                    <a:pt x="729" y="243"/>
                  </a:cubicBezTo>
                  <a:cubicBezTo>
                    <a:pt x="732" y="239"/>
                    <a:pt x="732" y="239"/>
                    <a:pt x="732" y="239"/>
                  </a:cubicBezTo>
                  <a:cubicBezTo>
                    <a:pt x="721" y="217"/>
                    <a:pt x="721" y="217"/>
                    <a:pt x="721" y="217"/>
                  </a:cubicBezTo>
                  <a:cubicBezTo>
                    <a:pt x="727" y="207"/>
                    <a:pt x="727" y="207"/>
                    <a:pt x="727" y="207"/>
                  </a:cubicBezTo>
                  <a:cubicBezTo>
                    <a:pt x="696" y="195"/>
                    <a:pt x="696" y="195"/>
                    <a:pt x="696" y="195"/>
                  </a:cubicBezTo>
                  <a:cubicBezTo>
                    <a:pt x="700" y="185"/>
                    <a:pt x="700" y="185"/>
                    <a:pt x="700" y="185"/>
                  </a:cubicBezTo>
                  <a:cubicBezTo>
                    <a:pt x="692" y="183"/>
                    <a:pt x="692" y="183"/>
                    <a:pt x="692" y="183"/>
                  </a:cubicBezTo>
                  <a:cubicBezTo>
                    <a:pt x="699" y="167"/>
                    <a:pt x="699" y="167"/>
                    <a:pt x="699" y="167"/>
                  </a:cubicBezTo>
                  <a:cubicBezTo>
                    <a:pt x="691" y="161"/>
                    <a:pt x="691" y="161"/>
                    <a:pt x="691" y="161"/>
                  </a:cubicBezTo>
                  <a:cubicBezTo>
                    <a:pt x="691" y="150"/>
                    <a:pt x="691" y="150"/>
                    <a:pt x="691" y="150"/>
                  </a:cubicBezTo>
                  <a:cubicBezTo>
                    <a:pt x="691" y="150"/>
                    <a:pt x="707" y="135"/>
                    <a:pt x="707" y="129"/>
                  </a:cubicBezTo>
                  <a:cubicBezTo>
                    <a:pt x="707" y="122"/>
                    <a:pt x="693" y="118"/>
                    <a:pt x="693" y="118"/>
                  </a:cubicBezTo>
                  <a:cubicBezTo>
                    <a:pt x="700" y="117"/>
                    <a:pt x="700" y="117"/>
                    <a:pt x="700" y="117"/>
                  </a:cubicBezTo>
                  <a:cubicBezTo>
                    <a:pt x="668" y="95"/>
                    <a:pt x="668" y="95"/>
                    <a:pt x="668" y="95"/>
                  </a:cubicBezTo>
                  <a:cubicBezTo>
                    <a:pt x="673" y="75"/>
                    <a:pt x="673" y="75"/>
                    <a:pt x="673" y="75"/>
                  </a:cubicBezTo>
                  <a:cubicBezTo>
                    <a:pt x="673" y="75"/>
                    <a:pt x="661" y="74"/>
                    <a:pt x="655" y="74"/>
                  </a:cubicBezTo>
                  <a:cubicBezTo>
                    <a:pt x="648" y="74"/>
                    <a:pt x="643" y="51"/>
                    <a:pt x="643" y="51"/>
                  </a:cubicBezTo>
                  <a:cubicBezTo>
                    <a:pt x="608" y="47"/>
                    <a:pt x="608" y="47"/>
                    <a:pt x="608" y="47"/>
                  </a:cubicBezTo>
                  <a:cubicBezTo>
                    <a:pt x="608" y="47"/>
                    <a:pt x="596" y="62"/>
                    <a:pt x="589" y="58"/>
                  </a:cubicBezTo>
                  <a:cubicBezTo>
                    <a:pt x="583" y="54"/>
                    <a:pt x="589" y="30"/>
                    <a:pt x="589" y="30"/>
                  </a:cubicBezTo>
                  <a:cubicBezTo>
                    <a:pt x="589" y="30"/>
                    <a:pt x="576" y="24"/>
                    <a:pt x="558" y="21"/>
                  </a:cubicBezTo>
                  <a:cubicBezTo>
                    <a:pt x="540" y="43"/>
                    <a:pt x="540" y="43"/>
                    <a:pt x="540" y="43"/>
                  </a:cubicBezTo>
                  <a:cubicBezTo>
                    <a:pt x="540" y="43"/>
                    <a:pt x="529" y="45"/>
                    <a:pt x="525" y="45"/>
                  </a:cubicBezTo>
                  <a:cubicBezTo>
                    <a:pt x="521" y="45"/>
                    <a:pt x="531" y="73"/>
                    <a:pt x="531" y="73"/>
                  </a:cubicBezTo>
                  <a:cubicBezTo>
                    <a:pt x="519" y="74"/>
                    <a:pt x="519" y="74"/>
                    <a:pt x="519" y="74"/>
                  </a:cubicBezTo>
                  <a:cubicBezTo>
                    <a:pt x="519" y="74"/>
                    <a:pt x="515" y="73"/>
                    <a:pt x="511" y="87"/>
                  </a:cubicBezTo>
                  <a:cubicBezTo>
                    <a:pt x="459" y="94"/>
                    <a:pt x="471" y="147"/>
                    <a:pt x="471" y="147"/>
                  </a:cubicBezTo>
                  <a:cubicBezTo>
                    <a:pt x="464" y="147"/>
                    <a:pt x="464" y="147"/>
                    <a:pt x="464" y="147"/>
                  </a:cubicBezTo>
                  <a:cubicBezTo>
                    <a:pt x="464" y="147"/>
                    <a:pt x="445" y="175"/>
                    <a:pt x="441" y="175"/>
                  </a:cubicBezTo>
                  <a:cubicBezTo>
                    <a:pt x="437" y="175"/>
                    <a:pt x="429" y="166"/>
                    <a:pt x="429" y="166"/>
                  </a:cubicBezTo>
                  <a:cubicBezTo>
                    <a:pt x="429" y="166"/>
                    <a:pt x="413" y="189"/>
                    <a:pt x="407" y="202"/>
                  </a:cubicBezTo>
                  <a:cubicBezTo>
                    <a:pt x="400" y="215"/>
                    <a:pt x="367" y="213"/>
                    <a:pt x="349" y="195"/>
                  </a:cubicBezTo>
                  <a:cubicBezTo>
                    <a:pt x="332" y="178"/>
                    <a:pt x="324" y="193"/>
                    <a:pt x="324" y="193"/>
                  </a:cubicBezTo>
                  <a:cubicBezTo>
                    <a:pt x="324" y="193"/>
                    <a:pt x="324" y="187"/>
                    <a:pt x="319" y="169"/>
                  </a:cubicBezTo>
                  <a:cubicBezTo>
                    <a:pt x="325" y="154"/>
                    <a:pt x="285" y="143"/>
                    <a:pt x="285" y="143"/>
                  </a:cubicBezTo>
                  <a:cubicBezTo>
                    <a:pt x="279" y="130"/>
                    <a:pt x="279" y="130"/>
                    <a:pt x="279" y="130"/>
                  </a:cubicBezTo>
                  <a:cubicBezTo>
                    <a:pt x="265" y="131"/>
                    <a:pt x="265" y="131"/>
                    <a:pt x="265" y="131"/>
                  </a:cubicBezTo>
                  <a:cubicBezTo>
                    <a:pt x="267" y="136"/>
                    <a:pt x="270" y="143"/>
                    <a:pt x="272" y="153"/>
                  </a:cubicBezTo>
                  <a:cubicBezTo>
                    <a:pt x="276" y="171"/>
                    <a:pt x="290" y="171"/>
                    <a:pt x="290" y="171"/>
                  </a:cubicBezTo>
                  <a:cubicBezTo>
                    <a:pt x="279" y="178"/>
                    <a:pt x="279" y="178"/>
                    <a:pt x="279" y="178"/>
                  </a:cubicBezTo>
                  <a:cubicBezTo>
                    <a:pt x="279" y="178"/>
                    <a:pt x="262" y="147"/>
                    <a:pt x="258" y="143"/>
                  </a:cubicBezTo>
                  <a:cubicBezTo>
                    <a:pt x="254" y="140"/>
                    <a:pt x="250" y="104"/>
                    <a:pt x="242" y="83"/>
                  </a:cubicBezTo>
                  <a:cubicBezTo>
                    <a:pt x="239" y="76"/>
                    <a:pt x="239" y="76"/>
                    <a:pt x="239" y="76"/>
                  </a:cubicBezTo>
                  <a:cubicBezTo>
                    <a:pt x="239" y="75"/>
                    <a:pt x="239" y="75"/>
                    <a:pt x="239" y="75"/>
                  </a:cubicBezTo>
                  <a:cubicBezTo>
                    <a:pt x="229" y="55"/>
                    <a:pt x="184" y="19"/>
                    <a:pt x="184" y="19"/>
                  </a:cubicBezTo>
                  <a:cubicBezTo>
                    <a:pt x="185" y="0"/>
                    <a:pt x="185" y="0"/>
                    <a:pt x="185" y="0"/>
                  </a:cubicBezTo>
                  <a:cubicBezTo>
                    <a:pt x="162" y="28"/>
                    <a:pt x="162" y="28"/>
                    <a:pt x="162" y="28"/>
                  </a:cubicBezTo>
                  <a:cubicBezTo>
                    <a:pt x="162" y="28"/>
                    <a:pt x="164" y="82"/>
                    <a:pt x="159" y="107"/>
                  </a:cubicBezTo>
                  <a:cubicBezTo>
                    <a:pt x="155" y="130"/>
                    <a:pt x="136" y="279"/>
                    <a:pt x="133" y="309"/>
                  </a:cubicBezTo>
                  <a:cubicBezTo>
                    <a:pt x="136" y="291"/>
                    <a:pt x="155" y="262"/>
                    <a:pt x="155" y="262"/>
                  </a:cubicBezTo>
                  <a:cubicBezTo>
                    <a:pt x="155" y="262"/>
                    <a:pt x="187" y="292"/>
                    <a:pt x="180" y="304"/>
                  </a:cubicBezTo>
                  <a:cubicBezTo>
                    <a:pt x="173" y="316"/>
                    <a:pt x="147" y="302"/>
                    <a:pt x="147" y="302"/>
                  </a:cubicBezTo>
                  <a:cubicBezTo>
                    <a:pt x="145" y="322"/>
                    <a:pt x="131" y="339"/>
                    <a:pt x="131" y="339"/>
                  </a:cubicBezTo>
                  <a:cubicBezTo>
                    <a:pt x="131" y="339"/>
                    <a:pt x="115" y="435"/>
                    <a:pt x="93" y="567"/>
                  </a:cubicBezTo>
                  <a:cubicBezTo>
                    <a:pt x="71" y="699"/>
                    <a:pt x="23" y="730"/>
                    <a:pt x="23" y="730"/>
                  </a:cubicBezTo>
                  <a:cubicBezTo>
                    <a:pt x="0" y="733"/>
                    <a:pt x="0" y="733"/>
                    <a:pt x="0" y="733"/>
                  </a:cubicBezTo>
                  <a:cubicBezTo>
                    <a:pt x="13" y="763"/>
                    <a:pt x="13" y="763"/>
                    <a:pt x="13" y="763"/>
                  </a:cubicBezTo>
                  <a:cubicBezTo>
                    <a:pt x="34" y="764"/>
                    <a:pt x="34" y="764"/>
                    <a:pt x="34" y="764"/>
                  </a:cubicBezTo>
                  <a:cubicBezTo>
                    <a:pt x="34" y="764"/>
                    <a:pt x="37" y="773"/>
                    <a:pt x="42" y="779"/>
                  </a:cubicBezTo>
                  <a:cubicBezTo>
                    <a:pt x="47" y="785"/>
                    <a:pt x="48" y="774"/>
                    <a:pt x="56" y="771"/>
                  </a:cubicBezTo>
                  <a:cubicBezTo>
                    <a:pt x="64" y="768"/>
                    <a:pt x="74" y="776"/>
                    <a:pt x="86" y="787"/>
                  </a:cubicBezTo>
                  <a:cubicBezTo>
                    <a:pt x="98" y="798"/>
                    <a:pt x="71" y="830"/>
                    <a:pt x="69" y="843"/>
                  </a:cubicBezTo>
                  <a:cubicBezTo>
                    <a:pt x="67" y="856"/>
                    <a:pt x="92" y="859"/>
                    <a:pt x="92" y="859"/>
                  </a:cubicBezTo>
                  <a:cubicBezTo>
                    <a:pt x="92" y="859"/>
                    <a:pt x="100" y="831"/>
                    <a:pt x="110" y="831"/>
                  </a:cubicBezTo>
                  <a:cubicBezTo>
                    <a:pt x="120" y="831"/>
                    <a:pt x="107" y="846"/>
                    <a:pt x="107" y="846"/>
                  </a:cubicBezTo>
                  <a:cubicBezTo>
                    <a:pt x="136" y="857"/>
                    <a:pt x="136" y="857"/>
                    <a:pt x="136" y="857"/>
                  </a:cubicBezTo>
                  <a:cubicBezTo>
                    <a:pt x="142" y="869"/>
                    <a:pt x="142" y="869"/>
                    <a:pt x="142" y="869"/>
                  </a:cubicBezTo>
                  <a:cubicBezTo>
                    <a:pt x="149" y="864"/>
                    <a:pt x="149" y="864"/>
                    <a:pt x="149" y="864"/>
                  </a:cubicBezTo>
                  <a:cubicBezTo>
                    <a:pt x="182" y="884"/>
                    <a:pt x="182" y="884"/>
                    <a:pt x="182" y="884"/>
                  </a:cubicBezTo>
                  <a:cubicBezTo>
                    <a:pt x="228" y="882"/>
                    <a:pt x="228" y="882"/>
                    <a:pt x="228" y="882"/>
                  </a:cubicBezTo>
                  <a:cubicBezTo>
                    <a:pt x="228" y="882"/>
                    <a:pt x="230" y="909"/>
                    <a:pt x="239" y="912"/>
                  </a:cubicBezTo>
                  <a:cubicBezTo>
                    <a:pt x="248" y="915"/>
                    <a:pt x="277" y="946"/>
                    <a:pt x="277" y="946"/>
                  </a:cubicBezTo>
                  <a:cubicBezTo>
                    <a:pt x="293" y="936"/>
                    <a:pt x="293" y="943"/>
                    <a:pt x="293" y="943"/>
                  </a:cubicBezTo>
                  <a:cubicBezTo>
                    <a:pt x="293" y="943"/>
                    <a:pt x="309" y="946"/>
                    <a:pt x="306" y="942"/>
                  </a:cubicBezTo>
                  <a:cubicBezTo>
                    <a:pt x="307" y="941"/>
                    <a:pt x="308" y="940"/>
                    <a:pt x="310" y="940"/>
                  </a:cubicBezTo>
                  <a:cubicBezTo>
                    <a:pt x="310" y="936"/>
                    <a:pt x="309" y="934"/>
                    <a:pt x="309" y="934"/>
                  </a:cubicBezTo>
                  <a:lnTo>
                    <a:pt x="331" y="869"/>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10" name="Rhône-Alpes" descr="© INSCALE GmbH, 05.05.2010&#10;http://www.presentationload.com/">
              <a:extLst>
                <a:ext uri="{FF2B5EF4-FFF2-40B4-BE49-F238E27FC236}">
                  <a16:creationId xmlns:a16="http://schemas.microsoft.com/office/drawing/2014/main" id="{C96232F3-AA0D-4686-B8F3-177F16EC3D67}"/>
                </a:ext>
              </a:extLst>
            </p:cNvPr>
            <p:cNvSpPr>
              <a:spLocks/>
            </p:cNvSpPr>
            <p:nvPr/>
          </p:nvSpPr>
          <p:spPr bwMode="gray">
            <a:xfrm>
              <a:off x="2094" y="1710"/>
              <a:ext cx="833" cy="840"/>
            </a:xfrm>
            <a:custGeom>
              <a:avLst/>
              <a:gdLst/>
              <a:ahLst/>
              <a:cxnLst>
                <a:cxn ang="0">
                  <a:pos x="92" y="696"/>
                </a:cxn>
                <a:cxn ang="0">
                  <a:pos x="136" y="744"/>
                </a:cxn>
                <a:cxn ang="0">
                  <a:pos x="170" y="728"/>
                </a:cxn>
                <a:cxn ang="0">
                  <a:pos x="228" y="735"/>
                </a:cxn>
                <a:cxn ang="0">
                  <a:pos x="318" y="724"/>
                </a:cxn>
                <a:cxn ang="0">
                  <a:pos x="341" y="746"/>
                </a:cxn>
                <a:cxn ang="0">
                  <a:pos x="386" y="752"/>
                </a:cxn>
                <a:cxn ang="0">
                  <a:pos x="416" y="778"/>
                </a:cxn>
                <a:cxn ang="0">
                  <a:pos x="462" y="752"/>
                </a:cxn>
                <a:cxn ang="0">
                  <a:pos x="414" y="708"/>
                </a:cxn>
                <a:cxn ang="0">
                  <a:pos x="406" y="670"/>
                </a:cxn>
                <a:cxn ang="0">
                  <a:pos x="453" y="650"/>
                </a:cxn>
                <a:cxn ang="0">
                  <a:pos x="486" y="590"/>
                </a:cxn>
                <a:cxn ang="0">
                  <a:pos x="541" y="546"/>
                </a:cxn>
                <a:cxn ang="0">
                  <a:pos x="572" y="487"/>
                </a:cxn>
                <a:cxn ang="0">
                  <a:pos x="604" y="452"/>
                </a:cxn>
                <a:cxn ang="0">
                  <a:pos x="632" y="458"/>
                </a:cxn>
                <a:cxn ang="0">
                  <a:pos x="685" y="426"/>
                </a:cxn>
                <a:cxn ang="0">
                  <a:pos x="772" y="342"/>
                </a:cxn>
                <a:cxn ang="0">
                  <a:pos x="686" y="232"/>
                </a:cxn>
                <a:cxn ang="0">
                  <a:pos x="706" y="121"/>
                </a:cxn>
                <a:cxn ang="0">
                  <a:pos x="684" y="108"/>
                </a:cxn>
                <a:cxn ang="0">
                  <a:pos x="670" y="33"/>
                </a:cxn>
                <a:cxn ang="0">
                  <a:pos x="611" y="0"/>
                </a:cxn>
                <a:cxn ang="0">
                  <a:pos x="560" y="31"/>
                </a:cxn>
                <a:cxn ang="0">
                  <a:pos x="569" y="68"/>
                </a:cxn>
                <a:cxn ang="0">
                  <a:pos x="517" y="99"/>
                </a:cxn>
                <a:cxn ang="0">
                  <a:pos x="512" y="67"/>
                </a:cxn>
                <a:cxn ang="0">
                  <a:pos x="534" y="29"/>
                </a:cxn>
                <a:cxn ang="0">
                  <a:pos x="441" y="74"/>
                </a:cxn>
                <a:cxn ang="0">
                  <a:pos x="388" y="79"/>
                </a:cxn>
                <a:cxn ang="0">
                  <a:pos x="350" y="50"/>
                </a:cxn>
                <a:cxn ang="0">
                  <a:pos x="326" y="16"/>
                </a:cxn>
                <a:cxn ang="0">
                  <a:pos x="237" y="126"/>
                </a:cxn>
                <a:cxn ang="0">
                  <a:pos x="217" y="100"/>
                </a:cxn>
                <a:cxn ang="0">
                  <a:pos x="188" y="88"/>
                </a:cxn>
                <a:cxn ang="0">
                  <a:pos x="152" y="88"/>
                </a:cxn>
                <a:cxn ang="0">
                  <a:pos x="125" y="136"/>
                </a:cxn>
                <a:cxn ang="0">
                  <a:pos x="86" y="126"/>
                </a:cxn>
                <a:cxn ang="0">
                  <a:pos x="42" y="119"/>
                </a:cxn>
                <a:cxn ang="0">
                  <a:pos x="21" y="124"/>
                </a:cxn>
                <a:cxn ang="0">
                  <a:pos x="25" y="187"/>
                </a:cxn>
                <a:cxn ang="0">
                  <a:pos x="12" y="224"/>
                </a:cxn>
                <a:cxn ang="0">
                  <a:pos x="29" y="311"/>
                </a:cxn>
                <a:cxn ang="0">
                  <a:pos x="50" y="403"/>
                </a:cxn>
                <a:cxn ang="0">
                  <a:pos x="72" y="396"/>
                </a:cxn>
                <a:cxn ang="0">
                  <a:pos x="90" y="390"/>
                </a:cxn>
                <a:cxn ang="0">
                  <a:pos x="150" y="406"/>
                </a:cxn>
                <a:cxn ang="0">
                  <a:pos x="171" y="469"/>
                </a:cxn>
                <a:cxn ang="0">
                  <a:pos x="157" y="458"/>
                </a:cxn>
                <a:cxn ang="0">
                  <a:pos x="157" y="495"/>
                </a:cxn>
                <a:cxn ang="0">
                  <a:pos x="122" y="519"/>
                </a:cxn>
                <a:cxn ang="0">
                  <a:pos x="81" y="554"/>
                </a:cxn>
                <a:cxn ang="0">
                  <a:pos x="41" y="588"/>
                </a:cxn>
              </a:cxnLst>
              <a:rect l="0" t="0" r="r" b="b"/>
              <a:pathLst>
                <a:path w="772" h="778">
                  <a:moveTo>
                    <a:pt x="68" y="647"/>
                  </a:moveTo>
                  <a:cubicBezTo>
                    <a:pt x="72" y="678"/>
                    <a:pt x="72" y="678"/>
                    <a:pt x="72" y="678"/>
                  </a:cubicBezTo>
                  <a:cubicBezTo>
                    <a:pt x="92" y="696"/>
                    <a:pt x="92" y="696"/>
                    <a:pt x="92" y="696"/>
                  </a:cubicBezTo>
                  <a:cubicBezTo>
                    <a:pt x="85" y="727"/>
                    <a:pt x="85" y="727"/>
                    <a:pt x="85" y="727"/>
                  </a:cubicBezTo>
                  <a:cubicBezTo>
                    <a:pt x="104" y="716"/>
                    <a:pt x="104" y="716"/>
                    <a:pt x="104" y="716"/>
                  </a:cubicBezTo>
                  <a:cubicBezTo>
                    <a:pt x="136" y="744"/>
                    <a:pt x="136" y="744"/>
                    <a:pt x="136" y="744"/>
                  </a:cubicBezTo>
                  <a:cubicBezTo>
                    <a:pt x="156" y="714"/>
                    <a:pt x="156" y="714"/>
                    <a:pt x="156" y="714"/>
                  </a:cubicBezTo>
                  <a:cubicBezTo>
                    <a:pt x="170" y="714"/>
                    <a:pt x="170" y="714"/>
                    <a:pt x="170" y="714"/>
                  </a:cubicBezTo>
                  <a:cubicBezTo>
                    <a:pt x="170" y="728"/>
                    <a:pt x="170" y="728"/>
                    <a:pt x="170" y="728"/>
                  </a:cubicBezTo>
                  <a:cubicBezTo>
                    <a:pt x="177" y="728"/>
                    <a:pt x="177" y="728"/>
                    <a:pt x="177" y="728"/>
                  </a:cubicBezTo>
                  <a:cubicBezTo>
                    <a:pt x="185" y="716"/>
                    <a:pt x="185" y="716"/>
                    <a:pt x="185" y="716"/>
                  </a:cubicBezTo>
                  <a:cubicBezTo>
                    <a:pt x="228" y="735"/>
                    <a:pt x="228" y="735"/>
                    <a:pt x="228" y="735"/>
                  </a:cubicBezTo>
                  <a:cubicBezTo>
                    <a:pt x="228" y="720"/>
                    <a:pt x="228" y="720"/>
                    <a:pt x="228" y="720"/>
                  </a:cubicBezTo>
                  <a:cubicBezTo>
                    <a:pt x="228" y="720"/>
                    <a:pt x="262" y="712"/>
                    <a:pt x="264" y="748"/>
                  </a:cubicBezTo>
                  <a:cubicBezTo>
                    <a:pt x="318" y="724"/>
                    <a:pt x="318" y="724"/>
                    <a:pt x="318" y="724"/>
                  </a:cubicBezTo>
                  <a:cubicBezTo>
                    <a:pt x="329" y="728"/>
                    <a:pt x="329" y="728"/>
                    <a:pt x="329" y="728"/>
                  </a:cubicBezTo>
                  <a:cubicBezTo>
                    <a:pt x="341" y="722"/>
                    <a:pt x="341" y="722"/>
                    <a:pt x="341" y="722"/>
                  </a:cubicBezTo>
                  <a:cubicBezTo>
                    <a:pt x="341" y="746"/>
                    <a:pt x="341" y="746"/>
                    <a:pt x="341" y="746"/>
                  </a:cubicBezTo>
                  <a:cubicBezTo>
                    <a:pt x="366" y="754"/>
                    <a:pt x="366" y="754"/>
                    <a:pt x="366" y="754"/>
                  </a:cubicBezTo>
                  <a:cubicBezTo>
                    <a:pt x="365" y="747"/>
                    <a:pt x="365" y="747"/>
                    <a:pt x="365" y="747"/>
                  </a:cubicBezTo>
                  <a:cubicBezTo>
                    <a:pt x="386" y="752"/>
                    <a:pt x="386" y="752"/>
                    <a:pt x="386" y="752"/>
                  </a:cubicBezTo>
                  <a:cubicBezTo>
                    <a:pt x="386" y="752"/>
                    <a:pt x="393" y="756"/>
                    <a:pt x="393" y="766"/>
                  </a:cubicBezTo>
                  <a:cubicBezTo>
                    <a:pt x="393" y="775"/>
                    <a:pt x="406" y="771"/>
                    <a:pt x="406" y="771"/>
                  </a:cubicBezTo>
                  <a:cubicBezTo>
                    <a:pt x="416" y="778"/>
                    <a:pt x="416" y="778"/>
                    <a:pt x="416" y="778"/>
                  </a:cubicBezTo>
                  <a:cubicBezTo>
                    <a:pt x="436" y="766"/>
                    <a:pt x="436" y="766"/>
                    <a:pt x="436" y="766"/>
                  </a:cubicBezTo>
                  <a:cubicBezTo>
                    <a:pt x="436" y="766"/>
                    <a:pt x="426" y="755"/>
                    <a:pt x="450" y="763"/>
                  </a:cubicBezTo>
                  <a:cubicBezTo>
                    <a:pt x="448" y="766"/>
                    <a:pt x="462" y="752"/>
                    <a:pt x="462" y="752"/>
                  </a:cubicBezTo>
                  <a:cubicBezTo>
                    <a:pt x="462" y="730"/>
                    <a:pt x="462" y="730"/>
                    <a:pt x="462" y="730"/>
                  </a:cubicBezTo>
                  <a:cubicBezTo>
                    <a:pt x="445" y="710"/>
                    <a:pt x="445" y="710"/>
                    <a:pt x="445" y="710"/>
                  </a:cubicBezTo>
                  <a:cubicBezTo>
                    <a:pt x="414" y="708"/>
                    <a:pt x="414" y="708"/>
                    <a:pt x="414" y="708"/>
                  </a:cubicBezTo>
                  <a:cubicBezTo>
                    <a:pt x="398" y="683"/>
                    <a:pt x="398" y="683"/>
                    <a:pt x="398" y="683"/>
                  </a:cubicBezTo>
                  <a:cubicBezTo>
                    <a:pt x="414" y="682"/>
                    <a:pt x="414" y="682"/>
                    <a:pt x="414" y="682"/>
                  </a:cubicBezTo>
                  <a:cubicBezTo>
                    <a:pt x="406" y="670"/>
                    <a:pt x="406" y="670"/>
                    <a:pt x="406" y="670"/>
                  </a:cubicBezTo>
                  <a:cubicBezTo>
                    <a:pt x="409" y="658"/>
                    <a:pt x="409" y="658"/>
                    <a:pt x="409" y="658"/>
                  </a:cubicBezTo>
                  <a:cubicBezTo>
                    <a:pt x="438" y="662"/>
                    <a:pt x="438" y="662"/>
                    <a:pt x="438" y="662"/>
                  </a:cubicBezTo>
                  <a:cubicBezTo>
                    <a:pt x="453" y="650"/>
                    <a:pt x="453" y="650"/>
                    <a:pt x="453" y="650"/>
                  </a:cubicBezTo>
                  <a:cubicBezTo>
                    <a:pt x="436" y="640"/>
                    <a:pt x="436" y="640"/>
                    <a:pt x="436" y="640"/>
                  </a:cubicBezTo>
                  <a:cubicBezTo>
                    <a:pt x="449" y="614"/>
                    <a:pt x="449" y="614"/>
                    <a:pt x="449" y="614"/>
                  </a:cubicBezTo>
                  <a:cubicBezTo>
                    <a:pt x="449" y="614"/>
                    <a:pt x="490" y="599"/>
                    <a:pt x="486" y="590"/>
                  </a:cubicBezTo>
                  <a:cubicBezTo>
                    <a:pt x="482" y="580"/>
                    <a:pt x="477" y="568"/>
                    <a:pt x="489" y="568"/>
                  </a:cubicBezTo>
                  <a:cubicBezTo>
                    <a:pt x="501" y="568"/>
                    <a:pt x="525" y="562"/>
                    <a:pt x="525" y="562"/>
                  </a:cubicBezTo>
                  <a:cubicBezTo>
                    <a:pt x="525" y="562"/>
                    <a:pt x="534" y="539"/>
                    <a:pt x="541" y="546"/>
                  </a:cubicBezTo>
                  <a:cubicBezTo>
                    <a:pt x="548" y="552"/>
                    <a:pt x="538" y="532"/>
                    <a:pt x="604" y="534"/>
                  </a:cubicBezTo>
                  <a:cubicBezTo>
                    <a:pt x="597" y="511"/>
                    <a:pt x="596" y="492"/>
                    <a:pt x="596" y="492"/>
                  </a:cubicBezTo>
                  <a:cubicBezTo>
                    <a:pt x="596" y="492"/>
                    <a:pt x="572" y="498"/>
                    <a:pt x="572" y="487"/>
                  </a:cubicBezTo>
                  <a:cubicBezTo>
                    <a:pt x="572" y="476"/>
                    <a:pt x="577" y="463"/>
                    <a:pt x="577" y="463"/>
                  </a:cubicBezTo>
                  <a:cubicBezTo>
                    <a:pt x="574" y="455"/>
                    <a:pt x="574" y="455"/>
                    <a:pt x="574" y="455"/>
                  </a:cubicBezTo>
                  <a:cubicBezTo>
                    <a:pt x="604" y="452"/>
                    <a:pt x="604" y="452"/>
                    <a:pt x="604" y="452"/>
                  </a:cubicBezTo>
                  <a:cubicBezTo>
                    <a:pt x="605" y="466"/>
                    <a:pt x="605" y="466"/>
                    <a:pt x="605" y="466"/>
                  </a:cubicBezTo>
                  <a:cubicBezTo>
                    <a:pt x="629" y="466"/>
                    <a:pt x="629" y="466"/>
                    <a:pt x="629" y="466"/>
                  </a:cubicBezTo>
                  <a:cubicBezTo>
                    <a:pt x="632" y="458"/>
                    <a:pt x="632" y="458"/>
                    <a:pt x="632" y="458"/>
                  </a:cubicBezTo>
                  <a:cubicBezTo>
                    <a:pt x="656" y="454"/>
                    <a:pt x="656" y="454"/>
                    <a:pt x="656" y="454"/>
                  </a:cubicBezTo>
                  <a:cubicBezTo>
                    <a:pt x="648" y="442"/>
                    <a:pt x="660" y="431"/>
                    <a:pt x="660" y="431"/>
                  </a:cubicBezTo>
                  <a:cubicBezTo>
                    <a:pt x="670" y="445"/>
                    <a:pt x="685" y="426"/>
                    <a:pt x="685" y="426"/>
                  </a:cubicBezTo>
                  <a:cubicBezTo>
                    <a:pt x="704" y="448"/>
                    <a:pt x="725" y="407"/>
                    <a:pt x="725" y="407"/>
                  </a:cubicBezTo>
                  <a:cubicBezTo>
                    <a:pt x="725" y="407"/>
                    <a:pt x="757" y="400"/>
                    <a:pt x="758" y="394"/>
                  </a:cubicBezTo>
                  <a:cubicBezTo>
                    <a:pt x="755" y="371"/>
                    <a:pt x="772" y="342"/>
                    <a:pt x="772" y="342"/>
                  </a:cubicBezTo>
                  <a:cubicBezTo>
                    <a:pt x="764" y="342"/>
                    <a:pt x="744" y="317"/>
                    <a:pt x="741" y="313"/>
                  </a:cubicBezTo>
                  <a:cubicBezTo>
                    <a:pt x="705" y="284"/>
                    <a:pt x="737" y="269"/>
                    <a:pt x="733" y="267"/>
                  </a:cubicBezTo>
                  <a:cubicBezTo>
                    <a:pt x="704" y="274"/>
                    <a:pt x="688" y="235"/>
                    <a:pt x="686" y="232"/>
                  </a:cubicBezTo>
                  <a:cubicBezTo>
                    <a:pt x="678" y="230"/>
                    <a:pt x="684" y="206"/>
                    <a:pt x="684" y="200"/>
                  </a:cubicBezTo>
                  <a:cubicBezTo>
                    <a:pt x="698" y="224"/>
                    <a:pt x="737" y="172"/>
                    <a:pt x="737" y="172"/>
                  </a:cubicBezTo>
                  <a:cubicBezTo>
                    <a:pt x="706" y="121"/>
                    <a:pt x="706" y="121"/>
                    <a:pt x="706" y="121"/>
                  </a:cubicBezTo>
                  <a:cubicBezTo>
                    <a:pt x="701" y="129"/>
                    <a:pt x="701" y="129"/>
                    <a:pt x="701" y="129"/>
                  </a:cubicBezTo>
                  <a:cubicBezTo>
                    <a:pt x="698" y="120"/>
                    <a:pt x="698" y="120"/>
                    <a:pt x="698" y="120"/>
                  </a:cubicBezTo>
                  <a:cubicBezTo>
                    <a:pt x="706" y="98"/>
                    <a:pt x="684" y="108"/>
                    <a:pt x="684" y="108"/>
                  </a:cubicBezTo>
                  <a:cubicBezTo>
                    <a:pt x="675" y="97"/>
                    <a:pt x="675" y="97"/>
                    <a:pt x="675" y="97"/>
                  </a:cubicBezTo>
                  <a:cubicBezTo>
                    <a:pt x="691" y="55"/>
                    <a:pt x="691" y="55"/>
                    <a:pt x="691" y="55"/>
                  </a:cubicBezTo>
                  <a:cubicBezTo>
                    <a:pt x="670" y="33"/>
                    <a:pt x="670" y="33"/>
                    <a:pt x="670" y="33"/>
                  </a:cubicBezTo>
                  <a:cubicBezTo>
                    <a:pt x="680" y="10"/>
                    <a:pt x="680" y="10"/>
                    <a:pt x="680" y="10"/>
                  </a:cubicBezTo>
                  <a:cubicBezTo>
                    <a:pt x="674" y="3"/>
                    <a:pt x="674" y="3"/>
                    <a:pt x="674" y="3"/>
                  </a:cubicBezTo>
                  <a:cubicBezTo>
                    <a:pt x="611" y="0"/>
                    <a:pt x="611" y="0"/>
                    <a:pt x="611" y="0"/>
                  </a:cubicBezTo>
                  <a:cubicBezTo>
                    <a:pt x="593" y="12"/>
                    <a:pt x="593" y="12"/>
                    <a:pt x="593" y="12"/>
                  </a:cubicBezTo>
                  <a:cubicBezTo>
                    <a:pt x="577" y="12"/>
                    <a:pt x="577" y="12"/>
                    <a:pt x="577" y="12"/>
                  </a:cubicBezTo>
                  <a:cubicBezTo>
                    <a:pt x="577" y="12"/>
                    <a:pt x="570" y="21"/>
                    <a:pt x="560" y="31"/>
                  </a:cubicBezTo>
                  <a:cubicBezTo>
                    <a:pt x="550" y="30"/>
                    <a:pt x="553" y="57"/>
                    <a:pt x="553" y="57"/>
                  </a:cubicBezTo>
                  <a:cubicBezTo>
                    <a:pt x="559" y="63"/>
                    <a:pt x="559" y="63"/>
                    <a:pt x="559" y="63"/>
                  </a:cubicBezTo>
                  <a:cubicBezTo>
                    <a:pt x="559" y="63"/>
                    <a:pt x="564" y="60"/>
                    <a:pt x="569" y="68"/>
                  </a:cubicBezTo>
                  <a:cubicBezTo>
                    <a:pt x="574" y="76"/>
                    <a:pt x="558" y="76"/>
                    <a:pt x="558" y="76"/>
                  </a:cubicBezTo>
                  <a:cubicBezTo>
                    <a:pt x="527" y="100"/>
                    <a:pt x="527" y="100"/>
                    <a:pt x="527" y="100"/>
                  </a:cubicBezTo>
                  <a:cubicBezTo>
                    <a:pt x="521" y="93"/>
                    <a:pt x="517" y="99"/>
                    <a:pt x="517" y="99"/>
                  </a:cubicBezTo>
                  <a:cubicBezTo>
                    <a:pt x="499" y="98"/>
                    <a:pt x="499" y="98"/>
                    <a:pt x="499" y="98"/>
                  </a:cubicBezTo>
                  <a:cubicBezTo>
                    <a:pt x="497" y="82"/>
                    <a:pt x="497" y="82"/>
                    <a:pt x="497" y="82"/>
                  </a:cubicBezTo>
                  <a:cubicBezTo>
                    <a:pt x="512" y="67"/>
                    <a:pt x="512" y="67"/>
                    <a:pt x="512" y="67"/>
                  </a:cubicBezTo>
                  <a:cubicBezTo>
                    <a:pt x="525" y="66"/>
                    <a:pt x="525" y="66"/>
                    <a:pt x="525" y="66"/>
                  </a:cubicBezTo>
                  <a:cubicBezTo>
                    <a:pt x="525" y="48"/>
                    <a:pt x="525" y="48"/>
                    <a:pt x="525" y="48"/>
                  </a:cubicBezTo>
                  <a:cubicBezTo>
                    <a:pt x="534" y="41"/>
                    <a:pt x="535" y="34"/>
                    <a:pt x="534" y="29"/>
                  </a:cubicBezTo>
                  <a:cubicBezTo>
                    <a:pt x="477" y="88"/>
                    <a:pt x="477" y="88"/>
                    <a:pt x="477" y="88"/>
                  </a:cubicBezTo>
                  <a:cubicBezTo>
                    <a:pt x="445" y="90"/>
                    <a:pt x="445" y="90"/>
                    <a:pt x="445" y="90"/>
                  </a:cubicBezTo>
                  <a:cubicBezTo>
                    <a:pt x="441" y="74"/>
                    <a:pt x="441" y="74"/>
                    <a:pt x="441" y="74"/>
                  </a:cubicBezTo>
                  <a:cubicBezTo>
                    <a:pt x="441" y="74"/>
                    <a:pt x="421" y="71"/>
                    <a:pt x="425" y="64"/>
                  </a:cubicBezTo>
                  <a:cubicBezTo>
                    <a:pt x="408" y="103"/>
                    <a:pt x="385" y="92"/>
                    <a:pt x="385" y="92"/>
                  </a:cubicBezTo>
                  <a:cubicBezTo>
                    <a:pt x="388" y="79"/>
                    <a:pt x="388" y="79"/>
                    <a:pt x="388" y="79"/>
                  </a:cubicBezTo>
                  <a:cubicBezTo>
                    <a:pt x="364" y="68"/>
                    <a:pt x="364" y="68"/>
                    <a:pt x="364" y="68"/>
                  </a:cubicBezTo>
                  <a:cubicBezTo>
                    <a:pt x="364" y="55"/>
                    <a:pt x="364" y="55"/>
                    <a:pt x="364" y="55"/>
                  </a:cubicBezTo>
                  <a:cubicBezTo>
                    <a:pt x="350" y="50"/>
                    <a:pt x="350" y="50"/>
                    <a:pt x="350" y="50"/>
                  </a:cubicBezTo>
                  <a:cubicBezTo>
                    <a:pt x="352" y="36"/>
                    <a:pt x="352" y="36"/>
                    <a:pt x="352" y="36"/>
                  </a:cubicBezTo>
                  <a:cubicBezTo>
                    <a:pt x="344" y="35"/>
                    <a:pt x="336" y="34"/>
                    <a:pt x="334" y="34"/>
                  </a:cubicBezTo>
                  <a:cubicBezTo>
                    <a:pt x="330" y="34"/>
                    <a:pt x="329" y="22"/>
                    <a:pt x="326" y="16"/>
                  </a:cubicBezTo>
                  <a:cubicBezTo>
                    <a:pt x="324" y="11"/>
                    <a:pt x="309" y="24"/>
                    <a:pt x="296" y="24"/>
                  </a:cubicBezTo>
                  <a:cubicBezTo>
                    <a:pt x="282" y="24"/>
                    <a:pt x="265" y="18"/>
                    <a:pt x="265" y="18"/>
                  </a:cubicBezTo>
                  <a:cubicBezTo>
                    <a:pt x="237" y="126"/>
                    <a:pt x="237" y="126"/>
                    <a:pt x="237" y="126"/>
                  </a:cubicBezTo>
                  <a:cubicBezTo>
                    <a:pt x="226" y="124"/>
                    <a:pt x="226" y="124"/>
                    <a:pt x="226" y="124"/>
                  </a:cubicBezTo>
                  <a:cubicBezTo>
                    <a:pt x="225" y="108"/>
                    <a:pt x="225" y="108"/>
                    <a:pt x="225" y="108"/>
                  </a:cubicBezTo>
                  <a:cubicBezTo>
                    <a:pt x="217" y="100"/>
                    <a:pt x="217" y="100"/>
                    <a:pt x="217" y="100"/>
                  </a:cubicBezTo>
                  <a:cubicBezTo>
                    <a:pt x="217" y="100"/>
                    <a:pt x="218" y="90"/>
                    <a:pt x="208" y="86"/>
                  </a:cubicBezTo>
                  <a:cubicBezTo>
                    <a:pt x="197" y="82"/>
                    <a:pt x="198" y="98"/>
                    <a:pt x="193" y="98"/>
                  </a:cubicBezTo>
                  <a:cubicBezTo>
                    <a:pt x="188" y="98"/>
                    <a:pt x="188" y="88"/>
                    <a:pt x="188" y="88"/>
                  </a:cubicBezTo>
                  <a:cubicBezTo>
                    <a:pt x="173" y="100"/>
                    <a:pt x="173" y="100"/>
                    <a:pt x="173" y="100"/>
                  </a:cubicBezTo>
                  <a:cubicBezTo>
                    <a:pt x="164" y="87"/>
                    <a:pt x="164" y="87"/>
                    <a:pt x="164" y="87"/>
                  </a:cubicBezTo>
                  <a:cubicBezTo>
                    <a:pt x="152" y="88"/>
                    <a:pt x="152" y="88"/>
                    <a:pt x="152" y="88"/>
                  </a:cubicBezTo>
                  <a:cubicBezTo>
                    <a:pt x="148" y="127"/>
                    <a:pt x="148" y="127"/>
                    <a:pt x="148" y="127"/>
                  </a:cubicBezTo>
                  <a:cubicBezTo>
                    <a:pt x="148" y="127"/>
                    <a:pt x="137" y="128"/>
                    <a:pt x="132" y="128"/>
                  </a:cubicBezTo>
                  <a:cubicBezTo>
                    <a:pt x="126" y="128"/>
                    <a:pt x="132" y="135"/>
                    <a:pt x="125" y="136"/>
                  </a:cubicBezTo>
                  <a:cubicBezTo>
                    <a:pt x="120" y="137"/>
                    <a:pt x="113" y="129"/>
                    <a:pt x="110" y="125"/>
                  </a:cubicBezTo>
                  <a:cubicBezTo>
                    <a:pt x="111" y="127"/>
                    <a:pt x="111" y="129"/>
                    <a:pt x="101" y="128"/>
                  </a:cubicBezTo>
                  <a:cubicBezTo>
                    <a:pt x="86" y="127"/>
                    <a:pt x="86" y="126"/>
                    <a:pt x="86" y="126"/>
                  </a:cubicBezTo>
                  <a:cubicBezTo>
                    <a:pt x="62" y="132"/>
                    <a:pt x="62" y="132"/>
                    <a:pt x="62" y="132"/>
                  </a:cubicBezTo>
                  <a:cubicBezTo>
                    <a:pt x="56" y="119"/>
                    <a:pt x="56" y="119"/>
                    <a:pt x="56" y="119"/>
                  </a:cubicBezTo>
                  <a:cubicBezTo>
                    <a:pt x="42" y="119"/>
                    <a:pt x="42" y="119"/>
                    <a:pt x="42" y="119"/>
                  </a:cubicBezTo>
                  <a:cubicBezTo>
                    <a:pt x="41" y="100"/>
                    <a:pt x="41" y="100"/>
                    <a:pt x="41" y="100"/>
                  </a:cubicBezTo>
                  <a:cubicBezTo>
                    <a:pt x="16" y="111"/>
                    <a:pt x="16" y="111"/>
                    <a:pt x="16" y="111"/>
                  </a:cubicBezTo>
                  <a:cubicBezTo>
                    <a:pt x="21" y="124"/>
                    <a:pt x="21" y="124"/>
                    <a:pt x="21" y="124"/>
                  </a:cubicBezTo>
                  <a:cubicBezTo>
                    <a:pt x="17" y="139"/>
                    <a:pt x="17" y="139"/>
                    <a:pt x="17" y="139"/>
                  </a:cubicBezTo>
                  <a:cubicBezTo>
                    <a:pt x="24" y="152"/>
                    <a:pt x="24" y="152"/>
                    <a:pt x="24" y="152"/>
                  </a:cubicBezTo>
                  <a:cubicBezTo>
                    <a:pt x="25" y="187"/>
                    <a:pt x="25" y="187"/>
                    <a:pt x="25" y="187"/>
                  </a:cubicBezTo>
                  <a:cubicBezTo>
                    <a:pt x="0" y="196"/>
                    <a:pt x="0" y="196"/>
                    <a:pt x="0" y="196"/>
                  </a:cubicBezTo>
                  <a:cubicBezTo>
                    <a:pt x="0" y="208"/>
                    <a:pt x="0" y="208"/>
                    <a:pt x="0" y="208"/>
                  </a:cubicBezTo>
                  <a:cubicBezTo>
                    <a:pt x="12" y="224"/>
                    <a:pt x="12" y="224"/>
                    <a:pt x="12" y="224"/>
                  </a:cubicBezTo>
                  <a:cubicBezTo>
                    <a:pt x="4" y="227"/>
                    <a:pt x="4" y="227"/>
                    <a:pt x="4" y="227"/>
                  </a:cubicBezTo>
                  <a:cubicBezTo>
                    <a:pt x="2" y="255"/>
                    <a:pt x="2" y="255"/>
                    <a:pt x="2" y="255"/>
                  </a:cubicBezTo>
                  <a:cubicBezTo>
                    <a:pt x="2" y="255"/>
                    <a:pt x="25" y="291"/>
                    <a:pt x="29" y="311"/>
                  </a:cubicBezTo>
                  <a:cubicBezTo>
                    <a:pt x="34" y="311"/>
                    <a:pt x="74" y="347"/>
                    <a:pt x="62" y="367"/>
                  </a:cubicBezTo>
                  <a:cubicBezTo>
                    <a:pt x="60" y="374"/>
                    <a:pt x="46" y="380"/>
                    <a:pt x="46" y="380"/>
                  </a:cubicBezTo>
                  <a:cubicBezTo>
                    <a:pt x="50" y="403"/>
                    <a:pt x="50" y="403"/>
                    <a:pt x="50" y="403"/>
                  </a:cubicBezTo>
                  <a:cubicBezTo>
                    <a:pt x="56" y="384"/>
                    <a:pt x="56" y="384"/>
                    <a:pt x="56" y="384"/>
                  </a:cubicBezTo>
                  <a:cubicBezTo>
                    <a:pt x="68" y="384"/>
                    <a:pt x="68" y="384"/>
                    <a:pt x="68" y="384"/>
                  </a:cubicBezTo>
                  <a:cubicBezTo>
                    <a:pt x="72" y="396"/>
                    <a:pt x="72" y="396"/>
                    <a:pt x="72" y="396"/>
                  </a:cubicBezTo>
                  <a:cubicBezTo>
                    <a:pt x="82" y="391"/>
                    <a:pt x="82" y="391"/>
                    <a:pt x="82" y="391"/>
                  </a:cubicBezTo>
                  <a:cubicBezTo>
                    <a:pt x="88" y="398"/>
                    <a:pt x="88" y="398"/>
                    <a:pt x="88" y="398"/>
                  </a:cubicBezTo>
                  <a:cubicBezTo>
                    <a:pt x="90" y="390"/>
                    <a:pt x="90" y="390"/>
                    <a:pt x="90" y="390"/>
                  </a:cubicBezTo>
                  <a:cubicBezTo>
                    <a:pt x="90" y="390"/>
                    <a:pt x="120" y="375"/>
                    <a:pt x="126" y="384"/>
                  </a:cubicBezTo>
                  <a:cubicBezTo>
                    <a:pt x="133" y="394"/>
                    <a:pt x="158" y="391"/>
                    <a:pt x="145" y="402"/>
                  </a:cubicBezTo>
                  <a:cubicBezTo>
                    <a:pt x="150" y="406"/>
                    <a:pt x="150" y="406"/>
                    <a:pt x="150" y="406"/>
                  </a:cubicBezTo>
                  <a:cubicBezTo>
                    <a:pt x="157" y="424"/>
                    <a:pt x="157" y="424"/>
                    <a:pt x="157" y="424"/>
                  </a:cubicBezTo>
                  <a:cubicBezTo>
                    <a:pt x="157" y="424"/>
                    <a:pt x="188" y="403"/>
                    <a:pt x="174" y="452"/>
                  </a:cubicBezTo>
                  <a:cubicBezTo>
                    <a:pt x="170" y="464"/>
                    <a:pt x="170" y="468"/>
                    <a:pt x="171" y="469"/>
                  </a:cubicBezTo>
                  <a:cubicBezTo>
                    <a:pt x="172" y="470"/>
                    <a:pt x="172" y="470"/>
                    <a:pt x="172" y="470"/>
                  </a:cubicBezTo>
                  <a:cubicBezTo>
                    <a:pt x="172" y="470"/>
                    <a:pt x="171" y="470"/>
                    <a:pt x="171" y="469"/>
                  </a:cubicBezTo>
                  <a:cubicBezTo>
                    <a:pt x="157" y="458"/>
                    <a:pt x="157" y="458"/>
                    <a:pt x="157" y="458"/>
                  </a:cubicBezTo>
                  <a:cubicBezTo>
                    <a:pt x="160" y="470"/>
                    <a:pt x="160" y="470"/>
                    <a:pt x="160" y="470"/>
                  </a:cubicBezTo>
                  <a:cubicBezTo>
                    <a:pt x="160" y="470"/>
                    <a:pt x="150" y="475"/>
                    <a:pt x="150" y="479"/>
                  </a:cubicBezTo>
                  <a:cubicBezTo>
                    <a:pt x="150" y="483"/>
                    <a:pt x="157" y="495"/>
                    <a:pt x="157" y="495"/>
                  </a:cubicBezTo>
                  <a:cubicBezTo>
                    <a:pt x="142" y="495"/>
                    <a:pt x="142" y="495"/>
                    <a:pt x="142" y="495"/>
                  </a:cubicBezTo>
                  <a:cubicBezTo>
                    <a:pt x="142" y="515"/>
                    <a:pt x="142" y="515"/>
                    <a:pt x="142" y="515"/>
                  </a:cubicBezTo>
                  <a:cubicBezTo>
                    <a:pt x="122" y="519"/>
                    <a:pt x="122" y="519"/>
                    <a:pt x="122" y="519"/>
                  </a:cubicBezTo>
                  <a:cubicBezTo>
                    <a:pt x="110" y="547"/>
                    <a:pt x="110" y="547"/>
                    <a:pt x="110" y="547"/>
                  </a:cubicBezTo>
                  <a:cubicBezTo>
                    <a:pt x="82" y="548"/>
                    <a:pt x="82" y="548"/>
                    <a:pt x="82" y="548"/>
                  </a:cubicBezTo>
                  <a:cubicBezTo>
                    <a:pt x="81" y="554"/>
                    <a:pt x="81" y="554"/>
                    <a:pt x="81" y="554"/>
                  </a:cubicBezTo>
                  <a:cubicBezTo>
                    <a:pt x="62" y="563"/>
                    <a:pt x="62" y="563"/>
                    <a:pt x="62" y="563"/>
                  </a:cubicBezTo>
                  <a:cubicBezTo>
                    <a:pt x="62" y="579"/>
                    <a:pt x="62" y="579"/>
                    <a:pt x="62" y="579"/>
                  </a:cubicBezTo>
                  <a:cubicBezTo>
                    <a:pt x="41" y="588"/>
                    <a:pt x="41" y="588"/>
                    <a:pt x="41" y="588"/>
                  </a:cubicBezTo>
                  <a:cubicBezTo>
                    <a:pt x="54" y="640"/>
                    <a:pt x="54" y="640"/>
                    <a:pt x="54" y="640"/>
                  </a:cubicBezTo>
                  <a:lnTo>
                    <a:pt x="68" y="647"/>
                  </a:lnTo>
                  <a:close/>
                </a:path>
              </a:pathLst>
            </a:custGeom>
            <a:solidFill>
              <a:srgbClr val="F4F3F0"/>
            </a:solid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grpSp>
      <p:pic>
        <p:nvPicPr>
          <p:cNvPr id="59" name="Graphique 58" descr="Utilisateur">
            <a:extLst>
              <a:ext uri="{FF2B5EF4-FFF2-40B4-BE49-F238E27FC236}">
                <a16:creationId xmlns:a16="http://schemas.microsoft.com/office/drawing/2014/main" id="{BCF539CA-033C-4E53-AA11-C9F1D57FD99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62600" y="918286"/>
            <a:ext cx="343642" cy="343642"/>
          </a:xfrm>
          <a:prstGeom prst="rect">
            <a:avLst/>
          </a:prstGeom>
        </p:spPr>
      </p:pic>
      <p:pic>
        <p:nvPicPr>
          <p:cNvPr id="60" name="Graphique 59" descr="Enfants">
            <a:extLst>
              <a:ext uri="{FF2B5EF4-FFF2-40B4-BE49-F238E27FC236}">
                <a16:creationId xmlns:a16="http://schemas.microsoft.com/office/drawing/2014/main" id="{D039143E-4976-4C18-9C94-0BA53EE64FF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82720" y="929748"/>
            <a:ext cx="357605" cy="357605"/>
          </a:xfrm>
          <a:prstGeom prst="rect">
            <a:avLst/>
          </a:prstGeom>
        </p:spPr>
      </p:pic>
      <p:pic>
        <p:nvPicPr>
          <p:cNvPr id="61" name="Graphique 60" descr="Hôpital">
            <a:extLst>
              <a:ext uri="{FF2B5EF4-FFF2-40B4-BE49-F238E27FC236}">
                <a16:creationId xmlns:a16="http://schemas.microsoft.com/office/drawing/2014/main" id="{5A6293E0-A850-432A-AEC2-55244F91F50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01315" y="898323"/>
            <a:ext cx="377667" cy="377667"/>
          </a:xfrm>
          <a:prstGeom prst="rect">
            <a:avLst/>
          </a:prstGeom>
        </p:spPr>
      </p:pic>
      <p:sp>
        <p:nvSpPr>
          <p:cNvPr id="71" name="ZoneTexte 70">
            <a:extLst>
              <a:ext uri="{FF2B5EF4-FFF2-40B4-BE49-F238E27FC236}">
                <a16:creationId xmlns:a16="http://schemas.microsoft.com/office/drawing/2014/main" id="{95275340-2C5E-4AB7-8968-428537133200}"/>
              </a:ext>
            </a:extLst>
          </p:cNvPr>
          <p:cNvSpPr txBox="1"/>
          <p:nvPr/>
        </p:nvSpPr>
        <p:spPr>
          <a:xfrm>
            <a:off x="3506076" y="959276"/>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ublic cible</a:t>
            </a:r>
          </a:p>
          <a:p>
            <a:pPr marL="171450" indent="-171450">
              <a:buFontTx/>
              <a:buChar char="-"/>
            </a:pPr>
            <a:endParaRPr lang="fr-FR" sz="1200">
              <a:solidFill>
                <a:srgbClr val="5F5F5F"/>
              </a:solidFill>
              <a:latin typeface="Tahoma"/>
            </a:endParaRPr>
          </a:p>
        </p:txBody>
      </p:sp>
      <p:sp>
        <p:nvSpPr>
          <p:cNvPr id="72" name="Rectangle 71">
            <a:extLst>
              <a:ext uri="{FF2B5EF4-FFF2-40B4-BE49-F238E27FC236}">
                <a16:creationId xmlns:a16="http://schemas.microsoft.com/office/drawing/2014/main" id="{CF33C1E5-DDE1-4156-A8BA-4E287E034C81}"/>
              </a:ext>
            </a:extLst>
          </p:cNvPr>
          <p:cNvSpPr/>
          <p:nvPr/>
        </p:nvSpPr>
        <p:spPr>
          <a:xfrm>
            <a:off x="3041222" y="920243"/>
            <a:ext cx="2566378"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3" name="Rectangle 72">
            <a:extLst>
              <a:ext uri="{FF2B5EF4-FFF2-40B4-BE49-F238E27FC236}">
                <a16:creationId xmlns:a16="http://schemas.microsoft.com/office/drawing/2014/main" id="{E85DFD2B-8AE0-4AEF-971A-2B7DB41E3803}"/>
              </a:ext>
            </a:extLst>
          </p:cNvPr>
          <p:cNvSpPr/>
          <p:nvPr/>
        </p:nvSpPr>
        <p:spPr>
          <a:xfrm>
            <a:off x="8329059" y="918287"/>
            <a:ext cx="2630482" cy="1028237"/>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4" name="ZoneTexte 73">
            <a:extLst>
              <a:ext uri="{FF2B5EF4-FFF2-40B4-BE49-F238E27FC236}">
                <a16:creationId xmlns:a16="http://schemas.microsoft.com/office/drawing/2014/main" id="{77576367-5766-4A85-8CC6-3A325240D7B8}"/>
              </a:ext>
            </a:extLst>
          </p:cNvPr>
          <p:cNvSpPr txBox="1"/>
          <p:nvPr/>
        </p:nvSpPr>
        <p:spPr>
          <a:xfrm>
            <a:off x="8699428" y="963457"/>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ortage / gestion du projet </a:t>
            </a:r>
          </a:p>
          <a:p>
            <a:pPr marL="171450" indent="-171450">
              <a:buFontTx/>
              <a:buChar char="-"/>
            </a:pPr>
            <a:endParaRPr lang="fr-FR" sz="1200">
              <a:solidFill>
                <a:srgbClr val="5F5F5F"/>
              </a:solidFill>
              <a:latin typeface="Tahoma"/>
            </a:endParaRPr>
          </a:p>
        </p:txBody>
      </p:sp>
      <p:sp>
        <p:nvSpPr>
          <p:cNvPr id="76" name="Rectangle 75">
            <a:extLst>
              <a:ext uri="{FF2B5EF4-FFF2-40B4-BE49-F238E27FC236}">
                <a16:creationId xmlns:a16="http://schemas.microsoft.com/office/drawing/2014/main" id="{DEA056E4-366B-4B6E-AD2A-2A7DACC2777B}"/>
              </a:ext>
            </a:extLst>
          </p:cNvPr>
          <p:cNvSpPr/>
          <p:nvPr/>
        </p:nvSpPr>
        <p:spPr>
          <a:xfrm>
            <a:off x="5657842" y="920242"/>
            <a:ext cx="2630482" cy="1026282"/>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7" name="ZoneTexte 76">
            <a:extLst>
              <a:ext uri="{FF2B5EF4-FFF2-40B4-BE49-F238E27FC236}">
                <a16:creationId xmlns:a16="http://schemas.microsoft.com/office/drawing/2014/main" id="{9B3B4E4E-968C-4AC1-A916-2CB2CBC81062}"/>
              </a:ext>
            </a:extLst>
          </p:cNvPr>
          <p:cNvSpPr txBox="1"/>
          <p:nvPr/>
        </p:nvSpPr>
        <p:spPr>
          <a:xfrm>
            <a:off x="6045885" y="987123"/>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Typologie de structure</a:t>
            </a:r>
          </a:p>
          <a:p>
            <a:pPr marL="171450" indent="-171450">
              <a:buFontTx/>
              <a:buChar char="-"/>
            </a:pPr>
            <a:endParaRPr lang="fr-FR" sz="1200">
              <a:solidFill>
                <a:srgbClr val="5F5F5F"/>
              </a:solidFill>
              <a:latin typeface="Tahoma"/>
            </a:endParaRPr>
          </a:p>
        </p:txBody>
      </p:sp>
      <p:sp>
        <p:nvSpPr>
          <p:cNvPr id="78" name="ZoneTexte 77">
            <a:extLst>
              <a:ext uri="{FF2B5EF4-FFF2-40B4-BE49-F238E27FC236}">
                <a16:creationId xmlns:a16="http://schemas.microsoft.com/office/drawing/2014/main" id="{96B574C6-E211-4064-9944-5448EE32BE54}"/>
              </a:ext>
            </a:extLst>
          </p:cNvPr>
          <p:cNvSpPr txBox="1"/>
          <p:nvPr/>
        </p:nvSpPr>
        <p:spPr>
          <a:xfrm>
            <a:off x="3023258" y="1229168"/>
            <a:ext cx="2600152" cy="768224"/>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Personnes en situation de handicap sur le périmètre des maladies rares et neuro-musculaires de 0 à 60 ans et leurs aidants</a:t>
            </a:r>
          </a:p>
        </p:txBody>
      </p:sp>
      <p:sp>
        <p:nvSpPr>
          <p:cNvPr id="79" name="ZoneTexte 78">
            <a:extLst>
              <a:ext uri="{FF2B5EF4-FFF2-40B4-BE49-F238E27FC236}">
                <a16:creationId xmlns:a16="http://schemas.microsoft.com/office/drawing/2014/main" id="{201EC015-8921-47D5-8EEB-4F8E037742E5}"/>
              </a:ext>
            </a:extLst>
          </p:cNvPr>
          <p:cNvSpPr txBox="1"/>
          <p:nvPr/>
        </p:nvSpPr>
        <p:spPr>
          <a:xfrm>
            <a:off x="5633852" y="1228238"/>
            <a:ext cx="2734774" cy="595356"/>
          </a:xfrm>
          <a:prstGeom prst="rect">
            <a:avLst/>
          </a:prstGeom>
          <a:noFill/>
          <a:ln>
            <a:noFill/>
          </a:ln>
        </p:spPr>
        <p:txBody>
          <a:bodyPr wrap="square" lIns="108000" rIns="108000" rtlCol="0">
            <a:spAutoFit/>
          </a:bodyPr>
          <a:lstStyle/>
          <a:p>
            <a:pPr marL="171450" indent="-171450" algn="just">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ESMS adossé à une MAS (Maison d'Accueil Spécialisé) , la résidence Yolaine de </a:t>
            </a:r>
            <a:r>
              <a:rPr lang="fr-FR" sz="1050" err="1">
                <a:solidFill>
                  <a:srgbClr val="5F5F5F"/>
                </a:solidFill>
                <a:latin typeface="Tahoma"/>
              </a:rPr>
              <a:t>Kepper</a:t>
            </a:r>
            <a:r>
              <a:rPr lang="fr-FR" sz="1050">
                <a:solidFill>
                  <a:srgbClr val="5F5F5F"/>
                </a:solidFill>
                <a:latin typeface="Tahoma"/>
              </a:rPr>
              <a:t> (51 places PH)</a:t>
            </a:r>
          </a:p>
        </p:txBody>
      </p:sp>
      <p:sp>
        <p:nvSpPr>
          <p:cNvPr id="80" name="ZoneTexte 79">
            <a:extLst>
              <a:ext uri="{FF2B5EF4-FFF2-40B4-BE49-F238E27FC236}">
                <a16:creationId xmlns:a16="http://schemas.microsoft.com/office/drawing/2014/main" id="{D486C829-4B6E-4981-9B49-72041AC2853F}"/>
              </a:ext>
            </a:extLst>
          </p:cNvPr>
          <p:cNvSpPr txBox="1"/>
          <p:nvPr/>
        </p:nvSpPr>
        <p:spPr>
          <a:xfrm>
            <a:off x="8328204" y="1263641"/>
            <a:ext cx="2734774" cy="249620"/>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Portage par l’AFM Téléthon </a:t>
            </a:r>
          </a:p>
        </p:txBody>
      </p:sp>
      <p:sp>
        <p:nvSpPr>
          <p:cNvPr id="31" name="ZoneTexte 30">
            <a:extLst>
              <a:ext uri="{FF2B5EF4-FFF2-40B4-BE49-F238E27FC236}">
                <a16:creationId xmlns:a16="http://schemas.microsoft.com/office/drawing/2014/main" id="{C39631CE-B746-44D2-AD28-BE401BB99C89}"/>
              </a:ext>
            </a:extLst>
          </p:cNvPr>
          <p:cNvSpPr txBox="1"/>
          <p:nvPr/>
        </p:nvSpPr>
        <p:spPr>
          <a:xfrm>
            <a:off x="2624667" y="2508140"/>
            <a:ext cx="3376602" cy="553457"/>
          </a:xfrm>
          <a:prstGeom prst="rect">
            <a:avLst/>
          </a:prstGeom>
          <a:solidFill>
            <a:srgbClr val="E1E0EC"/>
          </a:solidFill>
        </p:spPr>
        <p:txBody>
          <a:bodyPr wrap="square" lIns="108000" rIns="108000" rtlCol="0">
            <a:normAutofit/>
          </a:bodyPr>
          <a:lstStyle/>
          <a:p>
            <a:endParaRPr lang="fr-FR" sz="1400">
              <a:solidFill>
                <a:srgbClr val="5F5F5F"/>
              </a:solidFill>
              <a:latin typeface="Tahoma"/>
            </a:endParaRPr>
          </a:p>
        </p:txBody>
      </p:sp>
      <p:sp>
        <p:nvSpPr>
          <p:cNvPr id="116" name="ZoneTexte 115">
            <a:extLst>
              <a:ext uri="{FF2B5EF4-FFF2-40B4-BE49-F238E27FC236}">
                <a16:creationId xmlns:a16="http://schemas.microsoft.com/office/drawing/2014/main" id="{5841F24B-1AD4-488A-A365-BF5647BD2308}"/>
              </a:ext>
            </a:extLst>
          </p:cNvPr>
          <p:cNvSpPr txBox="1"/>
          <p:nvPr/>
        </p:nvSpPr>
        <p:spPr>
          <a:xfrm>
            <a:off x="2634653" y="4743753"/>
            <a:ext cx="3366617" cy="1700660"/>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7" name="ZoneTexte 116">
            <a:extLst>
              <a:ext uri="{FF2B5EF4-FFF2-40B4-BE49-F238E27FC236}">
                <a16:creationId xmlns:a16="http://schemas.microsoft.com/office/drawing/2014/main" id="{EF317FFF-EA6E-44C5-B24E-8AE03952F5E8}"/>
              </a:ext>
            </a:extLst>
          </p:cNvPr>
          <p:cNvSpPr txBox="1"/>
          <p:nvPr/>
        </p:nvSpPr>
        <p:spPr>
          <a:xfrm>
            <a:off x="2624667" y="3134928"/>
            <a:ext cx="3376602" cy="1548075"/>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20" name="Rectangle 119">
            <a:extLst>
              <a:ext uri="{FF2B5EF4-FFF2-40B4-BE49-F238E27FC236}">
                <a16:creationId xmlns:a16="http://schemas.microsoft.com/office/drawing/2014/main" id="{5A8580EE-0AD3-4053-A66F-58A5DE5D3476}"/>
              </a:ext>
            </a:extLst>
          </p:cNvPr>
          <p:cNvSpPr/>
          <p:nvPr/>
        </p:nvSpPr>
        <p:spPr>
          <a:xfrm>
            <a:off x="1254009" y="2059375"/>
            <a:ext cx="4825165" cy="4434773"/>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21" name="ZoneTexte 120">
            <a:extLst>
              <a:ext uri="{FF2B5EF4-FFF2-40B4-BE49-F238E27FC236}">
                <a16:creationId xmlns:a16="http://schemas.microsoft.com/office/drawing/2014/main" id="{E5F58253-D1BD-4954-81FE-7B8DBC05FC92}"/>
              </a:ext>
            </a:extLst>
          </p:cNvPr>
          <p:cNvSpPr txBox="1"/>
          <p:nvPr/>
        </p:nvSpPr>
        <p:spPr>
          <a:xfrm>
            <a:off x="1254009" y="2080425"/>
            <a:ext cx="4815764" cy="307777"/>
          </a:xfrm>
          <a:prstGeom prst="rect">
            <a:avLst/>
          </a:prstGeom>
          <a:solidFill>
            <a:srgbClr val="B0ADCC"/>
          </a:solidFill>
          <a:ln>
            <a:noFill/>
          </a:ln>
        </p:spPr>
        <p:txBody>
          <a:bodyPr wrap="square" lIns="108000" rIns="108000" rtlCol="0">
            <a:spAutoFit/>
          </a:bodyPr>
          <a:lstStyle/>
          <a:p>
            <a:pPr algn="ctr"/>
            <a:r>
              <a:rPr lang="fr-FR" sz="1400" b="1">
                <a:solidFill>
                  <a:srgbClr val="FFFFFF"/>
                </a:solidFill>
                <a:latin typeface="Tahoma"/>
              </a:rPr>
              <a:t>Modèle opérationnel </a:t>
            </a:r>
          </a:p>
        </p:txBody>
      </p:sp>
      <p:sp>
        <p:nvSpPr>
          <p:cNvPr id="122" name="Rectangle 121">
            <a:extLst>
              <a:ext uri="{FF2B5EF4-FFF2-40B4-BE49-F238E27FC236}">
                <a16:creationId xmlns:a16="http://schemas.microsoft.com/office/drawing/2014/main" id="{EEE3ADDF-8F40-48B9-AE5E-299C1C497490}"/>
              </a:ext>
            </a:extLst>
          </p:cNvPr>
          <p:cNvSpPr/>
          <p:nvPr/>
        </p:nvSpPr>
        <p:spPr>
          <a:xfrm>
            <a:off x="6122614" y="2059375"/>
            <a:ext cx="4824000" cy="4434773"/>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23" name="ZoneTexte 122">
            <a:extLst>
              <a:ext uri="{FF2B5EF4-FFF2-40B4-BE49-F238E27FC236}">
                <a16:creationId xmlns:a16="http://schemas.microsoft.com/office/drawing/2014/main" id="{A32D682C-0E70-4C6A-98EA-32C315F12098}"/>
              </a:ext>
            </a:extLst>
          </p:cNvPr>
          <p:cNvSpPr txBox="1"/>
          <p:nvPr/>
        </p:nvSpPr>
        <p:spPr>
          <a:xfrm>
            <a:off x="6135540" y="2080426"/>
            <a:ext cx="4824000" cy="307777"/>
          </a:xfrm>
          <a:prstGeom prst="rect">
            <a:avLst/>
          </a:prstGeom>
          <a:solidFill>
            <a:srgbClr val="B24669"/>
          </a:solidFill>
          <a:ln>
            <a:noFill/>
          </a:ln>
        </p:spPr>
        <p:txBody>
          <a:bodyPr wrap="square" lIns="108000" rIns="108000" rtlCol="0">
            <a:spAutoFit/>
          </a:bodyPr>
          <a:lstStyle/>
          <a:p>
            <a:pPr algn="ctr"/>
            <a:r>
              <a:rPr lang="fr-FR" sz="1400" b="1">
                <a:solidFill>
                  <a:srgbClr val="FFFFFF"/>
                </a:solidFill>
                <a:latin typeface="Tahoma"/>
              </a:rPr>
              <a:t>Modèle économique </a:t>
            </a:r>
          </a:p>
        </p:txBody>
      </p:sp>
      <p:sp>
        <p:nvSpPr>
          <p:cNvPr id="124" name="ZoneTexte 123">
            <a:extLst>
              <a:ext uri="{FF2B5EF4-FFF2-40B4-BE49-F238E27FC236}">
                <a16:creationId xmlns:a16="http://schemas.microsoft.com/office/drawing/2014/main" id="{A49BC405-C11B-485E-BB12-6EA8FA6FC408}"/>
              </a:ext>
            </a:extLst>
          </p:cNvPr>
          <p:cNvSpPr txBox="1"/>
          <p:nvPr/>
        </p:nvSpPr>
        <p:spPr>
          <a:xfrm>
            <a:off x="2620265" y="2560804"/>
            <a:ext cx="3292679" cy="422488"/>
          </a:xfrm>
          <a:prstGeom prst="rect">
            <a:avLst/>
          </a:prstGeom>
          <a:noFill/>
          <a:ln>
            <a:noFill/>
          </a:ln>
        </p:spPr>
        <p:txBody>
          <a:bodyPr wrap="square" lIns="108000" rIns="108000" rtlCol="0">
            <a:spAutoFit/>
          </a:bodyPr>
          <a:lstStyle/>
          <a:p>
            <a:pPr marL="171450" indent="-171450" algn="just">
              <a:lnSpc>
                <a:spcPct val="107000"/>
              </a:lnSpc>
              <a:spcAft>
                <a:spcPts val="800"/>
              </a:spcAft>
              <a:buClr>
                <a:srgbClr val="503078"/>
              </a:buClr>
              <a:buFont typeface="Tahoma" panose="020B0604030504040204" pitchFamily="34" charset="0"/>
              <a:buChar char="⁄"/>
            </a:pPr>
            <a:r>
              <a:rPr lang="fr-FR" sz="1000">
                <a:solidFill>
                  <a:srgbClr val="5F5F5F"/>
                </a:solidFill>
                <a:latin typeface="Tahoma"/>
              </a:rPr>
              <a:t>8 pavillons représentant environ 50 places, 15 places d'HT</a:t>
            </a:r>
          </a:p>
        </p:txBody>
      </p:sp>
      <p:sp>
        <p:nvSpPr>
          <p:cNvPr id="126" name="ZoneTexte 125">
            <a:extLst>
              <a:ext uri="{FF2B5EF4-FFF2-40B4-BE49-F238E27FC236}">
                <a16:creationId xmlns:a16="http://schemas.microsoft.com/office/drawing/2014/main" id="{B49F6C26-2A8B-4C21-A64B-9E4007B97392}"/>
              </a:ext>
            </a:extLst>
          </p:cNvPr>
          <p:cNvSpPr txBox="1"/>
          <p:nvPr/>
        </p:nvSpPr>
        <p:spPr>
          <a:xfrm>
            <a:off x="2617153" y="4832702"/>
            <a:ext cx="3366617" cy="1471750"/>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Restauration : possibilité de réserver seulement l'hébergement, une 1/2 pension ou une pension complète ; Possibilité de prendre ses repas au restaurant de la MAS ou en livraison dans le logement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Option ménage, Lingerie en self-service</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ctivités de loisir : animations sportives, pédagogiques, sorties découvertes</a:t>
            </a:r>
          </a:p>
        </p:txBody>
      </p:sp>
      <p:sp>
        <p:nvSpPr>
          <p:cNvPr id="128" name="ZoneTexte 127">
            <a:extLst>
              <a:ext uri="{FF2B5EF4-FFF2-40B4-BE49-F238E27FC236}">
                <a16:creationId xmlns:a16="http://schemas.microsoft.com/office/drawing/2014/main" id="{D0B66643-80F9-42D8-8F09-B693AF7FBBCB}"/>
              </a:ext>
            </a:extLst>
          </p:cNvPr>
          <p:cNvSpPr txBox="1"/>
          <p:nvPr/>
        </p:nvSpPr>
        <p:spPr>
          <a:xfrm>
            <a:off x="2629904" y="3192105"/>
            <a:ext cx="3376359" cy="1384033"/>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quipements adaptés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ccompagnement aux actes de la vie quotidienne</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ermanence des soins sur prescription / dossier médical</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quipe soignante mutualisée avec la MA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ccompagnement psychologique proposé aux aidants</a:t>
            </a:r>
          </a:p>
        </p:txBody>
      </p:sp>
      <p:sp>
        <p:nvSpPr>
          <p:cNvPr id="129" name="ZoneTexte 128">
            <a:extLst>
              <a:ext uri="{FF2B5EF4-FFF2-40B4-BE49-F238E27FC236}">
                <a16:creationId xmlns:a16="http://schemas.microsoft.com/office/drawing/2014/main" id="{B5C29EF3-8432-4FB1-A08C-C8DFD0F770E0}"/>
              </a:ext>
            </a:extLst>
          </p:cNvPr>
          <p:cNvSpPr txBox="1"/>
          <p:nvPr/>
        </p:nvSpPr>
        <p:spPr>
          <a:xfrm>
            <a:off x="6189871" y="2508139"/>
            <a:ext cx="3736745" cy="542612"/>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130" name="ZoneTexte 129">
            <a:extLst>
              <a:ext uri="{FF2B5EF4-FFF2-40B4-BE49-F238E27FC236}">
                <a16:creationId xmlns:a16="http://schemas.microsoft.com/office/drawing/2014/main" id="{C51512ED-D218-4E3C-8049-02770EADD196}"/>
              </a:ext>
            </a:extLst>
          </p:cNvPr>
          <p:cNvSpPr txBox="1"/>
          <p:nvPr/>
        </p:nvSpPr>
        <p:spPr>
          <a:xfrm>
            <a:off x="6179121" y="3135394"/>
            <a:ext cx="3743057" cy="1092049"/>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pic>
        <p:nvPicPr>
          <p:cNvPr id="35" name="Graphique 34" descr="Logement avec un remplissage uni">
            <a:extLst>
              <a:ext uri="{FF2B5EF4-FFF2-40B4-BE49-F238E27FC236}">
                <a16:creationId xmlns:a16="http://schemas.microsoft.com/office/drawing/2014/main" id="{71FC271C-D2ED-4AF0-8123-6C7A28C751C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19351" y="2591112"/>
            <a:ext cx="447721" cy="447721"/>
          </a:xfrm>
          <a:prstGeom prst="rect">
            <a:avLst/>
          </a:prstGeom>
        </p:spPr>
      </p:pic>
      <p:sp>
        <p:nvSpPr>
          <p:cNvPr id="131" name="ZoneTexte 130">
            <a:extLst>
              <a:ext uri="{FF2B5EF4-FFF2-40B4-BE49-F238E27FC236}">
                <a16:creationId xmlns:a16="http://schemas.microsoft.com/office/drawing/2014/main" id="{1C14C040-B2C5-440C-B7E3-1882123D0301}"/>
              </a:ext>
            </a:extLst>
          </p:cNvPr>
          <p:cNvSpPr txBox="1"/>
          <p:nvPr/>
        </p:nvSpPr>
        <p:spPr>
          <a:xfrm>
            <a:off x="9796442" y="2423330"/>
            <a:ext cx="1244543" cy="446276"/>
          </a:xfrm>
          <a:prstGeom prst="rect">
            <a:avLst/>
          </a:prstGeom>
          <a:noFill/>
          <a:ln>
            <a:noFill/>
          </a:ln>
        </p:spPr>
        <p:txBody>
          <a:bodyPr wrap="square" lIns="108000" rIns="108000" rtlCol="0">
            <a:spAutoFit/>
          </a:bodyPr>
          <a:lstStyle/>
          <a:p>
            <a:pPr algn="ctr"/>
            <a:r>
              <a:rPr lang="fr-FR" sz="1100" b="1">
                <a:solidFill>
                  <a:srgbClr val="B24669"/>
                </a:solidFill>
                <a:latin typeface="Tahoma"/>
              </a:rPr>
              <a:t>Immobilier</a:t>
            </a:r>
          </a:p>
          <a:p>
            <a:pPr marL="171450" indent="-171450" algn="ctr">
              <a:buFontTx/>
              <a:buChar char="-"/>
            </a:pPr>
            <a:endParaRPr lang="fr-FR" sz="1200">
              <a:solidFill>
                <a:srgbClr val="B24669"/>
              </a:solidFill>
              <a:latin typeface="Tahoma"/>
            </a:endParaRPr>
          </a:p>
        </p:txBody>
      </p:sp>
      <p:sp>
        <p:nvSpPr>
          <p:cNvPr id="133" name="ZoneTexte 132">
            <a:extLst>
              <a:ext uri="{FF2B5EF4-FFF2-40B4-BE49-F238E27FC236}">
                <a16:creationId xmlns:a16="http://schemas.microsoft.com/office/drawing/2014/main" id="{B210A790-ECF0-4619-A27B-B52AFCD222D8}"/>
              </a:ext>
            </a:extLst>
          </p:cNvPr>
          <p:cNvSpPr txBox="1"/>
          <p:nvPr/>
        </p:nvSpPr>
        <p:spPr>
          <a:xfrm>
            <a:off x="6183005" y="2558895"/>
            <a:ext cx="3755817" cy="422488"/>
          </a:xfrm>
          <a:prstGeom prst="rect">
            <a:avLst/>
          </a:prstGeom>
          <a:noFill/>
          <a:ln>
            <a:noFill/>
          </a:ln>
        </p:spPr>
        <p:txBody>
          <a:bodyPr wrap="square" lIns="108000" rIns="108000" rtlCol="0">
            <a:spAutoFit/>
          </a:bodyPr>
          <a:lstStyle/>
          <a:p>
            <a:pPr marL="171450" indent="-171450" algn="just">
              <a:lnSpc>
                <a:spcPct val="107000"/>
              </a:lnSpc>
              <a:spcAft>
                <a:spcPts val="800"/>
              </a:spcAft>
              <a:buClr>
                <a:srgbClr val="503078"/>
              </a:buClr>
              <a:buFont typeface="Tahoma" panose="020B0604030504040204" pitchFamily="34" charset="0"/>
              <a:buChar char="⁄"/>
            </a:pPr>
            <a:r>
              <a:rPr lang="fr-FR" sz="1000">
                <a:solidFill>
                  <a:srgbClr val="5F5F5F"/>
                </a:solidFill>
                <a:latin typeface="Tahoma"/>
              </a:rPr>
              <a:t>Foncier appartenant à l'AFM Téléthon (réutilisation des locaux de l’ancien siège de l'AFM)</a:t>
            </a:r>
          </a:p>
        </p:txBody>
      </p:sp>
      <p:sp>
        <p:nvSpPr>
          <p:cNvPr id="134" name="ZoneTexte 133">
            <a:extLst>
              <a:ext uri="{FF2B5EF4-FFF2-40B4-BE49-F238E27FC236}">
                <a16:creationId xmlns:a16="http://schemas.microsoft.com/office/drawing/2014/main" id="{12CB5D0E-D3B7-4457-B3F8-7B85794AC4B0}"/>
              </a:ext>
            </a:extLst>
          </p:cNvPr>
          <p:cNvSpPr txBox="1"/>
          <p:nvPr/>
        </p:nvSpPr>
        <p:spPr>
          <a:xfrm>
            <a:off x="9948430" y="3173065"/>
            <a:ext cx="998185"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Frais de </a:t>
            </a:r>
            <a:r>
              <a:rPr lang="fr-FR" sz="1100" b="1" err="1">
                <a:solidFill>
                  <a:srgbClr val="B24669"/>
                </a:solidFill>
                <a:latin typeface="Tahoma"/>
              </a:rPr>
              <a:t>fonct</a:t>
            </a:r>
            <a:r>
              <a:rPr lang="fr-FR" sz="1100" b="1">
                <a:solidFill>
                  <a:srgbClr val="B24669"/>
                </a:solidFill>
                <a:latin typeface="Tahoma"/>
              </a:rPr>
              <a:t>.</a:t>
            </a:r>
          </a:p>
        </p:txBody>
      </p:sp>
      <p:sp>
        <p:nvSpPr>
          <p:cNvPr id="135" name="ZoneTexte 134">
            <a:extLst>
              <a:ext uri="{FF2B5EF4-FFF2-40B4-BE49-F238E27FC236}">
                <a16:creationId xmlns:a16="http://schemas.microsoft.com/office/drawing/2014/main" id="{3DA739DB-3B5D-4A54-A299-C5AE798A7F11}"/>
              </a:ext>
            </a:extLst>
          </p:cNvPr>
          <p:cNvSpPr txBox="1"/>
          <p:nvPr/>
        </p:nvSpPr>
        <p:spPr>
          <a:xfrm>
            <a:off x="6177994" y="3170890"/>
            <a:ext cx="3738379" cy="977768"/>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Financement des 15 places d’HT par l'ARS Pays-de-La-Loire suite à une réponse à un AAP</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Mutualisation du personnel et des infrastructures de la MAS (notamment restauration collective)</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Frais de fonctionnement pris en charge par l’AFM</a:t>
            </a:r>
          </a:p>
        </p:txBody>
      </p:sp>
      <p:sp>
        <p:nvSpPr>
          <p:cNvPr id="136" name="ZoneTexte 135">
            <a:extLst>
              <a:ext uri="{FF2B5EF4-FFF2-40B4-BE49-F238E27FC236}">
                <a16:creationId xmlns:a16="http://schemas.microsoft.com/office/drawing/2014/main" id="{FEA48678-D157-4E80-9C77-987BDFAE3851}"/>
              </a:ext>
            </a:extLst>
          </p:cNvPr>
          <p:cNvSpPr txBox="1"/>
          <p:nvPr/>
        </p:nvSpPr>
        <p:spPr>
          <a:xfrm>
            <a:off x="6173317" y="4298981"/>
            <a:ext cx="3743057" cy="1428508"/>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38" name="ZoneTexte 137">
            <a:extLst>
              <a:ext uri="{FF2B5EF4-FFF2-40B4-BE49-F238E27FC236}">
                <a16:creationId xmlns:a16="http://schemas.microsoft.com/office/drawing/2014/main" id="{6C835C83-70AD-4C89-BF1E-C624BB9BC8DE}"/>
              </a:ext>
            </a:extLst>
          </p:cNvPr>
          <p:cNvSpPr txBox="1"/>
          <p:nvPr/>
        </p:nvSpPr>
        <p:spPr>
          <a:xfrm>
            <a:off x="1123067" y="6563388"/>
            <a:ext cx="9213727" cy="230832"/>
          </a:xfrm>
          <a:prstGeom prst="rect">
            <a:avLst/>
          </a:prstGeom>
          <a:solidFill>
            <a:schemeClr val="bg1"/>
          </a:solidFill>
        </p:spPr>
        <p:txBody>
          <a:bodyPr wrap="square">
            <a:spAutoFit/>
          </a:bodyPr>
          <a:lstStyle/>
          <a:p>
            <a:r>
              <a:rPr lang="fr-FR" sz="900">
                <a:solidFill>
                  <a:srgbClr val="5F5F5F"/>
                </a:solidFill>
                <a:latin typeface="Tahoma"/>
              </a:rPr>
              <a:t>* Prise en charge par l’Agirc-</a:t>
            </a:r>
            <a:r>
              <a:rPr lang="fr-FR" sz="900" err="1">
                <a:solidFill>
                  <a:srgbClr val="5F5F5F"/>
                </a:solidFill>
                <a:latin typeface="Tahoma"/>
              </a:rPr>
              <a:t>Arcco</a:t>
            </a:r>
            <a:r>
              <a:rPr lang="fr-FR" sz="900">
                <a:solidFill>
                  <a:srgbClr val="5F5F5F"/>
                </a:solidFill>
                <a:latin typeface="Tahoma"/>
              </a:rPr>
              <a:t> de 75 à 85% du tarif du premier séjour et de 50% à 70% du tarif du second (sur la base de 14 jours annuels aidant / aidé) + agrément ANCV </a:t>
            </a:r>
          </a:p>
        </p:txBody>
      </p:sp>
      <p:sp>
        <p:nvSpPr>
          <p:cNvPr id="139" name="Rectangle 138">
            <a:extLst>
              <a:ext uri="{FF2B5EF4-FFF2-40B4-BE49-F238E27FC236}">
                <a16:creationId xmlns:a16="http://schemas.microsoft.com/office/drawing/2014/main" id="{23DA1D13-F6FC-42CC-8CBC-A6643FFAA543}"/>
              </a:ext>
            </a:extLst>
          </p:cNvPr>
          <p:cNvSpPr/>
          <p:nvPr/>
        </p:nvSpPr>
        <p:spPr>
          <a:xfrm>
            <a:off x="1254009" y="923574"/>
            <a:ext cx="1728514"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40" name="ZoneTexte 139">
            <a:extLst>
              <a:ext uri="{FF2B5EF4-FFF2-40B4-BE49-F238E27FC236}">
                <a16:creationId xmlns:a16="http://schemas.microsoft.com/office/drawing/2014/main" id="{807D6A60-04F3-43BD-94C2-76626F2816C8}"/>
              </a:ext>
            </a:extLst>
          </p:cNvPr>
          <p:cNvSpPr txBox="1"/>
          <p:nvPr/>
        </p:nvSpPr>
        <p:spPr>
          <a:xfrm>
            <a:off x="9885997" y="4540503"/>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rifs / reste à charge</a:t>
            </a:r>
          </a:p>
        </p:txBody>
      </p:sp>
      <p:pic>
        <p:nvPicPr>
          <p:cNvPr id="41" name="Graphique 40" descr="Clé avec un remplissage uni">
            <a:extLst>
              <a:ext uri="{FF2B5EF4-FFF2-40B4-BE49-F238E27FC236}">
                <a16:creationId xmlns:a16="http://schemas.microsoft.com/office/drawing/2014/main" id="{1FC8698B-AB58-44D0-8399-B572FCCD65E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50546" y="6014161"/>
            <a:ext cx="436000" cy="436000"/>
          </a:xfrm>
          <a:prstGeom prst="rect">
            <a:avLst/>
          </a:prstGeom>
        </p:spPr>
      </p:pic>
      <p:sp>
        <p:nvSpPr>
          <p:cNvPr id="141" name="ZoneTexte 140">
            <a:extLst>
              <a:ext uri="{FF2B5EF4-FFF2-40B4-BE49-F238E27FC236}">
                <a16:creationId xmlns:a16="http://schemas.microsoft.com/office/drawing/2014/main" id="{F5949C22-DA6A-4317-99B2-B19975E52561}"/>
              </a:ext>
            </a:extLst>
          </p:cNvPr>
          <p:cNvSpPr txBox="1"/>
          <p:nvPr/>
        </p:nvSpPr>
        <p:spPr>
          <a:xfrm>
            <a:off x="9909908" y="5679030"/>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ux d’occupation</a:t>
            </a:r>
          </a:p>
        </p:txBody>
      </p:sp>
      <p:sp>
        <p:nvSpPr>
          <p:cNvPr id="142" name="ZoneTexte 141">
            <a:extLst>
              <a:ext uri="{FF2B5EF4-FFF2-40B4-BE49-F238E27FC236}">
                <a16:creationId xmlns:a16="http://schemas.microsoft.com/office/drawing/2014/main" id="{8F48A671-85C8-478F-BBC5-AA8E0839A27E}"/>
              </a:ext>
            </a:extLst>
          </p:cNvPr>
          <p:cNvSpPr txBox="1"/>
          <p:nvPr/>
        </p:nvSpPr>
        <p:spPr>
          <a:xfrm>
            <a:off x="6173317" y="5797423"/>
            <a:ext cx="3736591" cy="625187"/>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43" name="ZoneTexte 142">
            <a:extLst>
              <a:ext uri="{FF2B5EF4-FFF2-40B4-BE49-F238E27FC236}">
                <a16:creationId xmlns:a16="http://schemas.microsoft.com/office/drawing/2014/main" id="{7C801268-29AF-4A45-808B-18ADBF5B32BE}"/>
              </a:ext>
            </a:extLst>
          </p:cNvPr>
          <p:cNvSpPr txBox="1"/>
          <p:nvPr/>
        </p:nvSpPr>
        <p:spPr>
          <a:xfrm>
            <a:off x="6154089" y="5781130"/>
            <a:ext cx="3650756" cy="672300"/>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Durée moyenne de séjour : 14 jour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Taux d’occupation d’environ 70 – 80% sur l’année</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Des taux d’annulation à J-30 pouvant atteindre 15% </a:t>
            </a:r>
          </a:p>
        </p:txBody>
      </p:sp>
      <p:pic>
        <p:nvPicPr>
          <p:cNvPr id="146" name="Graphique 145" descr="Tirelire avec un remplissage uni">
            <a:extLst>
              <a:ext uri="{FF2B5EF4-FFF2-40B4-BE49-F238E27FC236}">
                <a16:creationId xmlns:a16="http://schemas.microsoft.com/office/drawing/2014/main" id="{AC1ADC52-5381-42E2-AC24-383BB036C6C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219350" y="3628704"/>
            <a:ext cx="514426" cy="514426"/>
          </a:xfrm>
          <a:prstGeom prst="rect">
            <a:avLst/>
          </a:prstGeom>
        </p:spPr>
      </p:pic>
      <p:sp>
        <p:nvSpPr>
          <p:cNvPr id="81" name="ZoneTexte 80">
            <a:extLst>
              <a:ext uri="{FF2B5EF4-FFF2-40B4-BE49-F238E27FC236}">
                <a16:creationId xmlns:a16="http://schemas.microsoft.com/office/drawing/2014/main" id="{B6B02541-4955-4889-BA74-FB46F4880E07}"/>
              </a:ext>
            </a:extLst>
          </p:cNvPr>
          <p:cNvSpPr txBox="1"/>
          <p:nvPr/>
        </p:nvSpPr>
        <p:spPr>
          <a:xfrm>
            <a:off x="1234265" y="1236572"/>
            <a:ext cx="1534052" cy="861774"/>
          </a:xfrm>
          <a:prstGeom prst="rect">
            <a:avLst/>
          </a:prstGeom>
          <a:noFill/>
        </p:spPr>
        <p:txBody>
          <a:bodyPr wrap="square" lIns="108000" rIns="108000" rtlCol="0">
            <a:spAutoFit/>
          </a:bodyPr>
          <a:lstStyle/>
          <a:p>
            <a:endParaRPr lang="fr-FR" sz="1000">
              <a:solidFill>
                <a:srgbClr val="5F5F5F"/>
              </a:solidFill>
              <a:latin typeface="Tahoma"/>
            </a:endParaRPr>
          </a:p>
          <a:p>
            <a:pPr algn="ctr"/>
            <a:r>
              <a:rPr lang="fr-FR" sz="1000" b="1">
                <a:solidFill>
                  <a:srgbClr val="503078"/>
                </a:solidFill>
                <a:latin typeface="Tahoma"/>
              </a:rPr>
              <a:t>VRF La Salamandre</a:t>
            </a:r>
          </a:p>
          <a:p>
            <a:pPr algn="ctr"/>
            <a:r>
              <a:rPr lang="fr-FR" sz="1000">
                <a:solidFill>
                  <a:srgbClr val="5F5F5F"/>
                </a:solidFill>
                <a:latin typeface="Tahoma"/>
              </a:rPr>
              <a:t>Saint-Georges-sur-Loire (49)</a:t>
            </a:r>
          </a:p>
          <a:p>
            <a:endParaRPr lang="fr-FR" sz="1000">
              <a:solidFill>
                <a:srgbClr val="5F5F5F"/>
              </a:solidFill>
              <a:latin typeface="Tahoma"/>
            </a:endParaRPr>
          </a:p>
        </p:txBody>
      </p:sp>
      <p:pic>
        <p:nvPicPr>
          <p:cNvPr id="82" name="Location-White-Background">
            <a:extLst>
              <a:ext uri="{FF2B5EF4-FFF2-40B4-BE49-F238E27FC236}">
                <a16:creationId xmlns:a16="http://schemas.microsoft.com/office/drawing/2014/main" id="{23FE517D-84D3-4474-804F-DE6049B1856D}"/>
              </a:ext>
            </a:extLst>
          </p:cNvPr>
          <p:cNvPicPr>
            <a:picLocks noChangeAspect="1"/>
          </p:cNvPicPr>
          <p:nvPr/>
        </p:nvPicPr>
        <p:blipFill>
          <a:blip r:embed="rId15" cstate="print">
            <a:extLst>
              <a:ext uri="{BEBA8EAE-BF5A-486C-A8C5-ECC9F3942E4B}">
                <a14:imgProps xmlns:a14="http://schemas.microsoft.com/office/drawing/2010/main">
                  <a14:imgLayer r:embed="rId16">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1719989" y="1201752"/>
            <a:ext cx="242960" cy="226717"/>
          </a:xfrm>
          <a:prstGeom prst="rect">
            <a:avLst/>
          </a:prstGeom>
        </p:spPr>
      </p:pic>
      <p:sp>
        <p:nvSpPr>
          <p:cNvPr id="86" name="ZoneTexte 85">
            <a:extLst>
              <a:ext uri="{FF2B5EF4-FFF2-40B4-BE49-F238E27FC236}">
                <a16:creationId xmlns:a16="http://schemas.microsoft.com/office/drawing/2014/main" id="{54650390-EFB3-4DC0-8880-157BFA99BEEE}"/>
              </a:ext>
            </a:extLst>
          </p:cNvPr>
          <p:cNvSpPr txBox="1"/>
          <p:nvPr/>
        </p:nvSpPr>
        <p:spPr>
          <a:xfrm>
            <a:off x="6162475" y="4449840"/>
            <a:ext cx="3776346" cy="1089016"/>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Frais d’AT pris en charge par l’Assurance Maladie, forfait journalier de 20€ /J à la charge des familles (notification d’AT à obtenir auprès de la MDPH)</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Frais d’hébergement à la charge des familles*, définis en fonction de la saison : </a:t>
            </a:r>
            <a:r>
              <a:rPr lang="fr-FR" sz="900">
                <a:solidFill>
                  <a:srgbClr val="5F5F5F"/>
                </a:solidFill>
                <a:latin typeface="Tahoma"/>
              </a:rPr>
              <a:t>en pension complète pour 7 jours (1 aidant adulte / 1 aidé) entre 593€ et 733€ en fonction de la saison </a:t>
            </a:r>
          </a:p>
        </p:txBody>
      </p:sp>
      <p:pic>
        <p:nvPicPr>
          <p:cNvPr id="87" name="Graphique 86" descr="Pièces avec un remplissage uni">
            <a:extLst>
              <a:ext uri="{FF2B5EF4-FFF2-40B4-BE49-F238E27FC236}">
                <a16:creationId xmlns:a16="http://schemas.microsoft.com/office/drawing/2014/main" id="{E36EB7B4-4BA2-4FF6-ACD4-B3A837709EE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220693" y="4961372"/>
            <a:ext cx="457966" cy="457966"/>
          </a:xfrm>
          <a:prstGeom prst="rect">
            <a:avLst/>
          </a:prstGeom>
        </p:spPr>
      </p:pic>
      <p:pic>
        <p:nvPicPr>
          <p:cNvPr id="114" name="Graphique 113" descr="Dormir avec un remplissage uni">
            <a:extLst>
              <a:ext uri="{FF2B5EF4-FFF2-40B4-BE49-F238E27FC236}">
                <a16:creationId xmlns:a16="http://schemas.microsoft.com/office/drawing/2014/main" id="{A2C91F7B-29C7-459F-9C04-9AA688F496B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648462" y="2583744"/>
            <a:ext cx="565198" cy="565198"/>
          </a:xfrm>
          <a:prstGeom prst="rect">
            <a:avLst/>
          </a:prstGeom>
        </p:spPr>
      </p:pic>
      <p:pic>
        <p:nvPicPr>
          <p:cNvPr id="115" name="Graphique 114" descr="Trousse de premiers secours avec un remplissage uni">
            <a:extLst>
              <a:ext uri="{FF2B5EF4-FFF2-40B4-BE49-F238E27FC236}">
                <a16:creationId xmlns:a16="http://schemas.microsoft.com/office/drawing/2014/main" id="{88E6B775-C66C-4650-9FA7-9A9B2FDDCCF4}"/>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683132" y="3767866"/>
            <a:ext cx="557136" cy="557136"/>
          </a:xfrm>
          <a:prstGeom prst="rect">
            <a:avLst/>
          </a:prstGeom>
        </p:spPr>
      </p:pic>
      <p:pic>
        <p:nvPicPr>
          <p:cNvPr id="118" name="Graphique 117" descr="Assiette couverte avec un remplissage uni">
            <a:extLst>
              <a:ext uri="{FF2B5EF4-FFF2-40B4-BE49-F238E27FC236}">
                <a16:creationId xmlns:a16="http://schemas.microsoft.com/office/drawing/2014/main" id="{2F2E741D-B22B-4F38-8E55-AC2069EEEAC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641740" y="5428411"/>
            <a:ext cx="565199" cy="565199"/>
          </a:xfrm>
          <a:prstGeom prst="rect">
            <a:avLst/>
          </a:prstGeom>
        </p:spPr>
      </p:pic>
      <p:sp>
        <p:nvSpPr>
          <p:cNvPr id="119" name="ZoneTexte 118">
            <a:extLst>
              <a:ext uri="{FF2B5EF4-FFF2-40B4-BE49-F238E27FC236}">
                <a16:creationId xmlns:a16="http://schemas.microsoft.com/office/drawing/2014/main" id="{14E32216-A80B-4DE1-9731-B9D15B47C6DA}"/>
              </a:ext>
            </a:extLst>
          </p:cNvPr>
          <p:cNvSpPr txBox="1"/>
          <p:nvPr/>
        </p:nvSpPr>
        <p:spPr>
          <a:xfrm>
            <a:off x="1254007" y="2505800"/>
            <a:ext cx="1376242" cy="446276"/>
          </a:xfrm>
          <a:prstGeom prst="rect">
            <a:avLst/>
          </a:prstGeom>
          <a:noFill/>
          <a:ln>
            <a:noFill/>
          </a:ln>
        </p:spPr>
        <p:txBody>
          <a:bodyPr wrap="square" lIns="108000" rIns="108000" rtlCol="0">
            <a:spAutoFit/>
          </a:bodyPr>
          <a:lstStyle/>
          <a:p>
            <a:pPr algn="ctr"/>
            <a:r>
              <a:rPr lang="fr-FR" sz="1100" b="1">
                <a:solidFill>
                  <a:srgbClr val="B0ADCC"/>
                </a:solidFill>
                <a:latin typeface="Tahoma"/>
              </a:rPr>
              <a:t>Hébergement</a:t>
            </a:r>
          </a:p>
          <a:p>
            <a:pPr marL="171450" indent="-171450" algn="ctr">
              <a:buFontTx/>
              <a:buChar char="-"/>
            </a:pPr>
            <a:endParaRPr lang="fr-FR" sz="1200">
              <a:solidFill>
                <a:srgbClr val="B0ADCC"/>
              </a:solidFill>
              <a:latin typeface="Tahoma"/>
            </a:endParaRPr>
          </a:p>
        </p:txBody>
      </p:sp>
      <p:sp>
        <p:nvSpPr>
          <p:cNvPr id="125" name="ZoneTexte 124">
            <a:extLst>
              <a:ext uri="{FF2B5EF4-FFF2-40B4-BE49-F238E27FC236}">
                <a16:creationId xmlns:a16="http://schemas.microsoft.com/office/drawing/2014/main" id="{0C5CADFA-5C9D-4C16-B598-96E0E8FF4769}"/>
              </a:ext>
            </a:extLst>
          </p:cNvPr>
          <p:cNvSpPr txBox="1"/>
          <p:nvPr/>
        </p:nvSpPr>
        <p:spPr>
          <a:xfrm>
            <a:off x="1450733" y="5080169"/>
            <a:ext cx="965590" cy="430887"/>
          </a:xfrm>
          <a:prstGeom prst="rect">
            <a:avLst/>
          </a:prstGeom>
          <a:noFill/>
          <a:ln>
            <a:noFill/>
          </a:ln>
        </p:spPr>
        <p:txBody>
          <a:bodyPr wrap="square" lIns="108000" rIns="108000" rtlCol="0">
            <a:spAutoFit/>
          </a:bodyPr>
          <a:lstStyle/>
          <a:p>
            <a:pPr algn="ctr"/>
            <a:r>
              <a:rPr lang="fr-FR" sz="1100" b="1">
                <a:solidFill>
                  <a:srgbClr val="B0ADCC"/>
                </a:solidFill>
                <a:latin typeface="Tahoma"/>
              </a:rPr>
              <a:t>Services </a:t>
            </a:r>
          </a:p>
          <a:p>
            <a:pPr algn="ctr"/>
            <a:r>
              <a:rPr lang="fr-FR" sz="1100" b="1">
                <a:solidFill>
                  <a:srgbClr val="B0ADCC"/>
                </a:solidFill>
                <a:latin typeface="Tahoma"/>
              </a:rPr>
              <a:t>hôteliers </a:t>
            </a:r>
          </a:p>
        </p:txBody>
      </p:sp>
      <p:sp>
        <p:nvSpPr>
          <p:cNvPr id="75" name="ZoneTexte 74">
            <a:extLst>
              <a:ext uri="{FF2B5EF4-FFF2-40B4-BE49-F238E27FC236}">
                <a16:creationId xmlns:a16="http://schemas.microsoft.com/office/drawing/2014/main" id="{16F93B88-FE52-43E4-A085-28AE48C956E1}"/>
              </a:ext>
            </a:extLst>
          </p:cNvPr>
          <p:cNvSpPr txBox="1"/>
          <p:nvPr/>
        </p:nvSpPr>
        <p:spPr>
          <a:xfrm>
            <a:off x="1074928" y="3445396"/>
            <a:ext cx="1743708" cy="615553"/>
          </a:xfrm>
          <a:prstGeom prst="rect">
            <a:avLst/>
          </a:prstGeom>
          <a:noFill/>
          <a:ln>
            <a:noFill/>
          </a:ln>
        </p:spPr>
        <p:txBody>
          <a:bodyPr wrap="square" lIns="108000" rIns="108000" rtlCol="0">
            <a:spAutoFit/>
          </a:bodyPr>
          <a:lstStyle/>
          <a:p>
            <a:pPr algn="ctr"/>
            <a:r>
              <a:rPr lang="fr-FR" sz="1100" b="1">
                <a:solidFill>
                  <a:srgbClr val="B0ADCC"/>
                </a:solidFill>
                <a:latin typeface="Tahoma"/>
              </a:rPr>
              <a:t>Accompagnement médico-social</a:t>
            </a:r>
          </a:p>
          <a:p>
            <a:pPr marL="171450" indent="-171450" algn="ctr">
              <a:buFontTx/>
              <a:buChar char="-"/>
            </a:pPr>
            <a:endParaRPr lang="fr-FR" sz="1200">
              <a:solidFill>
                <a:srgbClr val="B0ADCC"/>
              </a:solidFill>
              <a:latin typeface="Tahoma"/>
            </a:endParaRPr>
          </a:p>
        </p:txBody>
      </p:sp>
    </p:spTree>
    <p:extLst>
      <p:ext uri="{BB962C8B-B14F-4D97-AF65-F5344CB8AC3E}">
        <p14:creationId xmlns:p14="http://schemas.microsoft.com/office/powerpoint/2010/main" val="19513600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Rectangle 120">
            <a:extLst>
              <a:ext uri="{FF2B5EF4-FFF2-40B4-BE49-F238E27FC236}">
                <a16:creationId xmlns:a16="http://schemas.microsoft.com/office/drawing/2014/main" id="{DDF5EA57-8292-4780-BBE0-43DBCF1B76A1}"/>
              </a:ext>
            </a:extLst>
          </p:cNvPr>
          <p:cNvSpPr/>
          <p:nvPr/>
        </p:nvSpPr>
        <p:spPr>
          <a:xfrm>
            <a:off x="8926212" y="5733027"/>
            <a:ext cx="2122788" cy="11272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2" name="Titre 1">
            <a:extLst>
              <a:ext uri="{FF2B5EF4-FFF2-40B4-BE49-F238E27FC236}">
                <a16:creationId xmlns:a16="http://schemas.microsoft.com/office/drawing/2014/main" id="{B0DDB96D-5870-433E-8224-8BA70AB31D5A}"/>
              </a:ext>
            </a:extLst>
          </p:cNvPr>
          <p:cNvSpPr>
            <a:spLocks noGrp="1"/>
          </p:cNvSpPr>
          <p:nvPr>
            <p:ph type="title"/>
          </p:nvPr>
        </p:nvSpPr>
        <p:spPr/>
        <p:txBody>
          <a:bodyPr/>
          <a:lstStyle/>
          <a:p>
            <a:r>
              <a:rPr lang="fr-FR"/>
              <a:t>Le Domaine Porte-Neuve</a:t>
            </a:r>
          </a:p>
        </p:txBody>
      </p:sp>
      <p:sp>
        <p:nvSpPr>
          <p:cNvPr id="3" name="Espace réservé du texte 2">
            <a:extLst>
              <a:ext uri="{FF2B5EF4-FFF2-40B4-BE49-F238E27FC236}">
                <a16:creationId xmlns:a16="http://schemas.microsoft.com/office/drawing/2014/main" id="{9C630387-01A6-4667-A171-E57EE95EAA8D}"/>
              </a:ext>
            </a:extLst>
          </p:cNvPr>
          <p:cNvSpPr>
            <a:spLocks noGrp="1"/>
          </p:cNvSpPr>
          <p:nvPr>
            <p:ph type="body" sz="quarter" idx="13"/>
          </p:nvPr>
        </p:nvSpPr>
        <p:spPr/>
        <p:txBody>
          <a:bodyPr/>
          <a:lstStyle/>
          <a:p>
            <a:r>
              <a:rPr lang="fr-FR"/>
              <a:t>fiches initiatives</a:t>
            </a:r>
          </a:p>
        </p:txBody>
      </p:sp>
      <p:pic>
        <p:nvPicPr>
          <p:cNvPr id="1028" name="Picture 4" descr="Mgen - Groupe VYV">
            <a:extLst>
              <a:ext uri="{FF2B5EF4-FFF2-40B4-BE49-F238E27FC236}">
                <a16:creationId xmlns:a16="http://schemas.microsoft.com/office/drawing/2014/main" id="{C166EE30-185F-4A8F-916F-A5877CA692E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50674" y="68084"/>
            <a:ext cx="649996" cy="792544"/>
          </a:xfrm>
          <a:prstGeom prst="rect">
            <a:avLst/>
          </a:prstGeom>
          <a:noFill/>
          <a:extLst>
            <a:ext uri="{909E8E84-426E-40DD-AFC4-6F175D3DCCD1}">
              <a14:hiddenFill xmlns:a14="http://schemas.microsoft.com/office/drawing/2010/main">
                <a:solidFill>
                  <a:srgbClr val="FFFFFF"/>
                </a:solidFill>
              </a14:hiddenFill>
            </a:ext>
          </a:extLst>
        </p:spPr>
      </p:pic>
      <p:grpSp>
        <p:nvGrpSpPr>
          <p:cNvPr id="51" name="Group 219">
            <a:extLst>
              <a:ext uri="{FF2B5EF4-FFF2-40B4-BE49-F238E27FC236}">
                <a16:creationId xmlns:a16="http://schemas.microsoft.com/office/drawing/2014/main" id="{C05E60D8-5D97-4E74-8F8A-6257050E6046}"/>
              </a:ext>
            </a:extLst>
          </p:cNvPr>
          <p:cNvGrpSpPr>
            <a:grpSpLocks/>
          </p:cNvGrpSpPr>
          <p:nvPr/>
        </p:nvGrpSpPr>
        <p:grpSpPr bwMode="gray">
          <a:xfrm>
            <a:off x="1498106" y="972493"/>
            <a:ext cx="1015402" cy="933665"/>
            <a:chOff x="48" y="168"/>
            <a:chExt cx="3077" cy="3032"/>
          </a:xfrm>
          <a:solidFill>
            <a:schemeClr val="tx2"/>
          </a:solidFill>
          <a:effectLst>
            <a:outerShdw blurRad="127000" dist="50800" dir="2700000" algn="ctr" rotWithShape="0">
              <a:schemeClr val="tx1">
                <a:alpha val="40000"/>
              </a:schemeClr>
            </a:outerShdw>
          </a:effectLst>
        </p:grpSpPr>
        <p:sp>
          <p:nvSpPr>
            <p:cNvPr id="52" name="Nord-Pas-de-Calais" descr="© INSCALE GmbH, 05.05.2010&#10;http://www.presentationload.com/">
              <a:extLst>
                <a:ext uri="{FF2B5EF4-FFF2-40B4-BE49-F238E27FC236}">
                  <a16:creationId xmlns:a16="http://schemas.microsoft.com/office/drawing/2014/main" id="{99464174-1C86-4FB8-AAFD-8A8F7EFF1D76}"/>
                </a:ext>
              </a:extLst>
            </p:cNvPr>
            <p:cNvSpPr>
              <a:spLocks/>
            </p:cNvSpPr>
            <p:nvPr/>
          </p:nvSpPr>
          <p:spPr bwMode="gray">
            <a:xfrm>
              <a:off x="1600" y="168"/>
              <a:ext cx="608" cy="383"/>
            </a:xfrm>
            <a:custGeom>
              <a:avLst/>
              <a:gdLst/>
              <a:ahLst/>
              <a:cxnLst>
                <a:cxn ang="0">
                  <a:pos x="77" y="236"/>
                </a:cxn>
                <a:cxn ang="0">
                  <a:pos x="101" y="257"/>
                </a:cxn>
                <a:cxn ang="0">
                  <a:pos x="117" y="279"/>
                </a:cxn>
                <a:cxn ang="0">
                  <a:pos x="159" y="269"/>
                </a:cxn>
                <a:cxn ang="0">
                  <a:pos x="187" y="273"/>
                </a:cxn>
                <a:cxn ang="0">
                  <a:pos x="173" y="309"/>
                </a:cxn>
                <a:cxn ang="0">
                  <a:pos x="208" y="304"/>
                </a:cxn>
                <a:cxn ang="0">
                  <a:pos x="232" y="300"/>
                </a:cxn>
                <a:cxn ang="0">
                  <a:pos x="244" y="323"/>
                </a:cxn>
                <a:cxn ang="0">
                  <a:pos x="272" y="324"/>
                </a:cxn>
                <a:cxn ang="0">
                  <a:pos x="279" y="321"/>
                </a:cxn>
                <a:cxn ang="0">
                  <a:pos x="343" y="329"/>
                </a:cxn>
                <a:cxn ang="0">
                  <a:pos x="364" y="327"/>
                </a:cxn>
                <a:cxn ang="0">
                  <a:pos x="440" y="317"/>
                </a:cxn>
                <a:cxn ang="0">
                  <a:pos x="473" y="333"/>
                </a:cxn>
                <a:cxn ang="0">
                  <a:pos x="492" y="335"/>
                </a:cxn>
                <a:cxn ang="0">
                  <a:pos x="548" y="320"/>
                </a:cxn>
                <a:cxn ang="0">
                  <a:pos x="556" y="283"/>
                </a:cxn>
                <a:cxn ang="0">
                  <a:pos x="545" y="269"/>
                </a:cxn>
                <a:cxn ang="0">
                  <a:pos x="559" y="243"/>
                </a:cxn>
                <a:cxn ang="0">
                  <a:pos x="543" y="243"/>
                </a:cxn>
                <a:cxn ang="0">
                  <a:pos x="517" y="215"/>
                </a:cxn>
                <a:cxn ang="0">
                  <a:pos x="500" y="219"/>
                </a:cxn>
                <a:cxn ang="0">
                  <a:pos x="486" y="217"/>
                </a:cxn>
                <a:cxn ang="0">
                  <a:pos x="452" y="228"/>
                </a:cxn>
                <a:cxn ang="0">
                  <a:pos x="442" y="201"/>
                </a:cxn>
                <a:cxn ang="0">
                  <a:pos x="436" y="174"/>
                </a:cxn>
                <a:cxn ang="0">
                  <a:pos x="409" y="165"/>
                </a:cxn>
                <a:cxn ang="0">
                  <a:pos x="362" y="157"/>
                </a:cxn>
                <a:cxn ang="0">
                  <a:pos x="353" y="124"/>
                </a:cxn>
                <a:cxn ang="0">
                  <a:pos x="350" y="110"/>
                </a:cxn>
                <a:cxn ang="0">
                  <a:pos x="325" y="90"/>
                </a:cxn>
                <a:cxn ang="0">
                  <a:pos x="283" y="114"/>
                </a:cxn>
                <a:cxn ang="0">
                  <a:pos x="262" y="106"/>
                </a:cxn>
                <a:cxn ang="0">
                  <a:pos x="245" y="76"/>
                </a:cxn>
                <a:cxn ang="0">
                  <a:pos x="221" y="67"/>
                </a:cxn>
                <a:cxn ang="0">
                  <a:pos x="224" y="42"/>
                </a:cxn>
                <a:cxn ang="0">
                  <a:pos x="212" y="9"/>
                </a:cxn>
                <a:cxn ang="0">
                  <a:pos x="157" y="7"/>
                </a:cxn>
                <a:cxn ang="0">
                  <a:pos x="54" y="31"/>
                </a:cxn>
                <a:cxn ang="0">
                  <a:pos x="7" y="57"/>
                </a:cxn>
                <a:cxn ang="0">
                  <a:pos x="5" y="106"/>
                </a:cxn>
                <a:cxn ang="0">
                  <a:pos x="4" y="192"/>
                </a:cxn>
                <a:cxn ang="0">
                  <a:pos x="1" y="228"/>
                </a:cxn>
                <a:cxn ang="0">
                  <a:pos x="12" y="235"/>
                </a:cxn>
                <a:cxn ang="0">
                  <a:pos x="65" y="237"/>
                </a:cxn>
              </a:cxnLst>
              <a:rect l="0" t="0" r="r" b="b"/>
              <a:pathLst>
                <a:path w="564" h="355">
                  <a:moveTo>
                    <a:pt x="65" y="237"/>
                  </a:moveTo>
                  <a:cubicBezTo>
                    <a:pt x="77" y="236"/>
                    <a:pt x="77" y="236"/>
                    <a:pt x="77" y="236"/>
                  </a:cubicBezTo>
                  <a:cubicBezTo>
                    <a:pt x="79" y="247"/>
                    <a:pt x="79" y="247"/>
                    <a:pt x="79" y="247"/>
                  </a:cubicBezTo>
                  <a:cubicBezTo>
                    <a:pt x="101" y="257"/>
                    <a:pt x="101" y="257"/>
                    <a:pt x="101" y="257"/>
                  </a:cubicBezTo>
                  <a:cubicBezTo>
                    <a:pt x="109" y="275"/>
                    <a:pt x="109" y="275"/>
                    <a:pt x="109" y="275"/>
                  </a:cubicBezTo>
                  <a:cubicBezTo>
                    <a:pt x="117" y="279"/>
                    <a:pt x="117" y="279"/>
                    <a:pt x="117" y="279"/>
                  </a:cubicBezTo>
                  <a:cubicBezTo>
                    <a:pt x="143" y="265"/>
                    <a:pt x="143" y="265"/>
                    <a:pt x="143" y="265"/>
                  </a:cubicBezTo>
                  <a:cubicBezTo>
                    <a:pt x="159" y="269"/>
                    <a:pt x="159" y="269"/>
                    <a:pt x="159" y="269"/>
                  </a:cubicBezTo>
                  <a:cubicBezTo>
                    <a:pt x="180" y="263"/>
                    <a:pt x="180" y="263"/>
                    <a:pt x="180" y="263"/>
                  </a:cubicBezTo>
                  <a:cubicBezTo>
                    <a:pt x="187" y="273"/>
                    <a:pt x="187" y="273"/>
                    <a:pt x="187" y="273"/>
                  </a:cubicBezTo>
                  <a:cubicBezTo>
                    <a:pt x="187" y="273"/>
                    <a:pt x="163" y="293"/>
                    <a:pt x="163" y="304"/>
                  </a:cubicBezTo>
                  <a:cubicBezTo>
                    <a:pt x="163" y="315"/>
                    <a:pt x="173" y="309"/>
                    <a:pt x="173" y="309"/>
                  </a:cubicBezTo>
                  <a:cubicBezTo>
                    <a:pt x="173" y="309"/>
                    <a:pt x="193" y="289"/>
                    <a:pt x="193" y="300"/>
                  </a:cubicBezTo>
                  <a:cubicBezTo>
                    <a:pt x="193" y="300"/>
                    <a:pt x="208" y="297"/>
                    <a:pt x="208" y="304"/>
                  </a:cubicBezTo>
                  <a:cubicBezTo>
                    <a:pt x="208" y="311"/>
                    <a:pt x="227" y="313"/>
                    <a:pt x="227" y="313"/>
                  </a:cubicBezTo>
                  <a:cubicBezTo>
                    <a:pt x="232" y="300"/>
                    <a:pt x="232" y="300"/>
                    <a:pt x="232" y="300"/>
                  </a:cubicBezTo>
                  <a:cubicBezTo>
                    <a:pt x="248" y="303"/>
                    <a:pt x="248" y="303"/>
                    <a:pt x="248" y="303"/>
                  </a:cubicBezTo>
                  <a:cubicBezTo>
                    <a:pt x="244" y="323"/>
                    <a:pt x="244" y="323"/>
                    <a:pt x="244" y="323"/>
                  </a:cubicBezTo>
                  <a:cubicBezTo>
                    <a:pt x="263" y="313"/>
                    <a:pt x="263" y="313"/>
                    <a:pt x="263" y="313"/>
                  </a:cubicBezTo>
                  <a:cubicBezTo>
                    <a:pt x="272" y="324"/>
                    <a:pt x="272" y="324"/>
                    <a:pt x="272" y="324"/>
                  </a:cubicBezTo>
                  <a:cubicBezTo>
                    <a:pt x="265" y="332"/>
                    <a:pt x="265" y="332"/>
                    <a:pt x="265" y="332"/>
                  </a:cubicBezTo>
                  <a:cubicBezTo>
                    <a:pt x="279" y="321"/>
                    <a:pt x="279" y="321"/>
                    <a:pt x="279" y="321"/>
                  </a:cubicBezTo>
                  <a:cubicBezTo>
                    <a:pt x="313" y="321"/>
                    <a:pt x="313" y="321"/>
                    <a:pt x="313" y="321"/>
                  </a:cubicBezTo>
                  <a:cubicBezTo>
                    <a:pt x="313" y="321"/>
                    <a:pt x="320" y="341"/>
                    <a:pt x="343" y="329"/>
                  </a:cubicBezTo>
                  <a:cubicBezTo>
                    <a:pt x="348" y="331"/>
                    <a:pt x="348" y="335"/>
                    <a:pt x="348" y="335"/>
                  </a:cubicBezTo>
                  <a:cubicBezTo>
                    <a:pt x="348" y="335"/>
                    <a:pt x="359" y="339"/>
                    <a:pt x="364" y="327"/>
                  </a:cubicBezTo>
                  <a:cubicBezTo>
                    <a:pt x="364" y="327"/>
                    <a:pt x="400" y="337"/>
                    <a:pt x="404" y="319"/>
                  </a:cubicBezTo>
                  <a:cubicBezTo>
                    <a:pt x="403" y="323"/>
                    <a:pt x="413" y="339"/>
                    <a:pt x="440" y="317"/>
                  </a:cubicBezTo>
                  <a:cubicBezTo>
                    <a:pt x="473" y="327"/>
                    <a:pt x="473" y="327"/>
                    <a:pt x="473" y="327"/>
                  </a:cubicBezTo>
                  <a:cubicBezTo>
                    <a:pt x="473" y="333"/>
                    <a:pt x="473" y="333"/>
                    <a:pt x="473" y="333"/>
                  </a:cubicBezTo>
                  <a:cubicBezTo>
                    <a:pt x="492" y="321"/>
                    <a:pt x="492" y="321"/>
                    <a:pt x="492" y="321"/>
                  </a:cubicBezTo>
                  <a:cubicBezTo>
                    <a:pt x="492" y="335"/>
                    <a:pt x="492" y="335"/>
                    <a:pt x="492" y="335"/>
                  </a:cubicBezTo>
                  <a:cubicBezTo>
                    <a:pt x="492" y="335"/>
                    <a:pt x="522" y="355"/>
                    <a:pt x="554" y="333"/>
                  </a:cubicBezTo>
                  <a:cubicBezTo>
                    <a:pt x="551" y="330"/>
                    <a:pt x="549" y="325"/>
                    <a:pt x="548" y="320"/>
                  </a:cubicBezTo>
                  <a:cubicBezTo>
                    <a:pt x="547" y="313"/>
                    <a:pt x="558" y="305"/>
                    <a:pt x="561" y="303"/>
                  </a:cubicBezTo>
                  <a:cubicBezTo>
                    <a:pt x="564" y="301"/>
                    <a:pt x="556" y="283"/>
                    <a:pt x="556" y="283"/>
                  </a:cubicBezTo>
                  <a:cubicBezTo>
                    <a:pt x="556" y="283"/>
                    <a:pt x="553" y="283"/>
                    <a:pt x="547" y="283"/>
                  </a:cubicBezTo>
                  <a:cubicBezTo>
                    <a:pt x="541" y="283"/>
                    <a:pt x="545" y="269"/>
                    <a:pt x="545" y="269"/>
                  </a:cubicBezTo>
                  <a:cubicBezTo>
                    <a:pt x="547" y="260"/>
                    <a:pt x="547" y="260"/>
                    <a:pt x="547" y="260"/>
                  </a:cubicBezTo>
                  <a:cubicBezTo>
                    <a:pt x="547" y="260"/>
                    <a:pt x="558" y="246"/>
                    <a:pt x="559" y="243"/>
                  </a:cubicBezTo>
                  <a:cubicBezTo>
                    <a:pt x="560" y="240"/>
                    <a:pt x="554" y="236"/>
                    <a:pt x="554" y="236"/>
                  </a:cubicBezTo>
                  <a:cubicBezTo>
                    <a:pt x="543" y="243"/>
                    <a:pt x="543" y="243"/>
                    <a:pt x="543" y="243"/>
                  </a:cubicBezTo>
                  <a:cubicBezTo>
                    <a:pt x="542" y="233"/>
                    <a:pt x="542" y="233"/>
                    <a:pt x="542" y="233"/>
                  </a:cubicBezTo>
                  <a:cubicBezTo>
                    <a:pt x="517" y="215"/>
                    <a:pt x="517" y="215"/>
                    <a:pt x="517" y="215"/>
                  </a:cubicBezTo>
                  <a:cubicBezTo>
                    <a:pt x="514" y="219"/>
                    <a:pt x="514" y="219"/>
                    <a:pt x="514" y="219"/>
                  </a:cubicBezTo>
                  <a:cubicBezTo>
                    <a:pt x="500" y="219"/>
                    <a:pt x="500" y="219"/>
                    <a:pt x="500" y="219"/>
                  </a:cubicBezTo>
                  <a:cubicBezTo>
                    <a:pt x="493" y="225"/>
                    <a:pt x="493" y="225"/>
                    <a:pt x="493" y="225"/>
                  </a:cubicBezTo>
                  <a:cubicBezTo>
                    <a:pt x="486" y="217"/>
                    <a:pt x="486" y="217"/>
                    <a:pt x="486" y="217"/>
                  </a:cubicBezTo>
                  <a:cubicBezTo>
                    <a:pt x="460" y="216"/>
                    <a:pt x="460" y="216"/>
                    <a:pt x="460" y="216"/>
                  </a:cubicBezTo>
                  <a:cubicBezTo>
                    <a:pt x="452" y="228"/>
                    <a:pt x="452" y="228"/>
                    <a:pt x="452" y="228"/>
                  </a:cubicBezTo>
                  <a:cubicBezTo>
                    <a:pt x="443" y="216"/>
                    <a:pt x="443" y="216"/>
                    <a:pt x="443" y="216"/>
                  </a:cubicBezTo>
                  <a:cubicBezTo>
                    <a:pt x="442" y="201"/>
                    <a:pt x="442" y="201"/>
                    <a:pt x="442" y="201"/>
                  </a:cubicBezTo>
                  <a:cubicBezTo>
                    <a:pt x="449" y="195"/>
                    <a:pt x="449" y="195"/>
                    <a:pt x="449" y="195"/>
                  </a:cubicBezTo>
                  <a:cubicBezTo>
                    <a:pt x="436" y="174"/>
                    <a:pt x="436" y="174"/>
                    <a:pt x="436" y="174"/>
                  </a:cubicBezTo>
                  <a:cubicBezTo>
                    <a:pt x="410" y="172"/>
                    <a:pt x="410" y="172"/>
                    <a:pt x="410" y="172"/>
                  </a:cubicBezTo>
                  <a:cubicBezTo>
                    <a:pt x="409" y="165"/>
                    <a:pt x="409" y="165"/>
                    <a:pt x="409" y="165"/>
                  </a:cubicBezTo>
                  <a:cubicBezTo>
                    <a:pt x="409" y="165"/>
                    <a:pt x="390" y="174"/>
                    <a:pt x="383" y="174"/>
                  </a:cubicBezTo>
                  <a:cubicBezTo>
                    <a:pt x="376" y="174"/>
                    <a:pt x="362" y="157"/>
                    <a:pt x="362" y="157"/>
                  </a:cubicBezTo>
                  <a:cubicBezTo>
                    <a:pt x="362" y="141"/>
                    <a:pt x="362" y="141"/>
                    <a:pt x="362" y="141"/>
                  </a:cubicBezTo>
                  <a:cubicBezTo>
                    <a:pt x="353" y="124"/>
                    <a:pt x="353" y="124"/>
                    <a:pt x="353" y="124"/>
                  </a:cubicBezTo>
                  <a:cubicBezTo>
                    <a:pt x="353" y="124"/>
                    <a:pt x="360" y="119"/>
                    <a:pt x="359" y="116"/>
                  </a:cubicBezTo>
                  <a:cubicBezTo>
                    <a:pt x="358" y="113"/>
                    <a:pt x="350" y="110"/>
                    <a:pt x="350" y="110"/>
                  </a:cubicBezTo>
                  <a:cubicBezTo>
                    <a:pt x="335" y="85"/>
                    <a:pt x="335" y="85"/>
                    <a:pt x="335" y="85"/>
                  </a:cubicBezTo>
                  <a:cubicBezTo>
                    <a:pt x="325" y="90"/>
                    <a:pt x="325" y="90"/>
                    <a:pt x="325" y="90"/>
                  </a:cubicBezTo>
                  <a:cubicBezTo>
                    <a:pt x="325" y="90"/>
                    <a:pt x="291" y="99"/>
                    <a:pt x="291" y="106"/>
                  </a:cubicBezTo>
                  <a:cubicBezTo>
                    <a:pt x="291" y="113"/>
                    <a:pt x="283" y="114"/>
                    <a:pt x="283" y="114"/>
                  </a:cubicBezTo>
                  <a:cubicBezTo>
                    <a:pt x="273" y="106"/>
                    <a:pt x="273" y="106"/>
                    <a:pt x="273" y="106"/>
                  </a:cubicBezTo>
                  <a:cubicBezTo>
                    <a:pt x="262" y="106"/>
                    <a:pt x="262" y="106"/>
                    <a:pt x="262" y="106"/>
                  </a:cubicBezTo>
                  <a:cubicBezTo>
                    <a:pt x="262" y="106"/>
                    <a:pt x="253" y="99"/>
                    <a:pt x="253" y="95"/>
                  </a:cubicBezTo>
                  <a:cubicBezTo>
                    <a:pt x="253" y="91"/>
                    <a:pt x="245" y="76"/>
                    <a:pt x="245" y="76"/>
                  </a:cubicBezTo>
                  <a:cubicBezTo>
                    <a:pt x="231" y="77"/>
                    <a:pt x="231" y="77"/>
                    <a:pt x="231" y="77"/>
                  </a:cubicBezTo>
                  <a:cubicBezTo>
                    <a:pt x="221" y="67"/>
                    <a:pt x="221" y="67"/>
                    <a:pt x="221" y="67"/>
                  </a:cubicBezTo>
                  <a:cubicBezTo>
                    <a:pt x="223" y="56"/>
                    <a:pt x="223" y="56"/>
                    <a:pt x="223" y="56"/>
                  </a:cubicBezTo>
                  <a:cubicBezTo>
                    <a:pt x="223" y="56"/>
                    <a:pt x="221" y="42"/>
                    <a:pt x="224" y="42"/>
                  </a:cubicBezTo>
                  <a:cubicBezTo>
                    <a:pt x="227" y="42"/>
                    <a:pt x="221" y="27"/>
                    <a:pt x="221" y="27"/>
                  </a:cubicBezTo>
                  <a:cubicBezTo>
                    <a:pt x="221" y="27"/>
                    <a:pt x="212" y="15"/>
                    <a:pt x="212" y="9"/>
                  </a:cubicBezTo>
                  <a:cubicBezTo>
                    <a:pt x="212" y="3"/>
                    <a:pt x="207" y="0"/>
                    <a:pt x="207" y="0"/>
                  </a:cubicBezTo>
                  <a:cubicBezTo>
                    <a:pt x="207" y="0"/>
                    <a:pt x="174" y="6"/>
                    <a:pt x="157" y="7"/>
                  </a:cubicBezTo>
                  <a:cubicBezTo>
                    <a:pt x="140" y="8"/>
                    <a:pt x="143" y="8"/>
                    <a:pt x="115" y="17"/>
                  </a:cubicBezTo>
                  <a:cubicBezTo>
                    <a:pt x="87" y="26"/>
                    <a:pt x="75" y="27"/>
                    <a:pt x="54" y="31"/>
                  </a:cubicBezTo>
                  <a:cubicBezTo>
                    <a:pt x="33" y="35"/>
                    <a:pt x="26" y="54"/>
                    <a:pt x="26" y="54"/>
                  </a:cubicBezTo>
                  <a:cubicBezTo>
                    <a:pt x="7" y="57"/>
                    <a:pt x="7" y="57"/>
                    <a:pt x="7" y="57"/>
                  </a:cubicBezTo>
                  <a:cubicBezTo>
                    <a:pt x="7" y="57"/>
                    <a:pt x="16" y="74"/>
                    <a:pt x="15" y="87"/>
                  </a:cubicBezTo>
                  <a:cubicBezTo>
                    <a:pt x="14" y="100"/>
                    <a:pt x="5" y="100"/>
                    <a:pt x="5" y="106"/>
                  </a:cubicBezTo>
                  <a:cubicBezTo>
                    <a:pt x="5" y="112"/>
                    <a:pt x="14" y="157"/>
                    <a:pt x="14" y="157"/>
                  </a:cubicBezTo>
                  <a:cubicBezTo>
                    <a:pt x="4" y="192"/>
                    <a:pt x="4" y="192"/>
                    <a:pt x="4" y="192"/>
                  </a:cubicBezTo>
                  <a:cubicBezTo>
                    <a:pt x="4" y="192"/>
                    <a:pt x="7" y="201"/>
                    <a:pt x="12" y="203"/>
                  </a:cubicBezTo>
                  <a:cubicBezTo>
                    <a:pt x="4" y="203"/>
                    <a:pt x="0" y="217"/>
                    <a:pt x="1" y="228"/>
                  </a:cubicBezTo>
                  <a:cubicBezTo>
                    <a:pt x="2" y="239"/>
                    <a:pt x="9" y="232"/>
                    <a:pt x="9" y="232"/>
                  </a:cubicBezTo>
                  <a:cubicBezTo>
                    <a:pt x="9" y="232"/>
                    <a:pt x="10" y="233"/>
                    <a:pt x="12" y="235"/>
                  </a:cubicBezTo>
                  <a:cubicBezTo>
                    <a:pt x="21" y="231"/>
                    <a:pt x="35" y="224"/>
                    <a:pt x="39" y="224"/>
                  </a:cubicBezTo>
                  <a:cubicBezTo>
                    <a:pt x="44" y="224"/>
                    <a:pt x="65" y="237"/>
                    <a:pt x="65" y="23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53" name="Picardie" descr="© INSCALE GmbH, 05.05.2010&#10;http://www.presentationload.com/">
              <a:extLst>
                <a:ext uri="{FF2B5EF4-FFF2-40B4-BE49-F238E27FC236}">
                  <a16:creationId xmlns:a16="http://schemas.microsoft.com/office/drawing/2014/main" id="{975377BF-4D77-466B-A981-B488A9A3B73E}"/>
                </a:ext>
              </a:extLst>
            </p:cNvPr>
            <p:cNvSpPr>
              <a:spLocks/>
            </p:cNvSpPr>
            <p:nvPr/>
          </p:nvSpPr>
          <p:spPr bwMode="gray">
            <a:xfrm>
              <a:off x="1552" y="410"/>
              <a:ext cx="644" cy="519"/>
            </a:xfrm>
            <a:custGeom>
              <a:avLst/>
              <a:gdLst/>
              <a:ahLst/>
              <a:cxnLst>
                <a:cxn ang="0">
                  <a:pos x="17" y="99"/>
                </a:cxn>
                <a:cxn ang="0">
                  <a:pos x="85" y="189"/>
                </a:cxn>
                <a:cxn ang="0">
                  <a:pos x="79" y="213"/>
                </a:cxn>
                <a:cxn ang="0">
                  <a:pos x="79" y="264"/>
                </a:cxn>
                <a:cxn ang="0">
                  <a:pos x="83" y="275"/>
                </a:cxn>
                <a:cxn ang="0">
                  <a:pos x="84" y="355"/>
                </a:cxn>
                <a:cxn ang="0">
                  <a:pos x="76" y="379"/>
                </a:cxn>
                <a:cxn ang="0">
                  <a:pos x="144" y="371"/>
                </a:cxn>
                <a:cxn ang="0">
                  <a:pos x="160" y="373"/>
                </a:cxn>
                <a:cxn ang="0">
                  <a:pos x="173" y="376"/>
                </a:cxn>
                <a:cxn ang="0">
                  <a:pos x="196" y="375"/>
                </a:cxn>
                <a:cxn ang="0">
                  <a:pos x="196" y="375"/>
                </a:cxn>
                <a:cxn ang="0">
                  <a:pos x="232" y="403"/>
                </a:cxn>
                <a:cxn ang="0">
                  <a:pos x="251" y="409"/>
                </a:cxn>
                <a:cxn ang="0">
                  <a:pos x="280" y="412"/>
                </a:cxn>
                <a:cxn ang="0">
                  <a:pos x="311" y="413"/>
                </a:cxn>
                <a:cxn ang="0">
                  <a:pos x="356" y="397"/>
                </a:cxn>
                <a:cxn ang="0">
                  <a:pos x="392" y="451"/>
                </a:cxn>
                <a:cxn ang="0">
                  <a:pos x="407" y="457"/>
                </a:cxn>
                <a:cxn ang="0">
                  <a:pos x="421" y="476"/>
                </a:cxn>
                <a:cxn ang="0">
                  <a:pos x="451" y="461"/>
                </a:cxn>
                <a:cxn ang="0">
                  <a:pos x="480" y="424"/>
                </a:cxn>
                <a:cxn ang="0">
                  <a:pos x="463" y="415"/>
                </a:cxn>
                <a:cxn ang="0">
                  <a:pos x="465" y="391"/>
                </a:cxn>
                <a:cxn ang="0">
                  <a:pos x="473" y="364"/>
                </a:cxn>
                <a:cxn ang="0">
                  <a:pos x="473" y="333"/>
                </a:cxn>
                <a:cxn ang="0">
                  <a:pos x="517" y="309"/>
                </a:cxn>
                <a:cxn ang="0">
                  <a:pos x="552" y="316"/>
                </a:cxn>
                <a:cxn ang="0">
                  <a:pos x="560" y="260"/>
                </a:cxn>
                <a:cxn ang="0">
                  <a:pos x="564" y="229"/>
                </a:cxn>
                <a:cxn ang="0">
                  <a:pos x="593" y="187"/>
                </a:cxn>
                <a:cxn ang="0">
                  <a:pos x="592" y="143"/>
                </a:cxn>
                <a:cxn ang="0">
                  <a:pos x="536" y="111"/>
                </a:cxn>
                <a:cxn ang="0">
                  <a:pos x="517" y="109"/>
                </a:cxn>
                <a:cxn ang="0">
                  <a:pos x="484" y="93"/>
                </a:cxn>
                <a:cxn ang="0">
                  <a:pos x="408" y="103"/>
                </a:cxn>
                <a:cxn ang="0">
                  <a:pos x="387" y="105"/>
                </a:cxn>
                <a:cxn ang="0">
                  <a:pos x="323" y="97"/>
                </a:cxn>
                <a:cxn ang="0">
                  <a:pos x="316" y="100"/>
                </a:cxn>
                <a:cxn ang="0">
                  <a:pos x="288" y="99"/>
                </a:cxn>
                <a:cxn ang="0">
                  <a:pos x="276" y="76"/>
                </a:cxn>
                <a:cxn ang="0">
                  <a:pos x="252" y="80"/>
                </a:cxn>
                <a:cxn ang="0">
                  <a:pos x="217" y="85"/>
                </a:cxn>
                <a:cxn ang="0">
                  <a:pos x="231" y="49"/>
                </a:cxn>
                <a:cxn ang="0">
                  <a:pos x="203" y="45"/>
                </a:cxn>
                <a:cxn ang="0">
                  <a:pos x="161" y="55"/>
                </a:cxn>
                <a:cxn ang="0">
                  <a:pos x="145" y="33"/>
                </a:cxn>
                <a:cxn ang="0">
                  <a:pos x="121" y="12"/>
                </a:cxn>
                <a:cxn ang="0">
                  <a:pos x="83" y="0"/>
                </a:cxn>
                <a:cxn ang="0">
                  <a:pos x="63" y="30"/>
                </a:cxn>
                <a:cxn ang="0">
                  <a:pos x="25" y="60"/>
                </a:cxn>
                <a:cxn ang="0">
                  <a:pos x="5" y="92"/>
                </a:cxn>
              </a:cxnLst>
              <a:rect l="0" t="0" r="r" b="b"/>
              <a:pathLst>
                <a:path w="597" h="481">
                  <a:moveTo>
                    <a:pt x="17" y="95"/>
                  </a:moveTo>
                  <a:cubicBezTo>
                    <a:pt x="17" y="99"/>
                    <a:pt x="17" y="99"/>
                    <a:pt x="17" y="99"/>
                  </a:cubicBezTo>
                  <a:cubicBezTo>
                    <a:pt x="17" y="99"/>
                    <a:pt x="43" y="136"/>
                    <a:pt x="61" y="139"/>
                  </a:cubicBezTo>
                  <a:cubicBezTo>
                    <a:pt x="85" y="189"/>
                    <a:pt x="85" y="189"/>
                    <a:pt x="85" y="189"/>
                  </a:cubicBezTo>
                  <a:cubicBezTo>
                    <a:pt x="85" y="189"/>
                    <a:pt x="64" y="211"/>
                    <a:pt x="68" y="212"/>
                  </a:cubicBezTo>
                  <a:cubicBezTo>
                    <a:pt x="72" y="213"/>
                    <a:pt x="79" y="213"/>
                    <a:pt x="79" y="213"/>
                  </a:cubicBezTo>
                  <a:cubicBezTo>
                    <a:pt x="69" y="244"/>
                    <a:pt x="69" y="244"/>
                    <a:pt x="69" y="244"/>
                  </a:cubicBezTo>
                  <a:cubicBezTo>
                    <a:pt x="79" y="264"/>
                    <a:pt x="79" y="264"/>
                    <a:pt x="79" y="264"/>
                  </a:cubicBezTo>
                  <a:cubicBezTo>
                    <a:pt x="73" y="276"/>
                    <a:pt x="73" y="276"/>
                    <a:pt x="73" y="276"/>
                  </a:cubicBezTo>
                  <a:cubicBezTo>
                    <a:pt x="83" y="275"/>
                    <a:pt x="83" y="275"/>
                    <a:pt x="83" y="275"/>
                  </a:cubicBezTo>
                  <a:cubicBezTo>
                    <a:pt x="73" y="303"/>
                    <a:pt x="73" y="303"/>
                    <a:pt x="73" y="303"/>
                  </a:cubicBezTo>
                  <a:cubicBezTo>
                    <a:pt x="73" y="303"/>
                    <a:pt x="85" y="340"/>
                    <a:pt x="84" y="355"/>
                  </a:cubicBezTo>
                  <a:cubicBezTo>
                    <a:pt x="65" y="349"/>
                    <a:pt x="65" y="349"/>
                    <a:pt x="65" y="349"/>
                  </a:cubicBezTo>
                  <a:cubicBezTo>
                    <a:pt x="76" y="379"/>
                    <a:pt x="76" y="379"/>
                    <a:pt x="76" y="379"/>
                  </a:cubicBezTo>
                  <a:cubicBezTo>
                    <a:pt x="128" y="375"/>
                    <a:pt x="128" y="375"/>
                    <a:pt x="128" y="375"/>
                  </a:cubicBezTo>
                  <a:cubicBezTo>
                    <a:pt x="144" y="371"/>
                    <a:pt x="144" y="371"/>
                    <a:pt x="144" y="371"/>
                  </a:cubicBezTo>
                  <a:cubicBezTo>
                    <a:pt x="151" y="376"/>
                    <a:pt x="151" y="376"/>
                    <a:pt x="151" y="376"/>
                  </a:cubicBezTo>
                  <a:cubicBezTo>
                    <a:pt x="160" y="373"/>
                    <a:pt x="160" y="373"/>
                    <a:pt x="160" y="373"/>
                  </a:cubicBezTo>
                  <a:cubicBezTo>
                    <a:pt x="169" y="383"/>
                    <a:pt x="169" y="383"/>
                    <a:pt x="169" y="383"/>
                  </a:cubicBezTo>
                  <a:cubicBezTo>
                    <a:pt x="173" y="376"/>
                    <a:pt x="173" y="376"/>
                    <a:pt x="173" y="376"/>
                  </a:cubicBezTo>
                  <a:cubicBezTo>
                    <a:pt x="177" y="384"/>
                    <a:pt x="177" y="384"/>
                    <a:pt x="177" y="384"/>
                  </a:cubicBezTo>
                  <a:cubicBezTo>
                    <a:pt x="196" y="375"/>
                    <a:pt x="196" y="375"/>
                    <a:pt x="196" y="375"/>
                  </a:cubicBezTo>
                  <a:cubicBezTo>
                    <a:pt x="197" y="375"/>
                    <a:pt x="197" y="375"/>
                    <a:pt x="197" y="375"/>
                  </a:cubicBezTo>
                  <a:cubicBezTo>
                    <a:pt x="196" y="375"/>
                    <a:pt x="196" y="375"/>
                    <a:pt x="196" y="375"/>
                  </a:cubicBezTo>
                  <a:cubicBezTo>
                    <a:pt x="194" y="376"/>
                    <a:pt x="190" y="380"/>
                    <a:pt x="203" y="383"/>
                  </a:cubicBezTo>
                  <a:cubicBezTo>
                    <a:pt x="219" y="387"/>
                    <a:pt x="237" y="399"/>
                    <a:pt x="232" y="403"/>
                  </a:cubicBezTo>
                  <a:cubicBezTo>
                    <a:pt x="227" y="407"/>
                    <a:pt x="245" y="399"/>
                    <a:pt x="245" y="399"/>
                  </a:cubicBezTo>
                  <a:cubicBezTo>
                    <a:pt x="251" y="409"/>
                    <a:pt x="251" y="409"/>
                    <a:pt x="251" y="409"/>
                  </a:cubicBezTo>
                  <a:cubicBezTo>
                    <a:pt x="251" y="409"/>
                    <a:pt x="253" y="397"/>
                    <a:pt x="260" y="401"/>
                  </a:cubicBezTo>
                  <a:cubicBezTo>
                    <a:pt x="267" y="405"/>
                    <a:pt x="272" y="409"/>
                    <a:pt x="280" y="412"/>
                  </a:cubicBezTo>
                  <a:cubicBezTo>
                    <a:pt x="288" y="415"/>
                    <a:pt x="297" y="405"/>
                    <a:pt x="297" y="405"/>
                  </a:cubicBezTo>
                  <a:cubicBezTo>
                    <a:pt x="311" y="413"/>
                    <a:pt x="311" y="413"/>
                    <a:pt x="311" y="413"/>
                  </a:cubicBezTo>
                  <a:cubicBezTo>
                    <a:pt x="349" y="403"/>
                    <a:pt x="349" y="403"/>
                    <a:pt x="349" y="403"/>
                  </a:cubicBezTo>
                  <a:cubicBezTo>
                    <a:pt x="356" y="397"/>
                    <a:pt x="356" y="397"/>
                    <a:pt x="356" y="397"/>
                  </a:cubicBezTo>
                  <a:cubicBezTo>
                    <a:pt x="356" y="397"/>
                    <a:pt x="380" y="399"/>
                    <a:pt x="376" y="431"/>
                  </a:cubicBezTo>
                  <a:cubicBezTo>
                    <a:pt x="377" y="436"/>
                    <a:pt x="393" y="443"/>
                    <a:pt x="392" y="451"/>
                  </a:cubicBezTo>
                  <a:cubicBezTo>
                    <a:pt x="391" y="459"/>
                    <a:pt x="404" y="449"/>
                    <a:pt x="404" y="449"/>
                  </a:cubicBezTo>
                  <a:cubicBezTo>
                    <a:pt x="407" y="457"/>
                    <a:pt x="407" y="457"/>
                    <a:pt x="407" y="457"/>
                  </a:cubicBezTo>
                  <a:cubicBezTo>
                    <a:pt x="417" y="457"/>
                    <a:pt x="417" y="457"/>
                    <a:pt x="417" y="457"/>
                  </a:cubicBezTo>
                  <a:cubicBezTo>
                    <a:pt x="417" y="457"/>
                    <a:pt x="417" y="476"/>
                    <a:pt x="421" y="476"/>
                  </a:cubicBezTo>
                  <a:cubicBezTo>
                    <a:pt x="425" y="476"/>
                    <a:pt x="441" y="481"/>
                    <a:pt x="441" y="481"/>
                  </a:cubicBezTo>
                  <a:cubicBezTo>
                    <a:pt x="451" y="461"/>
                    <a:pt x="451" y="461"/>
                    <a:pt x="451" y="461"/>
                  </a:cubicBezTo>
                  <a:cubicBezTo>
                    <a:pt x="457" y="459"/>
                    <a:pt x="457" y="459"/>
                    <a:pt x="457" y="459"/>
                  </a:cubicBezTo>
                  <a:cubicBezTo>
                    <a:pt x="457" y="459"/>
                    <a:pt x="487" y="429"/>
                    <a:pt x="480" y="424"/>
                  </a:cubicBezTo>
                  <a:cubicBezTo>
                    <a:pt x="473" y="419"/>
                    <a:pt x="461" y="420"/>
                    <a:pt x="461" y="420"/>
                  </a:cubicBezTo>
                  <a:cubicBezTo>
                    <a:pt x="463" y="415"/>
                    <a:pt x="463" y="415"/>
                    <a:pt x="463" y="415"/>
                  </a:cubicBezTo>
                  <a:cubicBezTo>
                    <a:pt x="471" y="408"/>
                    <a:pt x="471" y="408"/>
                    <a:pt x="471" y="408"/>
                  </a:cubicBezTo>
                  <a:cubicBezTo>
                    <a:pt x="471" y="408"/>
                    <a:pt x="463" y="396"/>
                    <a:pt x="465" y="391"/>
                  </a:cubicBezTo>
                  <a:cubicBezTo>
                    <a:pt x="468" y="385"/>
                    <a:pt x="492" y="380"/>
                    <a:pt x="492" y="380"/>
                  </a:cubicBezTo>
                  <a:cubicBezTo>
                    <a:pt x="473" y="364"/>
                    <a:pt x="473" y="364"/>
                    <a:pt x="473" y="364"/>
                  </a:cubicBezTo>
                  <a:cubicBezTo>
                    <a:pt x="479" y="353"/>
                    <a:pt x="479" y="353"/>
                    <a:pt x="479" y="353"/>
                  </a:cubicBezTo>
                  <a:cubicBezTo>
                    <a:pt x="473" y="333"/>
                    <a:pt x="473" y="333"/>
                    <a:pt x="473" y="333"/>
                  </a:cubicBezTo>
                  <a:cubicBezTo>
                    <a:pt x="473" y="333"/>
                    <a:pt x="495" y="315"/>
                    <a:pt x="512" y="320"/>
                  </a:cubicBezTo>
                  <a:cubicBezTo>
                    <a:pt x="516" y="319"/>
                    <a:pt x="517" y="309"/>
                    <a:pt x="517" y="309"/>
                  </a:cubicBezTo>
                  <a:cubicBezTo>
                    <a:pt x="528" y="303"/>
                    <a:pt x="528" y="303"/>
                    <a:pt x="528" y="303"/>
                  </a:cubicBezTo>
                  <a:cubicBezTo>
                    <a:pt x="528" y="303"/>
                    <a:pt x="547" y="316"/>
                    <a:pt x="552" y="316"/>
                  </a:cubicBezTo>
                  <a:cubicBezTo>
                    <a:pt x="557" y="316"/>
                    <a:pt x="552" y="267"/>
                    <a:pt x="552" y="267"/>
                  </a:cubicBezTo>
                  <a:cubicBezTo>
                    <a:pt x="560" y="260"/>
                    <a:pt x="560" y="260"/>
                    <a:pt x="560" y="260"/>
                  </a:cubicBezTo>
                  <a:cubicBezTo>
                    <a:pt x="548" y="231"/>
                    <a:pt x="548" y="231"/>
                    <a:pt x="548" y="231"/>
                  </a:cubicBezTo>
                  <a:cubicBezTo>
                    <a:pt x="564" y="229"/>
                    <a:pt x="564" y="229"/>
                    <a:pt x="564" y="229"/>
                  </a:cubicBezTo>
                  <a:cubicBezTo>
                    <a:pt x="571" y="215"/>
                    <a:pt x="571" y="215"/>
                    <a:pt x="571" y="215"/>
                  </a:cubicBezTo>
                  <a:cubicBezTo>
                    <a:pt x="593" y="187"/>
                    <a:pt x="593" y="187"/>
                    <a:pt x="593" y="187"/>
                  </a:cubicBezTo>
                  <a:cubicBezTo>
                    <a:pt x="587" y="180"/>
                    <a:pt x="587" y="180"/>
                    <a:pt x="587" y="180"/>
                  </a:cubicBezTo>
                  <a:cubicBezTo>
                    <a:pt x="592" y="143"/>
                    <a:pt x="592" y="143"/>
                    <a:pt x="592" y="143"/>
                  </a:cubicBezTo>
                  <a:cubicBezTo>
                    <a:pt x="592" y="143"/>
                    <a:pt x="583" y="130"/>
                    <a:pt x="597" y="110"/>
                  </a:cubicBezTo>
                  <a:cubicBezTo>
                    <a:pt x="566" y="131"/>
                    <a:pt x="536" y="111"/>
                    <a:pt x="536" y="111"/>
                  </a:cubicBezTo>
                  <a:cubicBezTo>
                    <a:pt x="536" y="97"/>
                    <a:pt x="536" y="97"/>
                    <a:pt x="536" y="97"/>
                  </a:cubicBezTo>
                  <a:cubicBezTo>
                    <a:pt x="517" y="109"/>
                    <a:pt x="517" y="109"/>
                    <a:pt x="517" y="109"/>
                  </a:cubicBezTo>
                  <a:cubicBezTo>
                    <a:pt x="517" y="103"/>
                    <a:pt x="517" y="103"/>
                    <a:pt x="517" y="103"/>
                  </a:cubicBezTo>
                  <a:cubicBezTo>
                    <a:pt x="484" y="93"/>
                    <a:pt x="484" y="93"/>
                    <a:pt x="484" y="93"/>
                  </a:cubicBezTo>
                  <a:cubicBezTo>
                    <a:pt x="457" y="115"/>
                    <a:pt x="447" y="99"/>
                    <a:pt x="448" y="95"/>
                  </a:cubicBezTo>
                  <a:cubicBezTo>
                    <a:pt x="444" y="113"/>
                    <a:pt x="408" y="103"/>
                    <a:pt x="408" y="103"/>
                  </a:cubicBezTo>
                  <a:cubicBezTo>
                    <a:pt x="403" y="115"/>
                    <a:pt x="392" y="111"/>
                    <a:pt x="392" y="111"/>
                  </a:cubicBezTo>
                  <a:cubicBezTo>
                    <a:pt x="392" y="111"/>
                    <a:pt x="392" y="107"/>
                    <a:pt x="387" y="105"/>
                  </a:cubicBezTo>
                  <a:cubicBezTo>
                    <a:pt x="364" y="117"/>
                    <a:pt x="357" y="97"/>
                    <a:pt x="357" y="97"/>
                  </a:cubicBezTo>
                  <a:cubicBezTo>
                    <a:pt x="323" y="97"/>
                    <a:pt x="323" y="97"/>
                    <a:pt x="323" y="97"/>
                  </a:cubicBezTo>
                  <a:cubicBezTo>
                    <a:pt x="309" y="108"/>
                    <a:pt x="309" y="108"/>
                    <a:pt x="309" y="108"/>
                  </a:cubicBezTo>
                  <a:cubicBezTo>
                    <a:pt x="316" y="100"/>
                    <a:pt x="316" y="100"/>
                    <a:pt x="316" y="100"/>
                  </a:cubicBezTo>
                  <a:cubicBezTo>
                    <a:pt x="307" y="89"/>
                    <a:pt x="307" y="89"/>
                    <a:pt x="307" y="89"/>
                  </a:cubicBezTo>
                  <a:cubicBezTo>
                    <a:pt x="288" y="99"/>
                    <a:pt x="288" y="99"/>
                    <a:pt x="288" y="99"/>
                  </a:cubicBezTo>
                  <a:cubicBezTo>
                    <a:pt x="292" y="79"/>
                    <a:pt x="292" y="79"/>
                    <a:pt x="292" y="79"/>
                  </a:cubicBezTo>
                  <a:cubicBezTo>
                    <a:pt x="276" y="76"/>
                    <a:pt x="276" y="76"/>
                    <a:pt x="276" y="76"/>
                  </a:cubicBezTo>
                  <a:cubicBezTo>
                    <a:pt x="271" y="89"/>
                    <a:pt x="271" y="89"/>
                    <a:pt x="271" y="89"/>
                  </a:cubicBezTo>
                  <a:cubicBezTo>
                    <a:pt x="271" y="89"/>
                    <a:pt x="252" y="87"/>
                    <a:pt x="252" y="80"/>
                  </a:cubicBezTo>
                  <a:cubicBezTo>
                    <a:pt x="252" y="73"/>
                    <a:pt x="237" y="76"/>
                    <a:pt x="237" y="76"/>
                  </a:cubicBezTo>
                  <a:cubicBezTo>
                    <a:pt x="237" y="65"/>
                    <a:pt x="217" y="85"/>
                    <a:pt x="217" y="85"/>
                  </a:cubicBezTo>
                  <a:cubicBezTo>
                    <a:pt x="217" y="85"/>
                    <a:pt x="207" y="91"/>
                    <a:pt x="207" y="80"/>
                  </a:cubicBezTo>
                  <a:cubicBezTo>
                    <a:pt x="207" y="69"/>
                    <a:pt x="231" y="49"/>
                    <a:pt x="231" y="49"/>
                  </a:cubicBezTo>
                  <a:cubicBezTo>
                    <a:pt x="224" y="39"/>
                    <a:pt x="224" y="39"/>
                    <a:pt x="224" y="39"/>
                  </a:cubicBezTo>
                  <a:cubicBezTo>
                    <a:pt x="203" y="45"/>
                    <a:pt x="203" y="45"/>
                    <a:pt x="203" y="45"/>
                  </a:cubicBezTo>
                  <a:cubicBezTo>
                    <a:pt x="187" y="41"/>
                    <a:pt x="187" y="41"/>
                    <a:pt x="187" y="41"/>
                  </a:cubicBezTo>
                  <a:cubicBezTo>
                    <a:pt x="161" y="55"/>
                    <a:pt x="161" y="55"/>
                    <a:pt x="161" y="55"/>
                  </a:cubicBezTo>
                  <a:cubicBezTo>
                    <a:pt x="153" y="51"/>
                    <a:pt x="153" y="51"/>
                    <a:pt x="153" y="51"/>
                  </a:cubicBezTo>
                  <a:cubicBezTo>
                    <a:pt x="145" y="33"/>
                    <a:pt x="145" y="33"/>
                    <a:pt x="145" y="33"/>
                  </a:cubicBezTo>
                  <a:cubicBezTo>
                    <a:pt x="123" y="23"/>
                    <a:pt x="123" y="23"/>
                    <a:pt x="123" y="23"/>
                  </a:cubicBezTo>
                  <a:cubicBezTo>
                    <a:pt x="121" y="12"/>
                    <a:pt x="121" y="12"/>
                    <a:pt x="121" y="12"/>
                  </a:cubicBezTo>
                  <a:cubicBezTo>
                    <a:pt x="109" y="13"/>
                    <a:pt x="109" y="13"/>
                    <a:pt x="109" y="13"/>
                  </a:cubicBezTo>
                  <a:cubicBezTo>
                    <a:pt x="109" y="13"/>
                    <a:pt x="88" y="0"/>
                    <a:pt x="83" y="0"/>
                  </a:cubicBezTo>
                  <a:cubicBezTo>
                    <a:pt x="79" y="0"/>
                    <a:pt x="65" y="7"/>
                    <a:pt x="56" y="11"/>
                  </a:cubicBezTo>
                  <a:cubicBezTo>
                    <a:pt x="60" y="16"/>
                    <a:pt x="69" y="27"/>
                    <a:pt x="63" y="30"/>
                  </a:cubicBezTo>
                  <a:cubicBezTo>
                    <a:pt x="55" y="34"/>
                    <a:pt x="45" y="21"/>
                    <a:pt x="45" y="21"/>
                  </a:cubicBezTo>
                  <a:cubicBezTo>
                    <a:pt x="35" y="27"/>
                    <a:pt x="25" y="60"/>
                    <a:pt x="25" y="60"/>
                  </a:cubicBezTo>
                  <a:cubicBezTo>
                    <a:pt x="25" y="60"/>
                    <a:pt x="14" y="68"/>
                    <a:pt x="0" y="77"/>
                  </a:cubicBezTo>
                  <a:cubicBezTo>
                    <a:pt x="5" y="92"/>
                    <a:pt x="5" y="92"/>
                    <a:pt x="5" y="92"/>
                  </a:cubicBezTo>
                  <a:lnTo>
                    <a:pt x="17" y="9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54" name="Haute Normandie" descr="© INSCALE GmbH, 05.05.2010&#10;http://www.presentationload.com/">
              <a:extLst>
                <a:ext uri="{FF2B5EF4-FFF2-40B4-BE49-F238E27FC236}">
                  <a16:creationId xmlns:a16="http://schemas.microsoft.com/office/drawing/2014/main" id="{8851D905-A014-432B-866A-B35753ED9821}"/>
                </a:ext>
              </a:extLst>
            </p:cNvPr>
            <p:cNvSpPr>
              <a:spLocks/>
            </p:cNvSpPr>
            <p:nvPr/>
          </p:nvSpPr>
          <p:spPr bwMode="gray">
            <a:xfrm>
              <a:off x="1259" y="493"/>
              <a:ext cx="385" cy="503"/>
            </a:xfrm>
            <a:custGeom>
              <a:avLst/>
              <a:gdLst/>
              <a:ahLst/>
              <a:cxnLst>
                <a:cxn ang="0">
                  <a:pos x="355" y="198"/>
                </a:cxn>
                <a:cxn ang="0">
                  <a:pos x="345" y="199"/>
                </a:cxn>
                <a:cxn ang="0">
                  <a:pos x="351" y="187"/>
                </a:cxn>
                <a:cxn ang="0">
                  <a:pos x="341" y="167"/>
                </a:cxn>
                <a:cxn ang="0">
                  <a:pos x="351" y="136"/>
                </a:cxn>
                <a:cxn ang="0">
                  <a:pos x="340" y="135"/>
                </a:cxn>
                <a:cxn ang="0">
                  <a:pos x="357" y="112"/>
                </a:cxn>
                <a:cxn ang="0">
                  <a:pos x="333" y="62"/>
                </a:cxn>
                <a:cxn ang="0">
                  <a:pos x="289" y="22"/>
                </a:cxn>
                <a:cxn ang="0">
                  <a:pos x="289" y="18"/>
                </a:cxn>
                <a:cxn ang="0">
                  <a:pos x="277" y="15"/>
                </a:cxn>
                <a:cxn ang="0">
                  <a:pos x="272" y="0"/>
                </a:cxn>
                <a:cxn ang="0">
                  <a:pos x="220" y="29"/>
                </a:cxn>
                <a:cxn ang="0">
                  <a:pos x="155" y="47"/>
                </a:cxn>
                <a:cxn ang="0">
                  <a:pos x="108" y="50"/>
                </a:cxn>
                <a:cxn ang="0">
                  <a:pos x="30" y="93"/>
                </a:cxn>
                <a:cxn ang="0">
                  <a:pos x="0" y="150"/>
                </a:cxn>
                <a:cxn ang="0">
                  <a:pos x="10" y="167"/>
                </a:cxn>
                <a:cxn ang="0">
                  <a:pos x="39" y="178"/>
                </a:cxn>
                <a:cxn ang="0">
                  <a:pos x="52" y="263"/>
                </a:cxn>
                <a:cxn ang="0">
                  <a:pos x="53" y="271"/>
                </a:cxn>
                <a:cxn ang="0">
                  <a:pos x="67" y="288"/>
                </a:cxn>
                <a:cxn ang="0">
                  <a:pos x="67" y="303"/>
                </a:cxn>
                <a:cxn ang="0">
                  <a:pos x="72" y="311"/>
                </a:cxn>
                <a:cxn ang="0">
                  <a:pos x="71" y="331"/>
                </a:cxn>
                <a:cxn ang="0">
                  <a:pos x="63" y="332"/>
                </a:cxn>
                <a:cxn ang="0">
                  <a:pos x="72" y="344"/>
                </a:cxn>
                <a:cxn ang="0">
                  <a:pos x="65" y="379"/>
                </a:cxn>
                <a:cxn ang="0">
                  <a:pos x="72" y="388"/>
                </a:cxn>
                <a:cxn ang="0">
                  <a:pos x="105" y="390"/>
                </a:cxn>
                <a:cxn ang="0">
                  <a:pos x="112" y="410"/>
                </a:cxn>
                <a:cxn ang="0">
                  <a:pos x="136" y="448"/>
                </a:cxn>
                <a:cxn ang="0">
                  <a:pos x="139" y="459"/>
                </a:cxn>
                <a:cxn ang="0">
                  <a:pos x="167" y="444"/>
                </a:cxn>
                <a:cxn ang="0">
                  <a:pos x="201" y="434"/>
                </a:cxn>
                <a:cxn ang="0">
                  <a:pos x="211" y="438"/>
                </a:cxn>
                <a:cxn ang="0">
                  <a:pos x="212" y="427"/>
                </a:cxn>
                <a:cxn ang="0">
                  <a:pos x="263" y="431"/>
                </a:cxn>
                <a:cxn ang="0">
                  <a:pos x="268" y="408"/>
                </a:cxn>
                <a:cxn ang="0">
                  <a:pos x="288" y="395"/>
                </a:cxn>
                <a:cxn ang="0">
                  <a:pos x="288" y="383"/>
                </a:cxn>
                <a:cxn ang="0">
                  <a:pos x="297" y="379"/>
                </a:cxn>
                <a:cxn ang="0">
                  <a:pos x="284" y="343"/>
                </a:cxn>
                <a:cxn ang="0">
                  <a:pos x="297" y="338"/>
                </a:cxn>
                <a:cxn ang="0">
                  <a:pos x="295" y="331"/>
                </a:cxn>
                <a:cxn ang="0">
                  <a:pos x="323" y="328"/>
                </a:cxn>
                <a:cxn ang="0">
                  <a:pos x="340" y="281"/>
                </a:cxn>
                <a:cxn ang="0">
                  <a:pos x="337" y="272"/>
                </a:cxn>
                <a:cxn ang="0">
                  <a:pos x="354" y="277"/>
                </a:cxn>
                <a:cxn ang="0">
                  <a:pos x="356" y="278"/>
                </a:cxn>
                <a:cxn ang="0">
                  <a:pos x="356" y="277"/>
                </a:cxn>
                <a:cxn ang="0">
                  <a:pos x="345" y="226"/>
                </a:cxn>
                <a:cxn ang="0">
                  <a:pos x="355" y="198"/>
                </a:cxn>
              </a:cxnLst>
              <a:rect l="0" t="0" r="r" b="b"/>
              <a:pathLst>
                <a:path w="357" h="466">
                  <a:moveTo>
                    <a:pt x="355" y="198"/>
                  </a:moveTo>
                  <a:cubicBezTo>
                    <a:pt x="345" y="199"/>
                    <a:pt x="345" y="199"/>
                    <a:pt x="345" y="199"/>
                  </a:cubicBezTo>
                  <a:cubicBezTo>
                    <a:pt x="351" y="187"/>
                    <a:pt x="351" y="187"/>
                    <a:pt x="351" y="187"/>
                  </a:cubicBezTo>
                  <a:cubicBezTo>
                    <a:pt x="341" y="167"/>
                    <a:pt x="341" y="167"/>
                    <a:pt x="341" y="167"/>
                  </a:cubicBezTo>
                  <a:cubicBezTo>
                    <a:pt x="351" y="136"/>
                    <a:pt x="351" y="136"/>
                    <a:pt x="351" y="136"/>
                  </a:cubicBezTo>
                  <a:cubicBezTo>
                    <a:pt x="351" y="136"/>
                    <a:pt x="344" y="136"/>
                    <a:pt x="340" y="135"/>
                  </a:cubicBezTo>
                  <a:cubicBezTo>
                    <a:pt x="336" y="134"/>
                    <a:pt x="357" y="112"/>
                    <a:pt x="357" y="112"/>
                  </a:cubicBezTo>
                  <a:cubicBezTo>
                    <a:pt x="333" y="62"/>
                    <a:pt x="333" y="62"/>
                    <a:pt x="333" y="62"/>
                  </a:cubicBezTo>
                  <a:cubicBezTo>
                    <a:pt x="315" y="59"/>
                    <a:pt x="289" y="22"/>
                    <a:pt x="289" y="22"/>
                  </a:cubicBezTo>
                  <a:cubicBezTo>
                    <a:pt x="289" y="18"/>
                    <a:pt x="289" y="18"/>
                    <a:pt x="289" y="18"/>
                  </a:cubicBezTo>
                  <a:cubicBezTo>
                    <a:pt x="277" y="15"/>
                    <a:pt x="277" y="15"/>
                    <a:pt x="277" y="15"/>
                  </a:cubicBezTo>
                  <a:cubicBezTo>
                    <a:pt x="272" y="0"/>
                    <a:pt x="272" y="0"/>
                    <a:pt x="272" y="0"/>
                  </a:cubicBezTo>
                  <a:cubicBezTo>
                    <a:pt x="255" y="11"/>
                    <a:pt x="233" y="25"/>
                    <a:pt x="220" y="29"/>
                  </a:cubicBezTo>
                  <a:cubicBezTo>
                    <a:pt x="196" y="38"/>
                    <a:pt x="155" y="47"/>
                    <a:pt x="155" y="47"/>
                  </a:cubicBezTo>
                  <a:cubicBezTo>
                    <a:pt x="155" y="47"/>
                    <a:pt x="110" y="54"/>
                    <a:pt x="108" y="50"/>
                  </a:cubicBezTo>
                  <a:cubicBezTo>
                    <a:pt x="81" y="78"/>
                    <a:pt x="30" y="93"/>
                    <a:pt x="30" y="93"/>
                  </a:cubicBezTo>
                  <a:cubicBezTo>
                    <a:pt x="0" y="150"/>
                    <a:pt x="0" y="150"/>
                    <a:pt x="0" y="150"/>
                  </a:cubicBezTo>
                  <a:cubicBezTo>
                    <a:pt x="10" y="167"/>
                    <a:pt x="10" y="167"/>
                    <a:pt x="10" y="167"/>
                  </a:cubicBezTo>
                  <a:cubicBezTo>
                    <a:pt x="10" y="167"/>
                    <a:pt x="44" y="176"/>
                    <a:pt x="39" y="178"/>
                  </a:cubicBezTo>
                  <a:cubicBezTo>
                    <a:pt x="52" y="263"/>
                    <a:pt x="52" y="263"/>
                    <a:pt x="52" y="263"/>
                  </a:cubicBezTo>
                  <a:cubicBezTo>
                    <a:pt x="52" y="263"/>
                    <a:pt x="84" y="260"/>
                    <a:pt x="53" y="271"/>
                  </a:cubicBezTo>
                  <a:cubicBezTo>
                    <a:pt x="51" y="278"/>
                    <a:pt x="67" y="288"/>
                    <a:pt x="67" y="288"/>
                  </a:cubicBezTo>
                  <a:cubicBezTo>
                    <a:pt x="67" y="303"/>
                    <a:pt x="67" y="303"/>
                    <a:pt x="67" y="303"/>
                  </a:cubicBezTo>
                  <a:cubicBezTo>
                    <a:pt x="72" y="311"/>
                    <a:pt x="72" y="311"/>
                    <a:pt x="72" y="311"/>
                  </a:cubicBezTo>
                  <a:cubicBezTo>
                    <a:pt x="71" y="331"/>
                    <a:pt x="71" y="331"/>
                    <a:pt x="71" y="331"/>
                  </a:cubicBezTo>
                  <a:cubicBezTo>
                    <a:pt x="63" y="332"/>
                    <a:pt x="63" y="332"/>
                    <a:pt x="63" y="332"/>
                  </a:cubicBezTo>
                  <a:cubicBezTo>
                    <a:pt x="72" y="344"/>
                    <a:pt x="72" y="344"/>
                    <a:pt x="72" y="344"/>
                  </a:cubicBezTo>
                  <a:cubicBezTo>
                    <a:pt x="72" y="344"/>
                    <a:pt x="72" y="374"/>
                    <a:pt x="65" y="379"/>
                  </a:cubicBezTo>
                  <a:cubicBezTo>
                    <a:pt x="59" y="384"/>
                    <a:pt x="72" y="388"/>
                    <a:pt x="72" y="388"/>
                  </a:cubicBezTo>
                  <a:cubicBezTo>
                    <a:pt x="105" y="390"/>
                    <a:pt x="105" y="390"/>
                    <a:pt x="105" y="390"/>
                  </a:cubicBezTo>
                  <a:cubicBezTo>
                    <a:pt x="112" y="410"/>
                    <a:pt x="112" y="410"/>
                    <a:pt x="112" y="410"/>
                  </a:cubicBezTo>
                  <a:cubicBezTo>
                    <a:pt x="112" y="410"/>
                    <a:pt x="157" y="434"/>
                    <a:pt x="136" y="448"/>
                  </a:cubicBezTo>
                  <a:cubicBezTo>
                    <a:pt x="132" y="448"/>
                    <a:pt x="139" y="459"/>
                    <a:pt x="139" y="459"/>
                  </a:cubicBezTo>
                  <a:cubicBezTo>
                    <a:pt x="139" y="459"/>
                    <a:pt x="159" y="466"/>
                    <a:pt x="167" y="444"/>
                  </a:cubicBezTo>
                  <a:cubicBezTo>
                    <a:pt x="171" y="444"/>
                    <a:pt x="179" y="456"/>
                    <a:pt x="201" y="434"/>
                  </a:cubicBezTo>
                  <a:cubicBezTo>
                    <a:pt x="203" y="438"/>
                    <a:pt x="211" y="438"/>
                    <a:pt x="211" y="438"/>
                  </a:cubicBezTo>
                  <a:cubicBezTo>
                    <a:pt x="212" y="427"/>
                    <a:pt x="212" y="427"/>
                    <a:pt x="212" y="427"/>
                  </a:cubicBezTo>
                  <a:cubicBezTo>
                    <a:pt x="212" y="427"/>
                    <a:pt x="256" y="442"/>
                    <a:pt x="263" y="431"/>
                  </a:cubicBezTo>
                  <a:cubicBezTo>
                    <a:pt x="269" y="420"/>
                    <a:pt x="268" y="408"/>
                    <a:pt x="268" y="408"/>
                  </a:cubicBezTo>
                  <a:cubicBezTo>
                    <a:pt x="268" y="408"/>
                    <a:pt x="287" y="400"/>
                    <a:pt x="288" y="395"/>
                  </a:cubicBezTo>
                  <a:cubicBezTo>
                    <a:pt x="289" y="390"/>
                    <a:pt x="288" y="383"/>
                    <a:pt x="288" y="383"/>
                  </a:cubicBezTo>
                  <a:cubicBezTo>
                    <a:pt x="297" y="379"/>
                    <a:pt x="297" y="379"/>
                    <a:pt x="297" y="379"/>
                  </a:cubicBezTo>
                  <a:cubicBezTo>
                    <a:pt x="284" y="343"/>
                    <a:pt x="284" y="343"/>
                    <a:pt x="284" y="343"/>
                  </a:cubicBezTo>
                  <a:cubicBezTo>
                    <a:pt x="284" y="343"/>
                    <a:pt x="301" y="338"/>
                    <a:pt x="297" y="338"/>
                  </a:cubicBezTo>
                  <a:cubicBezTo>
                    <a:pt x="293" y="338"/>
                    <a:pt x="295" y="331"/>
                    <a:pt x="295" y="331"/>
                  </a:cubicBezTo>
                  <a:cubicBezTo>
                    <a:pt x="323" y="328"/>
                    <a:pt x="323" y="328"/>
                    <a:pt x="323" y="328"/>
                  </a:cubicBezTo>
                  <a:cubicBezTo>
                    <a:pt x="340" y="281"/>
                    <a:pt x="340" y="281"/>
                    <a:pt x="340" y="281"/>
                  </a:cubicBezTo>
                  <a:cubicBezTo>
                    <a:pt x="337" y="272"/>
                    <a:pt x="337" y="272"/>
                    <a:pt x="337" y="272"/>
                  </a:cubicBezTo>
                  <a:cubicBezTo>
                    <a:pt x="354" y="277"/>
                    <a:pt x="354" y="277"/>
                    <a:pt x="354" y="277"/>
                  </a:cubicBezTo>
                  <a:cubicBezTo>
                    <a:pt x="356" y="278"/>
                    <a:pt x="356" y="278"/>
                    <a:pt x="356" y="278"/>
                  </a:cubicBezTo>
                  <a:cubicBezTo>
                    <a:pt x="356" y="278"/>
                    <a:pt x="356" y="277"/>
                    <a:pt x="356" y="277"/>
                  </a:cubicBezTo>
                  <a:cubicBezTo>
                    <a:pt x="357" y="262"/>
                    <a:pt x="345" y="226"/>
                    <a:pt x="345" y="226"/>
                  </a:cubicBezTo>
                  <a:lnTo>
                    <a:pt x="355" y="19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55" name="Ile-de-France" descr="© INSCALE GmbH, 05.05.2010&#10;http://www.presentationload.com/">
              <a:extLst>
                <a:ext uri="{FF2B5EF4-FFF2-40B4-BE49-F238E27FC236}">
                  <a16:creationId xmlns:a16="http://schemas.microsoft.com/office/drawing/2014/main" id="{F3EAB885-4BC3-40D7-95DE-82898B69D5BC}"/>
                </a:ext>
              </a:extLst>
            </p:cNvPr>
            <p:cNvSpPr>
              <a:spLocks/>
            </p:cNvSpPr>
            <p:nvPr/>
          </p:nvSpPr>
          <p:spPr bwMode="gray">
            <a:xfrm>
              <a:off x="1565" y="796"/>
              <a:ext cx="483" cy="386"/>
            </a:xfrm>
            <a:custGeom>
              <a:avLst/>
              <a:gdLst/>
              <a:ahLst/>
              <a:cxnLst>
                <a:cxn ang="0">
                  <a:pos x="31" y="127"/>
                </a:cxn>
                <a:cxn ang="0">
                  <a:pos x="36" y="158"/>
                </a:cxn>
                <a:cxn ang="0">
                  <a:pos x="35" y="177"/>
                </a:cxn>
                <a:cxn ang="0">
                  <a:pos x="48" y="199"/>
                </a:cxn>
                <a:cxn ang="0">
                  <a:pos x="56" y="214"/>
                </a:cxn>
                <a:cxn ang="0">
                  <a:pos x="71" y="246"/>
                </a:cxn>
                <a:cxn ang="0">
                  <a:pos x="103" y="267"/>
                </a:cxn>
                <a:cxn ang="0">
                  <a:pos x="111" y="303"/>
                </a:cxn>
                <a:cxn ang="0">
                  <a:pos x="153" y="301"/>
                </a:cxn>
                <a:cxn ang="0">
                  <a:pos x="167" y="290"/>
                </a:cxn>
                <a:cxn ang="0">
                  <a:pos x="183" y="293"/>
                </a:cxn>
                <a:cxn ang="0">
                  <a:pos x="201" y="297"/>
                </a:cxn>
                <a:cxn ang="0">
                  <a:pos x="229" y="338"/>
                </a:cxn>
                <a:cxn ang="0">
                  <a:pos x="273" y="354"/>
                </a:cxn>
                <a:cxn ang="0">
                  <a:pos x="285" y="346"/>
                </a:cxn>
                <a:cxn ang="0">
                  <a:pos x="316" y="345"/>
                </a:cxn>
                <a:cxn ang="0">
                  <a:pos x="333" y="297"/>
                </a:cxn>
                <a:cxn ang="0">
                  <a:pos x="400" y="277"/>
                </a:cxn>
                <a:cxn ang="0">
                  <a:pos x="411" y="243"/>
                </a:cxn>
                <a:cxn ang="0">
                  <a:pos x="413" y="225"/>
                </a:cxn>
                <a:cxn ang="0">
                  <a:pos x="424" y="210"/>
                </a:cxn>
                <a:cxn ang="0">
                  <a:pos x="437" y="199"/>
                </a:cxn>
                <a:cxn ang="0">
                  <a:pos x="440" y="191"/>
                </a:cxn>
                <a:cxn ang="0">
                  <a:pos x="425" y="158"/>
                </a:cxn>
                <a:cxn ang="0">
                  <a:pos x="411" y="147"/>
                </a:cxn>
                <a:cxn ang="0">
                  <a:pos x="412" y="137"/>
                </a:cxn>
                <a:cxn ang="0">
                  <a:pos x="428" y="123"/>
                </a:cxn>
                <a:cxn ang="0">
                  <a:pos x="405" y="99"/>
                </a:cxn>
                <a:cxn ang="0">
                  <a:pos x="392" y="91"/>
                </a:cxn>
                <a:cxn ang="0">
                  <a:pos x="364" y="73"/>
                </a:cxn>
                <a:cxn ang="0">
                  <a:pos x="337" y="45"/>
                </a:cxn>
                <a:cxn ang="0">
                  <a:pos x="285" y="47"/>
                </a:cxn>
                <a:cxn ang="0">
                  <a:pos x="248" y="43"/>
                </a:cxn>
                <a:cxn ang="0">
                  <a:pos x="233" y="41"/>
                </a:cxn>
                <a:cxn ang="0">
                  <a:pos x="191" y="25"/>
                </a:cxn>
                <a:cxn ang="0">
                  <a:pos x="165" y="26"/>
                </a:cxn>
                <a:cxn ang="0">
                  <a:pos x="157" y="25"/>
                </a:cxn>
                <a:cxn ang="0">
                  <a:pos x="139" y="18"/>
                </a:cxn>
                <a:cxn ang="0">
                  <a:pos x="116" y="17"/>
                </a:cxn>
                <a:cxn ang="0">
                  <a:pos x="56" y="0"/>
                </a:cxn>
                <a:cxn ang="0">
                  <a:pos x="11" y="50"/>
                </a:cxn>
                <a:cxn ang="0">
                  <a:pos x="0" y="62"/>
                </a:cxn>
                <a:cxn ang="0">
                  <a:pos x="12" y="99"/>
                </a:cxn>
                <a:cxn ang="0">
                  <a:pos x="23" y="122"/>
                </a:cxn>
              </a:cxnLst>
              <a:rect l="0" t="0" r="r" b="b"/>
              <a:pathLst>
                <a:path w="448" h="357">
                  <a:moveTo>
                    <a:pt x="23" y="122"/>
                  </a:moveTo>
                  <a:cubicBezTo>
                    <a:pt x="31" y="127"/>
                    <a:pt x="31" y="127"/>
                    <a:pt x="31" y="127"/>
                  </a:cubicBezTo>
                  <a:cubicBezTo>
                    <a:pt x="29" y="151"/>
                    <a:pt x="29" y="151"/>
                    <a:pt x="29" y="151"/>
                  </a:cubicBezTo>
                  <a:cubicBezTo>
                    <a:pt x="36" y="158"/>
                    <a:pt x="36" y="158"/>
                    <a:pt x="36" y="158"/>
                  </a:cubicBezTo>
                  <a:cubicBezTo>
                    <a:pt x="25" y="173"/>
                    <a:pt x="25" y="173"/>
                    <a:pt x="25" y="173"/>
                  </a:cubicBezTo>
                  <a:cubicBezTo>
                    <a:pt x="35" y="177"/>
                    <a:pt x="35" y="177"/>
                    <a:pt x="35" y="177"/>
                  </a:cubicBezTo>
                  <a:cubicBezTo>
                    <a:pt x="33" y="187"/>
                    <a:pt x="33" y="187"/>
                    <a:pt x="33" y="187"/>
                  </a:cubicBezTo>
                  <a:cubicBezTo>
                    <a:pt x="48" y="199"/>
                    <a:pt x="48" y="199"/>
                    <a:pt x="48" y="199"/>
                  </a:cubicBezTo>
                  <a:cubicBezTo>
                    <a:pt x="57" y="202"/>
                    <a:pt x="57" y="202"/>
                    <a:pt x="57" y="202"/>
                  </a:cubicBezTo>
                  <a:cubicBezTo>
                    <a:pt x="56" y="214"/>
                    <a:pt x="56" y="214"/>
                    <a:pt x="56" y="214"/>
                  </a:cubicBezTo>
                  <a:cubicBezTo>
                    <a:pt x="69" y="221"/>
                    <a:pt x="69" y="221"/>
                    <a:pt x="69" y="221"/>
                  </a:cubicBezTo>
                  <a:cubicBezTo>
                    <a:pt x="71" y="246"/>
                    <a:pt x="71" y="246"/>
                    <a:pt x="71" y="246"/>
                  </a:cubicBezTo>
                  <a:cubicBezTo>
                    <a:pt x="71" y="246"/>
                    <a:pt x="95" y="261"/>
                    <a:pt x="97" y="253"/>
                  </a:cubicBezTo>
                  <a:cubicBezTo>
                    <a:pt x="101" y="254"/>
                    <a:pt x="103" y="267"/>
                    <a:pt x="103" y="267"/>
                  </a:cubicBezTo>
                  <a:cubicBezTo>
                    <a:pt x="113" y="269"/>
                    <a:pt x="113" y="269"/>
                    <a:pt x="113" y="269"/>
                  </a:cubicBezTo>
                  <a:cubicBezTo>
                    <a:pt x="113" y="269"/>
                    <a:pt x="101" y="295"/>
                    <a:pt x="111" y="303"/>
                  </a:cubicBezTo>
                  <a:cubicBezTo>
                    <a:pt x="120" y="311"/>
                    <a:pt x="127" y="301"/>
                    <a:pt x="135" y="301"/>
                  </a:cubicBezTo>
                  <a:cubicBezTo>
                    <a:pt x="143" y="301"/>
                    <a:pt x="153" y="301"/>
                    <a:pt x="153" y="301"/>
                  </a:cubicBezTo>
                  <a:cubicBezTo>
                    <a:pt x="160" y="287"/>
                    <a:pt x="160" y="287"/>
                    <a:pt x="160" y="287"/>
                  </a:cubicBezTo>
                  <a:cubicBezTo>
                    <a:pt x="167" y="290"/>
                    <a:pt x="167" y="290"/>
                    <a:pt x="167" y="290"/>
                  </a:cubicBezTo>
                  <a:cubicBezTo>
                    <a:pt x="169" y="301"/>
                    <a:pt x="169" y="301"/>
                    <a:pt x="169" y="301"/>
                  </a:cubicBezTo>
                  <a:cubicBezTo>
                    <a:pt x="183" y="293"/>
                    <a:pt x="183" y="293"/>
                    <a:pt x="183" y="293"/>
                  </a:cubicBezTo>
                  <a:cubicBezTo>
                    <a:pt x="199" y="298"/>
                    <a:pt x="199" y="298"/>
                    <a:pt x="199" y="298"/>
                  </a:cubicBezTo>
                  <a:cubicBezTo>
                    <a:pt x="201" y="297"/>
                    <a:pt x="201" y="297"/>
                    <a:pt x="201" y="297"/>
                  </a:cubicBezTo>
                  <a:cubicBezTo>
                    <a:pt x="205" y="313"/>
                    <a:pt x="205" y="313"/>
                    <a:pt x="205" y="313"/>
                  </a:cubicBezTo>
                  <a:cubicBezTo>
                    <a:pt x="205" y="313"/>
                    <a:pt x="232" y="319"/>
                    <a:pt x="229" y="338"/>
                  </a:cubicBezTo>
                  <a:cubicBezTo>
                    <a:pt x="228" y="349"/>
                    <a:pt x="222" y="352"/>
                    <a:pt x="218" y="353"/>
                  </a:cubicBezTo>
                  <a:cubicBezTo>
                    <a:pt x="273" y="354"/>
                    <a:pt x="273" y="354"/>
                    <a:pt x="273" y="354"/>
                  </a:cubicBezTo>
                  <a:cubicBezTo>
                    <a:pt x="273" y="346"/>
                    <a:pt x="273" y="346"/>
                    <a:pt x="273" y="346"/>
                  </a:cubicBezTo>
                  <a:cubicBezTo>
                    <a:pt x="285" y="346"/>
                    <a:pt x="285" y="346"/>
                    <a:pt x="285" y="346"/>
                  </a:cubicBezTo>
                  <a:cubicBezTo>
                    <a:pt x="285" y="357"/>
                    <a:pt x="285" y="357"/>
                    <a:pt x="285" y="357"/>
                  </a:cubicBezTo>
                  <a:cubicBezTo>
                    <a:pt x="285" y="357"/>
                    <a:pt x="308" y="353"/>
                    <a:pt x="316" y="345"/>
                  </a:cubicBezTo>
                  <a:cubicBezTo>
                    <a:pt x="324" y="337"/>
                    <a:pt x="339" y="313"/>
                    <a:pt x="339" y="313"/>
                  </a:cubicBezTo>
                  <a:cubicBezTo>
                    <a:pt x="333" y="297"/>
                    <a:pt x="333" y="297"/>
                    <a:pt x="333" y="297"/>
                  </a:cubicBezTo>
                  <a:cubicBezTo>
                    <a:pt x="341" y="277"/>
                    <a:pt x="341" y="277"/>
                    <a:pt x="341" y="277"/>
                  </a:cubicBezTo>
                  <a:cubicBezTo>
                    <a:pt x="400" y="277"/>
                    <a:pt x="400" y="277"/>
                    <a:pt x="400" y="277"/>
                  </a:cubicBezTo>
                  <a:cubicBezTo>
                    <a:pt x="415" y="269"/>
                    <a:pt x="415" y="269"/>
                    <a:pt x="415" y="269"/>
                  </a:cubicBezTo>
                  <a:cubicBezTo>
                    <a:pt x="411" y="243"/>
                    <a:pt x="411" y="243"/>
                    <a:pt x="411" y="243"/>
                  </a:cubicBezTo>
                  <a:cubicBezTo>
                    <a:pt x="420" y="234"/>
                    <a:pt x="420" y="234"/>
                    <a:pt x="420" y="234"/>
                  </a:cubicBezTo>
                  <a:cubicBezTo>
                    <a:pt x="413" y="225"/>
                    <a:pt x="413" y="225"/>
                    <a:pt x="413" y="225"/>
                  </a:cubicBezTo>
                  <a:cubicBezTo>
                    <a:pt x="428" y="222"/>
                    <a:pt x="428" y="222"/>
                    <a:pt x="428" y="222"/>
                  </a:cubicBezTo>
                  <a:cubicBezTo>
                    <a:pt x="424" y="210"/>
                    <a:pt x="424" y="210"/>
                    <a:pt x="424" y="210"/>
                  </a:cubicBezTo>
                  <a:cubicBezTo>
                    <a:pt x="436" y="210"/>
                    <a:pt x="436" y="210"/>
                    <a:pt x="436" y="210"/>
                  </a:cubicBezTo>
                  <a:cubicBezTo>
                    <a:pt x="437" y="199"/>
                    <a:pt x="437" y="199"/>
                    <a:pt x="437" y="199"/>
                  </a:cubicBezTo>
                  <a:cubicBezTo>
                    <a:pt x="448" y="201"/>
                    <a:pt x="448" y="201"/>
                    <a:pt x="448" y="201"/>
                  </a:cubicBezTo>
                  <a:cubicBezTo>
                    <a:pt x="440" y="191"/>
                    <a:pt x="440" y="191"/>
                    <a:pt x="440" y="191"/>
                  </a:cubicBezTo>
                  <a:cubicBezTo>
                    <a:pt x="424" y="190"/>
                    <a:pt x="424" y="190"/>
                    <a:pt x="424" y="190"/>
                  </a:cubicBezTo>
                  <a:cubicBezTo>
                    <a:pt x="425" y="158"/>
                    <a:pt x="425" y="158"/>
                    <a:pt x="425" y="158"/>
                  </a:cubicBezTo>
                  <a:cubicBezTo>
                    <a:pt x="411" y="157"/>
                    <a:pt x="411" y="157"/>
                    <a:pt x="411" y="157"/>
                  </a:cubicBezTo>
                  <a:cubicBezTo>
                    <a:pt x="411" y="147"/>
                    <a:pt x="411" y="147"/>
                    <a:pt x="411" y="147"/>
                  </a:cubicBezTo>
                  <a:cubicBezTo>
                    <a:pt x="419" y="146"/>
                    <a:pt x="419" y="146"/>
                    <a:pt x="419" y="146"/>
                  </a:cubicBezTo>
                  <a:cubicBezTo>
                    <a:pt x="412" y="137"/>
                    <a:pt x="412" y="137"/>
                    <a:pt x="412" y="137"/>
                  </a:cubicBezTo>
                  <a:cubicBezTo>
                    <a:pt x="428" y="130"/>
                    <a:pt x="428" y="130"/>
                    <a:pt x="428" y="130"/>
                  </a:cubicBezTo>
                  <a:cubicBezTo>
                    <a:pt x="428" y="123"/>
                    <a:pt x="428" y="123"/>
                    <a:pt x="428" y="123"/>
                  </a:cubicBezTo>
                  <a:cubicBezTo>
                    <a:pt x="424" y="122"/>
                    <a:pt x="413" y="118"/>
                    <a:pt x="409" y="118"/>
                  </a:cubicBezTo>
                  <a:cubicBezTo>
                    <a:pt x="405" y="118"/>
                    <a:pt x="405" y="99"/>
                    <a:pt x="405" y="99"/>
                  </a:cubicBezTo>
                  <a:cubicBezTo>
                    <a:pt x="395" y="99"/>
                    <a:pt x="395" y="99"/>
                    <a:pt x="395" y="99"/>
                  </a:cubicBezTo>
                  <a:cubicBezTo>
                    <a:pt x="392" y="91"/>
                    <a:pt x="392" y="91"/>
                    <a:pt x="392" y="91"/>
                  </a:cubicBezTo>
                  <a:cubicBezTo>
                    <a:pt x="392" y="91"/>
                    <a:pt x="379" y="101"/>
                    <a:pt x="380" y="93"/>
                  </a:cubicBezTo>
                  <a:cubicBezTo>
                    <a:pt x="381" y="85"/>
                    <a:pt x="365" y="78"/>
                    <a:pt x="364" y="73"/>
                  </a:cubicBezTo>
                  <a:cubicBezTo>
                    <a:pt x="368" y="41"/>
                    <a:pt x="344" y="39"/>
                    <a:pt x="344" y="39"/>
                  </a:cubicBezTo>
                  <a:cubicBezTo>
                    <a:pt x="337" y="45"/>
                    <a:pt x="337" y="45"/>
                    <a:pt x="337" y="45"/>
                  </a:cubicBezTo>
                  <a:cubicBezTo>
                    <a:pt x="299" y="55"/>
                    <a:pt x="299" y="55"/>
                    <a:pt x="299" y="55"/>
                  </a:cubicBezTo>
                  <a:cubicBezTo>
                    <a:pt x="285" y="47"/>
                    <a:pt x="285" y="47"/>
                    <a:pt x="285" y="47"/>
                  </a:cubicBezTo>
                  <a:cubicBezTo>
                    <a:pt x="285" y="47"/>
                    <a:pt x="276" y="57"/>
                    <a:pt x="268" y="54"/>
                  </a:cubicBezTo>
                  <a:cubicBezTo>
                    <a:pt x="260" y="51"/>
                    <a:pt x="255" y="47"/>
                    <a:pt x="248" y="43"/>
                  </a:cubicBezTo>
                  <a:cubicBezTo>
                    <a:pt x="241" y="39"/>
                    <a:pt x="239" y="51"/>
                    <a:pt x="239" y="51"/>
                  </a:cubicBezTo>
                  <a:cubicBezTo>
                    <a:pt x="233" y="41"/>
                    <a:pt x="233" y="41"/>
                    <a:pt x="233" y="41"/>
                  </a:cubicBezTo>
                  <a:cubicBezTo>
                    <a:pt x="233" y="41"/>
                    <a:pt x="215" y="49"/>
                    <a:pt x="220" y="45"/>
                  </a:cubicBezTo>
                  <a:cubicBezTo>
                    <a:pt x="225" y="41"/>
                    <a:pt x="207" y="29"/>
                    <a:pt x="191" y="25"/>
                  </a:cubicBezTo>
                  <a:cubicBezTo>
                    <a:pt x="178" y="22"/>
                    <a:pt x="182" y="18"/>
                    <a:pt x="184" y="17"/>
                  </a:cubicBezTo>
                  <a:cubicBezTo>
                    <a:pt x="165" y="26"/>
                    <a:pt x="165" y="26"/>
                    <a:pt x="165" y="26"/>
                  </a:cubicBezTo>
                  <a:cubicBezTo>
                    <a:pt x="161" y="18"/>
                    <a:pt x="161" y="18"/>
                    <a:pt x="161" y="18"/>
                  </a:cubicBezTo>
                  <a:cubicBezTo>
                    <a:pt x="157" y="25"/>
                    <a:pt x="157" y="25"/>
                    <a:pt x="157" y="25"/>
                  </a:cubicBezTo>
                  <a:cubicBezTo>
                    <a:pt x="148" y="15"/>
                    <a:pt x="148" y="15"/>
                    <a:pt x="148" y="15"/>
                  </a:cubicBezTo>
                  <a:cubicBezTo>
                    <a:pt x="139" y="18"/>
                    <a:pt x="139" y="18"/>
                    <a:pt x="139" y="18"/>
                  </a:cubicBezTo>
                  <a:cubicBezTo>
                    <a:pt x="132" y="13"/>
                    <a:pt x="132" y="13"/>
                    <a:pt x="132" y="13"/>
                  </a:cubicBezTo>
                  <a:cubicBezTo>
                    <a:pt x="116" y="17"/>
                    <a:pt x="116" y="17"/>
                    <a:pt x="116" y="17"/>
                  </a:cubicBezTo>
                  <a:cubicBezTo>
                    <a:pt x="64" y="21"/>
                    <a:pt x="64" y="21"/>
                    <a:pt x="64" y="21"/>
                  </a:cubicBezTo>
                  <a:cubicBezTo>
                    <a:pt x="56" y="0"/>
                    <a:pt x="56" y="0"/>
                    <a:pt x="56" y="0"/>
                  </a:cubicBezTo>
                  <a:cubicBezTo>
                    <a:pt x="39" y="47"/>
                    <a:pt x="39" y="47"/>
                    <a:pt x="39" y="47"/>
                  </a:cubicBezTo>
                  <a:cubicBezTo>
                    <a:pt x="11" y="50"/>
                    <a:pt x="11" y="50"/>
                    <a:pt x="11" y="50"/>
                  </a:cubicBezTo>
                  <a:cubicBezTo>
                    <a:pt x="11" y="50"/>
                    <a:pt x="9" y="57"/>
                    <a:pt x="13" y="57"/>
                  </a:cubicBezTo>
                  <a:cubicBezTo>
                    <a:pt x="17" y="57"/>
                    <a:pt x="0" y="62"/>
                    <a:pt x="0" y="62"/>
                  </a:cubicBezTo>
                  <a:cubicBezTo>
                    <a:pt x="13" y="98"/>
                    <a:pt x="13" y="98"/>
                    <a:pt x="13" y="98"/>
                  </a:cubicBezTo>
                  <a:cubicBezTo>
                    <a:pt x="12" y="99"/>
                    <a:pt x="12" y="99"/>
                    <a:pt x="12" y="99"/>
                  </a:cubicBezTo>
                  <a:cubicBezTo>
                    <a:pt x="27" y="113"/>
                    <a:pt x="27" y="113"/>
                    <a:pt x="27" y="113"/>
                  </a:cubicBezTo>
                  <a:lnTo>
                    <a:pt x="23" y="12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56" name="Champagne-Ardenne" descr="© INSCALE GmbH, 05.05.2010&#10;http://www.presentationload.com/">
              <a:extLst>
                <a:ext uri="{FF2B5EF4-FFF2-40B4-BE49-F238E27FC236}">
                  <a16:creationId xmlns:a16="http://schemas.microsoft.com/office/drawing/2014/main" id="{9E18A54C-42EE-4127-B215-ACB5A4BF7B4D}"/>
                </a:ext>
              </a:extLst>
            </p:cNvPr>
            <p:cNvSpPr>
              <a:spLocks/>
            </p:cNvSpPr>
            <p:nvPr/>
          </p:nvSpPr>
          <p:spPr bwMode="gray">
            <a:xfrm>
              <a:off x="2008" y="466"/>
              <a:ext cx="578" cy="893"/>
            </a:xfrm>
            <a:custGeom>
              <a:avLst/>
              <a:gdLst/>
              <a:ahLst/>
              <a:cxnLst>
                <a:cxn ang="0">
                  <a:pos x="514" y="699"/>
                </a:cxn>
                <a:cxn ang="0">
                  <a:pos x="493" y="668"/>
                </a:cxn>
                <a:cxn ang="0">
                  <a:pos x="497" y="623"/>
                </a:cxn>
                <a:cxn ang="0">
                  <a:pos x="465" y="599"/>
                </a:cxn>
                <a:cxn ang="0">
                  <a:pos x="432" y="580"/>
                </a:cxn>
                <a:cxn ang="0">
                  <a:pos x="429" y="563"/>
                </a:cxn>
                <a:cxn ang="0">
                  <a:pos x="381" y="521"/>
                </a:cxn>
                <a:cxn ang="0">
                  <a:pos x="341" y="497"/>
                </a:cxn>
                <a:cxn ang="0">
                  <a:pos x="322" y="425"/>
                </a:cxn>
                <a:cxn ang="0">
                  <a:pos x="333" y="363"/>
                </a:cxn>
                <a:cxn ang="0">
                  <a:pos x="324" y="299"/>
                </a:cxn>
                <a:cxn ang="0">
                  <a:pos x="354" y="240"/>
                </a:cxn>
                <a:cxn ang="0">
                  <a:pos x="365" y="192"/>
                </a:cxn>
                <a:cxn ang="0">
                  <a:pos x="394" y="184"/>
                </a:cxn>
                <a:cxn ang="0">
                  <a:pos x="416" y="161"/>
                </a:cxn>
                <a:cxn ang="0">
                  <a:pos x="351" y="115"/>
                </a:cxn>
                <a:cxn ang="0">
                  <a:pos x="321" y="99"/>
                </a:cxn>
                <a:cxn ang="0">
                  <a:pos x="301" y="55"/>
                </a:cxn>
                <a:cxn ang="0">
                  <a:pos x="320" y="8"/>
                </a:cxn>
                <a:cxn ang="0">
                  <a:pos x="282" y="21"/>
                </a:cxn>
                <a:cxn ang="0">
                  <a:pos x="230" y="63"/>
                </a:cxn>
                <a:cxn ang="0">
                  <a:pos x="175" y="57"/>
                </a:cxn>
                <a:cxn ang="0">
                  <a:pos x="164" y="128"/>
                </a:cxn>
                <a:cxn ang="0">
                  <a:pos x="141" y="177"/>
                </a:cxn>
                <a:cxn ang="0">
                  <a:pos x="129" y="215"/>
                </a:cxn>
                <a:cxn ang="0">
                  <a:pos x="94" y="257"/>
                </a:cxn>
                <a:cxn ang="0">
                  <a:pos x="56" y="301"/>
                </a:cxn>
                <a:cxn ang="0">
                  <a:pos x="42" y="339"/>
                </a:cxn>
                <a:cxn ang="0">
                  <a:pos x="38" y="368"/>
                </a:cxn>
                <a:cxn ang="0">
                  <a:pos x="28" y="409"/>
                </a:cxn>
                <a:cxn ang="0">
                  <a:pos x="17" y="436"/>
                </a:cxn>
                <a:cxn ang="0">
                  <a:pos x="0" y="453"/>
                </a:cxn>
                <a:cxn ang="0">
                  <a:pos x="13" y="496"/>
                </a:cxn>
                <a:cxn ang="0">
                  <a:pos x="26" y="505"/>
                </a:cxn>
                <a:cxn ang="0">
                  <a:pos x="17" y="528"/>
                </a:cxn>
                <a:cxn ang="0">
                  <a:pos x="0" y="549"/>
                </a:cxn>
                <a:cxn ang="0">
                  <a:pos x="14" y="583"/>
                </a:cxn>
                <a:cxn ang="0">
                  <a:pos x="44" y="644"/>
                </a:cxn>
                <a:cxn ang="0">
                  <a:pos x="68" y="653"/>
                </a:cxn>
                <a:cxn ang="0">
                  <a:pos x="76" y="656"/>
                </a:cxn>
                <a:cxn ang="0">
                  <a:pos x="108" y="720"/>
                </a:cxn>
                <a:cxn ang="0">
                  <a:pos x="156" y="723"/>
                </a:cxn>
                <a:cxn ang="0">
                  <a:pos x="173" y="707"/>
                </a:cxn>
                <a:cxn ang="0">
                  <a:pos x="197" y="723"/>
                </a:cxn>
                <a:cxn ang="0">
                  <a:pos x="301" y="691"/>
                </a:cxn>
                <a:cxn ang="0">
                  <a:pos x="318" y="713"/>
                </a:cxn>
                <a:cxn ang="0">
                  <a:pos x="325" y="719"/>
                </a:cxn>
                <a:cxn ang="0">
                  <a:pos x="332" y="767"/>
                </a:cxn>
                <a:cxn ang="0">
                  <a:pos x="353" y="787"/>
                </a:cxn>
                <a:cxn ang="0">
                  <a:pos x="388" y="807"/>
                </a:cxn>
                <a:cxn ang="0">
                  <a:pos x="421" y="816"/>
                </a:cxn>
                <a:cxn ang="0">
                  <a:pos x="468" y="792"/>
                </a:cxn>
                <a:cxn ang="0">
                  <a:pos x="500" y="788"/>
                </a:cxn>
                <a:cxn ang="0">
                  <a:pos x="497" y="747"/>
                </a:cxn>
                <a:cxn ang="0">
                  <a:pos x="525" y="735"/>
                </a:cxn>
                <a:cxn ang="0">
                  <a:pos x="530" y="697"/>
                </a:cxn>
              </a:cxnLst>
              <a:rect l="0" t="0" r="r" b="b"/>
              <a:pathLst>
                <a:path w="536" h="828">
                  <a:moveTo>
                    <a:pt x="530" y="697"/>
                  </a:moveTo>
                  <a:cubicBezTo>
                    <a:pt x="517" y="701"/>
                    <a:pt x="517" y="701"/>
                    <a:pt x="517" y="701"/>
                  </a:cubicBezTo>
                  <a:cubicBezTo>
                    <a:pt x="514" y="699"/>
                    <a:pt x="514" y="699"/>
                    <a:pt x="514" y="699"/>
                  </a:cubicBezTo>
                  <a:cubicBezTo>
                    <a:pt x="514" y="701"/>
                    <a:pt x="514" y="701"/>
                    <a:pt x="514" y="701"/>
                  </a:cubicBezTo>
                  <a:cubicBezTo>
                    <a:pt x="513" y="681"/>
                    <a:pt x="513" y="681"/>
                    <a:pt x="513" y="681"/>
                  </a:cubicBezTo>
                  <a:cubicBezTo>
                    <a:pt x="493" y="668"/>
                    <a:pt x="493" y="668"/>
                    <a:pt x="493" y="668"/>
                  </a:cubicBezTo>
                  <a:cubicBezTo>
                    <a:pt x="476" y="664"/>
                    <a:pt x="476" y="664"/>
                    <a:pt x="476" y="664"/>
                  </a:cubicBezTo>
                  <a:cubicBezTo>
                    <a:pt x="486" y="652"/>
                    <a:pt x="486" y="652"/>
                    <a:pt x="486" y="652"/>
                  </a:cubicBezTo>
                  <a:cubicBezTo>
                    <a:pt x="486" y="652"/>
                    <a:pt x="486" y="628"/>
                    <a:pt x="497" y="623"/>
                  </a:cubicBezTo>
                  <a:cubicBezTo>
                    <a:pt x="490" y="612"/>
                    <a:pt x="490" y="612"/>
                    <a:pt x="490" y="612"/>
                  </a:cubicBezTo>
                  <a:cubicBezTo>
                    <a:pt x="481" y="611"/>
                    <a:pt x="481" y="611"/>
                    <a:pt x="481" y="611"/>
                  </a:cubicBezTo>
                  <a:cubicBezTo>
                    <a:pt x="481" y="611"/>
                    <a:pt x="481" y="588"/>
                    <a:pt x="465" y="599"/>
                  </a:cubicBezTo>
                  <a:cubicBezTo>
                    <a:pt x="452" y="576"/>
                    <a:pt x="452" y="576"/>
                    <a:pt x="452" y="576"/>
                  </a:cubicBezTo>
                  <a:cubicBezTo>
                    <a:pt x="452" y="576"/>
                    <a:pt x="442" y="573"/>
                    <a:pt x="436" y="577"/>
                  </a:cubicBezTo>
                  <a:cubicBezTo>
                    <a:pt x="435" y="579"/>
                    <a:pt x="434" y="581"/>
                    <a:pt x="432" y="580"/>
                  </a:cubicBezTo>
                  <a:cubicBezTo>
                    <a:pt x="433" y="579"/>
                    <a:pt x="434" y="578"/>
                    <a:pt x="436" y="577"/>
                  </a:cubicBezTo>
                  <a:cubicBezTo>
                    <a:pt x="436" y="574"/>
                    <a:pt x="434" y="571"/>
                    <a:pt x="434" y="571"/>
                  </a:cubicBezTo>
                  <a:cubicBezTo>
                    <a:pt x="429" y="563"/>
                    <a:pt x="429" y="563"/>
                    <a:pt x="429" y="563"/>
                  </a:cubicBezTo>
                  <a:cubicBezTo>
                    <a:pt x="441" y="557"/>
                    <a:pt x="441" y="557"/>
                    <a:pt x="441" y="557"/>
                  </a:cubicBezTo>
                  <a:cubicBezTo>
                    <a:pt x="441" y="557"/>
                    <a:pt x="400" y="521"/>
                    <a:pt x="383" y="521"/>
                  </a:cubicBezTo>
                  <a:cubicBezTo>
                    <a:pt x="383" y="522"/>
                    <a:pt x="382" y="522"/>
                    <a:pt x="381" y="521"/>
                  </a:cubicBezTo>
                  <a:cubicBezTo>
                    <a:pt x="382" y="521"/>
                    <a:pt x="382" y="521"/>
                    <a:pt x="383" y="521"/>
                  </a:cubicBezTo>
                  <a:cubicBezTo>
                    <a:pt x="384" y="518"/>
                    <a:pt x="349" y="491"/>
                    <a:pt x="349" y="491"/>
                  </a:cubicBezTo>
                  <a:cubicBezTo>
                    <a:pt x="341" y="497"/>
                    <a:pt x="341" y="497"/>
                    <a:pt x="341" y="497"/>
                  </a:cubicBezTo>
                  <a:cubicBezTo>
                    <a:pt x="342" y="457"/>
                    <a:pt x="342" y="457"/>
                    <a:pt x="342" y="457"/>
                  </a:cubicBezTo>
                  <a:cubicBezTo>
                    <a:pt x="316" y="439"/>
                    <a:pt x="316" y="439"/>
                    <a:pt x="316" y="439"/>
                  </a:cubicBezTo>
                  <a:cubicBezTo>
                    <a:pt x="322" y="425"/>
                    <a:pt x="322" y="425"/>
                    <a:pt x="322" y="425"/>
                  </a:cubicBezTo>
                  <a:cubicBezTo>
                    <a:pt x="320" y="404"/>
                    <a:pt x="320" y="404"/>
                    <a:pt x="320" y="404"/>
                  </a:cubicBezTo>
                  <a:cubicBezTo>
                    <a:pt x="320" y="404"/>
                    <a:pt x="344" y="395"/>
                    <a:pt x="342" y="385"/>
                  </a:cubicBezTo>
                  <a:cubicBezTo>
                    <a:pt x="341" y="376"/>
                    <a:pt x="344" y="357"/>
                    <a:pt x="333" y="363"/>
                  </a:cubicBezTo>
                  <a:cubicBezTo>
                    <a:pt x="336" y="359"/>
                    <a:pt x="320" y="313"/>
                    <a:pt x="320" y="313"/>
                  </a:cubicBezTo>
                  <a:cubicBezTo>
                    <a:pt x="330" y="305"/>
                    <a:pt x="330" y="305"/>
                    <a:pt x="330" y="305"/>
                  </a:cubicBezTo>
                  <a:cubicBezTo>
                    <a:pt x="324" y="299"/>
                    <a:pt x="324" y="299"/>
                    <a:pt x="324" y="299"/>
                  </a:cubicBezTo>
                  <a:cubicBezTo>
                    <a:pt x="341" y="287"/>
                    <a:pt x="341" y="287"/>
                    <a:pt x="341" y="287"/>
                  </a:cubicBezTo>
                  <a:cubicBezTo>
                    <a:pt x="341" y="287"/>
                    <a:pt x="333" y="275"/>
                    <a:pt x="337" y="269"/>
                  </a:cubicBezTo>
                  <a:cubicBezTo>
                    <a:pt x="341" y="264"/>
                    <a:pt x="354" y="240"/>
                    <a:pt x="354" y="240"/>
                  </a:cubicBezTo>
                  <a:cubicBezTo>
                    <a:pt x="354" y="240"/>
                    <a:pt x="354" y="225"/>
                    <a:pt x="342" y="211"/>
                  </a:cubicBezTo>
                  <a:cubicBezTo>
                    <a:pt x="346" y="213"/>
                    <a:pt x="348" y="187"/>
                    <a:pt x="348" y="187"/>
                  </a:cubicBezTo>
                  <a:cubicBezTo>
                    <a:pt x="365" y="192"/>
                    <a:pt x="365" y="192"/>
                    <a:pt x="365" y="192"/>
                  </a:cubicBezTo>
                  <a:cubicBezTo>
                    <a:pt x="374" y="192"/>
                    <a:pt x="374" y="192"/>
                    <a:pt x="374" y="192"/>
                  </a:cubicBezTo>
                  <a:cubicBezTo>
                    <a:pt x="386" y="199"/>
                    <a:pt x="386" y="199"/>
                    <a:pt x="386" y="199"/>
                  </a:cubicBezTo>
                  <a:cubicBezTo>
                    <a:pt x="394" y="184"/>
                    <a:pt x="394" y="184"/>
                    <a:pt x="394" y="184"/>
                  </a:cubicBezTo>
                  <a:cubicBezTo>
                    <a:pt x="408" y="183"/>
                    <a:pt x="408" y="183"/>
                    <a:pt x="408" y="183"/>
                  </a:cubicBezTo>
                  <a:cubicBezTo>
                    <a:pt x="420" y="162"/>
                    <a:pt x="420" y="162"/>
                    <a:pt x="420" y="162"/>
                  </a:cubicBezTo>
                  <a:cubicBezTo>
                    <a:pt x="417" y="162"/>
                    <a:pt x="416" y="161"/>
                    <a:pt x="416" y="161"/>
                  </a:cubicBezTo>
                  <a:cubicBezTo>
                    <a:pt x="420" y="146"/>
                    <a:pt x="412" y="145"/>
                    <a:pt x="412" y="145"/>
                  </a:cubicBezTo>
                  <a:cubicBezTo>
                    <a:pt x="412" y="145"/>
                    <a:pt x="402" y="139"/>
                    <a:pt x="385" y="140"/>
                  </a:cubicBezTo>
                  <a:cubicBezTo>
                    <a:pt x="369" y="118"/>
                    <a:pt x="358" y="115"/>
                    <a:pt x="351" y="115"/>
                  </a:cubicBezTo>
                  <a:cubicBezTo>
                    <a:pt x="346" y="106"/>
                    <a:pt x="344" y="108"/>
                    <a:pt x="334" y="109"/>
                  </a:cubicBezTo>
                  <a:cubicBezTo>
                    <a:pt x="325" y="118"/>
                    <a:pt x="316" y="104"/>
                    <a:pt x="316" y="104"/>
                  </a:cubicBezTo>
                  <a:cubicBezTo>
                    <a:pt x="321" y="99"/>
                    <a:pt x="321" y="99"/>
                    <a:pt x="321" y="99"/>
                  </a:cubicBezTo>
                  <a:cubicBezTo>
                    <a:pt x="321" y="99"/>
                    <a:pt x="319" y="96"/>
                    <a:pt x="315" y="89"/>
                  </a:cubicBezTo>
                  <a:cubicBezTo>
                    <a:pt x="322" y="83"/>
                    <a:pt x="321" y="72"/>
                    <a:pt x="321" y="72"/>
                  </a:cubicBezTo>
                  <a:cubicBezTo>
                    <a:pt x="321" y="72"/>
                    <a:pt x="296" y="57"/>
                    <a:pt x="301" y="55"/>
                  </a:cubicBezTo>
                  <a:cubicBezTo>
                    <a:pt x="306" y="53"/>
                    <a:pt x="311" y="35"/>
                    <a:pt x="311" y="35"/>
                  </a:cubicBezTo>
                  <a:cubicBezTo>
                    <a:pt x="308" y="25"/>
                    <a:pt x="308" y="25"/>
                    <a:pt x="308" y="25"/>
                  </a:cubicBezTo>
                  <a:cubicBezTo>
                    <a:pt x="308" y="25"/>
                    <a:pt x="319" y="13"/>
                    <a:pt x="320" y="8"/>
                  </a:cubicBezTo>
                  <a:cubicBezTo>
                    <a:pt x="321" y="3"/>
                    <a:pt x="311" y="0"/>
                    <a:pt x="303" y="0"/>
                  </a:cubicBezTo>
                  <a:cubicBezTo>
                    <a:pt x="295" y="0"/>
                    <a:pt x="289" y="17"/>
                    <a:pt x="289" y="17"/>
                  </a:cubicBezTo>
                  <a:cubicBezTo>
                    <a:pt x="289" y="17"/>
                    <a:pt x="286" y="17"/>
                    <a:pt x="282" y="21"/>
                  </a:cubicBezTo>
                  <a:cubicBezTo>
                    <a:pt x="278" y="25"/>
                    <a:pt x="280" y="45"/>
                    <a:pt x="279" y="49"/>
                  </a:cubicBezTo>
                  <a:cubicBezTo>
                    <a:pt x="278" y="53"/>
                    <a:pt x="263" y="50"/>
                    <a:pt x="254" y="49"/>
                  </a:cubicBezTo>
                  <a:cubicBezTo>
                    <a:pt x="249" y="63"/>
                    <a:pt x="236" y="63"/>
                    <a:pt x="230" y="63"/>
                  </a:cubicBezTo>
                  <a:cubicBezTo>
                    <a:pt x="224" y="63"/>
                    <a:pt x="207" y="56"/>
                    <a:pt x="199" y="55"/>
                  </a:cubicBezTo>
                  <a:cubicBezTo>
                    <a:pt x="191" y="54"/>
                    <a:pt x="187" y="59"/>
                    <a:pt x="181" y="60"/>
                  </a:cubicBezTo>
                  <a:cubicBezTo>
                    <a:pt x="179" y="61"/>
                    <a:pt x="176" y="59"/>
                    <a:pt x="175" y="57"/>
                  </a:cubicBezTo>
                  <a:cubicBezTo>
                    <a:pt x="174" y="57"/>
                    <a:pt x="174" y="58"/>
                    <a:pt x="174" y="58"/>
                  </a:cubicBezTo>
                  <a:cubicBezTo>
                    <a:pt x="160" y="78"/>
                    <a:pt x="169" y="91"/>
                    <a:pt x="169" y="91"/>
                  </a:cubicBezTo>
                  <a:cubicBezTo>
                    <a:pt x="164" y="128"/>
                    <a:pt x="164" y="128"/>
                    <a:pt x="164" y="128"/>
                  </a:cubicBezTo>
                  <a:cubicBezTo>
                    <a:pt x="170" y="135"/>
                    <a:pt x="170" y="135"/>
                    <a:pt x="170" y="135"/>
                  </a:cubicBezTo>
                  <a:cubicBezTo>
                    <a:pt x="148" y="163"/>
                    <a:pt x="148" y="163"/>
                    <a:pt x="148" y="163"/>
                  </a:cubicBezTo>
                  <a:cubicBezTo>
                    <a:pt x="141" y="177"/>
                    <a:pt x="141" y="177"/>
                    <a:pt x="141" y="177"/>
                  </a:cubicBezTo>
                  <a:cubicBezTo>
                    <a:pt x="125" y="179"/>
                    <a:pt x="125" y="179"/>
                    <a:pt x="125" y="179"/>
                  </a:cubicBezTo>
                  <a:cubicBezTo>
                    <a:pt x="137" y="208"/>
                    <a:pt x="137" y="208"/>
                    <a:pt x="137" y="208"/>
                  </a:cubicBezTo>
                  <a:cubicBezTo>
                    <a:pt x="129" y="215"/>
                    <a:pt x="129" y="215"/>
                    <a:pt x="129" y="215"/>
                  </a:cubicBezTo>
                  <a:cubicBezTo>
                    <a:pt x="129" y="215"/>
                    <a:pt x="134" y="264"/>
                    <a:pt x="129" y="264"/>
                  </a:cubicBezTo>
                  <a:cubicBezTo>
                    <a:pt x="124" y="264"/>
                    <a:pt x="105" y="251"/>
                    <a:pt x="105" y="251"/>
                  </a:cubicBezTo>
                  <a:cubicBezTo>
                    <a:pt x="94" y="257"/>
                    <a:pt x="94" y="257"/>
                    <a:pt x="94" y="257"/>
                  </a:cubicBezTo>
                  <a:cubicBezTo>
                    <a:pt x="94" y="257"/>
                    <a:pt x="93" y="267"/>
                    <a:pt x="89" y="268"/>
                  </a:cubicBezTo>
                  <a:cubicBezTo>
                    <a:pt x="72" y="263"/>
                    <a:pt x="50" y="281"/>
                    <a:pt x="50" y="281"/>
                  </a:cubicBezTo>
                  <a:cubicBezTo>
                    <a:pt x="56" y="301"/>
                    <a:pt x="56" y="301"/>
                    <a:pt x="56" y="301"/>
                  </a:cubicBezTo>
                  <a:cubicBezTo>
                    <a:pt x="50" y="312"/>
                    <a:pt x="50" y="312"/>
                    <a:pt x="50" y="312"/>
                  </a:cubicBezTo>
                  <a:cubicBezTo>
                    <a:pt x="69" y="328"/>
                    <a:pt x="69" y="328"/>
                    <a:pt x="69" y="328"/>
                  </a:cubicBezTo>
                  <a:cubicBezTo>
                    <a:pt x="69" y="328"/>
                    <a:pt x="45" y="333"/>
                    <a:pt x="42" y="339"/>
                  </a:cubicBezTo>
                  <a:cubicBezTo>
                    <a:pt x="40" y="344"/>
                    <a:pt x="48" y="356"/>
                    <a:pt x="48" y="356"/>
                  </a:cubicBezTo>
                  <a:cubicBezTo>
                    <a:pt x="40" y="363"/>
                    <a:pt x="40" y="363"/>
                    <a:pt x="40" y="363"/>
                  </a:cubicBezTo>
                  <a:cubicBezTo>
                    <a:pt x="38" y="368"/>
                    <a:pt x="38" y="368"/>
                    <a:pt x="38" y="368"/>
                  </a:cubicBezTo>
                  <a:cubicBezTo>
                    <a:pt x="38" y="368"/>
                    <a:pt x="50" y="367"/>
                    <a:pt x="57" y="372"/>
                  </a:cubicBezTo>
                  <a:cubicBezTo>
                    <a:pt x="64" y="377"/>
                    <a:pt x="34" y="407"/>
                    <a:pt x="34" y="407"/>
                  </a:cubicBezTo>
                  <a:cubicBezTo>
                    <a:pt x="28" y="409"/>
                    <a:pt x="28" y="409"/>
                    <a:pt x="28" y="409"/>
                  </a:cubicBezTo>
                  <a:cubicBezTo>
                    <a:pt x="18" y="429"/>
                    <a:pt x="18" y="429"/>
                    <a:pt x="18" y="429"/>
                  </a:cubicBezTo>
                  <a:cubicBezTo>
                    <a:pt x="18" y="429"/>
                    <a:pt x="18" y="429"/>
                    <a:pt x="17" y="429"/>
                  </a:cubicBezTo>
                  <a:cubicBezTo>
                    <a:pt x="17" y="436"/>
                    <a:pt x="17" y="436"/>
                    <a:pt x="17" y="436"/>
                  </a:cubicBezTo>
                  <a:cubicBezTo>
                    <a:pt x="1" y="443"/>
                    <a:pt x="1" y="443"/>
                    <a:pt x="1" y="443"/>
                  </a:cubicBezTo>
                  <a:cubicBezTo>
                    <a:pt x="8" y="452"/>
                    <a:pt x="8" y="452"/>
                    <a:pt x="8" y="452"/>
                  </a:cubicBezTo>
                  <a:cubicBezTo>
                    <a:pt x="0" y="453"/>
                    <a:pt x="0" y="453"/>
                    <a:pt x="0" y="453"/>
                  </a:cubicBezTo>
                  <a:cubicBezTo>
                    <a:pt x="0" y="463"/>
                    <a:pt x="0" y="463"/>
                    <a:pt x="0" y="463"/>
                  </a:cubicBezTo>
                  <a:cubicBezTo>
                    <a:pt x="14" y="464"/>
                    <a:pt x="14" y="464"/>
                    <a:pt x="14" y="464"/>
                  </a:cubicBezTo>
                  <a:cubicBezTo>
                    <a:pt x="13" y="496"/>
                    <a:pt x="13" y="496"/>
                    <a:pt x="13" y="496"/>
                  </a:cubicBezTo>
                  <a:cubicBezTo>
                    <a:pt x="29" y="497"/>
                    <a:pt x="29" y="497"/>
                    <a:pt x="29" y="497"/>
                  </a:cubicBezTo>
                  <a:cubicBezTo>
                    <a:pt x="37" y="507"/>
                    <a:pt x="37" y="507"/>
                    <a:pt x="37" y="507"/>
                  </a:cubicBezTo>
                  <a:cubicBezTo>
                    <a:pt x="26" y="505"/>
                    <a:pt x="26" y="505"/>
                    <a:pt x="26" y="505"/>
                  </a:cubicBezTo>
                  <a:cubicBezTo>
                    <a:pt x="25" y="516"/>
                    <a:pt x="25" y="516"/>
                    <a:pt x="25" y="516"/>
                  </a:cubicBezTo>
                  <a:cubicBezTo>
                    <a:pt x="13" y="516"/>
                    <a:pt x="13" y="516"/>
                    <a:pt x="13" y="516"/>
                  </a:cubicBezTo>
                  <a:cubicBezTo>
                    <a:pt x="17" y="528"/>
                    <a:pt x="17" y="528"/>
                    <a:pt x="17" y="528"/>
                  </a:cubicBezTo>
                  <a:cubicBezTo>
                    <a:pt x="2" y="531"/>
                    <a:pt x="2" y="531"/>
                    <a:pt x="2" y="531"/>
                  </a:cubicBezTo>
                  <a:cubicBezTo>
                    <a:pt x="9" y="540"/>
                    <a:pt x="9" y="540"/>
                    <a:pt x="9" y="540"/>
                  </a:cubicBezTo>
                  <a:cubicBezTo>
                    <a:pt x="0" y="549"/>
                    <a:pt x="0" y="549"/>
                    <a:pt x="0" y="549"/>
                  </a:cubicBezTo>
                  <a:cubicBezTo>
                    <a:pt x="4" y="575"/>
                    <a:pt x="4" y="575"/>
                    <a:pt x="4" y="575"/>
                  </a:cubicBezTo>
                  <a:cubicBezTo>
                    <a:pt x="8" y="585"/>
                    <a:pt x="8" y="585"/>
                    <a:pt x="8" y="585"/>
                  </a:cubicBezTo>
                  <a:cubicBezTo>
                    <a:pt x="14" y="583"/>
                    <a:pt x="14" y="583"/>
                    <a:pt x="14" y="583"/>
                  </a:cubicBezTo>
                  <a:cubicBezTo>
                    <a:pt x="14" y="583"/>
                    <a:pt x="41" y="593"/>
                    <a:pt x="41" y="608"/>
                  </a:cubicBezTo>
                  <a:cubicBezTo>
                    <a:pt x="45" y="613"/>
                    <a:pt x="45" y="613"/>
                    <a:pt x="45" y="613"/>
                  </a:cubicBezTo>
                  <a:cubicBezTo>
                    <a:pt x="45" y="613"/>
                    <a:pt x="53" y="635"/>
                    <a:pt x="44" y="644"/>
                  </a:cubicBezTo>
                  <a:cubicBezTo>
                    <a:pt x="53" y="641"/>
                    <a:pt x="53" y="641"/>
                    <a:pt x="53" y="641"/>
                  </a:cubicBezTo>
                  <a:cubicBezTo>
                    <a:pt x="62" y="656"/>
                    <a:pt x="62" y="656"/>
                    <a:pt x="62" y="656"/>
                  </a:cubicBezTo>
                  <a:cubicBezTo>
                    <a:pt x="68" y="653"/>
                    <a:pt x="68" y="653"/>
                    <a:pt x="68" y="653"/>
                  </a:cubicBezTo>
                  <a:cubicBezTo>
                    <a:pt x="68" y="644"/>
                    <a:pt x="68" y="644"/>
                    <a:pt x="68" y="644"/>
                  </a:cubicBezTo>
                  <a:cubicBezTo>
                    <a:pt x="76" y="645"/>
                    <a:pt x="76" y="645"/>
                    <a:pt x="76" y="645"/>
                  </a:cubicBezTo>
                  <a:cubicBezTo>
                    <a:pt x="76" y="656"/>
                    <a:pt x="76" y="656"/>
                    <a:pt x="76" y="656"/>
                  </a:cubicBezTo>
                  <a:cubicBezTo>
                    <a:pt x="76" y="656"/>
                    <a:pt x="85" y="664"/>
                    <a:pt x="94" y="684"/>
                  </a:cubicBezTo>
                  <a:cubicBezTo>
                    <a:pt x="104" y="704"/>
                    <a:pt x="102" y="708"/>
                    <a:pt x="112" y="700"/>
                  </a:cubicBezTo>
                  <a:cubicBezTo>
                    <a:pt x="112" y="703"/>
                    <a:pt x="108" y="720"/>
                    <a:pt x="108" y="720"/>
                  </a:cubicBezTo>
                  <a:cubicBezTo>
                    <a:pt x="142" y="721"/>
                    <a:pt x="142" y="721"/>
                    <a:pt x="142" y="721"/>
                  </a:cubicBezTo>
                  <a:cubicBezTo>
                    <a:pt x="144" y="716"/>
                    <a:pt x="144" y="716"/>
                    <a:pt x="144" y="716"/>
                  </a:cubicBezTo>
                  <a:cubicBezTo>
                    <a:pt x="156" y="723"/>
                    <a:pt x="156" y="723"/>
                    <a:pt x="156" y="723"/>
                  </a:cubicBezTo>
                  <a:cubicBezTo>
                    <a:pt x="169" y="712"/>
                    <a:pt x="169" y="712"/>
                    <a:pt x="169" y="712"/>
                  </a:cubicBezTo>
                  <a:cubicBezTo>
                    <a:pt x="176" y="716"/>
                    <a:pt x="176" y="716"/>
                    <a:pt x="176" y="716"/>
                  </a:cubicBezTo>
                  <a:cubicBezTo>
                    <a:pt x="173" y="707"/>
                    <a:pt x="173" y="707"/>
                    <a:pt x="173" y="707"/>
                  </a:cubicBezTo>
                  <a:cubicBezTo>
                    <a:pt x="182" y="707"/>
                    <a:pt x="182" y="707"/>
                    <a:pt x="182" y="707"/>
                  </a:cubicBezTo>
                  <a:cubicBezTo>
                    <a:pt x="188" y="720"/>
                    <a:pt x="188" y="720"/>
                    <a:pt x="188" y="720"/>
                  </a:cubicBezTo>
                  <a:cubicBezTo>
                    <a:pt x="197" y="723"/>
                    <a:pt x="197" y="723"/>
                    <a:pt x="197" y="723"/>
                  </a:cubicBezTo>
                  <a:cubicBezTo>
                    <a:pt x="197" y="711"/>
                    <a:pt x="197" y="711"/>
                    <a:pt x="197" y="711"/>
                  </a:cubicBezTo>
                  <a:cubicBezTo>
                    <a:pt x="252" y="709"/>
                    <a:pt x="252" y="709"/>
                    <a:pt x="252" y="709"/>
                  </a:cubicBezTo>
                  <a:cubicBezTo>
                    <a:pt x="252" y="709"/>
                    <a:pt x="220" y="675"/>
                    <a:pt x="301" y="691"/>
                  </a:cubicBezTo>
                  <a:cubicBezTo>
                    <a:pt x="300" y="708"/>
                    <a:pt x="300" y="708"/>
                    <a:pt x="300" y="708"/>
                  </a:cubicBezTo>
                  <a:cubicBezTo>
                    <a:pt x="313" y="708"/>
                    <a:pt x="313" y="708"/>
                    <a:pt x="313" y="708"/>
                  </a:cubicBezTo>
                  <a:cubicBezTo>
                    <a:pt x="318" y="713"/>
                    <a:pt x="318" y="713"/>
                    <a:pt x="318" y="713"/>
                  </a:cubicBezTo>
                  <a:cubicBezTo>
                    <a:pt x="312" y="721"/>
                    <a:pt x="312" y="721"/>
                    <a:pt x="312" y="721"/>
                  </a:cubicBezTo>
                  <a:cubicBezTo>
                    <a:pt x="318" y="725"/>
                    <a:pt x="318" y="725"/>
                    <a:pt x="318" y="725"/>
                  </a:cubicBezTo>
                  <a:cubicBezTo>
                    <a:pt x="325" y="719"/>
                    <a:pt x="325" y="719"/>
                    <a:pt x="325" y="719"/>
                  </a:cubicBezTo>
                  <a:cubicBezTo>
                    <a:pt x="325" y="719"/>
                    <a:pt x="336" y="740"/>
                    <a:pt x="342" y="748"/>
                  </a:cubicBezTo>
                  <a:cubicBezTo>
                    <a:pt x="332" y="766"/>
                    <a:pt x="332" y="766"/>
                    <a:pt x="332" y="766"/>
                  </a:cubicBezTo>
                  <a:cubicBezTo>
                    <a:pt x="332" y="767"/>
                    <a:pt x="332" y="767"/>
                    <a:pt x="332" y="767"/>
                  </a:cubicBezTo>
                  <a:cubicBezTo>
                    <a:pt x="341" y="769"/>
                    <a:pt x="341" y="769"/>
                    <a:pt x="341" y="769"/>
                  </a:cubicBezTo>
                  <a:cubicBezTo>
                    <a:pt x="341" y="792"/>
                    <a:pt x="341" y="792"/>
                    <a:pt x="341" y="792"/>
                  </a:cubicBezTo>
                  <a:cubicBezTo>
                    <a:pt x="353" y="787"/>
                    <a:pt x="353" y="787"/>
                    <a:pt x="353" y="787"/>
                  </a:cubicBezTo>
                  <a:cubicBezTo>
                    <a:pt x="353" y="787"/>
                    <a:pt x="365" y="801"/>
                    <a:pt x="374" y="801"/>
                  </a:cubicBezTo>
                  <a:cubicBezTo>
                    <a:pt x="384" y="801"/>
                    <a:pt x="388" y="797"/>
                    <a:pt x="388" y="797"/>
                  </a:cubicBezTo>
                  <a:cubicBezTo>
                    <a:pt x="388" y="807"/>
                    <a:pt x="388" y="807"/>
                    <a:pt x="388" y="807"/>
                  </a:cubicBezTo>
                  <a:cubicBezTo>
                    <a:pt x="404" y="815"/>
                    <a:pt x="404" y="815"/>
                    <a:pt x="404" y="815"/>
                  </a:cubicBezTo>
                  <a:cubicBezTo>
                    <a:pt x="404" y="828"/>
                    <a:pt x="404" y="828"/>
                    <a:pt x="404" y="828"/>
                  </a:cubicBezTo>
                  <a:cubicBezTo>
                    <a:pt x="421" y="816"/>
                    <a:pt x="421" y="816"/>
                    <a:pt x="421" y="816"/>
                  </a:cubicBezTo>
                  <a:cubicBezTo>
                    <a:pt x="421" y="816"/>
                    <a:pt x="426" y="819"/>
                    <a:pt x="430" y="819"/>
                  </a:cubicBezTo>
                  <a:cubicBezTo>
                    <a:pt x="434" y="819"/>
                    <a:pt x="438" y="791"/>
                    <a:pt x="438" y="791"/>
                  </a:cubicBezTo>
                  <a:cubicBezTo>
                    <a:pt x="468" y="792"/>
                    <a:pt x="468" y="792"/>
                    <a:pt x="468" y="792"/>
                  </a:cubicBezTo>
                  <a:cubicBezTo>
                    <a:pt x="469" y="785"/>
                    <a:pt x="469" y="785"/>
                    <a:pt x="469" y="785"/>
                  </a:cubicBezTo>
                  <a:cubicBezTo>
                    <a:pt x="481" y="793"/>
                    <a:pt x="481" y="793"/>
                    <a:pt x="481" y="793"/>
                  </a:cubicBezTo>
                  <a:cubicBezTo>
                    <a:pt x="500" y="788"/>
                    <a:pt x="500" y="788"/>
                    <a:pt x="500" y="788"/>
                  </a:cubicBezTo>
                  <a:cubicBezTo>
                    <a:pt x="502" y="757"/>
                    <a:pt x="502" y="757"/>
                    <a:pt x="502" y="757"/>
                  </a:cubicBezTo>
                  <a:cubicBezTo>
                    <a:pt x="492" y="757"/>
                    <a:pt x="492" y="757"/>
                    <a:pt x="492" y="757"/>
                  </a:cubicBezTo>
                  <a:cubicBezTo>
                    <a:pt x="497" y="747"/>
                    <a:pt x="497" y="747"/>
                    <a:pt x="497" y="747"/>
                  </a:cubicBezTo>
                  <a:cubicBezTo>
                    <a:pt x="505" y="748"/>
                    <a:pt x="505" y="748"/>
                    <a:pt x="505" y="748"/>
                  </a:cubicBezTo>
                  <a:cubicBezTo>
                    <a:pt x="512" y="733"/>
                    <a:pt x="512" y="733"/>
                    <a:pt x="512" y="733"/>
                  </a:cubicBezTo>
                  <a:cubicBezTo>
                    <a:pt x="525" y="735"/>
                    <a:pt x="525" y="735"/>
                    <a:pt x="525" y="735"/>
                  </a:cubicBezTo>
                  <a:cubicBezTo>
                    <a:pt x="528" y="720"/>
                    <a:pt x="528" y="720"/>
                    <a:pt x="528" y="720"/>
                  </a:cubicBezTo>
                  <a:cubicBezTo>
                    <a:pt x="536" y="715"/>
                    <a:pt x="536" y="715"/>
                    <a:pt x="536" y="715"/>
                  </a:cubicBezTo>
                  <a:lnTo>
                    <a:pt x="530" y="697"/>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57" name="Lorraine" descr="© INSCALE GmbH, 05.05.2010&#10;http://www.presentationload.com/">
              <a:extLst>
                <a:ext uri="{FF2B5EF4-FFF2-40B4-BE49-F238E27FC236}">
                  <a16:creationId xmlns:a16="http://schemas.microsoft.com/office/drawing/2014/main" id="{F8BBEA20-C2AC-48B5-9522-B4B8B3C9CFDD}"/>
                </a:ext>
              </a:extLst>
            </p:cNvPr>
            <p:cNvSpPr>
              <a:spLocks/>
            </p:cNvSpPr>
            <p:nvPr/>
          </p:nvSpPr>
          <p:spPr bwMode="gray">
            <a:xfrm>
              <a:off x="2349" y="641"/>
              <a:ext cx="619" cy="618"/>
            </a:xfrm>
            <a:custGeom>
              <a:avLst/>
              <a:gdLst/>
              <a:ahLst/>
              <a:cxnLst>
                <a:cxn ang="0">
                  <a:pos x="552" y="140"/>
                </a:cxn>
                <a:cxn ang="0">
                  <a:pos x="524" y="152"/>
                </a:cxn>
                <a:cxn ang="0">
                  <a:pos x="482" y="143"/>
                </a:cxn>
                <a:cxn ang="0">
                  <a:pos x="464" y="142"/>
                </a:cxn>
                <a:cxn ang="0">
                  <a:pos x="429" y="124"/>
                </a:cxn>
                <a:cxn ang="0">
                  <a:pos x="423" y="143"/>
                </a:cxn>
                <a:cxn ang="0">
                  <a:pos x="395" y="131"/>
                </a:cxn>
                <a:cxn ang="0">
                  <a:pos x="388" y="114"/>
                </a:cxn>
                <a:cxn ang="0">
                  <a:pos x="365" y="84"/>
                </a:cxn>
                <a:cxn ang="0">
                  <a:pos x="368" y="71"/>
                </a:cxn>
                <a:cxn ang="0">
                  <a:pos x="333" y="43"/>
                </a:cxn>
                <a:cxn ang="0">
                  <a:pos x="281" y="38"/>
                </a:cxn>
                <a:cxn ang="0">
                  <a:pos x="233" y="36"/>
                </a:cxn>
                <a:cxn ang="0">
                  <a:pos x="191" y="20"/>
                </a:cxn>
                <a:cxn ang="0">
                  <a:pos x="165" y="33"/>
                </a:cxn>
                <a:cxn ang="0">
                  <a:pos x="128" y="21"/>
                </a:cxn>
                <a:cxn ang="0">
                  <a:pos x="92" y="21"/>
                </a:cxn>
                <a:cxn ang="0">
                  <a:pos x="70" y="37"/>
                </a:cxn>
                <a:cxn ang="0">
                  <a:pos x="49" y="30"/>
                </a:cxn>
                <a:cxn ang="0">
                  <a:pos x="26" y="49"/>
                </a:cxn>
                <a:cxn ang="0">
                  <a:pos x="21" y="107"/>
                </a:cxn>
                <a:cxn ang="0">
                  <a:pos x="8" y="137"/>
                </a:cxn>
                <a:cxn ang="0">
                  <a:pos x="4" y="151"/>
                </a:cxn>
                <a:cxn ang="0">
                  <a:pos x="26" y="223"/>
                </a:cxn>
                <a:cxn ang="0">
                  <a:pos x="6" y="263"/>
                </a:cxn>
                <a:cxn ang="0">
                  <a:pos x="26" y="295"/>
                </a:cxn>
                <a:cxn ang="0">
                  <a:pos x="33" y="329"/>
                </a:cxn>
                <a:cxn ang="0">
                  <a:pos x="125" y="395"/>
                </a:cxn>
                <a:cxn ang="0">
                  <a:pos x="118" y="409"/>
                </a:cxn>
                <a:cxn ang="0">
                  <a:pos x="136" y="414"/>
                </a:cxn>
                <a:cxn ang="0">
                  <a:pos x="165" y="449"/>
                </a:cxn>
                <a:cxn ang="0">
                  <a:pos x="181" y="461"/>
                </a:cxn>
                <a:cxn ang="0">
                  <a:pos x="160" y="502"/>
                </a:cxn>
                <a:cxn ang="0">
                  <a:pos x="197" y="519"/>
                </a:cxn>
                <a:cxn ang="0">
                  <a:pos x="201" y="539"/>
                </a:cxn>
                <a:cxn ang="0">
                  <a:pos x="217" y="544"/>
                </a:cxn>
                <a:cxn ang="0">
                  <a:pos x="234" y="534"/>
                </a:cxn>
                <a:cxn ang="0">
                  <a:pos x="244" y="537"/>
                </a:cxn>
                <a:cxn ang="0">
                  <a:pos x="274" y="517"/>
                </a:cxn>
                <a:cxn ang="0">
                  <a:pos x="286" y="534"/>
                </a:cxn>
                <a:cxn ang="0">
                  <a:pos x="337" y="537"/>
                </a:cxn>
                <a:cxn ang="0">
                  <a:pos x="372" y="537"/>
                </a:cxn>
                <a:cxn ang="0">
                  <a:pos x="414" y="562"/>
                </a:cxn>
                <a:cxn ang="0">
                  <a:pos x="442" y="559"/>
                </a:cxn>
                <a:cxn ang="0">
                  <a:pos x="441" y="545"/>
                </a:cxn>
                <a:cxn ang="0">
                  <a:pos x="472" y="470"/>
                </a:cxn>
                <a:cxn ang="0">
                  <a:pos x="490" y="411"/>
                </a:cxn>
                <a:cxn ang="0">
                  <a:pos x="469" y="399"/>
                </a:cxn>
                <a:cxn ang="0">
                  <a:pos x="458" y="343"/>
                </a:cxn>
                <a:cxn ang="0">
                  <a:pos x="508" y="299"/>
                </a:cxn>
                <a:cxn ang="0">
                  <a:pos x="477" y="242"/>
                </a:cxn>
                <a:cxn ang="0">
                  <a:pos x="449" y="243"/>
                </a:cxn>
                <a:cxn ang="0">
                  <a:pos x="429" y="223"/>
                </a:cxn>
                <a:cxn ang="0">
                  <a:pos x="450" y="166"/>
                </a:cxn>
                <a:cxn ang="0">
                  <a:pos x="465" y="189"/>
                </a:cxn>
                <a:cxn ang="0">
                  <a:pos x="533" y="197"/>
                </a:cxn>
                <a:cxn ang="0">
                  <a:pos x="563" y="150"/>
                </a:cxn>
              </a:cxnLst>
              <a:rect l="0" t="0" r="r" b="b"/>
              <a:pathLst>
                <a:path w="574" h="573">
                  <a:moveTo>
                    <a:pt x="563" y="150"/>
                  </a:moveTo>
                  <a:cubicBezTo>
                    <a:pt x="569" y="145"/>
                    <a:pt x="561" y="142"/>
                    <a:pt x="552" y="140"/>
                  </a:cubicBezTo>
                  <a:cubicBezTo>
                    <a:pt x="542" y="130"/>
                    <a:pt x="536" y="147"/>
                    <a:pt x="536" y="147"/>
                  </a:cubicBezTo>
                  <a:cubicBezTo>
                    <a:pt x="524" y="152"/>
                    <a:pt x="524" y="152"/>
                    <a:pt x="524" y="152"/>
                  </a:cubicBezTo>
                  <a:cubicBezTo>
                    <a:pt x="489" y="154"/>
                    <a:pt x="489" y="154"/>
                    <a:pt x="489" y="154"/>
                  </a:cubicBezTo>
                  <a:cubicBezTo>
                    <a:pt x="482" y="143"/>
                    <a:pt x="482" y="143"/>
                    <a:pt x="482" y="143"/>
                  </a:cubicBezTo>
                  <a:cubicBezTo>
                    <a:pt x="471" y="154"/>
                    <a:pt x="471" y="154"/>
                    <a:pt x="471" y="154"/>
                  </a:cubicBezTo>
                  <a:cubicBezTo>
                    <a:pt x="464" y="142"/>
                    <a:pt x="464" y="142"/>
                    <a:pt x="464" y="142"/>
                  </a:cubicBezTo>
                  <a:cubicBezTo>
                    <a:pt x="464" y="122"/>
                    <a:pt x="438" y="126"/>
                    <a:pt x="438" y="126"/>
                  </a:cubicBezTo>
                  <a:cubicBezTo>
                    <a:pt x="429" y="124"/>
                    <a:pt x="429" y="124"/>
                    <a:pt x="429" y="124"/>
                  </a:cubicBezTo>
                  <a:cubicBezTo>
                    <a:pt x="431" y="135"/>
                    <a:pt x="431" y="135"/>
                    <a:pt x="431" y="135"/>
                  </a:cubicBezTo>
                  <a:cubicBezTo>
                    <a:pt x="423" y="143"/>
                    <a:pt x="423" y="143"/>
                    <a:pt x="423" y="143"/>
                  </a:cubicBezTo>
                  <a:cubicBezTo>
                    <a:pt x="419" y="140"/>
                    <a:pt x="419" y="140"/>
                    <a:pt x="419" y="140"/>
                  </a:cubicBezTo>
                  <a:cubicBezTo>
                    <a:pt x="397" y="145"/>
                    <a:pt x="395" y="131"/>
                    <a:pt x="395" y="131"/>
                  </a:cubicBezTo>
                  <a:cubicBezTo>
                    <a:pt x="403" y="125"/>
                    <a:pt x="397" y="121"/>
                    <a:pt x="397" y="121"/>
                  </a:cubicBezTo>
                  <a:cubicBezTo>
                    <a:pt x="392" y="126"/>
                    <a:pt x="388" y="114"/>
                    <a:pt x="388" y="114"/>
                  </a:cubicBezTo>
                  <a:cubicBezTo>
                    <a:pt x="389" y="107"/>
                    <a:pt x="377" y="99"/>
                    <a:pt x="370" y="96"/>
                  </a:cubicBezTo>
                  <a:cubicBezTo>
                    <a:pt x="370" y="88"/>
                    <a:pt x="365" y="84"/>
                    <a:pt x="365" y="84"/>
                  </a:cubicBezTo>
                  <a:cubicBezTo>
                    <a:pt x="371" y="79"/>
                    <a:pt x="371" y="79"/>
                    <a:pt x="371" y="79"/>
                  </a:cubicBezTo>
                  <a:cubicBezTo>
                    <a:pt x="368" y="71"/>
                    <a:pt x="368" y="71"/>
                    <a:pt x="368" y="71"/>
                  </a:cubicBezTo>
                  <a:cubicBezTo>
                    <a:pt x="361" y="71"/>
                    <a:pt x="358" y="59"/>
                    <a:pt x="358" y="59"/>
                  </a:cubicBezTo>
                  <a:cubicBezTo>
                    <a:pt x="333" y="43"/>
                    <a:pt x="333" y="43"/>
                    <a:pt x="333" y="43"/>
                  </a:cubicBezTo>
                  <a:cubicBezTo>
                    <a:pt x="317" y="61"/>
                    <a:pt x="297" y="38"/>
                    <a:pt x="297" y="38"/>
                  </a:cubicBezTo>
                  <a:cubicBezTo>
                    <a:pt x="297" y="38"/>
                    <a:pt x="297" y="38"/>
                    <a:pt x="281" y="38"/>
                  </a:cubicBezTo>
                  <a:cubicBezTo>
                    <a:pt x="272" y="54"/>
                    <a:pt x="245" y="52"/>
                    <a:pt x="243" y="48"/>
                  </a:cubicBezTo>
                  <a:cubicBezTo>
                    <a:pt x="241" y="44"/>
                    <a:pt x="233" y="36"/>
                    <a:pt x="233" y="36"/>
                  </a:cubicBezTo>
                  <a:cubicBezTo>
                    <a:pt x="233" y="36"/>
                    <a:pt x="223" y="33"/>
                    <a:pt x="212" y="31"/>
                  </a:cubicBezTo>
                  <a:cubicBezTo>
                    <a:pt x="206" y="20"/>
                    <a:pt x="191" y="20"/>
                    <a:pt x="191" y="20"/>
                  </a:cubicBezTo>
                  <a:cubicBezTo>
                    <a:pt x="175" y="19"/>
                    <a:pt x="175" y="19"/>
                    <a:pt x="175" y="19"/>
                  </a:cubicBezTo>
                  <a:cubicBezTo>
                    <a:pt x="165" y="33"/>
                    <a:pt x="165" y="33"/>
                    <a:pt x="165" y="33"/>
                  </a:cubicBezTo>
                  <a:cubicBezTo>
                    <a:pt x="165" y="33"/>
                    <a:pt x="162" y="29"/>
                    <a:pt x="145" y="30"/>
                  </a:cubicBezTo>
                  <a:cubicBezTo>
                    <a:pt x="126" y="45"/>
                    <a:pt x="129" y="24"/>
                    <a:pt x="128" y="21"/>
                  </a:cubicBezTo>
                  <a:cubicBezTo>
                    <a:pt x="128" y="5"/>
                    <a:pt x="111" y="1"/>
                    <a:pt x="104" y="0"/>
                  </a:cubicBezTo>
                  <a:cubicBezTo>
                    <a:pt x="92" y="21"/>
                    <a:pt x="92" y="21"/>
                    <a:pt x="92" y="21"/>
                  </a:cubicBezTo>
                  <a:cubicBezTo>
                    <a:pt x="78" y="22"/>
                    <a:pt x="78" y="22"/>
                    <a:pt x="78" y="22"/>
                  </a:cubicBezTo>
                  <a:cubicBezTo>
                    <a:pt x="70" y="37"/>
                    <a:pt x="70" y="37"/>
                    <a:pt x="70" y="37"/>
                  </a:cubicBezTo>
                  <a:cubicBezTo>
                    <a:pt x="58" y="30"/>
                    <a:pt x="58" y="30"/>
                    <a:pt x="58" y="30"/>
                  </a:cubicBezTo>
                  <a:cubicBezTo>
                    <a:pt x="49" y="30"/>
                    <a:pt x="49" y="30"/>
                    <a:pt x="49" y="30"/>
                  </a:cubicBezTo>
                  <a:cubicBezTo>
                    <a:pt x="32" y="25"/>
                    <a:pt x="32" y="25"/>
                    <a:pt x="32" y="25"/>
                  </a:cubicBezTo>
                  <a:cubicBezTo>
                    <a:pt x="32" y="25"/>
                    <a:pt x="30" y="51"/>
                    <a:pt x="26" y="49"/>
                  </a:cubicBezTo>
                  <a:cubicBezTo>
                    <a:pt x="38" y="63"/>
                    <a:pt x="38" y="78"/>
                    <a:pt x="38" y="78"/>
                  </a:cubicBezTo>
                  <a:cubicBezTo>
                    <a:pt x="38" y="78"/>
                    <a:pt x="25" y="102"/>
                    <a:pt x="21" y="107"/>
                  </a:cubicBezTo>
                  <a:cubicBezTo>
                    <a:pt x="17" y="113"/>
                    <a:pt x="25" y="125"/>
                    <a:pt x="25" y="125"/>
                  </a:cubicBezTo>
                  <a:cubicBezTo>
                    <a:pt x="8" y="137"/>
                    <a:pt x="8" y="137"/>
                    <a:pt x="8" y="137"/>
                  </a:cubicBezTo>
                  <a:cubicBezTo>
                    <a:pt x="14" y="143"/>
                    <a:pt x="14" y="143"/>
                    <a:pt x="14" y="143"/>
                  </a:cubicBezTo>
                  <a:cubicBezTo>
                    <a:pt x="4" y="151"/>
                    <a:pt x="4" y="151"/>
                    <a:pt x="4" y="151"/>
                  </a:cubicBezTo>
                  <a:cubicBezTo>
                    <a:pt x="4" y="151"/>
                    <a:pt x="20" y="197"/>
                    <a:pt x="17" y="201"/>
                  </a:cubicBezTo>
                  <a:cubicBezTo>
                    <a:pt x="28" y="195"/>
                    <a:pt x="25" y="214"/>
                    <a:pt x="26" y="223"/>
                  </a:cubicBezTo>
                  <a:cubicBezTo>
                    <a:pt x="28" y="233"/>
                    <a:pt x="4" y="242"/>
                    <a:pt x="4" y="242"/>
                  </a:cubicBezTo>
                  <a:cubicBezTo>
                    <a:pt x="6" y="263"/>
                    <a:pt x="6" y="263"/>
                    <a:pt x="6" y="263"/>
                  </a:cubicBezTo>
                  <a:cubicBezTo>
                    <a:pt x="0" y="277"/>
                    <a:pt x="0" y="277"/>
                    <a:pt x="0" y="277"/>
                  </a:cubicBezTo>
                  <a:cubicBezTo>
                    <a:pt x="26" y="295"/>
                    <a:pt x="26" y="295"/>
                    <a:pt x="26" y="295"/>
                  </a:cubicBezTo>
                  <a:cubicBezTo>
                    <a:pt x="25" y="335"/>
                    <a:pt x="25" y="335"/>
                    <a:pt x="25" y="335"/>
                  </a:cubicBezTo>
                  <a:cubicBezTo>
                    <a:pt x="33" y="329"/>
                    <a:pt x="33" y="329"/>
                    <a:pt x="33" y="329"/>
                  </a:cubicBezTo>
                  <a:cubicBezTo>
                    <a:pt x="33" y="329"/>
                    <a:pt x="68" y="356"/>
                    <a:pt x="67" y="359"/>
                  </a:cubicBezTo>
                  <a:cubicBezTo>
                    <a:pt x="84" y="359"/>
                    <a:pt x="125" y="395"/>
                    <a:pt x="125" y="395"/>
                  </a:cubicBezTo>
                  <a:cubicBezTo>
                    <a:pt x="113" y="401"/>
                    <a:pt x="113" y="401"/>
                    <a:pt x="113" y="401"/>
                  </a:cubicBezTo>
                  <a:cubicBezTo>
                    <a:pt x="118" y="409"/>
                    <a:pt x="118" y="409"/>
                    <a:pt x="118" y="409"/>
                  </a:cubicBezTo>
                  <a:cubicBezTo>
                    <a:pt x="118" y="409"/>
                    <a:pt x="120" y="412"/>
                    <a:pt x="120" y="415"/>
                  </a:cubicBezTo>
                  <a:cubicBezTo>
                    <a:pt x="126" y="411"/>
                    <a:pt x="136" y="414"/>
                    <a:pt x="136" y="414"/>
                  </a:cubicBezTo>
                  <a:cubicBezTo>
                    <a:pt x="149" y="437"/>
                    <a:pt x="149" y="437"/>
                    <a:pt x="149" y="437"/>
                  </a:cubicBezTo>
                  <a:cubicBezTo>
                    <a:pt x="165" y="426"/>
                    <a:pt x="165" y="449"/>
                    <a:pt x="165" y="449"/>
                  </a:cubicBezTo>
                  <a:cubicBezTo>
                    <a:pt x="174" y="450"/>
                    <a:pt x="174" y="450"/>
                    <a:pt x="174" y="450"/>
                  </a:cubicBezTo>
                  <a:cubicBezTo>
                    <a:pt x="181" y="461"/>
                    <a:pt x="181" y="461"/>
                    <a:pt x="181" y="461"/>
                  </a:cubicBezTo>
                  <a:cubicBezTo>
                    <a:pt x="170" y="466"/>
                    <a:pt x="170" y="490"/>
                    <a:pt x="170" y="490"/>
                  </a:cubicBezTo>
                  <a:cubicBezTo>
                    <a:pt x="160" y="502"/>
                    <a:pt x="160" y="502"/>
                    <a:pt x="160" y="502"/>
                  </a:cubicBezTo>
                  <a:cubicBezTo>
                    <a:pt x="177" y="506"/>
                    <a:pt x="177" y="506"/>
                    <a:pt x="177" y="506"/>
                  </a:cubicBezTo>
                  <a:cubicBezTo>
                    <a:pt x="197" y="519"/>
                    <a:pt x="197" y="519"/>
                    <a:pt x="197" y="519"/>
                  </a:cubicBezTo>
                  <a:cubicBezTo>
                    <a:pt x="198" y="537"/>
                    <a:pt x="198" y="537"/>
                    <a:pt x="198" y="537"/>
                  </a:cubicBezTo>
                  <a:cubicBezTo>
                    <a:pt x="201" y="539"/>
                    <a:pt x="201" y="539"/>
                    <a:pt x="201" y="539"/>
                  </a:cubicBezTo>
                  <a:cubicBezTo>
                    <a:pt x="214" y="547"/>
                    <a:pt x="214" y="547"/>
                    <a:pt x="214" y="547"/>
                  </a:cubicBezTo>
                  <a:cubicBezTo>
                    <a:pt x="217" y="544"/>
                    <a:pt x="217" y="544"/>
                    <a:pt x="217" y="544"/>
                  </a:cubicBezTo>
                  <a:cubicBezTo>
                    <a:pt x="224" y="533"/>
                    <a:pt x="224" y="533"/>
                    <a:pt x="224" y="533"/>
                  </a:cubicBezTo>
                  <a:cubicBezTo>
                    <a:pt x="234" y="534"/>
                    <a:pt x="234" y="534"/>
                    <a:pt x="234" y="534"/>
                  </a:cubicBezTo>
                  <a:cubicBezTo>
                    <a:pt x="230" y="543"/>
                    <a:pt x="230" y="543"/>
                    <a:pt x="230" y="543"/>
                  </a:cubicBezTo>
                  <a:cubicBezTo>
                    <a:pt x="244" y="537"/>
                    <a:pt x="244" y="537"/>
                    <a:pt x="244" y="537"/>
                  </a:cubicBezTo>
                  <a:cubicBezTo>
                    <a:pt x="249" y="523"/>
                    <a:pt x="249" y="523"/>
                    <a:pt x="249" y="523"/>
                  </a:cubicBezTo>
                  <a:cubicBezTo>
                    <a:pt x="274" y="517"/>
                    <a:pt x="274" y="517"/>
                    <a:pt x="274" y="517"/>
                  </a:cubicBezTo>
                  <a:cubicBezTo>
                    <a:pt x="273" y="533"/>
                    <a:pt x="273" y="533"/>
                    <a:pt x="273" y="533"/>
                  </a:cubicBezTo>
                  <a:cubicBezTo>
                    <a:pt x="286" y="534"/>
                    <a:pt x="286" y="534"/>
                    <a:pt x="286" y="534"/>
                  </a:cubicBezTo>
                  <a:cubicBezTo>
                    <a:pt x="285" y="543"/>
                    <a:pt x="285" y="543"/>
                    <a:pt x="285" y="543"/>
                  </a:cubicBezTo>
                  <a:cubicBezTo>
                    <a:pt x="285" y="543"/>
                    <a:pt x="333" y="526"/>
                    <a:pt x="337" y="537"/>
                  </a:cubicBezTo>
                  <a:cubicBezTo>
                    <a:pt x="341" y="547"/>
                    <a:pt x="346" y="554"/>
                    <a:pt x="346" y="554"/>
                  </a:cubicBezTo>
                  <a:cubicBezTo>
                    <a:pt x="372" y="537"/>
                    <a:pt x="372" y="537"/>
                    <a:pt x="372" y="537"/>
                  </a:cubicBezTo>
                  <a:cubicBezTo>
                    <a:pt x="381" y="549"/>
                    <a:pt x="381" y="549"/>
                    <a:pt x="381" y="549"/>
                  </a:cubicBezTo>
                  <a:cubicBezTo>
                    <a:pt x="414" y="562"/>
                    <a:pt x="414" y="562"/>
                    <a:pt x="414" y="562"/>
                  </a:cubicBezTo>
                  <a:cubicBezTo>
                    <a:pt x="414" y="562"/>
                    <a:pt x="422" y="573"/>
                    <a:pt x="428" y="570"/>
                  </a:cubicBezTo>
                  <a:cubicBezTo>
                    <a:pt x="433" y="567"/>
                    <a:pt x="442" y="559"/>
                    <a:pt x="442" y="559"/>
                  </a:cubicBezTo>
                  <a:cubicBezTo>
                    <a:pt x="437" y="550"/>
                    <a:pt x="437" y="550"/>
                    <a:pt x="437" y="550"/>
                  </a:cubicBezTo>
                  <a:cubicBezTo>
                    <a:pt x="441" y="545"/>
                    <a:pt x="441" y="545"/>
                    <a:pt x="441" y="545"/>
                  </a:cubicBezTo>
                  <a:cubicBezTo>
                    <a:pt x="442" y="514"/>
                    <a:pt x="442" y="514"/>
                    <a:pt x="442" y="514"/>
                  </a:cubicBezTo>
                  <a:cubicBezTo>
                    <a:pt x="442" y="514"/>
                    <a:pt x="460" y="511"/>
                    <a:pt x="472" y="470"/>
                  </a:cubicBezTo>
                  <a:cubicBezTo>
                    <a:pt x="476" y="470"/>
                    <a:pt x="469" y="466"/>
                    <a:pt x="469" y="466"/>
                  </a:cubicBezTo>
                  <a:cubicBezTo>
                    <a:pt x="490" y="411"/>
                    <a:pt x="490" y="411"/>
                    <a:pt x="490" y="411"/>
                  </a:cubicBezTo>
                  <a:cubicBezTo>
                    <a:pt x="489" y="402"/>
                    <a:pt x="489" y="402"/>
                    <a:pt x="489" y="402"/>
                  </a:cubicBezTo>
                  <a:cubicBezTo>
                    <a:pt x="489" y="402"/>
                    <a:pt x="469" y="411"/>
                    <a:pt x="469" y="399"/>
                  </a:cubicBezTo>
                  <a:cubicBezTo>
                    <a:pt x="469" y="387"/>
                    <a:pt x="472" y="349"/>
                    <a:pt x="472" y="349"/>
                  </a:cubicBezTo>
                  <a:cubicBezTo>
                    <a:pt x="458" y="343"/>
                    <a:pt x="458" y="343"/>
                    <a:pt x="458" y="343"/>
                  </a:cubicBezTo>
                  <a:cubicBezTo>
                    <a:pt x="480" y="338"/>
                    <a:pt x="480" y="338"/>
                    <a:pt x="480" y="338"/>
                  </a:cubicBezTo>
                  <a:cubicBezTo>
                    <a:pt x="480" y="338"/>
                    <a:pt x="505" y="337"/>
                    <a:pt x="508" y="299"/>
                  </a:cubicBezTo>
                  <a:cubicBezTo>
                    <a:pt x="506" y="304"/>
                    <a:pt x="487" y="294"/>
                    <a:pt x="505" y="262"/>
                  </a:cubicBezTo>
                  <a:cubicBezTo>
                    <a:pt x="502" y="260"/>
                    <a:pt x="483" y="244"/>
                    <a:pt x="477" y="242"/>
                  </a:cubicBezTo>
                  <a:cubicBezTo>
                    <a:pt x="470" y="239"/>
                    <a:pt x="457" y="258"/>
                    <a:pt x="457" y="258"/>
                  </a:cubicBezTo>
                  <a:cubicBezTo>
                    <a:pt x="449" y="243"/>
                    <a:pt x="449" y="243"/>
                    <a:pt x="449" y="243"/>
                  </a:cubicBezTo>
                  <a:cubicBezTo>
                    <a:pt x="457" y="233"/>
                    <a:pt x="457" y="233"/>
                    <a:pt x="457" y="233"/>
                  </a:cubicBezTo>
                  <a:cubicBezTo>
                    <a:pt x="429" y="223"/>
                    <a:pt x="429" y="223"/>
                    <a:pt x="429" y="223"/>
                  </a:cubicBezTo>
                  <a:cubicBezTo>
                    <a:pt x="429" y="223"/>
                    <a:pt x="434" y="203"/>
                    <a:pt x="444" y="205"/>
                  </a:cubicBezTo>
                  <a:cubicBezTo>
                    <a:pt x="450" y="166"/>
                    <a:pt x="450" y="166"/>
                    <a:pt x="450" y="166"/>
                  </a:cubicBezTo>
                  <a:cubicBezTo>
                    <a:pt x="456" y="167"/>
                    <a:pt x="456" y="167"/>
                    <a:pt x="456" y="167"/>
                  </a:cubicBezTo>
                  <a:cubicBezTo>
                    <a:pt x="465" y="189"/>
                    <a:pt x="465" y="189"/>
                    <a:pt x="465" y="189"/>
                  </a:cubicBezTo>
                  <a:cubicBezTo>
                    <a:pt x="493" y="193"/>
                    <a:pt x="493" y="193"/>
                    <a:pt x="493" y="193"/>
                  </a:cubicBezTo>
                  <a:cubicBezTo>
                    <a:pt x="493" y="193"/>
                    <a:pt x="498" y="217"/>
                    <a:pt x="533" y="197"/>
                  </a:cubicBezTo>
                  <a:cubicBezTo>
                    <a:pt x="533" y="197"/>
                    <a:pt x="553" y="229"/>
                    <a:pt x="574" y="164"/>
                  </a:cubicBezTo>
                  <a:lnTo>
                    <a:pt x="563" y="15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58" name="Alsace" descr="© INSCALE GmbH, 05.05.2010&#10;http://www.presentationload.com/">
              <a:extLst>
                <a:ext uri="{FF2B5EF4-FFF2-40B4-BE49-F238E27FC236}">
                  <a16:creationId xmlns:a16="http://schemas.microsoft.com/office/drawing/2014/main" id="{19139D49-E930-4A86-8513-8DB635DA12B4}"/>
                </a:ext>
              </a:extLst>
            </p:cNvPr>
            <p:cNvSpPr>
              <a:spLocks/>
            </p:cNvSpPr>
            <p:nvPr/>
          </p:nvSpPr>
          <p:spPr bwMode="gray">
            <a:xfrm>
              <a:off x="2808" y="818"/>
              <a:ext cx="317" cy="567"/>
            </a:xfrm>
            <a:custGeom>
              <a:avLst/>
              <a:gdLst/>
              <a:ahLst/>
              <a:cxnLst>
                <a:cxn ang="0">
                  <a:pos x="271" y="35"/>
                </a:cxn>
                <a:cxn ang="0">
                  <a:pos x="250" y="20"/>
                </a:cxn>
                <a:cxn ang="0">
                  <a:pos x="242" y="22"/>
                </a:cxn>
                <a:cxn ang="0">
                  <a:pos x="225" y="13"/>
                </a:cxn>
                <a:cxn ang="0">
                  <a:pos x="206" y="12"/>
                </a:cxn>
                <a:cxn ang="0">
                  <a:pos x="172" y="14"/>
                </a:cxn>
                <a:cxn ang="0">
                  <a:pos x="164" y="2"/>
                </a:cxn>
                <a:cxn ang="0">
                  <a:pos x="152" y="4"/>
                </a:cxn>
                <a:cxn ang="0">
                  <a:pos x="148" y="0"/>
                </a:cxn>
                <a:cxn ang="0">
                  <a:pos x="107" y="33"/>
                </a:cxn>
                <a:cxn ang="0">
                  <a:pos x="67" y="29"/>
                </a:cxn>
                <a:cxn ang="0">
                  <a:pos x="39" y="25"/>
                </a:cxn>
                <a:cxn ang="0">
                  <a:pos x="30" y="3"/>
                </a:cxn>
                <a:cxn ang="0">
                  <a:pos x="24" y="2"/>
                </a:cxn>
                <a:cxn ang="0">
                  <a:pos x="18" y="41"/>
                </a:cxn>
                <a:cxn ang="0">
                  <a:pos x="3" y="59"/>
                </a:cxn>
                <a:cxn ang="0">
                  <a:pos x="31" y="69"/>
                </a:cxn>
                <a:cxn ang="0">
                  <a:pos x="23" y="79"/>
                </a:cxn>
                <a:cxn ang="0">
                  <a:pos x="31" y="94"/>
                </a:cxn>
                <a:cxn ang="0">
                  <a:pos x="51" y="78"/>
                </a:cxn>
                <a:cxn ang="0">
                  <a:pos x="79" y="98"/>
                </a:cxn>
                <a:cxn ang="0">
                  <a:pos x="82" y="135"/>
                </a:cxn>
                <a:cxn ang="0">
                  <a:pos x="54" y="174"/>
                </a:cxn>
                <a:cxn ang="0">
                  <a:pos x="32" y="179"/>
                </a:cxn>
                <a:cxn ang="0">
                  <a:pos x="46" y="185"/>
                </a:cxn>
                <a:cxn ang="0">
                  <a:pos x="43" y="235"/>
                </a:cxn>
                <a:cxn ang="0">
                  <a:pos x="63" y="238"/>
                </a:cxn>
                <a:cxn ang="0">
                  <a:pos x="64" y="247"/>
                </a:cxn>
                <a:cxn ang="0">
                  <a:pos x="43" y="302"/>
                </a:cxn>
                <a:cxn ang="0">
                  <a:pos x="46" y="306"/>
                </a:cxn>
                <a:cxn ang="0">
                  <a:pos x="16" y="350"/>
                </a:cxn>
                <a:cxn ang="0">
                  <a:pos x="15" y="381"/>
                </a:cxn>
                <a:cxn ang="0">
                  <a:pos x="11" y="386"/>
                </a:cxn>
                <a:cxn ang="0">
                  <a:pos x="16" y="395"/>
                </a:cxn>
                <a:cxn ang="0">
                  <a:pos x="2" y="406"/>
                </a:cxn>
                <a:cxn ang="0">
                  <a:pos x="0" y="406"/>
                </a:cxn>
                <a:cxn ang="0">
                  <a:pos x="4" y="417"/>
                </a:cxn>
                <a:cxn ang="0">
                  <a:pos x="43" y="471"/>
                </a:cxn>
                <a:cxn ang="0">
                  <a:pos x="66" y="496"/>
                </a:cxn>
                <a:cxn ang="0">
                  <a:pos x="90" y="499"/>
                </a:cxn>
                <a:cxn ang="0">
                  <a:pos x="113" y="510"/>
                </a:cxn>
                <a:cxn ang="0">
                  <a:pos x="143" y="491"/>
                </a:cxn>
                <a:cxn ang="0">
                  <a:pos x="152" y="503"/>
                </a:cxn>
                <a:cxn ang="0">
                  <a:pos x="161" y="493"/>
                </a:cxn>
                <a:cxn ang="0">
                  <a:pos x="174" y="463"/>
                </a:cxn>
                <a:cxn ang="0">
                  <a:pos x="165" y="419"/>
                </a:cxn>
                <a:cxn ang="0">
                  <a:pos x="167" y="386"/>
                </a:cxn>
                <a:cxn ang="0">
                  <a:pos x="176" y="349"/>
                </a:cxn>
                <a:cxn ang="0">
                  <a:pos x="176" y="336"/>
                </a:cxn>
                <a:cxn ang="0">
                  <a:pos x="185" y="262"/>
                </a:cxn>
                <a:cxn ang="0">
                  <a:pos x="199" y="229"/>
                </a:cxn>
                <a:cxn ang="0">
                  <a:pos x="209" y="177"/>
                </a:cxn>
                <a:cxn ang="0">
                  <a:pos x="218" y="138"/>
                </a:cxn>
                <a:cxn ang="0">
                  <a:pos x="245" y="104"/>
                </a:cxn>
                <a:cxn ang="0">
                  <a:pos x="261" y="93"/>
                </a:cxn>
                <a:cxn ang="0">
                  <a:pos x="279" y="58"/>
                </a:cxn>
                <a:cxn ang="0">
                  <a:pos x="294" y="35"/>
                </a:cxn>
                <a:cxn ang="0">
                  <a:pos x="271" y="35"/>
                </a:cxn>
              </a:cxnLst>
              <a:rect l="0" t="0" r="r" b="b"/>
              <a:pathLst>
                <a:path w="294" h="526">
                  <a:moveTo>
                    <a:pt x="271" y="35"/>
                  </a:moveTo>
                  <a:cubicBezTo>
                    <a:pt x="250" y="20"/>
                    <a:pt x="250" y="20"/>
                    <a:pt x="250" y="20"/>
                  </a:cubicBezTo>
                  <a:cubicBezTo>
                    <a:pt x="242" y="22"/>
                    <a:pt x="242" y="22"/>
                    <a:pt x="242" y="22"/>
                  </a:cubicBezTo>
                  <a:cubicBezTo>
                    <a:pt x="233" y="7"/>
                    <a:pt x="232" y="15"/>
                    <a:pt x="225" y="13"/>
                  </a:cubicBezTo>
                  <a:cubicBezTo>
                    <a:pt x="215" y="25"/>
                    <a:pt x="206" y="12"/>
                    <a:pt x="206" y="12"/>
                  </a:cubicBezTo>
                  <a:cubicBezTo>
                    <a:pt x="172" y="14"/>
                    <a:pt x="172" y="14"/>
                    <a:pt x="172" y="14"/>
                  </a:cubicBezTo>
                  <a:cubicBezTo>
                    <a:pt x="164" y="2"/>
                    <a:pt x="164" y="2"/>
                    <a:pt x="164" y="2"/>
                  </a:cubicBezTo>
                  <a:cubicBezTo>
                    <a:pt x="152" y="4"/>
                    <a:pt x="152" y="4"/>
                    <a:pt x="152" y="4"/>
                  </a:cubicBezTo>
                  <a:cubicBezTo>
                    <a:pt x="148" y="0"/>
                    <a:pt x="148" y="0"/>
                    <a:pt x="148" y="0"/>
                  </a:cubicBezTo>
                  <a:cubicBezTo>
                    <a:pt x="127" y="65"/>
                    <a:pt x="107" y="33"/>
                    <a:pt x="107" y="33"/>
                  </a:cubicBezTo>
                  <a:cubicBezTo>
                    <a:pt x="72" y="53"/>
                    <a:pt x="67" y="29"/>
                    <a:pt x="67" y="29"/>
                  </a:cubicBezTo>
                  <a:cubicBezTo>
                    <a:pt x="39" y="25"/>
                    <a:pt x="39" y="25"/>
                    <a:pt x="39" y="25"/>
                  </a:cubicBezTo>
                  <a:cubicBezTo>
                    <a:pt x="30" y="3"/>
                    <a:pt x="30" y="3"/>
                    <a:pt x="30" y="3"/>
                  </a:cubicBezTo>
                  <a:cubicBezTo>
                    <a:pt x="24" y="2"/>
                    <a:pt x="24" y="2"/>
                    <a:pt x="24" y="2"/>
                  </a:cubicBezTo>
                  <a:cubicBezTo>
                    <a:pt x="18" y="41"/>
                    <a:pt x="18" y="41"/>
                    <a:pt x="18" y="41"/>
                  </a:cubicBezTo>
                  <a:cubicBezTo>
                    <a:pt x="8" y="39"/>
                    <a:pt x="3" y="59"/>
                    <a:pt x="3" y="59"/>
                  </a:cubicBezTo>
                  <a:cubicBezTo>
                    <a:pt x="31" y="69"/>
                    <a:pt x="31" y="69"/>
                    <a:pt x="31" y="69"/>
                  </a:cubicBezTo>
                  <a:cubicBezTo>
                    <a:pt x="23" y="79"/>
                    <a:pt x="23" y="79"/>
                    <a:pt x="23" y="79"/>
                  </a:cubicBezTo>
                  <a:cubicBezTo>
                    <a:pt x="31" y="94"/>
                    <a:pt x="31" y="94"/>
                    <a:pt x="31" y="94"/>
                  </a:cubicBezTo>
                  <a:cubicBezTo>
                    <a:pt x="31" y="94"/>
                    <a:pt x="44" y="75"/>
                    <a:pt x="51" y="78"/>
                  </a:cubicBezTo>
                  <a:cubicBezTo>
                    <a:pt x="57" y="80"/>
                    <a:pt x="76" y="96"/>
                    <a:pt x="79" y="98"/>
                  </a:cubicBezTo>
                  <a:cubicBezTo>
                    <a:pt x="61" y="130"/>
                    <a:pt x="80" y="140"/>
                    <a:pt x="82" y="135"/>
                  </a:cubicBezTo>
                  <a:cubicBezTo>
                    <a:pt x="79" y="173"/>
                    <a:pt x="54" y="174"/>
                    <a:pt x="54" y="174"/>
                  </a:cubicBezTo>
                  <a:cubicBezTo>
                    <a:pt x="32" y="179"/>
                    <a:pt x="32" y="179"/>
                    <a:pt x="32" y="179"/>
                  </a:cubicBezTo>
                  <a:cubicBezTo>
                    <a:pt x="46" y="185"/>
                    <a:pt x="46" y="185"/>
                    <a:pt x="46" y="185"/>
                  </a:cubicBezTo>
                  <a:cubicBezTo>
                    <a:pt x="46" y="185"/>
                    <a:pt x="43" y="223"/>
                    <a:pt x="43" y="235"/>
                  </a:cubicBezTo>
                  <a:cubicBezTo>
                    <a:pt x="43" y="247"/>
                    <a:pt x="63" y="238"/>
                    <a:pt x="63" y="238"/>
                  </a:cubicBezTo>
                  <a:cubicBezTo>
                    <a:pt x="64" y="247"/>
                    <a:pt x="64" y="247"/>
                    <a:pt x="64" y="247"/>
                  </a:cubicBezTo>
                  <a:cubicBezTo>
                    <a:pt x="43" y="302"/>
                    <a:pt x="43" y="302"/>
                    <a:pt x="43" y="302"/>
                  </a:cubicBezTo>
                  <a:cubicBezTo>
                    <a:pt x="43" y="302"/>
                    <a:pt x="50" y="306"/>
                    <a:pt x="46" y="306"/>
                  </a:cubicBezTo>
                  <a:cubicBezTo>
                    <a:pt x="34" y="347"/>
                    <a:pt x="16" y="350"/>
                    <a:pt x="16" y="350"/>
                  </a:cubicBezTo>
                  <a:cubicBezTo>
                    <a:pt x="15" y="381"/>
                    <a:pt x="15" y="381"/>
                    <a:pt x="15" y="381"/>
                  </a:cubicBezTo>
                  <a:cubicBezTo>
                    <a:pt x="11" y="386"/>
                    <a:pt x="11" y="386"/>
                    <a:pt x="11" y="386"/>
                  </a:cubicBezTo>
                  <a:cubicBezTo>
                    <a:pt x="16" y="395"/>
                    <a:pt x="16" y="395"/>
                    <a:pt x="16" y="395"/>
                  </a:cubicBezTo>
                  <a:cubicBezTo>
                    <a:pt x="16" y="395"/>
                    <a:pt x="7" y="403"/>
                    <a:pt x="2" y="406"/>
                  </a:cubicBezTo>
                  <a:cubicBezTo>
                    <a:pt x="1" y="406"/>
                    <a:pt x="1" y="406"/>
                    <a:pt x="0" y="406"/>
                  </a:cubicBezTo>
                  <a:cubicBezTo>
                    <a:pt x="4" y="417"/>
                    <a:pt x="4" y="417"/>
                    <a:pt x="4" y="417"/>
                  </a:cubicBezTo>
                  <a:cubicBezTo>
                    <a:pt x="4" y="417"/>
                    <a:pt x="52" y="414"/>
                    <a:pt x="43" y="471"/>
                  </a:cubicBezTo>
                  <a:cubicBezTo>
                    <a:pt x="45" y="477"/>
                    <a:pt x="61" y="476"/>
                    <a:pt x="66" y="496"/>
                  </a:cubicBezTo>
                  <a:cubicBezTo>
                    <a:pt x="76" y="498"/>
                    <a:pt x="87" y="500"/>
                    <a:pt x="90" y="499"/>
                  </a:cubicBezTo>
                  <a:cubicBezTo>
                    <a:pt x="92" y="526"/>
                    <a:pt x="116" y="512"/>
                    <a:pt x="113" y="510"/>
                  </a:cubicBezTo>
                  <a:cubicBezTo>
                    <a:pt x="153" y="521"/>
                    <a:pt x="143" y="491"/>
                    <a:pt x="143" y="491"/>
                  </a:cubicBezTo>
                  <a:cubicBezTo>
                    <a:pt x="152" y="503"/>
                    <a:pt x="152" y="503"/>
                    <a:pt x="152" y="503"/>
                  </a:cubicBezTo>
                  <a:cubicBezTo>
                    <a:pt x="152" y="503"/>
                    <a:pt x="152" y="503"/>
                    <a:pt x="161" y="493"/>
                  </a:cubicBezTo>
                  <a:cubicBezTo>
                    <a:pt x="158" y="468"/>
                    <a:pt x="174" y="468"/>
                    <a:pt x="174" y="463"/>
                  </a:cubicBezTo>
                  <a:cubicBezTo>
                    <a:pt x="154" y="435"/>
                    <a:pt x="165" y="419"/>
                    <a:pt x="165" y="419"/>
                  </a:cubicBezTo>
                  <a:cubicBezTo>
                    <a:pt x="165" y="419"/>
                    <a:pt x="159" y="406"/>
                    <a:pt x="167" y="386"/>
                  </a:cubicBezTo>
                  <a:cubicBezTo>
                    <a:pt x="166" y="363"/>
                    <a:pt x="176" y="349"/>
                    <a:pt x="176" y="349"/>
                  </a:cubicBezTo>
                  <a:cubicBezTo>
                    <a:pt x="176" y="336"/>
                    <a:pt x="176" y="336"/>
                    <a:pt x="176" y="336"/>
                  </a:cubicBezTo>
                  <a:cubicBezTo>
                    <a:pt x="144" y="322"/>
                    <a:pt x="179" y="281"/>
                    <a:pt x="185" y="262"/>
                  </a:cubicBezTo>
                  <a:cubicBezTo>
                    <a:pt x="180" y="238"/>
                    <a:pt x="199" y="232"/>
                    <a:pt x="199" y="229"/>
                  </a:cubicBezTo>
                  <a:cubicBezTo>
                    <a:pt x="191" y="200"/>
                    <a:pt x="207" y="183"/>
                    <a:pt x="209" y="177"/>
                  </a:cubicBezTo>
                  <a:cubicBezTo>
                    <a:pt x="200" y="156"/>
                    <a:pt x="215" y="141"/>
                    <a:pt x="218" y="138"/>
                  </a:cubicBezTo>
                  <a:cubicBezTo>
                    <a:pt x="247" y="113"/>
                    <a:pt x="245" y="104"/>
                    <a:pt x="245" y="104"/>
                  </a:cubicBezTo>
                  <a:cubicBezTo>
                    <a:pt x="251" y="104"/>
                    <a:pt x="261" y="93"/>
                    <a:pt x="261" y="93"/>
                  </a:cubicBezTo>
                  <a:cubicBezTo>
                    <a:pt x="270" y="94"/>
                    <a:pt x="279" y="58"/>
                    <a:pt x="279" y="58"/>
                  </a:cubicBezTo>
                  <a:cubicBezTo>
                    <a:pt x="294" y="35"/>
                    <a:pt x="294" y="35"/>
                    <a:pt x="294" y="35"/>
                  </a:cubicBezTo>
                  <a:lnTo>
                    <a:pt x="271" y="3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59" name="Franche-Comté" descr="© INSCALE GmbH, 05.05.2010&#10;http://www.presentationload.com/">
              <a:extLst>
                <a:ext uri="{FF2B5EF4-FFF2-40B4-BE49-F238E27FC236}">
                  <a16:creationId xmlns:a16="http://schemas.microsoft.com/office/drawing/2014/main" id="{E6D4AF00-BE4E-417F-941D-D158861880A8}"/>
                </a:ext>
              </a:extLst>
            </p:cNvPr>
            <p:cNvSpPr>
              <a:spLocks/>
            </p:cNvSpPr>
            <p:nvPr/>
          </p:nvSpPr>
          <p:spPr bwMode="gray">
            <a:xfrm>
              <a:off x="2452" y="1199"/>
              <a:ext cx="435" cy="623"/>
            </a:xfrm>
            <a:custGeom>
              <a:avLst/>
              <a:gdLst/>
              <a:ahLst/>
              <a:cxnLst>
                <a:cxn ang="0">
                  <a:pos x="40" y="136"/>
                </a:cxn>
                <a:cxn ang="0">
                  <a:pos x="17" y="186"/>
                </a:cxn>
                <a:cxn ang="0">
                  <a:pos x="30" y="212"/>
                </a:cxn>
                <a:cxn ang="0">
                  <a:pos x="46" y="228"/>
                </a:cxn>
                <a:cxn ang="0">
                  <a:pos x="13" y="312"/>
                </a:cxn>
                <a:cxn ang="0">
                  <a:pos x="12" y="326"/>
                </a:cxn>
                <a:cxn ang="0">
                  <a:pos x="14" y="353"/>
                </a:cxn>
                <a:cxn ang="0">
                  <a:pos x="46" y="380"/>
                </a:cxn>
                <a:cxn ang="0">
                  <a:pos x="25" y="402"/>
                </a:cxn>
                <a:cxn ang="0">
                  <a:pos x="36" y="418"/>
                </a:cxn>
                <a:cxn ang="0">
                  <a:pos x="37" y="465"/>
                </a:cxn>
                <a:cxn ang="0">
                  <a:pos x="40" y="498"/>
                </a:cxn>
                <a:cxn ang="0">
                  <a:pos x="18" y="524"/>
                </a:cxn>
                <a:cxn ang="0">
                  <a:pos x="32" y="542"/>
                </a:cxn>
                <a:cxn ang="0">
                  <a:pos x="53" y="566"/>
                </a:cxn>
                <a:cxn ang="0">
                  <a:pos x="109" y="548"/>
                </a:cxn>
                <a:cxn ang="0">
                  <a:pos x="145" y="562"/>
                </a:cxn>
                <a:cxn ang="0">
                  <a:pos x="200" y="497"/>
                </a:cxn>
                <a:cxn ang="0">
                  <a:pos x="201" y="425"/>
                </a:cxn>
                <a:cxn ang="0">
                  <a:pos x="257" y="358"/>
                </a:cxn>
                <a:cxn ang="0">
                  <a:pos x="272" y="305"/>
                </a:cxn>
                <a:cxn ang="0">
                  <a:pos x="312" y="288"/>
                </a:cxn>
                <a:cxn ang="0">
                  <a:pos x="370" y="218"/>
                </a:cxn>
                <a:cxn ang="0">
                  <a:pos x="373" y="202"/>
                </a:cxn>
                <a:cxn ang="0">
                  <a:pos x="386" y="180"/>
                </a:cxn>
                <a:cxn ang="0">
                  <a:pos x="364" y="161"/>
                </a:cxn>
                <a:cxn ang="0">
                  <a:pos x="378" y="139"/>
                </a:cxn>
                <a:cxn ang="0">
                  <a:pos x="373" y="118"/>
                </a:cxn>
                <a:cxn ang="0">
                  <a:pos x="330" y="53"/>
                </a:cxn>
                <a:cxn ang="0">
                  <a:pos x="285" y="32"/>
                </a:cxn>
                <a:cxn ang="0">
                  <a:pos x="250" y="37"/>
                </a:cxn>
                <a:cxn ang="0">
                  <a:pos x="189" y="26"/>
                </a:cxn>
                <a:cxn ang="0">
                  <a:pos x="177" y="16"/>
                </a:cxn>
                <a:cxn ang="0">
                  <a:pos x="153" y="6"/>
                </a:cxn>
                <a:cxn ang="0">
                  <a:pos x="134" y="26"/>
                </a:cxn>
                <a:cxn ang="0">
                  <a:pos x="128" y="16"/>
                </a:cxn>
                <a:cxn ang="0">
                  <a:pos x="124" y="36"/>
                </a:cxn>
                <a:cxn ang="0">
                  <a:pos x="113" y="56"/>
                </a:cxn>
                <a:cxn ang="0">
                  <a:pos x="93" y="69"/>
                </a:cxn>
                <a:cxn ang="0">
                  <a:pos x="80" y="78"/>
                </a:cxn>
                <a:cxn ang="0">
                  <a:pos x="88" y="109"/>
                </a:cxn>
                <a:cxn ang="0">
                  <a:pos x="57" y="106"/>
                </a:cxn>
                <a:cxn ang="0">
                  <a:pos x="26" y="112"/>
                </a:cxn>
                <a:cxn ang="0">
                  <a:pos x="24" y="140"/>
                </a:cxn>
              </a:cxnLst>
              <a:rect l="0" t="0" r="r" b="b"/>
              <a:pathLst>
                <a:path w="403" h="577">
                  <a:moveTo>
                    <a:pt x="32" y="132"/>
                  </a:moveTo>
                  <a:cubicBezTo>
                    <a:pt x="40" y="136"/>
                    <a:pt x="40" y="136"/>
                    <a:pt x="40" y="136"/>
                  </a:cubicBezTo>
                  <a:cubicBezTo>
                    <a:pt x="40" y="136"/>
                    <a:pt x="45" y="176"/>
                    <a:pt x="29" y="176"/>
                  </a:cubicBezTo>
                  <a:cubicBezTo>
                    <a:pt x="13" y="176"/>
                    <a:pt x="25" y="186"/>
                    <a:pt x="17" y="186"/>
                  </a:cubicBezTo>
                  <a:cubicBezTo>
                    <a:pt x="9" y="186"/>
                    <a:pt x="30" y="190"/>
                    <a:pt x="30" y="190"/>
                  </a:cubicBezTo>
                  <a:cubicBezTo>
                    <a:pt x="30" y="212"/>
                    <a:pt x="30" y="212"/>
                    <a:pt x="30" y="212"/>
                  </a:cubicBezTo>
                  <a:cubicBezTo>
                    <a:pt x="49" y="208"/>
                    <a:pt x="49" y="208"/>
                    <a:pt x="49" y="208"/>
                  </a:cubicBezTo>
                  <a:cubicBezTo>
                    <a:pt x="46" y="228"/>
                    <a:pt x="46" y="228"/>
                    <a:pt x="46" y="228"/>
                  </a:cubicBezTo>
                  <a:cubicBezTo>
                    <a:pt x="54" y="236"/>
                    <a:pt x="54" y="236"/>
                    <a:pt x="54" y="236"/>
                  </a:cubicBezTo>
                  <a:cubicBezTo>
                    <a:pt x="54" y="236"/>
                    <a:pt x="34" y="301"/>
                    <a:pt x="13" y="312"/>
                  </a:cubicBezTo>
                  <a:cubicBezTo>
                    <a:pt x="10" y="316"/>
                    <a:pt x="5" y="325"/>
                    <a:pt x="5" y="325"/>
                  </a:cubicBezTo>
                  <a:cubicBezTo>
                    <a:pt x="12" y="326"/>
                    <a:pt x="12" y="326"/>
                    <a:pt x="12" y="326"/>
                  </a:cubicBezTo>
                  <a:cubicBezTo>
                    <a:pt x="12" y="326"/>
                    <a:pt x="0" y="340"/>
                    <a:pt x="0" y="352"/>
                  </a:cubicBezTo>
                  <a:cubicBezTo>
                    <a:pt x="14" y="353"/>
                    <a:pt x="14" y="353"/>
                    <a:pt x="14" y="353"/>
                  </a:cubicBezTo>
                  <a:cubicBezTo>
                    <a:pt x="18" y="364"/>
                    <a:pt x="18" y="364"/>
                    <a:pt x="18" y="364"/>
                  </a:cubicBezTo>
                  <a:cubicBezTo>
                    <a:pt x="18" y="364"/>
                    <a:pt x="30" y="368"/>
                    <a:pt x="46" y="380"/>
                  </a:cubicBezTo>
                  <a:cubicBezTo>
                    <a:pt x="13" y="392"/>
                    <a:pt x="13" y="392"/>
                    <a:pt x="13" y="392"/>
                  </a:cubicBezTo>
                  <a:cubicBezTo>
                    <a:pt x="25" y="402"/>
                    <a:pt x="25" y="402"/>
                    <a:pt x="25" y="402"/>
                  </a:cubicBezTo>
                  <a:cubicBezTo>
                    <a:pt x="25" y="422"/>
                    <a:pt x="25" y="422"/>
                    <a:pt x="25" y="422"/>
                  </a:cubicBezTo>
                  <a:cubicBezTo>
                    <a:pt x="36" y="418"/>
                    <a:pt x="36" y="418"/>
                    <a:pt x="36" y="418"/>
                  </a:cubicBezTo>
                  <a:cubicBezTo>
                    <a:pt x="36" y="418"/>
                    <a:pt x="28" y="436"/>
                    <a:pt x="45" y="445"/>
                  </a:cubicBezTo>
                  <a:cubicBezTo>
                    <a:pt x="40" y="445"/>
                    <a:pt x="37" y="465"/>
                    <a:pt x="37" y="465"/>
                  </a:cubicBezTo>
                  <a:cubicBezTo>
                    <a:pt x="37" y="465"/>
                    <a:pt x="16" y="484"/>
                    <a:pt x="41" y="490"/>
                  </a:cubicBezTo>
                  <a:cubicBezTo>
                    <a:pt x="44" y="492"/>
                    <a:pt x="40" y="498"/>
                    <a:pt x="40" y="498"/>
                  </a:cubicBezTo>
                  <a:cubicBezTo>
                    <a:pt x="21" y="504"/>
                    <a:pt x="21" y="504"/>
                    <a:pt x="21" y="504"/>
                  </a:cubicBezTo>
                  <a:cubicBezTo>
                    <a:pt x="18" y="524"/>
                    <a:pt x="18" y="524"/>
                    <a:pt x="18" y="524"/>
                  </a:cubicBezTo>
                  <a:cubicBezTo>
                    <a:pt x="32" y="529"/>
                    <a:pt x="32" y="529"/>
                    <a:pt x="32" y="529"/>
                  </a:cubicBezTo>
                  <a:cubicBezTo>
                    <a:pt x="32" y="542"/>
                    <a:pt x="32" y="542"/>
                    <a:pt x="32" y="542"/>
                  </a:cubicBezTo>
                  <a:cubicBezTo>
                    <a:pt x="56" y="553"/>
                    <a:pt x="56" y="553"/>
                    <a:pt x="56" y="553"/>
                  </a:cubicBezTo>
                  <a:cubicBezTo>
                    <a:pt x="53" y="566"/>
                    <a:pt x="53" y="566"/>
                    <a:pt x="53" y="566"/>
                  </a:cubicBezTo>
                  <a:cubicBezTo>
                    <a:pt x="53" y="566"/>
                    <a:pt x="76" y="577"/>
                    <a:pt x="93" y="538"/>
                  </a:cubicBezTo>
                  <a:cubicBezTo>
                    <a:pt x="89" y="545"/>
                    <a:pt x="109" y="548"/>
                    <a:pt x="109" y="548"/>
                  </a:cubicBezTo>
                  <a:cubicBezTo>
                    <a:pt x="113" y="564"/>
                    <a:pt x="113" y="564"/>
                    <a:pt x="113" y="564"/>
                  </a:cubicBezTo>
                  <a:cubicBezTo>
                    <a:pt x="145" y="562"/>
                    <a:pt x="145" y="562"/>
                    <a:pt x="145" y="562"/>
                  </a:cubicBezTo>
                  <a:cubicBezTo>
                    <a:pt x="202" y="503"/>
                    <a:pt x="202" y="503"/>
                    <a:pt x="202" y="503"/>
                  </a:cubicBezTo>
                  <a:cubicBezTo>
                    <a:pt x="201" y="500"/>
                    <a:pt x="200" y="497"/>
                    <a:pt x="200" y="497"/>
                  </a:cubicBezTo>
                  <a:cubicBezTo>
                    <a:pt x="166" y="487"/>
                    <a:pt x="201" y="445"/>
                    <a:pt x="201" y="445"/>
                  </a:cubicBezTo>
                  <a:cubicBezTo>
                    <a:pt x="188" y="434"/>
                    <a:pt x="201" y="425"/>
                    <a:pt x="201" y="425"/>
                  </a:cubicBezTo>
                  <a:cubicBezTo>
                    <a:pt x="201" y="425"/>
                    <a:pt x="253" y="379"/>
                    <a:pt x="253" y="376"/>
                  </a:cubicBezTo>
                  <a:cubicBezTo>
                    <a:pt x="261" y="375"/>
                    <a:pt x="271" y="367"/>
                    <a:pt x="257" y="358"/>
                  </a:cubicBezTo>
                  <a:cubicBezTo>
                    <a:pt x="276" y="339"/>
                    <a:pt x="259" y="323"/>
                    <a:pt x="259" y="323"/>
                  </a:cubicBezTo>
                  <a:cubicBezTo>
                    <a:pt x="272" y="305"/>
                    <a:pt x="272" y="305"/>
                    <a:pt x="272" y="305"/>
                  </a:cubicBezTo>
                  <a:cubicBezTo>
                    <a:pt x="302" y="298"/>
                    <a:pt x="302" y="298"/>
                    <a:pt x="302" y="298"/>
                  </a:cubicBezTo>
                  <a:cubicBezTo>
                    <a:pt x="312" y="288"/>
                    <a:pt x="312" y="288"/>
                    <a:pt x="312" y="288"/>
                  </a:cubicBezTo>
                  <a:cubicBezTo>
                    <a:pt x="315" y="277"/>
                    <a:pt x="315" y="277"/>
                    <a:pt x="315" y="277"/>
                  </a:cubicBezTo>
                  <a:cubicBezTo>
                    <a:pt x="315" y="277"/>
                    <a:pt x="368" y="222"/>
                    <a:pt x="370" y="218"/>
                  </a:cubicBezTo>
                  <a:cubicBezTo>
                    <a:pt x="365" y="210"/>
                    <a:pt x="376" y="203"/>
                    <a:pt x="375" y="202"/>
                  </a:cubicBezTo>
                  <a:cubicBezTo>
                    <a:pt x="374" y="202"/>
                    <a:pt x="374" y="202"/>
                    <a:pt x="373" y="202"/>
                  </a:cubicBezTo>
                  <a:cubicBezTo>
                    <a:pt x="374" y="202"/>
                    <a:pt x="374" y="202"/>
                    <a:pt x="375" y="202"/>
                  </a:cubicBezTo>
                  <a:cubicBezTo>
                    <a:pt x="403" y="203"/>
                    <a:pt x="386" y="180"/>
                    <a:pt x="386" y="180"/>
                  </a:cubicBezTo>
                  <a:cubicBezTo>
                    <a:pt x="354" y="184"/>
                    <a:pt x="354" y="184"/>
                    <a:pt x="354" y="184"/>
                  </a:cubicBezTo>
                  <a:cubicBezTo>
                    <a:pt x="364" y="161"/>
                    <a:pt x="364" y="161"/>
                    <a:pt x="364" y="161"/>
                  </a:cubicBezTo>
                  <a:cubicBezTo>
                    <a:pt x="380" y="152"/>
                    <a:pt x="380" y="152"/>
                    <a:pt x="380" y="152"/>
                  </a:cubicBezTo>
                  <a:cubicBezTo>
                    <a:pt x="378" y="139"/>
                    <a:pt x="378" y="139"/>
                    <a:pt x="378" y="139"/>
                  </a:cubicBezTo>
                  <a:cubicBezTo>
                    <a:pt x="378" y="139"/>
                    <a:pt x="387" y="141"/>
                    <a:pt x="396" y="143"/>
                  </a:cubicBezTo>
                  <a:cubicBezTo>
                    <a:pt x="391" y="123"/>
                    <a:pt x="375" y="124"/>
                    <a:pt x="373" y="118"/>
                  </a:cubicBezTo>
                  <a:cubicBezTo>
                    <a:pt x="382" y="61"/>
                    <a:pt x="334" y="64"/>
                    <a:pt x="334" y="64"/>
                  </a:cubicBezTo>
                  <a:cubicBezTo>
                    <a:pt x="330" y="53"/>
                    <a:pt x="330" y="53"/>
                    <a:pt x="330" y="53"/>
                  </a:cubicBezTo>
                  <a:cubicBezTo>
                    <a:pt x="325" y="54"/>
                    <a:pt x="318" y="45"/>
                    <a:pt x="318" y="45"/>
                  </a:cubicBezTo>
                  <a:cubicBezTo>
                    <a:pt x="285" y="32"/>
                    <a:pt x="285" y="32"/>
                    <a:pt x="285" y="32"/>
                  </a:cubicBezTo>
                  <a:cubicBezTo>
                    <a:pt x="276" y="20"/>
                    <a:pt x="276" y="20"/>
                    <a:pt x="276" y="20"/>
                  </a:cubicBezTo>
                  <a:cubicBezTo>
                    <a:pt x="250" y="37"/>
                    <a:pt x="250" y="37"/>
                    <a:pt x="250" y="37"/>
                  </a:cubicBezTo>
                  <a:cubicBezTo>
                    <a:pt x="250" y="37"/>
                    <a:pt x="245" y="30"/>
                    <a:pt x="241" y="20"/>
                  </a:cubicBezTo>
                  <a:cubicBezTo>
                    <a:pt x="237" y="9"/>
                    <a:pt x="189" y="26"/>
                    <a:pt x="189" y="26"/>
                  </a:cubicBezTo>
                  <a:cubicBezTo>
                    <a:pt x="190" y="17"/>
                    <a:pt x="190" y="17"/>
                    <a:pt x="190" y="17"/>
                  </a:cubicBezTo>
                  <a:cubicBezTo>
                    <a:pt x="177" y="16"/>
                    <a:pt x="177" y="16"/>
                    <a:pt x="177" y="16"/>
                  </a:cubicBezTo>
                  <a:cubicBezTo>
                    <a:pt x="178" y="0"/>
                    <a:pt x="178" y="0"/>
                    <a:pt x="178" y="0"/>
                  </a:cubicBezTo>
                  <a:cubicBezTo>
                    <a:pt x="153" y="6"/>
                    <a:pt x="153" y="6"/>
                    <a:pt x="153" y="6"/>
                  </a:cubicBezTo>
                  <a:cubicBezTo>
                    <a:pt x="148" y="20"/>
                    <a:pt x="148" y="20"/>
                    <a:pt x="148" y="20"/>
                  </a:cubicBezTo>
                  <a:cubicBezTo>
                    <a:pt x="134" y="26"/>
                    <a:pt x="134" y="26"/>
                    <a:pt x="134" y="26"/>
                  </a:cubicBezTo>
                  <a:cubicBezTo>
                    <a:pt x="138" y="17"/>
                    <a:pt x="138" y="17"/>
                    <a:pt x="138" y="17"/>
                  </a:cubicBezTo>
                  <a:cubicBezTo>
                    <a:pt x="128" y="16"/>
                    <a:pt x="128" y="16"/>
                    <a:pt x="128" y="16"/>
                  </a:cubicBezTo>
                  <a:cubicBezTo>
                    <a:pt x="121" y="27"/>
                    <a:pt x="121" y="27"/>
                    <a:pt x="121" y="27"/>
                  </a:cubicBezTo>
                  <a:cubicBezTo>
                    <a:pt x="124" y="36"/>
                    <a:pt x="124" y="36"/>
                    <a:pt x="124" y="36"/>
                  </a:cubicBezTo>
                  <a:cubicBezTo>
                    <a:pt x="116" y="41"/>
                    <a:pt x="116" y="41"/>
                    <a:pt x="116" y="41"/>
                  </a:cubicBezTo>
                  <a:cubicBezTo>
                    <a:pt x="113" y="56"/>
                    <a:pt x="113" y="56"/>
                    <a:pt x="113" y="56"/>
                  </a:cubicBezTo>
                  <a:cubicBezTo>
                    <a:pt x="100" y="54"/>
                    <a:pt x="100" y="54"/>
                    <a:pt x="100" y="54"/>
                  </a:cubicBezTo>
                  <a:cubicBezTo>
                    <a:pt x="93" y="69"/>
                    <a:pt x="93" y="69"/>
                    <a:pt x="93" y="69"/>
                  </a:cubicBezTo>
                  <a:cubicBezTo>
                    <a:pt x="85" y="68"/>
                    <a:pt x="85" y="68"/>
                    <a:pt x="85" y="68"/>
                  </a:cubicBezTo>
                  <a:cubicBezTo>
                    <a:pt x="80" y="78"/>
                    <a:pt x="80" y="78"/>
                    <a:pt x="80" y="78"/>
                  </a:cubicBezTo>
                  <a:cubicBezTo>
                    <a:pt x="90" y="78"/>
                    <a:pt x="90" y="78"/>
                    <a:pt x="90" y="78"/>
                  </a:cubicBezTo>
                  <a:cubicBezTo>
                    <a:pt x="88" y="109"/>
                    <a:pt x="88" y="109"/>
                    <a:pt x="88" y="109"/>
                  </a:cubicBezTo>
                  <a:cubicBezTo>
                    <a:pt x="69" y="114"/>
                    <a:pt x="69" y="114"/>
                    <a:pt x="69" y="114"/>
                  </a:cubicBezTo>
                  <a:cubicBezTo>
                    <a:pt x="57" y="106"/>
                    <a:pt x="57" y="106"/>
                    <a:pt x="57" y="106"/>
                  </a:cubicBezTo>
                  <a:cubicBezTo>
                    <a:pt x="56" y="113"/>
                    <a:pt x="56" y="113"/>
                    <a:pt x="56" y="113"/>
                  </a:cubicBezTo>
                  <a:cubicBezTo>
                    <a:pt x="26" y="112"/>
                    <a:pt x="26" y="112"/>
                    <a:pt x="26" y="112"/>
                  </a:cubicBezTo>
                  <a:cubicBezTo>
                    <a:pt x="26" y="112"/>
                    <a:pt x="24" y="129"/>
                    <a:pt x="21" y="136"/>
                  </a:cubicBezTo>
                  <a:cubicBezTo>
                    <a:pt x="24" y="140"/>
                    <a:pt x="24" y="140"/>
                    <a:pt x="24" y="140"/>
                  </a:cubicBezTo>
                  <a:lnTo>
                    <a:pt x="32" y="13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60" name="Bourgogne" descr="© INSCALE GmbH, 05.05.2010&#10;http://www.presentationload.com/">
              <a:extLst>
                <a:ext uri="{FF2B5EF4-FFF2-40B4-BE49-F238E27FC236}">
                  <a16:creationId xmlns:a16="http://schemas.microsoft.com/office/drawing/2014/main" id="{E7C30697-6035-49E9-AB84-E6B6C37CA4E9}"/>
                </a:ext>
              </a:extLst>
            </p:cNvPr>
            <p:cNvSpPr>
              <a:spLocks/>
            </p:cNvSpPr>
            <p:nvPr/>
          </p:nvSpPr>
          <p:spPr bwMode="gray">
            <a:xfrm>
              <a:off x="1885" y="1086"/>
              <a:ext cx="625" cy="772"/>
            </a:xfrm>
            <a:custGeom>
              <a:avLst/>
              <a:gdLst/>
              <a:ahLst/>
              <a:cxnLst>
                <a:cxn ang="0">
                  <a:pos x="43" y="156"/>
                </a:cxn>
                <a:cxn ang="0">
                  <a:pos x="36" y="170"/>
                </a:cxn>
                <a:cxn ang="0">
                  <a:pos x="0" y="220"/>
                </a:cxn>
                <a:cxn ang="0">
                  <a:pos x="19" y="253"/>
                </a:cxn>
                <a:cxn ang="0">
                  <a:pos x="20" y="309"/>
                </a:cxn>
                <a:cxn ang="0">
                  <a:pos x="40" y="429"/>
                </a:cxn>
                <a:cxn ang="0">
                  <a:pos x="43" y="512"/>
                </a:cxn>
                <a:cxn ang="0">
                  <a:pos x="111" y="545"/>
                </a:cxn>
                <a:cxn ang="0">
                  <a:pos x="138" y="558"/>
                </a:cxn>
                <a:cxn ang="0">
                  <a:pos x="164" y="521"/>
                </a:cxn>
                <a:cxn ang="0">
                  <a:pos x="219" y="597"/>
                </a:cxn>
                <a:cxn ang="0">
                  <a:pos x="255" y="658"/>
                </a:cxn>
                <a:cxn ang="0">
                  <a:pos x="235" y="669"/>
                </a:cxn>
                <a:cxn ang="0">
                  <a:pos x="256" y="710"/>
                </a:cxn>
                <a:cxn ang="0">
                  <a:pos x="304" y="703"/>
                </a:cxn>
                <a:cxn ang="0">
                  <a:pos x="319" y="714"/>
                </a:cxn>
                <a:cxn ang="0">
                  <a:pos x="346" y="666"/>
                </a:cxn>
                <a:cxn ang="0">
                  <a:pos x="382" y="666"/>
                </a:cxn>
                <a:cxn ang="0">
                  <a:pos x="411" y="678"/>
                </a:cxn>
                <a:cxn ang="0">
                  <a:pos x="431" y="704"/>
                </a:cxn>
                <a:cxn ang="0">
                  <a:pos x="520" y="594"/>
                </a:cxn>
                <a:cxn ang="0">
                  <a:pos x="547" y="608"/>
                </a:cxn>
                <a:cxn ang="0">
                  <a:pos x="563" y="569"/>
                </a:cxn>
                <a:cxn ang="0">
                  <a:pos x="551" y="526"/>
                </a:cxn>
                <a:cxn ang="0">
                  <a:pos x="572" y="484"/>
                </a:cxn>
                <a:cxn ang="0">
                  <a:pos x="526" y="456"/>
                </a:cxn>
                <a:cxn ang="0">
                  <a:pos x="539" y="416"/>
                </a:cxn>
                <a:cxn ang="0">
                  <a:pos x="575" y="312"/>
                </a:cxn>
                <a:cxn ang="0">
                  <a:pos x="543" y="290"/>
                </a:cxn>
                <a:cxn ang="0">
                  <a:pos x="558" y="236"/>
                </a:cxn>
                <a:cxn ang="0">
                  <a:pos x="544" y="244"/>
                </a:cxn>
                <a:cxn ang="0">
                  <a:pos x="518" y="240"/>
                </a:cxn>
                <a:cxn ang="0">
                  <a:pos x="488" y="226"/>
                </a:cxn>
                <a:cxn ang="0">
                  <a:pos x="455" y="194"/>
                </a:cxn>
                <a:cxn ang="0">
                  <a:pos x="456" y="173"/>
                </a:cxn>
                <a:cxn ang="0">
                  <a:pos x="426" y="146"/>
                </a:cxn>
                <a:cxn ang="0">
                  <a:pos x="414" y="133"/>
                </a:cxn>
                <a:cxn ang="0">
                  <a:pos x="311" y="136"/>
                </a:cxn>
                <a:cxn ang="0">
                  <a:pos x="296" y="132"/>
                </a:cxn>
                <a:cxn ang="0">
                  <a:pos x="283" y="137"/>
                </a:cxn>
                <a:cxn ang="0">
                  <a:pos x="256" y="146"/>
                </a:cxn>
                <a:cxn ang="0">
                  <a:pos x="208" y="109"/>
                </a:cxn>
                <a:cxn ang="0">
                  <a:pos x="182" y="69"/>
                </a:cxn>
                <a:cxn ang="0">
                  <a:pos x="167" y="66"/>
                </a:cxn>
                <a:cxn ang="0">
                  <a:pos x="155" y="33"/>
                </a:cxn>
                <a:cxn ang="0">
                  <a:pos x="118" y="0"/>
                </a:cxn>
                <a:cxn ang="0">
                  <a:pos x="36" y="28"/>
                </a:cxn>
                <a:cxn ang="0">
                  <a:pos x="39" y="84"/>
                </a:cxn>
              </a:cxnLst>
              <a:rect l="0" t="0" r="r" b="b"/>
              <a:pathLst>
                <a:path w="580" h="715">
                  <a:moveTo>
                    <a:pt x="58" y="114"/>
                  </a:moveTo>
                  <a:cubicBezTo>
                    <a:pt x="59" y="133"/>
                    <a:pt x="59" y="133"/>
                    <a:pt x="59" y="133"/>
                  </a:cubicBezTo>
                  <a:cubicBezTo>
                    <a:pt x="43" y="156"/>
                    <a:pt x="43" y="156"/>
                    <a:pt x="43" y="156"/>
                  </a:cubicBezTo>
                  <a:cubicBezTo>
                    <a:pt x="34" y="157"/>
                    <a:pt x="34" y="157"/>
                    <a:pt x="34" y="157"/>
                  </a:cubicBezTo>
                  <a:cubicBezTo>
                    <a:pt x="31" y="170"/>
                    <a:pt x="31" y="170"/>
                    <a:pt x="31" y="170"/>
                  </a:cubicBezTo>
                  <a:cubicBezTo>
                    <a:pt x="36" y="170"/>
                    <a:pt x="36" y="170"/>
                    <a:pt x="36" y="170"/>
                  </a:cubicBezTo>
                  <a:cubicBezTo>
                    <a:pt x="36" y="194"/>
                    <a:pt x="36" y="194"/>
                    <a:pt x="36" y="194"/>
                  </a:cubicBezTo>
                  <a:cubicBezTo>
                    <a:pt x="2" y="204"/>
                    <a:pt x="2" y="204"/>
                    <a:pt x="2" y="204"/>
                  </a:cubicBezTo>
                  <a:cubicBezTo>
                    <a:pt x="0" y="220"/>
                    <a:pt x="0" y="220"/>
                    <a:pt x="0" y="220"/>
                  </a:cubicBezTo>
                  <a:cubicBezTo>
                    <a:pt x="10" y="218"/>
                    <a:pt x="10" y="218"/>
                    <a:pt x="10" y="218"/>
                  </a:cubicBezTo>
                  <a:cubicBezTo>
                    <a:pt x="23" y="240"/>
                    <a:pt x="23" y="240"/>
                    <a:pt x="23" y="240"/>
                  </a:cubicBezTo>
                  <a:cubicBezTo>
                    <a:pt x="19" y="253"/>
                    <a:pt x="19" y="253"/>
                    <a:pt x="19" y="253"/>
                  </a:cubicBezTo>
                  <a:cubicBezTo>
                    <a:pt x="27" y="265"/>
                    <a:pt x="27" y="265"/>
                    <a:pt x="27" y="265"/>
                  </a:cubicBezTo>
                  <a:cubicBezTo>
                    <a:pt x="4" y="270"/>
                    <a:pt x="4" y="270"/>
                    <a:pt x="4" y="270"/>
                  </a:cubicBezTo>
                  <a:cubicBezTo>
                    <a:pt x="20" y="309"/>
                    <a:pt x="20" y="309"/>
                    <a:pt x="20" y="309"/>
                  </a:cubicBezTo>
                  <a:cubicBezTo>
                    <a:pt x="6" y="344"/>
                    <a:pt x="6" y="344"/>
                    <a:pt x="6" y="344"/>
                  </a:cubicBezTo>
                  <a:cubicBezTo>
                    <a:pt x="31" y="365"/>
                    <a:pt x="31" y="365"/>
                    <a:pt x="31" y="365"/>
                  </a:cubicBezTo>
                  <a:cubicBezTo>
                    <a:pt x="31" y="365"/>
                    <a:pt x="40" y="385"/>
                    <a:pt x="40" y="429"/>
                  </a:cubicBezTo>
                  <a:cubicBezTo>
                    <a:pt x="50" y="437"/>
                    <a:pt x="50" y="437"/>
                    <a:pt x="50" y="437"/>
                  </a:cubicBezTo>
                  <a:cubicBezTo>
                    <a:pt x="50" y="437"/>
                    <a:pt x="51" y="469"/>
                    <a:pt x="46" y="474"/>
                  </a:cubicBezTo>
                  <a:cubicBezTo>
                    <a:pt x="40" y="480"/>
                    <a:pt x="56" y="497"/>
                    <a:pt x="43" y="512"/>
                  </a:cubicBezTo>
                  <a:cubicBezTo>
                    <a:pt x="47" y="514"/>
                    <a:pt x="67" y="546"/>
                    <a:pt x="76" y="548"/>
                  </a:cubicBezTo>
                  <a:cubicBezTo>
                    <a:pt x="86" y="549"/>
                    <a:pt x="91" y="538"/>
                    <a:pt x="95" y="538"/>
                  </a:cubicBezTo>
                  <a:cubicBezTo>
                    <a:pt x="99" y="538"/>
                    <a:pt x="107" y="545"/>
                    <a:pt x="111" y="545"/>
                  </a:cubicBezTo>
                  <a:cubicBezTo>
                    <a:pt x="115" y="545"/>
                    <a:pt x="126" y="537"/>
                    <a:pt x="126" y="537"/>
                  </a:cubicBezTo>
                  <a:cubicBezTo>
                    <a:pt x="138" y="544"/>
                    <a:pt x="138" y="544"/>
                    <a:pt x="138" y="544"/>
                  </a:cubicBezTo>
                  <a:cubicBezTo>
                    <a:pt x="138" y="558"/>
                    <a:pt x="138" y="558"/>
                    <a:pt x="138" y="558"/>
                  </a:cubicBezTo>
                  <a:cubicBezTo>
                    <a:pt x="150" y="544"/>
                    <a:pt x="150" y="544"/>
                    <a:pt x="150" y="544"/>
                  </a:cubicBezTo>
                  <a:cubicBezTo>
                    <a:pt x="159" y="545"/>
                    <a:pt x="159" y="545"/>
                    <a:pt x="159" y="545"/>
                  </a:cubicBezTo>
                  <a:cubicBezTo>
                    <a:pt x="159" y="545"/>
                    <a:pt x="160" y="517"/>
                    <a:pt x="164" y="521"/>
                  </a:cubicBezTo>
                  <a:cubicBezTo>
                    <a:pt x="168" y="525"/>
                    <a:pt x="198" y="576"/>
                    <a:pt x="198" y="576"/>
                  </a:cubicBezTo>
                  <a:cubicBezTo>
                    <a:pt x="202" y="594"/>
                    <a:pt x="202" y="594"/>
                    <a:pt x="202" y="594"/>
                  </a:cubicBezTo>
                  <a:cubicBezTo>
                    <a:pt x="219" y="597"/>
                    <a:pt x="219" y="597"/>
                    <a:pt x="219" y="597"/>
                  </a:cubicBezTo>
                  <a:cubicBezTo>
                    <a:pt x="230" y="610"/>
                    <a:pt x="230" y="610"/>
                    <a:pt x="230" y="610"/>
                  </a:cubicBezTo>
                  <a:cubicBezTo>
                    <a:pt x="230" y="610"/>
                    <a:pt x="258" y="600"/>
                    <a:pt x="256" y="614"/>
                  </a:cubicBezTo>
                  <a:cubicBezTo>
                    <a:pt x="255" y="629"/>
                    <a:pt x="255" y="658"/>
                    <a:pt x="255" y="658"/>
                  </a:cubicBezTo>
                  <a:cubicBezTo>
                    <a:pt x="248" y="658"/>
                    <a:pt x="248" y="658"/>
                    <a:pt x="248" y="658"/>
                  </a:cubicBezTo>
                  <a:cubicBezTo>
                    <a:pt x="243" y="672"/>
                    <a:pt x="243" y="672"/>
                    <a:pt x="243" y="672"/>
                  </a:cubicBezTo>
                  <a:cubicBezTo>
                    <a:pt x="235" y="669"/>
                    <a:pt x="235" y="669"/>
                    <a:pt x="235" y="669"/>
                  </a:cubicBezTo>
                  <a:cubicBezTo>
                    <a:pt x="236" y="697"/>
                    <a:pt x="236" y="697"/>
                    <a:pt x="236" y="697"/>
                  </a:cubicBezTo>
                  <a:cubicBezTo>
                    <a:pt x="250" y="697"/>
                    <a:pt x="250" y="697"/>
                    <a:pt x="250" y="697"/>
                  </a:cubicBezTo>
                  <a:cubicBezTo>
                    <a:pt x="256" y="710"/>
                    <a:pt x="256" y="710"/>
                    <a:pt x="256" y="710"/>
                  </a:cubicBezTo>
                  <a:cubicBezTo>
                    <a:pt x="280" y="704"/>
                    <a:pt x="280" y="704"/>
                    <a:pt x="280" y="704"/>
                  </a:cubicBezTo>
                  <a:cubicBezTo>
                    <a:pt x="280" y="704"/>
                    <a:pt x="280" y="705"/>
                    <a:pt x="295" y="706"/>
                  </a:cubicBezTo>
                  <a:cubicBezTo>
                    <a:pt x="305" y="707"/>
                    <a:pt x="305" y="705"/>
                    <a:pt x="304" y="703"/>
                  </a:cubicBezTo>
                  <a:cubicBezTo>
                    <a:pt x="303" y="702"/>
                    <a:pt x="303" y="701"/>
                    <a:pt x="303" y="701"/>
                  </a:cubicBezTo>
                  <a:cubicBezTo>
                    <a:pt x="303" y="701"/>
                    <a:pt x="304" y="702"/>
                    <a:pt x="304" y="703"/>
                  </a:cubicBezTo>
                  <a:cubicBezTo>
                    <a:pt x="307" y="707"/>
                    <a:pt x="314" y="715"/>
                    <a:pt x="319" y="714"/>
                  </a:cubicBezTo>
                  <a:cubicBezTo>
                    <a:pt x="326" y="713"/>
                    <a:pt x="320" y="706"/>
                    <a:pt x="326" y="706"/>
                  </a:cubicBezTo>
                  <a:cubicBezTo>
                    <a:pt x="331" y="706"/>
                    <a:pt x="342" y="705"/>
                    <a:pt x="342" y="705"/>
                  </a:cubicBezTo>
                  <a:cubicBezTo>
                    <a:pt x="346" y="666"/>
                    <a:pt x="346" y="666"/>
                    <a:pt x="346" y="666"/>
                  </a:cubicBezTo>
                  <a:cubicBezTo>
                    <a:pt x="358" y="665"/>
                    <a:pt x="358" y="665"/>
                    <a:pt x="358" y="665"/>
                  </a:cubicBezTo>
                  <a:cubicBezTo>
                    <a:pt x="367" y="678"/>
                    <a:pt x="367" y="678"/>
                    <a:pt x="367" y="678"/>
                  </a:cubicBezTo>
                  <a:cubicBezTo>
                    <a:pt x="382" y="666"/>
                    <a:pt x="382" y="666"/>
                    <a:pt x="382" y="666"/>
                  </a:cubicBezTo>
                  <a:cubicBezTo>
                    <a:pt x="382" y="666"/>
                    <a:pt x="382" y="676"/>
                    <a:pt x="387" y="676"/>
                  </a:cubicBezTo>
                  <a:cubicBezTo>
                    <a:pt x="392" y="676"/>
                    <a:pt x="391" y="660"/>
                    <a:pt x="402" y="664"/>
                  </a:cubicBezTo>
                  <a:cubicBezTo>
                    <a:pt x="412" y="668"/>
                    <a:pt x="411" y="678"/>
                    <a:pt x="411" y="678"/>
                  </a:cubicBezTo>
                  <a:cubicBezTo>
                    <a:pt x="419" y="686"/>
                    <a:pt x="419" y="686"/>
                    <a:pt x="419" y="686"/>
                  </a:cubicBezTo>
                  <a:cubicBezTo>
                    <a:pt x="420" y="702"/>
                    <a:pt x="420" y="702"/>
                    <a:pt x="420" y="702"/>
                  </a:cubicBezTo>
                  <a:cubicBezTo>
                    <a:pt x="431" y="704"/>
                    <a:pt x="431" y="704"/>
                    <a:pt x="431" y="704"/>
                  </a:cubicBezTo>
                  <a:cubicBezTo>
                    <a:pt x="459" y="596"/>
                    <a:pt x="459" y="596"/>
                    <a:pt x="459" y="596"/>
                  </a:cubicBezTo>
                  <a:cubicBezTo>
                    <a:pt x="459" y="596"/>
                    <a:pt x="476" y="602"/>
                    <a:pt x="490" y="602"/>
                  </a:cubicBezTo>
                  <a:cubicBezTo>
                    <a:pt x="503" y="602"/>
                    <a:pt x="518" y="589"/>
                    <a:pt x="520" y="594"/>
                  </a:cubicBezTo>
                  <a:cubicBezTo>
                    <a:pt x="523" y="600"/>
                    <a:pt x="524" y="612"/>
                    <a:pt x="528" y="612"/>
                  </a:cubicBezTo>
                  <a:cubicBezTo>
                    <a:pt x="530" y="612"/>
                    <a:pt x="538" y="613"/>
                    <a:pt x="546" y="614"/>
                  </a:cubicBezTo>
                  <a:cubicBezTo>
                    <a:pt x="547" y="608"/>
                    <a:pt x="547" y="608"/>
                    <a:pt x="547" y="608"/>
                  </a:cubicBezTo>
                  <a:cubicBezTo>
                    <a:pt x="566" y="602"/>
                    <a:pt x="566" y="602"/>
                    <a:pt x="566" y="602"/>
                  </a:cubicBezTo>
                  <a:cubicBezTo>
                    <a:pt x="566" y="602"/>
                    <a:pt x="570" y="596"/>
                    <a:pt x="567" y="594"/>
                  </a:cubicBezTo>
                  <a:cubicBezTo>
                    <a:pt x="542" y="588"/>
                    <a:pt x="563" y="569"/>
                    <a:pt x="563" y="569"/>
                  </a:cubicBezTo>
                  <a:cubicBezTo>
                    <a:pt x="563" y="569"/>
                    <a:pt x="566" y="549"/>
                    <a:pt x="571" y="549"/>
                  </a:cubicBezTo>
                  <a:cubicBezTo>
                    <a:pt x="554" y="540"/>
                    <a:pt x="562" y="522"/>
                    <a:pt x="562" y="522"/>
                  </a:cubicBezTo>
                  <a:cubicBezTo>
                    <a:pt x="551" y="526"/>
                    <a:pt x="551" y="526"/>
                    <a:pt x="551" y="526"/>
                  </a:cubicBezTo>
                  <a:cubicBezTo>
                    <a:pt x="551" y="506"/>
                    <a:pt x="551" y="506"/>
                    <a:pt x="551" y="506"/>
                  </a:cubicBezTo>
                  <a:cubicBezTo>
                    <a:pt x="539" y="496"/>
                    <a:pt x="539" y="496"/>
                    <a:pt x="539" y="496"/>
                  </a:cubicBezTo>
                  <a:cubicBezTo>
                    <a:pt x="572" y="484"/>
                    <a:pt x="572" y="484"/>
                    <a:pt x="572" y="484"/>
                  </a:cubicBezTo>
                  <a:cubicBezTo>
                    <a:pt x="556" y="472"/>
                    <a:pt x="544" y="468"/>
                    <a:pt x="544" y="468"/>
                  </a:cubicBezTo>
                  <a:cubicBezTo>
                    <a:pt x="540" y="457"/>
                    <a:pt x="540" y="457"/>
                    <a:pt x="540" y="457"/>
                  </a:cubicBezTo>
                  <a:cubicBezTo>
                    <a:pt x="526" y="456"/>
                    <a:pt x="526" y="456"/>
                    <a:pt x="526" y="456"/>
                  </a:cubicBezTo>
                  <a:cubicBezTo>
                    <a:pt x="526" y="444"/>
                    <a:pt x="538" y="430"/>
                    <a:pt x="538" y="430"/>
                  </a:cubicBezTo>
                  <a:cubicBezTo>
                    <a:pt x="531" y="429"/>
                    <a:pt x="531" y="429"/>
                    <a:pt x="531" y="429"/>
                  </a:cubicBezTo>
                  <a:cubicBezTo>
                    <a:pt x="531" y="429"/>
                    <a:pt x="536" y="420"/>
                    <a:pt x="539" y="416"/>
                  </a:cubicBezTo>
                  <a:cubicBezTo>
                    <a:pt x="560" y="405"/>
                    <a:pt x="580" y="340"/>
                    <a:pt x="580" y="340"/>
                  </a:cubicBezTo>
                  <a:cubicBezTo>
                    <a:pt x="572" y="332"/>
                    <a:pt x="572" y="332"/>
                    <a:pt x="572" y="332"/>
                  </a:cubicBezTo>
                  <a:cubicBezTo>
                    <a:pt x="575" y="312"/>
                    <a:pt x="575" y="312"/>
                    <a:pt x="575" y="312"/>
                  </a:cubicBezTo>
                  <a:cubicBezTo>
                    <a:pt x="556" y="316"/>
                    <a:pt x="556" y="316"/>
                    <a:pt x="556" y="316"/>
                  </a:cubicBezTo>
                  <a:cubicBezTo>
                    <a:pt x="556" y="294"/>
                    <a:pt x="556" y="294"/>
                    <a:pt x="556" y="294"/>
                  </a:cubicBezTo>
                  <a:cubicBezTo>
                    <a:pt x="556" y="294"/>
                    <a:pt x="535" y="290"/>
                    <a:pt x="543" y="290"/>
                  </a:cubicBezTo>
                  <a:cubicBezTo>
                    <a:pt x="551" y="290"/>
                    <a:pt x="539" y="280"/>
                    <a:pt x="555" y="280"/>
                  </a:cubicBezTo>
                  <a:cubicBezTo>
                    <a:pt x="571" y="280"/>
                    <a:pt x="566" y="240"/>
                    <a:pt x="566" y="240"/>
                  </a:cubicBezTo>
                  <a:cubicBezTo>
                    <a:pt x="558" y="236"/>
                    <a:pt x="558" y="236"/>
                    <a:pt x="558" y="236"/>
                  </a:cubicBezTo>
                  <a:cubicBezTo>
                    <a:pt x="550" y="244"/>
                    <a:pt x="550" y="244"/>
                    <a:pt x="550" y="244"/>
                  </a:cubicBezTo>
                  <a:cubicBezTo>
                    <a:pt x="547" y="240"/>
                    <a:pt x="547" y="240"/>
                    <a:pt x="547" y="240"/>
                  </a:cubicBezTo>
                  <a:cubicBezTo>
                    <a:pt x="546" y="242"/>
                    <a:pt x="545" y="244"/>
                    <a:pt x="544" y="244"/>
                  </a:cubicBezTo>
                  <a:cubicBezTo>
                    <a:pt x="540" y="244"/>
                    <a:pt x="535" y="241"/>
                    <a:pt x="535" y="241"/>
                  </a:cubicBezTo>
                  <a:cubicBezTo>
                    <a:pt x="518" y="253"/>
                    <a:pt x="518" y="253"/>
                    <a:pt x="518" y="253"/>
                  </a:cubicBezTo>
                  <a:cubicBezTo>
                    <a:pt x="518" y="240"/>
                    <a:pt x="518" y="240"/>
                    <a:pt x="518" y="240"/>
                  </a:cubicBezTo>
                  <a:cubicBezTo>
                    <a:pt x="502" y="232"/>
                    <a:pt x="502" y="232"/>
                    <a:pt x="502" y="232"/>
                  </a:cubicBezTo>
                  <a:cubicBezTo>
                    <a:pt x="502" y="222"/>
                    <a:pt x="502" y="222"/>
                    <a:pt x="502" y="222"/>
                  </a:cubicBezTo>
                  <a:cubicBezTo>
                    <a:pt x="502" y="222"/>
                    <a:pt x="498" y="226"/>
                    <a:pt x="488" y="226"/>
                  </a:cubicBezTo>
                  <a:cubicBezTo>
                    <a:pt x="479" y="226"/>
                    <a:pt x="467" y="212"/>
                    <a:pt x="467" y="212"/>
                  </a:cubicBezTo>
                  <a:cubicBezTo>
                    <a:pt x="455" y="217"/>
                    <a:pt x="455" y="217"/>
                    <a:pt x="455" y="217"/>
                  </a:cubicBezTo>
                  <a:cubicBezTo>
                    <a:pt x="455" y="194"/>
                    <a:pt x="455" y="194"/>
                    <a:pt x="455" y="194"/>
                  </a:cubicBezTo>
                  <a:cubicBezTo>
                    <a:pt x="446" y="192"/>
                    <a:pt x="446" y="192"/>
                    <a:pt x="446" y="192"/>
                  </a:cubicBezTo>
                  <a:cubicBezTo>
                    <a:pt x="446" y="191"/>
                    <a:pt x="446" y="191"/>
                    <a:pt x="446" y="191"/>
                  </a:cubicBezTo>
                  <a:cubicBezTo>
                    <a:pt x="456" y="173"/>
                    <a:pt x="456" y="173"/>
                    <a:pt x="456" y="173"/>
                  </a:cubicBezTo>
                  <a:cubicBezTo>
                    <a:pt x="450" y="165"/>
                    <a:pt x="439" y="144"/>
                    <a:pt x="439" y="144"/>
                  </a:cubicBezTo>
                  <a:cubicBezTo>
                    <a:pt x="432" y="150"/>
                    <a:pt x="432" y="150"/>
                    <a:pt x="432" y="150"/>
                  </a:cubicBezTo>
                  <a:cubicBezTo>
                    <a:pt x="426" y="146"/>
                    <a:pt x="426" y="146"/>
                    <a:pt x="426" y="146"/>
                  </a:cubicBezTo>
                  <a:cubicBezTo>
                    <a:pt x="432" y="138"/>
                    <a:pt x="432" y="138"/>
                    <a:pt x="432" y="138"/>
                  </a:cubicBezTo>
                  <a:cubicBezTo>
                    <a:pt x="427" y="133"/>
                    <a:pt x="427" y="133"/>
                    <a:pt x="427" y="133"/>
                  </a:cubicBezTo>
                  <a:cubicBezTo>
                    <a:pt x="414" y="133"/>
                    <a:pt x="414" y="133"/>
                    <a:pt x="414" y="133"/>
                  </a:cubicBezTo>
                  <a:cubicBezTo>
                    <a:pt x="414" y="133"/>
                    <a:pt x="414" y="133"/>
                    <a:pt x="415" y="116"/>
                  </a:cubicBezTo>
                  <a:cubicBezTo>
                    <a:pt x="334" y="100"/>
                    <a:pt x="366" y="134"/>
                    <a:pt x="366" y="134"/>
                  </a:cubicBezTo>
                  <a:cubicBezTo>
                    <a:pt x="311" y="136"/>
                    <a:pt x="311" y="136"/>
                    <a:pt x="311" y="136"/>
                  </a:cubicBezTo>
                  <a:cubicBezTo>
                    <a:pt x="311" y="148"/>
                    <a:pt x="311" y="148"/>
                    <a:pt x="311" y="148"/>
                  </a:cubicBezTo>
                  <a:cubicBezTo>
                    <a:pt x="302" y="145"/>
                    <a:pt x="302" y="145"/>
                    <a:pt x="302" y="145"/>
                  </a:cubicBezTo>
                  <a:cubicBezTo>
                    <a:pt x="296" y="132"/>
                    <a:pt x="296" y="132"/>
                    <a:pt x="296" y="132"/>
                  </a:cubicBezTo>
                  <a:cubicBezTo>
                    <a:pt x="287" y="132"/>
                    <a:pt x="287" y="132"/>
                    <a:pt x="287" y="132"/>
                  </a:cubicBezTo>
                  <a:cubicBezTo>
                    <a:pt x="290" y="141"/>
                    <a:pt x="290" y="141"/>
                    <a:pt x="290" y="141"/>
                  </a:cubicBezTo>
                  <a:cubicBezTo>
                    <a:pt x="283" y="137"/>
                    <a:pt x="283" y="137"/>
                    <a:pt x="283" y="137"/>
                  </a:cubicBezTo>
                  <a:cubicBezTo>
                    <a:pt x="270" y="148"/>
                    <a:pt x="270" y="148"/>
                    <a:pt x="270" y="148"/>
                  </a:cubicBezTo>
                  <a:cubicBezTo>
                    <a:pt x="258" y="141"/>
                    <a:pt x="258" y="141"/>
                    <a:pt x="258" y="141"/>
                  </a:cubicBezTo>
                  <a:cubicBezTo>
                    <a:pt x="256" y="146"/>
                    <a:pt x="256" y="146"/>
                    <a:pt x="256" y="146"/>
                  </a:cubicBezTo>
                  <a:cubicBezTo>
                    <a:pt x="222" y="145"/>
                    <a:pt x="222" y="145"/>
                    <a:pt x="222" y="145"/>
                  </a:cubicBezTo>
                  <a:cubicBezTo>
                    <a:pt x="222" y="145"/>
                    <a:pt x="226" y="128"/>
                    <a:pt x="226" y="125"/>
                  </a:cubicBezTo>
                  <a:cubicBezTo>
                    <a:pt x="216" y="133"/>
                    <a:pt x="218" y="129"/>
                    <a:pt x="208" y="109"/>
                  </a:cubicBezTo>
                  <a:cubicBezTo>
                    <a:pt x="199" y="89"/>
                    <a:pt x="190" y="81"/>
                    <a:pt x="190" y="81"/>
                  </a:cubicBezTo>
                  <a:cubicBezTo>
                    <a:pt x="190" y="70"/>
                    <a:pt x="190" y="70"/>
                    <a:pt x="190" y="70"/>
                  </a:cubicBezTo>
                  <a:cubicBezTo>
                    <a:pt x="182" y="69"/>
                    <a:pt x="182" y="69"/>
                    <a:pt x="182" y="69"/>
                  </a:cubicBezTo>
                  <a:cubicBezTo>
                    <a:pt x="182" y="78"/>
                    <a:pt x="182" y="78"/>
                    <a:pt x="182" y="78"/>
                  </a:cubicBezTo>
                  <a:cubicBezTo>
                    <a:pt x="176" y="81"/>
                    <a:pt x="176" y="81"/>
                    <a:pt x="176" y="81"/>
                  </a:cubicBezTo>
                  <a:cubicBezTo>
                    <a:pt x="167" y="66"/>
                    <a:pt x="167" y="66"/>
                    <a:pt x="167" y="66"/>
                  </a:cubicBezTo>
                  <a:cubicBezTo>
                    <a:pt x="158" y="69"/>
                    <a:pt x="158" y="69"/>
                    <a:pt x="158" y="69"/>
                  </a:cubicBezTo>
                  <a:cubicBezTo>
                    <a:pt x="167" y="60"/>
                    <a:pt x="159" y="38"/>
                    <a:pt x="159" y="38"/>
                  </a:cubicBezTo>
                  <a:cubicBezTo>
                    <a:pt x="155" y="33"/>
                    <a:pt x="155" y="33"/>
                    <a:pt x="155" y="33"/>
                  </a:cubicBezTo>
                  <a:cubicBezTo>
                    <a:pt x="155" y="18"/>
                    <a:pt x="128" y="8"/>
                    <a:pt x="128" y="8"/>
                  </a:cubicBezTo>
                  <a:cubicBezTo>
                    <a:pt x="122" y="10"/>
                    <a:pt x="122" y="10"/>
                    <a:pt x="122" y="10"/>
                  </a:cubicBezTo>
                  <a:cubicBezTo>
                    <a:pt x="118" y="0"/>
                    <a:pt x="118" y="0"/>
                    <a:pt x="118" y="0"/>
                  </a:cubicBezTo>
                  <a:cubicBezTo>
                    <a:pt x="103" y="8"/>
                    <a:pt x="103" y="8"/>
                    <a:pt x="103" y="8"/>
                  </a:cubicBezTo>
                  <a:cubicBezTo>
                    <a:pt x="44" y="8"/>
                    <a:pt x="44" y="8"/>
                    <a:pt x="44" y="8"/>
                  </a:cubicBezTo>
                  <a:cubicBezTo>
                    <a:pt x="36" y="28"/>
                    <a:pt x="36" y="28"/>
                    <a:pt x="36" y="28"/>
                  </a:cubicBezTo>
                  <a:cubicBezTo>
                    <a:pt x="42" y="44"/>
                    <a:pt x="42" y="44"/>
                    <a:pt x="42" y="44"/>
                  </a:cubicBezTo>
                  <a:cubicBezTo>
                    <a:pt x="42" y="44"/>
                    <a:pt x="28" y="66"/>
                    <a:pt x="20" y="75"/>
                  </a:cubicBezTo>
                  <a:cubicBezTo>
                    <a:pt x="39" y="84"/>
                    <a:pt x="39" y="84"/>
                    <a:pt x="39" y="84"/>
                  </a:cubicBezTo>
                  <a:cubicBezTo>
                    <a:pt x="39" y="84"/>
                    <a:pt x="28" y="104"/>
                    <a:pt x="58" y="114"/>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61" name="Centre" descr="© INSCALE GmbH, 05.05.2010&#10;http://www.presentationload.com/">
              <a:extLst>
                <a:ext uri="{FF2B5EF4-FFF2-40B4-BE49-F238E27FC236}">
                  <a16:creationId xmlns:a16="http://schemas.microsoft.com/office/drawing/2014/main" id="{F9DE4A32-4A00-497E-888D-DD69B26302B1}"/>
                </a:ext>
              </a:extLst>
            </p:cNvPr>
            <p:cNvSpPr>
              <a:spLocks/>
            </p:cNvSpPr>
            <p:nvPr/>
          </p:nvSpPr>
          <p:spPr bwMode="gray">
            <a:xfrm>
              <a:off x="1233" y="903"/>
              <a:ext cx="716" cy="887"/>
            </a:xfrm>
            <a:custGeom>
              <a:avLst/>
              <a:gdLst/>
              <a:ahLst/>
              <a:cxnLst>
                <a:cxn ang="0">
                  <a:pos x="209" y="158"/>
                </a:cxn>
                <a:cxn ang="0">
                  <a:pos x="173" y="227"/>
                </a:cxn>
                <a:cxn ang="0">
                  <a:pos x="193" y="251"/>
                </a:cxn>
                <a:cxn ang="0">
                  <a:pos x="168" y="275"/>
                </a:cxn>
                <a:cxn ang="0">
                  <a:pos x="179" y="314"/>
                </a:cxn>
                <a:cxn ang="0">
                  <a:pos x="144" y="367"/>
                </a:cxn>
                <a:cxn ang="0">
                  <a:pos x="79" y="406"/>
                </a:cxn>
                <a:cxn ang="0">
                  <a:pos x="43" y="418"/>
                </a:cxn>
                <a:cxn ang="0">
                  <a:pos x="29" y="494"/>
                </a:cxn>
                <a:cxn ang="0">
                  <a:pos x="29" y="594"/>
                </a:cxn>
                <a:cxn ang="0">
                  <a:pos x="56" y="598"/>
                </a:cxn>
                <a:cxn ang="0">
                  <a:pos x="79" y="632"/>
                </a:cxn>
                <a:cxn ang="0">
                  <a:pos x="108" y="611"/>
                </a:cxn>
                <a:cxn ang="0">
                  <a:pos x="185" y="712"/>
                </a:cxn>
                <a:cxn ang="0">
                  <a:pos x="233" y="788"/>
                </a:cxn>
                <a:cxn ang="0">
                  <a:pos x="251" y="820"/>
                </a:cxn>
                <a:cxn ang="0">
                  <a:pos x="287" y="811"/>
                </a:cxn>
                <a:cxn ang="0">
                  <a:pos x="320" y="814"/>
                </a:cxn>
                <a:cxn ang="0">
                  <a:pos x="353" y="806"/>
                </a:cxn>
                <a:cxn ang="0">
                  <a:pos x="404" y="802"/>
                </a:cxn>
                <a:cxn ang="0">
                  <a:pos x="539" y="771"/>
                </a:cxn>
                <a:cxn ang="0">
                  <a:pos x="559" y="719"/>
                </a:cxn>
                <a:cxn ang="0">
                  <a:pos x="650" y="684"/>
                </a:cxn>
                <a:cxn ang="0">
                  <a:pos x="655" y="607"/>
                </a:cxn>
                <a:cxn ang="0">
                  <a:pos x="611" y="514"/>
                </a:cxn>
                <a:cxn ang="0">
                  <a:pos x="632" y="435"/>
                </a:cxn>
                <a:cxn ang="0">
                  <a:pos x="615" y="388"/>
                </a:cxn>
                <a:cxn ang="0">
                  <a:pos x="641" y="364"/>
                </a:cxn>
                <a:cxn ang="0">
                  <a:pos x="639" y="327"/>
                </a:cxn>
                <a:cxn ang="0">
                  <a:pos x="663" y="284"/>
                </a:cxn>
                <a:cxn ang="0">
                  <a:pos x="624" y="246"/>
                </a:cxn>
                <a:cxn ang="0">
                  <a:pos x="581" y="247"/>
                </a:cxn>
                <a:cxn ang="0">
                  <a:pos x="520" y="254"/>
                </a:cxn>
                <a:cxn ang="0">
                  <a:pos x="513" y="214"/>
                </a:cxn>
                <a:cxn ang="0">
                  <a:pos x="491" y="194"/>
                </a:cxn>
                <a:cxn ang="0">
                  <a:pos x="468" y="188"/>
                </a:cxn>
                <a:cxn ang="0">
                  <a:pos x="419" y="204"/>
                </a:cxn>
                <a:cxn ang="0">
                  <a:pos x="405" y="154"/>
                </a:cxn>
                <a:cxn ang="0">
                  <a:pos x="364" y="115"/>
                </a:cxn>
                <a:cxn ang="0">
                  <a:pos x="341" y="88"/>
                </a:cxn>
                <a:cxn ang="0">
                  <a:pos x="344" y="59"/>
                </a:cxn>
                <a:cxn ang="0">
                  <a:pos x="331" y="23"/>
                </a:cxn>
                <a:cxn ang="0">
                  <a:pos x="312" y="3"/>
                </a:cxn>
                <a:cxn ang="0">
                  <a:pos x="287" y="51"/>
                </a:cxn>
                <a:cxn ang="0">
                  <a:pos x="225" y="54"/>
                </a:cxn>
                <a:cxn ang="0">
                  <a:pos x="177" y="98"/>
                </a:cxn>
              </a:cxnLst>
              <a:rect l="0" t="0" r="r" b="b"/>
              <a:pathLst>
                <a:path w="664" h="822">
                  <a:moveTo>
                    <a:pt x="205" y="131"/>
                  </a:moveTo>
                  <a:cubicBezTo>
                    <a:pt x="205" y="136"/>
                    <a:pt x="201" y="144"/>
                    <a:pt x="201" y="144"/>
                  </a:cubicBezTo>
                  <a:cubicBezTo>
                    <a:pt x="209" y="158"/>
                    <a:pt x="209" y="158"/>
                    <a:pt x="209" y="158"/>
                  </a:cubicBezTo>
                  <a:cubicBezTo>
                    <a:pt x="197" y="172"/>
                    <a:pt x="197" y="172"/>
                    <a:pt x="197" y="172"/>
                  </a:cubicBezTo>
                  <a:cubicBezTo>
                    <a:pt x="197" y="172"/>
                    <a:pt x="171" y="179"/>
                    <a:pt x="168" y="190"/>
                  </a:cubicBezTo>
                  <a:cubicBezTo>
                    <a:pt x="165" y="200"/>
                    <a:pt x="173" y="227"/>
                    <a:pt x="173" y="227"/>
                  </a:cubicBezTo>
                  <a:cubicBezTo>
                    <a:pt x="173" y="235"/>
                    <a:pt x="173" y="235"/>
                    <a:pt x="173" y="235"/>
                  </a:cubicBezTo>
                  <a:cubicBezTo>
                    <a:pt x="193" y="242"/>
                    <a:pt x="193" y="242"/>
                    <a:pt x="193" y="242"/>
                  </a:cubicBezTo>
                  <a:cubicBezTo>
                    <a:pt x="193" y="251"/>
                    <a:pt x="193" y="251"/>
                    <a:pt x="193" y="251"/>
                  </a:cubicBezTo>
                  <a:cubicBezTo>
                    <a:pt x="179" y="252"/>
                    <a:pt x="179" y="252"/>
                    <a:pt x="179" y="252"/>
                  </a:cubicBezTo>
                  <a:cubicBezTo>
                    <a:pt x="179" y="270"/>
                    <a:pt x="179" y="270"/>
                    <a:pt x="179" y="270"/>
                  </a:cubicBezTo>
                  <a:cubicBezTo>
                    <a:pt x="168" y="275"/>
                    <a:pt x="168" y="275"/>
                    <a:pt x="168" y="275"/>
                  </a:cubicBezTo>
                  <a:cubicBezTo>
                    <a:pt x="176" y="287"/>
                    <a:pt x="176" y="287"/>
                    <a:pt x="176" y="287"/>
                  </a:cubicBezTo>
                  <a:cubicBezTo>
                    <a:pt x="172" y="300"/>
                    <a:pt x="172" y="300"/>
                    <a:pt x="172" y="300"/>
                  </a:cubicBezTo>
                  <a:cubicBezTo>
                    <a:pt x="179" y="314"/>
                    <a:pt x="179" y="314"/>
                    <a:pt x="179" y="314"/>
                  </a:cubicBezTo>
                  <a:cubicBezTo>
                    <a:pt x="171" y="324"/>
                    <a:pt x="171" y="324"/>
                    <a:pt x="171" y="324"/>
                  </a:cubicBezTo>
                  <a:cubicBezTo>
                    <a:pt x="171" y="324"/>
                    <a:pt x="161" y="328"/>
                    <a:pt x="161" y="343"/>
                  </a:cubicBezTo>
                  <a:cubicBezTo>
                    <a:pt x="157" y="347"/>
                    <a:pt x="144" y="367"/>
                    <a:pt x="144" y="367"/>
                  </a:cubicBezTo>
                  <a:cubicBezTo>
                    <a:pt x="144" y="367"/>
                    <a:pt x="112" y="388"/>
                    <a:pt x="128" y="394"/>
                  </a:cubicBezTo>
                  <a:cubicBezTo>
                    <a:pt x="124" y="395"/>
                    <a:pt x="95" y="402"/>
                    <a:pt x="95" y="402"/>
                  </a:cubicBezTo>
                  <a:cubicBezTo>
                    <a:pt x="95" y="402"/>
                    <a:pt x="96" y="424"/>
                    <a:pt x="79" y="406"/>
                  </a:cubicBezTo>
                  <a:cubicBezTo>
                    <a:pt x="80" y="408"/>
                    <a:pt x="69" y="415"/>
                    <a:pt x="69" y="415"/>
                  </a:cubicBezTo>
                  <a:cubicBezTo>
                    <a:pt x="80" y="430"/>
                    <a:pt x="80" y="430"/>
                    <a:pt x="80" y="430"/>
                  </a:cubicBezTo>
                  <a:cubicBezTo>
                    <a:pt x="43" y="418"/>
                    <a:pt x="43" y="418"/>
                    <a:pt x="43" y="418"/>
                  </a:cubicBezTo>
                  <a:cubicBezTo>
                    <a:pt x="43" y="418"/>
                    <a:pt x="32" y="446"/>
                    <a:pt x="39" y="454"/>
                  </a:cubicBezTo>
                  <a:cubicBezTo>
                    <a:pt x="35" y="464"/>
                    <a:pt x="23" y="482"/>
                    <a:pt x="23" y="482"/>
                  </a:cubicBezTo>
                  <a:cubicBezTo>
                    <a:pt x="29" y="494"/>
                    <a:pt x="29" y="494"/>
                    <a:pt x="29" y="494"/>
                  </a:cubicBezTo>
                  <a:cubicBezTo>
                    <a:pt x="29" y="494"/>
                    <a:pt x="0" y="528"/>
                    <a:pt x="3" y="556"/>
                  </a:cubicBezTo>
                  <a:cubicBezTo>
                    <a:pt x="5" y="584"/>
                    <a:pt x="29" y="580"/>
                    <a:pt x="29" y="580"/>
                  </a:cubicBezTo>
                  <a:cubicBezTo>
                    <a:pt x="29" y="594"/>
                    <a:pt x="29" y="594"/>
                    <a:pt x="29" y="594"/>
                  </a:cubicBezTo>
                  <a:cubicBezTo>
                    <a:pt x="43" y="587"/>
                    <a:pt x="43" y="587"/>
                    <a:pt x="43" y="587"/>
                  </a:cubicBezTo>
                  <a:cubicBezTo>
                    <a:pt x="47" y="594"/>
                    <a:pt x="47" y="594"/>
                    <a:pt x="47" y="594"/>
                  </a:cubicBezTo>
                  <a:cubicBezTo>
                    <a:pt x="56" y="598"/>
                    <a:pt x="56" y="598"/>
                    <a:pt x="56" y="598"/>
                  </a:cubicBezTo>
                  <a:cubicBezTo>
                    <a:pt x="56" y="598"/>
                    <a:pt x="44" y="624"/>
                    <a:pt x="56" y="628"/>
                  </a:cubicBezTo>
                  <a:cubicBezTo>
                    <a:pt x="68" y="632"/>
                    <a:pt x="67" y="626"/>
                    <a:pt x="67" y="626"/>
                  </a:cubicBezTo>
                  <a:cubicBezTo>
                    <a:pt x="79" y="632"/>
                    <a:pt x="79" y="632"/>
                    <a:pt x="79" y="632"/>
                  </a:cubicBezTo>
                  <a:cubicBezTo>
                    <a:pt x="93" y="624"/>
                    <a:pt x="93" y="624"/>
                    <a:pt x="93" y="624"/>
                  </a:cubicBezTo>
                  <a:cubicBezTo>
                    <a:pt x="116" y="624"/>
                    <a:pt x="116" y="624"/>
                    <a:pt x="116" y="624"/>
                  </a:cubicBezTo>
                  <a:cubicBezTo>
                    <a:pt x="108" y="611"/>
                    <a:pt x="108" y="611"/>
                    <a:pt x="108" y="611"/>
                  </a:cubicBezTo>
                  <a:cubicBezTo>
                    <a:pt x="140" y="622"/>
                    <a:pt x="140" y="622"/>
                    <a:pt x="140" y="622"/>
                  </a:cubicBezTo>
                  <a:cubicBezTo>
                    <a:pt x="140" y="622"/>
                    <a:pt x="143" y="654"/>
                    <a:pt x="160" y="670"/>
                  </a:cubicBezTo>
                  <a:cubicBezTo>
                    <a:pt x="177" y="686"/>
                    <a:pt x="153" y="679"/>
                    <a:pt x="185" y="712"/>
                  </a:cubicBezTo>
                  <a:cubicBezTo>
                    <a:pt x="184" y="726"/>
                    <a:pt x="179" y="755"/>
                    <a:pt x="207" y="756"/>
                  </a:cubicBezTo>
                  <a:cubicBezTo>
                    <a:pt x="211" y="758"/>
                    <a:pt x="208" y="767"/>
                    <a:pt x="208" y="767"/>
                  </a:cubicBezTo>
                  <a:cubicBezTo>
                    <a:pt x="208" y="767"/>
                    <a:pt x="227" y="746"/>
                    <a:pt x="233" y="788"/>
                  </a:cubicBezTo>
                  <a:cubicBezTo>
                    <a:pt x="237" y="795"/>
                    <a:pt x="248" y="800"/>
                    <a:pt x="248" y="800"/>
                  </a:cubicBezTo>
                  <a:cubicBezTo>
                    <a:pt x="244" y="811"/>
                    <a:pt x="244" y="811"/>
                    <a:pt x="244" y="811"/>
                  </a:cubicBezTo>
                  <a:cubicBezTo>
                    <a:pt x="251" y="820"/>
                    <a:pt x="251" y="820"/>
                    <a:pt x="251" y="820"/>
                  </a:cubicBezTo>
                  <a:cubicBezTo>
                    <a:pt x="269" y="818"/>
                    <a:pt x="269" y="818"/>
                    <a:pt x="269" y="818"/>
                  </a:cubicBezTo>
                  <a:cubicBezTo>
                    <a:pt x="269" y="811"/>
                    <a:pt x="269" y="811"/>
                    <a:pt x="269" y="811"/>
                  </a:cubicBezTo>
                  <a:cubicBezTo>
                    <a:pt x="287" y="811"/>
                    <a:pt x="287" y="811"/>
                    <a:pt x="287" y="811"/>
                  </a:cubicBezTo>
                  <a:cubicBezTo>
                    <a:pt x="292" y="822"/>
                    <a:pt x="292" y="822"/>
                    <a:pt x="292" y="822"/>
                  </a:cubicBezTo>
                  <a:cubicBezTo>
                    <a:pt x="319" y="802"/>
                    <a:pt x="319" y="802"/>
                    <a:pt x="319" y="802"/>
                  </a:cubicBezTo>
                  <a:cubicBezTo>
                    <a:pt x="320" y="814"/>
                    <a:pt x="320" y="814"/>
                    <a:pt x="320" y="814"/>
                  </a:cubicBezTo>
                  <a:cubicBezTo>
                    <a:pt x="337" y="803"/>
                    <a:pt x="337" y="803"/>
                    <a:pt x="337" y="803"/>
                  </a:cubicBezTo>
                  <a:cubicBezTo>
                    <a:pt x="340" y="811"/>
                    <a:pt x="340" y="811"/>
                    <a:pt x="340" y="811"/>
                  </a:cubicBezTo>
                  <a:cubicBezTo>
                    <a:pt x="353" y="806"/>
                    <a:pt x="353" y="806"/>
                    <a:pt x="353" y="806"/>
                  </a:cubicBezTo>
                  <a:cubicBezTo>
                    <a:pt x="363" y="812"/>
                    <a:pt x="363" y="812"/>
                    <a:pt x="363" y="812"/>
                  </a:cubicBezTo>
                  <a:cubicBezTo>
                    <a:pt x="368" y="794"/>
                    <a:pt x="368" y="794"/>
                    <a:pt x="368" y="794"/>
                  </a:cubicBezTo>
                  <a:cubicBezTo>
                    <a:pt x="368" y="794"/>
                    <a:pt x="392" y="804"/>
                    <a:pt x="404" y="802"/>
                  </a:cubicBezTo>
                  <a:cubicBezTo>
                    <a:pt x="416" y="799"/>
                    <a:pt x="411" y="790"/>
                    <a:pt x="436" y="803"/>
                  </a:cubicBezTo>
                  <a:cubicBezTo>
                    <a:pt x="441" y="812"/>
                    <a:pt x="483" y="802"/>
                    <a:pt x="483" y="802"/>
                  </a:cubicBezTo>
                  <a:cubicBezTo>
                    <a:pt x="483" y="802"/>
                    <a:pt x="505" y="759"/>
                    <a:pt x="539" y="771"/>
                  </a:cubicBezTo>
                  <a:cubicBezTo>
                    <a:pt x="555" y="760"/>
                    <a:pt x="555" y="760"/>
                    <a:pt x="555" y="760"/>
                  </a:cubicBezTo>
                  <a:cubicBezTo>
                    <a:pt x="555" y="760"/>
                    <a:pt x="545" y="738"/>
                    <a:pt x="552" y="732"/>
                  </a:cubicBezTo>
                  <a:cubicBezTo>
                    <a:pt x="559" y="727"/>
                    <a:pt x="559" y="719"/>
                    <a:pt x="559" y="719"/>
                  </a:cubicBezTo>
                  <a:cubicBezTo>
                    <a:pt x="559" y="719"/>
                    <a:pt x="577" y="700"/>
                    <a:pt x="581" y="700"/>
                  </a:cubicBezTo>
                  <a:cubicBezTo>
                    <a:pt x="585" y="700"/>
                    <a:pt x="600" y="722"/>
                    <a:pt x="608" y="706"/>
                  </a:cubicBezTo>
                  <a:cubicBezTo>
                    <a:pt x="615" y="691"/>
                    <a:pt x="625" y="683"/>
                    <a:pt x="650" y="684"/>
                  </a:cubicBezTo>
                  <a:cubicBezTo>
                    <a:pt x="649" y="683"/>
                    <a:pt x="649" y="682"/>
                    <a:pt x="648" y="682"/>
                  </a:cubicBezTo>
                  <a:cubicBezTo>
                    <a:pt x="661" y="667"/>
                    <a:pt x="645" y="650"/>
                    <a:pt x="651" y="644"/>
                  </a:cubicBezTo>
                  <a:cubicBezTo>
                    <a:pt x="656" y="639"/>
                    <a:pt x="655" y="607"/>
                    <a:pt x="655" y="607"/>
                  </a:cubicBezTo>
                  <a:cubicBezTo>
                    <a:pt x="645" y="599"/>
                    <a:pt x="645" y="599"/>
                    <a:pt x="645" y="599"/>
                  </a:cubicBezTo>
                  <a:cubicBezTo>
                    <a:pt x="645" y="555"/>
                    <a:pt x="636" y="535"/>
                    <a:pt x="636" y="535"/>
                  </a:cubicBezTo>
                  <a:cubicBezTo>
                    <a:pt x="611" y="514"/>
                    <a:pt x="611" y="514"/>
                    <a:pt x="611" y="514"/>
                  </a:cubicBezTo>
                  <a:cubicBezTo>
                    <a:pt x="625" y="479"/>
                    <a:pt x="625" y="479"/>
                    <a:pt x="625" y="479"/>
                  </a:cubicBezTo>
                  <a:cubicBezTo>
                    <a:pt x="609" y="440"/>
                    <a:pt x="609" y="440"/>
                    <a:pt x="609" y="440"/>
                  </a:cubicBezTo>
                  <a:cubicBezTo>
                    <a:pt x="632" y="435"/>
                    <a:pt x="632" y="435"/>
                    <a:pt x="632" y="435"/>
                  </a:cubicBezTo>
                  <a:cubicBezTo>
                    <a:pt x="624" y="423"/>
                    <a:pt x="624" y="423"/>
                    <a:pt x="624" y="423"/>
                  </a:cubicBezTo>
                  <a:cubicBezTo>
                    <a:pt x="628" y="410"/>
                    <a:pt x="628" y="410"/>
                    <a:pt x="628" y="410"/>
                  </a:cubicBezTo>
                  <a:cubicBezTo>
                    <a:pt x="615" y="388"/>
                    <a:pt x="615" y="388"/>
                    <a:pt x="615" y="388"/>
                  </a:cubicBezTo>
                  <a:cubicBezTo>
                    <a:pt x="605" y="390"/>
                    <a:pt x="605" y="390"/>
                    <a:pt x="605" y="390"/>
                  </a:cubicBezTo>
                  <a:cubicBezTo>
                    <a:pt x="607" y="374"/>
                    <a:pt x="607" y="374"/>
                    <a:pt x="607" y="374"/>
                  </a:cubicBezTo>
                  <a:cubicBezTo>
                    <a:pt x="641" y="364"/>
                    <a:pt x="641" y="364"/>
                    <a:pt x="641" y="364"/>
                  </a:cubicBezTo>
                  <a:cubicBezTo>
                    <a:pt x="641" y="340"/>
                    <a:pt x="641" y="340"/>
                    <a:pt x="641" y="340"/>
                  </a:cubicBezTo>
                  <a:cubicBezTo>
                    <a:pt x="636" y="340"/>
                    <a:pt x="636" y="340"/>
                    <a:pt x="636" y="340"/>
                  </a:cubicBezTo>
                  <a:cubicBezTo>
                    <a:pt x="639" y="327"/>
                    <a:pt x="639" y="327"/>
                    <a:pt x="639" y="327"/>
                  </a:cubicBezTo>
                  <a:cubicBezTo>
                    <a:pt x="648" y="326"/>
                    <a:pt x="648" y="326"/>
                    <a:pt x="648" y="326"/>
                  </a:cubicBezTo>
                  <a:cubicBezTo>
                    <a:pt x="664" y="303"/>
                    <a:pt x="664" y="303"/>
                    <a:pt x="664" y="303"/>
                  </a:cubicBezTo>
                  <a:cubicBezTo>
                    <a:pt x="663" y="284"/>
                    <a:pt x="663" y="284"/>
                    <a:pt x="663" y="284"/>
                  </a:cubicBezTo>
                  <a:cubicBezTo>
                    <a:pt x="633" y="274"/>
                    <a:pt x="644" y="254"/>
                    <a:pt x="644" y="254"/>
                  </a:cubicBezTo>
                  <a:cubicBezTo>
                    <a:pt x="625" y="245"/>
                    <a:pt x="625" y="245"/>
                    <a:pt x="625" y="245"/>
                  </a:cubicBezTo>
                  <a:cubicBezTo>
                    <a:pt x="625" y="245"/>
                    <a:pt x="624" y="246"/>
                    <a:pt x="624" y="246"/>
                  </a:cubicBezTo>
                  <a:cubicBezTo>
                    <a:pt x="616" y="254"/>
                    <a:pt x="593" y="258"/>
                    <a:pt x="593" y="258"/>
                  </a:cubicBezTo>
                  <a:cubicBezTo>
                    <a:pt x="593" y="247"/>
                    <a:pt x="593" y="247"/>
                    <a:pt x="593" y="247"/>
                  </a:cubicBezTo>
                  <a:cubicBezTo>
                    <a:pt x="581" y="247"/>
                    <a:pt x="581" y="247"/>
                    <a:pt x="581" y="247"/>
                  </a:cubicBezTo>
                  <a:cubicBezTo>
                    <a:pt x="581" y="255"/>
                    <a:pt x="581" y="255"/>
                    <a:pt x="581" y="255"/>
                  </a:cubicBezTo>
                  <a:cubicBezTo>
                    <a:pt x="526" y="254"/>
                    <a:pt x="526" y="254"/>
                    <a:pt x="526" y="254"/>
                  </a:cubicBezTo>
                  <a:cubicBezTo>
                    <a:pt x="523" y="254"/>
                    <a:pt x="520" y="254"/>
                    <a:pt x="520" y="254"/>
                  </a:cubicBezTo>
                  <a:cubicBezTo>
                    <a:pt x="526" y="254"/>
                    <a:pt x="526" y="254"/>
                    <a:pt x="526" y="254"/>
                  </a:cubicBezTo>
                  <a:cubicBezTo>
                    <a:pt x="530" y="253"/>
                    <a:pt x="536" y="250"/>
                    <a:pt x="537" y="239"/>
                  </a:cubicBezTo>
                  <a:cubicBezTo>
                    <a:pt x="540" y="220"/>
                    <a:pt x="513" y="214"/>
                    <a:pt x="513" y="214"/>
                  </a:cubicBezTo>
                  <a:cubicBezTo>
                    <a:pt x="509" y="198"/>
                    <a:pt x="509" y="198"/>
                    <a:pt x="509" y="198"/>
                  </a:cubicBezTo>
                  <a:cubicBezTo>
                    <a:pt x="507" y="199"/>
                    <a:pt x="507" y="199"/>
                    <a:pt x="507" y="199"/>
                  </a:cubicBezTo>
                  <a:cubicBezTo>
                    <a:pt x="491" y="194"/>
                    <a:pt x="491" y="194"/>
                    <a:pt x="491" y="194"/>
                  </a:cubicBezTo>
                  <a:cubicBezTo>
                    <a:pt x="477" y="202"/>
                    <a:pt x="477" y="202"/>
                    <a:pt x="477" y="202"/>
                  </a:cubicBezTo>
                  <a:cubicBezTo>
                    <a:pt x="475" y="191"/>
                    <a:pt x="475" y="191"/>
                    <a:pt x="475" y="191"/>
                  </a:cubicBezTo>
                  <a:cubicBezTo>
                    <a:pt x="468" y="188"/>
                    <a:pt x="468" y="188"/>
                    <a:pt x="468" y="188"/>
                  </a:cubicBezTo>
                  <a:cubicBezTo>
                    <a:pt x="461" y="202"/>
                    <a:pt x="461" y="202"/>
                    <a:pt x="461" y="202"/>
                  </a:cubicBezTo>
                  <a:cubicBezTo>
                    <a:pt x="461" y="202"/>
                    <a:pt x="451" y="202"/>
                    <a:pt x="443" y="202"/>
                  </a:cubicBezTo>
                  <a:cubicBezTo>
                    <a:pt x="435" y="202"/>
                    <a:pt x="428" y="212"/>
                    <a:pt x="419" y="204"/>
                  </a:cubicBezTo>
                  <a:cubicBezTo>
                    <a:pt x="409" y="196"/>
                    <a:pt x="421" y="170"/>
                    <a:pt x="421" y="170"/>
                  </a:cubicBezTo>
                  <a:cubicBezTo>
                    <a:pt x="411" y="168"/>
                    <a:pt x="411" y="168"/>
                    <a:pt x="411" y="168"/>
                  </a:cubicBezTo>
                  <a:cubicBezTo>
                    <a:pt x="411" y="168"/>
                    <a:pt x="409" y="155"/>
                    <a:pt x="405" y="154"/>
                  </a:cubicBezTo>
                  <a:cubicBezTo>
                    <a:pt x="403" y="162"/>
                    <a:pt x="379" y="147"/>
                    <a:pt x="379" y="147"/>
                  </a:cubicBezTo>
                  <a:cubicBezTo>
                    <a:pt x="377" y="122"/>
                    <a:pt x="377" y="122"/>
                    <a:pt x="377" y="122"/>
                  </a:cubicBezTo>
                  <a:cubicBezTo>
                    <a:pt x="364" y="115"/>
                    <a:pt x="364" y="115"/>
                    <a:pt x="364" y="115"/>
                  </a:cubicBezTo>
                  <a:cubicBezTo>
                    <a:pt x="365" y="103"/>
                    <a:pt x="365" y="103"/>
                    <a:pt x="365" y="103"/>
                  </a:cubicBezTo>
                  <a:cubicBezTo>
                    <a:pt x="356" y="100"/>
                    <a:pt x="356" y="100"/>
                    <a:pt x="356" y="100"/>
                  </a:cubicBezTo>
                  <a:cubicBezTo>
                    <a:pt x="341" y="88"/>
                    <a:pt x="341" y="88"/>
                    <a:pt x="341" y="88"/>
                  </a:cubicBezTo>
                  <a:cubicBezTo>
                    <a:pt x="343" y="78"/>
                    <a:pt x="343" y="78"/>
                    <a:pt x="343" y="78"/>
                  </a:cubicBezTo>
                  <a:cubicBezTo>
                    <a:pt x="333" y="74"/>
                    <a:pt x="333" y="74"/>
                    <a:pt x="333" y="74"/>
                  </a:cubicBezTo>
                  <a:cubicBezTo>
                    <a:pt x="344" y="59"/>
                    <a:pt x="344" y="59"/>
                    <a:pt x="344" y="59"/>
                  </a:cubicBezTo>
                  <a:cubicBezTo>
                    <a:pt x="337" y="52"/>
                    <a:pt x="337" y="52"/>
                    <a:pt x="337" y="52"/>
                  </a:cubicBezTo>
                  <a:cubicBezTo>
                    <a:pt x="339" y="28"/>
                    <a:pt x="339" y="28"/>
                    <a:pt x="339" y="28"/>
                  </a:cubicBezTo>
                  <a:cubicBezTo>
                    <a:pt x="331" y="23"/>
                    <a:pt x="331" y="23"/>
                    <a:pt x="331" y="23"/>
                  </a:cubicBezTo>
                  <a:cubicBezTo>
                    <a:pt x="335" y="14"/>
                    <a:pt x="335" y="14"/>
                    <a:pt x="335" y="14"/>
                  </a:cubicBezTo>
                  <a:cubicBezTo>
                    <a:pt x="320" y="0"/>
                    <a:pt x="320" y="0"/>
                    <a:pt x="320" y="0"/>
                  </a:cubicBezTo>
                  <a:cubicBezTo>
                    <a:pt x="312" y="3"/>
                    <a:pt x="312" y="3"/>
                    <a:pt x="312" y="3"/>
                  </a:cubicBezTo>
                  <a:cubicBezTo>
                    <a:pt x="312" y="3"/>
                    <a:pt x="313" y="10"/>
                    <a:pt x="312" y="15"/>
                  </a:cubicBezTo>
                  <a:cubicBezTo>
                    <a:pt x="311" y="20"/>
                    <a:pt x="292" y="28"/>
                    <a:pt x="292" y="28"/>
                  </a:cubicBezTo>
                  <a:cubicBezTo>
                    <a:pt x="292" y="28"/>
                    <a:pt x="293" y="40"/>
                    <a:pt x="287" y="51"/>
                  </a:cubicBezTo>
                  <a:cubicBezTo>
                    <a:pt x="280" y="62"/>
                    <a:pt x="236" y="47"/>
                    <a:pt x="236" y="47"/>
                  </a:cubicBezTo>
                  <a:cubicBezTo>
                    <a:pt x="235" y="58"/>
                    <a:pt x="235" y="58"/>
                    <a:pt x="235" y="58"/>
                  </a:cubicBezTo>
                  <a:cubicBezTo>
                    <a:pt x="235" y="58"/>
                    <a:pt x="227" y="58"/>
                    <a:pt x="225" y="54"/>
                  </a:cubicBezTo>
                  <a:cubicBezTo>
                    <a:pt x="203" y="76"/>
                    <a:pt x="195" y="64"/>
                    <a:pt x="191" y="64"/>
                  </a:cubicBezTo>
                  <a:cubicBezTo>
                    <a:pt x="187" y="74"/>
                    <a:pt x="182" y="78"/>
                    <a:pt x="176" y="79"/>
                  </a:cubicBezTo>
                  <a:cubicBezTo>
                    <a:pt x="177" y="98"/>
                    <a:pt x="177" y="98"/>
                    <a:pt x="177" y="98"/>
                  </a:cubicBezTo>
                  <a:cubicBezTo>
                    <a:pt x="177" y="98"/>
                    <a:pt x="205" y="126"/>
                    <a:pt x="205" y="13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62" name="Basse Normandie" descr="© INSCALE GmbH, 05.05.2010&#10;http://www.presentationload.com/">
              <a:extLst>
                <a:ext uri="{FF2B5EF4-FFF2-40B4-BE49-F238E27FC236}">
                  <a16:creationId xmlns:a16="http://schemas.microsoft.com/office/drawing/2014/main" id="{5DDC4232-8998-466A-AD58-A79A89C8D3E5}"/>
                </a:ext>
              </a:extLst>
            </p:cNvPr>
            <p:cNvSpPr>
              <a:spLocks/>
            </p:cNvSpPr>
            <p:nvPr/>
          </p:nvSpPr>
          <p:spPr bwMode="gray">
            <a:xfrm>
              <a:off x="801" y="585"/>
              <a:ext cx="657" cy="573"/>
            </a:xfrm>
            <a:custGeom>
              <a:avLst/>
              <a:gdLst/>
              <a:ahLst/>
              <a:cxnLst>
                <a:cxn ang="0">
                  <a:pos x="197" y="413"/>
                </a:cxn>
                <a:cxn ang="0">
                  <a:pos x="245" y="437"/>
                </a:cxn>
                <a:cxn ang="0">
                  <a:pos x="265" y="435"/>
                </a:cxn>
                <a:cxn ang="0">
                  <a:pos x="315" y="422"/>
                </a:cxn>
                <a:cxn ang="0">
                  <a:pos x="336" y="415"/>
                </a:cxn>
                <a:cxn ang="0">
                  <a:pos x="348" y="405"/>
                </a:cxn>
                <a:cxn ang="0">
                  <a:pos x="373" y="439"/>
                </a:cxn>
                <a:cxn ang="0">
                  <a:pos x="395" y="465"/>
                </a:cxn>
                <a:cxn ang="0">
                  <a:pos x="485" y="481"/>
                </a:cxn>
                <a:cxn ang="0">
                  <a:pos x="512" y="513"/>
                </a:cxn>
                <a:cxn ang="0">
                  <a:pos x="561" y="531"/>
                </a:cxn>
                <a:cxn ang="0">
                  <a:pos x="573" y="522"/>
                </a:cxn>
                <a:cxn ang="0">
                  <a:pos x="597" y="467"/>
                </a:cxn>
                <a:cxn ang="0">
                  <a:pos x="601" y="439"/>
                </a:cxn>
                <a:cxn ang="0">
                  <a:pos x="577" y="393"/>
                </a:cxn>
                <a:cxn ang="0">
                  <a:pos x="563" y="374"/>
                </a:cxn>
                <a:cxn ang="0">
                  <a:pos x="536" y="325"/>
                </a:cxn>
                <a:cxn ang="0">
                  <a:pos x="496" y="303"/>
                </a:cxn>
                <a:cxn ang="0">
                  <a:pos x="496" y="259"/>
                </a:cxn>
                <a:cxn ang="0">
                  <a:pos x="495" y="246"/>
                </a:cxn>
                <a:cxn ang="0">
                  <a:pos x="491" y="218"/>
                </a:cxn>
                <a:cxn ang="0">
                  <a:pos x="477" y="186"/>
                </a:cxn>
                <a:cxn ang="0">
                  <a:pos x="463" y="93"/>
                </a:cxn>
                <a:cxn ang="0">
                  <a:pos x="357" y="137"/>
                </a:cxn>
                <a:cxn ang="0">
                  <a:pos x="239" y="114"/>
                </a:cxn>
                <a:cxn ang="0">
                  <a:pos x="168" y="123"/>
                </a:cxn>
                <a:cxn ang="0">
                  <a:pos x="157" y="102"/>
                </a:cxn>
                <a:cxn ang="0">
                  <a:pos x="130" y="51"/>
                </a:cxn>
                <a:cxn ang="0">
                  <a:pos x="140" y="11"/>
                </a:cxn>
                <a:cxn ang="0">
                  <a:pos x="91" y="21"/>
                </a:cxn>
                <a:cxn ang="0">
                  <a:pos x="1" y="0"/>
                </a:cxn>
                <a:cxn ang="0">
                  <a:pos x="16" y="23"/>
                </a:cxn>
                <a:cxn ang="0">
                  <a:pos x="22" y="85"/>
                </a:cxn>
                <a:cxn ang="0">
                  <a:pos x="66" y="158"/>
                </a:cxn>
                <a:cxn ang="0">
                  <a:pos x="73" y="216"/>
                </a:cxn>
                <a:cxn ang="0">
                  <a:pos x="78" y="239"/>
                </a:cxn>
                <a:cxn ang="0">
                  <a:pos x="69" y="294"/>
                </a:cxn>
                <a:cxn ang="0">
                  <a:pos x="83" y="331"/>
                </a:cxn>
                <a:cxn ang="0">
                  <a:pos x="58" y="332"/>
                </a:cxn>
                <a:cxn ang="0">
                  <a:pos x="136" y="402"/>
                </a:cxn>
              </a:cxnLst>
              <a:rect l="0" t="0" r="r" b="b"/>
              <a:pathLst>
                <a:path w="609" h="531">
                  <a:moveTo>
                    <a:pt x="136" y="402"/>
                  </a:moveTo>
                  <a:cubicBezTo>
                    <a:pt x="173" y="418"/>
                    <a:pt x="187" y="426"/>
                    <a:pt x="197" y="413"/>
                  </a:cubicBezTo>
                  <a:cubicBezTo>
                    <a:pt x="207" y="418"/>
                    <a:pt x="220" y="422"/>
                    <a:pt x="220" y="422"/>
                  </a:cubicBezTo>
                  <a:cubicBezTo>
                    <a:pt x="220" y="422"/>
                    <a:pt x="245" y="446"/>
                    <a:pt x="245" y="437"/>
                  </a:cubicBezTo>
                  <a:cubicBezTo>
                    <a:pt x="245" y="427"/>
                    <a:pt x="261" y="426"/>
                    <a:pt x="261" y="426"/>
                  </a:cubicBezTo>
                  <a:cubicBezTo>
                    <a:pt x="265" y="435"/>
                    <a:pt x="265" y="435"/>
                    <a:pt x="265" y="435"/>
                  </a:cubicBezTo>
                  <a:cubicBezTo>
                    <a:pt x="265" y="435"/>
                    <a:pt x="288" y="435"/>
                    <a:pt x="293" y="421"/>
                  </a:cubicBezTo>
                  <a:cubicBezTo>
                    <a:pt x="300" y="421"/>
                    <a:pt x="315" y="422"/>
                    <a:pt x="315" y="422"/>
                  </a:cubicBezTo>
                  <a:cubicBezTo>
                    <a:pt x="321" y="427"/>
                    <a:pt x="321" y="427"/>
                    <a:pt x="321" y="427"/>
                  </a:cubicBezTo>
                  <a:cubicBezTo>
                    <a:pt x="336" y="415"/>
                    <a:pt x="336" y="415"/>
                    <a:pt x="336" y="415"/>
                  </a:cubicBezTo>
                  <a:cubicBezTo>
                    <a:pt x="336" y="415"/>
                    <a:pt x="344" y="426"/>
                    <a:pt x="348" y="418"/>
                  </a:cubicBezTo>
                  <a:cubicBezTo>
                    <a:pt x="352" y="410"/>
                    <a:pt x="344" y="405"/>
                    <a:pt x="348" y="405"/>
                  </a:cubicBezTo>
                  <a:cubicBezTo>
                    <a:pt x="352" y="405"/>
                    <a:pt x="375" y="414"/>
                    <a:pt x="375" y="414"/>
                  </a:cubicBezTo>
                  <a:cubicBezTo>
                    <a:pt x="375" y="414"/>
                    <a:pt x="361" y="439"/>
                    <a:pt x="373" y="439"/>
                  </a:cubicBezTo>
                  <a:cubicBezTo>
                    <a:pt x="385" y="439"/>
                    <a:pt x="391" y="438"/>
                    <a:pt x="391" y="438"/>
                  </a:cubicBezTo>
                  <a:cubicBezTo>
                    <a:pt x="395" y="465"/>
                    <a:pt x="395" y="465"/>
                    <a:pt x="395" y="465"/>
                  </a:cubicBezTo>
                  <a:cubicBezTo>
                    <a:pt x="415" y="465"/>
                    <a:pt x="415" y="465"/>
                    <a:pt x="415" y="465"/>
                  </a:cubicBezTo>
                  <a:cubicBezTo>
                    <a:pt x="415" y="465"/>
                    <a:pt x="477" y="390"/>
                    <a:pt x="485" y="481"/>
                  </a:cubicBezTo>
                  <a:cubicBezTo>
                    <a:pt x="492" y="486"/>
                    <a:pt x="505" y="493"/>
                    <a:pt x="505" y="493"/>
                  </a:cubicBezTo>
                  <a:cubicBezTo>
                    <a:pt x="512" y="513"/>
                    <a:pt x="512" y="513"/>
                    <a:pt x="512" y="513"/>
                  </a:cubicBezTo>
                  <a:cubicBezTo>
                    <a:pt x="537" y="507"/>
                    <a:pt x="537" y="507"/>
                    <a:pt x="537" y="507"/>
                  </a:cubicBezTo>
                  <a:cubicBezTo>
                    <a:pt x="561" y="531"/>
                    <a:pt x="561" y="531"/>
                    <a:pt x="561" y="531"/>
                  </a:cubicBezTo>
                  <a:cubicBezTo>
                    <a:pt x="573" y="529"/>
                    <a:pt x="573" y="529"/>
                    <a:pt x="573" y="529"/>
                  </a:cubicBezTo>
                  <a:cubicBezTo>
                    <a:pt x="573" y="522"/>
                    <a:pt x="573" y="522"/>
                    <a:pt x="573" y="522"/>
                  </a:cubicBezTo>
                  <a:cubicBezTo>
                    <a:pt x="573" y="522"/>
                    <a:pt x="565" y="495"/>
                    <a:pt x="568" y="485"/>
                  </a:cubicBezTo>
                  <a:cubicBezTo>
                    <a:pt x="571" y="474"/>
                    <a:pt x="597" y="467"/>
                    <a:pt x="597" y="467"/>
                  </a:cubicBezTo>
                  <a:cubicBezTo>
                    <a:pt x="609" y="453"/>
                    <a:pt x="609" y="453"/>
                    <a:pt x="609" y="453"/>
                  </a:cubicBezTo>
                  <a:cubicBezTo>
                    <a:pt x="601" y="439"/>
                    <a:pt x="601" y="439"/>
                    <a:pt x="601" y="439"/>
                  </a:cubicBezTo>
                  <a:cubicBezTo>
                    <a:pt x="601" y="439"/>
                    <a:pt x="605" y="431"/>
                    <a:pt x="605" y="426"/>
                  </a:cubicBezTo>
                  <a:cubicBezTo>
                    <a:pt x="605" y="421"/>
                    <a:pt x="577" y="393"/>
                    <a:pt x="577" y="393"/>
                  </a:cubicBezTo>
                  <a:cubicBezTo>
                    <a:pt x="576" y="374"/>
                    <a:pt x="576" y="374"/>
                    <a:pt x="576" y="374"/>
                  </a:cubicBezTo>
                  <a:cubicBezTo>
                    <a:pt x="569" y="376"/>
                    <a:pt x="563" y="374"/>
                    <a:pt x="563" y="374"/>
                  </a:cubicBezTo>
                  <a:cubicBezTo>
                    <a:pt x="563" y="374"/>
                    <a:pt x="556" y="363"/>
                    <a:pt x="560" y="363"/>
                  </a:cubicBezTo>
                  <a:cubicBezTo>
                    <a:pt x="581" y="349"/>
                    <a:pt x="536" y="325"/>
                    <a:pt x="536" y="325"/>
                  </a:cubicBezTo>
                  <a:cubicBezTo>
                    <a:pt x="529" y="305"/>
                    <a:pt x="529" y="305"/>
                    <a:pt x="529" y="305"/>
                  </a:cubicBezTo>
                  <a:cubicBezTo>
                    <a:pt x="496" y="303"/>
                    <a:pt x="496" y="303"/>
                    <a:pt x="496" y="303"/>
                  </a:cubicBezTo>
                  <a:cubicBezTo>
                    <a:pt x="496" y="303"/>
                    <a:pt x="483" y="299"/>
                    <a:pt x="489" y="294"/>
                  </a:cubicBezTo>
                  <a:cubicBezTo>
                    <a:pt x="496" y="289"/>
                    <a:pt x="496" y="259"/>
                    <a:pt x="496" y="259"/>
                  </a:cubicBezTo>
                  <a:cubicBezTo>
                    <a:pt x="487" y="247"/>
                    <a:pt x="487" y="247"/>
                    <a:pt x="487" y="247"/>
                  </a:cubicBezTo>
                  <a:cubicBezTo>
                    <a:pt x="495" y="246"/>
                    <a:pt x="495" y="246"/>
                    <a:pt x="495" y="246"/>
                  </a:cubicBezTo>
                  <a:cubicBezTo>
                    <a:pt x="496" y="226"/>
                    <a:pt x="496" y="226"/>
                    <a:pt x="496" y="226"/>
                  </a:cubicBezTo>
                  <a:cubicBezTo>
                    <a:pt x="491" y="218"/>
                    <a:pt x="491" y="218"/>
                    <a:pt x="491" y="218"/>
                  </a:cubicBezTo>
                  <a:cubicBezTo>
                    <a:pt x="491" y="203"/>
                    <a:pt x="491" y="203"/>
                    <a:pt x="491" y="203"/>
                  </a:cubicBezTo>
                  <a:cubicBezTo>
                    <a:pt x="491" y="203"/>
                    <a:pt x="475" y="193"/>
                    <a:pt x="477" y="186"/>
                  </a:cubicBezTo>
                  <a:cubicBezTo>
                    <a:pt x="508" y="175"/>
                    <a:pt x="476" y="178"/>
                    <a:pt x="476" y="178"/>
                  </a:cubicBezTo>
                  <a:cubicBezTo>
                    <a:pt x="463" y="93"/>
                    <a:pt x="463" y="93"/>
                    <a:pt x="463" y="93"/>
                  </a:cubicBezTo>
                  <a:cubicBezTo>
                    <a:pt x="458" y="95"/>
                    <a:pt x="436" y="105"/>
                    <a:pt x="435" y="102"/>
                  </a:cubicBezTo>
                  <a:cubicBezTo>
                    <a:pt x="418" y="138"/>
                    <a:pt x="357" y="137"/>
                    <a:pt x="357" y="137"/>
                  </a:cubicBezTo>
                  <a:cubicBezTo>
                    <a:pt x="325" y="122"/>
                    <a:pt x="325" y="122"/>
                    <a:pt x="325" y="122"/>
                  </a:cubicBezTo>
                  <a:cubicBezTo>
                    <a:pt x="325" y="122"/>
                    <a:pt x="286" y="117"/>
                    <a:pt x="239" y="114"/>
                  </a:cubicBezTo>
                  <a:cubicBezTo>
                    <a:pt x="194" y="93"/>
                    <a:pt x="170" y="107"/>
                    <a:pt x="170" y="107"/>
                  </a:cubicBezTo>
                  <a:cubicBezTo>
                    <a:pt x="168" y="123"/>
                    <a:pt x="168" y="123"/>
                    <a:pt x="168" y="123"/>
                  </a:cubicBezTo>
                  <a:cubicBezTo>
                    <a:pt x="160" y="116"/>
                    <a:pt x="160" y="116"/>
                    <a:pt x="160" y="116"/>
                  </a:cubicBezTo>
                  <a:cubicBezTo>
                    <a:pt x="160" y="116"/>
                    <a:pt x="150" y="108"/>
                    <a:pt x="157" y="102"/>
                  </a:cubicBezTo>
                  <a:cubicBezTo>
                    <a:pt x="164" y="96"/>
                    <a:pt x="152" y="88"/>
                    <a:pt x="152" y="88"/>
                  </a:cubicBezTo>
                  <a:cubicBezTo>
                    <a:pt x="130" y="51"/>
                    <a:pt x="130" y="51"/>
                    <a:pt x="130" y="51"/>
                  </a:cubicBezTo>
                  <a:cubicBezTo>
                    <a:pt x="150" y="35"/>
                    <a:pt x="150" y="35"/>
                    <a:pt x="150" y="35"/>
                  </a:cubicBezTo>
                  <a:cubicBezTo>
                    <a:pt x="140" y="11"/>
                    <a:pt x="140" y="11"/>
                    <a:pt x="140" y="11"/>
                  </a:cubicBezTo>
                  <a:cubicBezTo>
                    <a:pt x="104" y="7"/>
                    <a:pt x="104" y="7"/>
                    <a:pt x="104" y="7"/>
                  </a:cubicBezTo>
                  <a:cubicBezTo>
                    <a:pt x="91" y="21"/>
                    <a:pt x="91" y="21"/>
                    <a:pt x="91" y="21"/>
                  </a:cubicBezTo>
                  <a:cubicBezTo>
                    <a:pt x="91" y="21"/>
                    <a:pt x="82" y="30"/>
                    <a:pt x="59" y="24"/>
                  </a:cubicBezTo>
                  <a:cubicBezTo>
                    <a:pt x="36" y="18"/>
                    <a:pt x="1" y="0"/>
                    <a:pt x="1" y="0"/>
                  </a:cubicBezTo>
                  <a:cubicBezTo>
                    <a:pt x="0" y="16"/>
                    <a:pt x="0" y="16"/>
                    <a:pt x="0" y="16"/>
                  </a:cubicBezTo>
                  <a:cubicBezTo>
                    <a:pt x="0" y="16"/>
                    <a:pt x="4" y="16"/>
                    <a:pt x="16" y="23"/>
                  </a:cubicBezTo>
                  <a:cubicBezTo>
                    <a:pt x="28" y="30"/>
                    <a:pt x="12" y="63"/>
                    <a:pt x="12" y="63"/>
                  </a:cubicBezTo>
                  <a:cubicBezTo>
                    <a:pt x="12" y="63"/>
                    <a:pt x="21" y="81"/>
                    <a:pt x="22" y="85"/>
                  </a:cubicBezTo>
                  <a:cubicBezTo>
                    <a:pt x="22" y="112"/>
                    <a:pt x="34" y="108"/>
                    <a:pt x="34" y="108"/>
                  </a:cubicBezTo>
                  <a:cubicBezTo>
                    <a:pt x="66" y="158"/>
                    <a:pt x="66" y="158"/>
                    <a:pt x="66" y="158"/>
                  </a:cubicBezTo>
                  <a:cubicBezTo>
                    <a:pt x="65" y="214"/>
                    <a:pt x="65" y="214"/>
                    <a:pt x="65" y="214"/>
                  </a:cubicBezTo>
                  <a:cubicBezTo>
                    <a:pt x="73" y="216"/>
                    <a:pt x="73" y="216"/>
                    <a:pt x="73" y="216"/>
                  </a:cubicBezTo>
                  <a:cubicBezTo>
                    <a:pt x="69" y="232"/>
                    <a:pt x="69" y="232"/>
                    <a:pt x="69" y="232"/>
                  </a:cubicBezTo>
                  <a:cubicBezTo>
                    <a:pt x="78" y="239"/>
                    <a:pt x="78" y="239"/>
                    <a:pt x="78" y="239"/>
                  </a:cubicBezTo>
                  <a:cubicBezTo>
                    <a:pt x="70" y="245"/>
                    <a:pt x="70" y="245"/>
                    <a:pt x="70" y="245"/>
                  </a:cubicBezTo>
                  <a:cubicBezTo>
                    <a:pt x="70" y="245"/>
                    <a:pt x="66" y="280"/>
                    <a:pt x="69" y="294"/>
                  </a:cubicBezTo>
                  <a:cubicBezTo>
                    <a:pt x="71" y="315"/>
                    <a:pt x="108" y="326"/>
                    <a:pt x="108" y="326"/>
                  </a:cubicBezTo>
                  <a:cubicBezTo>
                    <a:pt x="83" y="331"/>
                    <a:pt x="83" y="331"/>
                    <a:pt x="83" y="331"/>
                  </a:cubicBezTo>
                  <a:cubicBezTo>
                    <a:pt x="83" y="331"/>
                    <a:pt x="75" y="328"/>
                    <a:pt x="68" y="329"/>
                  </a:cubicBezTo>
                  <a:cubicBezTo>
                    <a:pt x="66" y="330"/>
                    <a:pt x="62" y="331"/>
                    <a:pt x="58" y="332"/>
                  </a:cubicBezTo>
                  <a:cubicBezTo>
                    <a:pt x="77" y="377"/>
                    <a:pt x="77" y="377"/>
                    <a:pt x="77" y="377"/>
                  </a:cubicBezTo>
                  <a:cubicBezTo>
                    <a:pt x="77" y="377"/>
                    <a:pt x="87" y="470"/>
                    <a:pt x="136" y="402"/>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63" name="Bretagne" descr="© INSCALE GmbH, 05.05.2010&#10;http://www.presentationload.com/">
              <a:extLst>
                <a:ext uri="{FF2B5EF4-FFF2-40B4-BE49-F238E27FC236}">
                  <a16:creationId xmlns:a16="http://schemas.microsoft.com/office/drawing/2014/main" id="{F45C42D3-960E-4B0B-ABEB-5D71BDE3EBA1}"/>
                </a:ext>
              </a:extLst>
            </p:cNvPr>
            <p:cNvSpPr>
              <a:spLocks noEditPoints="1"/>
            </p:cNvSpPr>
            <p:nvPr/>
          </p:nvSpPr>
          <p:spPr bwMode="gray">
            <a:xfrm>
              <a:off x="48" y="857"/>
              <a:ext cx="953" cy="536"/>
            </a:xfrm>
            <a:custGeom>
              <a:avLst/>
              <a:gdLst/>
              <a:ahLst/>
              <a:cxnLst>
                <a:cxn ang="0">
                  <a:pos x="459" y="18"/>
                </a:cxn>
                <a:cxn ang="0">
                  <a:pos x="5" y="133"/>
                </a:cxn>
                <a:cxn ang="0">
                  <a:pos x="355" y="388"/>
                </a:cxn>
                <a:cxn ang="0">
                  <a:pos x="355" y="388"/>
                </a:cxn>
                <a:cxn ang="0">
                  <a:pos x="394" y="465"/>
                </a:cxn>
                <a:cxn ang="0">
                  <a:pos x="422" y="494"/>
                </a:cxn>
                <a:cxn ang="0">
                  <a:pos x="413" y="479"/>
                </a:cxn>
                <a:cxn ang="0">
                  <a:pos x="448" y="462"/>
                </a:cxn>
                <a:cxn ang="0">
                  <a:pos x="467" y="479"/>
                </a:cxn>
                <a:cxn ang="0">
                  <a:pos x="55" y="259"/>
                </a:cxn>
                <a:cxn ang="0">
                  <a:pos x="36" y="144"/>
                </a:cxn>
                <a:cxn ang="0">
                  <a:pos x="56" y="163"/>
                </a:cxn>
                <a:cxn ang="0">
                  <a:pos x="246" y="42"/>
                </a:cxn>
                <a:cxn ang="0">
                  <a:pos x="874" y="165"/>
                </a:cxn>
                <a:cxn ang="0">
                  <a:pos x="757" y="79"/>
                </a:cxn>
                <a:cxn ang="0">
                  <a:pos x="705" y="58"/>
                </a:cxn>
                <a:cxn ang="0">
                  <a:pos x="628" y="92"/>
                </a:cxn>
                <a:cxn ang="0">
                  <a:pos x="606" y="63"/>
                </a:cxn>
                <a:cxn ang="0">
                  <a:pos x="570" y="80"/>
                </a:cxn>
                <a:cxn ang="0">
                  <a:pos x="526" y="116"/>
                </a:cxn>
                <a:cxn ang="0">
                  <a:pos x="496" y="71"/>
                </a:cxn>
                <a:cxn ang="0">
                  <a:pos x="458" y="31"/>
                </a:cxn>
                <a:cxn ang="0">
                  <a:pos x="446" y="0"/>
                </a:cxn>
                <a:cxn ang="0">
                  <a:pos x="401" y="13"/>
                </a:cxn>
                <a:cxn ang="0">
                  <a:pos x="347" y="22"/>
                </a:cxn>
                <a:cxn ang="0">
                  <a:pos x="333" y="59"/>
                </a:cxn>
                <a:cxn ang="0">
                  <a:pos x="268" y="58"/>
                </a:cxn>
                <a:cxn ang="0">
                  <a:pos x="237" y="58"/>
                </a:cxn>
                <a:cxn ang="0">
                  <a:pos x="186" y="70"/>
                </a:cxn>
                <a:cxn ang="0">
                  <a:pos x="147" y="76"/>
                </a:cxn>
                <a:cxn ang="0">
                  <a:pos x="115" y="80"/>
                </a:cxn>
                <a:cxn ang="0">
                  <a:pos x="84" y="106"/>
                </a:cxn>
                <a:cxn ang="0">
                  <a:pos x="79" y="148"/>
                </a:cxn>
                <a:cxn ang="0">
                  <a:pos x="98" y="154"/>
                </a:cxn>
                <a:cxn ang="0">
                  <a:pos x="156" y="145"/>
                </a:cxn>
                <a:cxn ang="0">
                  <a:pos x="172" y="160"/>
                </a:cxn>
                <a:cxn ang="0">
                  <a:pos x="155" y="185"/>
                </a:cxn>
                <a:cxn ang="0">
                  <a:pos x="122" y="172"/>
                </a:cxn>
                <a:cxn ang="0">
                  <a:pos x="125" y="211"/>
                </a:cxn>
                <a:cxn ang="0">
                  <a:pos x="171" y="237"/>
                </a:cxn>
                <a:cxn ang="0">
                  <a:pos x="156" y="329"/>
                </a:cxn>
                <a:cxn ang="0">
                  <a:pos x="235" y="316"/>
                </a:cxn>
                <a:cxn ang="0">
                  <a:pos x="294" y="333"/>
                </a:cxn>
                <a:cxn ang="0">
                  <a:pos x="384" y="364"/>
                </a:cxn>
                <a:cxn ang="0">
                  <a:pos x="414" y="432"/>
                </a:cxn>
                <a:cxn ang="0">
                  <a:pos x="425" y="403"/>
                </a:cxn>
                <a:cxn ang="0">
                  <a:pos x="460" y="391"/>
                </a:cxn>
                <a:cxn ang="0">
                  <a:pos x="522" y="390"/>
                </a:cxn>
                <a:cxn ang="0">
                  <a:pos x="462" y="407"/>
                </a:cxn>
                <a:cxn ang="0">
                  <a:pos x="513" y="428"/>
                </a:cxn>
                <a:cxn ang="0">
                  <a:pos x="555" y="424"/>
                </a:cxn>
                <a:cxn ang="0">
                  <a:pos x="566" y="454"/>
                </a:cxn>
                <a:cxn ang="0">
                  <a:pos x="554" y="487"/>
                </a:cxn>
                <a:cxn ang="0">
                  <a:pos x="595" y="481"/>
                </a:cxn>
                <a:cxn ang="0">
                  <a:pos x="666" y="409"/>
                </a:cxn>
                <a:cxn ang="0">
                  <a:pos x="752" y="389"/>
                </a:cxn>
                <a:cxn ang="0">
                  <a:pos x="796" y="377"/>
                </a:cxn>
                <a:cxn ang="0">
                  <a:pos x="838" y="366"/>
                </a:cxn>
                <a:cxn ang="0">
                  <a:pos x="879" y="220"/>
                </a:cxn>
              </a:cxnLst>
              <a:rect l="0" t="0" r="r" b="b"/>
              <a:pathLst>
                <a:path w="884" h="496">
                  <a:moveTo>
                    <a:pt x="459" y="18"/>
                  </a:moveTo>
                  <a:cubicBezTo>
                    <a:pt x="460" y="17"/>
                    <a:pt x="460" y="17"/>
                    <a:pt x="460" y="15"/>
                  </a:cubicBezTo>
                  <a:cubicBezTo>
                    <a:pt x="460" y="12"/>
                    <a:pt x="459" y="14"/>
                    <a:pt x="459" y="18"/>
                  </a:cubicBezTo>
                  <a:close/>
                  <a:moveTo>
                    <a:pt x="17" y="117"/>
                  </a:moveTo>
                  <a:cubicBezTo>
                    <a:pt x="11" y="117"/>
                    <a:pt x="0" y="125"/>
                    <a:pt x="0" y="125"/>
                  </a:cubicBezTo>
                  <a:cubicBezTo>
                    <a:pt x="5" y="133"/>
                    <a:pt x="5" y="133"/>
                    <a:pt x="5" y="133"/>
                  </a:cubicBezTo>
                  <a:cubicBezTo>
                    <a:pt x="21" y="123"/>
                    <a:pt x="21" y="123"/>
                    <a:pt x="21" y="123"/>
                  </a:cubicBezTo>
                  <a:cubicBezTo>
                    <a:pt x="21" y="123"/>
                    <a:pt x="23" y="117"/>
                    <a:pt x="17" y="117"/>
                  </a:cubicBezTo>
                  <a:close/>
                  <a:moveTo>
                    <a:pt x="355" y="388"/>
                  </a:moveTo>
                  <a:cubicBezTo>
                    <a:pt x="346" y="382"/>
                    <a:pt x="339" y="378"/>
                    <a:pt x="339" y="378"/>
                  </a:cubicBezTo>
                  <a:cubicBezTo>
                    <a:pt x="339" y="378"/>
                    <a:pt x="333" y="390"/>
                    <a:pt x="344" y="389"/>
                  </a:cubicBezTo>
                  <a:cubicBezTo>
                    <a:pt x="355" y="388"/>
                    <a:pt x="364" y="394"/>
                    <a:pt x="355" y="388"/>
                  </a:cubicBezTo>
                  <a:close/>
                  <a:moveTo>
                    <a:pt x="413" y="479"/>
                  </a:moveTo>
                  <a:cubicBezTo>
                    <a:pt x="409" y="469"/>
                    <a:pt x="409" y="469"/>
                    <a:pt x="409" y="469"/>
                  </a:cubicBezTo>
                  <a:cubicBezTo>
                    <a:pt x="394" y="465"/>
                    <a:pt x="394" y="465"/>
                    <a:pt x="394" y="465"/>
                  </a:cubicBezTo>
                  <a:cubicBezTo>
                    <a:pt x="384" y="466"/>
                    <a:pt x="393" y="490"/>
                    <a:pt x="393" y="490"/>
                  </a:cubicBezTo>
                  <a:cubicBezTo>
                    <a:pt x="413" y="490"/>
                    <a:pt x="413" y="490"/>
                    <a:pt x="413" y="490"/>
                  </a:cubicBezTo>
                  <a:cubicBezTo>
                    <a:pt x="422" y="494"/>
                    <a:pt x="422" y="494"/>
                    <a:pt x="422" y="494"/>
                  </a:cubicBezTo>
                  <a:cubicBezTo>
                    <a:pt x="427" y="485"/>
                    <a:pt x="427" y="485"/>
                    <a:pt x="427" y="485"/>
                  </a:cubicBezTo>
                  <a:cubicBezTo>
                    <a:pt x="425" y="480"/>
                    <a:pt x="425" y="480"/>
                    <a:pt x="425" y="480"/>
                  </a:cubicBezTo>
                  <a:lnTo>
                    <a:pt x="413" y="479"/>
                  </a:lnTo>
                  <a:close/>
                  <a:moveTo>
                    <a:pt x="448" y="462"/>
                  </a:moveTo>
                  <a:cubicBezTo>
                    <a:pt x="448" y="462"/>
                    <a:pt x="454" y="467"/>
                    <a:pt x="454" y="465"/>
                  </a:cubicBezTo>
                  <a:cubicBezTo>
                    <a:pt x="454" y="462"/>
                    <a:pt x="454" y="462"/>
                    <a:pt x="448" y="462"/>
                  </a:cubicBezTo>
                  <a:close/>
                  <a:moveTo>
                    <a:pt x="467" y="479"/>
                  </a:moveTo>
                  <a:cubicBezTo>
                    <a:pt x="467" y="479"/>
                    <a:pt x="473" y="479"/>
                    <a:pt x="473" y="476"/>
                  </a:cubicBezTo>
                  <a:cubicBezTo>
                    <a:pt x="473" y="473"/>
                    <a:pt x="467" y="479"/>
                    <a:pt x="467" y="479"/>
                  </a:cubicBezTo>
                  <a:close/>
                  <a:moveTo>
                    <a:pt x="55" y="259"/>
                  </a:moveTo>
                  <a:cubicBezTo>
                    <a:pt x="58" y="258"/>
                    <a:pt x="53" y="251"/>
                    <a:pt x="53" y="251"/>
                  </a:cubicBezTo>
                  <a:cubicBezTo>
                    <a:pt x="53" y="251"/>
                    <a:pt x="52" y="260"/>
                    <a:pt x="55" y="259"/>
                  </a:cubicBezTo>
                  <a:close/>
                  <a:moveTo>
                    <a:pt x="36" y="144"/>
                  </a:moveTo>
                  <a:cubicBezTo>
                    <a:pt x="41" y="150"/>
                    <a:pt x="40" y="142"/>
                    <a:pt x="40" y="142"/>
                  </a:cubicBezTo>
                  <a:cubicBezTo>
                    <a:pt x="40" y="142"/>
                    <a:pt x="31" y="139"/>
                    <a:pt x="36" y="144"/>
                  </a:cubicBezTo>
                  <a:close/>
                  <a:moveTo>
                    <a:pt x="56" y="163"/>
                  </a:moveTo>
                  <a:cubicBezTo>
                    <a:pt x="56" y="163"/>
                    <a:pt x="64" y="161"/>
                    <a:pt x="59" y="156"/>
                  </a:cubicBezTo>
                  <a:cubicBezTo>
                    <a:pt x="54" y="152"/>
                    <a:pt x="56" y="163"/>
                    <a:pt x="56" y="163"/>
                  </a:cubicBezTo>
                  <a:close/>
                  <a:moveTo>
                    <a:pt x="247" y="36"/>
                  </a:moveTo>
                  <a:cubicBezTo>
                    <a:pt x="242" y="39"/>
                    <a:pt x="242" y="39"/>
                    <a:pt x="242" y="39"/>
                  </a:cubicBezTo>
                  <a:cubicBezTo>
                    <a:pt x="246" y="42"/>
                    <a:pt x="246" y="42"/>
                    <a:pt x="246" y="42"/>
                  </a:cubicBezTo>
                  <a:lnTo>
                    <a:pt x="247" y="36"/>
                  </a:lnTo>
                  <a:close/>
                  <a:moveTo>
                    <a:pt x="872" y="188"/>
                  </a:moveTo>
                  <a:cubicBezTo>
                    <a:pt x="874" y="165"/>
                    <a:pt x="874" y="165"/>
                    <a:pt x="874" y="165"/>
                  </a:cubicBezTo>
                  <a:cubicBezTo>
                    <a:pt x="865" y="163"/>
                    <a:pt x="853" y="157"/>
                    <a:pt x="835" y="149"/>
                  </a:cubicBezTo>
                  <a:cubicBezTo>
                    <a:pt x="786" y="217"/>
                    <a:pt x="776" y="124"/>
                    <a:pt x="776" y="124"/>
                  </a:cubicBezTo>
                  <a:cubicBezTo>
                    <a:pt x="757" y="79"/>
                    <a:pt x="757" y="79"/>
                    <a:pt x="757" y="79"/>
                  </a:cubicBezTo>
                  <a:cubicBezTo>
                    <a:pt x="750" y="81"/>
                    <a:pt x="742" y="83"/>
                    <a:pt x="742" y="83"/>
                  </a:cubicBezTo>
                  <a:cubicBezTo>
                    <a:pt x="742" y="83"/>
                    <a:pt x="722" y="85"/>
                    <a:pt x="710" y="84"/>
                  </a:cubicBezTo>
                  <a:cubicBezTo>
                    <a:pt x="698" y="83"/>
                    <a:pt x="705" y="58"/>
                    <a:pt x="705" y="58"/>
                  </a:cubicBezTo>
                  <a:cubicBezTo>
                    <a:pt x="692" y="58"/>
                    <a:pt x="664" y="78"/>
                    <a:pt x="664" y="78"/>
                  </a:cubicBezTo>
                  <a:cubicBezTo>
                    <a:pt x="647" y="76"/>
                    <a:pt x="647" y="76"/>
                    <a:pt x="647" y="76"/>
                  </a:cubicBezTo>
                  <a:cubicBezTo>
                    <a:pt x="647" y="76"/>
                    <a:pt x="636" y="91"/>
                    <a:pt x="628" y="92"/>
                  </a:cubicBezTo>
                  <a:cubicBezTo>
                    <a:pt x="620" y="93"/>
                    <a:pt x="616" y="75"/>
                    <a:pt x="616" y="75"/>
                  </a:cubicBezTo>
                  <a:cubicBezTo>
                    <a:pt x="601" y="80"/>
                    <a:pt x="601" y="80"/>
                    <a:pt x="601" y="80"/>
                  </a:cubicBezTo>
                  <a:cubicBezTo>
                    <a:pt x="601" y="80"/>
                    <a:pt x="609" y="67"/>
                    <a:pt x="606" y="63"/>
                  </a:cubicBezTo>
                  <a:cubicBezTo>
                    <a:pt x="603" y="59"/>
                    <a:pt x="584" y="75"/>
                    <a:pt x="584" y="75"/>
                  </a:cubicBezTo>
                  <a:cubicBezTo>
                    <a:pt x="571" y="72"/>
                    <a:pt x="571" y="72"/>
                    <a:pt x="571" y="72"/>
                  </a:cubicBezTo>
                  <a:cubicBezTo>
                    <a:pt x="570" y="80"/>
                    <a:pt x="570" y="80"/>
                    <a:pt x="570" y="80"/>
                  </a:cubicBezTo>
                  <a:cubicBezTo>
                    <a:pt x="533" y="109"/>
                    <a:pt x="533" y="109"/>
                    <a:pt x="533" y="109"/>
                  </a:cubicBezTo>
                  <a:cubicBezTo>
                    <a:pt x="529" y="106"/>
                    <a:pt x="529" y="106"/>
                    <a:pt x="529" y="106"/>
                  </a:cubicBezTo>
                  <a:cubicBezTo>
                    <a:pt x="526" y="116"/>
                    <a:pt x="526" y="116"/>
                    <a:pt x="526" y="116"/>
                  </a:cubicBezTo>
                  <a:cubicBezTo>
                    <a:pt x="516" y="96"/>
                    <a:pt x="516" y="96"/>
                    <a:pt x="516" y="96"/>
                  </a:cubicBezTo>
                  <a:cubicBezTo>
                    <a:pt x="499" y="88"/>
                    <a:pt x="499" y="88"/>
                    <a:pt x="499" y="88"/>
                  </a:cubicBezTo>
                  <a:cubicBezTo>
                    <a:pt x="496" y="71"/>
                    <a:pt x="496" y="71"/>
                    <a:pt x="496" y="71"/>
                  </a:cubicBezTo>
                  <a:cubicBezTo>
                    <a:pt x="473" y="49"/>
                    <a:pt x="473" y="49"/>
                    <a:pt x="473" y="49"/>
                  </a:cubicBezTo>
                  <a:cubicBezTo>
                    <a:pt x="473" y="36"/>
                    <a:pt x="473" y="36"/>
                    <a:pt x="473" y="36"/>
                  </a:cubicBezTo>
                  <a:cubicBezTo>
                    <a:pt x="473" y="36"/>
                    <a:pt x="459" y="35"/>
                    <a:pt x="458" y="31"/>
                  </a:cubicBezTo>
                  <a:cubicBezTo>
                    <a:pt x="457" y="29"/>
                    <a:pt x="458" y="22"/>
                    <a:pt x="459" y="18"/>
                  </a:cubicBezTo>
                  <a:cubicBezTo>
                    <a:pt x="455" y="21"/>
                    <a:pt x="444" y="18"/>
                    <a:pt x="444" y="18"/>
                  </a:cubicBezTo>
                  <a:cubicBezTo>
                    <a:pt x="446" y="0"/>
                    <a:pt x="446" y="0"/>
                    <a:pt x="446" y="0"/>
                  </a:cubicBezTo>
                  <a:cubicBezTo>
                    <a:pt x="426" y="10"/>
                    <a:pt x="426" y="10"/>
                    <a:pt x="426" y="10"/>
                  </a:cubicBezTo>
                  <a:cubicBezTo>
                    <a:pt x="415" y="4"/>
                    <a:pt x="415" y="4"/>
                    <a:pt x="415" y="4"/>
                  </a:cubicBezTo>
                  <a:cubicBezTo>
                    <a:pt x="415" y="4"/>
                    <a:pt x="411" y="10"/>
                    <a:pt x="401" y="13"/>
                  </a:cubicBezTo>
                  <a:cubicBezTo>
                    <a:pt x="387" y="15"/>
                    <a:pt x="372" y="26"/>
                    <a:pt x="372" y="26"/>
                  </a:cubicBezTo>
                  <a:cubicBezTo>
                    <a:pt x="371" y="19"/>
                    <a:pt x="356" y="12"/>
                    <a:pt x="351" y="12"/>
                  </a:cubicBezTo>
                  <a:cubicBezTo>
                    <a:pt x="346" y="12"/>
                    <a:pt x="347" y="22"/>
                    <a:pt x="347" y="22"/>
                  </a:cubicBezTo>
                  <a:cubicBezTo>
                    <a:pt x="341" y="25"/>
                    <a:pt x="341" y="25"/>
                    <a:pt x="341" y="25"/>
                  </a:cubicBezTo>
                  <a:cubicBezTo>
                    <a:pt x="347" y="40"/>
                    <a:pt x="347" y="40"/>
                    <a:pt x="347" y="40"/>
                  </a:cubicBezTo>
                  <a:cubicBezTo>
                    <a:pt x="347" y="40"/>
                    <a:pt x="336" y="60"/>
                    <a:pt x="333" y="59"/>
                  </a:cubicBezTo>
                  <a:cubicBezTo>
                    <a:pt x="300" y="51"/>
                    <a:pt x="285" y="50"/>
                    <a:pt x="282" y="56"/>
                  </a:cubicBezTo>
                  <a:cubicBezTo>
                    <a:pt x="279" y="62"/>
                    <a:pt x="280" y="72"/>
                    <a:pt x="277" y="72"/>
                  </a:cubicBezTo>
                  <a:cubicBezTo>
                    <a:pt x="274" y="72"/>
                    <a:pt x="268" y="58"/>
                    <a:pt x="268" y="58"/>
                  </a:cubicBezTo>
                  <a:cubicBezTo>
                    <a:pt x="258" y="63"/>
                    <a:pt x="258" y="63"/>
                    <a:pt x="258" y="63"/>
                  </a:cubicBezTo>
                  <a:cubicBezTo>
                    <a:pt x="258" y="63"/>
                    <a:pt x="251" y="44"/>
                    <a:pt x="245" y="47"/>
                  </a:cubicBezTo>
                  <a:cubicBezTo>
                    <a:pt x="239" y="50"/>
                    <a:pt x="237" y="58"/>
                    <a:pt x="237" y="58"/>
                  </a:cubicBezTo>
                  <a:cubicBezTo>
                    <a:pt x="237" y="58"/>
                    <a:pt x="226" y="55"/>
                    <a:pt x="217" y="54"/>
                  </a:cubicBezTo>
                  <a:cubicBezTo>
                    <a:pt x="208" y="53"/>
                    <a:pt x="200" y="64"/>
                    <a:pt x="200" y="64"/>
                  </a:cubicBezTo>
                  <a:cubicBezTo>
                    <a:pt x="186" y="70"/>
                    <a:pt x="186" y="70"/>
                    <a:pt x="186" y="70"/>
                  </a:cubicBezTo>
                  <a:cubicBezTo>
                    <a:pt x="173" y="60"/>
                    <a:pt x="173" y="60"/>
                    <a:pt x="173" y="60"/>
                  </a:cubicBezTo>
                  <a:cubicBezTo>
                    <a:pt x="173" y="60"/>
                    <a:pt x="168" y="65"/>
                    <a:pt x="161" y="69"/>
                  </a:cubicBezTo>
                  <a:cubicBezTo>
                    <a:pt x="154" y="73"/>
                    <a:pt x="147" y="76"/>
                    <a:pt x="147" y="76"/>
                  </a:cubicBezTo>
                  <a:cubicBezTo>
                    <a:pt x="147" y="76"/>
                    <a:pt x="131" y="70"/>
                    <a:pt x="126" y="70"/>
                  </a:cubicBezTo>
                  <a:cubicBezTo>
                    <a:pt x="121" y="70"/>
                    <a:pt x="134" y="84"/>
                    <a:pt x="134" y="84"/>
                  </a:cubicBezTo>
                  <a:cubicBezTo>
                    <a:pt x="115" y="80"/>
                    <a:pt x="115" y="80"/>
                    <a:pt x="115" y="80"/>
                  </a:cubicBezTo>
                  <a:cubicBezTo>
                    <a:pt x="115" y="85"/>
                    <a:pt x="115" y="85"/>
                    <a:pt x="115" y="85"/>
                  </a:cubicBezTo>
                  <a:cubicBezTo>
                    <a:pt x="105" y="87"/>
                    <a:pt x="105" y="87"/>
                    <a:pt x="105" y="87"/>
                  </a:cubicBezTo>
                  <a:cubicBezTo>
                    <a:pt x="105" y="87"/>
                    <a:pt x="96" y="98"/>
                    <a:pt x="84" y="106"/>
                  </a:cubicBezTo>
                  <a:cubicBezTo>
                    <a:pt x="72" y="114"/>
                    <a:pt x="86" y="121"/>
                    <a:pt x="86" y="121"/>
                  </a:cubicBezTo>
                  <a:cubicBezTo>
                    <a:pt x="86" y="121"/>
                    <a:pt x="76" y="131"/>
                    <a:pt x="75" y="139"/>
                  </a:cubicBezTo>
                  <a:cubicBezTo>
                    <a:pt x="74" y="147"/>
                    <a:pt x="79" y="148"/>
                    <a:pt x="79" y="148"/>
                  </a:cubicBezTo>
                  <a:cubicBezTo>
                    <a:pt x="79" y="148"/>
                    <a:pt x="74" y="150"/>
                    <a:pt x="75" y="160"/>
                  </a:cubicBezTo>
                  <a:cubicBezTo>
                    <a:pt x="76" y="170"/>
                    <a:pt x="86" y="164"/>
                    <a:pt x="86" y="164"/>
                  </a:cubicBezTo>
                  <a:cubicBezTo>
                    <a:pt x="98" y="154"/>
                    <a:pt x="98" y="154"/>
                    <a:pt x="98" y="154"/>
                  </a:cubicBezTo>
                  <a:cubicBezTo>
                    <a:pt x="107" y="157"/>
                    <a:pt x="107" y="157"/>
                    <a:pt x="107" y="157"/>
                  </a:cubicBezTo>
                  <a:cubicBezTo>
                    <a:pt x="107" y="157"/>
                    <a:pt x="112" y="161"/>
                    <a:pt x="122" y="156"/>
                  </a:cubicBezTo>
                  <a:cubicBezTo>
                    <a:pt x="132" y="151"/>
                    <a:pt x="156" y="145"/>
                    <a:pt x="156" y="145"/>
                  </a:cubicBezTo>
                  <a:cubicBezTo>
                    <a:pt x="145" y="163"/>
                    <a:pt x="145" y="163"/>
                    <a:pt x="145" y="163"/>
                  </a:cubicBezTo>
                  <a:cubicBezTo>
                    <a:pt x="157" y="168"/>
                    <a:pt x="157" y="168"/>
                    <a:pt x="157" y="168"/>
                  </a:cubicBezTo>
                  <a:cubicBezTo>
                    <a:pt x="172" y="160"/>
                    <a:pt x="172" y="160"/>
                    <a:pt x="172" y="160"/>
                  </a:cubicBezTo>
                  <a:cubicBezTo>
                    <a:pt x="174" y="166"/>
                    <a:pt x="186" y="174"/>
                    <a:pt x="183" y="174"/>
                  </a:cubicBezTo>
                  <a:cubicBezTo>
                    <a:pt x="180" y="174"/>
                    <a:pt x="166" y="183"/>
                    <a:pt x="166" y="183"/>
                  </a:cubicBezTo>
                  <a:cubicBezTo>
                    <a:pt x="155" y="185"/>
                    <a:pt x="155" y="185"/>
                    <a:pt x="155" y="185"/>
                  </a:cubicBezTo>
                  <a:cubicBezTo>
                    <a:pt x="145" y="173"/>
                    <a:pt x="145" y="173"/>
                    <a:pt x="145" y="173"/>
                  </a:cubicBezTo>
                  <a:cubicBezTo>
                    <a:pt x="137" y="178"/>
                    <a:pt x="137" y="178"/>
                    <a:pt x="137" y="178"/>
                  </a:cubicBezTo>
                  <a:cubicBezTo>
                    <a:pt x="122" y="172"/>
                    <a:pt x="122" y="172"/>
                    <a:pt x="122" y="172"/>
                  </a:cubicBezTo>
                  <a:cubicBezTo>
                    <a:pt x="109" y="181"/>
                    <a:pt x="109" y="181"/>
                    <a:pt x="109" y="181"/>
                  </a:cubicBezTo>
                  <a:cubicBezTo>
                    <a:pt x="120" y="189"/>
                    <a:pt x="120" y="189"/>
                    <a:pt x="120" y="189"/>
                  </a:cubicBezTo>
                  <a:cubicBezTo>
                    <a:pt x="120" y="189"/>
                    <a:pt x="124" y="208"/>
                    <a:pt x="125" y="211"/>
                  </a:cubicBezTo>
                  <a:cubicBezTo>
                    <a:pt x="126" y="214"/>
                    <a:pt x="130" y="192"/>
                    <a:pt x="141" y="191"/>
                  </a:cubicBezTo>
                  <a:cubicBezTo>
                    <a:pt x="152" y="190"/>
                    <a:pt x="135" y="190"/>
                    <a:pt x="164" y="204"/>
                  </a:cubicBezTo>
                  <a:cubicBezTo>
                    <a:pt x="193" y="218"/>
                    <a:pt x="171" y="237"/>
                    <a:pt x="171" y="237"/>
                  </a:cubicBezTo>
                  <a:cubicBezTo>
                    <a:pt x="144" y="227"/>
                    <a:pt x="79" y="254"/>
                    <a:pt x="79" y="254"/>
                  </a:cubicBezTo>
                  <a:cubicBezTo>
                    <a:pt x="139" y="267"/>
                    <a:pt x="141" y="276"/>
                    <a:pt x="153" y="293"/>
                  </a:cubicBezTo>
                  <a:cubicBezTo>
                    <a:pt x="165" y="310"/>
                    <a:pt x="156" y="329"/>
                    <a:pt x="156" y="329"/>
                  </a:cubicBezTo>
                  <a:cubicBezTo>
                    <a:pt x="197" y="333"/>
                    <a:pt x="197" y="333"/>
                    <a:pt x="197" y="333"/>
                  </a:cubicBezTo>
                  <a:cubicBezTo>
                    <a:pt x="197" y="333"/>
                    <a:pt x="207" y="310"/>
                    <a:pt x="214" y="310"/>
                  </a:cubicBezTo>
                  <a:cubicBezTo>
                    <a:pt x="221" y="310"/>
                    <a:pt x="231" y="316"/>
                    <a:pt x="235" y="316"/>
                  </a:cubicBezTo>
                  <a:cubicBezTo>
                    <a:pt x="239" y="316"/>
                    <a:pt x="249" y="301"/>
                    <a:pt x="249" y="301"/>
                  </a:cubicBezTo>
                  <a:cubicBezTo>
                    <a:pt x="268" y="334"/>
                    <a:pt x="268" y="334"/>
                    <a:pt x="268" y="334"/>
                  </a:cubicBezTo>
                  <a:cubicBezTo>
                    <a:pt x="294" y="333"/>
                    <a:pt x="294" y="333"/>
                    <a:pt x="294" y="333"/>
                  </a:cubicBezTo>
                  <a:cubicBezTo>
                    <a:pt x="296" y="338"/>
                    <a:pt x="335" y="344"/>
                    <a:pt x="335" y="344"/>
                  </a:cubicBezTo>
                  <a:cubicBezTo>
                    <a:pt x="335" y="344"/>
                    <a:pt x="355" y="365"/>
                    <a:pt x="358" y="365"/>
                  </a:cubicBezTo>
                  <a:cubicBezTo>
                    <a:pt x="361" y="365"/>
                    <a:pt x="384" y="364"/>
                    <a:pt x="384" y="364"/>
                  </a:cubicBezTo>
                  <a:cubicBezTo>
                    <a:pt x="414" y="401"/>
                    <a:pt x="414" y="401"/>
                    <a:pt x="414" y="401"/>
                  </a:cubicBezTo>
                  <a:cubicBezTo>
                    <a:pt x="410" y="421"/>
                    <a:pt x="410" y="421"/>
                    <a:pt x="410" y="421"/>
                  </a:cubicBezTo>
                  <a:cubicBezTo>
                    <a:pt x="414" y="432"/>
                    <a:pt x="414" y="432"/>
                    <a:pt x="414" y="432"/>
                  </a:cubicBezTo>
                  <a:cubicBezTo>
                    <a:pt x="414" y="432"/>
                    <a:pt x="426" y="438"/>
                    <a:pt x="422" y="432"/>
                  </a:cubicBezTo>
                  <a:cubicBezTo>
                    <a:pt x="418" y="426"/>
                    <a:pt x="421" y="398"/>
                    <a:pt x="421" y="398"/>
                  </a:cubicBezTo>
                  <a:cubicBezTo>
                    <a:pt x="425" y="403"/>
                    <a:pt x="425" y="403"/>
                    <a:pt x="425" y="403"/>
                  </a:cubicBezTo>
                  <a:cubicBezTo>
                    <a:pt x="442" y="399"/>
                    <a:pt x="442" y="399"/>
                    <a:pt x="442" y="399"/>
                  </a:cubicBezTo>
                  <a:cubicBezTo>
                    <a:pt x="452" y="403"/>
                    <a:pt x="452" y="403"/>
                    <a:pt x="452" y="403"/>
                  </a:cubicBezTo>
                  <a:cubicBezTo>
                    <a:pt x="460" y="391"/>
                    <a:pt x="460" y="391"/>
                    <a:pt x="460" y="391"/>
                  </a:cubicBezTo>
                  <a:cubicBezTo>
                    <a:pt x="466" y="399"/>
                    <a:pt x="466" y="399"/>
                    <a:pt x="466" y="399"/>
                  </a:cubicBezTo>
                  <a:cubicBezTo>
                    <a:pt x="481" y="388"/>
                    <a:pt x="481" y="388"/>
                    <a:pt x="481" y="388"/>
                  </a:cubicBezTo>
                  <a:cubicBezTo>
                    <a:pt x="481" y="388"/>
                    <a:pt x="518" y="389"/>
                    <a:pt x="522" y="390"/>
                  </a:cubicBezTo>
                  <a:cubicBezTo>
                    <a:pt x="517" y="392"/>
                    <a:pt x="502" y="416"/>
                    <a:pt x="502" y="416"/>
                  </a:cubicBezTo>
                  <a:cubicBezTo>
                    <a:pt x="502" y="416"/>
                    <a:pt x="503" y="411"/>
                    <a:pt x="495" y="411"/>
                  </a:cubicBezTo>
                  <a:cubicBezTo>
                    <a:pt x="487" y="411"/>
                    <a:pt x="462" y="407"/>
                    <a:pt x="462" y="407"/>
                  </a:cubicBezTo>
                  <a:cubicBezTo>
                    <a:pt x="487" y="429"/>
                    <a:pt x="487" y="429"/>
                    <a:pt x="487" y="429"/>
                  </a:cubicBezTo>
                  <a:cubicBezTo>
                    <a:pt x="505" y="422"/>
                    <a:pt x="505" y="422"/>
                    <a:pt x="505" y="422"/>
                  </a:cubicBezTo>
                  <a:cubicBezTo>
                    <a:pt x="513" y="428"/>
                    <a:pt x="513" y="428"/>
                    <a:pt x="513" y="428"/>
                  </a:cubicBezTo>
                  <a:cubicBezTo>
                    <a:pt x="517" y="419"/>
                    <a:pt x="517" y="419"/>
                    <a:pt x="517" y="419"/>
                  </a:cubicBezTo>
                  <a:cubicBezTo>
                    <a:pt x="538" y="427"/>
                    <a:pt x="538" y="427"/>
                    <a:pt x="538" y="427"/>
                  </a:cubicBezTo>
                  <a:cubicBezTo>
                    <a:pt x="538" y="427"/>
                    <a:pt x="548" y="420"/>
                    <a:pt x="555" y="424"/>
                  </a:cubicBezTo>
                  <a:cubicBezTo>
                    <a:pt x="562" y="428"/>
                    <a:pt x="557" y="444"/>
                    <a:pt x="557" y="444"/>
                  </a:cubicBezTo>
                  <a:cubicBezTo>
                    <a:pt x="563" y="444"/>
                    <a:pt x="563" y="444"/>
                    <a:pt x="563" y="444"/>
                  </a:cubicBezTo>
                  <a:cubicBezTo>
                    <a:pt x="566" y="454"/>
                    <a:pt x="566" y="454"/>
                    <a:pt x="566" y="454"/>
                  </a:cubicBezTo>
                  <a:cubicBezTo>
                    <a:pt x="555" y="452"/>
                    <a:pt x="555" y="452"/>
                    <a:pt x="555" y="452"/>
                  </a:cubicBezTo>
                  <a:cubicBezTo>
                    <a:pt x="545" y="463"/>
                    <a:pt x="545" y="463"/>
                    <a:pt x="545" y="463"/>
                  </a:cubicBezTo>
                  <a:cubicBezTo>
                    <a:pt x="554" y="487"/>
                    <a:pt x="554" y="487"/>
                    <a:pt x="554" y="487"/>
                  </a:cubicBezTo>
                  <a:cubicBezTo>
                    <a:pt x="567" y="476"/>
                    <a:pt x="567" y="476"/>
                    <a:pt x="567" y="476"/>
                  </a:cubicBezTo>
                  <a:cubicBezTo>
                    <a:pt x="575" y="481"/>
                    <a:pt x="575" y="481"/>
                    <a:pt x="575" y="481"/>
                  </a:cubicBezTo>
                  <a:cubicBezTo>
                    <a:pt x="595" y="481"/>
                    <a:pt x="595" y="481"/>
                    <a:pt x="595" y="481"/>
                  </a:cubicBezTo>
                  <a:cubicBezTo>
                    <a:pt x="596" y="469"/>
                    <a:pt x="596" y="469"/>
                    <a:pt x="596" y="469"/>
                  </a:cubicBezTo>
                  <a:cubicBezTo>
                    <a:pt x="596" y="469"/>
                    <a:pt x="635" y="496"/>
                    <a:pt x="642" y="436"/>
                  </a:cubicBezTo>
                  <a:cubicBezTo>
                    <a:pt x="666" y="409"/>
                    <a:pt x="666" y="409"/>
                    <a:pt x="666" y="409"/>
                  </a:cubicBezTo>
                  <a:cubicBezTo>
                    <a:pt x="674" y="418"/>
                    <a:pt x="674" y="418"/>
                    <a:pt x="674" y="418"/>
                  </a:cubicBezTo>
                  <a:cubicBezTo>
                    <a:pt x="674" y="418"/>
                    <a:pt x="706" y="416"/>
                    <a:pt x="734" y="410"/>
                  </a:cubicBezTo>
                  <a:cubicBezTo>
                    <a:pt x="752" y="389"/>
                    <a:pt x="752" y="389"/>
                    <a:pt x="752" y="389"/>
                  </a:cubicBezTo>
                  <a:cubicBezTo>
                    <a:pt x="778" y="385"/>
                    <a:pt x="778" y="385"/>
                    <a:pt x="778" y="385"/>
                  </a:cubicBezTo>
                  <a:cubicBezTo>
                    <a:pt x="780" y="370"/>
                    <a:pt x="780" y="370"/>
                    <a:pt x="780" y="370"/>
                  </a:cubicBezTo>
                  <a:cubicBezTo>
                    <a:pt x="796" y="377"/>
                    <a:pt x="796" y="377"/>
                    <a:pt x="796" y="377"/>
                  </a:cubicBezTo>
                  <a:cubicBezTo>
                    <a:pt x="799" y="386"/>
                    <a:pt x="799" y="386"/>
                    <a:pt x="799" y="386"/>
                  </a:cubicBezTo>
                  <a:cubicBezTo>
                    <a:pt x="830" y="392"/>
                    <a:pt x="830" y="392"/>
                    <a:pt x="830" y="392"/>
                  </a:cubicBezTo>
                  <a:cubicBezTo>
                    <a:pt x="830" y="392"/>
                    <a:pt x="832" y="378"/>
                    <a:pt x="838" y="366"/>
                  </a:cubicBezTo>
                  <a:cubicBezTo>
                    <a:pt x="843" y="354"/>
                    <a:pt x="848" y="328"/>
                    <a:pt x="870" y="328"/>
                  </a:cubicBezTo>
                  <a:cubicBezTo>
                    <a:pt x="884" y="316"/>
                    <a:pt x="875" y="334"/>
                    <a:pt x="867" y="242"/>
                  </a:cubicBezTo>
                  <a:cubicBezTo>
                    <a:pt x="875" y="214"/>
                    <a:pt x="879" y="220"/>
                    <a:pt x="879" y="220"/>
                  </a:cubicBezTo>
                  <a:lnTo>
                    <a:pt x="872" y="18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64" name="Pays-de-la-Loire" descr="© INSCALE GmbH, 05.05.2010&#10;http://www.presentationload.com/">
              <a:extLst>
                <a:ext uri="{FF2B5EF4-FFF2-40B4-BE49-F238E27FC236}">
                  <a16:creationId xmlns:a16="http://schemas.microsoft.com/office/drawing/2014/main" id="{10B88F7B-D4ED-466D-B72F-BF67645E313A}"/>
                </a:ext>
              </a:extLst>
            </p:cNvPr>
            <p:cNvSpPr>
              <a:spLocks noEditPoints="1"/>
            </p:cNvSpPr>
            <p:nvPr/>
          </p:nvSpPr>
          <p:spPr bwMode="gray">
            <a:xfrm>
              <a:off x="644" y="1006"/>
              <a:ext cx="797" cy="790"/>
            </a:xfrm>
            <a:custGeom>
              <a:avLst/>
              <a:gdLst/>
              <a:ahLst/>
              <a:cxnLst>
                <a:cxn ang="0">
                  <a:pos x="16" y="534"/>
                </a:cxn>
                <a:cxn ang="0">
                  <a:pos x="51" y="448"/>
                </a:cxn>
                <a:cxn ang="0">
                  <a:pos x="219" y="694"/>
                </a:cxn>
                <a:cxn ang="0">
                  <a:pos x="191" y="687"/>
                </a:cxn>
                <a:cxn ang="0">
                  <a:pos x="211" y="706"/>
                </a:cxn>
                <a:cxn ang="0">
                  <a:pos x="222" y="703"/>
                </a:cxn>
                <a:cxn ang="0">
                  <a:pos x="707" y="141"/>
                </a:cxn>
                <a:cxn ang="0">
                  <a:pos x="651" y="103"/>
                </a:cxn>
                <a:cxn ang="0">
                  <a:pos x="541" y="75"/>
                </a:cxn>
                <a:cxn ang="0">
                  <a:pos x="521" y="24"/>
                </a:cxn>
                <a:cxn ang="0">
                  <a:pos x="482" y="25"/>
                </a:cxn>
                <a:cxn ang="0">
                  <a:pos x="439" y="31"/>
                </a:cxn>
                <a:cxn ang="0">
                  <a:pos x="391" y="47"/>
                </a:cxn>
                <a:cxn ang="0">
                  <a:pos x="321" y="28"/>
                </a:cxn>
                <a:cxn ang="0">
                  <a:pos x="314" y="105"/>
                </a:cxn>
                <a:cxn ang="0">
                  <a:pos x="277" y="255"/>
                </a:cxn>
                <a:cxn ang="0">
                  <a:pos x="227" y="233"/>
                </a:cxn>
                <a:cxn ang="0">
                  <a:pos x="181" y="273"/>
                </a:cxn>
                <a:cxn ang="0">
                  <a:pos x="89" y="299"/>
                </a:cxn>
                <a:cxn ang="0">
                  <a:pos x="22" y="344"/>
                </a:cxn>
                <a:cxn ang="0">
                  <a:pos x="3" y="354"/>
                </a:cxn>
                <a:cxn ang="0">
                  <a:pos x="24" y="359"/>
                </a:cxn>
                <a:cxn ang="0">
                  <a:pos x="105" y="349"/>
                </a:cxn>
                <a:cxn ang="0">
                  <a:pos x="67" y="376"/>
                </a:cxn>
                <a:cxn ang="0">
                  <a:pos x="52" y="399"/>
                </a:cxn>
                <a:cxn ang="0">
                  <a:pos x="104" y="444"/>
                </a:cxn>
                <a:cxn ang="0">
                  <a:pos x="72" y="483"/>
                </a:cxn>
                <a:cxn ang="0">
                  <a:pos x="55" y="465"/>
                </a:cxn>
                <a:cxn ang="0">
                  <a:pos x="72" y="511"/>
                </a:cxn>
                <a:cxn ang="0">
                  <a:pos x="135" y="611"/>
                </a:cxn>
                <a:cxn ang="0">
                  <a:pos x="210" y="658"/>
                </a:cxn>
                <a:cxn ang="0">
                  <a:pos x="251" y="669"/>
                </a:cxn>
                <a:cxn ang="0">
                  <a:pos x="287" y="680"/>
                </a:cxn>
                <a:cxn ang="0">
                  <a:pos x="289" y="723"/>
                </a:cxn>
                <a:cxn ang="0">
                  <a:pos x="337" y="729"/>
                </a:cxn>
                <a:cxn ang="0">
                  <a:pos x="385" y="728"/>
                </a:cxn>
                <a:cxn ang="0">
                  <a:pos x="389" y="707"/>
                </a:cxn>
                <a:cxn ang="0">
                  <a:pos x="394" y="664"/>
                </a:cxn>
                <a:cxn ang="0">
                  <a:pos x="386" y="605"/>
                </a:cxn>
                <a:cxn ang="0">
                  <a:pos x="353" y="548"/>
                </a:cxn>
                <a:cxn ang="0">
                  <a:pos x="378" y="511"/>
                </a:cxn>
                <a:cxn ang="0">
                  <a:pos x="434" y="488"/>
                </a:cxn>
                <a:cxn ang="0">
                  <a:pos x="502" y="480"/>
                </a:cxn>
                <a:cxn ang="0">
                  <a:pos x="514" y="483"/>
                </a:cxn>
                <a:cxn ang="0">
                  <a:pos x="549" y="461"/>
                </a:cxn>
                <a:cxn ang="0">
                  <a:pos x="585" y="359"/>
                </a:cxn>
                <a:cxn ang="0">
                  <a:pos x="615" y="320"/>
                </a:cxn>
                <a:cxn ang="0">
                  <a:pos x="674" y="299"/>
                </a:cxn>
                <a:cxn ang="0">
                  <a:pos x="717" y="229"/>
                </a:cxn>
                <a:cxn ang="0">
                  <a:pos x="722" y="192"/>
                </a:cxn>
                <a:cxn ang="0">
                  <a:pos x="725" y="157"/>
                </a:cxn>
                <a:cxn ang="0">
                  <a:pos x="719" y="140"/>
                </a:cxn>
              </a:cxnLst>
              <a:rect l="0" t="0" r="r" b="b"/>
              <a:pathLst>
                <a:path w="739" h="732">
                  <a:moveTo>
                    <a:pt x="16" y="534"/>
                  </a:moveTo>
                  <a:cubicBezTo>
                    <a:pt x="10" y="548"/>
                    <a:pt x="22" y="548"/>
                    <a:pt x="37" y="548"/>
                  </a:cubicBezTo>
                  <a:cubicBezTo>
                    <a:pt x="32" y="535"/>
                    <a:pt x="16" y="534"/>
                    <a:pt x="16" y="534"/>
                  </a:cubicBezTo>
                  <a:close/>
                  <a:moveTo>
                    <a:pt x="38" y="440"/>
                  </a:moveTo>
                  <a:cubicBezTo>
                    <a:pt x="36" y="461"/>
                    <a:pt x="44" y="460"/>
                    <a:pt x="47" y="462"/>
                  </a:cubicBezTo>
                  <a:cubicBezTo>
                    <a:pt x="50" y="464"/>
                    <a:pt x="51" y="458"/>
                    <a:pt x="51" y="448"/>
                  </a:cubicBezTo>
                  <a:cubicBezTo>
                    <a:pt x="51" y="438"/>
                    <a:pt x="38" y="440"/>
                    <a:pt x="38" y="440"/>
                  </a:cubicBezTo>
                  <a:close/>
                  <a:moveTo>
                    <a:pt x="222" y="703"/>
                  </a:moveTo>
                  <a:cubicBezTo>
                    <a:pt x="219" y="694"/>
                    <a:pt x="219" y="694"/>
                    <a:pt x="219" y="694"/>
                  </a:cubicBezTo>
                  <a:cubicBezTo>
                    <a:pt x="201" y="701"/>
                    <a:pt x="201" y="701"/>
                    <a:pt x="201" y="701"/>
                  </a:cubicBezTo>
                  <a:cubicBezTo>
                    <a:pt x="203" y="686"/>
                    <a:pt x="203" y="686"/>
                    <a:pt x="203" y="686"/>
                  </a:cubicBezTo>
                  <a:cubicBezTo>
                    <a:pt x="191" y="687"/>
                    <a:pt x="191" y="687"/>
                    <a:pt x="191" y="687"/>
                  </a:cubicBezTo>
                  <a:cubicBezTo>
                    <a:pt x="190" y="693"/>
                    <a:pt x="190" y="693"/>
                    <a:pt x="190" y="693"/>
                  </a:cubicBezTo>
                  <a:cubicBezTo>
                    <a:pt x="200" y="708"/>
                    <a:pt x="200" y="708"/>
                    <a:pt x="200" y="708"/>
                  </a:cubicBezTo>
                  <a:cubicBezTo>
                    <a:pt x="211" y="706"/>
                    <a:pt x="211" y="706"/>
                    <a:pt x="211" y="706"/>
                  </a:cubicBezTo>
                  <a:cubicBezTo>
                    <a:pt x="230" y="714"/>
                    <a:pt x="230" y="714"/>
                    <a:pt x="230" y="714"/>
                  </a:cubicBezTo>
                  <a:cubicBezTo>
                    <a:pt x="238" y="725"/>
                    <a:pt x="246" y="718"/>
                    <a:pt x="250" y="719"/>
                  </a:cubicBezTo>
                  <a:cubicBezTo>
                    <a:pt x="241" y="705"/>
                    <a:pt x="222" y="703"/>
                    <a:pt x="222" y="703"/>
                  </a:cubicBezTo>
                  <a:close/>
                  <a:moveTo>
                    <a:pt x="719" y="140"/>
                  </a:moveTo>
                  <a:cubicBezTo>
                    <a:pt x="719" y="139"/>
                    <a:pt x="719" y="139"/>
                    <a:pt x="719" y="139"/>
                  </a:cubicBezTo>
                  <a:cubicBezTo>
                    <a:pt x="707" y="141"/>
                    <a:pt x="707" y="141"/>
                    <a:pt x="707" y="141"/>
                  </a:cubicBezTo>
                  <a:cubicBezTo>
                    <a:pt x="683" y="117"/>
                    <a:pt x="683" y="117"/>
                    <a:pt x="683" y="117"/>
                  </a:cubicBezTo>
                  <a:cubicBezTo>
                    <a:pt x="658" y="123"/>
                    <a:pt x="658" y="123"/>
                    <a:pt x="658" y="123"/>
                  </a:cubicBezTo>
                  <a:cubicBezTo>
                    <a:pt x="651" y="103"/>
                    <a:pt x="651" y="103"/>
                    <a:pt x="651" y="103"/>
                  </a:cubicBezTo>
                  <a:cubicBezTo>
                    <a:pt x="651" y="103"/>
                    <a:pt x="638" y="96"/>
                    <a:pt x="631" y="91"/>
                  </a:cubicBezTo>
                  <a:cubicBezTo>
                    <a:pt x="623" y="0"/>
                    <a:pt x="561" y="75"/>
                    <a:pt x="561" y="75"/>
                  </a:cubicBezTo>
                  <a:cubicBezTo>
                    <a:pt x="541" y="75"/>
                    <a:pt x="541" y="75"/>
                    <a:pt x="541" y="75"/>
                  </a:cubicBezTo>
                  <a:cubicBezTo>
                    <a:pt x="537" y="48"/>
                    <a:pt x="537" y="48"/>
                    <a:pt x="537" y="48"/>
                  </a:cubicBezTo>
                  <a:cubicBezTo>
                    <a:pt x="537" y="48"/>
                    <a:pt x="531" y="49"/>
                    <a:pt x="519" y="49"/>
                  </a:cubicBezTo>
                  <a:cubicBezTo>
                    <a:pt x="507" y="49"/>
                    <a:pt x="521" y="24"/>
                    <a:pt x="521" y="24"/>
                  </a:cubicBezTo>
                  <a:cubicBezTo>
                    <a:pt x="521" y="24"/>
                    <a:pt x="498" y="15"/>
                    <a:pt x="494" y="15"/>
                  </a:cubicBezTo>
                  <a:cubicBezTo>
                    <a:pt x="490" y="15"/>
                    <a:pt x="498" y="20"/>
                    <a:pt x="494" y="28"/>
                  </a:cubicBezTo>
                  <a:cubicBezTo>
                    <a:pt x="490" y="36"/>
                    <a:pt x="482" y="25"/>
                    <a:pt x="482" y="25"/>
                  </a:cubicBezTo>
                  <a:cubicBezTo>
                    <a:pt x="467" y="37"/>
                    <a:pt x="467" y="37"/>
                    <a:pt x="467" y="37"/>
                  </a:cubicBezTo>
                  <a:cubicBezTo>
                    <a:pt x="461" y="32"/>
                    <a:pt x="461" y="32"/>
                    <a:pt x="461" y="32"/>
                  </a:cubicBezTo>
                  <a:cubicBezTo>
                    <a:pt x="461" y="32"/>
                    <a:pt x="446" y="31"/>
                    <a:pt x="439" y="31"/>
                  </a:cubicBezTo>
                  <a:cubicBezTo>
                    <a:pt x="434" y="45"/>
                    <a:pt x="411" y="45"/>
                    <a:pt x="411" y="45"/>
                  </a:cubicBezTo>
                  <a:cubicBezTo>
                    <a:pt x="407" y="36"/>
                    <a:pt x="407" y="36"/>
                    <a:pt x="407" y="36"/>
                  </a:cubicBezTo>
                  <a:cubicBezTo>
                    <a:pt x="407" y="36"/>
                    <a:pt x="391" y="37"/>
                    <a:pt x="391" y="47"/>
                  </a:cubicBezTo>
                  <a:cubicBezTo>
                    <a:pt x="391" y="56"/>
                    <a:pt x="366" y="32"/>
                    <a:pt x="366" y="32"/>
                  </a:cubicBezTo>
                  <a:cubicBezTo>
                    <a:pt x="366" y="32"/>
                    <a:pt x="353" y="28"/>
                    <a:pt x="343" y="23"/>
                  </a:cubicBezTo>
                  <a:cubicBezTo>
                    <a:pt x="338" y="30"/>
                    <a:pt x="331" y="31"/>
                    <a:pt x="321" y="28"/>
                  </a:cubicBezTo>
                  <a:cubicBezTo>
                    <a:pt x="319" y="51"/>
                    <a:pt x="319" y="51"/>
                    <a:pt x="319" y="51"/>
                  </a:cubicBezTo>
                  <a:cubicBezTo>
                    <a:pt x="326" y="83"/>
                    <a:pt x="326" y="83"/>
                    <a:pt x="326" y="83"/>
                  </a:cubicBezTo>
                  <a:cubicBezTo>
                    <a:pt x="326" y="83"/>
                    <a:pt x="322" y="77"/>
                    <a:pt x="314" y="105"/>
                  </a:cubicBezTo>
                  <a:cubicBezTo>
                    <a:pt x="322" y="197"/>
                    <a:pt x="331" y="179"/>
                    <a:pt x="317" y="191"/>
                  </a:cubicBezTo>
                  <a:cubicBezTo>
                    <a:pt x="295" y="191"/>
                    <a:pt x="290" y="217"/>
                    <a:pt x="285" y="229"/>
                  </a:cubicBezTo>
                  <a:cubicBezTo>
                    <a:pt x="279" y="241"/>
                    <a:pt x="277" y="255"/>
                    <a:pt x="277" y="255"/>
                  </a:cubicBezTo>
                  <a:cubicBezTo>
                    <a:pt x="246" y="249"/>
                    <a:pt x="246" y="249"/>
                    <a:pt x="246" y="249"/>
                  </a:cubicBezTo>
                  <a:cubicBezTo>
                    <a:pt x="243" y="240"/>
                    <a:pt x="243" y="240"/>
                    <a:pt x="243" y="240"/>
                  </a:cubicBezTo>
                  <a:cubicBezTo>
                    <a:pt x="227" y="233"/>
                    <a:pt x="227" y="233"/>
                    <a:pt x="227" y="233"/>
                  </a:cubicBezTo>
                  <a:cubicBezTo>
                    <a:pt x="225" y="248"/>
                    <a:pt x="225" y="248"/>
                    <a:pt x="225" y="248"/>
                  </a:cubicBezTo>
                  <a:cubicBezTo>
                    <a:pt x="199" y="252"/>
                    <a:pt x="199" y="252"/>
                    <a:pt x="199" y="252"/>
                  </a:cubicBezTo>
                  <a:cubicBezTo>
                    <a:pt x="199" y="252"/>
                    <a:pt x="199" y="252"/>
                    <a:pt x="181" y="273"/>
                  </a:cubicBezTo>
                  <a:cubicBezTo>
                    <a:pt x="153" y="279"/>
                    <a:pt x="121" y="281"/>
                    <a:pt x="121" y="281"/>
                  </a:cubicBezTo>
                  <a:cubicBezTo>
                    <a:pt x="113" y="272"/>
                    <a:pt x="113" y="272"/>
                    <a:pt x="113" y="272"/>
                  </a:cubicBezTo>
                  <a:cubicBezTo>
                    <a:pt x="113" y="272"/>
                    <a:pt x="113" y="272"/>
                    <a:pt x="89" y="299"/>
                  </a:cubicBezTo>
                  <a:cubicBezTo>
                    <a:pt x="82" y="359"/>
                    <a:pt x="43" y="332"/>
                    <a:pt x="43" y="332"/>
                  </a:cubicBezTo>
                  <a:cubicBezTo>
                    <a:pt x="42" y="344"/>
                    <a:pt x="42" y="344"/>
                    <a:pt x="42" y="344"/>
                  </a:cubicBezTo>
                  <a:cubicBezTo>
                    <a:pt x="22" y="344"/>
                    <a:pt x="22" y="344"/>
                    <a:pt x="22" y="344"/>
                  </a:cubicBezTo>
                  <a:cubicBezTo>
                    <a:pt x="14" y="339"/>
                    <a:pt x="14" y="339"/>
                    <a:pt x="14" y="339"/>
                  </a:cubicBezTo>
                  <a:cubicBezTo>
                    <a:pt x="1" y="350"/>
                    <a:pt x="1" y="350"/>
                    <a:pt x="1" y="350"/>
                  </a:cubicBezTo>
                  <a:cubicBezTo>
                    <a:pt x="3" y="354"/>
                    <a:pt x="3" y="354"/>
                    <a:pt x="3" y="354"/>
                  </a:cubicBezTo>
                  <a:cubicBezTo>
                    <a:pt x="0" y="355"/>
                    <a:pt x="0" y="355"/>
                    <a:pt x="0" y="355"/>
                  </a:cubicBezTo>
                  <a:cubicBezTo>
                    <a:pt x="2" y="357"/>
                    <a:pt x="4" y="360"/>
                    <a:pt x="7" y="364"/>
                  </a:cubicBezTo>
                  <a:cubicBezTo>
                    <a:pt x="14" y="363"/>
                    <a:pt x="24" y="359"/>
                    <a:pt x="24" y="359"/>
                  </a:cubicBezTo>
                  <a:cubicBezTo>
                    <a:pt x="24" y="359"/>
                    <a:pt x="39" y="374"/>
                    <a:pt x="45" y="374"/>
                  </a:cubicBezTo>
                  <a:cubicBezTo>
                    <a:pt x="51" y="374"/>
                    <a:pt x="70" y="351"/>
                    <a:pt x="70" y="351"/>
                  </a:cubicBezTo>
                  <a:cubicBezTo>
                    <a:pt x="70" y="351"/>
                    <a:pt x="103" y="344"/>
                    <a:pt x="105" y="349"/>
                  </a:cubicBezTo>
                  <a:cubicBezTo>
                    <a:pt x="107" y="354"/>
                    <a:pt x="96" y="361"/>
                    <a:pt x="96" y="361"/>
                  </a:cubicBezTo>
                  <a:cubicBezTo>
                    <a:pt x="72" y="363"/>
                    <a:pt x="72" y="363"/>
                    <a:pt x="72" y="363"/>
                  </a:cubicBezTo>
                  <a:cubicBezTo>
                    <a:pt x="67" y="376"/>
                    <a:pt x="67" y="376"/>
                    <a:pt x="67" y="376"/>
                  </a:cubicBezTo>
                  <a:cubicBezTo>
                    <a:pt x="71" y="385"/>
                    <a:pt x="71" y="385"/>
                    <a:pt x="71" y="385"/>
                  </a:cubicBezTo>
                  <a:cubicBezTo>
                    <a:pt x="65" y="399"/>
                    <a:pt x="65" y="399"/>
                    <a:pt x="65" y="399"/>
                  </a:cubicBezTo>
                  <a:cubicBezTo>
                    <a:pt x="52" y="399"/>
                    <a:pt x="52" y="399"/>
                    <a:pt x="52" y="399"/>
                  </a:cubicBezTo>
                  <a:cubicBezTo>
                    <a:pt x="52" y="408"/>
                    <a:pt x="52" y="408"/>
                    <a:pt x="52" y="408"/>
                  </a:cubicBezTo>
                  <a:cubicBezTo>
                    <a:pt x="91" y="415"/>
                    <a:pt x="91" y="415"/>
                    <a:pt x="91" y="415"/>
                  </a:cubicBezTo>
                  <a:cubicBezTo>
                    <a:pt x="104" y="444"/>
                    <a:pt x="104" y="444"/>
                    <a:pt x="104" y="444"/>
                  </a:cubicBezTo>
                  <a:cubicBezTo>
                    <a:pt x="95" y="445"/>
                    <a:pt x="95" y="445"/>
                    <a:pt x="95" y="445"/>
                  </a:cubicBezTo>
                  <a:cubicBezTo>
                    <a:pt x="92" y="462"/>
                    <a:pt x="92" y="462"/>
                    <a:pt x="92" y="462"/>
                  </a:cubicBezTo>
                  <a:cubicBezTo>
                    <a:pt x="72" y="483"/>
                    <a:pt x="72" y="483"/>
                    <a:pt x="72" y="483"/>
                  </a:cubicBezTo>
                  <a:cubicBezTo>
                    <a:pt x="69" y="468"/>
                    <a:pt x="69" y="468"/>
                    <a:pt x="69" y="468"/>
                  </a:cubicBezTo>
                  <a:cubicBezTo>
                    <a:pt x="55" y="458"/>
                    <a:pt x="55" y="458"/>
                    <a:pt x="55" y="458"/>
                  </a:cubicBezTo>
                  <a:cubicBezTo>
                    <a:pt x="55" y="465"/>
                    <a:pt x="55" y="465"/>
                    <a:pt x="55" y="465"/>
                  </a:cubicBezTo>
                  <a:cubicBezTo>
                    <a:pt x="55" y="465"/>
                    <a:pt x="62" y="463"/>
                    <a:pt x="63" y="469"/>
                  </a:cubicBezTo>
                  <a:cubicBezTo>
                    <a:pt x="64" y="475"/>
                    <a:pt x="68" y="489"/>
                    <a:pt x="68" y="489"/>
                  </a:cubicBezTo>
                  <a:cubicBezTo>
                    <a:pt x="68" y="489"/>
                    <a:pt x="73" y="508"/>
                    <a:pt x="72" y="511"/>
                  </a:cubicBezTo>
                  <a:cubicBezTo>
                    <a:pt x="91" y="521"/>
                    <a:pt x="103" y="549"/>
                    <a:pt x="103" y="549"/>
                  </a:cubicBezTo>
                  <a:cubicBezTo>
                    <a:pt x="111" y="549"/>
                    <a:pt x="111" y="549"/>
                    <a:pt x="111" y="549"/>
                  </a:cubicBezTo>
                  <a:cubicBezTo>
                    <a:pt x="126" y="569"/>
                    <a:pt x="135" y="611"/>
                    <a:pt x="135" y="611"/>
                  </a:cubicBezTo>
                  <a:cubicBezTo>
                    <a:pt x="135" y="611"/>
                    <a:pt x="135" y="603"/>
                    <a:pt x="149" y="617"/>
                  </a:cubicBezTo>
                  <a:cubicBezTo>
                    <a:pt x="163" y="631"/>
                    <a:pt x="200" y="642"/>
                    <a:pt x="200" y="642"/>
                  </a:cubicBezTo>
                  <a:cubicBezTo>
                    <a:pt x="210" y="658"/>
                    <a:pt x="210" y="658"/>
                    <a:pt x="210" y="658"/>
                  </a:cubicBezTo>
                  <a:cubicBezTo>
                    <a:pt x="210" y="658"/>
                    <a:pt x="229" y="658"/>
                    <a:pt x="235" y="660"/>
                  </a:cubicBezTo>
                  <a:cubicBezTo>
                    <a:pt x="241" y="662"/>
                    <a:pt x="248" y="678"/>
                    <a:pt x="248" y="678"/>
                  </a:cubicBezTo>
                  <a:cubicBezTo>
                    <a:pt x="251" y="669"/>
                    <a:pt x="251" y="669"/>
                    <a:pt x="251" y="669"/>
                  </a:cubicBezTo>
                  <a:cubicBezTo>
                    <a:pt x="265" y="682"/>
                    <a:pt x="265" y="682"/>
                    <a:pt x="265" y="682"/>
                  </a:cubicBezTo>
                  <a:cubicBezTo>
                    <a:pt x="274" y="666"/>
                    <a:pt x="274" y="666"/>
                    <a:pt x="274" y="666"/>
                  </a:cubicBezTo>
                  <a:cubicBezTo>
                    <a:pt x="274" y="666"/>
                    <a:pt x="284" y="675"/>
                    <a:pt x="287" y="680"/>
                  </a:cubicBezTo>
                  <a:cubicBezTo>
                    <a:pt x="290" y="685"/>
                    <a:pt x="262" y="717"/>
                    <a:pt x="262" y="717"/>
                  </a:cubicBezTo>
                  <a:cubicBezTo>
                    <a:pt x="267" y="720"/>
                    <a:pt x="271" y="724"/>
                    <a:pt x="275" y="728"/>
                  </a:cubicBezTo>
                  <a:cubicBezTo>
                    <a:pt x="289" y="723"/>
                    <a:pt x="289" y="723"/>
                    <a:pt x="289" y="723"/>
                  </a:cubicBezTo>
                  <a:cubicBezTo>
                    <a:pt x="322" y="712"/>
                    <a:pt x="322" y="712"/>
                    <a:pt x="322" y="712"/>
                  </a:cubicBezTo>
                  <a:cubicBezTo>
                    <a:pt x="322" y="728"/>
                    <a:pt x="322" y="728"/>
                    <a:pt x="322" y="728"/>
                  </a:cubicBezTo>
                  <a:cubicBezTo>
                    <a:pt x="337" y="729"/>
                    <a:pt x="337" y="729"/>
                    <a:pt x="337" y="729"/>
                  </a:cubicBezTo>
                  <a:cubicBezTo>
                    <a:pt x="346" y="723"/>
                    <a:pt x="346" y="723"/>
                    <a:pt x="346" y="723"/>
                  </a:cubicBezTo>
                  <a:cubicBezTo>
                    <a:pt x="361" y="732"/>
                    <a:pt x="361" y="732"/>
                    <a:pt x="361" y="732"/>
                  </a:cubicBezTo>
                  <a:cubicBezTo>
                    <a:pt x="361" y="732"/>
                    <a:pt x="378" y="728"/>
                    <a:pt x="385" y="728"/>
                  </a:cubicBezTo>
                  <a:cubicBezTo>
                    <a:pt x="391" y="728"/>
                    <a:pt x="391" y="717"/>
                    <a:pt x="391" y="717"/>
                  </a:cubicBezTo>
                  <a:cubicBezTo>
                    <a:pt x="391" y="717"/>
                    <a:pt x="421" y="719"/>
                    <a:pt x="398" y="699"/>
                  </a:cubicBezTo>
                  <a:cubicBezTo>
                    <a:pt x="389" y="707"/>
                    <a:pt x="389" y="707"/>
                    <a:pt x="389" y="707"/>
                  </a:cubicBezTo>
                  <a:cubicBezTo>
                    <a:pt x="393" y="684"/>
                    <a:pt x="393" y="684"/>
                    <a:pt x="393" y="684"/>
                  </a:cubicBezTo>
                  <a:cubicBezTo>
                    <a:pt x="383" y="664"/>
                    <a:pt x="383" y="664"/>
                    <a:pt x="383" y="664"/>
                  </a:cubicBezTo>
                  <a:cubicBezTo>
                    <a:pt x="394" y="664"/>
                    <a:pt x="394" y="664"/>
                    <a:pt x="394" y="664"/>
                  </a:cubicBezTo>
                  <a:cubicBezTo>
                    <a:pt x="394" y="627"/>
                    <a:pt x="394" y="627"/>
                    <a:pt x="394" y="627"/>
                  </a:cubicBezTo>
                  <a:cubicBezTo>
                    <a:pt x="383" y="627"/>
                    <a:pt x="383" y="627"/>
                    <a:pt x="383" y="627"/>
                  </a:cubicBezTo>
                  <a:cubicBezTo>
                    <a:pt x="386" y="605"/>
                    <a:pt x="386" y="605"/>
                    <a:pt x="386" y="605"/>
                  </a:cubicBezTo>
                  <a:cubicBezTo>
                    <a:pt x="371" y="585"/>
                    <a:pt x="371" y="585"/>
                    <a:pt x="371" y="585"/>
                  </a:cubicBezTo>
                  <a:cubicBezTo>
                    <a:pt x="378" y="573"/>
                    <a:pt x="378" y="573"/>
                    <a:pt x="378" y="573"/>
                  </a:cubicBezTo>
                  <a:cubicBezTo>
                    <a:pt x="353" y="548"/>
                    <a:pt x="353" y="548"/>
                    <a:pt x="353" y="548"/>
                  </a:cubicBezTo>
                  <a:cubicBezTo>
                    <a:pt x="357" y="537"/>
                    <a:pt x="357" y="537"/>
                    <a:pt x="357" y="537"/>
                  </a:cubicBezTo>
                  <a:cubicBezTo>
                    <a:pt x="357" y="537"/>
                    <a:pt x="337" y="532"/>
                    <a:pt x="339" y="523"/>
                  </a:cubicBezTo>
                  <a:cubicBezTo>
                    <a:pt x="342" y="513"/>
                    <a:pt x="371" y="503"/>
                    <a:pt x="378" y="511"/>
                  </a:cubicBezTo>
                  <a:cubicBezTo>
                    <a:pt x="385" y="519"/>
                    <a:pt x="413" y="501"/>
                    <a:pt x="413" y="501"/>
                  </a:cubicBezTo>
                  <a:cubicBezTo>
                    <a:pt x="415" y="485"/>
                    <a:pt x="415" y="485"/>
                    <a:pt x="415" y="485"/>
                  </a:cubicBezTo>
                  <a:cubicBezTo>
                    <a:pt x="434" y="488"/>
                    <a:pt x="434" y="488"/>
                    <a:pt x="434" y="488"/>
                  </a:cubicBezTo>
                  <a:cubicBezTo>
                    <a:pt x="433" y="496"/>
                    <a:pt x="433" y="496"/>
                    <a:pt x="433" y="496"/>
                  </a:cubicBezTo>
                  <a:cubicBezTo>
                    <a:pt x="459" y="481"/>
                    <a:pt x="459" y="481"/>
                    <a:pt x="459" y="481"/>
                  </a:cubicBezTo>
                  <a:cubicBezTo>
                    <a:pt x="502" y="480"/>
                    <a:pt x="502" y="480"/>
                    <a:pt x="502" y="480"/>
                  </a:cubicBezTo>
                  <a:cubicBezTo>
                    <a:pt x="499" y="492"/>
                    <a:pt x="499" y="492"/>
                    <a:pt x="499" y="492"/>
                  </a:cubicBezTo>
                  <a:cubicBezTo>
                    <a:pt x="509" y="492"/>
                    <a:pt x="509" y="492"/>
                    <a:pt x="509" y="492"/>
                  </a:cubicBezTo>
                  <a:cubicBezTo>
                    <a:pt x="514" y="483"/>
                    <a:pt x="514" y="483"/>
                    <a:pt x="514" y="483"/>
                  </a:cubicBezTo>
                  <a:cubicBezTo>
                    <a:pt x="519" y="484"/>
                    <a:pt x="519" y="484"/>
                    <a:pt x="519" y="484"/>
                  </a:cubicBezTo>
                  <a:cubicBezTo>
                    <a:pt x="519" y="484"/>
                    <a:pt x="518" y="464"/>
                    <a:pt x="549" y="464"/>
                  </a:cubicBezTo>
                  <a:cubicBezTo>
                    <a:pt x="549" y="463"/>
                    <a:pt x="549" y="462"/>
                    <a:pt x="549" y="461"/>
                  </a:cubicBezTo>
                  <a:cubicBezTo>
                    <a:pt x="546" y="433"/>
                    <a:pt x="575" y="399"/>
                    <a:pt x="575" y="399"/>
                  </a:cubicBezTo>
                  <a:cubicBezTo>
                    <a:pt x="569" y="387"/>
                    <a:pt x="569" y="387"/>
                    <a:pt x="569" y="387"/>
                  </a:cubicBezTo>
                  <a:cubicBezTo>
                    <a:pt x="569" y="387"/>
                    <a:pt x="581" y="369"/>
                    <a:pt x="585" y="359"/>
                  </a:cubicBezTo>
                  <a:cubicBezTo>
                    <a:pt x="578" y="351"/>
                    <a:pt x="589" y="323"/>
                    <a:pt x="589" y="323"/>
                  </a:cubicBezTo>
                  <a:cubicBezTo>
                    <a:pt x="626" y="335"/>
                    <a:pt x="626" y="335"/>
                    <a:pt x="626" y="335"/>
                  </a:cubicBezTo>
                  <a:cubicBezTo>
                    <a:pt x="615" y="320"/>
                    <a:pt x="615" y="320"/>
                    <a:pt x="615" y="320"/>
                  </a:cubicBezTo>
                  <a:cubicBezTo>
                    <a:pt x="615" y="320"/>
                    <a:pt x="626" y="313"/>
                    <a:pt x="625" y="311"/>
                  </a:cubicBezTo>
                  <a:cubicBezTo>
                    <a:pt x="642" y="329"/>
                    <a:pt x="641" y="307"/>
                    <a:pt x="641" y="307"/>
                  </a:cubicBezTo>
                  <a:cubicBezTo>
                    <a:pt x="641" y="307"/>
                    <a:pt x="670" y="300"/>
                    <a:pt x="674" y="299"/>
                  </a:cubicBezTo>
                  <a:cubicBezTo>
                    <a:pt x="658" y="293"/>
                    <a:pt x="690" y="272"/>
                    <a:pt x="690" y="272"/>
                  </a:cubicBezTo>
                  <a:cubicBezTo>
                    <a:pt x="690" y="272"/>
                    <a:pt x="703" y="252"/>
                    <a:pt x="707" y="248"/>
                  </a:cubicBezTo>
                  <a:cubicBezTo>
                    <a:pt x="707" y="233"/>
                    <a:pt x="717" y="229"/>
                    <a:pt x="717" y="229"/>
                  </a:cubicBezTo>
                  <a:cubicBezTo>
                    <a:pt x="725" y="219"/>
                    <a:pt x="725" y="219"/>
                    <a:pt x="725" y="219"/>
                  </a:cubicBezTo>
                  <a:cubicBezTo>
                    <a:pt x="718" y="205"/>
                    <a:pt x="718" y="205"/>
                    <a:pt x="718" y="205"/>
                  </a:cubicBezTo>
                  <a:cubicBezTo>
                    <a:pt x="722" y="192"/>
                    <a:pt x="722" y="192"/>
                    <a:pt x="722" y="192"/>
                  </a:cubicBezTo>
                  <a:cubicBezTo>
                    <a:pt x="714" y="180"/>
                    <a:pt x="714" y="180"/>
                    <a:pt x="714" y="180"/>
                  </a:cubicBezTo>
                  <a:cubicBezTo>
                    <a:pt x="725" y="175"/>
                    <a:pt x="725" y="175"/>
                    <a:pt x="725" y="175"/>
                  </a:cubicBezTo>
                  <a:cubicBezTo>
                    <a:pt x="725" y="157"/>
                    <a:pt x="725" y="157"/>
                    <a:pt x="725" y="157"/>
                  </a:cubicBezTo>
                  <a:cubicBezTo>
                    <a:pt x="739" y="156"/>
                    <a:pt x="739" y="156"/>
                    <a:pt x="739" y="156"/>
                  </a:cubicBezTo>
                  <a:cubicBezTo>
                    <a:pt x="739" y="147"/>
                    <a:pt x="739" y="147"/>
                    <a:pt x="739" y="147"/>
                  </a:cubicBezTo>
                  <a:lnTo>
                    <a:pt x="719" y="14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65" name="POitou-Charentes" descr="© INSCALE GmbH, 05.05.2010&#10;http://www.presentationload.com/">
              <a:extLst>
                <a:ext uri="{FF2B5EF4-FFF2-40B4-BE49-F238E27FC236}">
                  <a16:creationId xmlns:a16="http://schemas.microsoft.com/office/drawing/2014/main" id="{9B3AB0EA-78CA-416A-9183-A0184E07B230}"/>
                </a:ext>
              </a:extLst>
            </p:cNvPr>
            <p:cNvSpPr>
              <a:spLocks noEditPoints="1"/>
            </p:cNvSpPr>
            <p:nvPr/>
          </p:nvSpPr>
          <p:spPr bwMode="gray">
            <a:xfrm>
              <a:off x="881" y="1507"/>
              <a:ext cx="619" cy="717"/>
            </a:xfrm>
            <a:custGeom>
              <a:avLst/>
              <a:gdLst/>
              <a:ahLst/>
              <a:cxnLst>
                <a:cxn ang="0">
                  <a:pos x="39" y="333"/>
                </a:cxn>
                <a:cxn ang="0">
                  <a:pos x="19" y="308"/>
                </a:cxn>
                <a:cxn ang="0">
                  <a:pos x="6" y="327"/>
                </a:cxn>
                <a:cxn ang="0">
                  <a:pos x="32" y="355"/>
                </a:cxn>
                <a:cxn ang="0">
                  <a:pos x="46" y="345"/>
                </a:cxn>
                <a:cxn ang="0">
                  <a:pos x="559" y="229"/>
                </a:cxn>
                <a:cxn ang="0">
                  <a:pos x="533" y="197"/>
                </a:cxn>
                <a:cxn ang="0">
                  <a:pos x="486" y="111"/>
                </a:cxn>
                <a:cxn ang="0">
                  <a:pos x="434" y="52"/>
                </a:cxn>
                <a:cxn ang="0">
                  <a:pos x="419" y="65"/>
                </a:cxn>
                <a:cxn ang="0">
                  <a:pos x="393" y="67"/>
                </a:cxn>
                <a:cxn ang="0">
                  <a:pos x="382" y="39"/>
                </a:cxn>
                <a:cxn ang="0">
                  <a:pos x="369" y="28"/>
                </a:cxn>
                <a:cxn ang="0">
                  <a:pos x="355" y="21"/>
                </a:cxn>
                <a:cxn ang="0">
                  <a:pos x="299" y="20"/>
                </a:cxn>
                <a:cxn ang="0">
                  <a:pos x="289" y="28"/>
                </a:cxn>
                <a:cxn ang="0">
                  <a:pos x="282" y="16"/>
                </a:cxn>
                <a:cxn ang="0">
                  <a:pos x="213" y="32"/>
                </a:cxn>
                <a:cxn ang="0">
                  <a:pos x="195" y="21"/>
                </a:cxn>
                <a:cxn ang="0">
                  <a:pos x="158" y="47"/>
                </a:cxn>
                <a:cxn ang="0">
                  <a:pos x="137" y="73"/>
                </a:cxn>
                <a:cxn ang="0">
                  <a:pos x="158" y="109"/>
                </a:cxn>
                <a:cxn ang="0">
                  <a:pos x="166" y="141"/>
                </a:cxn>
                <a:cxn ang="0">
                  <a:pos x="174" y="163"/>
                </a:cxn>
                <a:cxn ang="0">
                  <a:pos x="163" y="200"/>
                </a:cxn>
                <a:cxn ang="0">
                  <a:pos x="169" y="243"/>
                </a:cxn>
                <a:cxn ang="0">
                  <a:pos x="171" y="253"/>
                </a:cxn>
                <a:cxn ang="0">
                  <a:pos x="141" y="268"/>
                </a:cxn>
                <a:cxn ang="0">
                  <a:pos x="117" y="265"/>
                </a:cxn>
                <a:cxn ang="0">
                  <a:pos x="102" y="248"/>
                </a:cxn>
                <a:cxn ang="0">
                  <a:pos x="55" y="264"/>
                </a:cxn>
                <a:cxn ang="0">
                  <a:pos x="64" y="309"/>
                </a:cxn>
                <a:cxn ang="0">
                  <a:pos x="69" y="324"/>
                </a:cxn>
                <a:cxn ang="0">
                  <a:pos x="63" y="352"/>
                </a:cxn>
                <a:cxn ang="0">
                  <a:pos x="58" y="367"/>
                </a:cxn>
                <a:cxn ang="0">
                  <a:pos x="44" y="372"/>
                </a:cxn>
                <a:cxn ang="0">
                  <a:pos x="37" y="406"/>
                </a:cxn>
                <a:cxn ang="0">
                  <a:pos x="80" y="427"/>
                </a:cxn>
                <a:cxn ang="0">
                  <a:pos x="103" y="454"/>
                </a:cxn>
                <a:cxn ang="0">
                  <a:pos x="147" y="539"/>
                </a:cxn>
                <a:cxn ang="0">
                  <a:pos x="152" y="564"/>
                </a:cxn>
                <a:cxn ang="0">
                  <a:pos x="151" y="581"/>
                </a:cxn>
                <a:cxn ang="0">
                  <a:pos x="171" y="593"/>
                </a:cxn>
                <a:cxn ang="0">
                  <a:pos x="210" y="643"/>
                </a:cxn>
                <a:cxn ang="0">
                  <a:pos x="293" y="652"/>
                </a:cxn>
                <a:cxn ang="0">
                  <a:pos x="327" y="625"/>
                </a:cxn>
                <a:cxn ang="0">
                  <a:pos x="357" y="597"/>
                </a:cxn>
                <a:cxn ang="0">
                  <a:pos x="405" y="524"/>
                </a:cxn>
                <a:cxn ang="0">
                  <a:pos x="411" y="495"/>
                </a:cxn>
                <a:cxn ang="0">
                  <a:pos x="461" y="451"/>
                </a:cxn>
                <a:cxn ang="0">
                  <a:pos x="481" y="439"/>
                </a:cxn>
                <a:cxn ang="0">
                  <a:pos x="487" y="395"/>
                </a:cxn>
                <a:cxn ang="0">
                  <a:pos x="513" y="391"/>
                </a:cxn>
                <a:cxn ang="0">
                  <a:pos x="490" y="332"/>
                </a:cxn>
                <a:cxn ang="0">
                  <a:pos x="494" y="301"/>
                </a:cxn>
                <a:cxn ang="0">
                  <a:pos x="529" y="287"/>
                </a:cxn>
                <a:cxn ang="0">
                  <a:pos x="555" y="263"/>
                </a:cxn>
                <a:cxn ang="0">
                  <a:pos x="570" y="252"/>
                </a:cxn>
              </a:cxnLst>
              <a:rect l="0" t="0" r="r" b="b"/>
              <a:pathLst>
                <a:path w="574" h="665">
                  <a:moveTo>
                    <a:pt x="46" y="345"/>
                  </a:moveTo>
                  <a:cubicBezTo>
                    <a:pt x="39" y="333"/>
                    <a:pt x="39" y="333"/>
                    <a:pt x="39" y="333"/>
                  </a:cubicBezTo>
                  <a:cubicBezTo>
                    <a:pt x="38" y="311"/>
                    <a:pt x="38" y="311"/>
                    <a:pt x="38" y="311"/>
                  </a:cubicBezTo>
                  <a:cubicBezTo>
                    <a:pt x="19" y="308"/>
                    <a:pt x="19" y="308"/>
                    <a:pt x="19" y="308"/>
                  </a:cubicBezTo>
                  <a:cubicBezTo>
                    <a:pt x="4" y="289"/>
                    <a:pt x="4" y="289"/>
                    <a:pt x="4" y="289"/>
                  </a:cubicBezTo>
                  <a:cubicBezTo>
                    <a:pt x="0" y="293"/>
                    <a:pt x="6" y="327"/>
                    <a:pt x="6" y="327"/>
                  </a:cubicBezTo>
                  <a:cubicBezTo>
                    <a:pt x="19" y="337"/>
                    <a:pt x="19" y="337"/>
                    <a:pt x="19" y="337"/>
                  </a:cubicBezTo>
                  <a:cubicBezTo>
                    <a:pt x="32" y="355"/>
                    <a:pt x="32" y="355"/>
                    <a:pt x="32" y="355"/>
                  </a:cubicBezTo>
                  <a:cubicBezTo>
                    <a:pt x="36" y="368"/>
                    <a:pt x="36" y="368"/>
                    <a:pt x="36" y="368"/>
                  </a:cubicBezTo>
                  <a:lnTo>
                    <a:pt x="46" y="345"/>
                  </a:lnTo>
                  <a:close/>
                  <a:moveTo>
                    <a:pt x="574" y="241"/>
                  </a:moveTo>
                  <a:cubicBezTo>
                    <a:pt x="574" y="241"/>
                    <a:pt x="563" y="236"/>
                    <a:pt x="559" y="229"/>
                  </a:cubicBezTo>
                  <a:cubicBezTo>
                    <a:pt x="553" y="187"/>
                    <a:pt x="534" y="208"/>
                    <a:pt x="534" y="208"/>
                  </a:cubicBezTo>
                  <a:cubicBezTo>
                    <a:pt x="534" y="208"/>
                    <a:pt x="537" y="199"/>
                    <a:pt x="533" y="197"/>
                  </a:cubicBezTo>
                  <a:cubicBezTo>
                    <a:pt x="505" y="196"/>
                    <a:pt x="510" y="167"/>
                    <a:pt x="511" y="153"/>
                  </a:cubicBezTo>
                  <a:cubicBezTo>
                    <a:pt x="479" y="120"/>
                    <a:pt x="503" y="127"/>
                    <a:pt x="486" y="111"/>
                  </a:cubicBezTo>
                  <a:cubicBezTo>
                    <a:pt x="469" y="95"/>
                    <a:pt x="466" y="63"/>
                    <a:pt x="466" y="63"/>
                  </a:cubicBezTo>
                  <a:cubicBezTo>
                    <a:pt x="434" y="52"/>
                    <a:pt x="434" y="52"/>
                    <a:pt x="434" y="52"/>
                  </a:cubicBezTo>
                  <a:cubicBezTo>
                    <a:pt x="442" y="65"/>
                    <a:pt x="442" y="65"/>
                    <a:pt x="442" y="65"/>
                  </a:cubicBezTo>
                  <a:cubicBezTo>
                    <a:pt x="419" y="65"/>
                    <a:pt x="419" y="65"/>
                    <a:pt x="419" y="65"/>
                  </a:cubicBezTo>
                  <a:cubicBezTo>
                    <a:pt x="405" y="73"/>
                    <a:pt x="405" y="73"/>
                    <a:pt x="405" y="73"/>
                  </a:cubicBezTo>
                  <a:cubicBezTo>
                    <a:pt x="393" y="67"/>
                    <a:pt x="393" y="67"/>
                    <a:pt x="393" y="67"/>
                  </a:cubicBezTo>
                  <a:cubicBezTo>
                    <a:pt x="393" y="67"/>
                    <a:pt x="394" y="73"/>
                    <a:pt x="382" y="69"/>
                  </a:cubicBezTo>
                  <a:cubicBezTo>
                    <a:pt x="370" y="65"/>
                    <a:pt x="382" y="39"/>
                    <a:pt x="382" y="39"/>
                  </a:cubicBezTo>
                  <a:cubicBezTo>
                    <a:pt x="373" y="35"/>
                    <a:pt x="373" y="35"/>
                    <a:pt x="373" y="35"/>
                  </a:cubicBezTo>
                  <a:cubicBezTo>
                    <a:pt x="369" y="28"/>
                    <a:pt x="369" y="28"/>
                    <a:pt x="369" y="28"/>
                  </a:cubicBezTo>
                  <a:cubicBezTo>
                    <a:pt x="355" y="35"/>
                    <a:pt x="355" y="35"/>
                    <a:pt x="355" y="35"/>
                  </a:cubicBezTo>
                  <a:cubicBezTo>
                    <a:pt x="355" y="21"/>
                    <a:pt x="355" y="21"/>
                    <a:pt x="355" y="21"/>
                  </a:cubicBezTo>
                  <a:cubicBezTo>
                    <a:pt x="355" y="21"/>
                    <a:pt x="333" y="25"/>
                    <a:pt x="329" y="0"/>
                  </a:cubicBezTo>
                  <a:cubicBezTo>
                    <a:pt x="298" y="0"/>
                    <a:pt x="299" y="20"/>
                    <a:pt x="299" y="20"/>
                  </a:cubicBezTo>
                  <a:cubicBezTo>
                    <a:pt x="294" y="19"/>
                    <a:pt x="294" y="19"/>
                    <a:pt x="294" y="19"/>
                  </a:cubicBezTo>
                  <a:cubicBezTo>
                    <a:pt x="289" y="28"/>
                    <a:pt x="289" y="28"/>
                    <a:pt x="289" y="28"/>
                  </a:cubicBezTo>
                  <a:cubicBezTo>
                    <a:pt x="279" y="28"/>
                    <a:pt x="279" y="28"/>
                    <a:pt x="279" y="28"/>
                  </a:cubicBezTo>
                  <a:cubicBezTo>
                    <a:pt x="282" y="16"/>
                    <a:pt x="282" y="16"/>
                    <a:pt x="282" y="16"/>
                  </a:cubicBezTo>
                  <a:cubicBezTo>
                    <a:pt x="239" y="17"/>
                    <a:pt x="239" y="17"/>
                    <a:pt x="239" y="17"/>
                  </a:cubicBezTo>
                  <a:cubicBezTo>
                    <a:pt x="213" y="32"/>
                    <a:pt x="213" y="32"/>
                    <a:pt x="213" y="32"/>
                  </a:cubicBezTo>
                  <a:cubicBezTo>
                    <a:pt x="214" y="24"/>
                    <a:pt x="214" y="24"/>
                    <a:pt x="214" y="24"/>
                  </a:cubicBezTo>
                  <a:cubicBezTo>
                    <a:pt x="195" y="21"/>
                    <a:pt x="195" y="21"/>
                    <a:pt x="195" y="21"/>
                  </a:cubicBezTo>
                  <a:cubicBezTo>
                    <a:pt x="193" y="37"/>
                    <a:pt x="193" y="37"/>
                    <a:pt x="193" y="37"/>
                  </a:cubicBezTo>
                  <a:cubicBezTo>
                    <a:pt x="193" y="37"/>
                    <a:pt x="165" y="55"/>
                    <a:pt x="158" y="47"/>
                  </a:cubicBezTo>
                  <a:cubicBezTo>
                    <a:pt x="151" y="39"/>
                    <a:pt x="122" y="49"/>
                    <a:pt x="119" y="59"/>
                  </a:cubicBezTo>
                  <a:cubicBezTo>
                    <a:pt x="117" y="68"/>
                    <a:pt x="137" y="73"/>
                    <a:pt x="137" y="73"/>
                  </a:cubicBezTo>
                  <a:cubicBezTo>
                    <a:pt x="133" y="84"/>
                    <a:pt x="133" y="84"/>
                    <a:pt x="133" y="84"/>
                  </a:cubicBezTo>
                  <a:cubicBezTo>
                    <a:pt x="158" y="109"/>
                    <a:pt x="158" y="109"/>
                    <a:pt x="158" y="109"/>
                  </a:cubicBezTo>
                  <a:cubicBezTo>
                    <a:pt x="151" y="121"/>
                    <a:pt x="151" y="121"/>
                    <a:pt x="151" y="121"/>
                  </a:cubicBezTo>
                  <a:cubicBezTo>
                    <a:pt x="166" y="141"/>
                    <a:pt x="166" y="141"/>
                    <a:pt x="166" y="141"/>
                  </a:cubicBezTo>
                  <a:cubicBezTo>
                    <a:pt x="163" y="163"/>
                    <a:pt x="163" y="163"/>
                    <a:pt x="163" y="163"/>
                  </a:cubicBezTo>
                  <a:cubicBezTo>
                    <a:pt x="174" y="163"/>
                    <a:pt x="174" y="163"/>
                    <a:pt x="174" y="163"/>
                  </a:cubicBezTo>
                  <a:cubicBezTo>
                    <a:pt x="174" y="200"/>
                    <a:pt x="174" y="200"/>
                    <a:pt x="174" y="200"/>
                  </a:cubicBezTo>
                  <a:cubicBezTo>
                    <a:pt x="163" y="200"/>
                    <a:pt x="163" y="200"/>
                    <a:pt x="163" y="200"/>
                  </a:cubicBezTo>
                  <a:cubicBezTo>
                    <a:pt x="173" y="220"/>
                    <a:pt x="173" y="220"/>
                    <a:pt x="173" y="220"/>
                  </a:cubicBezTo>
                  <a:cubicBezTo>
                    <a:pt x="169" y="243"/>
                    <a:pt x="169" y="243"/>
                    <a:pt x="169" y="243"/>
                  </a:cubicBezTo>
                  <a:cubicBezTo>
                    <a:pt x="178" y="235"/>
                    <a:pt x="178" y="235"/>
                    <a:pt x="178" y="235"/>
                  </a:cubicBezTo>
                  <a:cubicBezTo>
                    <a:pt x="201" y="255"/>
                    <a:pt x="171" y="253"/>
                    <a:pt x="171" y="253"/>
                  </a:cubicBezTo>
                  <a:cubicBezTo>
                    <a:pt x="171" y="253"/>
                    <a:pt x="171" y="264"/>
                    <a:pt x="165" y="264"/>
                  </a:cubicBezTo>
                  <a:cubicBezTo>
                    <a:pt x="158" y="264"/>
                    <a:pt x="141" y="268"/>
                    <a:pt x="141" y="268"/>
                  </a:cubicBezTo>
                  <a:cubicBezTo>
                    <a:pt x="126" y="259"/>
                    <a:pt x="126" y="259"/>
                    <a:pt x="126" y="259"/>
                  </a:cubicBezTo>
                  <a:cubicBezTo>
                    <a:pt x="117" y="265"/>
                    <a:pt x="117" y="265"/>
                    <a:pt x="117" y="265"/>
                  </a:cubicBezTo>
                  <a:cubicBezTo>
                    <a:pt x="102" y="264"/>
                    <a:pt x="102" y="264"/>
                    <a:pt x="102" y="264"/>
                  </a:cubicBezTo>
                  <a:cubicBezTo>
                    <a:pt x="102" y="248"/>
                    <a:pt x="102" y="248"/>
                    <a:pt x="102" y="248"/>
                  </a:cubicBezTo>
                  <a:cubicBezTo>
                    <a:pt x="69" y="259"/>
                    <a:pt x="69" y="259"/>
                    <a:pt x="69" y="259"/>
                  </a:cubicBezTo>
                  <a:cubicBezTo>
                    <a:pt x="55" y="264"/>
                    <a:pt x="55" y="264"/>
                    <a:pt x="55" y="264"/>
                  </a:cubicBezTo>
                  <a:cubicBezTo>
                    <a:pt x="71" y="282"/>
                    <a:pt x="78" y="307"/>
                    <a:pt x="78" y="307"/>
                  </a:cubicBezTo>
                  <a:cubicBezTo>
                    <a:pt x="64" y="309"/>
                    <a:pt x="64" y="309"/>
                    <a:pt x="64" y="309"/>
                  </a:cubicBezTo>
                  <a:cubicBezTo>
                    <a:pt x="69" y="320"/>
                    <a:pt x="69" y="320"/>
                    <a:pt x="69" y="320"/>
                  </a:cubicBezTo>
                  <a:cubicBezTo>
                    <a:pt x="69" y="324"/>
                    <a:pt x="69" y="324"/>
                    <a:pt x="69" y="324"/>
                  </a:cubicBezTo>
                  <a:cubicBezTo>
                    <a:pt x="71" y="335"/>
                    <a:pt x="71" y="335"/>
                    <a:pt x="71" y="335"/>
                  </a:cubicBezTo>
                  <a:cubicBezTo>
                    <a:pt x="63" y="352"/>
                    <a:pt x="63" y="352"/>
                    <a:pt x="63" y="352"/>
                  </a:cubicBezTo>
                  <a:cubicBezTo>
                    <a:pt x="52" y="352"/>
                    <a:pt x="52" y="352"/>
                    <a:pt x="52" y="352"/>
                  </a:cubicBezTo>
                  <a:cubicBezTo>
                    <a:pt x="58" y="367"/>
                    <a:pt x="58" y="367"/>
                    <a:pt x="58" y="367"/>
                  </a:cubicBezTo>
                  <a:cubicBezTo>
                    <a:pt x="67" y="382"/>
                    <a:pt x="67" y="382"/>
                    <a:pt x="67" y="382"/>
                  </a:cubicBezTo>
                  <a:cubicBezTo>
                    <a:pt x="67" y="382"/>
                    <a:pt x="51" y="372"/>
                    <a:pt x="44" y="372"/>
                  </a:cubicBezTo>
                  <a:cubicBezTo>
                    <a:pt x="37" y="372"/>
                    <a:pt x="35" y="378"/>
                    <a:pt x="33" y="389"/>
                  </a:cubicBezTo>
                  <a:cubicBezTo>
                    <a:pt x="31" y="400"/>
                    <a:pt x="37" y="406"/>
                    <a:pt x="37" y="406"/>
                  </a:cubicBezTo>
                  <a:cubicBezTo>
                    <a:pt x="70" y="427"/>
                    <a:pt x="70" y="427"/>
                    <a:pt x="70" y="427"/>
                  </a:cubicBezTo>
                  <a:cubicBezTo>
                    <a:pt x="80" y="427"/>
                    <a:pt x="80" y="427"/>
                    <a:pt x="80" y="427"/>
                  </a:cubicBezTo>
                  <a:cubicBezTo>
                    <a:pt x="93" y="454"/>
                    <a:pt x="93" y="454"/>
                    <a:pt x="93" y="454"/>
                  </a:cubicBezTo>
                  <a:cubicBezTo>
                    <a:pt x="103" y="454"/>
                    <a:pt x="103" y="454"/>
                    <a:pt x="103" y="454"/>
                  </a:cubicBezTo>
                  <a:cubicBezTo>
                    <a:pt x="103" y="454"/>
                    <a:pt x="104" y="457"/>
                    <a:pt x="114" y="462"/>
                  </a:cubicBezTo>
                  <a:cubicBezTo>
                    <a:pt x="124" y="467"/>
                    <a:pt x="147" y="539"/>
                    <a:pt x="147" y="539"/>
                  </a:cubicBezTo>
                  <a:cubicBezTo>
                    <a:pt x="145" y="553"/>
                    <a:pt x="145" y="553"/>
                    <a:pt x="145" y="553"/>
                  </a:cubicBezTo>
                  <a:cubicBezTo>
                    <a:pt x="152" y="564"/>
                    <a:pt x="152" y="564"/>
                    <a:pt x="152" y="564"/>
                  </a:cubicBezTo>
                  <a:cubicBezTo>
                    <a:pt x="148" y="576"/>
                    <a:pt x="148" y="576"/>
                    <a:pt x="148" y="576"/>
                  </a:cubicBezTo>
                  <a:cubicBezTo>
                    <a:pt x="148" y="576"/>
                    <a:pt x="149" y="578"/>
                    <a:pt x="151" y="581"/>
                  </a:cubicBezTo>
                  <a:cubicBezTo>
                    <a:pt x="165" y="580"/>
                    <a:pt x="165" y="580"/>
                    <a:pt x="165" y="580"/>
                  </a:cubicBezTo>
                  <a:cubicBezTo>
                    <a:pt x="171" y="593"/>
                    <a:pt x="171" y="593"/>
                    <a:pt x="171" y="593"/>
                  </a:cubicBezTo>
                  <a:cubicBezTo>
                    <a:pt x="171" y="593"/>
                    <a:pt x="211" y="604"/>
                    <a:pt x="205" y="619"/>
                  </a:cubicBezTo>
                  <a:cubicBezTo>
                    <a:pt x="210" y="637"/>
                    <a:pt x="210" y="643"/>
                    <a:pt x="210" y="643"/>
                  </a:cubicBezTo>
                  <a:cubicBezTo>
                    <a:pt x="210" y="643"/>
                    <a:pt x="218" y="628"/>
                    <a:pt x="235" y="645"/>
                  </a:cubicBezTo>
                  <a:cubicBezTo>
                    <a:pt x="253" y="663"/>
                    <a:pt x="286" y="665"/>
                    <a:pt x="293" y="652"/>
                  </a:cubicBezTo>
                  <a:cubicBezTo>
                    <a:pt x="299" y="639"/>
                    <a:pt x="315" y="616"/>
                    <a:pt x="315" y="616"/>
                  </a:cubicBezTo>
                  <a:cubicBezTo>
                    <a:pt x="315" y="616"/>
                    <a:pt x="323" y="625"/>
                    <a:pt x="327" y="625"/>
                  </a:cubicBezTo>
                  <a:cubicBezTo>
                    <a:pt x="331" y="625"/>
                    <a:pt x="350" y="597"/>
                    <a:pt x="350" y="597"/>
                  </a:cubicBezTo>
                  <a:cubicBezTo>
                    <a:pt x="357" y="597"/>
                    <a:pt x="357" y="597"/>
                    <a:pt x="357" y="597"/>
                  </a:cubicBezTo>
                  <a:cubicBezTo>
                    <a:pt x="357" y="597"/>
                    <a:pt x="345" y="544"/>
                    <a:pt x="397" y="537"/>
                  </a:cubicBezTo>
                  <a:cubicBezTo>
                    <a:pt x="401" y="523"/>
                    <a:pt x="405" y="524"/>
                    <a:pt x="405" y="524"/>
                  </a:cubicBezTo>
                  <a:cubicBezTo>
                    <a:pt x="417" y="523"/>
                    <a:pt x="417" y="523"/>
                    <a:pt x="417" y="523"/>
                  </a:cubicBezTo>
                  <a:cubicBezTo>
                    <a:pt x="417" y="523"/>
                    <a:pt x="407" y="495"/>
                    <a:pt x="411" y="495"/>
                  </a:cubicBezTo>
                  <a:cubicBezTo>
                    <a:pt x="415" y="495"/>
                    <a:pt x="426" y="493"/>
                    <a:pt x="426" y="493"/>
                  </a:cubicBezTo>
                  <a:cubicBezTo>
                    <a:pt x="461" y="451"/>
                    <a:pt x="461" y="451"/>
                    <a:pt x="461" y="451"/>
                  </a:cubicBezTo>
                  <a:cubicBezTo>
                    <a:pt x="461" y="443"/>
                    <a:pt x="461" y="443"/>
                    <a:pt x="461" y="443"/>
                  </a:cubicBezTo>
                  <a:cubicBezTo>
                    <a:pt x="481" y="439"/>
                    <a:pt x="481" y="439"/>
                    <a:pt x="481" y="439"/>
                  </a:cubicBezTo>
                  <a:cubicBezTo>
                    <a:pt x="489" y="413"/>
                    <a:pt x="489" y="413"/>
                    <a:pt x="489" y="413"/>
                  </a:cubicBezTo>
                  <a:cubicBezTo>
                    <a:pt x="489" y="413"/>
                    <a:pt x="483" y="393"/>
                    <a:pt x="487" y="395"/>
                  </a:cubicBezTo>
                  <a:cubicBezTo>
                    <a:pt x="491" y="396"/>
                    <a:pt x="501" y="399"/>
                    <a:pt x="501" y="399"/>
                  </a:cubicBezTo>
                  <a:cubicBezTo>
                    <a:pt x="513" y="391"/>
                    <a:pt x="513" y="391"/>
                    <a:pt x="513" y="391"/>
                  </a:cubicBezTo>
                  <a:cubicBezTo>
                    <a:pt x="506" y="371"/>
                    <a:pt x="506" y="371"/>
                    <a:pt x="506" y="371"/>
                  </a:cubicBezTo>
                  <a:cubicBezTo>
                    <a:pt x="506" y="371"/>
                    <a:pt x="478" y="372"/>
                    <a:pt x="490" y="332"/>
                  </a:cubicBezTo>
                  <a:cubicBezTo>
                    <a:pt x="482" y="311"/>
                    <a:pt x="482" y="311"/>
                    <a:pt x="482" y="311"/>
                  </a:cubicBezTo>
                  <a:cubicBezTo>
                    <a:pt x="494" y="301"/>
                    <a:pt x="494" y="301"/>
                    <a:pt x="494" y="301"/>
                  </a:cubicBezTo>
                  <a:cubicBezTo>
                    <a:pt x="510" y="285"/>
                    <a:pt x="510" y="285"/>
                    <a:pt x="510" y="285"/>
                  </a:cubicBezTo>
                  <a:cubicBezTo>
                    <a:pt x="529" y="287"/>
                    <a:pt x="529" y="287"/>
                    <a:pt x="529" y="287"/>
                  </a:cubicBezTo>
                  <a:cubicBezTo>
                    <a:pt x="541" y="261"/>
                    <a:pt x="541" y="261"/>
                    <a:pt x="541" y="261"/>
                  </a:cubicBezTo>
                  <a:cubicBezTo>
                    <a:pt x="555" y="263"/>
                    <a:pt x="555" y="263"/>
                    <a:pt x="555" y="263"/>
                  </a:cubicBezTo>
                  <a:cubicBezTo>
                    <a:pt x="573" y="256"/>
                    <a:pt x="573" y="256"/>
                    <a:pt x="573" y="256"/>
                  </a:cubicBezTo>
                  <a:cubicBezTo>
                    <a:pt x="570" y="252"/>
                    <a:pt x="570" y="252"/>
                    <a:pt x="570" y="252"/>
                  </a:cubicBezTo>
                  <a:lnTo>
                    <a:pt x="574" y="241"/>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66" name="Limousin" descr="© INSCALE GmbH, 05.05.2010&#10;http://www.presentationload.com/">
              <a:extLst>
                <a:ext uri="{FF2B5EF4-FFF2-40B4-BE49-F238E27FC236}">
                  <a16:creationId xmlns:a16="http://schemas.microsoft.com/office/drawing/2014/main" id="{F356573D-9FE3-4CC3-9C59-F2D6B31F947A}"/>
                </a:ext>
              </a:extLst>
            </p:cNvPr>
            <p:cNvSpPr>
              <a:spLocks/>
            </p:cNvSpPr>
            <p:nvPr/>
          </p:nvSpPr>
          <p:spPr bwMode="gray">
            <a:xfrm>
              <a:off x="1360" y="1756"/>
              <a:ext cx="473" cy="536"/>
            </a:xfrm>
            <a:custGeom>
              <a:avLst/>
              <a:gdLst/>
              <a:ahLst/>
              <a:cxnLst>
                <a:cxn ang="0">
                  <a:pos x="50" y="266"/>
                </a:cxn>
                <a:cxn ang="0">
                  <a:pos x="97" y="293"/>
                </a:cxn>
                <a:cxn ang="0">
                  <a:pos x="110" y="314"/>
                </a:cxn>
                <a:cxn ang="0">
                  <a:pos x="135" y="337"/>
                </a:cxn>
                <a:cxn ang="0">
                  <a:pos x="133" y="369"/>
                </a:cxn>
                <a:cxn ang="0">
                  <a:pos x="141" y="386"/>
                </a:cxn>
                <a:cxn ang="0">
                  <a:pos x="142" y="404"/>
                </a:cxn>
                <a:cxn ang="0">
                  <a:pos x="169" y="426"/>
                </a:cxn>
                <a:cxn ang="0">
                  <a:pos x="175" y="461"/>
                </a:cxn>
                <a:cxn ang="0">
                  <a:pos x="258" y="493"/>
                </a:cxn>
                <a:cxn ang="0">
                  <a:pos x="286" y="481"/>
                </a:cxn>
                <a:cxn ang="0">
                  <a:pos x="319" y="474"/>
                </a:cxn>
                <a:cxn ang="0">
                  <a:pos x="343" y="440"/>
                </a:cxn>
                <a:cxn ang="0">
                  <a:pos x="350" y="412"/>
                </a:cxn>
                <a:cxn ang="0">
                  <a:pos x="363" y="374"/>
                </a:cxn>
                <a:cxn ang="0">
                  <a:pos x="385" y="365"/>
                </a:cxn>
                <a:cxn ang="0">
                  <a:pos x="402" y="348"/>
                </a:cxn>
                <a:cxn ang="0">
                  <a:pos x="410" y="330"/>
                </a:cxn>
                <a:cxn ang="0">
                  <a:pos x="419" y="265"/>
                </a:cxn>
                <a:cxn ang="0">
                  <a:pos x="403" y="193"/>
                </a:cxn>
                <a:cxn ang="0">
                  <a:pos x="438" y="161"/>
                </a:cxn>
                <a:cxn ang="0">
                  <a:pos x="430" y="105"/>
                </a:cxn>
                <a:cxn ang="0">
                  <a:pos x="397" y="54"/>
                </a:cxn>
                <a:cxn ang="0">
                  <a:pos x="375" y="28"/>
                </a:cxn>
                <a:cxn ang="0">
                  <a:pos x="365" y="11"/>
                </a:cxn>
                <a:cxn ang="0">
                  <a:pos x="318" y="13"/>
                </a:cxn>
                <a:cxn ang="0">
                  <a:pos x="250" y="4"/>
                </a:cxn>
                <a:cxn ang="0">
                  <a:pos x="235" y="16"/>
                </a:cxn>
                <a:cxn ang="0">
                  <a:pos x="219" y="13"/>
                </a:cxn>
                <a:cxn ang="0">
                  <a:pos x="201" y="12"/>
                </a:cxn>
                <a:cxn ang="0">
                  <a:pos x="169" y="21"/>
                </a:cxn>
                <a:cxn ang="0">
                  <a:pos x="151" y="28"/>
                </a:cxn>
                <a:cxn ang="0">
                  <a:pos x="129" y="25"/>
                </a:cxn>
                <a:cxn ang="0">
                  <a:pos x="97" y="30"/>
                </a:cxn>
                <a:cxn ang="0">
                  <a:pos x="66" y="54"/>
                </a:cxn>
                <a:cxn ang="0">
                  <a:pos x="38" y="80"/>
                </a:cxn>
                <a:cxn ang="0">
                  <a:pos x="62" y="140"/>
                </a:cxn>
                <a:cxn ang="0">
                  <a:pos x="57" y="168"/>
                </a:cxn>
                <a:cxn ang="0">
                  <a:pos x="45" y="182"/>
                </a:cxn>
                <a:cxn ang="0">
                  <a:pos x="17" y="212"/>
                </a:cxn>
                <a:cxn ang="0">
                  <a:pos x="0" y="240"/>
                </a:cxn>
                <a:cxn ang="0">
                  <a:pos x="31" y="277"/>
                </a:cxn>
              </a:cxnLst>
              <a:rect l="0" t="0" r="r" b="b"/>
              <a:pathLst>
                <a:path w="439" h="497">
                  <a:moveTo>
                    <a:pt x="31" y="277"/>
                  </a:moveTo>
                  <a:cubicBezTo>
                    <a:pt x="38" y="281"/>
                    <a:pt x="50" y="266"/>
                    <a:pt x="50" y="266"/>
                  </a:cubicBezTo>
                  <a:cubicBezTo>
                    <a:pt x="85" y="270"/>
                    <a:pt x="85" y="270"/>
                    <a:pt x="85" y="270"/>
                  </a:cubicBezTo>
                  <a:cubicBezTo>
                    <a:pt x="85" y="270"/>
                    <a:pt x="90" y="293"/>
                    <a:pt x="97" y="293"/>
                  </a:cubicBezTo>
                  <a:cubicBezTo>
                    <a:pt x="103" y="293"/>
                    <a:pt x="115" y="294"/>
                    <a:pt x="115" y="294"/>
                  </a:cubicBezTo>
                  <a:cubicBezTo>
                    <a:pt x="110" y="314"/>
                    <a:pt x="110" y="314"/>
                    <a:pt x="110" y="314"/>
                  </a:cubicBezTo>
                  <a:cubicBezTo>
                    <a:pt x="142" y="336"/>
                    <a:pt x="142" y="336"/>
                    <a:pt x="142" y="336"/>
                  </a:cubicBezTo>
                  <a:cubicBezTo>
                    <a:pt x="135" y="337"/>
                    <a:pt x="135" y="337"/>
                    <a:pt x="135" y="337"/>
                  </a:cubicBezTo>
                  <a:cubicBezTo>
                    <a:pt x="135" y="337"/>
                    <a:pt x="149" y="341"/>
                    <a:pt x="149" y="348"/>
                  </a:cubicBezTo>
                  <a:cubicBezTo>
                    <a:pt x="149" y="354"/>
                    <a:pt x="133" y="369"/>
                    <a:pt x="133" y="369"/>
                  </a:cubicBezTo>
                  <a:cubicBezTo>
                    <a:pt x="133" y="380"/>
                    <a:pt x="133" y="380"/>
                    <a:pt x="133" y="380"/>
                  </a:cubicBezTo>
                  <a:cubicBezTo>
                    <a:pt x="141" y="386"/>
                    <a:pt x="141" y="386"/>
                    <a:pt x="141" y="386"/>
                  </a:cubicBezTo>
                  <a:cubicBezTo>
                    <a:pt x="134" y="402"/>
                    <a:pt x="134" y="402"/>
                    <a:pt x="134" y="402"/>
                  </a:cubicBezTo>
                  <a:cubicBezTo>
                    <a:pt x="142" y="404"/>
                    <a:pt x="142" y="404"/>
                    <a:pt x="142" y="404"/>
                  </a:cubicBezTo>
                  <a:cubicBezTo>
                    <a:pt x="138" y="414"/>
                    <a:pt x="138" y="414"/>
                    <a:pt x="138" y="414"/>
                  </a:cubicBezTo>
                  <a:cubicBezTo>
                    <a:pt x="169" y="426"/>
                    <a:pt x="169" y="426"/>
                    <a:pt x="169" y="426"/>
                  </a:cubicBezTo>
                  <a:cubicBezTo>
                    <a:pt x="163" y="436"/>
                    <a:pt x="163" y="436"/>
                    <a:pt x="163" y="436"/>
                  </a:cubicBezTo>
                  <a:cubicBezTo>
                    <a:pt x="175" y="461"/>
                    <a:pt x="175" y="461"/>
                    <a:pt x="175" y="461"/>
                  </a:cubicBezTo>
                  <a:cubicBezTo>
                    <a:pt x="186" y="454"/>
                    <a:pt x="218" y="458"/>
                    <a:pt x="218" y="458"/>
                  </a:cubicBezTo>
                  <a:cubicBezTo>
                    <a:pt x="218" y="458"/>
                    <a:pt x="247" y="489"/>
                    <a:pt x="258" y="493"/>
                  </a:cubicBezTo>
                  <a:cubicBezTo>
                    <a:pt x="269" y="497"/>
                    <a:pt x="283" y="474"/>
                    <a:pt x="283" y="474"/>
                  </a:cubicBezTo>
                  <a:cubicBezTo>
                    <a:pt x="286" y="481"/>
                    <a:pt x="286" y="481"/>
                    <a:pt x="286" y="481"/>
                  </a:cubicBezTo>
                  <a:cubicBezTo>
                    <a:pt x="298" y="476"/>
                    <a:pt x="298" y="476"/>
                    <a:pt x="298" y="476"/>
                  </a:cubicBezTo>
                  <a:cubicBezTo>
                    <a:pt x="319" y="474"/>
                    <a:pt x="319" y="474"/>
                    <a:pt x="319" y="474"/>
                  </a:cubicBezTo>
                  <a:cubicBezTo>
                    <a:pt x="319" y="474"/>
                    <a:pt x="323" y="468"/>
                    <a:pt x="331" y="466"/>
                  </a:cubicBezTo>
                  <a:cubicBezTo>
                    <a:pt x="319" y="444"/>
                    <a:pt x="343" y="440"/>
                    <a:pt x="343" y="440"/>
                  </a:cubicBezTo>
                  <a:cubicBezTo>
                    <a:pt x="342" y="421"/>
                    <a:pt x="342" y="421"/>
                    <a:pt x="342" y="421"/>
                  </a:cubicBezTo>
                  <a:cubicBezTo>
                    <a:pt x="350" y="412"/>
                    <a:pt x="350" y="412"/>
                    <a:pt x="350" y="412"/>
                  </a:cubicBezTo>
                  <a:cubicBezTo>
                    <a:pt x="346" y="401"/>
                    <a:pt x="346" y="401"/>
                    <a:pt x="346" y="401"/>
                  </a:cubicBezTo>
                  <a:cubicBezTo>
                    <a:pt x="363" y="374"/>
                    <a:pt x="363" y="374"/>
                    <a:pt x="363" y="374"/>
                  </a:cubicBezTo>
                  <a:cubicBezTo>
                    <a:pt x="371" y="366"/>
                    <a:pt x="371" y="366"/>
                    <a:pt x="371" y="366"/>
                  </a:cubicBezTo>
                  <a:cubicBezTo>
                    <a:pt x="385" y="365"/>
                    <a:pt x="385" y="365"/>
                    <a:pt x="385" y="365"/>
                  </a:cubicBezTo>
                  <a:cubicBezTo>
                    <a:pt x="385" y="365"/>
                    <a:pt x="378" y="336"/>
                    <a:pt x="385" y="334"/>
                  </a:cubicBezTo>
                  <a:cubicBezTo>
                    <a:pt x="391" y="333"/>
                    <a:pt x="402" y="348"/>
                    <a:pt x="402" y="348"/>
                  </a:cubicBezTo>
                  <a:cubicBezTo>
                    <a:pt x="421" y="342"/>
                    <a:pt x="421" y="342"/>
                    <a:pt x="421" y="342"/>
                  </a:cubicBezTo>
                  <a:cubicBezTo>
                    <a:pt x="410" y="330"/>
                    <a:pt x="410" y="330"/>
                    <a:pt x="410" y="330"/>
                  </a:cubicBezTo>
                  <a:cubicBezTo>
                    <a:pt x="410" y="330"/>
                    <a:pt x="415" y="325"/>
                    <a:pt x="418" y="293"/>
                  </a:cubicBezTo>
                  <a:cubicBezTo>
                    <a:pt x="399" y="269"/>
                    <a:pt x="419" y="265"/>
                    <a:pt x="419" y="265"/>
                  </a:cubicBezTo>
                  <a:cubicBezTo>
                    <a:pt x="419" y="265"/>
                    <a:pt x="426" y="258"/>
                    <a:pt x="403" y="226"/>
                  </a:cubicBezTo>
                  <a:cubicBezTo>
                    <a:pt x="381" y="194"/>
                    <a:pt x="403" y="193"/>
                    <a:pt x="403" y="193"/>
                  </a:cubicBezTo>
                  <a:cubicBezTo>
                    <a:pt x="403" y="193"/>
                    <a:pt x="414" y="208"/>
                    <a:pt x="419" y="185"/>
                  </a:cubicBezTo>
                  <a:cubicBezTo>
                    <a:pt x="425" y="162"/>
                    <a:pt x="438" y="161"/>
                    <a:pt x="438" y="161"/>
                  </a:cubicBezTo>
                  <a:cubicBezTo>
                    <a:pt x="438" y="161"/>
                    <a:pt x="437" y="145"/>
                    <a:pt x="439" y="141"/>
                  </a:cubicBezTo>
                  <a:cubicBezTo>
                    <a:pt x="410" y="118"/>
                    <a:pt x="430" y="105"/>
                    <a:pt x="430" y="105"/>
                  </a:cubicBezTo>
                  <a:cubicBezTo>
                    <a:pt x="411" y="56"/>
                    <a:pt x="411" y="56"/>
                    <a:pt x="411" y="56"/>
                  </a:cubicBezTo>
                  <a:cubicBezTo>
                    <a:pt x="397" y="54"/>
                    <a:pt x="397" y="54"/>
                    <a:pt x="397" y="54"/>
                  </a:cubicBezTo>
                  <a:cubicBezTo>
                    <a:pt x="397" y="54"/>
                    <a:pt x="395" y="45"/>
                    <a:pt x="393" y="44"/>
                  </a:cubicBezTo>
                  <a:cubicBezTo>
                    <a:pt x="354" y="56"/>
                    <a:pt x="375" y="28"/>
                    <a:pt x="375" y="28"/>
                  </a:cubicBezTo>
                  <a:cubicBezTo>
                    <a:pt x="369" y="28"/>
                    <a:pt x="369" y="28"/>
                    <a:pt x="369" y="28"/>
                  </a:cubicBezTo>
                  <a:cubicBezTo>
                    <a:pt x="365" y="11"/>
                    <a:pt x="365" y="11"/>
                    <a:pt x="365" y="11"/>
                  </a:cubicBezTo>
                  <a:cubicBezTo>
                    <a:pt x="365" y="11"/>
                    <a:pt x="365" y="12"/>
                    <a:pt x="365" y="12"/>
                  </a:cubicBezTo>
                  <a:cubicBezTo>
                    <a:pt x="365" y="12"/>
                    <a:pt x="323" y="22"/>
                    <a:pt x="318" y="13"/>
                  </a:cubicBezTo>
                  <a:cubicBezTo>
                    <a:pt x="293" y="0"/>
                    <a:pt x="298" y="9"/>
                    <a:pt x="286" y="12"/>
                  </a:cubicBezTo>
                  <a:cubicBezTo>
                    <a:pt x="274" y="14"/>
                    <a:pt x="250" y="4"/>
                    <a:pt x="250" y="4"/>
                  </a:cubicBezTo>
                  <a:cubicBezTo>
                    <a:pt x="245" y="22"/>
                    <a:pt x="245" y="22"/>
                    <a:pt x="245" y="22"/>
                  </a:cubicBezTo>
                  <a:cubicBezTo>
                    <a:pt x="235" y="16"/>
                    <a:pt x="235" y="16"/>
                    <a:pt x="235" y="16"/>
                  </a:cubicBezTo>
                  <a:cubicBezTo>
                    <a:pt x="222" y="21"/>
                    <a:pt x="222" y="21"/>
                    <a:pt x="222" y="21"/>
                  </a:cubicBezTo>
                  <a:cubicBezTo>
                    <a:pt x="219" y="13"/>
                    <a:pt x="219" y="13"/>
                    <a:pt x="219" y="13"/>
                  </a:cubicBezTo>
                  <a:cubicBezTo>
                    <a:pt x="202" y="24"/>
                    <a:pt x="202" y="24"/>
                    <a:pt x="202" y="24"/>
                  </a:cubicBezTo>
                  <a:cubicBezTo>
                    <a:pt x="201" y="12"/>
                    <a:pt x="201" y="12"/>
                    <a:pt x="201" y="12"/>
                  </a:cubicBezTo>
                  <a:cubicBezTo>
                    <a:pt x="174" y="32"/>
                    <a:pt x="174" y="32"/>
                    <a:pt x="174" y="32"/>
                  </a:cubicBezTo>
                  <a:cubicBezTo>
                    <a:pt x="169" y="21"/>
                    <a:pt x="169" y="21"/>
                    <a:pt x="169" y="21"/>
                  </a:cubicBezTo>
                  <a:cubicBezTo>
                    <a:pt x="151" y="21"/>
                    <a:pt x="151" y="21"/>
                    <a:pt x="151" y="21"/>
                  </a:cubicBezTo>
                  <a:cubicBezTo>
                    <a:pt x="151" y="28"/>
                    <a:pt x="151" y="28"/>
                    <a:pt x="151" y="28"/>
                  </a:cubicBezTo>
                  <a:cubicBezTo>
                    <a:pt x="133" y="30"/>
                    <a:pt x="133" y="30"/>
                    <a:pt x="133" y="30"/>
                  </a:cubicBezTo>
                  <a:cubicBezTo>
                    <a:pt x="129" y="25"/>
                    <a:pt x="129" y="25"/>
                    <a:pt x="129" y="25"/>
                  </a:cubicBezTo>
                  <a:cubicBezTo>
                    <a:pt x="111" y="32"/>
                    <a:pt x="111" y="32"/>
                    <a:pt x="111" y="32"/>
                  </a:cubicBezTo>
                  <a:cubicBezTo>
                    <a:pt x="97" y="30"/>
                    <a:pt x="97" y="30"/>
                    <a:pt x="97" y="30"/>
                  </a:cubicBezTo>
                  <a:cubicBezTo>
                    <a:pt x="85" y="56"/>
                    <a:pt x="85" y="56"/>
                    <a:pt x="85" y="56"/>
                  </a:cubicBezTo>
                  <a:cubicBezTo>
                    <a:pt x="66" y="54"/>
                    <a:pt x="66" y="54"/>
                    <a:pt x="66" y="54"/>
                  </a:cubicBezTo>
                  <a:cubicBezTo>
                    <a:pt x="50" y="70"/>
                    <a:pt x="50" y="70"/>
                    <a:pt x="50" y="70"/>
                  </a:cubicBezTo>
                  <a:cubicBezTo>
                    <a:pt x="38" y="80"/>
                    <a:pt x="38" y="80"/>
                    <a:pt x="38" y="80"/>
                  </a:cubicBezTo>
                  <a:cubicBezTo>
                    <a:pt x="46" y="101"/>
                    <a:pt x="46" y="101"/>
                    <a:pt x="46" y="101"/>
                  </a:cubicBezTo>
                  <a:cubicBezTo>
                    <a:pt x="34" y="141"/>
                    <a:pt x="62" y="140"/>
                    <a:pt x="62" y="140"/>
                  </a:cubicBezTo>
                  <a:cubicBezTo>
                    <a:pt x="69" y="160"/>
                    <a:pt x="69" y="160"/>
                    <a:pt x="69" y="160"/>
                  </a:cubicBezTo>
                  <a:cubicBezTo>
                    <a:pt x="57" y="168"/>
                    <a:pt x="57" y="168"/>
                    <a:pt x="57" y="168"/>
                  </a:cubicBezTo>
                  <a:cubicBezTo>
                    <a:pt x="57" y="168"/>
                    <a:pt x="47" y="165"/>
                    <a:pt x="43" y="164"/>
                  </a:cubicBezTo>
                  <a:cubicBezTo>
                    <a:pt x="39" y="162"/>
                    <a:pt x="45" y="182"/>
                    <a:pt x="45" y="182"/>
                  </a:cubicBezTo>
                  <a:cubicBezTo>
                    <a:pt x="37" y="208"/>
                    <a:pt x="37" y="208"/>
                    <a:pt x="37" y="208"/>
                  </a:cubicBezTo>
                  <a:cubicBezTo>
                    <a:pt x="17" y="212"/>
                    <a:pt x="17" y="212"/>
                    <a:pt x="17" y="212"/>
                  </a:cubicBezTo>
                  <a:cubicBezTo>
                    <a:pt x="17" y="220"/>
                    <a:pt x="17" y="220"/>
                    <a:pt x="17" y="220"/>
                  </a:cubicBezTo>
                  <a:cubicBezTo>
                    <a:pt x="0" y="240"/>
                    <a:pt x="0" y="240"/>
                    <a:pt x="0" y="240"/>
                  </a:cubicBezTo>
                  <a:cubicBezTo>
                    <a:pt x="18" y="243"/>
                    <a:pt x="31" y="249"/>
                    <a:pt x="31" y="249"/>
                  </a:cubicBezTo>
                  <a:cubicBezTo>
                    <a:pt x="31" y="249"/>
                    <a:pt x="25" y="273"/>
                    <a:pt x="31" y="2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67" name="Auvergne" descr="© INSCALE GmbH, 05.05.2010&#10;http://www.presentationload.com/">
              <a:extLst>
                <a:ext uri="{FF2B5EF4-FFF2-40B4-BE49-F238E27FC236}">
                  <a16:creationId xmlns:a16="http://schemas.microsoft.com/office/drawing/2014/main" id="{487A8C6D-88E5-46DF-85FD-83D5C47704F8}"/>
                </a:ext>
              </a:extLst>
            </p:cNvPr>
            <p:cNvSpPr>
              <a:spLocks/>
            </p:cNvSpPr>
            <p:nvPr/>
          </p:nvSpPr>
          <p:spPr bwMode="gray">
            <a:xfrm>
              <a:off x="1704" y="1640"/>
              <a:ext cx="593" cy="753"/>
            </a:xfrm>
            <a:custGeom>
              <a:avLst/>
              <a:gdLst/>
              <a:ahLst/>
              <a:cxnLst>
                <a:cxn ang="0">
                  <a:pos x="15" y="669"/>
                </a:cxn>
                <a:cxn ang="0">
                  <a:pos x="31" y="697"/>
                </a:cxn>
                <a:cxn ang="0">
                  <a:pos x="60" y="689"/>
                </a:cxn>
                <a:cxn ang="0">
                  <a:pos x="111" y="665"/>
                </a:cxn>
                <a:cxn ang="0">
                  <a:pos x="122" y="617"/>
                </a:cxn>
                <a:cxn ang="0">
                  <a:pos x="186" y="636"/>
                </a:cxn>
                <a:cxn ang="0">
                  <a:pos x="218" y="663"/>
                </a:cxn>
                <a:cxn ang="0">
                  <a:pos x="231" y="607"/>
                </a:cxn>
                <a:cxn ang="0">
                  <a:pos x="266" y="611"/>
                </a:cxn>
                <a:cxn ang="0">
                  <a:pos x="266" y="603"/>
                </a:cxn>
                <a:cxn ang="0">
                  <a:pos x="318" y="635"/>
                </a:cxn>
                <a:cxn ang="0">
                  <a:pos x="378" y="629"/>
                </a:cxn>
                <a:cxn ang="0">
                  <a:pos x="424" y="628"/>
                </a:cxn>
                <a:cxn ang="0">
                  <a:pos x="472" y="612"/>
                </a:cxn>
                <a:cxn ang="0">
                  <a:pos x="504" y="560"/>
                </a:cxn>
                <a:cxn ang="0">
                  <a:pos x="522" y="535"/>
                </a:cxn>
                <a:cxn ang="0">
                  <a:pos x="536" y="517"/>
                </a:cxn>
                <a:cxn ang="0">
                  <a:pos x="507" y="467"/>
                </a:cxn>
                <a:cxn ang="0">
                  <a:pos x="450" y="463"/>
                </a:cxn>
                <a:cxn ang="0">
                  <a:pos x="430" y="449"/>
                </a:cxn>
                <a:cxn ang="0">
                  <a:pos x="408" y="445"/>
                </a:cxn>
                <a:cxn ang="0">
                  <a:pos x="364" y="320"/>
                </a:cxn>
                <a:cxn ang="0">
                  <a:pos x="362" y="273"/>
                </a:cxn>
                <a:cxn ang="0">
                  <a:pos x="386" y="217"/>
                </a:cxn>
                <a:cxn ang="0">
                  <a:pos x="378" y="176"/>
                </a:cxn>
                <a:cxn ang="0">
                  <a:pos x="411" y="159"/>
                </a:cxn>
                <a:cxn ang="0">
                  <a:pos x="424" y="101"/>
                </a:cxn>
                <a:cxn ang="0">
                  <a:pos x="370" y="81"/>
                </a:cxn>
                <a:cxn ang="0">
                  <a:pos x="327" y="32"/>
                </a:cxn>
                <a:cxn ang="0">
                  <a:pos x="306" y="31"/>
                </a:cxn>
                <a:cxn ang="0">
                  <a:pos x="263" y="25"/>
                </a:cxn>
                <a:cxn ang="0">
                  <a:pos x="171" y="23"/>
                </a:cxn>
                <a:cxn ang="0">
                  <a:pos x="115" y="49"/>
                </a:cxn>
                <a:cxn ang="0">
                  <a:pos x="46" y="118"/>
                </a:cxn>
                <a:cxn ang="0">
                  <a:pos x="74" y="151"/>
                </a:cxn>
                <a:cxn ang="0">
                  <a:pos x="111" y="212"/>
                </a:cxn>
                <a:cxn ang="0">
                  <a:pos x="100" y="292"/>
                </a:cxn>
                <a:cxn ang="0">
                  <a:pos x="100" y="372"/>
                </a:cxn>
                <a:cxn ang="0">
                  <a:pos x="102" y="449"/>
                </a:cxn>
                <a:cxn ang="0">
                  <a:pos x="66" y="472"/>
                </a:cxn>
                <a:cxn ang="0">
                  <a:pos x="27" y="508"/>
                </a:cxn>
                <a:cxn ang="0">
                  <a:pos x="24" y="547"/>
                </a:cxn>
                <a:cxn ang="0">
                  <a:pos x="4" y="608"/>
                </a:cxn>
              </a:cxnLst>
              <a:rect l="0" t="0" r="r" b="b"/>
              <a:pathLst>
                <a:path w="550" h="697">
                  <a:moveTo>
                    <a:pt x="4" y="608"/>
                  </a:moveTo>
                  <a:cubicBezTo>
                    <a:pt x="20" y="635"/>
                    <a:pt x="20" y="635"/>
                    <a:pt x="20" y="635"/>
                  </a:cubicBezTo>
                  <a:cubicBezTo>
                    <a:pt x="15" y="669"/>
                    <a:pt x="15" y="669"/>
                    <a:pt x="15" y="669"/>
                  </a:cubicBezTo>
                  <a:cubicBezTo>
                    <a:pt x="24" y="675"/>
                    <a:pt x="24" y="675"/>
                    <a:pt x="24" y="675"/>
                  </a:cubicBezTo>
                  <a:cubicBezTo>
                    <a:pt x="26" y="691"/>
                    <a:pt x="26" y="691"/>
                    <a:pt x="26" y="691"/>
                  </a:cubicBezTo>
                  <a:cubicBezTo>
                    <a:pt x="31" y="697"/>
                    <a:pt x="31" y="697"/>
                    <a:pt x="31" y="697"/>
                  </a:cubicBezTo>
                  <a:cubicBezTo>
                    <a:pt x="30" y="685"/>
                    <a:pt x="30" y="685"/>
                    <a:pt x="30" y="685"/>
                  </a:cubicBezTo>
                  <a:cubicBezTo>
                    <a:pt x="59" y="684"/>
                    <a:pt x="59" y="684"/>
                    <a:pt x="59" y="684"/>
                  </a:cubicBezTo>
                  <a:cubicBezTo>
                    <a:pt x="60" y="689"/>
                    <a:pt x="60" y="689"/>
                    <a:pt x="60" y="689"/>
                  </a:cubicBezTo>
                  <a:cubicBezTo>
                    <a:pt x="94" y="687"/>
                    <a:pt x="94" y="687"/>
                    <a:pt x="94" y="687"/>
                  </a:cubicBezTo>
                  <a:cubicBezTo>
                    <a:pt x="98" y="675"/>
                    <a:pt x="98" y="675"/>
                    <a:pt x="98" y="675"/>
                  </a:cubicBezTo>
                  <a:cubicBezTo>
                    <a:pt x="111" y="665"/>
                    <a:pt x="111" y="665"/>
                    <a:pt x="111" y="665"/>
                  </a:cubicBezTo>
                  <a:cubicBezTo>
                    <a:pt x="112" y="645"/>
                    <a:pt x="112" y="645"/>
                    <a:pt x="112" y="645"/>
                  </a:cubicBezTo>
                  <a:cubicBezTo>
                    <a:pt x="120" y="639"/>
                    <a:pt x="120" y="639"/>
                    <a:pt x="120" y="639"/>
                  </a:cubicBezTo>
                  <a:cubicBezTo>
                    <a:pt x="122" y="617"/>
                    <a:pt x="122" y="617"/>
                    <a:pt x="122" y="617"/>
                  </a:cubicBezTo>
                  <a:cubicBezTo>
                    <a:pt x="122" y="617"/>
                    <a:pt x="122" y="624"/>
                    <a:pt x="131" y="616"/>
                  </a:cubicBezTo>
                  <a:cubicBezTo>
                    <a:pt x="157" y="579"/>
                    <a:pt x="163" y="607"/>
                    <a:pt x="161" y="614"/>
                  </a:cubicBezTo>
                  <a:cubicBezTo>
                    <a:pt x="172" y="606"/>
                    <a:pt x="186" y="636"/>
                    <a:pt x="186" y="636"/>
                  </a:cubicBezTo>
                  <a:cubicBezTo>
                    <a:pt x="195" y="647"/>
                    <a:pt x="195" y="647"/>
                    <a:pt x="195" y="647"/>
                  </a:cubicBezTo>
                  <a:cubicBezTo>
                    <a:pt x="204" y="687"/>
                    <a:pt x="204" y="687"/>
                    <a:pt x="204" y="687"/>
                  </a:cubicBezTo>
                  <a:cubicBezTo>
                    <a:pt x="218" y="663"/>
                    <a:pt x="218" y="663"/>
                    <a:pt x="218" y="663"/>
                  </a:cubicBezTo>
                  <a:cubicBezTo>
                    <a:pt x="224" y="636"/>
                    <a:pt x="224" y="636"/>
                    <a:pt x="224" y="636"/>
                  </a:cubicBezTo>
                  <a:cubicBezTo>
                    <a:pt x="232" y="627"/>
                    <a:pt x="232" y="627"/>
                    <a:pt x="232" y="627"/>
                  </a:cubicBezTo>
                  <a:cubicBezTo>
                    <a:pt x="231" y="607"/>
                    <a:pt x="231" y="607"/>
                    <a:pt x="231" y="607"/>
                  </a:cubicBezTo>
                  <a:cubicBezTo>
                    <a:pt x="240" y="603"/>
                    <a:pt x="240" y="603"/>
                    <a:pt x="240" y="603"/>
                  </a:cubicBezTo>
                  <a:cubicBezTo>
                    <a:pt x="248" y="616"/>
                    <a:pt x="248" y="616"/>
                    <a:pt x="248" y="616"/>
                  </a:cubicBezTo>
                  <a:cubicBezTo>
                    <a:pt x="266" y="611"/>
                    <a:pt x="266" y="611"/>
                    <a:pt x="266" y="611"/>
                  </a:cubicBezTo>
                  <a:cubicBezTo>
                    <a:pt x="266" y="603"/>
                    <a:pt x="266" y="603"/>
                    <a:pt x="266" y="603"/>
                  </a:cubicBezTo>
                  <a:cubicBezTo>
                    <a:pt x="263" y="603"/>
                    <a:pt x="267" y="593"/>
                    <a:pt x="267" y="593"/>
                  </a:cubicBezTo>
                  <a:cubicBezTo>
                    <a:pt x="266" y="603"/>
                    <a:pt x="266" y="603"/>
                    <a:pt x="266" y="603"/>
                  </a:cubicBezTo>
                  <a:cubicBezTo>
                    <a:pt x="267" y="603"/>
                    <a:pt x="269" y="602"/>
                    <a:pt x="271" y="600"/>
                  </a:cubicBezTo>
                  <a:cubicBezTo>
                    <a:pt x="282" y="591"/>
                    <a:pt x="300" y="584"/>
                    <a:pt x="300" y="584"/>
                  </a:cubicBezTo>
                  <a:cubicBezTo>
                    <a:pt x="318" y="635"/>
                    <a:pt x="318" y="635"/>
                    <a:pt x="318" y="635"/>
                  </a:cubicBezTo>
                  <a:cubicBezTo>
                    <a:pt x="318" y="635"/>
                    <a:pt x="318" y="635"/>
                    <a:pt x="342" y="627"/>
                  </a:cubicBezTo>
                  <a:cubicBezTo>
                    <a:pt x="346" y="600"/>
                    <a:pt x="356" y="624"/>
                    <a:pt x="356" y="624"/>
                  </a:cubicBezTo>
                  <a:cubicBezTo>
                    <a:pt x="378" y="629"/>
                    <a:pt x="378" y="629"/>
                    <a:pt x="378" y="629"/>
                  </a:cubicBezTo>
                  <a:cubicBezTo>
                    <a:pt x="399" y="655"/>
                    <a:pt x="399" y="655"/>
                    <a:pt x="399" y="655"/>
                  </a:cubicBezTo>
                  <a:cubicBezTo>
                    <a:pt x="424" y="644"/>
                    <a:pt x="424" y="644"/>
                    <a:pt x="424" y="644"/>
                  </a:cubicBezTo>
                  <a:cubicBezTo>
                    <a:pt x="424" y="628"/>
                    <a:pt x="424" y="628"/>
                    <a:pt x="424" y="628"/>
                  </a:cubicBezTo>
                  <a:cubicBezTo>
                    <a:pt x="443" y="619"/>
                    <a:pt x="443" y="619"/>
                    <a:pt x="443" y="619"/>
                  </a:cubicBezTo>
                  <a:cubicBezTo>
                    <a:pt x="444" y="613"/>
                    <a:pt x="444" y="613"/>
                    <a:pt x="444" y="613"/>
                  </a:cubicBezTo>
                  <a:cubicBezTo>
                    <a:pt x="472" y="612"/>
                    <a:pt x="472" y="612"/>
                    <a:pt x="472" y="612"/>
                  </a:cubicBezTo>
                  <a:cubicBezTo>
                    <a:pt x="484" y="584"/>
                    <a:pt x="484" y="584"/>
                    <a:pt x="484" y="584"/>
                  </a:cubicBezTo>
                  <a:cubicBezTo>
                    <a:pt x="504" y="580"/>
                    <a:pt x="504" y="580"/>
                    <a:pt x="504" y="580"/>
                  </a:cubicBezTo>
                  <a:cubicBezTo>
                    <a:pt x="504" y="560"/>
                    <a:pt x="504" y="560"/>
                    <a:pt x="504" y="560"/>
                  </a:cubicBezTo>
                  <a:cubicBezTo>
                    <a:pt x="519" y="560"/>
                    <a:pt x="519" y="560"/>
                    <a:pt x="519" y="560"/>
                  </a:cubicBezTo>
                  <a:cubicBezTo>
                    <a:pt x="519" y="560"/>
                    <a:pt x="512" y="548"/>
                    <a:pt x="512" y="544"/>
                  </a:cubicBezTo>
                  <a:cubicBezTo>
                    <a:pt x="512" y="540"/>
                    <a:pt x="522" y="535"/>
                    <a:pt x="522" y="535"/>
                  </a:cubicBezTo>
                  <a:cubicBezTo>
                    <a:pt x="519" y="523"/>
                    <a:pt x="519" y="523"/>
                    <a:pt x="519" y="523"/>
                  </a:cubicBezTo>
                  <a:cubicBezTo>
                    <a:pt x="533" y="534"/>
                    <a:pt x="533" y="534"/>
                    <a:pt x="533" y="534"/>
                  </a:cubicBezTo>
                  <a:cubicBezTo>
                    <a:pt x="532" y="533"/>
                    <a:pt x="532" y="529"/>
                    <a:pt x="536" y="517"/>
                  </a:cubicBezTo>
                  <a:cubicBezTo>
                    <a:pt x="550" y="468"/>
                    <a:pt x="519" y="489"/>
                    <a:pt x="519" y="489"/>
                  </a:cubicBezTo>
                  <a:cubicBezTo>
                    <a:pt x="512" y="471"/>
                    <a:pt x="512" y="471"/>
                    <a:pt x="512" y="471"/>
                  </a:cubicBezTo>
                  <a:cubicBezTo>
                    <a:pt x="507" y="467"/>
                    <a:pt x="507" y="467"/>
                    <a:pt x="507" y="467"/>
                  </a:cubicBezTo>
                  <a:cubicBezTo>
                    <a:pt x="520" y="456"/>
                    <a:pt x="495" y="459"/>
                    <a:pt x="488" y="449"/>
                  </a:cubicBezTo>
                  <a:cubicBezTo>
                    <a:pt x="482" y="440"/>
                    <a:pt x="452" y="455"/>
                    <a:pt x="452" y="455"/>
                  </a:cubicBezTo>
                  <a:cubicBezTo>
                    <a:pt x="450" y="463"/>
                    <a:pt x="450" y="463"/>
                    <a:pt x="450" y="463"/>
                  </a:cubicBezTo>
                  <a:cubicBezTo>
                    <a:pt x="444" y="456"/>
                    <a:pt x="444" y="456"/>
                    <a:pt x="444" y="456"/>
                  </a:cubicBezTo>
                  <a:cubicBezTo>
                    <a:pt x="434" y="461"/>
                    <a:pt x="434" y="461"/>
                    <a:pt x="434" y="461"/>
                  </a:cubicBezTo>
                  <a:cubicBezTo>
                    <a:pt x="430" y="449"/>
                    <a:pt x="430" y="449"/>
                    <a:pt x="430" y="449"/>
                  </a:cubicBezTo>
                  <a:cubicBezTo>
                    <a:pt x="418" y="449"/>
                    <a:pt x="418" y="449"/>
                    <a:pt x="418" y="449"/>
                  </a:cubicBezTo>
                  <a:cubicBezTo>
                    <a:pt x="412" y="468"/>
                    <a:pt x="412" y="468"/>
                    <a:pt x="412" y="468"/>
                  </a:cubicBezTo>
                  <a:cubicBezTo>
                    <a:pt x="408" y="445"/>
                    <a:pt x="408" y="445"/>
                    <a:pt x="408" y="445"/>
                  </a:cubicBezTo>
                  <a:cubicBezTo>
                    <a:pt x="408" y="445"/>
                    <a:pt x="422" y="439"/>
                    <a:pt x="424" y="432"/>
                  </a:cubicBezTo>
                  <a:cubicBezTo>
                    <a:pt x="436" y="412"/>
                    <a:pt x="396" y="376"/>
                    <a:pt x="391" y="376"/>
                  </a:cubicBezTo>
                  <a:cubicBezTo>
                    <a:pt x="387" y="356"/>
                    <a:pt x="364" y="320"/>
                    <a:pt x="364" y="320"/>
                  </a:cubicBezTo>
                  <a:cubicBezTo>
                    <a:pt x="366" y="292"/>
                    <a:pt x="366" y="292"/>
                    <a:pt x="366" y="292"/>
                  </a:cubicBezTo>
                  <a:cubicBezTo>
                    <a:pt x="374" y="289"/>
                    <a:pt x="374" y="289"/>
                    <a:pt x="374" y="289"/>
                  </a:cubicBezTo>
                  <a:cubicBezTo>
                    <a:pt x="362" y="273"/>
                    <a:pt x="362" y="273"/>
                    <a:pt x="362" y="273"/>
                  </a:cubicBezTo>
                  <a:cubicBezTo>
                    <a:pt x="362" y="261"/>
                    <a:pt x="362" y="261"/>
                    <a:pt x="362" y="261"/>
                  </a:cubicBezTo>
                  <a:cubicBezTo>
                    <a:pt x="387" y="252"/>
                    <a:pt x="387" y="252"/>
                    <a:pt x="387" y="252"/>
                  </a:cubicBezTo>
                  <a:cubicBezTo>
                    <a:pt x="386" y="217"/>
                    <a:pt x="386" y="217"/>
                    <a:pt x="386" y="217"/>
                  </a:cubicBezTo>
                  <a:cubicBezTo>
                    <a:pt x="379" y="204"/>
                    <a:pt x="379" y="204"/>
                    <a:pt x="379" y="204"/>
                  </a:cubicBezTo>
                  <a:cubicBezTo>
                    <a:pt x="383" y="189"/>
                    <a:pt x="383" y="189"/>
                    <a:pt x="383" y="189"/>
                  </a:cubicBezTo>
                  <a:cubicBezTo>
                    <a:pt x="378" y="176"/>
                    <a:pt x="378" y="176"/>
                    <a:pt x="378" y="176"/>
                  </a:cubicBezTo>
                  <a:cubicBezTo>
                    <a:pt x="403" y="165"/>
                    <a:pt x="403" y="165"/>
                    <a:pt x="403" y="165"/>
                  </a:cubicBezTo>
                  <a:cubicBezTo>
                    <a:pt x="403" y="156"/>
                    <a:pt x="403" y="156"/>
                    <a:pt x="403" y="156"/>
                  </a:cubicBezTo>
                  <a:cubicBezTo>
                    <a:pt x="411" y="159"/>
                    <a:pt x="411" y="159"/>
                    <a:pt x="411" y="159"/>
                  </a:cubicBezTo>
                  <a:cubicBezTo>
                    <a:pt x="416" y="145"/>
                    <a:pt x="416" y="145"/>
                    <a:pt x="416" y="145"/>
                  </a:cubicBezTo>
                  <a:cubicBezTo>
                    <a:pt x="423" y="145"/>
                    <a:pt x="423" y="145"/>
                    <a:pt x="423" y="145"/>
                  </a:cubicBezTo>
                  <a:cubicBezTo>
                    <a:pt x="423" y="145"/>
                    <a:pt x="423" y="116"/>
                    <a:pt x="424" y="101"/>
                  </a:cubicBezTo>
                  <a:cubicBezTo>
                    <a:pt x="426" y="87"/>
                    <a:pt x="398" y="97"/>
                    <a:pt x="398" y="97"/>
                  </a:cubicBezTo>
                  <a:cubicBezTo>
                    <a:pt x="387" y="84"/>
                    <a:pt x="387" y="84"/>
                    <a:pt x="387" y="84"/>
                  </a:cubicBezTo>
                  <a:cubicBezTo>
                    <a:pt x="370" y="81"/>
                    <a:pt x="370" y="81"/>
                    <a:pt x="370" y="81"/>
                  </a:cubicBezTo>
                  <a:cubicBezTo>
                    <a:pt x="366" y="63"/>
                    <a:pt x="366" y="63"/>
                    <a:pt x="366" y="63"/>
                  </a:cubicBezTo>
                  <a:cubicBezTo>
                    <a:pt x="366" y="63"/>
                    <a:pt x="336" y="12"/>
                    <a:pt x="332" y="8"/>
                  </a:cubicBezTo>
                  <a:cubicBezTo>
                    <a:pt x="328" y="4"/>
                    <a:pt x="327" y="32"/>
                    <a:pt x="327" y="32"/>
                  </a:cubicBezTo>
                  <a:cubicBezTo>
                    <a:pt x="318" y="31"/>
                    <a:pt x="318" y="31"/>
                    <a:pt x="318" y="31"/>
                  </a:cubicBezTo>
                  <a:cubicBezTo>
                    <a:pt x="306" y="45"/>
                    <a:pt x="306" y="45"/>
                    <a:pt x="306" y="45"/>
                  </a:cubicBezTo>
                  <a:cubicBezTo>
                    <a:pt x="306" y="31"/>
                    <a:pt x="306" y="31"/>
                    <a:pt x="306" y="31"/>
                  </a:cubicBezTo>
                  <a:cubicBezTo>
                    <a:pt x="294" y="24"/>
                    <a:pt x="294" y="24"/>
                    <a:pt x="294" y="24"/>
                  </a:cubicBezTo>
                  <a:cubicBezTo>
                    <a:pt x="294" y="24"/>
                    <a:pt x="283" y="32"/>
                    <a:pt x="279" y="32"/>
                  </a:cubicBezTo>
                  <a:cubicBezTo>
                    <a:pt x="275" y="32"/>
                    <a:pt x="267" y="25"/>
                    <a:pt x="263" y="25"/>
                  </a:cubicBezTo>
                  <a:cubicBezTo>
                    <a:pt x="259" y="25"/>
                    <a:pt x="254" y="36"/>
                    <a:pt x="244" y="35"/>
                  </a:cubicBezTo>
                  <a:cubicBezTo>
                    <a:pt x="236" y="34"/>
                    <a:pt x="220" y="9"/>
                    <a:pt x="213" y="1"/>
                  </a:cubicBezTo>
                  <a:cubicBezTo>
                    <a:pt x="188" y="0"/>
                    <a:pt x="178" y="8"/>
                    <a:pt x="171" y="23"/>
                  </a:cubicBezTo>
                  <a:cubicBezTo>
                    <a:pt x="163" y="39"/>
                    <a:pt x="148" y="17"/>
                    <a:pt x="144" y="17"/>
                  </a:cubicBezTo>
                  <a:cubicBezTo>
                    <a:pt x="140" y="17"/>
                    <a:pt x="122" y="36"/>
                    <a:pt x="122" y="36"/>
                  </a:cubicBezTo>
                  <a:cubicBezTo>
                    <a:pt x="122" y="36"/>
                    <a:pt x="122" y="44"/>
                    <a:pt x="115" y="49"/>
                  </a:cubicBezTo>
                  <a:cubicBezTo>
                    <a:pt x="108" y="55"/>
                    <a:pt x="118" y="77"/>
                    <a:pt x="118" y="77"/>
                  </a:cubicBezTo>
                  <a:cubicBezTo>
                    <a:pt x="118" y="77"/>
                    <a:pt x="118" y="77"/>
                    <a:pt x="102" y="88"/>
                  </a:cubicBezTo>
                  <a:cubicBezTo>
                    <a:pt x="72" y="77"/>
                    <a:pt x="50" y="111"/>
                    <a:pt x="46" y="118"/>
                  </a:cubicBezTo>
                  <a:cubicBezTo>
                    <a:pt x="50" y="135"/>
                    <a:pt x="50" y="135"/>
                    <a:pt x="50" y="135"/>
                  </a:cubicBezTo>
                  <a:cubicBezTo>
                    <a:pt x="56" y="135"/>
                    <a:pt x="56" y="135"/>
                    <a:pt x="56" y="135"/>
                  </a:cubicBezTo>
                  <a:cubicBezTo>
                    <a:pt x="56" y="135"/>
                    <a:pt x="35" y="163"/>
                    <a:pt x="74" y="151"/>
                  </a:cubicBezTo>
                  <a:cubicBezTo>
                    <a:pt x="76" y="152"/>
                    <a:pt x="78" y="161"/>
                    <a:pt x="78" y="161"/>
                  </a:cubicBezTo>
                  <a:cubicBezTo>
                    <a:pt x="92" y="163"/>
                    <a:pt x="92" y="163"/>
                    <a:pt x="92" y="163"/>
                  </a:cubicBezTo>
                  <a:cubicBezTo>
                    <a:pt x="111" y="212"/>
                    <a:pt x="111" y="212"/>
                    <a:pt x="111" y="212"/>
                  </a:cubicBezTo>
                  <a:cubicBezTo>
                    <a:pt x="111" y="212"/>
                    <a:pt x="91" y="225"/>
                    <a:pt x="120" y="248"/>
                  </a:cubicBezTo>
                  <a:cubicBezTo>
                    <a:pt x="118" y="252"/>
                    <a:pt x="119" y="268"/>
                    <a:pt x="119" y="268"/>
                  </a:cubicBezTo>
                  <a:cubicBezTo>
                    <a:pt x="119" y="268"/>
                    <a:pt x="106" y="269"/>
                    <a:pt x="100" y="292"/>
                  </a:cubicBezTo>
                  <a:cubicBezTo>
                    <a:pt x="95" y="315"/>
                    <a:pt x="84" y="300"/>
                    <a:pt x="84" y="300"/>
                  </a:cubicBezTo>
                  <a:cubicBezTo>
                    <a:pt x="84" y="300"/>
                    <a:pt x="62" y="301"/>
                    <a:pt x="84" y="333"/>
                  </a:cubicBezTo>
                  <a:cubicBezTo>
                    <a:pt x="107" y="365"/>
                    <a:pt x="100" y="372"/>
                    <a:pt x="100" y="372"/>
                  </a:cubicBezTo>
                  <a:cubicBezTo>
                    <a:pt x="100" y="372"/>
                    <a:pt x="80" y="376"/>
                    <a:pt x="99" y="400"/>
                  </a:cubicBezTo>
                  <a:cubicBezTo>
                    <a:pt x="96" y="432"/>
                    <a:pt x="91" y="437"/>
                    <a:pt x="91" y="437"/>
                  </a:cubicBezTo>
                  <a:cubicBezTo>
                    <a:pt x="102" y="449"/>
                    <a:pt x="102" y="449"/>
                    <a:pt x="102" y="449"/>
                  </a:cubicBezTo>
                  <a:cubicBezTo>
                    <a:pt x="83" y="455"/>
                    <a:pt x="83" y="455"/>
                    <a:pt x="83" y="455"/>
                  </a:cubicBezTo>
                  <a:cubicBezTo>
                    <a:pt x="83" y="455"/>
                    <a:pt x="72" y="440"/>
                    <a:pt x="66" y="441"/>
                  </a:cubicBezTo>
                  <a:cubicBezTo>
                    <a:pt x="59" y="443"/>
                    <a:pt x="66" y="472"/>
                    <a:pt x="66" y="472"/>
                  </a:cubicBezTo>
                  <a:cubicBezTo>
                    <a:pt x="52" y="473"/>
                    <a:pt x="52" y="473"/>
                    <a:pt x="52" y="473"/>
                  </a:cubicBezTo>
                  <a:cubicBezTo>
                    <a:pt x="44" y="481"/>
                    <a:pt x="44" y="481"/>
                    <a:pt x="44" y="481"/>
                  </a:cubicBezTo>
                  <a:cubicBezTo>
                    <a:pt x="27" y="508"/>
                    <a:pt x="27" y="508"/>
                    <a:pt x="27" y="508"/>
                  </a:cubicBezTo>
                  <a:cubicBezTo>
                    <a:pt x="31" y="519"/>
                    <a:pt x="31" y="519"/>
                    <a:pt x="31" y="519"/>
                  </a:cubicBezTo>
                  <a:cubicBezTo>
                    <a:pt x="23" y="528"/>
                    <a:pt x="23" y="528"/>
                    <a:pt x="23" y="528"/>
                  </a:cubicBezTo>
                  <a:cubicBezTo>
                    <a:pt x="24" y="547"/>
                    <a:pt x="24" y="547"/>
                    <a:pt x="24" y="547"/>
                  </a:cubicBezTo>
                  <a:cubicBezTo>
                    <a:pt x="24" y="547"/>
                    <a:pt x="0" y="551"/>
                    <a:pt x="12" y="573"/>
                  </a:cubicBezTo>
                  <a:cubicBezTo>
                    <a:pt x="8" y="574"/>
                    <a:pt x="5" y="576"/>
                    <a:pt x="3" y="578"/>
                  </a:cubicBezTo>
                  <a:cubicBezTo>
                    <a:pt x="6" y="591"/>
                    <a:pt x="4" y="608"/>
                    <a:pt x="4" y="608"/>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68" name="Provence" descr="© INSCALE GmbH, 05.05.2010&#10;http://www.presentationload.com/">
              <a:extLst>
                <a:ext uri="{FF2B5EF4-FFF2-40B4-BE49-F238E27FC236}">
                  <a16:creationId xmlns:a16="http://schemas.microsoft.com/office/drawing/2014/main" id="{BF48A4E4-BFE1-4679-A3A0-CC7D31BCFF12}"/>
                </a:ext>
              </a:extLst>
            </p:cNvPr>
            <p:cNvSpPr>
              <a:spLocks/>
            </p:cNvSpPr>
            <p:nvPr/>
          </p:nvSpPr>
          <p:spPr bwMode="gray">
            <a:xfrm>
              <a:off x="2233" y="2198"/>
              <a:ext cx="838" cy="739"/>
            </a:xfrm>
            <a:custGeom>
              <a:avLst/>
              <a:gdLst/>
              <a:ahLst/>
              <a:cxnLst>
                <a:cxn ang="0">
                  <a:pos x="68" y="539"/>
                </a:cxn>
                <a:cxn ang="0">
                  <a:pos x="78" y="572"/>
                </a:cxn>
                <a:cxn ang="0">
                  <a:pos x="129" y="586"/>
                </a:cxn>
                <a:cxn ang="0">
                  <a:pos x="134" y="565"/>
                </a:cxn>
                <a:cxn ang="0">
                  <a:pos x="161" y="554"/>
                </a:cxn>
                <a:cxn ang="0">
                  <a:pos x="214" y="585"/>
                </a:cxn>
                <a:cxn ang="0">
                  <a:pos x="251" y="596"/>
                </a:cxn>
                <a:cxn ang="0">
                  <a:pos x="255" y="612"/>
                </a:cxn>
                <a:cxn ang="0">
                  <a:pos x="295" y="632"/>
                </a:cxn>
                <a:cxn ang="0">
                  <a:pos x="332" y="649"/>
                </a:cxn>
                <a:cxn ang="0">
                  <a:pos x="364" y="684"/>
                </a:cxn>
                <a:cxn ang="0">
                  <a:pos x="407" y="679"/>
                </a:cxn>
                <a:cxn ang="0">
                  <a:pos x="426" y="679"/>
                </a:cxn>
                <a:cxn ang="0">
                  <a:pos x="465" y="665"/>
                </a:cxn>
                <a:cxn ang="0">
                  <a:pos x="526" y="641"/>
                </a:cxn>
                <a:cxn ang="0">
                  <a:pos x="549" y="634"/>
                </a:cxn>
                <a:cxn ang="0">
                  <a:pos x="532" y="604"/>
                </a:cxn>
                <a:cxn ang="0">
                  <a:pos x="569" y="558"/>
                </a:cxn>
                <a:cxn ang="0">
                  <a:pos x="631" y="523"/>
                </a:cxn>
                <a:cxn ang="0">
                  <a:pos x="667" y="477"/>
                </a:cxn>
                <a:cxn ang="0">
                  <a:pos x="691" y="466"/>
                </a:cxn>
                <a:cxn ang="0">
                  <a:pos x="715" y="460"/>
                </a:cxn>
                <a:cxn ang="0">
                  <a:pos x="723" y="445"/>
                </a:cxn>
                <a:cxn ang="0">
                  <a:pos x="727" y="410"/>
                </a:cxn>
                <a:cxn ang="0">
                  <a:pos x="749" y="384"/>
                </a:cxn>
                <a:cxn ang="0">
                  <a:pos x="764" y="325"/>
                </a:cxn>
                <a:cxn ang="0">
                  <a:pos x="758" y="308"/>
                </a:cxn>
                <a:cxn ang="0">
                  <a:pos x="725" y="323"/>
                </a:cxn>
                <a:cxn ang="0">
                  <a:pos x="630" y="285"/>
                </a:cxn>
                <a:cxn ang="0">
                  <a:pos x="612" y="282"/>
                </a:cxn>
                <a:cxn ang="0">
                  <a:pos x="589" y="238"/>
                </a:cxn>
                <a:cxn ang="0">
                  <a:pos x="579" y="182"/>
                </a:cxn>
                <a:cxn ang="0">
                  <a:pos x="609" y="133"/>
                </a:cxn>
                <a:cxn ang="0">
                  <a:pos x="614" y="82"/>
                </a:cxn>
                <a:cxn ang="0">
                  <a:pos x="548" y="49"/>
                </a:cxn>
                <a:cxn ang="0">
                  <a:pos x="534" y="16"/>
                </a:cxn>
                <a:cxn ang="0">
                  <a:pos x="528" y="2"/>
                </a:cxn>
                <a:cxn ang="0">
                  <a:pos x="501" y="14"/>
                </a:cxn>
                <a:cxn ang="0">
                  <a:pos x="476" y="0"/>
                </a:cxn>
                <a:cxn ang="0">
                  <a:pos x="449" y="11"/>
                </a:cxn>
                <a:cxn ang="0">
                  <a:pos x="468" y="40"/>
                </a:cxn>
                <a:cxn ang="0">
                  <a:pos x="413" y="94"/>
                </a:cxn>
                <a:cxn ang="0">
                  <a:pos x="361" y="116"/>
                </a:cxn>
                <a:cxn ang="0">
                  <a:pos x="321" y="162"/>
                </a:cxn>
                <a:cxn ang="0">
                  <a:pos x="325" y="198"/>
                </a:cxn>
                <a:cxn ang="0">
                  <a:pos x="281" y="206"/>
                </a:cxn>
                <a:cxn ang="0">
                  <a:pos x="286" y="230"/>
                </a:cxn>
                <a:cxn ang="0">
                  <a:pos x="286" y="256"/>
                </a:cxn>
                <a:cxn ang="0">
                  <a:pos x="334" y="278"/>
                </a:cxn>
                <a:cxn ang="0">
                  <a:pos x="322" y="311"/>
                </a:cxn>
                <a:cxn ang="0">
                  <a:pos x="288" y="326"/>
                </a:cxn>
                <a:cxn ang="0">
                  <a:pos x="265" y="314"/>
                </a:cxn>
                <a:cxn ang="0">
                  <a:pos x="237" y="295"/>
                </a:cxn>
                <a:cxn ang="0">
                  <a:pos x="213" y="294"/>
                </a:cxn>
                <a:cxn ang="0">
                  <a:pos x="201" y="276"/>
                </a:cxn>
                <a:cxn ang="0">
                  <a:pos x="136" y="296"/>
                </a:cxn>
                <a:cxn ang="0">
                  <a:pos x="100" y="283"/>
                </a:cxn>
                <a:cxn ang="0">
                  <a:pos x="104" y="303"/>
                </a:cxn>
                <a:cxn ang="0">
                  <a:pos x="114" y="343"/>
                </a:cxn>
                <a:cxn ang="0">
                  <a:pos x="145" y="371"/>
                </a:cxn>
                <a:cxn ang="0">
                  <a:pos x="94" y="472"/>
                </a:cxn>
                <a:cxn ang="0">
                  <a:pos x="54" y="490"/>
                </a:cxn>
                <a:cxn ang="0">
                  <a:pos x="0" y="540"/>
                </a:cxn>
              </a:cxnLst>
              <a:rect l="0" t="0" r="r" b="b"/>
              <a:pathLst>
                <a:path w="778" h="684">
                  <a:moveTo>
                    <a:pt x="2" y="541"/>
                  </a:moveTo>
                  <a:cubicBezTo>
                    <a:pt x="3" y="544"/>
                    <a:pt x="54" y="539"/>
                    <a:pt x="68" y="539"/>
                  </a:cubicBezTo>
                  <a:cubicBezTo>
                    <a:pt x="82" y="539"/>
                    <a:pt x="80" y="555"/>
                    <a:pt x="80" y="555"/>
                  </a:cubicBezTo>
                  <a:cubicBezTo>
                    <a:pt x="57" y="564"/>
                    <a:pt x="80" y="563"/>
                    <a:pt x="78" y="572"/>
                  </a:cubicBezTo>
                  <a:cubicBezTo>
                    <a:pt x="76" y="581"/>
                    <a:pt x="119" y="577"/>
                    <a:pt x="119" y="577"/>
                  </a:cubicBezTo>
                  <a:cubicBezTo>
                    <a:pt x="119" y="577"/>
                    <a:pt x="127" y="583"/>
                    <a:pt x="129" y="586"/>
                  </a:cubicBezTo>
                  <a:cubicBezTo>
                    <a:pt x="131" y="589"/>
                    <a:pt x="138" y="577"/>
                    <a:pt x="144" y="575"/>
                  </a:cubicBezTo>
                  <a:cubicBezTo>
                    <a:pt x="150" y="573"/>
                    <a:pt x="138" y="576"/>
                    <a:pt x="134" y="565"/>
                  </a:cubicBezTo>
                  <a:cubicBezTo>
                    <a:pt x="130" y="554"/>
                    <a:pt x="139" y="558"/>
                    <a:pt x="139" y="554"/>
                  </a:cubicBezTo>
                  <a:cubicBezTo>
                    <a:pt x="139" y="550"/>
                    <a:pt x="151" y="554"/>
                    <a:pt x="161" y="554"/>
                  </a:cubicBezTo>
                  <a:cubicBezTo>
                    <a:pt x="171" y="554"/>
                    <a:pt x="177" y="583"/>
                    <a:pt x="177" y="583"/>
                  </a:cubicBezTo>
                  <a:cubicBezTo>
                    <a:pt x="214" y="585"/>
                    <a:pt x="214" y="585"/>
                    <a:pt x="214" y="585"/>
                  </a:cubicBezTo>
                  <a:cubicBezTo>
                    <a:pt x="214" y="585"/>
                    <a:pt x="233" y="578"/>
                    <a:pt x="240" y="569"/>
                  </a:cubicBezTo>
                  <a:cubicBezTo>
                    <a:pt x="247" y="560"/>
                    <a:pt x="251" y="596"/>
                    <a:pt x="251" y="596"/>
                  </a:cubicBezTo>
                  <a:cubicBezTo>
                    <a:pt x="251" y="596"/>
                    <a:pt x="248" y="600"/>
                    <a:pt x="245" y="600"/>
                  </a:cubicBezTo>
                  <a:cubicBezTo>
                    <a:pt x="242" y="600"/>
                    <a:pt x="252" y="608"/>
                    <a:pt x="255" y="612"/>
                  </a:cubicBezTo>
                  <a:cubicBezTo>
                    <a:pt x="258" y="616"/>
                    <a:pt x="248" y="623"/>
                    <a:pt x="248" y="623"/>
                  </a:cubicBezTo>
                  <a:cubicBezTo>
                    <a:pt x="248" y="623"/>
                    <a:pt x="291" y="631"/>
                    <a:pt x="295" y="632"/>
                  </a:cubicBezTo>
                  <a:cubicBezTo>
                    <a:pt x="305" y="651"/>
                    <a:pt x="316" y="636"/>
                    <a:pt x="322" y="637"/>
                  </a:cubicBezTo>
                  <a:cubicBezTo>
                    <a:pt x="328" y="638"/>
                    <a:pt x="320" y="648"/>
                    <a:pt x="332" y="649"/>
                  </a:cubicBezTo>
                  <a:cubicBezTo>
                    <a:pt x="344" y="650"/>
                    <a:pt x="354" y="671"/>
                    <a:pt x="348" y="676"/>
                  </a:cubicBezTo>
                  <a:cubicBezTo>
                    <a:pt x="342" y="681"/>
                    <a:pt x="356" y="680"/>
                    <a:pt x="364" y="684"/>
                  </a:cubicBezTo>
                  <a:cubicBezTo>
                    <a:pt x="372" y="671"/>
                    <a:pt x="393" y="669"/>
                    <a:pt x="399" y="666"/>
                  </a:cubicBezTo>
                  <a:cubicBezTo>
                    <a:pt x="405" y="663"/>
                    <a:pt x="404" y="681"/>
                    <a:pt x="407" y="679"/>
                  </a:cubicBezTo>
                  <a:cubicBezTo>
                    <a:pt x="410" y="677"/>
                    <a:pt x="418" y="669"/>
                    <a:pt x="424" y="674"/>
                  </a:cubicBezTo>
                  <a:cubicBezTo>
                    <a:pt x="426" y="676"/>
                    <a:pt x="426" y="678"/>
                    <a:pt x="426" y="679"/>
                  </a:cubicBezTo>
                  <a:cubicBezTo>
                    <a:pt x="427" y="679"/>
                    <a:pt x="437" y="672"/>
                    <a:pt x="443" y="663"/>
                  </a:cubicBezTo>
                  <a:cubicBezTo>
                    <a:pt x="449" y="654"/>
                    <a:pt x="443" y="663"/>
                    <a:pt x="465" y="665"/>
                  </a:cubicBezTo>
                  <a:cubicBezTo>
                    <a:pt x="472" y="679"/>
                    <a:pt x="481" y="671"/>
                    <a:pt x="481" y="671"/>
                  </a:cubicBezTo>
                  <a:cubicBezTo>
                    <a:pt x="469" y="660"/>
                    <a:pt x="520" y="642"/>
                    <a:pt x="526" y="641"/>
                  </a:cubicBezTo>
                  <a:cubicBezTo>
                    <a:pt x="532" y="640"/>
                    <a:pt x="538" y="646"/>
                    <a:pt x="538" y="646"/>
                  </a:cubicBezTo>
                  <a:cubicBezTo>
                    <a:pt x="538" y="646"/>
                    <a:pt x="547" y="639"/>
                    <a:pt x="549" y="634"/>
                  </a:cubicBezTo>
                  <a:cubicBezTo>
                    <a:pt x="551" y="629"/>
                    <a:pt x="551" y="618"/>
                    <a:pt x="548" y="610"/>
                  </a:cubicBezTo>
                  <a:cubicBezTo>
                    <a:pt x="518" y="622"/>
                    <a:pt x="535" y="604"/>
                    <a:pt x="532" y="604"/>
                  </a:cubicBezTo>
                  <a:cubicBezTo>
                    <a:pt x="529" y="604"/>
                    <a:pt x="552" y="584"/>
                    <a:pt x="560" y="578"/>
                  </a:cubicBezTo>
                  <a:cubicBezTo>
                    <a:pt x="559" y="561"/>
                    <a:pt x="569" y="558"/>
                    <a:pt x="569" y="558"/>
                  </a:cubicBezTo>
                  <a:cubicBezTo>
                    <a:pt x="581" y="586"/>
                    <a:pt x="609" y="532"/>
                    <a:pt x="609" y="532"/>
                  </a:cubicBezTo>
                  <a:cubicBezTo>
                    <a:pt x="603" y="509"/>
                    <a:pt x="629" y="516"/>
                    <a:pt x="631" y="523"/>
                  </a:cubicBezTo>
                  <a:cubicBezTo>
                    <a:pt x="630" y="511"/>
                    <a:pt x="644" y="515"/>
                    <a:pt x="648" y="508"/>
                  </a:cubicBezTo>
                  <a:cubicBezTo>
                    <a:pt x="647" y="480"/>
                    <a:pt x="667" y="477"/>
                    <a:pt x="667" y="477"/>
                  </a:cubicBezTo>
                  <a:cubicBezTo>
                    <a:pt x="675" y="465"/>
                    <a:pt x="675" y="465"/>
                    <a:pt x="675" y="465"/>
                  </a:cubicBezTo>
                  <a:cubicBezTo>
                    <a:pt x="691" y="466"/>
                    <a:pt x="691" y="466"/>
                    <a:pt x="691" y="466"/>
                  </a:cubicBezTo>
                  <a:cubicBezTo>
                    <a:pt x="696" y="456"/>
                    <a:pt x="696" y="456"/>
                    <a:pt x="696" y="456"/>
                  </a:cubicBezTo>
                  <a:cubicBezTo>
                    <a:pt x="715" y="460"/>
                    <a:pt x="715" y="460"/>
                    <a:pt x="715" y="460"/>
                  </a:cubicBezTo>
                  <a:cubicBezTo>
                    <a:pt x="713" y="442"/>
                    <a:pt x="713" y="442"/>
                    <a:pt x="713" y="442"/>
                  </a:cubicBezTo>
                  <a:cubicBezTo>
                    <a:pt x="723" y="445"/>
                    <a:pt x="723" y="445"/>
                    <a:pt x="723" y="445"/>
                  </a:cubicBezTo>
                  <a:cubicBezTo>
                    <a:pt x="736" y="435"/>
                    <a:pt x="736" y="435"/>
                    <a:pt x="736" y="435"/>
                  </a:cubicBezTo>
                  <a:cubicBezTo>
                    <a:pt x="727" y="410"/>
                    <a:pt x="727" y="410"/>
                    <a:pt x="727" y="410"/>
                  </a:cubicBezTo>
                  <a:cubicBezTo>
                    <a:pt x="746" y="398"/>
                    <a:pt x="746" y="398"/>
                    <a:pt x="746" y="398"/>
                  </a:cubicBezTo>
                  <a:cubicBezTo>
                    <a:pt x="749" y="384"/>
                    <a:pt x="749" y="384"/>
                    <a:pt x="749" y="384"/>
                  </a:cubicBezTo>
                  <a:cubicBezTo>
                    <a:pt x="763" y="390"/>
                    <a:pt x="778" y="338"/>
                    <a:pt x="778" y="338"/>
                  </a:cubicBezTo>
                  <a:cubicBezTo>
                    <a:pt x="764" y="325"/>
                    <a:pt x="764" y="325"/>
                    <a:pt x="764" y="325"/>
                  </a:cubicBezTo>
                  <a:cubicBezTo>
                    <a:pt x="768" y="311"/>
                    <a:pt x="768" y="311"/>
                    <a:pt x="768" y="311"/>
                  </a:cubicBezTo>
                  <a:cubicBezTo>
                    <a:pt x="758" y="308"/>
                    <a:pt x="758" y="308"/>
                    <a:pt x="758" y="308"/>
                  </a:cubicBezTo>
                  <a:cubicBezTo>
                    <a:pt x="751" y="316"/>
                    <a:pt x="751" y="316"/>
                    <a:pt x="751" y="316"/>
                  </a:cubicBezTo>
                  <a:cubicBezTo>
                    <a:pt x="751" y="316"/>
                    <a:pt x="730" y="316"/>
                    <a:pt x="725" y="323"/>
                  </a:cubicBezTo>
                  <a:cubicBezTo>
                    <a:pt x="717" y="339"/>
                    <a:pt x="690" y="316"/>
                    <a:pt x="690" y="316"/>
                  </a:cubicBezTo>
                  <a:cubicBezTo>
                    <a:pt x="630" y="285"/>
                    <a:pt x="630" y="285"/>
                    <a:pt x="630" y="285"/>
                  </a:cubicBezTo>
                  <a:cubicBezTo>
                    <a:pt x="623" y="288"/>
                    <a:pt x="623" y="288"/>
                    <a:pt x="623" y="288"/>
                  </a:cubicBezTo>
                  <a:cubicBezTo>
                    <a:pt x="612" y="282"/>
                    <a:pt x="612" y="282"/>
                    <a:pt x="612" y="282"/>
                  </a:cubicBezTo>
                  <a:cubicBezTo>
                    <a:pt x="613" y="271"/>
                    <a:pt x="613" y="271"/>
                    <a:pt x="613" y="271"/>
                  </a:cubicBezTo>
                  <a:cubicBezTo>
                    <a:pt x="589" y="238"/>
                    <a:pt x="589" y="238"/>
                    <a:pt x="589" y="238"/>
                  </a:cubicBezTo>
                  <a:cubicBezTo>
                    <a:pt x="598" y="219"/>
                    <a:pt x="598" y="219"/>
                    <a:pt x="598" y="219"/>
                  </a:cubicBezTo>
                  <a:cubicBezTo>
                    <a:pt x="579" y="182"/>
                    <a:pt x="579" y="182"/>
                    <a:pt x="579" y="182"/>
                  </a:cubicBezTo>
                  <a:cubicBezTo>
                    <a:pt x="579" y="182"/>
                    <a:pt x="601" y="155"/>
                    <a:pt x="604" y="152"/>
                  </a:cubicBezTo>
                  <a:cubicBezTo>
                    <a:pt x="598" y="134"/>
                    <a:pt x="611" y="136"/>
                    <a:pt x="609" y="133"/>
                  </a:cubicBezTo>
                  <a:cubicBezTo>
                    <a:pt x="622" y="140"/>
                    <a:pt x="620" y="121"/>
                    <a:pt x="624" y="123"/>
                  </a:cubicBezTo>
                  <a:cubicBezTo>
                    <a:pt x="611" y="113"/>
                    <a:pt x="614" y="82"/>
                    <a:pt x="614" y="82"/>
                  </a:cubicBezTo>
                  <a:cubicBezTo>
                    <a:pt x="577" y="74"/>
                    <a:pt x="577" y="74"/>
                    <a:pt x="577" y="74"/>
                  </a:cubicBezTo>
                  <a:cubicBezTo>
                    <a:pt x="548" y="49"/>
                    <a:pt x="548" y="49"/>
                    <a:pt x="548" y="49"/>
                  </a:cubicBezTo>
                  <a:cubicBezTo>
                    <a:pt x="550" y="19"/>
                    <a:pt x="550" y="19"/>
                    <a:pt x="550" y="19"/>
                  </a:cubicBezTo>
                  <a:cubicBezTo>
                    <a:pt x="534" y="16"/>
                    <a:pt x="534" y="16"/>
                    <a:pt x="534" y="16"/>
                  </a:cubicBezTo>
                  <a:cubicBezTo>
                    <a:pt x="532" y="7"/>
                    <a:pt x="532" y="7"/>
                    <a:pt x="532" y="7"/>
                  </a:cubicBezTo>
                  <a:cubicBezTo>
                    <a:pt x="530" y="6"/>
                    <a:pt x="529" y="4"/>
                    <a:pt x="528" y="2"/>
                  </a:cubicBezTo>
                  <a:cubicBezTo>
                    <a:pt x="504" y="6"/>
                    <a:pt x="504" y="6"/>
                    <a:pt x="504" y="6"/>
                  </a:cubicBezTo>
                  <a:cubicBezTo>
                    <a:pt x="501" y="14"/>
                    <a:pt x="501" y="14"/>
                    <a:pt x="501" y="14"/>
                  </a:cubicBezTo>
                  <a:cubicBezTo>
                    <a:pt x="477" y="14"/>
                    <a:pt x="477" y="14"/>
                    <a:pt x="477" y="14"/>
                  </a:cubicBezTo>
                  <a:cubicBezTo>
                    <a:pt x="476" y="0"/>
                    <a:pt x="476" y="0"/>
                    <a:pt x="476" y="0"/>
                  </a:cubicBezTo>
                  <a:cubicBezTo>
                    <a:pt x="446" y="3"/>
                    <a:pt x="446" y="3"/>
                    <a:pt x="446" y="3"/>
                  </a:cubicBezTo>
                  <a:cubicBezTo>
                    <a:pt x="449" y="11"/>
                    <a:pt x="449" y="11"/>
                    <a:pt x="449" y="11"/>
                  </a:cubicBezTo>
                  <a:cubicBezTo>
                    <a:pt x="449" y="11"/>
                    <a:pt x="444" y="24"/>
                    <a:pt x="444" y="35"/>
                  </a:cubicBezTo>
                  <a:cubicBezTo>
                    <a:pt x="444" y="46"/>
                    <a:pt x="468" y="40"/>
                    <a:pt x="468" y="40"/>
                  </a:cubicBezTo>
                  <a:cubicBezTo>
                    <a:pt x="468" y="40"/>
                    <a:pt x="469" y="59"/>
                    <a:pt x="476" y="82"/>
                  </a:cubicBezTo>
                  <a:cubicBezTo>
                    <a:pt x="410" y="80"/>
                    <a:pt x="420" y="100"/>
                    <a:pt x="413" y="94"/>
                  </a:cubicBezTo>
                  <a:cubicBezTo>
                    <a:pt x="406" y="87"/>
                    <a:pt x="397" y="110"/>
                    <a:pt x="397" y="110"/>
                  </a:cubicBezTo>
                  <a:cubicBezTo>
                    <a:pt x="397" y="110"/>
                    <a:pt x="373" y="116"/>
                    <a:pt x="361" y="116"/>
                  </a:cubicBezTo>
                  <a:cubicBezTo>
                    <a:pt x="349" y="116"/>
                    <a:pt x="354" y="128"/>
                    <a:pt x="358" y="138"/>
                  </a:cubicBezTo>
                  <a:cubicBezTo>
                    <a:pt x="362" y="147"/>
                    <a:pt x="321" y="162"/>
                    <a:pt x="321" y="162"/>
                  </a:cubicBezTo>
                  <a:cubicBezTo>
                    <a:pt x="308" y="188"/>
                    <a:pt x="308" y="188"/>
                    <a:pt x="308" y="188"/>
                  </a:cubicBezTo>
                  <a:cubicBezTo>
                    <a:pt x="325" y="198"/>
                    <a:pt x="325" y="198"/>
                    <a:pt x="325" y="198"/>
                  </a:cubicBezTo>
                  <a:cubicBezTo>
                    <a:pt x="310" y="210"/>
                    <a:pt x="310" y="210"/>
                    <a:pt x="310" y="210"/>
                  </a:cubicBezTo>
                  <a:cubicBezTo>
                    <a:pt x="281" y="206"/>
                    <a:pt x="281" y="206"/>
                    <a:pt x="281" y="206"/>
                  </a:cubicBezTo>
                  <a:cubicBezTo>
                    <a:pt x="278" y="218"/>
                    <a:pt x="278" y="218"/>
                    <a:pt x="278" y="218"/>
                  </a:cubicBezTo>
                  <a:cubicBezTo>
                    <a:pt x="286" y="230"/>
                    <a:pt x="286" y="230"/>
                    <a:pt x="286" y="230"/>
                  </a:cubicBezTo>
                  <a:cubicBezTo>
                    <a:pt x="270" y="231"/>
                    <a:pt x="270" y="231"/>
                    <a:pt x="270" y="231"/>
                  </a:cubicBezTo>
                  <a:cubicBezTo>
                    <a:pt x="286" y="256"/>
                    <a:pt x="286" y="256"/>
                    <a:pt x="286" y="256"/>
                  </a:cubicBezTo>
                  <a:cubicBezTo>
                    <a:pt x="317" y="258"/>
                    <a:pt x="317" y="258"/>
                    <a:pt x="317" y="258"/>
                  </a:cubicBezTo>
                  <a:cubicBezTo>
                    <a:pt x="334" y="278"/>
                    <a:pt x="334" y="278"/>
                    <a:pt x="334" y="278"/>
                  </a:cubicBezTo>
                  <a:cubicBezTo>
                    <a:pt x="334" y="300"/>
                    <a:pt x="334" y="300"/>
                    <a:pt x="334" y="300"/>
                  </a:cubicBezTo>
                  <a:cubicBezTo>
                    <a:pt x="334" y="300"/>
                    <a:pt x="320" y="314"/>
                    <a:pt x="322" y="311"/>
                  </a:cubicBezTo>
                  <a:cubicBezTo>
                    <a:pt x="298" y="303"/>
                    <a:pt x="308" y="314"/>
                    <a:pt x="308" y="314"/>
                  </a:cubicBezTo>
                  <a:cubicBezTo>
                    <a:pt x="288" y="326"/>
                    <a:pt x="288" y="326"/>
                    <a:pt x="288" y="326"/>
                  </a:cubicBezTo>
                  <a:cubicBezTo>
                    <a:pt x="278" y="319"/>
                    <a:pt x="278" y="319"/>
                    <a:pt x="278" y="319"/>
                  </a:cubicBezTo>
                  <a:cubicBezTo>
                    <a:pt x="278" y="319"/>
                    <a:pt x="265" y="323"/>
                    <a:pt x="265" y="314"/>
                  </a:cubicBezTo>
                  <a:cubicBezTo>
                    <a:pt x="265" y="304"/>
                    <a:pt x="258" y="300"/>
                    <a:pt x="258" y="300"/>
                  </a:cubicBezTo>
                  <a:cubicBezTo>
                    <a:pt x="237" y="295"/>
                    <a:pt x="237" y="295"/>
                    <a:pt x="237" y="295"/>
                  </a:cubicBezTo>
                  <a:cubicBezTo>
                    <a:pt x="238" y="302"/>
                    <a:pt x="238" y="302"/>
                    <a:pt x="238" y="302"/>
                  </a:cubicBezTo>
                  <a:cubicBezTo>
                    <a:pt x="213" y="294"/>
                    <a:pt x="213" y="294"/>
                    <a:pt x="213" y="294"/>
                  </a:cubicBezTo>
                  <a:cubicBezTo>
                    <a:pt x="213" y="270"/>
                    <a:pt x="213" y="270"/>
                    <a:pt x="213" y="270"/>
                  </a:cubicBezTo>
                  <a:cubicBezTo>
                    <a:pt x="201" y="276"/>
                    <a:pt x="201" y="276"/>
                    <a:pt x="201" y="276"/>
                  </a:cubicBezTo>
                  <a:cubicBezTo>
                    <a:pt x="190" y="272"/>
                    <a:pt x="190" y="272"/>
                    <a:pt x="190" y="272"/>
                  </a:cubicBezTo>
                  <a:cubicBezTo>
                    <a:pt x="136" y="296"/>
                    <a:pt x="136" y="296"/>
                    <a:pt x="136" y="296"/>
                  </a:cubicBezTo>
                  <a:cubicBezTo>
                    <a:pt x="134" y="260"/>
                    <a:pt x="100" y="268"/>
                    <a:pt x="100" y="268"/>
                  </a:cubicBezTo>
                  <a:cubicBezTo>
                    <a:pt x="100" y="283"/>
                    <a:pt x="100" y="283"/>
                    <a:pt x="100" y="283"/>
                  </a:cubicBezTo>
                  <a:cubicBezTo>
                    <a:pt x="95" y="281"/>
                    <a:pt x="95" y="281"/>
                    <a:pt x="95" y="281"/>
                  </a:cubicBezTo>
                  <a:cubicBezTo>
                    <a:pt x="104" y="303"/>
                    <a:pt x="104" y="303"/>
                    <a:pt x="104" y="303"/>
                  </a:cubicBezTo>
                  <a:cubicBezTo>
                    <a:pt x="114" y="304"/>
                    <a:pt x="114" y="304"/>
                    <a:pt x="114" y="304"/>
                  </a:cubicBezTo>
                  <a:cubicBezTo>
                    <a:pt x="114" y="343"/>
                    <a:pt x="114" y="343"/>
                    <a:pt x="114" y="343"/>
                  </a:cubicBezTo>
                  <a:cubicBezTo>
                    <a:pt x="125" y="339"/>
                    <a:pt x="125" y="339"/>
                    <a:pt x="125" y="339"/>
                  </a:cubicBezTo>
                  <a:cubicBezTo>
                    <a:pt x="145" y="371"/>
                    <a:pt x="145" y="371"/>
                    <a:pt x="145" y="371"/>
                  </a:cubicBezTo>
                  <a:cubicBezTo>
                    <a:pt x="102" y="415"/>
                    <a:pt x="102" y="415"/>
                    <a:pt x="102" y="415"/>
                  </a:cubicBezTo>
                  <a:cubicBezTo>
                    <a:pt x="94" y="472"/>
                    <a:pt x="94" y="472"/>
                    <a:pt x="94" y="472"/>
                  </a:cubicBezTo>
                  <a:cubicBezTo>
                    <a:pt x="69" y="466"/>
                    <a:pt x="69" y="466"/>
                    <a:pt x="69" y="466"/>
                  </a:cubicBezTo>
                  <a:cubicBezTo>
                    <a:pt x="54" y="490"/>
                    <a:pt x="54" y="490"/>
                    <a:pt x="54" y="490"/>
                  </a:cubicBezTo>
                  <a:cubicBezTo>
                    <a:pt x="58" y="500"/>
                    <a:pt x="58" y="500"/>
                    <a:pt x="58" y="500"/>
                  </a:cubicBezTo>
                  <a:cubicBezTo>
                    <a:pt x="0" y="540"/>
                    <a:pt x="0" y="540"/>
                    <a:pt x="0" y="540"/>
                  </a:cubicBezTo>
                  <a:cubicBezTo>
                    <a:pt x="1" y="541"/>
                    <a:pt x="2" y="541"/>
                    <a:pt x="2" y="54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69" name="Languedoc-Roussillon" descr="© INSCALE GmbH, 05.05.2010&#10;http://www.presentationload.com/">
              <a:extLst>
                <a:ext uri="{FF2B5EF4-FFF2-40B4-BE49-F238E27FC236}">
                  <a16:creationId xmlns:a16="http://schemas.microsoft.com/office/drawing/2014/main" id="{10BE108C-A670-4C14-AA68-D5FF7230F319}"/>
                </a:ext>
              </a:extLst>
            </p:cNvPr>
            <p:cNvSpPr>
              <a:spLocks/>
            </p:cNvSpPr>
            <p:nvPr/>
          </p:nvSpPr>
          <p:spPr bwMode="gray">
            <a:xfrm>
              <a:off x="1594" y="2270"/>
              <a:ext cx="795" cy="930"/>
            </a:xfrm>
            <a:custGeom>
              <a:avLst/>
              <a:gdLst/>
              <a:ahLst/>
              <a:cxnLst>
                <a:cxn ang="0">
                  <a:pos x="20" y="800"/>
                </a:cxn>
                <a:cxn ang="0">
                  <a:pos x="61" y="817"/>
                </a:cxn>
                <a:cxn ang="0">
                  <a:pos x="99" y="847"/>
                </a:cxn>
                <a:cxn ang="0">
                  <a:pos x="151" y="830"/>
                </a:cxn>
                <a:cxn ang="0">
                  <a:pos x="230" y="858"/>
                </a:cxn>
                <a:cxn ang="0">
                  <a:pos x="248" y="831"/>
                </a:cxn>
                <a:cxn ang="0">
                  <a:pos x="282" y="817"/>
                </a:cxn>
                <a:cxn ang="0">
                  <a:pos x="318" y="812"/>
                </a:cxn>
                <a:cxn ang="0">
                  <a:pos x="347" y="824"/>
                </a:cxn>
                <a:cxn ang="0">
                  <a:pos x="335" y="788"/>
                </a:cxn>
                <a:cxn ang="0">
                  <a:pos x="322" y="658"/>
                </a:cxn>
                <a:cxn ang="0">
                  <a:pos x="319" y="622"/>
                </a:cxn>
                <a:cxn ang="0">
                  <a:pos x="466" y="488"/>
                </a:cxn>
                <a:cxn ang="0">
                  <a:pos x="564" y="442"/>
                </a:cxn>
                <a:cxn ang="0">
                  <a:pos x="650" y="433"/>
                </a:cxn>
                <a:cxn ang="0">
                  <a:pos x="661" y="399"/>
                </a:cxn>
                <a:cxn ang="0">
                  <a:pos x="694" y="348"/>
                </a:cxn>
                <a:cxn ang="0">
                  <a:pos x="717" y="272"/>
                </a:cxn>
                <a:cxn ang="0">
                  <a:pos x="706" y="237"/>
                </a:cxn>
                <a:cxn ang="0">
                  <a:pos x="687" y="214"/>
                </a:cxn>
                <a:cxn ang="0">
                  <a:pos x="641" y="209"/>
                </a:cxn>
                <a:cxn ang="0">
                  <a:pos x="634" y="195"/>
                </a:cxn>
                <a:cxn ang="0">
                  <a:pos x="600" y="225"/>
                </a:cxn>
                <a:cxn ang="0">
                  <a:pos x="549" y="208"/>
                </a:cxn>
                <a:cxn ang="0">
                  <a:pos x="536" y="159"/>
                </a:cxn>
                <a:cxn ang="0">
                  <a:pos x="518" y="121"/>
                </a:cxn>
                <a:cxn ang="0">
                  <a:pos x="501" y="71"/>
                </a:cxn>
                <a:cxn ang="0">
                  <a:pos x="458" y="40"/>
                </a:cxn>
                <a:cxn ang="0">
                  <a:pos x="420" y="51"/>
                </a:cxn>
                <a:cxn ang="0">
                  <a:pos x="373" y="16"/>
                </a:cxn>
                <a:cxn ang="0">
                  <a:pos x="368" y="27"/>
                </a:cxn>
                <a:cxn ang="0">
                  <a:pos x="342" y="19"/>
                </a:cxn>
                <a:cxn ang="0">
                  <a:pos x="334" y="43"/>
                </a:cxn>
                <a:cxn ang="0">
                  <a:pos x="320" y="79"/>
                </a:cxn>
                <a:cxn ang="0">
                  <a:pos x="308" y="108"/>
                </a:cxn>
                <a:cxn ang="0">
                  <a:pos x="325" y="155"/>
                </a:cxn>
                <a:cxn ang="0">
                  <a:pos x="348" y="208"/>
                </a:cxn>
                <a:cxn ang="0">
                  <a:pos x="361" y="232"/>
                </a:cxn>
                <a:cxn ang="0">
                  <a:pos x="393" y="256"/>
                </a:cxn>
                <a:cxn ang="0">
                  <a:pos x="393" y="285"/>
                </a:cxn>
                <a:cxn ang="0">
                  <a:pos x="418" y="303"/>
                </a:cxn>
                <a:cxn ang="0">
                  <a:pos x="394" y="345"/>
                </a:cxn>
                <a:cxn ang="0">
                  <a:pos x="373" y="364"/>
                </a:cxn>
                <a:cxn ang="0">
                  <a:pos x="328" y="405"/>
                </a:cxn>
                <a:cxn ang="0">
                  <a:pos x="253" y="427"/>
                </a:cxn>
                <a:cxn ang="0">
                  <a:pos x="198" y="492"/>
                </a:cxn>
                <a:cxn ang="0">
                  <a:pos x="130" y="509"/>
                </a:cxn>
                <a:cxn ang="0">
                  <a:pos x="96" y="496"/>
                </a:cxn>
                <a:cxn ang="0">
                  <a:pos x="62" y="508"/>
                </a:cxn>
                <a:cxn ang="0">
                  <a:pos x="37" y="520"/>
                </a:cxn>
                <a:cxn ang="0">
                  <a:pos x="14" y="572"/>
                </a:cxn>
                <a:cxn ang="0">
                  <a:pos x="68" y="612"/>
                </a:cxn>
                <a:cxn ang="0">
                  <a:pos x="64" y="651"/>
                </a:cxn>
                <a:cxn ang="0">
                  <a:pos x="77" y="669"/>
                </a:cxn>
                <a:cxn ang="0">
                  <a:pos x="53" y="693"/>
                </a:cxn>
                <a:cxn ang="0">
                  <a:pos x="101" y="713"/>
                </a:cxn>
                <a:cxn ang="0">
                  <a:pos x="76" y="743"/>
                </a:cxn>
                <a:cxn ang="0">
                  <a:pos x="57" y="760"/>
                </a:cxn>
                <a:cxn ang="0">
                  <a:pos x="26" y="768"/>
                </a:cxn>
                <a:cxn ang="0">
                  <a:pos x="25" y="777"/>
                </a:cxn>
              </a:cxnLst>
              <a:rect l="0" t="0" r="r" b="b"/>
              <a:pathLst>
                <a:path w="737" h="861">
                  <a:moveTo>
                    <a:pt x="25" y="777"/>
                  </a:moveTo>
                  <a:cubicBezTo>
                    <a:pt x="20" y="781"/>
                    <a:pt x="20" y="800"/>
                    <a:pt x="20" y="800"/>
                  </a:cubicBezTo>
                  <a:cubicBezTo>
                    <a:pt x="20" y="800"/>
                    <a:pt x="41" y="808"/>
                    <a:pt x="43" y="805"/>
                  </a:cubicBezTo>
                  <a:cubicBezTo>
                    <a:pt x="47" y="818"/>
                    <a:pt x="61" y="817"/>
                    <a:pt x="61" y="817"/>
                  </a:cubicBezTo>
                  <a:cubicBezTo>
                    <a:pt x="79" y="848"/>
                    <a:pt x="79" y="848"/>
                    <a:pt x="79" y="848"/>
                  </a:cubicBezTo>
                  <a:cubicBezTo>
                    <a:pt x="99" y="847"/>
                    <a:pt x="99" y="847"/>
                    <a:pt x="99" y="847"/>
                  </a:cubicBezTo>
                  <a:cubicBezTo>
                    <a:pt x="119" y="828"/>
                    <a:pt x="119" y="828"/>
                    <a:pt x="119" y="828"/>
                  </a:cubicBezTo>
                  <a:cubicBezTo>
                    <a:pt x="151" y="830"/>
                    <a:pt x="151" y="830"/>
                    <a:pt x="151" y="830"/>
                  </a:cubicBezTo>
                  <a:cubicBezTo>
                    <a:pt x="151" y="830"/>
                    <a:pt x="194" y="861"/>
                    <a:pt x="205" y="857"/>
                  </a:cubicBezTo>
                  <a:cubicBezTo>
                    <a:pt x="216" y="853"/>
                    <a:pt x="230" y="858"/>
                    <a:pt x="230" y="858"/>
                  </a:cubicBezTo>
                  <a:cubicBezTo>
                    <a:pt x="234" y="844"/>
                    <a:pt x="234" y="844"/>
                    <a:pt x="234" y="844"/>
                  </a:cubicBezTo>
                  <a:cubicBezTo>
                    <a:pt x="248" y="831"/>
                    <a:pt x="248" y="831"/>
                    <a:pt x="248" y="831"/>
                  </a:cubicBezTo>
                  <a:cubicBezTo>
                    <a:pt x="265" y="830"/>
                    <a:pt x="265" y="830"/>
                    <a:pt x="265" y="830"/>
                  </a:cubicBezTo>
                  <a:cubicBezTo>
                    <a:pt x="282" y="817"/>
                    <a:pt x="282" y="817"/>
                    <a:pt x="282" y="817"/>
                  </a:cubicBezTo>
                  <a:cubicBezTo>
                    <a:pt x="313" y="812"/>
                    <a:pt x="313" y="812"/>
                    <a:pt x="313" y="812"/>
                  </a:cubicBezTo>
                  <a:cubicBezTo>
                    <a:pt x="318" y="812"/>
                    <a:pt x="318" y="812"/>
                    <a:pt x="318" y="812"/>
                  </a:cubicBezTo>
                  <a:cubicBezTo>
                    <a:pt x="328" y="830"/>
                    <a:pt x="328" y="830"/>
                    <a:pt x="328" y="830"/>
                  </a:cubicBezTo>
                  <a:cubicBezTo>
                    <a:pt x="347" y="824"/>
                    <a:pt x="347" y="824"/>
                    <a:pt x="347" y="824"/>
                  </a:cubicBezTo>
                  <a:cubicBezTo>
                    <a:pt x="352" y="815"/>
                    <a:pt x="340" y="807"/>
                    <a:pt x="340" y="807"/>
                  </a:cubicBezTo>
                  <a:cubicBezTo>
                    <a:pt x="335" y="788"/>
                    <a:pt x="335" y="788"/>
                    <a:pt x="335" y="788"/>
                  </a:cubicBezTo>
                  <a:cubicBezTo>
                    <a:pt x="318" y="785"/>
                    <a:pt x="318" y="785"/>
                    <a:pt x="318" y="785"/>
                  </a:cubicBezTo>
                  <a:cubicBezTo>
                    <a:pt x="322" y="658"/>
                    <a:pt x="322" y="658"/>
                    <a:pt x="322" y="658"/>
                  </a:cubicBezTo>
                  <a:cubicBezTo>
                    <a:pt x="312" y="643"/>
                    <a:pt x="312" y="643"/>
                    <a:pt x="312" y="643"/>
                  </a:cubicBezTo>
                  <a:cubicBezTo>
                    <a:pt x="312" y="643"/>
                    <a:pt x="319" y="627"/>
                    <a:pt x="319" y="622"/>
                  </a:cubicBezTo>
                  <a:cubicBezTo>
                    <a:pt x="380" y="492"/>
                    <a:pt x="416" y="533"/>
                    <a:pt x="416" y="533"/>
                  </a:cubicBezTo>
                  <a:cubicBezTo>
                    <a:pt x="416" y="533"/>
                    <a:pt x="445" y="505"/>
                    <a:pt x="466" y="488"/>
                  </a:cubicBezTo>
                  <a:cubicBezTo>
                    <a:pt x="487" y="471"/>
                    <a:pt x="490" y="472"/>
                    <a:pt x="496" y="458"/>
                  </a:cubicBezTo>
                  <a:cubicBezTo>
                    <a:pt x="559" y="418"/>
                    <a:pt x="561" y="439"/>
                    <a:pt x="564" y="442"/>
                  </a:cubicBezTo>
                  <a:cubicBezTo>
                    <a:pt x="546" y="458"/>
                    <a:pt x="582" y="469"/>
                    <a:pt x="592" y="473"/>
                  </a:cubicBezTo>
                  <a:cubicBezTo>
                    <a:pt x="650" y="433"/>
                    <a:pt x="650" y="433"/>
                    <a:pt x="650" y="433"/>
                  </a:cubicBezTo>
                  <a:cubicBezTo>
                    <a:pt x="646" y="423"/>
                    <a:pt x="646" y="423"/>
                    <a:pt x="646" y="423"/>
                  </a:cubicBezTo>
                  <a:cubicBezTo>
                    <a:pt x="661" y="399"/>
                    <a:pt x="661" y="399"/>
                    <a:pt x="661" y="399"/>
                  </a:cubicBezTo>
                  <a:cubicBezTo>
                    <a:pt x="686" y="405"/>
                    <a:pt x="686" y="405"/>
                    <a:pt x="686" y="405"/>
                  </a:cubicBezTo>
                  <a:cubicBezTo>
                    <a:pt x="694" y="348"/>
                    <a:pt x="694" y="348"/>
                    <a:pt x="694" y="348"/>
                  </a:cubicBezTo>
                  <a:cubicBezTo>
                    <a:pt x="737" y="304"/>
                    <a:pt x="737" y="304"/>
                    <a:pt x="737" y="304"/>
                  </a:cubicBezTo>
                  <a:cubicBezTo>
                    <a:pt x="717" y="272"/>
                    <a:pt x="717" y="272"/>
                    <a:pt x="717" y="272"/>
                  </a:cubicBezTo>
                  <a:cubicBezTo>
                    <a:pt x="706" y="276"/>
                    <a:pt x="706" y="276"/>
                    <a:pt x="706" y="276"/>
                  </a:cubicBezTo>
                  <a:cubicBezTo>
                    <a:pt x="706" y="237"/>
                    <a:pt x="706" y="237"/>
                    <a:pt x="706" y="237"/>
                  </a:cubicBezTo>
                  <a:cubicBezTo>
                    <a:pt x="696" y="236"/>
                    <a:pt x="696" y="236"/>
                    <a:pt x="696" y="236"/>
                  </a:cubicBezTo>
                  <a:cubicBezTo>
                    <a:pt x="687" y="214"/>
                    <a:pt x="687" y="214"/>
                    <a:pt x="687" y="214"/>
                  </a:cubicBezTo>
                  <a:cubicBezTo>
                    <a:pt x="649" y="197"/>
                    <a:pt x="649" y="197"/>
                    <a:pt x="649" y="197"/>
                  </a:cubicBezTo>
                  <a:cubicBezTo>
                    <a:pt x="641" y="209"/>
                    <a:pt x="641" y="209"/>
                    <a:pt x="641" y="209"/>
                  </a:cubicBezTo>
                  <a:cubicBezTo>
                    <a:pt x="634" y="209"/>
                    <a:pt x="634" y="209"/>
                    <a:pt x="634" y="209"/>
                  </a:cubicBezTo>
                  <a:cubicBezTo>
                    <a:pt x="634" y="195"/>
                    <a:pt x="634" y="195"/>
                    <a:pt x="634" y="195"/>
                  </a:cubicBezTo>
                  <a:cubicBezTo>
                    <a:pt x="620" y="195"/>
                    <a:pt x="620" y="195"/>
                    <a:pt x="620" y="195"/>
                  </a:cubicBezTo>
                  <a:cubicBezTo>
                    <a:pt x="600" y="225"/>
                    <a:pt x="600" y="225"/>
                    <a:pt x="600" y="225"/>
                  </a:cubicBezTo>
                  <a:cubicBezTo>
                    <a:pt x="568" y="197"/>
                    <a:pt x="568" y="197"/>
                    <a:pt x="568" y="197"/>
                  </a:cubicBezTo>
                  <a:cubicBezTo>
                    <a:pt x="549" y="208"/>
                    <a:pt x="549" y="208"/>
                    <a:pt x="549" y="208"/>
                  </a:cubicBezTo>
                  <a:cubicBezTo>
                    <a:pt x="556" y="177"/>
                    <a:pt x="556" y="177"/>
                    <a:pt x="556" y="177"/>
                  </a:cubicBezTo>
                  <a:cubicBezTo>
                    <a:pt x="536" y="159"/>
                    <a:pt x="536" y="159"/>
                    <a:pt x="536" y="159"/>
                  </a:cubicBezTo>
                  <a:cubicBezTo>
                    <a:pt x="532" y="128"/>
                    <a:pt x="532" y="128"/>
                    <a:pt x="532" y="128"/>
                  </a:cubicBezTo>
                  <a:cubicBezTo>
                    <a:pt x="518" y="121"/>
                    <a:pt x="518" y="121"/>
                    <a:pt x="518" y="121"/>
                  </a:cubicBezTo>
                  <a:cubicBezTo>
                    <a:pt x="505" y="69"/>
                    <a:pt x="505" y="69"/>
                    <a:pt x="505" y="69"/>
                  </a:cubicBezTo>
                  <a:cubicBezTo>
                    <a:pt x="501" y="71"/>
                    <a:pt x="501" y="71"/>
                    <a:pt x="501" y="71"/>
                  </a:cubicBezTo>
                  <a:cubicBezTo>
                    <a:pt x="480" y="45"/>
                    <a:pt x="480" y="45"/>
                    <a:pt x="480" y="45"/>
                  </a:cubicBezTo>
                  <a:cubicBezTo>
                    <a:pt x="458" y="40"/>
                    <a:pt x="458" y="40"/>
                    <a:pt x="458" y="40"/>
                  </a:cubicBezTo>
                  <a:cubicBezTo>
                    <a:pt x="458" y="40"/>
                    <a:pt x="448" y="16"/>
                    <a:pt x="444" y="43"/>
                  </a:cubicBezTo>
                  <a:cubicBezTo>
                    <a:pt x="420" y="51"/>
                    <a:pt x="420" y="51"/>
                    <a:pt x="420" y="51"/>
                  </a:cubicBezTo>
                  <a:cubicBezTo>
                    <a:pt x="402" y="0"/>
                    <a:pt x="402" y="0"/>
                    <a:pt x="402" y="0"/>
                  </a:cubicBezTo>
                  <a:cubicBezTo>
                    <a:pt x="402" y="0"/>
                    <a:pt x="384" y="7"/>
                    <a:pt x="373" y="16"/>
                  </a:cubicBezTo>
                  <a:cubicBezTo>
                    <a:pt x="371" y="18"/>
                    <a:pt x="369" y="19"/>
                    <a:pt x="368" y="19"/>
                  </a:cubicBezTo>
                  <a:cubicBezTo>
                    <a:pt x="368" y="27"/>
                    <a:pt x="368" y="27"/>
                    <a:pt x="368" y="27"/>
                  </a:cubicBezTo>
                  <a:cubicBezTo>
                    <a:pt x="350" y="32"/>
                    <a:pt x="350" y="32"/>
                    <a:pt x="350" y="32"/>
                  </a:cubicBezTo>
                  <a:cubicBezTo>
                    <a:pt x="342" y="19"/>
                    <a:pt x="342" y="19"/>
                    <a:pt x="342" y="19"/>
                  </a:cubicBezTo>
                  <a:cubicBezTo>
                    <a:pt x="333" y="23"/>
                    <a:pt x="333" y="23"/>
                    <a:pt x="333" y="23"/>
                  </a:cubicBezTo>
                  <a:cubicBezTo>
                    <a:pt x="334" y="43"/>
                    <a:pt x="334" y="43"/>
                    <a:pt x="334" y="43"/>
                  </a:cubicBezTo>
                  <a:cubicBezTo>
                    <a:pt x="326" y="52"/>
                    <a:pt x="326" y="52"/>
                    <a:pt x="326" y="52"/>
                  </a:cubicBezTo>
                  <a:cubicBezTo>
                    <a:pt x="320" y="79"/>
                    <a:pt x="320" y="79"/>
                    <a:pt x="320" y="79"/>
                  </a:cubicBezTo>
                  <a:cubicBezTo>
                    <a:pt x="308" y="99"/>
                    <a:pt x="308" y="99"/>
                    <a:pt x="308" y="99"/>
                  </a:cubicBezTo>
                  <a:cubicBezTo>
                    <a:pt x="308" y="108"/>
                    <a:pt x="308" y="108"/>
                    <a:pt x="308" y="108"/>
                  </a:cubicBezTo>
                  <a:cubicBezTo>
                    <a:pt x="329" y="123"/>
                    <a:pt x="329" y="123"/>
                    <a:pt x="329" y="123"/>
                  </a:cubicBezTo>
                  <a:cubicBezTo>
                    <a:pt x="325" y="155"/>
                    <a:pt x="325" y="155"/>
                    <a:pt x="325" y="155"/>
                  </a:cubicBezTo>
                  <a:cubicBezTo>
                    <a:pt x="346" y="168"/>
                    <a:pt x="346" y="168"/>
                    <a:pt x="346" y="168"/>
                  </a:cubicBezTo>
                  <a:cubicBezTo>
                    <a:pt x="348" y="208"/>
                    <a:pt x="348" y="208"/>
                    <a:pt x="348" y="208"/>
                  </a:cubicBezTo>
                  <a:cubicBezTo>
                    <a:pt x="338" y="224"/>
                    <a:pt x="338" y="224"/>
                    <a:pt x="338" y="224"/>
                  </a:cubicBezTo>
                  <a:cubicBezTo>
                    <a:pt x="361" y="232"/>
                    <a:pt x="361" y="232"/>
                    <a:pt x="361" y="232"/>
                  </a:cubicBezTo>
                  <a:cubicBezTo>
                    <a:pt x="357" y="244"/>
                    <a:pt x="357" y="244"/>
                    <a:pt x="357" y="244"/>
                  </a:cubicBezTo>
                  <a:cubicBezTo>
                    <a:pt x="357" y="244"/>
                    <a:pt x="398" y="251"/>
                    <a:pt x="393" y="256"/>
                  </a:cubicBezTo>
                  <a:cubicBezTo>
                    <a:pt x="388" y="261"/>
                    <a:pt x="373" y="279"/>
                    <a:pt x="373" y="279"/>
                  </a:cubicBezTo>
                  <a:cubicBezTo>
                    <a:pt x="393" y="285"/>
                    <a:pt x="393" y="285"/>
                    <a:pt x="393" y="285"/>
                  </a:cubicBezTo>
                  <a:cubicBezTo>
                    <a:pt x="405" y="295"/>
                    <a:pt x="405" y="295"/>
                    <a:pt x="405" y="295"/>
                  </a:cubicBezTo>
                  <a:cubicBezTo>
                    <a:pt x="418" y="303"/>
                    <a:pt x="418" y="303"/>
                    <a:pt x="418" y="303"/>
                  </a:cubicBezTo>
                  <a:cubicBezTo>
                    <a:pt x="397" y="328"/>
                    <a:pt x="397" y="328"/>
                    <a:pt x="397" y="328"/>
                  </a:cubicBezTo>
                  <a:cubicBezTo>
                    <a:pt x="394" y="345"/>
                    <a:pt x="394" y="345"/>
                    <a:pt x="394" y="345"/>
                  </a:cubicBezTo>
                  <a:cubicBezTo>
                    <a:pt x="373" y="347"/>
                    <a:pt x="373" y="347"/>
                    <a:pt x="373" y="347"/>
                  </a:cubicBezTo>
                  <a:cubicBezTo>
                    <a:pt x="373" y="364"/>
                    <a:pt x="373" y="364"/>
                    <a:pt x="373" y="364"/>
                  </a:cubicBezTo>
                  <a:cubicBezTo>
                    <a:pt x="329" y="365"/>
                    <a:pt x="329" y="365"/>
                    <a:pt x="329" y="365"/>
                  </a:cubicBezTo>
                  <a:cubicBezTo>
                    <a:pt x="328" y="405"/>
                    <a:pt x="328" y="405"/>
                    <a:pt x="328" y="405"/>
                  </a:cubicBezTo>
                  <a:cubicBezTo>
                    <a:pt x="328" y="405"/>
                    <a:pt x="306" y="399"/>
                    <a:pt x="297" y="417"/>
                  </a:cubicBezTo>
                  <a:cubicBezTo>
                    <a:pt x="276" y="427"/>
                    <a:pt x="253" y="427"/>
                    <a:pt x="253" y="427"/>
                  </a:cubicBezTo>
                  <a:cubicBezTo>
                    <a:pt x="253" y="427"/>
                    <a:pt x="202" y="425"/>
                    <a:pt x="241" y="464"/>
                  </a:cubicBezTo>
                  <a:cubicBezTo>
                    <a:pt x="232" y="469"/>
                    <a:pt x="232" y="497"/>
                    <a:pt x="198" y="492"/>
                  </a:cubicBezTo>
                  <a:cubicBezTo>
                    <a:pt x="165" y="487"/>
                    <a:pt x="173" y="499"/>
                    <a:pt x="173" y="499"/>
                  </a:cubicBezTo>
                  <a:cubicBezTo>
                    <a:pt x="173" y="499"/>
                    <a:pt x="130" y="476"/>
                    <a:pt x="130" y="509"/>
                  </a:cubicBezTo>
                  <a:cubicBezTo>
                    <a:pt x="130" y="509"/>
                    <a:pt x="108" y="504"/>
                    <a:pt x="102" y="505"/>
                  </a:cubicBezTo>
                  <a:cubicBezTo>
                    <a:pt x="97" y="507"/>
                    <a:pt x="96" y="496"/>
                    <a:pt x="96" y="496"/>
                  </a:cubicBezTo>
                  <a:cubicBezTo>
                    <a:pt x="68" y="495"/>
                    <a:pt x="68" y="495"/>
                    <a:pt x="68" y="495"/>
                  </a:cubicBezTo>
                  <a:cubicBezTo>
                    <a:pt x="62" y="508"/>
                    <a:pt x="62" y="508"/>
                    <a:pt x="62" y="508"/>
                  </a:cubicBezTo>
                  <a:cubicBezTo>
                    <a:pt x="49" y="487"/>
                    <a:pt x="49" y="487"/>
                    <a:pt x="49" y="487"/>
                  </a:cubicBezTo>
                  <a:cubicBezTo>
                    <a:pt x="49" y="487"/>
                    <a:pt x="37" y="495"/>
                    <a:pt x="37" y="520"/>
                  </a:cubicBezTo>
                  <a:cubicBezTo>
                    <a:pt x="34" y="525"/>
                    <a:pt x="0" y="531"/>
                    <a:pt x="18" y="553"/>
                  </a:cubicBezTo>
                  <a:cubicBezTo>
                    <a:pt x="12" y="553"/>
                    <a:pt x="14" y="572"/>
                    <a:pt x="14" y="572"/>
                  </a:cubicBezTo>
                  <a:cubicBezTo>
                    <a:pt x="64" y="591"/>
                    <a:pt x="64" y="591"/>
                    <a:pt x="64" y="591"/>
                  </a:cubicBezTo>
                  <a:cubicBezTo>
                    <a:pt x="64" y="591"/>
                    <a:pt x="73" y="607"/>
                    <a:pt x="68" y="612"/>
                  </a:cubicBezTo>
                  <a:cubicBezTo>
                    <a:pt x="62" y="617"/>
                    <a:pt x="78" y="644"/>
                    <a:pt x="78" y="644"/>
                  </a:cubicBezTo>
                  <a:cubicBezTo>
                    <a:pt x="64" y="651"/>
                    <a:pt x="64" y="651"/>
                    <a:pt x="64" y="651"/>
                  </a:cubicBezTo>
                  <a:cubicBezTo>
                    <a:pt x="80" y="655"/>
                    <a:pt x="80" y="655"/>
                    <a:pt x="80" y="655"/>
                  </a:cubicBezTo>
                  <a:cubicBezTo>
                    <a:pt x="80" y="655"/>
                    <a:pt x="77" y="665"/>
                    <a:pt x="77" y="669"/>
                  </a:cubicBezTo>
                  <a:cubicBezTo>
                    <a:pt x="77" y="673"/>
                    <a:pt x="54" y="679"/>
                    <a:pt x="54" y="679"/>
                  </a:cubicBezTo>
                  <a:cubicBezTo>
                    <a:pt x="53" y="693"/>
                    <a:pt x="53" y="693"/>
                    <a:pt x="53" y="693"/>
                  </a:cubicBezTo>
                  <a:cubicBezTo>
                    <a:pt x="62" y="697"/>
                    <a:pt x="62" y="697"/>
                    <a:pt x="62" y="697"/>
                  </a:cubicBezTo>
                  <a:cubicBezTo>
                    <a:pt x="62" y="697"/>
                    <a:pt x="48" y="717"/>
                    <a:pt x="101" y="713"/>
                  </a:cubicBezTo>
                  <a:cubicBezTo>
                    <a:pt x="122" y="735"/>
                    <a:pt x="120" y="741"/>
                    <a:pt x="120" y="741"/>
                  </a:cubicBezTo>
                  <a:cubicBezTo>
                    <a:pt x="76" y="743"/>
                    <a:pt x="76" y="743"/>
                    <a:pt x="76" y="743"/>
                  </a:cubicBezTo>
                  <a:cubicBezTo>
                    <a:pt x="78" y="755"/>
                    <a:pt x="78" y="755"/>
                    <a:pt x="78" y="755"/>
                  </a:cubicBezTo>
                  <a:cubicBezTo>
                    <a:pt x="57" y="760"/>
                    <a:pt x="57" y="760"/>
                    <a:pt x="57" y="760"/>
                  </a:cubicBezTo>
                  <a:cubicBezTo>
                    <a:pt x="50" y="769"/>
                    <a:pt x="50" y="769"/>
                    <a:pt x="50" y="769"/>
                  </a:cubicBezTo>
                  <a:cubicBezTo>
                    <a:pt x="26" y="768"/>
                    <a:pt x="26" y="768"/>
                    <a:pt x="26" y="768"/>
                  </a:cubicBezTo>
                  <a:cubicBezTo>
                    <a:pt x="25" y="771"/>
                    <a:pt x="25" y="771"/>
                    <a:pt x="25" y="771"/>
                  </a:cubicBezTo>
                  <a:cubicBezTo>
                    <a:pt x="26" y="774"/>
                    <a:pt x="26" y="776"/>
                    <a:pt x="25" y="7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70" name="Midi-Pyrénnées" descr="© INSCALE GmbH, 05.05.2010&#10;http://www.presentationload.com/">
              <a:extLst>
                <a:ext uri="{FF2B5EF4-FFF2-40B4-BE49-F238E27FC236}">
                  <a16:creationId xmlns:a16="http://schemas.microsoft.com/office/drawing/2014/main" id="{3D26E254-44E1-4B89-B804-01F87A330B37}"/>
                </a:ext>
              </a:extLst>
            </p:cNvPr>
            <p:cNvSpPr>
              <a:spLocks/>
            </p:cNvSpPr>
            <p:nvPr/>
          </p:nvSpPr>
          <p:spPr bwMode="gray">
            <a:xfrm>
              <a:off x="1092" y="2246"/>
              <a:ext cx="953" cy="857"/>
            </a:xfrm>
            <a:custGeom>
              <a:avLst/>
              <a:gdLst/>
              <a:ahLst/>
              <a:cxnLst>
                <a:cxn ang="0">
                  <a:pos x="839" y="302"/>
                </a:cxn>
                <a:cxn ang="0">
                  <a:pos x="827" y="255"/>
                </a:cxn>
                <a:cxn ang="0">
                  <a:pos x="812" y="191"/>
                </a:cxn>
                <a:cxn ang="0">
                  <a:pos x="774" y="131"/>
                </a:cxn>
                <a:cxn ang="0">
                  <a:pos x="763" y="86"/>
                </a:cxn>
                <a:cxn ang="0">
                  <a:pos x="727" y="55"/>
                </a:cxn>
                <a:cxn ang="0">
                  <a:pos x="690" y="56"/>
                </a:cxn>
                <a:cxn ang="0">
                  <a:pos x="679" y="104"/>
                </a:cxn>
                <a:cxn ang="0">
                  <a:pos x="628" y="128"/>
                </a:cxn>
                <a:cxn ang="0">
                  <a:pos x="599" y="136"/>
                </a:cxn>
                <a:cxn ang="0">
                  <a:pos x="583" y="108"/>
                </a:cxn>
                <a:cxn ang="0">
                  <a:pos x="571" y="17"/>
                </a:cxn>
                <a:cxn ang="0">
                  <a:pos x="535" y="27"/>
                </a:cxn>
                <a:cxn ang="0">
                  <a:pos x="467" y="4"/>
                </a:cxn>
                <a:cxn ang="0">
                  <a:pos x="420" y="8"/>
                </a:cxn>
                <a:cxn ang="0">
                  <a:pos x="424" y="54"/>
                </a:cxn>
                <a:cxn ang="0">
                  <a:pos x="390" y="75"/>
                </a:cxn>
                <a:cxn ang="0">
                  <a:pos x="363" y="118"/>
                </a:cxn>
                <a:cxn ang="0">
                  <a:pos x="327" y="190"/>
                </a:cxn>
                <a:cxn ang="0">
                  <a:pos x="291" y="234"/>
                </a:cxn>
                <a:cxn ang="0">
                  <a:pos x="296" y="287"/>
                </a:cxn>
                <a:cxn ang="0">
                  <a:pos x="227" y="306"/>
                </a:cxn>
                <a:cxn ang="0">
                  <a:pos x="140" y="319"/>
                </a:cxn>
                <a:cxn ang="0">
                  <a:pos x="104" y="343"/>
                </a:cxn>
                <a:cxn ang="0">
                  <a:pos x="83" y="335"/>
                </a:cxn>
                <a:cxn ang="0">
                  <a:pos x="42" y="390"/>
                </a:cxn>
                <a:cxn ang="0">
                  <a:pos x="30" y="423"/>
                </a:cxn>
                <a:cxn ang="0">
                  <a:pos x="34" y="458"/>
                </a:cxn>
                <a:cxn ang="0">
                  <a:pos x="72" y="498"/>
                </a:cxn>
                <a:cxn ang="0">
                  <a:pos x="90" y="538"/>
                </a:cxn>
                <a:cxn ang="0">
                  <a:pos x="67" y="578"/>
                </a:cxn>
                <a:cxn ang="0">
                  <a:pos x="38" y="614"/>
                </a:cxn>
                <a:cxn ang="0">
                  <a:pos x="0" y="699"/>
                </a:cxn>
                <a:cxn ang="0">
                  <a:pos x="53" y="712"/>
                </a:cxn>
                <a:cxn ang="0">
                  <a:pos x="129" y="735"/>
                </a:cxn>
                <a:cxn ang="0">
                  <a:pos x="245" y="753"/>
                </a:cxn>
                <a:cxn ang="0">
                  <a:pos x="321" y="721"/>
                </a:cxn>
                <a:cxn ang="0">
                  <a:pos x="467" y="782"/>
                </a:cxn>
                <a:cxn ang="0">
                  <a:pos x="492" y="791"/>
                </a:cxn>
                <a:cxn ang="0">
                  <a:pos x="544" y="778"/>
                </a:cxn>
                <a:cxn ang="0">
                  <a:pos x="567" y="736"/>
                </a:cxn>
                <a:cxn ang="0">
                  <a:pos x="520" y="702"/>
                </a:cxn>
                <a:cxn ang="0">
                  <a:pos x="530" y="674"/>
                </a:cxn>
                <a:cxn ang="0">
                  <a:pos x="530" y="614"/>
                </a:cxn>
                <a:cxn ang="0">
                  <a:pos x="503" y="543"/>
                </a:cxn>
                <a:cxn ang="0">
                  <a:pos x="534" y="518"/>
                </a:cxn>
                <a:cxn ang="0">
                  <a:pos x="596" y="532"/>
                </a:cxn>
                <a:cxn ang="0">
                  <a:pos x="707" y="487"/>
                </a:cxn>
                <a:cxn ang="0">
                  <a:pos x="794" y="428"/>
                </a:cxn>
                <a:cxn ang="0">
                  <a:pos x="839" y="370"/>
                </a:cxn>
                <a:cxn ang="0">
                  <a:pos x="884" y="326"/>
                </a:cxn>
              </a:cxnLst>
              <a:rect l="0" t="0" r="r" b="b"/>
              <a:pathLst>
                <a:path w="884" h="794">
                  <a:moveTo>
                    <a:pt x="871" y="318"/>
                  </a:moveTo>
                  <a:cubicBezTo>
                    <a:pt x="859" y="308"/>
                    <a:pt x="859" y="308"/>
                    <a:pt x="859" y="308"/>
                  </a:cubicBezTo>
                  <a:cubicBezTo>
                    <a:pt x="839" y="302"/>
                    <a:pt x="839" y="302"/>
                    <a:pt x="839" y="302"/>
                  </a:cubicBezTo>
                  <a:cubicBezTo>
                    <a:pt x="839" y="302"/>
                    <a:pt x="854" y="284"/>
                    <a:pt x="859" y="279"/>
                  </a:cubicBezTo>
                  <a:cubicBezTo>
                    <a:pt x="864" y="274"/>
                    <a:pt x="823" y="267"/>
                    <a:pt x="823" y="267"/>
                  </a:cubicBezTo>
                  <a:cubicBezTo>
                    <a:pt x="827" y="255"/>
                    <a:pt x="827" y="255"/>
                    <a:pt x="827" y="255"/>
                  </a:cubicBezTo>
                  <a:cubicBezTo>
                    <a:pt x="804" y="247"/>
                    <a:pt x="804" y="247"/>
                    <a:pt x="804" y="247"/>
                  </a:cubicBezTo>
                  <a:cubicBezTo>
                    <a:pt x="814" y="231"/>
                    <a:pt x="814" y="231"/>
                    <a:pt x="814" y="231"/>
                  </a:cubicBezTo>
                  <a:cubicBezTo>
                    <a:pt x="812" y="191"/>
                    <a:pt x="812" y="191"/>
                    <a:pt x="812" y="191"/>
                  </a:cubicBezTo>
                  <a:cubicBezTo>
                    <a:pt x="791" y="178"/>
                    <a:pt x="791" y="178"/>
                    <a:pt x="791" y="178"/>
                  </a:cubicBezTo>
                  <a:cubicBezTo>
                    <a:pt x="795" y="146"/>
                    <a:pt x="795" y="146"/>
                    <a:pt x="795" y="146"/>
                  </a:cubicBezTo>
                  <a:cubicBezTo>
                    <a:pt x="774" y="131"/>
                    <a:pt x="774" y="131"/>
                    <a:pt x="774" y="131"/>
                  </a:cubicBezTo>
                  <a:cubicBezTo>
                    <a:pt x="774" y="122"/>
                    <a:pt x="774" y="122"/>
                    <a:pt x="774" y="122"/>
                  </a:cubicBezTo>
                  <a:cubicBezTo>
                    <a:pt x="772" y="126"/>
                    <a:pt x="772" y="126"/>
                    <a:pt x="772" y="126"/>
                  </a:cubicBezTo>
                  <a:cubicBezTo>
                    <a:pt x="763" y="86"/>
                    <a:pt x="763" y="86"/>
                    <a:pt x="763" y="86"/>
                  </a:cubicBezTo>
                  <a:cubicBezTo>
                    <a:pt x="754" y="75"/>
                    <a:pt x="754" y="75"/>
                    <a:pt x="754" y="75"/>
                  </a:cubicBezTo>
                  <a:cubicBezTo>
                    <a:pt x="754" y="75"/>
                    <a:pt x="740" y="45"/>
                    <a:pt x="729" y="53"/>
                  </a:cubicBezTo>
                  <a:cubicBezTo>
                    <a:pt x="729" y="55"/>
                    <a:pt x="728" y="56"/>
                    <a:pt x="727" y="55"/>
                  </a:cubicBezTo>
                  <a:cubicBezTo>
                    <a:pt x="728" y="54"/>
                    <a:pt x="728" y="54"/>
                    <a:pt x="729" y="53"/>
                  </a:cubicBezTo>
                  <a:cubicBezTo>
                    <a:pt x="731" y="46"/>
                    <a:pt x="725" y="18"/>
                    <a:pt x="699" y="55"/>
                  </a:cubicBezTo>
                  <a:cubicBezTo>
                    <a:pt x="690" y="63"/>
                    <a:pt x="690" y="56"/>
                    <a:pt x="690" y="56"/>
                  </a:cubicBezTo>
                  <a:cubicBezTo>
                    <a:pt x="688" y="78"/>
                    <a:pt x="688" y="78"/>
                    <a:pt x="688" y="78"/>
                  </a:cubicBezTo>
                  <a:cubicBezTo>
                    <a:pt x="680" y="84"/>
                    <a:pt x="680" y="84"/>
                    <a:pt x="680" y="84"/>
                  </a:cubicBezTo>
                  <a:cubicBezTo>
                    <a:pt x="679" y="104"/>
                    <a:pt x="679" y="104"/>
                    <a:pt x="679" y="104"/>
                  </a:cubicBezTo>
                  <a:cubicBezTo>
                    <a:pt x="666" y="114"/>
                    <a:pt x="666" y="114"/>
                    <a:pt x="666" y="114"/>
                  </a:cubicBezTo>
                  <a:cubicBezTo>
                    <a:pt x="662" y="126"/>
                    <a:pt x="662" y="126"/>
                    <a:pt x="662" y="126"/>
                  </a:cubicBezTo>
                  <a:cubicBezTo>
                    <a:pt x="628" y="128"/>
                    <a:pt x="628" y="128"/>
                    <a:pt x="628" y="128"/>
                  </a:cubicBezTo>
                  <a:cubicBezTo>
                    <a:pt x="627" y="123"/>
                    <a:pt x="627" y="123"/>
                    <a:pt x="627" y="123"/>
                  </a:cubicBezTo>
                  <a:cubicBezTo>
                    <a:pt x="598" y="124"/>
                    <a:pt x="598" y="124"/>
                    <a:pt x="598" y="124"/>
                  </a:cubicBezTo>
                  <a:cubicBezTo>
                    <a:pt x="599" y="136"/>
                    <a:pt x="599" y="136"/>
                    <a:pt x="599" y="136"/>
                  </a:cubicBezTo>
                  <a:cubicBezTo>
                    <a:pt x="594" y="130"/>
                    <a:pt x="594" y="130"/>
                    <a:pt x="594" y="130"/>
                  </a:cubicBezTo>
                  <a:cubicBezTo>
                    <a:pt x="592" y="114"/>
                    <a:pt x="592" y="114"/>
                    <a:pt x="592" y="114"/>
                  </a:cubicBezTo>
                  <a:cubicBezTo>
                    <a:pt x="583" y="108"/>
                    <a:pt x="583" y="108"/>
                    <a:pt x="583" y="108"/>
                  </a:cubicBezTo>
                  <a:cubicBezTo>
                    <a:pt x="588" y="74"/>
                    <a:pt x="588" y="74"/>
                    <a:pt x="588" y="74"/>
                  </a:cubicBezTo>
                  <a:cubicBezTo>
                    <a:pt x="572" y="47"/>
                    <a:pt x="572" y="47"/>
                    <a:pt x="572" y="47"/>
                  </a:cubicBezTo>
                  <a:cubicBezTo>
                    <a:pt x="572" y="47"/>
                    <a:pt x="574" y="30"/>
                    <a:pt x="571" y="17"/>
                  </a:cubicBezTo>
                  <a:cubicBezTo>
                    <a:pt x="569" y="19"/>
                    <a:pt x="568" y="20"/>
                    <a:pt x="568" y="20"/>
                  </a:cubicBezTo>
                  <a:cubicBezTo>
                    <a:pt x="547" y="22"/>
                    <a:pt x="547" y="22"/>
                    <a:pt x="547" y="22"/>
                  </a:cubicBezTo>
                  <a:cubicBezTo>
                    <a:pt x="535" y="27"/>
                    <a:pt x="535" y="27"/>
                    <a:pt x="535" y="27"/>
                  </a:cubicBezTo>
                  <a:cubicBezTo>
                    <a:pt x="532" y="20"/>
                    <a:pt x="532" y="20"/>
                    <a:pt x="532" y="20"/>
                  </a:cubicBezTo>
                  <a:cubicBezTo>
                    <a:pt x="532" y="20"/>
                    <a:pt x="518" y="43"/>
                    <a:pt x="507" y="39"/>
                  </a:cubicBezTo>
                  <a:cubicBezTo>
                    <a:pt x="496" y="35"/>
                    <a:pt x="467" y="4"/>
                    <a:pt x="467" y="4"/>
                  </a:cubicBezTo>
                  <a:cubicBezTo>
                    <a:pt x="467" y="4"/>
                    <a:pt x="435" y="0"/>
                    <a:pt x="424" y="7"/>
                  </a:cubicBezTo>
                  <a:cubicBezTo>
                    <a:pt x="423" y="4"/>
                    <a:pt x="423" y="4"/>
                    <a:pt x="423" y="4"/>
                  </a:cubicBezTo>
                  <a:cubicBezTo>
                    <a:pt x="420" y="8"/>
                    <a:pt x="420" y="8"/>
                    <a:pt x="420" y="8"/>
                  </a:cubicBezTo>
                  <a:cubicBezTo>
                    <a:pt x="426" y="39"/>
                    <a:pt x="426" y="39"/>
                    <a:pt x="426" y="39"/>
                  </a:cubicBezTo>
                  <a:cubicBezTo>
                    <a:pt x="419" y="44"/>
                    <a:pt x="419" y="44"/>
                    <a:pt x="419" y="44"/>
                  </a:cubicBezTo>
                  <a:cubicBezTo>
                    <a:pt x="424" y="54"/>
                    <a:pt x="424" y="54"/>
                    <a:pt x="424" y="54"/>
                  </a:cubicBezTo>
                  <a:cubicBezTo>
                    <a:pt x="407" y="60"/>
                    <a:pt x="407" y="60"/>
                    <a:pt x="407" y="60"/>
                  </a:cubicBezTo>
                  <a:cubicBezTo>
                    <a:pt x="406" y="74"/>
                    <a:pt x="406" y="74"/>
                    <a:pt x="406" y="74"/>
                  </a:cubicBezTo>
                  <a:cubicBezTo>
                    <a:pt x="390" y="75"/>
                    <a:pt x="390" y="75"/>
                    <a:pt x="390" y="75"/>
                  </a:cubicBezTo>
                  <a:cubicBezTo>
                    <a:pt x="398" y="92"/>
                    <a:pt x="398" y="92"/>
                    <a:pt x="398" y="92"/>
                  </a:cubicBezTo>
                  <a:cubicBezTo>
                    <a:pt x="384" y="112"/>
                    <a:pt x="384" y="112"/>
                    <a:pt x="384" y="112"/>
                  </a:cubicBezTo>
                  <a:cubicBezTo>
                    <a:pt x="363" y="118"/>
                    <a:pt x="363" y="118"/>
                    <a:pt x="363" y="118"/>
                  </a:cubicBezTo>
                  <a:cubicBezTo>
                    <a:pt x="344" y="147"/>
                    <a:pt x="344" y="147"/>
                    <a:pt x="344" y="147"/>
                  </a:cubicBezTo>
                  <a:cubicBezTo>
                    <a:pt x="316" y="156"/>
                    <a:pt x="316" y="156"/>
                    <a:pt x="316" y="156"/>
                  </a:cubicBezTo>
                  <a:cubicBezTo>
                    <a:pt x="316" y="156"/>
                    <a:pt x="327" y="186"/>
                    <a:pt x="327" y="190"/>
                  </a:cubicBezTo>
                  <a:cubicBezTo>
                    <a:pt x="327" y="194"/>
                    <a:pt x="334" y="198"/>
                    <a:pt x="334" y="198"/>
                  </a:cubicBezTo>
                  <a:cubicBezTo>
                    <a:pt x="334" y="198"/>
                    <a:pt x="331" y="223"/>
                    <a:pt x="312" y="216"/>
                  </a:cubicBezTo>
                  <a:cubicBezTo>
                    <a:pt x="294" y="210"/>
                    <a:pt x="291" y="234"/>
                    <a:pt x="291" y="234"/>
                  </a:cubicBezTo>
                  <a:cubicBezTo>
                    <a:pt x="308" y="246"/>
                    <a:pt x="308" y="246"/>
                    <a:pt x="308" y="246"/>
                  </a:cubicBezTo>
                  <a:cubicBezTo>
                    <a:pt x="291" y="270"/>
                    <a:pt x="291" y="270"/>
                    <a:pt x="291" y="270"/>
                  </a:cubicBezTo>
                  <a:cubicBezTo>
                    <a:pt x="296" y="287"/>
                    <a:pt x="296" y="287"/>
                    <a:pt x="296" y="287"/>
                  </a:cubicBezTo>
                  <a:cubicBezTo>
                    <a:pt x="274" y="286"/>
                    <a:pt x="274" y="286"/>
                    <a:pt x="274" y="286"/>
                  </a:cubicBezTo>
                  <a:cubicBezTo>
                    <a:pt x="274" y="286"/>
                    <a:pt x="262" y="322"/>
                    <a:pt x="247" y="322"/>
                  </a:cubicBezTo>
                  <a:cubicBezTo>
                    <a:pt x="232" y="322"/>
                    <a:pt x="227" y="306"/>
                    <a:pt x="227" y="306"/>
                  </a:cubicBezTo>
                  <a:cubicBezTo>
                    <a:pt x="214" y="311"/>
                    <a:pt x="214" y="311"/>
                    <a:pt x="214" y="311"/>
                  </a:cubicBezTo>
                  <a:cubicBezTo>
                    <a:pt x="214" y="311"/>
                    <a:pt x="183" y="326"/>
                    <a:pt x="168" y="327"/>
                  </a:cubicBezTo>
                  <a:cubicBezTo>
                    <a:pt x="154" y="328"/>
                    <a:pt x="140" y="319"/>
                    <a:pt x="140" y="319"/>
                  </a:cubicBezTo>
                  <a:cubicBezTo>
                    <a:pt x="127" y="328"/>
                    <a:pt x="127" y="328"/>
                    <a:pt x="127" y="328"/>
                  </a:cubicBezTo>
                  <a:cubicBezTo>
                    <a:pt x="118" y="326"/>
                    <a:pt x="118" y="326"/>
                    <a:pt x="118" y="326"/>
                  </a:cubicBezTo>
                  <a:cubicBezTo>
                    <a:pt x="118" y="326"/>
                    <a:pt x="103" y="338"/>
                    <a:pt x="104" y="343"/>
                  </a:cubicBezTo>
                  <a:cubicBezTo>
                    <a:pt x="106" y="348"/>
                    <a:pt x="112" y="362"/>
                    <a:pt x="104" y="359"/>
                  </a:cubicBezTo>
                  <a:cubicBezTo>
                    <a:pt x="96" y="356"/>
                    <a:pt x="91" y="348"/>
                    <a:pt x="88" y="342"/>
                  </a:cubicBezTo>
                  <a:cubicBezTo>
                    <a:pt x="86" y="335"/>
                    <a:pt x="83" y="335"/>
                    <a:pt x="83" y="335"/>
                  </a:cubicBezTo>
                  <a:cubicBezTo>
                    <a:pt x="83" y="335"/>
                    <a:pt x="74" y="344"/>
                    <a:pt x="67" y="344"/>
                  </a:cubicBezTo>
                  <a:cubicBezTo>
                    <a:pt x="60" y="344"/>
                    <a:pt x="38" y="358"/>
                    <a:pt x="38" y="358"/>
                  </a:cubicBezTo>
                  <a:cubicBezTo>
                    <a:pt x="42" y="390"/>
                    <a:pt x="42" y="390"/>
                    <a:pt x="42" y="390"/>
                  </a:cubicBezTo>
                  <a:cubicBezTo>
                    <a:pt x="38" y="387"/>
                    <a:pt x="38" y="387"/>
                    <a:pt x="38" y="387"/>
                  </a:cubicBezTo>
                  <a:cubicBezTo>
                    <a:pt x="43" y="408"/>
                    <a:pt x="43" y="408"/>
                    <a:pt x="43" y="408"/>
                  </a:cubicBezTo>
                  <a:cubicBezTo>
                    <a:pt x="30" y="423"/>
                    <a:pt x="30" y="423"/>
                    <a:pt x="30" y="423"/>
                  </a:cubicBezTo>
                  <a:cubicBezTo>
                    <a:pt x="31" y="442"/>
                    <a:pt x="31" y="442"/>
                    <a:pt x="31" y="442"/>
                  </a:cubicBezTo>
                  <a:cubicBezTo>
                    <a:pt x="22" y="446"/>
                    <a:pt x="22" y="446"/>
                    <a:pt x="22" y="446"/>
                  </a:cubicBezTo>
                  <a:cubicBezTo>
                    <a:pt x="34" y="458"/>
                    <a:pt x="34" y="458"/>
                    <a:pt x="34" y="458"/>
                  </a:cubicBezTo>
                  <a:cubicBezTo>
                    <a:pt x="34" y="458"/>
                    <a:pt x="72" y="471"/>
                    <a:pt x="76" y="480"/>
                  </a:cubicBezTo>
                  <a:cubicBezTo>
                    <a:pt x="80" y="490"/>
                    <a:pt x="83" y="494"/>
                    <a:pt x="83" y="494"/>
                  </a:cubicBezTo>
                  <a:cubicBezTo>
                    <a:pt x="72" y="498"/>
                    <a:pt x="72" y="498"/>
                    <a:pt x="72" y="498"/>
                  </a:cubicBezTo>
                  <a:cubicBezTo>
                    <a:pt x="72" y="514"/>
                    <a:pt x="72" y="514"/>
                    <a:pt x="72" y="514"/>
                  </a:cubicBezTo>
                  <a:cubicBezTo>
                    <a:pt x="88" y="508"/>
                    <a:pt x="88" y="508"/>
                    <a:pt x="88" y="508"/>
                  </a:cubicBezTo>
                  <a:cubicBezTo>
                    <a:pt x="90" y="538"/>
                    <a:pt x="90" y="538"/>
                    <a:pt x="90" y="538"/>
                  </a:cubicBezTo>
                  <a:cubicBezTo>
                    <a:pt x="78" y="543"/>
                    <a:pt x="78" y="543"/>
                    <a:pt x="78" y="543"/>
                  </a:cubicBezTo>
                  <a:cubicBezTo>
                    <a:pt x="78" y="543"/>
                    <a:pt x="72" y="555"/>
                    <a:pt x="79" y="563"/>
                  </a:cubicBezTo>
                  <a:cubicBezTo>
                    <a:pt x="79" y="568"/>
                    <a:pt x="67" y="578"/>
                    <a:pt x="67" y="578"/>
                  </a:cubicBezTo>
                  <a:cubicBezTo>
                    <a:pt x="67" y="588"/>
                    <a:pt x="67" y="588"/>
                    <a:pt x="67" y="588"/>
                  </a:cubicBezTo>
                  <a:cubicBezTo>
                    <a:pt x="58" y="588"/>
                    <a:pt x="58" y="588"/>
                    <a:pt x="58" y="588"/>
                  </a:cubicBezTo>
                  <a:cubicBezTo>
                    <a:pt x="38" y="614"/>
                    <a:pt x="38" y="614"/>
                    <a:pt x="38" y="614"/>
                  </a:cubicBezTo>
                  <a:cubicBezTo>
                    <a:pt x="38" y="632"/>
                    <a:pt x="38" y="632"/>
                    <a:pt x="38" y="632"/>
                  </a:cubicBezTo>
                  <a:cubicBezTo>
                    <a:pt x="22" y="634"/>
                    <a:pt x="22" y="634"/>
                    <a:pt x="22" y="634"/>
                  </a:cubicBezTo>
                  <a:cubicBezTo>
                    <a:pt x="0" y="699"/>
                    <a:pt x="0" y="699"/>
                    <a:pt x="0" y="699"/>
                  </a:cubicBezTo>
                  <a:cubicBezTo>
                    <a:pt x="0" y="699"/>
                    <a:pt x="1" y="701"/>
                    <a:pt x="1" y="705"/>
                  </a:cubicBezTo>
                  <a:cubicBezTo>
                    <a:pt x="24" y="689"/>
                    <a:pt x="48" y="712"/>
                    <a:pt x="48" y="712"/>
                  </a:cubicBezTo>
                  <a:cubicBezTo>
                    <a:pt x="53" y="712"/>
                    <a:pt x="53" y="712"/>
                    <a:pt x="53" y="712"/>
                  </a:cubicBezTo>
                  <a:cubicBezTo>
                    <a:pt x="79" y="748"/>
                    <a:pt x="79" y="748"/>
                    <a:pt x="79" y="748"/>
                  </a:cubicBezTo>
                  <a:cubicBezTo>
                    <a:pt x="119" y="746"/>
                    <a:pt x="119" y="746"/>
                    <a:pt x="119" y="746"/>
                  </a:cubicBezTo>
                  <a:cubicBezTo>
                    <a:pt x="129" y="735"/>
                    <a:pt x="129" y="735"/>
                    <a:pt x="129" y="735"/>
                  </a:cubicBezTo>
                  <a:cubicBezTo>
                    <a:pt x="129" y="735"/>
                    <a:pt x="153" y="752"/>
                    <a:pt x="162" y="757"/>
                  </a:cubicBezTo>
                  <a:cubicBezTo>
                    <a:pt x="170" y="733"/>
                    <a:pt x="192" y="748"/>
                    <a:pt x="192" y="748"/>
                  </a:cubicBezTo>
                  <a:cubicBezTo>
                    <a:pt x="192" y="748"/>
                    <a:pt x="239" y="752"/>
                    <a:pt x="245" y="753"/>
                  </a:cubicBezTo>
                  <a:cubicBezTo>
                    <a:pt x="251" y="754"/>
                    <a:pt x="245" y="741"/>
                    <a:pt x="245" y="741"/>
                  </a:cubicBezTo>
                  <a:cubicBezTo>
                    <a:pt x="234" y="718"/>
                    <a:pt x="253" y="691"/>
                    <a:pt x="253" y="691"/>
                  </a:cubicBezTo>
                  <a:cubicBezTo>
                    <a:pt x="253" y="691"/>
                    <a:pt x="302" y="721"/>
                    <a:pt x="321" y="721"/>
                  </a:cubicBezTo>
                  <a:cubicBezTo>
                    <a:pt x="340" y="721"/>
                    <a:pt x="364" y="744"/>
                    <a:pt x="364" y="744"/>
                  </a:cubicBezTo>
                  <a:cubicBezTo>
                    <a:pt x="398" y="728"/>
                    <a:pt x="420" y="779"/>
                    <a:pt x="421" y="782"/>
                  </a:cubicBezTo>
                  <a:cubicBezTo>
                    <a:pt x="442" y="756"/>
                    <a:pt x="467" y="782"/>
                    <a:pt x="467" y="782"/>
                  </a:cubicBezTo>
                  <a:cubicBezTo>
                    <a:pt x="479" y="774"/>
                    <a:pt x="479" y="774"/>
                    <a:pt x="479" y="774"/>
                  </a:cubicBezTo>
                  <a:cubicBezTo>
                    <a:pt x="479" y="774"/>
                    <a:pt x="488" y="786"/>
                    <a:pt x="491" y="794"/>
                  </a:cubicBezTo>
                  <a:cubicBezTo>
                    <a:pt x="492" y="791"/>
                    <a:pt x="492" y="791"/>
                    <a:pt x="492" y="791"/>
                  </a:cubicBezTo>
                  <a:cubicBezTo>
                    <a:pt x="516" y="792"/>
                    <a:pt x="516" y="792"/>
                    <a:pt x="516" y="792"/>
                  </a:cubicBezTo>
                  <a:cubicBezTo>
                    <a:pt x="523" y="783"/>
                    <a:pt x="523" y="783"/>
                    <a:pt x="523" y="783"/>
                  </a:cubicBezTo>
                  <a:cubicBezTo>
                    <a:pt x="544" y="778"/>
                    <a:pt x="544" y="778"/>
                    <a:pt x="544" y="778"/>
                  </a:cubicBezTo>
                  <a:cubicBezTo>
                    <a:pt x="542" y="766"/>
                    <a:pt x="542" y="766"/>
                    <a:pt x="542" y="766"/>
                  </a:cubicBezTo>
                  <a:cubicBezTo>
                    <a:pt x="586" y="764"/>
                    <a:pt x="586" y="764"/>
                    <a:pt x="586" y="764"/>
                  </a:cubicBezTo>
                  <a:cubicBezTo>
                    <a:pt x="586" y="764"/>
                    <a:pt x="588" y="758"/>
                    <a:pt x="567" y="736"/>
                  </a:cubicBezTo>
                  <a:cubicBezTo>
                    <a:pt x="514" y="740"/>
                    <a:pt x="528" y="720"/>
                    <a:pt x="528" y="720"/>
                  </a:cubicBezTo>
                  <a:cubicBezTo>
                    <a:pt x="519" y="716"/>
                    <a:pt x="519" y="716"/>
                    <a:pt x="519" y="716"/>
                  </a:cubicBezTo>
                  <a:cubicBezTo>
                    <a:pt x="520" y="702"/>
                    <a:pt x="520" y="702"/>
                    <a:pt x="520" y="702"/>
                  </a:cubicBezTo>
                  <a:cubicBezTo>
                    <a:pt x="520" y="702"/>
                    <a:pt x="543" y="696"/>
                    <a:pt x="543" y="692"/>
                  </a:cubicBezTo>
                  <a:cubicBezTo>
                    <a:pt x="543" y="688"/>
                    <a:pt x="546" y="678"/>
                    <a:pt x="546" y="678"/>
                  </a:cubicBezTo>
                  <a:cubicBezTo>
                    <a:pt x="530" y="674"/>
                    <a:pt x="530" y="674"/>
                    <a:pt x="530" y="674"/>
                  </a:cubicBezTo>
                  <a:cubicBezTo>
                    <a:pt x="544" y="667"/>
                    <a:pt x="544" y="667"/>
                    <a:pt x="544" y="667"/>
                  </a:cubicBezTo>
                  <a:cubicBezTo>
                    <a:pt x="544" y="667"/>
                    <a:pt x="528" y="640"/>
                    <a:pt x="534" y="635"/>
                  </a:cubicBezTo>
                  <a:cubicBezTo>
                    <a:pt x="539" y="630"/>
                    <a:pt x="530" y="614"/>
                    <a:pt x="530" y="614"/>
                  </a:cubicBezTo>
                  <a:cubicBezTo>
                    <a:pt x="480" y="595"/>
                    <a:pt x="480" y="595"/>
                    <a:pt x="480" y="595"/>
                  </a:cubicBezTo>
                  <a:cubicBezTo>
                    <a:pt x="480" y="595"/>
                    <a:pt x="478" y="576"/>
                    <a:pt x="484" y="576"/>
                  </a:cubicBezTo>
                  <a:cubicBezTo>
                    <a:pt x="466" y="554"/>
                    <a:pt x="500" y="548"/>
                    <a:pt x="503" y="543"/>
                  </a:cubicBezTo>
                  <a:cubicBezTo>
                    <a:pt x="503" y="518"/>
                    <a:pt x="515" y="510"/>
                    <a:pt x="515" y="510"/>
                  </a:cubicBezTo>
                  <a:cubicBezTo>
                    <a:pt x="528" y="531"/>
                    <a:pt x="528" y="531"/>
                    <a:pt x="528" y="531"/>
                  </a:cubicBezTo>
                  <a:cubicBezTo>
                    <a:pt x="534" y="518"/>
                    <a:pt x="534" y="518"/>
                    <a:pt x="534" y="518"/>
                  </a:cubicBezTo>
                  <a:cubicBezTo>
                    <a:pt x="562" y="519"/>
                    <a:pt x="562" y="519"/>
                    <a:pt x="562" y="519"/>
                  </a:cubicBezTo>
                  <a:cubicBezTo>
                    <a:pt x="562" y="519"/>
                    <a:pt x="563" y="530"/>
                    <a:pt x="568" y="528"/>
                  </a:cubicBezTo>
                  <a:cubicBezTo>
                    <a:pt x="574" y="527"/>
                    <a:pt x="596" y="532"/>
                    <a:pt x="596" y="532"/>
                  </a:cubicBezTo>
                  <a:cubicBezTo>
                    <a:pt x="596" y="499"/>
                    <a:pt x="639" y="522"/>
                    <a:pt x="639" y="522"/>
                  </a:cubicBezTo>
                  <a:cubicBezTo>
                    <a:pt x="639" y="522"/>
                    <a:pt x="631" y="510"/>
                    <a:pt x="664" y="515"/>
                  </a:cubicBezTo>
                  <a:cubicBezTo>
                    <a:pt x="698" y="520"/>
                    <a:pt x="698" y="492"/>
                    <a:pt x="707" y="487"/>
                  </a:cubicBezTo>
                  <a:cubicBezTo>
                    <a:pt x="668" y="448"/>
                    <a:pt x="719" y="450"/>
                    <a:pt x="719" y="450"/>
                  </a:cubicBezTo>
                  <a:cubicBezTo>
                    <a:pt x="719" y="450"/>
                    <a:pt x="742" y="450"/>
                    <a:pt x="763" y="440"/>
                  </a:cubicBezTo>
                  <a:cubicBezTo>
                    <a:pt x="772" y="422"/>
                    <a:pt x="794" y="428"/>
                    <a:pt x="794" y="428"/>
                  </a:cubicBezTo>
                  <a:cubicBezTo>
                    <a:pt x="795" y="388"/>
                    <a:pt x="795" y="388"/>
                    <a:pt x="795" y="388"/>
                  </a:cubicBezTo>
                  <a:cubicBezTo>
                    <a:pt x="839" y="387"/>
                    <a:pt x="839" y="387"/>
                    <a:pt x="839" y="387"/>
                  </a:cubicBezTo>
                  <a:cubicBezTo>
                    <a:pt x="839" y="370"/>
                    <a:pt x="839" y="370"/>
                    <a:pt x="839" y="370"/>
                  </a:cubicBezTo>
                  <a:cubicBezTo>
                    <a:pt x="860" y="368"/>
                    <a:pt x="860" y="368"/>
                    <a:pt x="860" y="368"/>
                  </a:cubicBezTo>
                  <a:cubicBezTo>
                    <a:pt x="863" y="351"/>
                    <a:pt x="863" y="351"/>
                    <a:pt x="863" y="351"/>
                  </a:cubicBezTo>
                  <a:cubicBezTo>
                    <a:pt x="884" y="326"/>
                    <a:pt x="884" y="326"/>
                    <a:pt x="884" y="326"/>
                  </a:cubicBezTo>
                  <a:lnTo>
                    <a:pt x="871" y="31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71" name="Aquitaine" descr="© INSCALE GmbH, 05.05.2010&#10;http://www.presentationload.com/">
              <a:extLst>
                <a:ext uri="{FF2B5EF4-FFF2-40B4-BE49-F238E27FC236}">
                  <a16:creationId xmlns:a16="http://schemas.microsoft.com/office/drawing/2014/main" id="{00885A69-9990-4F70-8130-48C16531E1B0}"/>
                </a:ext>
              </a:extLst>
            </p:cNvPr>
            <p:cNvSpPr>
              <a:spLocks/>
            </p:cNvSpPr>
            <p:nvPr/>
          </p:nvSpPr>
          <p:spPr bwMode="gray">
            <a:xfrm>
              <a:off x="758" y="1992"/>
              <a:ext cx="793" cy="1021"/>
            </a:xfrm>
            <a:custGeom>
              <a:avLst/>
              <a:gdLst/>
              <a:ahLst/>
              <a:cxnLst>
                <a:cxn ang="0">
                  <a:pos x="347" y="849"/>
                </a:cxn>
                <a:cxn ang="0">
                  <a:pos x="376" y="813"/>
                </a:cxn>
                <a:cxn ang="0">
                  <a:pos x="399" y="773"/>
                </a:cxn>
                <a:cxn ang="0">
                  <a:pos x="381" y="733"/>
                </a:cxn>
                <a:cxn ang="0">
                  <a:pos x="343" y="693"/>
                </a:cxn>
                <a:cxn ang="0">
                  <a:pos x="339" y="658"/>
                </a:cxn>
                <a:cxn ang="0">
                  <a:pos x="351" y="625"/>
                </a:cxn>
                <a:cxn ang="0">
                  <a:pos x="392" y="570"/>
                </a:cxn>
                <a:cxn ang="0">
                  <a:pos x="413" y="578"/>
                </a:cxn>
                <a:cxn ang="0">
                  <a:pos x="449" y="554"/>
                </a:cxn>
                <a:cxn ang="0">
                  <a:pos x="536" y="541"/>
                </a:cxn>
                <a:cxn ang="0">
                  <a:pos x="605" y="522"/>
                </a:cxn>
                <a:cxn ang="0">
                  <a:pos x="600" y="469"/>
                </a:cxn>
                <a:cxn ang="0">
                  <a:pos x="636" y="425"/>
                </a:cxn>
                <a:cxn ang="0">
                  <a:pos x="672" y="353"/>
                </a:cxn>
                <a:cxn ang="0">
                  <a:pos x="699" y="310"/>
                </a:cxn>
                <a:cxn ang="0">
                  <a:pos x="733" y="289"/>
                </a:cxn>
                <a:cxn ang="0">
                  <a:pos x="729" y="243"/>
                </a:cxn>
                <a:cxn ang="0">
                  <a:pos x="727" y="207"/>
                </a:cxn>
                <a:cxn ang="0">
                  <a:pos x="692" y="183"/>
                </a:cxn>
                <a:cxn ang="0">
                  <a:pos x="691" y="150"/>
                </a:cxn>
                <a:cxn ang="0">
                  <a:pos x="700" y="117"/>
                </a:cxn>
                <a:cxn ang="0">
                  <a:pos x="655" y="74"/>
                </a:cxn>
                <a:cxn ang="0">
                  <a:pos x="589" y="58"/>
                </a:cxn>
                <a:cxn ang="0">
                  <a:pos x="540" y="43"/>
                </a:cxn>
                <a:cxn ang="0">
                  <a:pos x="519" y="74"/>
                </a:cxn>
                <a:cxn ang="0">
                  <a:pos x="464" y="147"/>
                </a:cxn>
                <a:cxn ang="0">
                  <a:pos x="407" y="202"/>
                </a:cxn>
                <a:cxn ang="0">
                  <a:pos x="319" y="169"/>
                </a:cxn>
                <a:cxn ang="0">
                  <a:pos x="265" y="131"/>
                </a:cxn>
                <a:cxn ang="0">
                  <a:pos x="279" y="178"/>
                </a:cxn>
                <a:cxn ang="0">
                  <a:pos x="239" y="76"/>
                </a:cxn>
                <a:cxn ang="0">
                  <a:pos x="185" y="0"/>
                </a:cxn>
                <a:cxn ang="0">
                  <a:pos x="133" y="309"/>
                </a:cxn>
                <a:cxn ang="0">
                  <a:pos x="147" y="302"/>
                </a:cxn>
                <a:cxn ang="0">
                  <a:pos x="23" y="730"/>
                </a:cxn>
                <a:cxn ang="0">
                  <a:pos x="34" y="764"/>
                </a:cxn>
                <a:cxn ang="0">
                  <a:pos x="86" y="787"/>
                </a:cxn>
                <a:cxn ang="0">
                  <a:pos x="110" y="831"/>
                </a:cxn>
                <a:cxn ang="0">
                  <a:pos x="142" y="869"/>
                </a:cxn>
                <a:cxn ang="0">
                  <a:pos x="228" y="882"/>
                </a:cxn>
                <a:cxn ang="0">
                  <a:pos x="293" y="943"/>
                </a:cxn>
                <a:cxn ang="0">
                  <a:pos x="309" y="934"/>
                </a:cxn>
              </a:cxnLst>
              <a:rect l="0" t="0" r="r" b="b"/>
              <a:pathLst>
                <a:path w="735" h="946">
                  <a:moveTo>
                    <a:pt x="331" y="869"/>
                  </a:moveTo>
                  <a:cubicBezTo>
                    <a:pt x="347" y="867"/>
                    <a:pt x="347" y="867"/>
                    <a:pt x="347" y="867"/>
                  </a:cubicBezTo>
                  <a:cubicBezTo>
                    <a:pt x="347" y="849"/>
                    <a:pt x="347" y="849"/>
                    <a:pt x="347" y="849"/>
                  </a:cubicBezTo>
                  <a:cubicBezTo>
                    <a:pt x="367" y="823"/>
                    <a:pt x="367" y="823"/>
                    <a:pt x="367" y="823"/>
                  </a:cubicBezTo>
                  <a:cubicBezTo>
                    <a:pt x="376" y="823"/>
                    <a:pt x="376" y="823"/>
                    <a:pt x="376" y="823"/>
                  </a:cubicBezTo>
                  <a:cubicBezTo>
                    <a:pt x="376" y="813"/>
                    <a:pt x="376" y="813"/>
                    <a:pt x="376" y="813"/>
                  </a:cubicBezTo>
                  <a:cubicBezTo>
                    <a:pt x="376" y="813"/>
                    <a:pt x="388" y="803"/>
                    <a:pt x="388" y="798"/>
                  </a:cubicBezTo>
                  <a:cubicBezTo>
                    <a:pt x="381" y="790"/>
                    <a:pt x="387" y="778"/>
                    <a:pt x="387" y="778"/>
                  </a:cubicBezTo>
                  <a:cubicBezTo>
                    <a:pt x="399" y="773"/>
                    <a:pt x="399" y="773"/>
                    <a:pt x="399" y="773"/>
                  </a:cubicBezTo>
                  <a:cubicBezTo>
                    <a:pt x="397" y="743"/>
                    <a:pt x="397" y="743"/>
                    <a:pt x="397" y="743"/>
                  </a:cubicBezTo>
                  <a:cubicBezTo>
                    <a:pt x="381" y="749"/>
                    <a:pt x="381" y="749"/>
                    <a:pt x="381" y="749"/>
                  </a:cubicBezTo>
                  <a:cubicBezTo>
                    <a:pt x="381" y="733"/>
                    <a:pt x="381" y="733"/>
                    <a:pt x="381" y="733"/>
                  </a:cubicBezTo>
                  <a:cubicBezTo>
                    <a:pt x="392" y="729"/>
                    <a:pt x="392" y="729"/>
                    <a:pt x="392" y="729"/>
                  </a:cubicBezTo>
                  <a:cubicBezTo>
                    <a:pt x="392" y="729"/>
                    <a:pt x="389" y="725"/>
                    <a:pt x="385" y="715"/>
                  </a:cubicBezTo>
                  <a:cubicBezTo>
                    <a:pt x="381" y="706"/>
                    <a:pt x="343" y="693"/>
                    <a:pt x="343" y="693"/>
                  </a:cubicBezTo>
                  <a:cubicBezTo>
                    <a:pt x="331" y="681"/>
                    <a:pt x="331" y="681"/>
                    <a:pt x="331" y="681"/>
                  </a:cubicBezTo>
                  <a:cubicBezTo>
                    <a:pt x="340" y="677"/>
                    <a:pt x="340" y="677"/>
                    <a:pt x="340" y="677"/>
                  </a:cubicBezTo>
                  <a:cubicBezTo>
                    <a:pt x="339" y="658"/>
                    <a:pt x="339" y="658"/>
                    <a:pt x="339" y="658"/>
                  </a:cubicBezTo>
                  <a:cubicBezTo>
                    <a:pt x="352" y="643"/>
                    <a:pt x="352" y="643"/>
                    <a:pt x="352" y="643"/>
                  </a:cubicBezTo>
                  <a:cubicBezTo>
                    <a:pt x="347" y="622"/>
                    <a:pt x="347" y="622"/>
                    <a:pt x="347" y="622"/>
                  </a:cubicBezTo>
                  <a:cubicBezTo>
                    <a:pt x="351" y="625"/>
                    <a:pt x="351" y="625"/>
                    <a:pt x="351" y="625"/>
                  </a:cubicBezTo>
                  <a:cubicBezTo>
                    <a:pt x="347" y="593"/>
                    <a:pt x="347" y="593"/>
                    <a:pt x="347" y="593"/>
                  </a:cubicBezTo>
                  <a:cubicBezTo>
                    <a:pt x="347" y="593"/>
                    <a:pt x="369" y="579"/>
                    <a:pt x="376" y="579"/>
                  </a:cubicBezTo>
                  <a:cubicBezTo>
                    <a:pt x="383" y="579"/>
                    <a:pt x="392" y="570"/>
                    <a:pt x="392" y="570"/>
                  </a:cubicBezTo>
                  <a:cubicBezTo>
                    <a:pt x="392" y="570"/>
                    <a:pt x="395" y="570"/>
                    <a:pt x="397" y="577"/>
                  </a:cubicBezTo>
                  <a:cubicBezTo>
                    <a:pt x="400" y="583"/>
                    <a:pt x="405" y="591"/>
                    <a:pt x="413" y="594"/>
                  </a:cubicBezTo>
                  <a:cubicBezTo>
                    <a:pt x="421" y="597"/>
                    <a:pt x="415" y="583"/>
                    <a:pt x="413" y="578"/>
                  </a:cubicBezTo>
                  <a:cubicBezTo>
                    <a:pt x="412" y="573"/>
                    <a:pt x="427" y="561"/>
                    <a:pt x="427" y="561"/>
                  </a:cubicBezTo>
                  <a:cubicBezTo>
                    <a:pt x="436" y="563"/>
                    <a:pt x="436" y="563"/>
                    <a:pt x="436" y="563"/>
                  </a:cubicBezTo>
                  <a:cubicBezTo>
                    <a:pt x="449" y="554"/>
                    <a:pt x="449" y="554"/>
                    <a:pt x="449" y="554"/>
                  </a:cubicBezTo>
                  <a:cubicBezTo>
                    <a:pt x="449" y="554"/>
                    <a:pt x="463" y="563"/>
                    <a:pt x="477" y="562"/>
                  </a:cubicBezTo>
                  <a:cubicBezTo>
                    <a:pt x="492" y="561"/>
                    <a:pt x="523" y="546"/>
                    <a:pt x="523" y="546"/>
                  </a:cubicBezTo>
                  <a:cubicBezTo>
                    <a:pt x="536" y="541"/>
                    <a:pt x="536" y="541"/>
                    <a:pt x="536" y="541"/>
                  </a:cubicBezTo>
                  <a:cubicBezTo>
                    <a:pt x="536" y="541"/>
                    <a:pt x="541" y="557"/>
                    <a:pt x="556" y="557"/>
                  </a:cubicBezTo>
                  <a:cubicBezTo>
                    <a:pt x="571" y="557"/>
                    <a:pt x="583" y="521"/>
                    <a:pt x="583" y="521"/>
                  </a:cubicBezTo>
                  <a:cubicBezTo>
                    <a:pt x="605" y="522"/>
                    <a:pt x="605" y="522"/>
                    <a:pt x="605" y="522"/>
                  </a:cubicBezTo>
                  <a:cubicBezTo>
                    <a:pt x="600" y="505"/>
                    <a:pt x="600" y="505"/>
                    <a:pt x="600" y="505"/>
                  </a:cubicBezTo>
                  <a:cubicBezTo>
                    <a:pt x="617" y="481"/>
                    <a:pt x="617" y="481"/>
                    <a:pt x="617" y="481"/>
                  </a:cubicBezTo>
                  <a:cubicBezTo>
                    <a:pt x="600" y="469"/>
                    <a:pt x="600" y="469"/>
                    <a:pt x="600" y="469"/>
                  </a:cubicBezTo>
                  <a:cubicBezTo>
                    <a:pt x="600" y="469"/>
                    <a:pt x="603" y="445"/>
                    <a:pt x="621" y="451"/>
                  </a:cubicBezTo>
                  <a:cubicBezTo>
                    <a:pt x="640" y="458"/>
                    <a:pt x="643" y="433"/>
                    <a:pt x="643" y="433"/>
                  </a:cubicBezTo>
                  <a:cubicBezTo>
                    <a:pt x="643" y="433"/>
                    <a:pt x="636" y="429"/>
                    <a:pt x="636" y="425"/>
                  </a:cubicBezTo>
                  <a:cubicBezTo>
                    <a:pt x="636" y="421"/>
                    <a:pt x="625" y="391"/>
                    <a:pt x="625" y="391"/>
                  </a:cubicBezTo>
                  <a:cubicBezTo>
                    <a:pt x="653" y="382"/>
                    <a:pt x="653" y="382"/>
                    <a:pt x="653" y="382"/>
                  </a:cubicBezTo>
                  <a:cubicBezTo>
                    <a:pt x="672" y="353"/>
                    <a:pt x="672" y="353"/>
                    <a:pt x="672" y="353"/>
                  </a:cubicBezTo>
                  <a:cubicBezTo>
                    <a:pt x="693" y="347"/>
                    <a:pt x="693" y="347"/>
                    <a:pt x="693" y="347"/>
                  </a:cubicBezTo>
                  <a:cubicBezTo>
                    <a:pt x="707" y="327"/>
                    <a:pt x="707" y="327"/>
                    <a:pt x="707" y="327"/>
                  </a:cubicBezTo>
                  <a:cubicBezTo>
                    <a:pt x="699" y="310"/>
                    <a:pt x="699" y="310"/>
                    <a:pt x="699" y="310"/>
                  </a:cubicBezTo>
                  <a:cubicBezTo>
                    <a:pt x="715" y="309"/>
                    <a:pt x="715" y="309"/>
                    <a:pt x="715" y="309"/>
                  </a:cubicBezTo>
                  <a:cubicBezTo>
                    <a:pt x="716" y="295"/>
                    <a:pt x="716" y="295"/>
                    <a:pt x="716" y="295"/>
                  </a:cubicBezTo>
                  <a:cubicBezTo>
                    <a:pt x="733" y="289"/>
                    <a:pt x="733" y="289"/>
                    <a:pt x="733" y="289"/>
                  </a:cubicBezTo>
                  <a:cubicBezTo>
                    <a:pt x="728" y="279"/>
                    <a:pt x="728" y="279"/>
                    <a:pt x="728" y="279"/>
                  </a:cubicBezTo>
                  <a:cubicBezTo>
                    <a:pt x="735" y="274"/>
                    <a:pt x="735" y="274"/>
                    <a:pt x="735" y="274"/>
                  </a:cubicBezTo>
                  <a:cubicBezTo>
                    <a:pt x="729" y="243"/>
                    <a:pt x="729" y="243"/>
                    <a:pt x="729" y="243"/>
                  </a:cubicBezTo>
                  <a:cubicBezTo>
                    <a:pt x="732" y="239"/>
                    <a:pt x="732" y="239"/>
                    <a:pt x="732" y="239"/>
                  </a:cubicBezTo>
                  <a:cubicBezTo>
                    <a:pt x="721" y="217"/>
                    <a:pt x="721" y="217"/>
                    <a:pt x="721" y="217"/>
                  </a:cubicBezTo>
                  <a:cubicBezTo>
                    <a:pt x="727" y="207"/>
                    <a:pt x="727" y="207"/>
                    <a:pt x="727" y="207"/>
                  </a:cubicBezTo>
                  <a:cubicBezTo>
                    <a:pt x="696" y="195"/>
                    <a:pt x="696" y="195"/>
                    <a:pt x="696" y="195"/>
                  </a:cubicBezTo>
                  <a:cubicBezTo>
                    <a:pt x="700" y="185"/>
                    <a:pt x="700" y="185"/>
                    <a:pt x="700" y="185"/>
                  </a:cubicBezTo>
                  <a:cubicBezTo>
                    <a:pt x="692" y="183"/>
                    <a:pt x="692" y="183"/>
                    <a:pt x="692" y="183"/>
                  </a:cubicBezTo>
                  <a:cubicBezTo>
                    <a:pt x="699" y="167"/>
                    <a:pt x="699" y="167"/>
                    <a:pt x="699" y="167"/>
                  </a:cubicBezTo>
                  <a:cubicBezTo>
                    <a:pt x="691" y="161"/>
                    <a:pt x="691" y="161"/>
                    <a:pt x="691" y="161"/>
                  </a:cubicBezTo>
                  <a:cubicBezTo>
                    <a:pt x="691" y="150"/>
                    <a:pt x="691" y="150"/>
                    <a:pt x="691" y="150"/>
                  </a:cubicBezTo>
                  <a:cubicBezTo>
                    <a:pt x="691" y="150"/>
                    <a:pt x="707" y="135"/>
                    <a:pt x="707" y="129"/>
                  </a:cubicBezTo>
                  <a:cubicBezTo>
                    <a:pt x="707" y="122"/>
                    <a:pt x="693" y="118"/>
                    <a:pt x="693" y="118"/>
                  </a:cubicBezTo>
                  <a:cubicBezTo>
                    <a:pt x="700" y="117"/>
                    <a:pt x="700" y="117"/>
                    <a:pt x="700" y="117"/>
                  </a:cubicBezTo>
                  <a:cubicBezTo>
                    <a:pt x="668" y="95"/>
                    <a:pt x="668" y="95"/>
                    <a:pt x="668" y="95"/>
                  </a:cubicBezTo>
                  <a:cubicBezTo>
                    <a:pt x="673" y="75"/>
                    <a:pt x="673" y="75"/>
                    <a:pt x="673" y="75"/>
                  </a:cubicBezTo>
                  <a:cubicBezTo>
                    <a:pt x="673" y="75"/>
                    <a:pt x="661" y="74"/>
                    <a:pt x="655" y="74"/>
                  </a:cubicBezTo>
                  <a:cubicBezTo>
                    <a:pt x="648" y="74"/>
                    <a:pt x="643" y="51"/>
                    <a:pt x="643" y="51"/>
                  </a:cubicBezTo>
                  <a:cubicBezTo>
                    <a:pt x="608" y="47"/>
                    <a:pt x="608" y="47"/>
                    <a:pt x="608" y="47"/>
                  </a:cubicBezTo>
                  <a:cubicBezTo>
                    <a:pt x="608" y="47"/>
                    <a:pt x="596" y="62"/>
                    <a:pt x="589" y="58"/>
                  </a:cubicBezTo>
                  <a:cubicBezTo>
                    <a:pt x="583" y="54"/>
                    <a:pt x="589" y="30"/>
                    <a:pt x="589" y="30"/>
                  </a:cubicBezTo>
                  <a:cubicBezTo>
                    <a:pt x="589" y="30"/>
                    <a:pt x="576" y="24"/>
                    <a:pt x="558" y="21"/>
                  </a:cubicBezTo>
                  <a:cubicBezTo>
                    <a:pt x="540" y="43"/>
                    <a:pt x="540" y="43"/>
                    <a:pt x="540" y="43"/>
                  </a:cubicBezTo>
                  <a:cubicBezTo>
                    <a:pt x="540" y="43"/>
                    <a:pt x="529" y="45"/>
                    <a:pt x="525" y="45"/>
                  </a:cubicBezTo>
                  <a:cubicBezTo>
                    <a:pt x="521" y="45"/>
                    <a:pt x="531" y="73"/>
                    <a:pt x="531" y="73"/>
                  </a:cubicBezTo>
                  <a:cubicBezTo>
                    <a:pt x="519" y="74"/>
                    <a:pt x="519" y="74"/>
                    <a:pt x="519" y="74"/>
                  </a:cubicBezTo>
                  <a:cubicBezTo>
                    <a:pt x="519" y="74"/>
                    <a:pt x="515" y="73"/>
                    <a:pt x="511" y="87"/>
                  </a:cubicBezTo>
                  <a:cubicBezTo>
                    <a:pt x="459" y="94"/>
                    <a:pt x="471" y="147"/>
                    <a:pt x="471" y="147"/>
                  </a:cubicBezTo>
                  <a:cubicBezTo>
                    <a:pt x="464" y="147"/>
                    <a:pt x="464" y="147"/>
                    <a:pt x="464" y="147"/>
                  </a:cubicBezTo>
                  <a:cubicBezTo>
                    <a:pt x="464" y="147"/>
                    <a:pt x="445" y="175"/>
                    <a:pt x="441" y="175"/>
                  </a:cubicBezTo>
                  <a:cubicBezTo>
                    <a:pt x="437" y="175"/>
                    <a:pt x="429" y="166"/>
                    <a:pt x="429" y="166"/>
                  </a:cubicBezTo>
                  <a:cubicBezTo>
                    <a:pt x="429" y="166"/>
                    <a:pt x="413" y="189"/>
                    <a:pt x="407" y="202"/>
                  </a:cubicBezTo>
                  <a:cubicBezTo>
                    <a:pt x="400" y="215"/>
                    <a:pt x="367" y="213"/>
                    <a:pt x="349" y="195"/>
                  </a:cubicBezTo>
                  <a:cubicBezTo>
                    <a:pt x="332" y="178"/>
                    <a:pt x="324" y="193"/>
                    <a:pt x="324" y="193"/>
                  </a:cubicBezTo>
                  <a:cubicBezTo>
                    <a:pt x="324" y="193"/>
                    <a:pt x="324" y="187"/>
                    <a:pt x="319" y="169"/>
                  </a:cubicBezTo>
                  <a:cubicBezTo>
                    <a:pt x="325" y="154"/>
                    <a:pt x="285" y="143"/>
                    <a:pt x="285" y="143"/>
                  </a:cubicBezTo>
                  <a:cubicBezTo>
                    <a:pt x="279" y="130"/>
                    <a:pt x="279" y="130"/>
                    <a:pt x="279" y="130"/>
                  </a:cubicBezTo>
                  <a:cubicBezTo>
                    <a:pt x="265" y="131"/>
                    <a:pt x="265" y="131"/>
                    <a:pt x="265" y="131"/>
                  </a:cubicBezTo>
                  <a:cubicBezTo>
                    <a:pt x="267" y="136"/>
                    <a:pt x="270" y="143"/>
                    <a:pt x="272" y="153"/>
                  </a:cubicBezTo>
                  <a:cubicBezTo>
                    <a:pt x="276" y="171"/>
                    <a:pt x="290" y="171"/>
                    <a:pt x="290" y="171"/>
                  </a:cubicBezTo>
                  <a:cubicBezTo>
                    <a:pt x="279" y="178"/>
                    <a:pt x="279" y="178"/>
                    <a:pt x="279" y="178"/>
                  </a:cubicBezTo>
                  <a:cubicBezTo>
                    <a:pt x="279" y="178"/>
                    <a:pt x="262" y="147"/>
                    <a:pt x="258" y="143"/>
                  </a:cubicBezTo>
                  <a:cubicBezTo>
                    <a:pt x="254" y="140"/>
                    <a:pt x="250" y="104"/>
                    <a:pt x="242" y="83"/>
                  </a:cubicBezTo>
                  <a:cubicBezTo>
                    <a:pt x="239" y="76"/>
                    <a:pt x="239" y="76"/>
                    <a:pt x="239" y="76"/>
                  </a:cubicBezTo>
                  <a:cubicBezTo>
                    <a:pt x="239" y="75"/>
                    <a:pt x="239" y="75"/>
                    <a:pt x="239" y="75"/>
                  </a:cubicBezTo>
                  <a:cubicBezTo>
                    <a:pt x="229" y="55"/>
                    <a:pt x="184" y="19"/>
                    <a:pt x="184" y="19"/>
                  </a:cubicBezTo>
                  <a:cubicBezTo>
                    <a:pt x="185" y="0"/>
                    <a:pt x="185" y="0"/>
                    <a:pt x="185" y="0"/>
                  </a:cubicBezTo>
                  <a:cubicBezTo>
                    <a:pt x="162" y="28"/>
                    <a:pt x="162" y="28"/>
                    <a:pt x="162" y="28"/>
                  </a:cubicBezTo>
                  <a:cubicBezTo>
                    <a:pt x="162" y="28"/>
                    <a:pt x="164" y="82"/>
                    <a:pt x="159" y="107"/>
                  </a:cubicBezTo>
                  <a:cubicBezTo>
                    <a:pt x="155" y="130"/>
                    <a:pt x="136" y="279"/>
                    <a:pt x="133" y="309"/>
                  </a:cubicBezTo>
                  <a:cubicBezTo>
                    <a:pt x="136" y="291"/>
                    <a:pt x="155" y="262"/>
                    <a:pt x="155" y="262"/>
                  </a:cubicBezTo>
                  <a:cubicBezTo>
                    <a:pt x="155" y="262"/>
                    <a:pt x="187" y="292"/>
                    <a:pt x="180" y="304"/>
                  </a:cubicBezTo>
                  <a:cubicBezTo>
                    <a:pt x="173" y="316"/>
                    <a:pt x="147" y="302"/>
                    <a:pt x="147" y="302"/>
                  </a:cubicBezTo>
                  <a:cubicBezTo>
                    <a:pt x="145" y="322"/>
                    <a:pt x="131" y="339"/>
                    <a:pt x="131" y="339"/>
                  </a:cubicBezTo>
                  <a:cubicBezTo>
                    <a:pt x="131" y="339"/>
                    <a:pt x="115" y="435"/>
                    <a:pt x="93" y="567"/>
                  </a:cubicBezTo>
                  <a:cubicBezTo>
                    <a:pt x="71" y="699"/>
                    <a:pt x="23" y="730"/>
                    <a:pt x="23" y="730"/>
                  </a:cubicBezTo>
                  <a:cubicBezTo>
                    <a:pt x="0" y="733"/>
                    <a:pt x="0" y="733"/>
                    <a:pt x="0" y="733"/>
                  </a:cubicBezTo>
                  <a:cubicBezTo>
                    <a:pt x="13" y="763"/>
                    <a:pt x="13" y="763"/>
                    <a:pt x="13" y="763"/>
                  </a:cubicBezTo>
                  <a:cubicBezTo>
                    <a:pt x="34" y="764"/>
                    <a:pt x="34" y="764"/>
                    <a:pt x="34" y="764"/>
                  </a:cubicBezTo>
                  <a:cubicBezTo>
                    <a:pt x="34" y="764"/>
                    <a:pt x="37" y="773"/>
                    <a:pt x="42" y="779"/>
                  </a:cubicBezTo>
                  <a:cubicBezTo>
                    <a:pt x="47" y="785"/>
                    <a:pt x="48" y="774"/>
                    <a:pt x="56" y="771"/>
                  </a:cubicBezTo>
                  <a:cubicBezTo>
                    <a:pt x="64" y="768"/>
                    <a:pt x="74" y="776"/>
                    <a:pt x="86" y="787"/>
                  </a:cubicBezTo>
                  <a:cubicBezTo>
                    <a:pt x="98" y="798"/>
                    <a:pt x="71" y="830"/>
                    <a:pt x="69" y="843"/>
                  </a:cubicBezTo>
                  <a:cubicBezTo>
                    <a:pt x="67" y="856"/>
                    <a:pt x="92" y="859"/>
                    <a:pt x="92" y="859"/>
                  </a:cubicBezTo>
                  <a:cubicBezTo>
                    <a:pt x="92" y="859"/>
                    <a:pt x="100" y="831"/>
                    <a:pt x="110" y="831"/>
                  </a:cubicBezTo>
                  <a:cubicBezTo>
                    <a:pt x="120" y="831"/>
                    <a:pt x="107" y="846"/>
                    <a:pt x="107" y="846"/>
                  </a:cubicBezTo>
                  <a:cubicBezTo>
                    <a:pt x="136" y="857"/>
                    <a:pt x="136" y="857"/>
                    <a:pt x="136" y="857"/>
                  </a:cubicBezTo>
                  <a:cubicBezTo>
                    <a:pt x="142" y="869"/>
                    <a:pt x="142" y="869"/>
                    <a:pt x="142" y="869"/>
                  </a:cubicBezTo>
                  <a:cubicBezTo>
                    <a:pt x="149" y="864"/>
                    <a:pt x="149" y="864"/>
                    <a:pt x="149" y="864"/>
                  </a:cubicBezTo>
                  <a:cubicBezTo>
                    <a:pt x="182" y="884"/>
                    <a:pt x="182" y="884"/>
                    <a:pt x="182" y="884"/>
                  </a:cubicBezTo>
                  <a:cubicBezTo>
                    <a:pt x="228" y="882"/>
                    <a:pt x="228" y="882"/>
                    <a:pt x="228" y="882"/>
                  </a:cubicBezTo>
                  <a:cubicBezTo>
                    <a:pt x="228" y="882"/>
                    <a:pt x="230" y="909"/>
                    <a:pt x="239" y="912"/>
                  </a:cubicBezTo>
                  <a:cubicBezTo>
                    <a:pt x="248" y="915"/>
                    <a:pt x="277" y="946"/>
                    <a:pt x="277" y="946"/>
                  </a:cubicBezTo>
                  <a:cubicBezTo>
                    <a:pt x="293" y="936"/>
                    <a:pt x="293" y="943"/>
                    <a:pt x="293" y="943"/>
                  </a:cubicBezTo>
                  <a:cubicBezTo>
                    <a:pt x="293" y="943"/>
                    <a:pt x="309" y="946"/>
                    <a:pt x="306" y="942"/>
                  </a:cubicBezTo>
                  <a:cubicBezTo>
                    <a:pt x="307" y="941"/>
                    <a:pt x="308" y="940"/>
                    <a:pt x="310" y="940"/>
                  </a:cubicBezTo>
                  <a:cubicBezTo>
                    <a:pt x="310" y="936"/>
                    <a:pt x="309" y="934"/>
                    <a:pt x="309" y="934"/>
                  </a:cubicBezTo>
                  <a:lnTo>
                    <a:pt x="331" y="869"/>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72" name="Rhône-Alpes" descr="© INSCALE GmbH, 05.05.2010&#10;http://www.presentationload.com/">
              <a:extLst>
                <a:ext uri="{FF2B5EF4-FFF2-40B4-BE49-F238E27FC236}">
                  <a16:creationId xmlns:a16="http://schemas.microsoft.com/office/drawing/2014/main" id="{300B7E91-8392-4B83-A310-DD9AAEFFE6DB}"/>
                </a:ext>
              </a:extLst>
            </p:cNvPr>
            <p:cNvSpPr>
              <a:spLocks/>
            </p:cNvSpPr>
            <p:nvPr/>
          </p:nvSpPr>
          <p:spPr bwMode="gray">
            <a:xfrm>
              <a:off x="2094" y="1710"/>
              <a:ext cx="833" cy="840"/>
            </a:xfrm>
            <a:custGeom>
              <a:avLst/>
              <a:gdLst/>
              <a:ahLst/>
              <a:cxnLst>
                <a:cxn ang="0">
                  <a:pos x="92" y="696"/>
                </a:cxn>
                <a:cxn ang="0">
                  <a:pos x="136" y="744"/>
                </a:cxn>
                <a:cxn ang="0">
                  <a:pos x="170" y="728"/>
                </a:cxn>
                <a:cxn ang="0">
                  <a:pos x="228" y="735"/>
                </a:cxn>
                <a:cxn ang="0">
                  <a:pos x="318" y="724"/>
                </a:cxn>
                <a:cxn ang="0">
                  <a:pos x="341" y="746"/>
                </a:cxn>
                <a:cxn ang="0">
                  <a:pos x="386" y="752"/>
                </a:cxn>
                <a:cxn ang="0">
                  <a:pos x="416" y="778"/>
                </a:cxn>
                <a:cxn ang="0">
                  <a:pos x="462" y="752"/>
                </a:cxn>
                <a:cxn ang="0">
                  <a:pos x="414" y="708"/>
                </a:cxn>
                <a:cxn ang="0">
                  <a:pos x="406" y="670"/>
                </a:cxn>
                <a:cxn ang="0">
                  <a:pos x="453" y="650"/>
                </a:cxn>
                <a:cxn ang="0">
                  <a:pos x="486" y="590"/>
                </a:cxn>
                <a:cxn ang="0">
                  <a:pos x="541" y="546"/>
                </a:cxn>
                <a:cxn ang="0">
                  <a:pos x="572" y="487"/>
                </a:cxn>
                <a:cxn ang="0">
                  <a:pos x="604" y="452"/>
                </a:cxn>
                <a:cxn ang="0">
                  <a:pos x="632" y="458"/>
                </a:cxn>
                <a:cxn ang="0">
                  <a:pos x="685" y="426"/>
                </a:cxn>
                <a:cxn ang="0">
                  <a:pos x="772" y="342"/>
                </a:cxn>
                <a:cxn ang="0">
                  <a:pos x="686" y="232"/>
                </a:cxn>
                <a:cxn ang="0">
                  <a:pos x="706" y="121"/>
                </a:cxn>
                <a:cxn ang="0">
                  <a:pos x="684" y="108"/>
                </a:cxn>
                <a:cxn ang="0">
                  <a:pos x="670" y="33"/>
                </a:cxn>
                <a:cxn ang="0">
                  <a:pos x="611" y="0"/>
                </a:cxn>
                <a:cxn ang="0">
                  <a:pos x="560" y="31"/>
                </a:cxn>
                <a:cxn ang="0">
                  <a:pos x="569" y="68"/>
                </a:cxn>
                <a:cxn ang="0">
                  <a:pos x="517" y="99"/>
                </a:cxn>
                <a:cxn ang="0">
                  <a:pos x="512" y="67"/>
                </a:cxn>
                <a:cxn ang="0">
                  <a:pos x="534" y="29"/>
                </a:cxn>
                <a:cxn ang="0">
                  <a:pos x="441" y="74"/>
                </a:cxn>
                <a:cxn ang="0">
                  <a:pos x="388" y="79"/>
                </a:cxn>
                <a:cxn ang="0">
                  <a:pos x="350" y="50"/>
                </a:cxn>
                <a:cxn ang="0">
                  <a:pos x="326" y="16"/>
                </a:cxn>
                <a:cxn ang="0">
                  <a:pos x="237" y="126"/>
                </a:cxn>
                <a:cxn ang="0">
                  <a:pos x="217" y="100"/>
                </a:cxn>
                <a:cxn ang="0">
                  <a:pos x="188" y="88"/>
                </a:cxn>
                <a:cxn ang="0">
                  <a:pos x="152" y="88"/>
                </a:cxn>
                <a:cxn ang="0">
                  <a:pos x="125" y="136"/>
                </a:cxn>
                <a:cxn ang="0">
                  <a:pos x="86" y="126"/>
                </a:cxn>
                <a:cxn ang="0">
                  <a:pos x="42" y="119"/>
                </a:cxn>
                <a:cxn ang="0">
                  <a:pos x="21" y="124"/>
                </a:cxn>
                <a:cxn ang="0">
                  <a:pos x="25" y="187"/>
                </a:cxn>
                <a:cxn ang="0">
                  <a:pos x="12" y="224"/>
                </a:cxn>
                <a:cxn ang="0">
                  <a:pos x="29" y="311"/>
                </a:cxn>
                <a:cxn ang="0">
                  <a:pos x="50" y="403"/>
                </a:cxn>
                <a:cxn ang="0">
                  <a:pos x="72" y="396"/>
                </a:cxn>
                <a:cxn ang="0">
                  <a:pos x="90" y="390"/>
                </a:cxn>
                <a:cxn ang="0">
                  <a:pos x="150" y="406"/>
                </a:cxn>
                <a:cxn ang="0">
                  <a:pos x="171" y="469"/>
                </a:cxn>
                <a:cxn ang="0">
                  <a:pos x="157" y="458"/>
                </a:cxn>
                <a:cxn ang="0">
                  <a:pos x="157" y="495"/>
                </a:cxn>
                <a:cxn ang="0">
                  <a:pos x="122" y="519"/>
                </a:cxn>
                <a:cxn ang="0">
                  <a:pos x="81" y="554"/>
                </a:cxn>
                <a:cxn ang="0">
                  <a:pos x="41" y="588"/>
                </a:cxn>
              </a:cxnLst>
              <a:rect l="0" t="0" r="r" b="b"/>
              <a:pathLst>
                <a:path w="772" h="778">
                  <a:moveTo>
                    <a:pt x="68" y="647"/>
                  </a:moveTo>
                  <a:cubicBezTo>
                    <a:pt x="72" y="678"/>
                    <a:pt x="72" y="678"/>
                    <a:pt x="72" y="678"/>
                  </a:cubicBezTo>
                  <a:cubicBezTo>
                    <a:pt x="92" y="696"/>
                    <a:pt x="92" y="696"/>
                    <a:pt x="92" y="696"/>
                  </a:cubicBezTo>
                  <a:cubicBezTo>
                    <a:pt x="85" y="727"/>
                    <a:pt x="85" y="727"/>
                    <a:pt x="85" y="727"/>
                  </a:cubicBezTo>
                  <a:cubicBezTo>
                    <a:pt x="104" y="716"/>
                    <a:pt x="104" y="716"/>
                    <a:pt x="104" y="716"/>
                  </a:cubicBezTo>
                  <a:cubicBezTo>
                    <a:pt x="136" y="744"/>
                    <a:pt x="136" y="744"/>
                    <a:pt x="136" y="744"/>
                  </a:cubicBezTo>
                  <a:cubicBezTo>
                    <a:pt x="156" y="714"/>
                    <a:pt x="156" y="714"/>
                    <a:pt x="156" y="714"/>
                  </a:cubicBezTo>
                  <a:cubicBezTo>
                    <a:pt x="170" y="714"/>
                    <a:pt x="170" y="714"/>
                    <a:pt x="170" y="714"/>
                  </a:cubicBezTo>
                  <a:cubicBezTo>
                    <a:pt x="170" y="728"/>
                    <a:pt x="170" y="728"/>
                    <a:pt x="170" y="728"/>
                  </a:cubicBezTo>
                  <a:cubicBezTo>
                    <a:pt x="177" y="728"/>
                    <a:pt x="177" y="728"/>
                    <a:pt x="177" y="728"/>
                  </a:cubicBezTo>
                  <a:cubicBezTo>
                    <a:pt x="185" y="716"/>
                    <a:pt x="185" y="716"/>
                    <a:pt x="185" y="716"/>
                  </a:cubicBezTo>
                  <a:cubicBezTo>
                    <a:pt x="228" y="735"/>
                    <a:pt x="228" y="735"/>
                    <a:pt x="228" y="735"/>
                  </a:cubicBezTo>
                  <a:cubicBezTo>
                    <a:pt x="228" y="720"/>
                    <a:pt x="228" y="720"/>
                    <a:pt x="228" y="720"/>
                  </a:cubicBezTo>
                  <a:cubicBezTo>
                    <a:pt x="228" y="720"/>
                    <a:pt x="262" y="712"/>
                    <a:pt x="264" y="748"/>
                  </a:cubicBezTo>
                  <a:cubicBezTo>
                    <a:pt x="318" y="724"/>
                    <a:pt x="318" y="724"/>
                    <a:pt x="318" y="724"/>
                  </a:cubicBezTo>
                  <a:cubicBezTo>
                    <a:pt x="329" y="728"/>
                    <a:pt x="329" y="728"/>
                    <a:pt x="329" y="728"/>
                  </a:cubicBezTo>
                  <a:cubicBezTo>
                    <a:pt x="341" y="722"/>
                    <a:pt x="341" y="722"/>
                    <a:pt x="341" y="722"/>
                  </a:cubicBezTo>
                  <a:cubicBezTo>
                    <a:pt x="341" y="746"/>
                    <a:pt x="341" y="746"/>
                    <a:pt x="341" y="746"/>
                  </a:cubicBezTo>
                  <a:cubicBezTo>
                    <a:pt x="366" y="754"/>
                    <a:pt x="366" y="754"/>
                    <a:pt x="366" y="754"/>
                  </a:cubicBezTo>
                  <a:cubicBezTo>
                    <a:pt x="365" y="747"/>
                    <a:pt x="365" y="747"/>
                    <a:pt x="365" y="747"/>
                  </a:cubicBezTo>
                  <a:cubicBezTo>
                    <a:pt x="386" y="752"/>
                    <a:pt x="386" y="752"/>
                    <a:pt x="386" y="752"/>
                  </a:cubicBezTo>
                  <a:cubicBezTo>
                    <a:pt x="386" y="752"/>
                    <a:pt x="393" y="756"/>
                    <a:pt x="393" y="766"/>
                  </a:cubicBezTo>
                  <a:cubicBezTo>
                    <a:pt x="393" y="775"/>
                    <a:pt x="406" y="771"/>
                    <a:pt x="406" y="771"/>
                  </a:cubicBezTo>
                  <a:cubicBezTo>
                    <a:pt x="416" y="778"/>
                    <a:pt x="416" y="778"/>
                    <a:pt x="416" y="778"/>
                  </a:cubicBezTo>
                  <a:cubicBezTo>
                    <a:pt x="436" y="766"/>
                    <a:pt x="436" y="766"/>
                    <a:pt x="436" y="766"/>
                  </a:cubicBezTo>
                  <a:cubicBezTo>
                    <a:pt x="436" y="766"/>
                    <a:pt x="426" y="755"/>
                    <a:pt x="450" y="763"/>
                  </a:cubicBezTo>
                  <a:cubicBezTo>
                    <a:pt x="448" y="766"/>
                    <a:pt x="462" y="752"/>
                    <a:pt x="462" y="752"/>
                  </a:cubicBezTo>
                  <a:cubicBezTo>
                    <a:pt x="462" y="730"/>
                    <a:pt x="462" y="730"/>
                    <a:pt x="462" y="730"/>
                  </a:cubicBezTo>
                  <a:cubicBezTo>
                    <a:pt x="445" y="710"/>
                    <a:pt x="445" y="710"/>
                    <a:pt x="445" y="710"/>
                  </a:cubicBezTo>
                  <a:cubicBezTo>
                    <a:pt x="414" y="708"/>
                    <a:pt x="414" y="708"/>
                    <a:pt x="414" y="708"/>
                  </a:cubicBezTo>
                  <a:cubicBezTo>
                    <a:pt x="398" y="683"/>
                    <a:pt x="398" y="683"/>
                    <a:pt x="398" y="683"/>
                  </a:cubicBezTo>
                  <a:cubicBezTo>
                    <a:pt x="414" y="682"/>
                    <a:pt x="414" y="682"/>
                    <a:pt x="414" y="682"/>
                  </a:cubicBezTo>
                  <a:cubicBezTo>
                    <a:pt x="406" y="670"/>
                    <a:pt x="406" y="670"/>
                    <a:pt x="406" y="670"/>
                  </a:cubicBezTo>
                  <a:cubicBezTo>
                    <a:pt x="409" y="658"/>
                    <a:pt x="409" y="658"/>
                    <a:pt x="409" y="658"/>
                  </a:cubicBezTo>
                  <a:cubicBezTo>
                    <a:pt x="438" y="662"/>
                    <a:pt x="438" y="662"/>
                    <a:pt x="438" y="662"/>
                  </a:cubicBezTo>
                  <a:cubicBezTo>
                    <a:pt x="453" y="650"/>
                    <a:pt x="453" y="650"/>
                    <a:pt x="453" y="650"/>
                  </a:cubicBezTo>
                  <a:cubicBezTo>
                    <a:pt x="436" y="640"/>
                    <a:pt x="436" y="640"/>
                    <a:pt x="436" y="640"/>
                  </a:cubicBezTo>
                  <a:cubicBezTo>
                    <a:pt x="449" y="614"/>
                    <a:pt x="449" y="614"/>
                    <a:pt x="449" y="614"/>
                  </a:cubicBezTo>
                  <a:cubicBezTo>
                    <a:pt x="449" y="614"/>
                    <a:pt x="490" y="599"/>
                    <a:pt x="486" y="590"/>
                  </a:cubicBezTo>
                  <a:cubicBezTo>
                    <a:pt x="482" y="580"/>
                    <a:pt x="477" y="568"/>
                    <a:pt x="489" y="568"/>
                  </a:cubicBezTo>
                  <a:cubicBezTo>
                    <a:pt x="501" y="568"/>
                    <a:pt x="525" y="562"/>
                    <a:pt x="525" y="562"/>
                  </a:cubicBezTo>
                  <a:cubicBezTo>
                    <a:pt x="525" y="562"/>
                    <a:pt x="534" y="539"/>
                    <a:pt x="541" y="546"/>
                  </a:cubicBezTo>
                  <a:cubicBezTo>
                    <a:pt x="548" y="552"/>
                    <a:pt x="538" y="532"/>
                    <a:pt x="604" y="534"/>
                  </a:cubicBezTo>
                  <a:cubicBezTo>
                    <a:pt x="597" y="511"/>
                    <a:pt x="596" y="492"/>
                    <a:pt x="596" y="492"/>
                  </a:cubicBezTo>
                  <a:cubicBezTo>
                    <a:pt x="596" y="492"/>
                    <a:pt x="572" y="498"/>
                    <a:pt x="572" y="487"/>
                  </a:cubicBezTo>
                  <a:cubicBezTo>
                    <a:pt x="572" y="476"/>
                    <a:pt x="577" y="463"/>
                    <a:pt x="577" y="463"/>
                  </a:cubicBezTo>
                  <a:cubicBezTo>
                    <a:pt x="574" y="455"/>
                    <a:pt x="574" y="455"/>
                    <a:pt x="574" y="455"/>
                  </a:cubicBezTo>
                  <a:cubicBezTo>
                    <a:pt x="604" y="452"/>
                    <a:pt x="604" y="452"/>
                    <a:pt x="604" y="452"/>
                  </a:cubicBezTo>
                  <a:cubicBezTo>
                    <a:pt x="605" y="466"/>
                    <a:pt x="605" y="466"/>
                    <a:pt x="605" y="466"/>
                  </a:cubicBezTo>
                  <a:cubicBezTo>
                    <a:pt x="629" y="466"/>
                    <a:pt x="629" y="466"/>
                    <a:pt x="629" y="466"/>
                  </a:cubicBezTo>
                  <a:cubicBezTo>
                    <a:pt x="632" y="458"/>
                    <a:pt x="632" y="458"/>
                    <a:pt x="632" y="458"/>
                  </a:cubicBezTo>
                  <a:cubicBezTo>
                    <a:pt x="656" y="454"/>
                    <a:pt x="656" y="454"/>
                    <a:pt x="656" y="454"/>
                  </a:cubicBezTo>
                  <a:cubicBezTo>
                    <a:pt x="648" y="442"/>
                    <a:pt x="660" y="431"/>
                    <a:pt x="660" y="431"/>
                  </a:cubicBezTo>
                  <a:cubicBezTo>
                    <a:pt x="670" y="445"/>
                    <a:pt x="685" y="426"/>
                    <a:pt x="685" y="426"/>
                  </a:cubicBezTo>
                  <a:cubicBezTo>
                    <a:pt x="704" y="448"/>
                    <a:pt x="725" y="407"/>
                    <a:pt x="725" y="407"/>
                  </a:cubicBezTo>
                  <a:cubicBezTo>
                    <a:pt x="725" y="407"/>
                    <a:pt x="757" y="400"/>
                    <a:pt x="758" y="394"/>
                  </a:cubicBezTo>
                  <a:cubicBezTo>
                    <a:pt x="755" y="371"/>
                    <a:pt x="772" y="342"/>
                    <a:pt x="772" y="342"/>
                  </a:cubicBezTo>
                  <a:cubicBezTo>
                    <a:pt x="764" y="342"/>
                    <a:pt x="744" y="317"/>
                    <a:pt x="741" y="313"/>
                  </a:cubicBezTo>
                  <a:cubicBezTo>
                    <a:pt x="705" y="284"/>
                    <a:pt x="737" y="269"/>
                    <a:pt x="733" y="267"/>
                  </a:cubicBezTo>
                  <a:cubicBezTo>
                    <a:pt x="704" y="274"/>
                    <a:pt x="688" y="235"/>
                    <a:pt x="686" y="232"/>
                  </a:cubicBezTo>
                  <a:cubicBezTo>
                    <a:pt x="678" y="230"/>
                    <a:pt x="684" y="206"/>
                    <a:pt x="684" y="200"/>
                  </a:cubicBezTo>
                  <a:cubicBezTo>
                    <a:pt x="698" y="224"/>
                    <a:pt x="737" y="172"/>
                    <a:pt x="737" y="172"/>
                  </a:cubicBezTo>
                  <a:cubicBezTo>
                    <a:pt x="706" y="121"/>
                    <a:pt x="706" y="121"/>
                    <a:pt x="706" y="121"/>
                  </a:cubicBezTo>
                  <a:cubicBezTo>
                    <a:pt x="701" y="129"/>
                    <a:pt x="701" y="129"/>
                    <a:pt x="701" y="129"/>
                  </a:cubicBezTo>
                  <a:cubicBezTo>
                    <a:pt x="698" y="120"/>
                    <a:pt x="698" y="120"/>
                    <a:pt x="698" y="120"/>
                  </a:cubicBezTo>
                  <a:cubicBezTo>
                    <a:pt x="706" y="98"/>
                    <a:pt x="684" y="108"/>
                    <a:pt x="684" y="108"/>
                  </a:cubicBezTo>
                  <a:cubicBezTo>
                    <a:pt x="675" y="97"/>
                    <a:pt x="675" y="97"/>
                    <a:pt x="675" y="97"/>
                  </a:cubicBezTo>
                  <a:cubicBezTo>
                    <a:pt x="691" y="55"/>
                    <a:pt x="691" y="55"/>
                    <a:pt x="691" y="55"/>
                  </a:cubicBezTo>
                  <a:cubicBezTo>
                    <a:pt x="670" y="33"/>
                    <a:pt x="670" y="33"/>
                    <a:pt x="670" y="33"/>
                  </a:cubicBezTo>
                  <a:cubicBezTo>
                    <a:pt x="680" y="10"/>
                    <a:pt x="680" y="10"/>
                    <a:pt x="680" y="10"/>
                  </a:cubicBezTo>
                  <a:cubicBezTo>
                    <a:pt x="674" y="3"/>
                    <a:pt x="674" y="3"/>
                    <a:pt x="674" y="3"/>
                  </a:cubicBezTo>
                  <a:cubicBezTo>
                    <a:pt x="611" y="0"/>
                    <a:pt x="611" y="0"/>
                    <a:pt x="611" y="0"/>
                  </a:cubicBezTo>
                  <a:cubicBezTo>
                    <a:pt x="593" y="12"/>
                    <a:pt x="593" y="12"/>
                    <a:pt x="593" y="12"/>
                  </a:cubicBezTo>
                  <a:cubicBezTo>
                    <a:pt x="577" y="12"/>
                    <a:pt x="577" y="12"/>
                    <a:pt x="577" y="12"/>
                  </a:cubicBezTo>
                  <a:cubicBezTo>
                    <a:pt x="577" y="12"/>
                    <a:pt x="570" y="21"/>
                    <a:pt x="560" y="31"/>
                  </a:cubicBezTo>
                  <a:cubicBezTo>
                    <a:pt x="550" y="30"/>
                    <a:pt x="553" y="57"/>
                    <a:pt x="553" y="57"/>
                  </a:cubicBezTo>
                  <a:cubicBezTo>
                    <a:pt x="559" y="63"/>
                    <a:pt x="559" y="63"/>
                    <a:pt x="559" y="63"/>
                  </a:cubicBezTo>
                  <a:cubicBezTo>
                    <a:pt x="559" y="63"/>
                    <a:pt x="564" y="60"/>
                    <a:pt x="569" y="68"/>
                  </a:cubicBezTo>
                  <a:cubicBezTo>
                    <a:pt x="574" y="76"/>
                    <a:pt x="558" y="76"/>
                    <a:pt x="558" y="76"/>
                  </a:cubicBezTo>
                  <a:cubicBezTo>
                    <a:pt x="527" y="100"/>
                    <a:pt x="527" y="100"/>
                    <a:pt x="527" y="100"/>
                  </a:cubicBezTo>
                  <a:cubicBezTo>
                    <a:pt x="521" y="93"/>
                    <a:pt x="517" y="99"/>
                    <a:pt x="517" y="99"/>
                  </a:cubicBezTo>
                  <a:cubicBezTo>
                    <a:pt x="499" y="98"/>
                    <a:pt x="499" y="98"/>
                    <a:pt x="499" y="98"/>
                  </a:cubicBezTo>
                  <a:cubicBezTo>
                    <a:pt x="497" y="82"/>
                    <a:pt x="497" y="82"/>
                    <a:pt x="497" y="82"/>
                  </a:cubicBezTo>
                  <a:cubicBezTo>
                    <a:pt x="512" y="67"/>
                    <a:pt x="512" y="67"/>
                    <a:pt x="512" y="67"/>
                  </a:cubicBezTo>
                  <a:cubicBezTo>
                    <a:pt x="525" y="66"/>
                    <a:pt x="525" y="66"/>
                    <a:pt x="525" y="66"/>
                  </a:cubicBezTo>
                  <a:cubicBezTo>
                    <a:pt x="525" y="48"/>
                    <a:pt x="525" y="48"/>
                    <a:pt x="525" y="48"/>
                  </a:cubicBezTo>
                  <a:cubicBezTo>
                    <a:pt x="534" y="41"/>
                    <a:pt x="535" y="34"/>
                    <a:pt x="534" y="29"/>
                  </a:cubicBezTo>
                  <a:cubicBezTo>
                    <a:pt x="477" y="88"/>
                    <a:pt x="477" y="88"/>
                    <a:pt x="477" y="88"/>
                  </a:cubicBezTo>
                  <a:cubicBezTo>
                    <a:pt x="445" y="90"/>
                    <a:pt x="445" y="90"/>
                    <a:pt x="445" y="90"/>
                  </a:cubicBezTo>
                  <a:cubicBezTo>
                    <a:pt x="441" y="74"/>
                    <a:pt x="441" y="74"/>
                    <a:pt x="441" y="74"/>
                  </a:cubicBezTo>
                  <a:cubicBezTo>
                    <a:pt x="441" y="74"/>
                    <a:pt x="421" y="71"/>
                    <a:pt x="425" y="64"/>
                  </a:cubicBezTo>
                  <a:cubicBezTo>
                    <a:pt x="408" y="103"/>
                    <a:pt x="385" y="92"/>
                    <a:pt x="385" y="92"/>
                  </a:cubicBezTo>
                  <a:cubicBezTo>
                    <a:pt x="388" y="79"/>
                    <a:pt x="388" y="79"/>
                    <a:pt x="388" y="79"/>
                  </a:cubicBezTo>
                  <a:cubicBezTo>
                    <a:pt x="364" y="68"/>
                    <a:pt x="364" y="68"/>
                    <a:pt x="364" y="68"/>
                  </a:cubicBezTo>
                  <a:cubicBezTo>
                    <a:pt x="364" y="55"/>
                    <a:pt x="364" y="55"/>
                    <a:pt x="364" y="55"/>
                  </a:cubicBezTo>
                  <a:cubicBezTo>
                    <a:pt x="350" y="50"/>
                    <a:pt x="350" y="50"/>
                    <a:pt x="350" y="50"/>
                  </a:cubicBezTo>
                  <a:cubicBezTo>
                    <a:pt x="352" y="36"/>
                    <a:pt x="352" y="36"/>
                    <a:pt x="352" y="36"/>
                  </a:cubicBezTo>
                  <a:cubicBezTo>
                    <a:pt x="344" y="35"/>
                    <a:pt x="336" y="34"/>
                    <a:pt x="334" y="34"/>
                  </a:cubicBezTo>
                  <a:cubicBezTo>
                    <a:pt x="330" y="34"/>
                    <a:pt x="329" y="22"/>
                    <a:pt x="326" y="16"/>
                  </a:cubicBezTo>
                  <a:cubicBezTo>
                    <a:pt x="324" y="11"/>
                    <a:pt x="309" y="24"/>
                    <a:pt x="296" y="24"/>
                  </a:cubicBezTo>
                  <a:cubicBezTo>
                    <a:pt x="282" y="24"/>
                    <a:pt x="265" y="18"/>
                    <a:pt x="265" y="18"/>
                  </a:cubicBezTo>
                  <a:cubicBezTo>
                    <a:pt x="237" y="126"/>
                    <a:pt x="237" y="126"/>
                    <a:pt x="237" y="126"/>
                  </a:cubicBezTo>
                  <a:cubicBezTo>
                    <a:pt x="226" y="124"/>
                    <a:pt x="226" y="124"/>
                    <a:pt x="226" y="124"/>
                  </a:cubicBezTo>
                  <a:cubicBezTo>
                    <a:pt x="225" y="108"/>
                    <a:pt x="225" y="108"/>
                    <a:pt x="225" y="108"/>
                  </a:cubicBezTo>
                  <a:cubicBezTo>
                    <a:pt x="217" y="100"/>
                    <a:pt x="217" y="100"/>
                    <a:pt x="217" y="100"/>
                  </a:cubicBezTo>
                  <a:cubicBezTo>
                    <a:pt x="217" y="100"/>
                    <a:pt x="218" y="90"/>
                    <a:pt x="208" y="86"/>
                  </a:cubicBezTo>
                  <a:cubicBezTo>
                    <a:pt x="197" y="82"/>
                    <a:pt x="198" y="98"/>
                    <a:pt x="193" y="98"/>
                  </a:cubicBezTo>
                  <a:cubicBezTo>
                    <a:pt x="188" y="98"/>
                    <a:pt x="188" y="88"/>
                    <a:pt x="188" y="88"/>
                  </a:cubicBezTo>
                  <a:cubicBezTo>
                    <a:pt x="173" y="100"/>
                    <a:pt x="173" y="100"/>
                    <a:pt x="173" y="100"/>
                  </a:cubicBezTo>
                  <a:cubicBezTo>
                    <a:pt x="164" y="87"/>
                    <a:pt x="164" y="87"/>
                    <a:pt x="164" y="87"/>
                  </a:cubicBezTo>
                  <a:cubicBezTo>
                    <a:pt x="152" y="88"/>
                    <a:pt x="152" y="88"/>
                    <a:pt x="152" y="88"/>
                  </a:cubicBezTo>
                  <a:cubicBezTo>
                    <a:pt x="148" y="127"/>
                    <a:pt x="148" y="127"/>
                    <a:pt x="148" y="127"/>
                  </a:cubicBezTo>
                  <a:cubicBezTo>
                    <a:pt x="148" y="127"/>
                    <a:pt x="137" y="128"/>
                    <a:pt x="132" y="128"/>
                  </a:cubicBezTo>
                  <a:cubicBezTo>
                    <a:pt x="126" y="128"/>
                    <a:pt x="132" y="135"/>
                    <a:pt x="125" y="136"/>
                  </a:cubicBezTo>
                  <a:cubicBezTo>
                    <a:pt x="120" y="137"/>
                    <a:pt x="113" y="129"/>
                    <a:pt x="110" y="125"/>
                  </a:cubicBezTo>
                  <a:cubicBezTo>
                    <a:pt x="111" y="127"/>
                    <a:pt x="111" y="129"/>
                    <a:pt x="101" y="128"/>
                  </a:cubicBezTo>
                  <a:cubicBezTo>
                    <a:pt x="86" y="127"/>
                    <a:pt x="86" y="126"/>
                    <a:pt x="86" y="126"/>
                  </a:cubicBezTo>
                  <a:cubicBezTo>
                    <a:pt x="62" y="132"/>
                    <a:pt x="62" y="132"/>
                    <a:pt x="62" y="132"/>
                  </a:cubicBezTo>
                  <a:cubicBezTo>
                    <a:pt x="56" y="119"/>
                    <a:pt x="56" y="119"/>
                    <a:pt x="56" y="119"/>
                  </a:cubicBezTo>
                  <a:cubicBezTo>
                    <a:pt x="42" y="119"/>
                    <a:pt x="42" y="119"/>
                    <a:pt x="42" y="119"/>
                  </a:cubicBezTo>
                  <a:cubicBezTo>
                    <a:pt x="41" y="100"/>
                    <a:pt x="41" y="100"/>
                    <a:pt x="41" y="100"/>
                  </a:cubicBezTo>
                  <a:cubicBezTo>
                    <a:pt x="16" y="111"/>
                    <a:pt x="16" y="111"/>
                    <a:pt x="16" y="111"/>
                  </a:cubicBezTo>
                  <a:cubicBezTo>
                    <a:pt x="21" y="124"/>
                    <a:pt x="21" y="124"/>
                    <a:pt x="21" y="124"/>
                  </a:cubicBezTo>
                  <a:cubicBezTo>
                    <a:pt x="17" y="139"/>
                    <a:pt x="17" y="139"/>
                    <a:pt x="17" y="139"/>
                  </a:cubicBezTo>
                  <a:cubicBezTo>
                    <a:pt x="24" y="152"/>
                    <a:pt x="24" y="152"/>
                    <a:pt x="24" y="152"/>
                  </a:cubicBezTo>
                  <a:cubicBezTo>
                    <a:pt x="25" y="187"/>
                    <a:pt x="25" y="187"/>
                    <a:pt x="25" y="187"/>
                  </a:cubicBezTo>
                  <a:cubicBezTo>
                    <a:pt x="0" y="196"/>
                    <a:pt x="0" y="196"/>
                    <a:pt x="0" y="196"/>
                  </a:cubicBezTo>
                  <a:cubicBezTo>
                    <a:pt x="0" y="208"/>
                    <a:pt x="0" y="208"/>
                    <a:pt x="0" y="208"/>
                  </a:cubicBezTo>
                  <a:cubicBezTo>
                    <a:pt x="12" y="224"/>
                    <a:pt x="12" y="224"/>
                    <a:pt x="12" y="224"/>
                  </a:cubicBezTo>
                  <a:cubicBezTo>
                    <a:pt x="4" y="227"/>
                    <a:pt x="4" y="227"/>
                    <a:pt x="4" y="227"/>
                  </a:cubicBezTo>
                  <a:cubicBezTo>
                    <a:pt x="2" y="255"/>
                    <a:pt x="2" y="255"/>
                    <a:pt x="2" y="255"/>
                  </a:cubicBezTo>
                  <a:cubicBezTo>
                    <a:pt x="2" y="255"/>
                    <a:pt x="25" y="291"/>
                    <a:pt x="29" y="311"/>
                  </a:cubicBezTo>
                  <a:cubicBezTo>
                    <a:pt x="34" y="311"/>
                    <a:pt x="74" y="347"/>
                    <a:pt x="62" y="367"/>
                  </a:cubicBezTo>
                  <a:cubicBezTo>
                    <a:pt x="60" y="374"/>
                    <a:pt x="46" y="380"/>
                    <a:pt x="46" y="380"/>
                  </a:cubicBezTo>
                  <a:cubicBezTo>
                    <a:pt x="50" y="403"/>
                    <a:pt x="50" y="403"/>
                    <a:pt x="50" y="403"/>
                  </a:cubicBezTo>
                  <a:cubicBezTo>
                    <a:pt x="56" y="384"/>
                    <a:pt x="56" y="384"/>
                    <a:pt x="56" y="384"/>
                  </a:cubicBezTo>
                  <a:cubicBezTo>
                    <a:pt x="68" y="384"/>
                    <a:pt x="68" y="384"/>
                    <a:pt x="68" y="384"/>
                  </a:cubicBezTo>
                  <a:cubicBezTo>
                    <a:pt x="72" y="396"/>
                    <a:pt x="72" y="396"/>
                    <a:pt x="72" y="396"/>
                  </a:cubicBezTo>
                  <a:cubicBezTo>
                    <a:pt x="82" y="391"/>
                    <a:pt x="82" y="391"/>
                    <a:pt x="82" y="391"/>
                  </a:cubicBezTo>
                  <a:cubicBezTo>
                    <a:pt x="88" y="398"/>
                    <a:pt x="88" y="398"/>
                    <a:pt x="88" y="398"/>
                  </a:cubicBezTo>
                  <a:cubicBezTo>
                    <a:pt x="90" y="390"/>
                    <a:pt x="90" y="390"/>
                    <a:pt x="90" y="390"/>
                  </a:cubicBezTo>
                  <a:cubicBezTo>
                    <a:pt x="90" y="390"/>
                    <a:pt x="120" y="375"/>
                    <a:pt x="126" y="384"/>
                  </a:cubicBezTo>
                  <a:cubicBezTo>
                    <a:pt x="133" y="394"/>
                    <a:pt x="158" y="391"/>
                    <a:pt x="145" y="402"/>
                  </a:cubicBezTo>
                  <a:cubicBezTo>
                    <a:pt x="150" y="406"/>
                    <a:pt x="150" y="406"/>
                    <a:pt x="150" y="406"/>
                  </a:cubicBezTo>
                  <a:cubicBezTo>
                    <a:pt x="157" y="424"/>
                    <a:pt x="157" y="424"/>
                    <a:pt x="157" y="424"/>
                  </a:cubicBezTo>
                  <a:cubicBezTo>
                    <a:pt x="157" y="424"/>
                    <a:pt x="188" y="403"/>
                    <a:pt x="174" y="452"/>
                  </a:cubicBezTo>
                  <a:cubicBezTo>
                    <a:pt x="170" y="464"/>
                    <a:pt x="170" y="468"/>
                    <a:pt x="171" y="469"/>
                  </a:cubicBezTo>
                  <a:cubicBezTo>
                    <a:pt x="172" y="470"/>
                    <a:pt x="172" y="470"/>
                    <a:pt x="172" y="470"/>
                  </a:cubicBezTo>
                  <a:cubicBezTo>
                    <a:pt x="172" y="470"/>
                    <a:pt x="171" y="470"/>
                    <a:pt x="171" y="469"/>
                  </a:cubicBezTo>
                  <a:cubicBezTo>
                    <a:pt x="157" y="458"/>
                    <a:pt x="157" y="458"/>
                    <a:pt x="157" y="458"/>
                  </a:cubicBezTo>
                  <a:cubicBezTo>
                    <a:pt x="160" y="470"/>
                    <a:pt x="160" y="470"/>
                    <a:pt x="160" y="470"/>
                  </a:cubicBezTo>
                  <a:cubicBezTo>
                    <a:pt x="160" y="470"/>
                    <a:pt x="150" y="475"/>
                    <a:pt x="150" y="479"/>
                  </a:cubicBezTo>
                  <a:cubicBezTo>
                    <a:pt x="150" y="483"/>
                    <a:pt x="157" y="495"/>
                    <a:pt x="157" y="495"/>
                  </a:cubicBezTo>
                  <a:cubicBezTo>
                    <a:pt x="142" y="495"/>
                    <a:pt x="142" y="495"/>
                    <a:pt x="142" y="495"/>
                  </a:cubicBezTo>
                  <a:cubicBezTo>
                    <a:pt x="142" y="515"/>
                    <a:pt x="142" y="515"/>
                    <a:pt x="142" y="515"/>
                  </a:cubicBezTo>
                  <a:cubicBezTo>
                    <a:pt x="122" y="519"/>
                    <a:pt x="122" y="519"/>
                    <a:pt x="122" y="519"/>
                  </a:cubicBezTo>
                  <a:cubicBezTo>
                    <a:pt x="110" y="547"/>
                    <a:pt x="110" y="547"/>
                    <a:pt x="110" y="547"/>
                  </a:cubicBezTo>
                  <a:cubicBezTo>
                    <a:pt x="82" y="548"/>
                    <a:pt x="82" y="548"/>
                    <a:pt x="82" y="548"/>
                  </a:cubicBezTo>
                  <a:cubicBezTo>
                    <a:pt x="81" y="554"/>
                    <a:pt x="81" y="554"/>
                    <a:pt x="81" y="554"/>
                  </a:cubicBezTo>
                  <a:cubicBezTo>
                    <a:pt x="62" y="563"/>
                    <a:pt x="62" y="563"/>
                    <a:pt x="62" y="563"/>
                  </a:cubicBezTo>
                  <a:cubicBezTo>
                    <a:pt x="62" y="579"/>
                    <a:pt x="62" y="579"/>
                    <a:pt x="62" y="579"/>
                  </a:cubicBezTo>
                  <a:cubicBezTo>
                    <a:pt x="41" y="588"/>
                    <a:pt x="41" y="588"/>
                    <a:pt x="41" y="588"/>
                  </a:cubicBezTo>
                  <a:cubicBezTo>
                    <a:pt x="54" y="640"/>
                    <a:pt x="54" y="640"/>
                    <a:pt x="54" y="640"/>
                  </a:cubicBezTo>
                  <a:lnTo>
                    <a:pt x="68" y="647"/>
                  </a:lnTo>
                  <a:close/>
                </a:path>
              </a:pathLst>
            </a:custGeom>
            <a:solidFill>
              <a:srgbClr val="F4F3F0"/>
            </a:solid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grpSp>
      <p:pic>
        <p:nvPicPr>
          <p:cNvPr id="73" name="Graphique 72" descr="Utilisateur">
            <a:extLst>
              <a:ext uri="{FF2B5EF4-FFF2-40B4-BE49-F238E27FC236}">
                <a16:creationId xmlns:a16="http://schemas.microsoft.com/office/drawing/2014/main" id="{C6A6CF84-2F9D-4E52-AFE5-35631694F7F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62600" y="918286"/>
            <a:ext cx="343642" cy="343642"/>
          </a:xfrm>
          <a:prstGeom prst="rect">
            <a:avLst/>
          </a:prstGeom>
        </p:spPr>
      </p:pic>
      <p:pic>
        <p:nvPicPr>
          <p:cNvPr id="74" name="Graphique 73" descr="Enfants">
            <a:extLst>
              <a:ext uri="{FF2B5EF4-FFF2-40B4-BE49-F238E27FC236}">
                <a16:creationId xmlns:a16="http://schemas.microsoft.com/office/drawing/2014/main" id="{D851B50F-2984-4779-A0ED-60D8E13275F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82720" y="929748"/>
            <a:ext cx="357605" cy="357605"/>
          </a:xfrm>
          <a:prstGeom prst="rect">
            <a:avLst/>
          </a:prstGeom>
        </p:spPr>
      </p:pic>
      <p:pic>
        <p:nvPicPr>
          <p:cNvPr id="75" name="Graphique 74" descr="Hôpital">
            <a:extLst>
              <a:ext uri="{FF2B5EF4-FFF2-40B4-BE49-F238E27FC236}">
                <a16:creationId xmlns:a16="http://schemas.microsoft.com/office/drawing/2014/main" id="{627B3B7F-D7EE-41D7-AA2C-D0E32743B9B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01315" y="898323"/>
            <a:ext cx="377667" cy="377667"/>
          </a:xfrm>
          <a:prstGeom prst="rect">
            <a:avLst/>
          </a:prstGeom>
        </p:spPr>
      </p:pic>
      <p:sp>
        <p:nvSpPr>
          <p:cNvPr id="76" name="ZoneTexte 75">
            <a:extLst>
              <a:ext uri="{FF2B5EF4-FFF2-40B4-BE49-F238E27FC236}">
                <a16:creationId xmlns:a16="http://schemas.microsoft.com/office/drawing/2014/main" id="{0C14CDE1-4A6F-4087-B4F3-6273E0234429}"/>
              </a:ext>
            </a:extLst>
          </p:cNvPr>
          <p:cNvSpPr txBox="1"/>
          <p:nvPr/>
        </p:nvSpPr>
        <p:spPr>
          <a:xfrm>
            <a:off x="3506076" y="959276"/>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ublic cible</a:t>
            </a:r>
          </a:p>
          <a:p>
            <a:pPr marL="171450" indent="-171450">
              <a:buFontTx/>
              <a:buChar char="-"/>
            </a:pPr>
            <a:endParaRPr lang="fr-FR" sz="1200">
              <a:solidFill>
                <a:srgbClr val="5F5F5F"/>
              </a:solidFill>
              <a:latin typeface="Tahoma"/>
            </a:endParaRPr>
          </a:p>
        </p:txBody>
      </p:sp>
      <p:sp>
        <p:nvSpPr>
          <p:cNvPr id="77" name="Rectangle 76">
            <a:extLst>
              <a:ext uri="{FF2B5EF4-FFF2-40B4-BE49-F238E27FC236}">
                <a16:creationId xmlns:a16="http://schemas.microsoft.com/office/drawing/2014/main" id="{18BDD13C-B5D0-4E52-B753-15D0DD3B3E17}"/>
              </a:ext>
            </a:extLst>
          </p:cNvPr>
          <p:cNvSpPr/>
          <p:nvPr/>
        </p:nvSpPr>
        <p:spPr>
          <a:xfrm>
            <a:off x="3041222" y="920243"/>
            <a:ext cx="2566378"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8" name="Rectangle 77">
            <a:extLst>
              <a:ext uri="{FF2B5EF4-FFF2-40B4-BE49-F238E27FC236}">
                <a16:creationId xmlns:a16="http://schemas.microsoft.com/office/drawing/2014/main" id="{71793C03-8753-4B36-A5B5-80AA78123974}"/>
              </a:ext>
            </a:extLst>
          </p:cNvPr>
          <p:cNvSpPr/>
          <p:nvPr/>
        </p:nvSpPr>
        <p:spPr>
          <a:xfrm>
            <a:off x="8329059" y="918287"/>
            <a:ext cx="2630482" cy="1028237"/>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9" name="ZoneTexte 78">
            <a:extLst>
              <a:ext uri="{FF2B5EF4-FFF2-40B4-BE49-F238E27FC236}">
                <a16:creationId xmlns:a16="http://schemas.microsoft.com/office/drawing/2014/main" id="{F3216585-16EA-451C-A228-1B2ADE96CEBA}"/>
              </a:ext>
            </a:extLst>
          </p:cNvPr>
          <p:cNvSpPr txBox="1"/>
          <p:nvPr/>
        </p:nvSpPr>
        <p:spPr>
          <a:xfrm>
            <a:off x="8699428" y="963457"/>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ortage / gestion du projet </a:t>
            </a:r>
          </a:p>
          <a:p>
            <a:pPr marL="171450" indent="-171450">
              <a:buFontTx/>
              <a:buChar char="-"/>
            </a:pPr>
            <a:endParaRPr lang="fr-FR" sz="1200">
              <a:solidFill>
                <a:srgbClr val="5F5F5F"/>
              </a:solidFill>
              <a:latin typeface="Tahoma"/>
            </a:endParaRPr>
          </a:p>
        </p:txBody>
      </p:sp>
      <p:sp>
        <p:nvSpPr>
          <p:cNvPr id="80" name="Rectangle 79">
            <a:extLst>
              <a:ext uri="{FF2B5EF4-FFF2-40B4-BE49-F238E27FC236}">
                <a16:creationId xmlns:a16="http://schemas.microsoft.com/office/drawing/2014/main" id="{B66D8D8E-BC5A-49A9-8DB6-4869B330B376}"/>
              </a:ext>
            </a:extLst>
          </p:cNvPr>
          <p:cNvSpPr/>
          <p:nvPr/>
        </p:nvSpPr>
        <p:spPr>
          <a:xfrm>
            <a:off x="5657842" y="920242"/>
            <a:ext cx="2630482" cy="1026282"/>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81" name="ZoneTexte 80">
            <a:extLst>
              <a:ext uri="{FF2B5EF4-FFF2-40B4-BE49-F238E27FC236}">
                <a16:creationId xmlns:a16="http://schemas.microsoft.com/office/drawing/2014/main" id="{467AD70D-6EAE-4489-9063-974FD7914FDC}"/>
              </a:ext>
            </a:extLst>
          </p:cNvPr>
          <p:cNvSpPr txBox="1"/>
          <p:nvPr/>
        </p:nvSpPr>
        <p:spPr>
          <a:xfrm>
            <a:off x="6045885" y="987123"/>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Typologie de structure</a:t>
            </a:r>
          </a:p>
          <a:p>
            <a:pPr marL="171450" indent="-171450">
              <a:buFontTx/>
              <a:buChar char="-"/>
            </a:pPr>
            <a:endParaRPr lang="fr-FR" sz="1200">
              <a:solidFill>
                <a:srgbClr val="5F5F5F"/>
              </a:solidFill>
              <a:latin typeface="Tahoma"/>
            </a:endParaRPr>
          </a:p>
        </p:txBody>
      </p:sp>
      <p:sp>
        <p:nvSpPr>
          <p:cNvPr id="82" name="ZoneTexte 81">
            <a:extLst>
              <a:ext uri="{FF2B5EF4-FFF2-40B4-BE49-F238E27FC236}">
                <a16:creationId xmlns:a16="http://schemas.microsoft.com/office/drawing/2014/main" id="{B1A32C3C-0B34-41DD-8563-601C28EA19CB}"/>
              </a:ext>
            </a:extLst>
          </p:cNvPr>
          <p:cNvSpPr txBox="1"/>
          <p:nvPr/>
        </p:nvSpPr>
        <p:spPr>
          <a:xfrm>
            <a:off x="3023258" y="1229168"/>
            <a:ext cx="2600152" cy="633828"/>
          </a:xfrm>
          <a:prstGeom prst="rect">
            <a:avLst/>
          </a:prstGeom>
          <a:noFill/>
          <a:ln>
            <a:noFill/>
          </a:ln>
        </p:spPr>
        <p:txBody>
          <a:bodyPr wrap="square" lIns="108000" rIns="108000" rtlCol="0">
            <a:spAutoFit/>
          </a:bodyPr>
          <a:lstStyle/>
          <a:p>
            <a:pPr marL="171450" indent="-171450">
              <a:lnSpc>
                <a:spcPct val="107000"/>
              </a:lnSpc>
              <a:spcAft>
                <a:spcPts val="300"/>
              </a:spcAft>
              <a:buClr>
                <a:srgbClr val="503078"/>
              </a:buClr>
              <a:buFont typeface="Tahoma" panose="020B0604030504040204" pitchFamily="34" charset="0"/>
              <a:buChar char="⁄"/>
            </a:pPr>
            <a:r>
              <a:rPr lang="fr-FR" sz="1050">
                <a:solidFill>
                  <a:srgbClr val="5F5F5F"/>
                </a:solidFill>
                <a:latin typeface="Tahoma"/>
              </a:rPr>
              <a:t>Personnes en situation de handicap et leurs aidants ou aidants seuls</a:t>
            </a:r>
          </a:p>
          <a:p>
            <a:pPr marL="171450" indent="-171450">
              <a:lnSpc>
                <a:spcPct val="107000"/>
              </a:lnSpc>
              <a:spcAft>
                <a:spcPts val="300"/>
              </a:spcAft>
              <a:buClr>
                <a:srgbClr val="503078"/>
              </a:buClr>
              <a:buFont typeface="Tahoma" panose="020B0604030504040204" pitchFamily="34" charset="0"/>
              <a:buChar char="⁄"/>
            </a:pPr>
            <a:r>
              <a:rPr lang="fr-FR" sz="1050">
                <a:solidFill>
                  <a:srgbClr val="5F5F5F"/>
                </a:solidFill>
                <a:latin typeface="Tahoma"/>
              </a:rPr>
              <a:t>Publics individuels ou associatifs / MS</a:t>
            </a:r>
          </a:p>
        </p:txBody>
      </p:sp>
      <p:sp>
        <p:nvSpPr>
          <p:cNvPr id="83" name="ZoneTexte 82">
            <a:extLst>
              <a:ext uri="{FF2B5EF4-FFF2-40B4-BE49-F238E27FC236}">
                <a16:creationId xmlns:a16="http://schemas.microsoft.com/office/drawing/2014/main" id="{1733794F-8EF9-4C48-9782-80A162A94714}"/>
              </a:ext>
            </a:extLst>
          </p:cNvPr>
          <p:cNvSpPr txBox="1"/>
          <p:nvPr/>
        </p:nvSpPr>
        <p:spPr>
          <a:xfrm>
            <a:off x="5633852" y="1228238"/>
            <a:ext cx="2734774" cy="595356"/>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Etablissement touristique labellisé Tourisme et Handicap sur les 4 familles de déficience	</a:t>
            </a:r>
          </a:p>
        </p:txBody>
      </p:sp>
      <p:sp>
        <p:nvSpPr>
          <p:cNvPr id="84" name="ZoneTexte 83">
            <a:extLst>
              <a:ext uri="{FF2B5EF4-FFF2-40B4-BE49-F238E27FC236}">
                <a16:creationId xmlns:a16="http://schemas.microsoft.com/office/drawing/2014/main" id="{7DEEAC28-0016-4E5D-B788-1095583216D2}"/>
              </a:ext>
            </a:extLst>
          </p:cNvPr>
          <p:cNvSpPr txBox="1"/>
          <p:nvPr/>
        </p:nvSpPr>
        <p:spPr>
          <a:xfrm>
            <a:off x="8328204" y="1263641"/>
            <a:ext cx="2734774" cy="595356"/>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Co-portage par l’action Sociale MGEN et le Ministère de l’Education Nationale en partenariat avec l’APAJH</a:t>
            </a:r>
          </a:p>
        </p:txBody>
      </p:sp>
      <p:sp>
        <p:nvSpPr>
          <p:cNvPr id="85" name="ZoneTexte 84">
            <a:extLst>
              <a:ext uri="{FF2B5EF4-FFF2-40B4-BE49-F238E27FC236}">
                <a16:creationId xmlns:a16="http://schemas.microsoft.com/office/drawing/2014/main" id="{E9F7A303-6693-435B-9160-FE4D12E1D96C}"/>
              </a:ext>
            </a:extLst>
          </p:cNvPr>
          <p:cNvSpPr txBox="1"/>
          <p:nvPr/>
        </p:nvSpPr>
        <p:spPr>
          <a:xfrm>
            <a:off x="2624667" y="2508140"/>
            <a:ext cx="3376602" cy="954107"/>
          </a:xfrm>
          <a:prstGeom prst="rect">
            <a:avLst/>
          </a:prstGeom>
          <a:solidFill>
            <a:srgbClr val="E1E0EC"/>
          </a:solidFill>
        </p:spPr>
        <p:txBody>
          <a:bodyPr wrap="square" lIns="108000" rIns="108000" rtlCol="0">
            <a:spAutoFit/>
          </a:bodyPr>
          <a:lstStyle/>
          <a:p>
            <a:endParaRPr lang="fr-FR" sz="1400">
              <a:solidFill>
                <a:srgbClr val="5F5F5F"/>
              </a:solidFill>
              <a:latin typeface="Tahoma"/>
            </a:endParaRPr>
          </a:p>
          <a:p>
            <a:endParaRPr lang="fr-FR" sz="1400">
              <a:solidFill>
                <a:srgbClr val="5F5F5F"/>
              </a:solidFill>
              <a:latin typeface="Tahoma"/>
            </a:endParaRPr>
          </a:p>
          <a:p>
            <a:endParaRPr lang="fr-FR" sz="1400">
              <a:solidFill>
                <a:srgbClr val="5F5F5F"/>
              </a:solidFill>
              <a:latin typeface="Tahoma"/>
            </a:endParaRPr>
          </a:p>
          <a:p>
            <a:endParaRPr lang="fr-FR" sz="1400">
              <a:solidFill>
                <a:srgbClr val="5F5F5F"/>
              </a:solidFill>
              <a:latin typeface="Tahoma"/>
            </a:endParaRPr>
          </a:p>
        </p:txBody>
      </p:sp>
      <p:sp>
        <p:nvSpPr>
          <p:cNvPr id="86" name="ZoneTexte 85">
            <a:extLst>
              <a:ext uri="{FF2B5EF4-FFF2-40B4-BE49-F238E27FC236}">
                <a16:creationId xmlns:a16="http://schemas.microsoft.com/office/drawing/2014/main" id="{DB718B9D-F9B7-487E-8480-7D5659EEED4F}"/>
              </a:ext>
            </a:extLst>
          </p:cNvPr>
          <p:cNvSpPr txBox="1"/>
          <p:nvPr/>
        </p:nvSpPr>
        <p:spPr>
          <a:xfrm>
            <a:off x="2632187" y="4981139"/>
            <a:ext cx="3366617" cy="1424751"/>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87" name="ZoneTexte 86">
            <a:extLst>
              <a:ext uri="{FF2B5EF4-FFF2-40B4-BE49-F238E27FC236}">
                <a16:creationId xmlns:a16="http://schemas.microsoft.com/office/drawing/2014/main" id="{8B2A53AE-A8E9-4124-8CEE-1EFC117FFEAB}"/>
              </a:ext>
            </a:extLst>
          </p:cNvPr>
          <p:cNvSpPr txBox="1"/>
          <p:nvPr/>
        </p:nvSpPr>
        <p:spPr>
          <a:xfrm>
            <a:off x="2624667" y="3523387"/>
            <a:ext cx="3376602" cy="1392479"/>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88" name="Rectangle 87">
            <a:extLst>
              <a:ext uri="{FF2B5EF4-FFF2-40B4-BE49-F238E27FC236}">
                <a16:creationId xmlns:a16="http://schemas.microsoft.com/office/drawing/2014/main" id="{2A1E6627-168E-400C-A858-835A116FF310}"/>
              </a:ext>
            </a:extLst>
          </p:cNvPr>
          <p:cNvSpPr/>
          <p:nvPr/>
        </p:nvSpPr>
        <p:spPr>
          <a:xfrm>
            <a:off x="1254009" y="2059375"/>
            <a:ext cx="4825165" cy="4434773"/>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89" name="ZoneTexte 88">
            <a:extLst>
              <a:ext uri="{FF2B5EF4-FFF2-40B4-BE49-F238E27FC236}">
                <a16:creationId xmlns:a16="http://schemas.microsoft.com/office/drawing/2014/main" id="{CF8E49A1-05AB-4880-B730-882FD00F694A}"/>
              </a:ext>
            </a:extLst>
          </p:cNvPr>
          <p:cNvSpPr txBox="1"/>
          <p:nvPr/>
        </p:nvSpPr>
        <p:spPr>
          <a:xfrm>
            <a:off x="1254009" y="2080425"/>
            <a:ext cx="4815764" cy="307777"/>
          </a:xfrm>
          <a:prstGeom prst="rect">
            <a:avLst/>
          </a:prstGeom>
          <a:solidFill>
            <a:srgbClr val="B0ADCC"/>
          </a:solidFill>
          <a:ln>
            <a:noFill/>
          </a:ln>
        </p:spPr>
        <p:txBody>
          <a:bodyPr wrap="square" lIns="108000" rIns="108000" rtlCol="0">
            <a:spAutoFit/>
          </a:bodyPr>
          <a:lstStyle/>
          <a:p>
            <a:pPr algn="ctr"/>
            <a:r>
              <a:rPr lang="fr-FR" sz="1400" b="1">
                <a:solidFill>
                  <a:srgbClr val="FFFFFF"/>
                </a:solidFill>
                <a:latin typeface="Tahoma"/>
              </a:rPr>
              <a:t>Modèle opérationnel </a:t>
            </a:r>
          </a:p>
        </p:txBody>
      </p:sp>
      <p:sp>
        <p:nvSpPr>
          <p:cNvPr id="90" name="Rectangle 89">
            <a:extLst>
              <a:ext uri="{FF2B5EF4-FFF2-40B4-BE49-F238E27FC236}">
                <a16:creationId xmlns:a16="http://schemas.microsoft.com/office/drawing/2014/main" id="{D9874271-AE18-443A-874B-7BCEF4BE6208}"/>
              </a:ext>
            </a:extLst>
          </p:cNvPr>
          <p:cNvSpPr/>
          <p:nvPr/>
        </p:nvSpPr>
        <p:spPr>
          <a:xfrm>
            <a:off x="6122614" y="2059375"/>
            <a:ext cx="4824000" cy="4434773"/>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91" name="ZoneTexte 90">
            <a:extLst>
              <a:ext uri="{FF2B5EF4-FFF2-40B4-BE49-F238E27FC236}">
                <a16:creationId xmlns:a16="http://schemas.microsoft.com/office/drawing/2014/main" id="{136C3522-7C4B-499F-9CEE-80BA6AD39173}"/>
              </a:ext>
            </a:extLst>
          </p:cNvPr>
          <p:cNvSpPr txBox="1"/>
          <p:nvPr/>
        </p:nvSpPr>
        <p:spPr>
          <a:xfrm>
            <a:off x="6135540" y="2080426"/>
            <a:ext cx="4824000" cy="307777"/>
          </a:xfrm>
          <a:prstGeom prst="rect">
            <a:avLst/>
          </a:prstGeom>
          <a:solidFill>
            <a:srgbClr val="B24669"/>
          </a:solidFill>
          <a:ln>
            <a:noFill/>
          </a:ln>
        </p:spPr>
        <p:txBody>
          <a:bodyPr wrap="square" lIns="108000" rIns="108000" rtlCol="0">
            <a:spAutoFit/>
          </a:bodyPr>
          <a:lstStyle/>
          <a:p>
            <a:pPr algn="ctr"/>
            <a:r>
              <a:rPr lang="fr-FR" sz="1400" b="1">
                <a:solidFill>
                  <a:srgbClr val="FFFFFF"/>
                </a:solidFill>
                <a:latin typeface="Tahoma"/>
              </a:rPr>
              <a:t>Modèle économique </a:t>
            </a:r>
          </a:p>
        </p:txBody>
      </p:sp>
      <p:sp>
        <p:nvSpPr>
          <p:cNvPr id="92" name="ZoneTexte 91">
            <a:extLst>
              <a:ext uri="{FF2B5EF4-FFF2-40B4-BE49-F238E27FC236}">
                <a16:creationId xmlns:a16="http://schemas.microsoft.com/office/drawing/2014/main" id="{57D2A9B5-F4A9-4D5E-9F9C-531515EE91E2}"/>
              </a:ext>
            </a:extLst>
          </p:cNvPr>
          <p:cNvSpPr txBox="1"/>
          <p:nvPr/>
        </p:nvSpPr>
        <p:spPr>
          <a:xfrm>
            <a:off x="2617677" y="2513670"/>
            <a:ext cx="3202555" cy="977768"/>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9 mobil-homes dont 8 PMR et 3 avec des lits médicalisé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50 emplacements de camping,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25 chambres dont 15 PMR (capacité d’accueil de 350 personnes*)</a:t>
            </a:r>
          </a:p>
        </p:txBody>
      </p:sp>
      <p:sp>
        <p:nvSpPr>
          <p:cNvPr id="93" name="ZoneTexte 92">
            <a:extLst>
              <a:ext uri="{FF2B5EF4-FFF2-40B4-BE49-F238E27FC236}">
                <a16:creationId xmlns:a16="http://schemas.microsoft.com/office/drawing/2014/main" id="{4D089D58-10B5-4447-8E1D-602D8764AE8D}"/>
              </a:ext>
            </a:extLst>
          </p:cNvPr>
          <p:cNvSpPr txBox="1"/>
          <p:nvPr/>
        </p:nvSpPr>
        <p:spPr>
          <a:xfrm>
            <a:off x="2618794" y="5028716"/>
            <a:ext cx="3366617" cy="1384033"/>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Restauration assurée en propre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Option blanchisserie</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ctivités adaptées pour les personnes dépendantes (plateau sportif, aire de jeux)</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ctivités de bien-être proposées aux aidant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Orientation vers des activités extérieures adaptées sur le territoire et mise en relation avec les porteurs</a:t>
            </a:r>
          </a:p>
        </p:txBody>
      </p:sp>
      <p:sp>
        <p:nvSpPr>
          <p:cNvPr id="94" name="ZoneTexte 93">
            <a:extLst>
              <a:ext uri="{FF2B5EF4-FFF2-40B4-BE49-F238E27FC236}">
                <a16:creationId xmlns:a16="http://schemas.microsoft.com/office/drawing/2014/main" id="{AC140E83-D493-4FC0-B97C-DFD9A6F52DCF}"/>
              </a:ext>
            </a:extLst>
          </p:cNvPr>
          <p:cNvSpPr txBox="1"/>
          <p:nvPr/>
        </p:nvSpPr>
        <p:spPr>
          <a:xfrm>
            <a:off x="2629781" y="3553651"/>
            <a:ext cx="3376359" cy="1345561"/>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as d’accompagnement médico-social à ce stade mais des réflexions sont en cours (structures MGEN)</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résence d’un accompagnateur par PSH (APAJH)</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artenariats avec Harmonie </a:t>
            </a:r>
            <a:r>
              <a:rPr lang="fr-FR" sz="1000" err="1">
                <a:solidFill>
                  <a:srgbClr val="5F5F5F"/>
                </a:solidFill>
                <a:latin typeface="Tahoma"/>
              </a:rPr>
              <a:t>Medical</a:t>
            </a:r>
            <a:r>
              <a:rPr lang="fr-FR" sz="1000">
                <a:solidFill>
                  <a:srgbClr val="5F5F5F"/>
                </a:solidFill>
                <a:latin typeface="Tahoma"/>
              </a:rPr>
              <a:t> Services et les pharmacies locales pour la fourniture d’équipement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Transmission aux vacanciers de la liste des professionnels de santé du territoire</a:t>
            </a:r>
          </a:p>
        </p:txBody>
      </p:sp>
      <p:sp>
        <p:nvSpPr>
          <p:cNvPr id="95" name="ZoneTexte 94">
            <a:extLst>
              <a:ext uri="{FF2B5EF4-FFF2-40B4-BE49-F238E27FC236}">
                <a16:creationId xmlns:a16="http://schemas.microsoft.com/office/drawing/2014/main" id="{6A1E0BAE-23DD-4446-95EE-A9C85EFF2654}"/>
              </a:ext>
            </a:extLst>
          </p:cNvPr>
          <p:cNvSpPr txBox="1"/>
          <p:nvPr/>
        </p:nvSpPr>
        <p:spPr>
          <a:xfrm>
            <a:off x="6189871" y="2508139"/>
            <a:ext cx="3736745" cy="578320"/>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96" name="ZoneTexte 95">
            <a:extLst>
              <a:ext uri="{FF2B5EF4-FFF2-40B4-BE49-F238E27FC236}">
                <a16:creationId xmlns:a16="http://schemas.microsoft.com/office/drawing/2014/main" id="{13B2C044-CD71-426A-AFE3-0C09A7D133EF}"/>
              </a:ext>
            </a:extLst>
          </p:cNvPr>
          <p:cNvSpPr txBox="1"/>
          <p:nvPr/>
        </p:nvSpPr>
        <p:spPr>
          <a:xfrm>
            <a:off x="6179121" y="3135394"/>
            <a:ext cx="3743057" cy="1894317"/>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pic>
        <p:nvPicPr>
          <p:cNvPr id="97" name="Graphique 96" descr="Logement avec un remplissage uni">
            <a:extLst>
              <a:ext uri="{FF2B5EF4-FFF2-40B4-BE49-F238E27FC236}">
                <a16:creationId xmlns:a16="http://schemas.microsoft.com/office/drawing/2014/main" id="{E3BA0EA2-CCBB-4114-81A2-7610956DCA3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19351" y="2591112"/>
            <a:ext cx="447721" cy="447721"/>
          </a:xfrm>
          <a:prstGeom prst="rect">
            <a:avLst/>
          </a:prstGeom>
        </p:spPr>
      </p:pic>
      <p:sp>
        <p:nvSpPr>
          <p:cNvPr id="98" name="ZoneTexte 97">
            <a:extLst>
              <a:ext uri="{FF2B5EF4-FFF2-40B4-BE49-F238E27FC236}">
                <a16:creationId xmlns:a16="http://schemas.microsoft.com/office/drawing/2014/main" id="{2CC259FC-E306-4312-865A-A0090842948C}"/>
              </a:ext>
            </a:extLst>
          </p:cNvPr>
          <p:cNvSpPr txBox="1"/>
          <p:nvPr/>
        </p:nvSpPr>
        <p:spPr>
          <a:xfrm>
            <a:off x="9796442" y="2423330"/>
            <a:ext cx="1244543" cy="446276"/>
          </a:xfrm>
          <a:prstGeom prst="rect">
            <a:avLst/>
          </a:prstGeom>
          <a:noFill/>
          <a:ln>
            <a:noFill/>
          </a:ln>
        </p:spPr>
        <p:txBody>
          <a:bodyPr wrap="square" lIns="108000" rIns="108000" rtlCol="0">
            <a:spAutoFit/>
          </a:bodyPr>
          <a:lstStyle/>
          <a:p>
            <a:pPr algn="ctr"/>
            <a:r>
              <a:rPr lang="fr-FR" sz="1100" b="1">
                <a:solidFill>
                  <a:srgbClr val="B24669"/>
                </a:solidFill>
                <a:latin typeface="Tahoma"/>
              </a:rPr>
              <a:t>Immobilier</a:t>
            </a:r>
          </a:p>
          <a:p>
            <a:pPr marL="171450" indent="-171450" algn="ctr">
              <a:buFontTx/>
              <a:buChar char="-"/>
            </a:pPr>
            <a:endParaRPr lang="fr-FR" sz="1200">
              <a:solidFill>
                <a:srgbClr val="B24669"/>
              </a:solidFill>
              <a:latin typeface="Tahoma"/>
            </a:endParaRPr>
          </a:p>
        </p:txBody>
      </p:sp>
      <p:sp>
        <p:nvSpPr>
          <p:cNvPr id="99" name="ZoneTexte 98">
            <a:extLst>
              <a:ext uri="{FF2B5EF4-FFF2-40B4-BE49-F238E27FC236}">
                <a16:creationId xmlns:a16="http://schemas.microsoft.com/office/drawing/2014/main" id="{5E52B786-E33A-4A0D-9543-71558AEA9B38}"/>
              </a:ext>
            </a:extLst>
          </p:cNvPr>
          <p:cNvSpPr txBox="1"/>
          <p:nvPr/>
        </p:nvSpPr>
        <p:spPr>
          <a:xfrm>
            <a:off x="6146429" y="2493061"/>
            <a:ext cx="3736745" cy="571503"/>
          </a:xfrm>
          <a:prstGeom prst="rect">
            <a:avLst/>
          </a:prstGeom>
          <a:noFill/>
          <a:ln>
            <a:noFill/>
          </a:ln>
        </p:spPr>
        <p:txBody>
          <a:bodyPr wrap="square" lIns="108000" rIns="108000" rtlCol="0">
            <a:spAutoFit/>
          </a:bodyPr>
          <a:lstStyle/>
          <a:p>
            <a:pPr marL="171450" indent="-171450" algn="just">
              <a:lnSpc>
                <a:spcPct val="107000"/>
              </a:lnSpc>
              <a:spcAft>
                <a:spcPts val="800"/>
              </a:spcAft>
              <a:buClr>
                <a:srgbClr val="503078"/>
              </a:buClr>
              <a:buFont typeface="Tahoma" panose="020B0604030504040204" pitchFamily="34" charset="0"/>
              <a:buChar char="⁄"/>
            </a:pPr>
            <a:r>
              <a:rPr lang="fr-FR" sz="1000">
                <a:solidFill>
                  <a:srgbClr val="5F5F5F"/>
                </a:solidFill>
                <a:latin typeface="Tahoma"/>
              </a:rPr>
              <a:t>Domaine acquis par la MGEN en 1968 et rénové entre 2016 – 2019 (10 M€), 32 Ha et 4 km accessibles en extérieur aux PMR</a:t>
            </a:r>
          </a:p>
        </p:txBody>
      </p:sp>
      <p:sp>
        <p:nvSpPr>
          <p:cNvPr id="100" name="ZoneTexte 99">
            <a:extLst>
              <a:ext uri="{FF2B5EF4-FFF2-40B4-BE49-F238E27FC236}">
                <a16:creationId xmlns:a16="http://schemas.microsoft.com/office/drawing/2014/main" id="{3A9F3148-7EEB-42DE-9AF5-53627C7F0B69}"/>
              </a:ext>
            </a:extLst>
          </p:cNvPr>
          <p:cNvSpPr txBox="1"/>
          <p:nvPr/>
        </p:nvSpPr>
        <p:spPr>
          <a:xfrm>
            <a:off x="9948430" y="3660257"/>
            <a:ext cx="998185"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Frais de </a:t>
            </a:r>
            <a:r>
              <a:rPr lang="fr-FR" sz="1100" b="1" err="1">
                <a:solidFill>
                  <a:srgbClr val="B24669"/>
                </a:solidFill>
                <a:latin typeface="Tahoma"/>
              </a:rPr>
              <a:t>fonct</a:t>
            </a:r>
            <a:r>
              <a:rPr lang="fr-FR" sz="1100" b="1">
                <a:solidFill>
                  <a:srgbClr val="B24669"/>
                </a:solidFill>
                <a:latin typeface="Tahoma"/>
              </a:rPr>
              <a:t>.</a:t>
            </a:r>
          </a:p>
        </p:txBody>
      </p:sp>
      <p:sp>
        <p:nvSpPr>
          <p:cNvPr id="101" name="ZoneTexte 100">
            <a:extLst>
              <a:ext uri="{FF2B5EF4-FFF2-40B4-BE49-F238E27FC236}">
                <a16:creationId xmlns:a16="http://schemas.microsoft.com/office/drawing/2014/main" id="{EC27BA12-24A5-496E-A351-4D307771DE3B}"/>
              </a:ext>
            </a:extLst>
          </p:cNvPr>
          <p:cNvSpPr txBox="1"/>
          <p:nvPr/>
        </p:nvSpPr>
        <p:spPr>
          <a:xfrm>
            <a:off x="6177994" y="3140068"/>
            <a:ext cx="3793378" cy="2406364"/>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ucune place d’HT / AT (souhait de diversifier l’activité : organisateur de séjour l’été et hébergeur de séjours de répit / rupture organisés par d’autres structures (assos / ESMS)</a:t>
            </a:r>
          </a:p>
          <a:p>
            <a:pPr marL="171450" indent="-171450" algn="just">
              <a:lnSpc>
                <a:spcPct val="107000"/>
              </a:lnSpc>
              <a:buClr>
                <a:srgbClr val="503078"/>
              </a:buClr>
              <a:buFont typeface="Tahoma" panose="020B0604030504040204" pitchFamily="34" charset="0"/>
              <a:buChar char="⁄"/>
            </a:pPr>
            <a:r>
              <a:rPr lang="fr-FR" sz="1000">
                <a:solidFill>
                  <a:srgbClr val="5F5F5F"/>
                </a:solidFill>
                <a:latin typeface="Tahoma"/>
              </a:rPr>
              <a:t>Personnel :</a:t>
            </a:r>
          </a:p>
          <a:p>
            <a:pPr marL="360363" lvl="1" indent="-171450" algn="just">
              <a:lnSpc>
                <a:spcPct val="107000"/>
              </a:lnSpc>
              <a:buClr>
                <a:srgbClr val="503078"/>
              </a:buClr>
              <a:buFont typeface="Courier New" panose="02070309020205020404" pitchFamily="49" charset="0"/>
              <a:buChar char="o"/>
            </a:pPr>
            <a:r>
              <a:rPr lang="fr-FR" sz="900">
                <a:solidFill>
                  <a:srgbClr val="5F5F5F"/>
                </a:solidFill>
                <a:latin typeface="Tahoma"/>
              </a:rPr>
              <a:t>40 animateurs APAJH (coûts importants)</a:t>
            </a:r>
          </a:p>
          <a:p>
            <a:pPr marL="360363" lvl="1" indent="-171450" algn="just">
              <a:lnSpc>
                <a:spcPct val="107000"/>
              </a:lnSpc>
              <a:buClr>
                <a:srgbClr val="503078"/>
              </a:buClr>
              <a:buFont typeface="Courier New" panose="02070309020205020404" pitchFamily="49" charset="0"/>
              <a:buChar char="o"/>
            </a:pPr>
            <a:r>
              <a:rPr lang="fr-FR" sz="900">
                <a:solidFill>
                  <a:srgbClr val="5F5F5F"/>
                </a:solidFill>
                <a:latin typeface="Tahoma"/>
              </a:rPr>
              <a:t>3 ETP MGEN en CDI (responsable, hôtellerie, logistique)</a:t>
            </a:r>
          </a:p>
          <a:p>
            <a:pPr marL="360363" lvl="1" indent="-171450" algn="just">
              <a:lnSpc>
                <a:spcPct val="107000"/>
              </a:lnSpc>
              <a:buClr>
                <a:srgbClr val="503078"/>
              </a:buClr>
              <a:buFont typeface="Courier New" panose="02070309020205020404" pitchFamily="49" charset="0"/>
              <a:buChar char="o"/>
            </a:pPr>
            <a:r>
              <a:rPr lang="fr-FR" sz="900">
                <a:solidFill>
                  <a:srgbClr val="5F5F5F"/>
                </a:solidFill>
                <a:latin typeface="Tahoma"/>
              </a:rPr>
              <a:t>2 CDD saisonniers (hôtellerie ; maintenance - espaces verts)</a:t>
            </a:r>
          </a:p>
          <a:p>
            <a:pPr marL="360363" lvl="1" indent="-171450" algn="just">
              <a:lnSpc>
                <a:spcPct val="107000"/>
              </a:lnSpc>
              <a:buClr>
                <a:srgbClr val="503078"/>
              </a:buClr>
              <a:buFont typeface="Courier New" panose="02070309020205020404" pitchFamily="49" charset="0"/>
              <a:buChar char="o"/>
            </a:pPr>
            <a:r>
              <a:rPr lang="fr-FR" sz="900">
                <a:solidFill>
                  <a:srgbClr val="5F5F5F"/>
                </a:solidFill>
                <a:latin typeface="Tahoma"/>
              </a:rPr>
              <a:t>Restauration : 4 personnes (2 service, 2 cuisine)</a:t>
            </a:r>
          </a:p>
          <a:p>
            <a:pPr marL="360363" lvl="1" indent="-171450" algn="just">
              <a:lnSpc>
                <a:spcPct val="107000"/>
              </a:lnSpc>
              <a:buClr>
                <a:srgbClr val="503078"/>
              </a:buClr>
              <a:buFont typeface="Courier New" panose="02070309020205020404" pitchFamily="49" charset="0"/>
              <a:buChar char="o"/>
            </a:pPr>
            <a:r>
              <a:rPr lang="fr-FR" sz="900">
                <a:solidFill>
                  <a:srgbClr val="5F5F5F"/>
                </a:solidFill>
                <a:latin typeface="Tahoma"/>
              </a:rPr>
              <a:t>Prestataires ménage (de 2 / 5 personnes) + blanchisserie</a:t>
            </a:r>
          </a:p>
          <a:p>
            <a:pPr marL="360363" lvl="1" indent="-171450" algn="just">
              <a:lnSpc>
                <a:spcPct val="107000"/>
              </a:lnSpc>
              <a:spcAft>
                <a:spcPts val="300"/>
              </a:spcAft>
              <a:buClr>
                <a:srgbClr val="503078"/>
              </a:buClr>
              <a:buFont typeface="Courier New" panose="02070309020205020404" pitchFamily="49" charset="0"/>
              <a:buChar char="o"/>
            </a:pPr>
            <a:r>
              <a:rPr lang="fr-FR" sz="900">
                <a:solidFill>
                  <a:srgbClr val="5F5F5F"/>
                </a:solidFill>
                <a:latin typeface="Tahoma"/>
              </a:rPr>
              <a:t>Prestataires veille de nuit</a:t>
            </a:r>
          </a:p>
          <a:p>
            <a:pPr marL="171450" indent="-171450" algn="just">
              <a:lnSpc>
                <a:spcPct val="107000"/>
              </a:lnSpc>
              <a:spcAft>
                <a:spcPts val="300"/>
              </a:spcAft>
              <a:buClr>
                <a:srgbClr val="503078"/>
              </a:buClr>
              <a:buFont typeface="Tahoma" panose="020B0604030504040204" pitchFamily="34" charset="0"/>
              <a:buChar char="⁄"/>
              <a:defRPr/>
            </a:pPr>
            <a:r>
              <a:rPr lang="fr-FR" sz="1000">
                <a:solidFill>
                  <a:srgbClr val="5F5F5F"/>
                </a:solidFill>
                <a:latin typeface="Tahoma"/>
              </a:rPr>
              <a:t>Rentabilité non encore atteinte</a:t>
            </a:r>
          </a:p>
          <a:p>
            <a:pPr marL="360363" lvl="1" indent="-171450" algn="just">
              <a:lnSpc>
                <a:spcPct val="107000"/>
              </a:lnSpc>
              <a:buClr>
                <a:srgbClr val="503078"/>
              </a:buClr>
              <a:buFont typeface="Courier New" panose="02070309020205020404" pitchFamily="49" charset="0"/>
              <a:buChar char="o"/>
            </a:pPr>
            <a:endParaRPr lang="fr-FR" sz="900">
              <a:solidFill>
                <a:srgbClr val="5F5F5F"/>
              </a:solidFill>
              <a:latin typeface="Tahoma"/>
            </a:endParaRPr>
          </a:p>
          <a:p>
            <a:pPr marL="171450" indent="-171450" algn="just">
              <a:lnSpc>
                <a:spcPct val="107000"/>
              </a:lnSpc>
              <a:spcAft>
                <a:spcPts val="300"/>
              </a:spcAft>
              <a:buClr>
                <a:srgbClr val="503078"/>
              </a:buClr>
              <a:buFont typeface="Tahoma" panose="020B0604030504040204" pitchFamily="34" charset="0"/>
              <a:buChar char="⁄"/>
            </a:pPr>
            <a:endParaRPr lang="fr-FR" sz="1000">
              <a:solidFill>
                <a:srgbClr val="5F5F5F"/>
              </a:solidFill>
              <a:latin typeface="Tahoma"/>
            </a:endParaRPr>
          </a:p>
          <a:p>
            <a:pPr marL="171450" indent="-171450" algn="just">
              <a:lnSpc>
                <a:spcPct val="107000"/>
              </a:lnSpc>
              <a:spcAft>
                <a:spcPts val="300"/>
              </a:spcAft>
              <a:buClr>
                <a:srgbClr val="503078"/>
              </a:buClr>
              <a:buFont typeface="Tahoma" panose="020B0604030504040204" pitchFamily="34" charset="0"/>
              <a:buChar char="⁄"/>
            </a:pPr>
            <a:endParaRPr lang="fr-FR" sz="900">
              <a:solidFill>
                <a:srgbClr val="5F5F5F"/>
              </a:solidFill>
              <a:latin typeface="Tahoma"/>
            </a:endParaRPr>
          </a:p>
        </p:txBody>
      </p:sp>
      <p:sp>
        <p:nvSpPr>
          <p:cNvPr id="102" name="ZoneTexte 101">
            <a:extLst>
              <a:ext uri="{FF2B5EF4-FFF2-40B4-BE49-F238E27FC236}">
                <a16:creationId xmlns:a16="http://schemas.microsoft.com/office/drawing/2014/main" id="{722409E9-38F0-4E9D-BBE0-667AF63B1E5D}"/>
              </a:ext>
            </a:extLst>
          </p:cNvPr>
          <p:cNvSpPr txBox="1"/>
          <p:nvPr/>
        </p:nvSpPr>
        <p:spPr>
          <a:xfrm>
            <a:off x="6173317" y="5080167"/>
            <a:ext cx="3743057" cy="1019934"/>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03" name="ZoneTexte 102">
            <a:extLst>
              <a:ext uri="{FF2B5EF4-FFF2-40B4-BE49-F238E27FC236}">
                <a16:creationId xmlns:a16="http://schemas.microsoft.com/office/drawing/2014/main" id="{287D15E5-FAB9-4CAC-8292-CC65BCD8A6F2}"/>
              </a:ext>
            </a:extLst>
          </p:cNvPr>
          <p:cNvSpPr txBox="1"/>
          <p:nvPr/>
        </p:nvSpPr>
        <p:spPr>
          <a:xfrm>
            <a:off x="1140613" y="6519212"/>
            <a:ext cx="9885361" cy="369332"/>
          </a:xfrm>
          <a:prstGeom prst="rect">
            <a:avLst/>
          </a:prstGeom>
          <a:solidFill>
            <a:schemeClr val="bg1"/>
          </a:solidFill>
        </p:spPr>
        <p:txBody>
          <a:bodyPr wrap="square">
            <a:spAutoFit/>
          </a:bodyPr>
          <a:lstStyle/>
          <a:p>
            <a:r>
              <a:rPr lang="fr-FR" sz="900">
                <a:solidFill>
                  <a:srgbClr val="5F5F5F"/>
                </a:solidFill>
                <a:latin typeface="Tahoma"/>
              </a:rPr>
              <a:t>* Pour les séjours aidants / aidés, la capacité d’accueil est de 120 personnes maximum (40 personnes dépendantes / 80 aidants) en raison du nombre maximal d’accompagnateurs pouvant être mis à disposition par l’APAJH (40 accompagnateurs ; 1 accompagnateur / PSH). </a:t>
            </a:r>
          </a:p>
        </p:txBody>
      </p:sp>
      <p:sp>
        <p:nvSpPr>
          <p:cNvPr id="104" name="Rectangle 103">
            <a:extLst>
              <a:ext uri="{FF2B5EF4-FFF2-40B4-BE49-F238E27FC236}">
                <a16:creationId xmlns:a16="http://schemas.microsoft.com/office/drawing/2014/main" id="{E664D4C4-A5E7-4683-894B-1929278EF001}"/>
              </a:ext>
            </a:extLst>
          </p:cNvPr>
          <p:cNvSpPr/>
          <p:nvPr/>
        </p:nvSpPr>
        <p:spPr>
          <a:xfrm>
            <a:off x="1254009" y="923574"/>
            <a:ext cx="1728514"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05" name="ZoneTexte 104">
            <a:extLst>
              <a:ext uri="{FF2B5EF4-FFF2-40B4-BE49-F238E27FC236}">
                <a16:creationId xmlns:a16="http://schemas.microsoft.com/office/drawing/2014/main" id="{30207A4A-6B64-482A-AA3A-4810A92985FF}"/>
              </a:ext>
            </a:extLst>
          </p:cNvPr>
          <p:cNvSpPr txBox="1"/>
          <p:nvPr/>
        </p:nvSpPr>
        <p:spPr>
          <a:xfrm>
            <a:off x="9884206" y="5019663"/>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rifs / reste à charge</a:t>
            </a:r>
          </a:p>
        </p:txBody>
      </p:sp>
      <p:pic>
        <p:nvPicPr>
          <p:cNvPr id="106" name="Graphique 105" descr="Clé avec un remplissage uni">
            <a:extLst>
              <a:ext uri="{FF2B5EF4-FFF2-40B4-BE49-F238E27FC236}">
                <a16:creationId xmlns:a16="http://schemas.microsoft.com/office/drawing/2014/main" id="{1565F75A-104D-4F35-8E7A-F5434752FA1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51478" y="6127387"/>
            <a:ext cx="436000" cy="436000"/>
          </a:xfrm>
          <a:prstGeom prst="rect">
            <a:avLst/>
          </a:prstGeom>
        </p:spPr>
      </p:pic>
      <p:sp>
        <p:nvSpPr>
          <p:cNvPr id="107" name="ZoneTexte 106">
            <a:extLst>
              <a:ext uri="{FF2B5EF4-FFF2-40B4-BE49-F238E27FC236}">
                <a16:creationId xmlns:a16="http://schemas.microsoft.com/office/drawing/2014/main" id="{B9C64A97-D662-4053-9B21-08E825E9AD1D}"/>
              </a:ext>
            </a:extLst>
          </p:cNvPr>
          <p:cNvSpPr txBox="1"/>
          <p:nvPr/>
        </p:nvSpPr>
        <p:spPr>
          <a:xfrm>
            <a:off x="9867279" y="5932457"/>
            <a:ext cx="1141769" cy="261610"/>
          </a:xfrm>
          <a:prstGeom prst="rect">
            <a:avLst/>
          </a:prstGeom>
          <a:noFill/>
          <a:ln>
            <a:noFill/>
          </a:ln>
        </p:spPr>
        <p:txBody>
          <a:bodyPr wrap="square" lIns="108000" rIns="108000" rtlCol="0">
            <a:spAutoFit/>
          </a:bodyPr>
          <a:lstStyle/>
          <a:p>
            <a:pPr algn="ctr"/>
            <a:r>
              <a:rPr lang="fr-FR" sz="1100" b="1">
                <a:solidFill>
                  <a:srgbClr val="B24669"/>
                </a:solidFill>
                <a:latin typeface="Tahoma"/>
              </a:rPr>
              <a:t>TO</a:t>
            </a:r>
          </a:p>
        </p:txBody>
      </p:sp>
      <p:sp>
        <p:nvSpPr>
          <p:cNvPr id="108" name="ZoneTexte 107">
            <a:extLst>
              <a:ext uri="{FF2B5EF4-FFF2-40B4-BE49-F238E27FC236}">
                <a16:creationId xmlns:a16="http://schemas.microsoft.com/office/drawing/2014/main" id="{413168E6-0AC2-4BC5-88F2-D7EB581849E4}"/>
              </a:ext>
            </a:extLst>
          </p:cNvPr>
          <p:cNvSpPr txBox="1"/>
          <p:nvPr/>
        </p:nvSpPr>
        <p:spPr>
          <a:xfrm>
            <a:off x="6173317" y="6156193"/>
            <a:ext cx="3736591" cy="266416"/>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09" name="ZoneTexte 108">
            <a:extLst>
              <a:ext uri="{FF2B5EF4-FFF2-40B4-BE49-F238E27FC236}">
                <a16:creationId xmlns:a16="http://schemas.microsoft.com/office/drawing/2014/main" id="{437C827C-2DFD-4DD3-99A6-2A67C8C31187}"/>
              </a:ext>
            </a:extLst>
          </p:cNvPr>
          <p:cNvSpPr txBox="1"/>
          <p:nvPr/>
        </p:nvSpPr>
        <p:spPr>
          <a:xfrm>
            <a:off x="6117640" y="6178089"/>
            <a:ext cx="3650756" cy="242182"/>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Durée moyenne de séjour : 14 jours</a:t>
            </a:r>
          </a:p>
        </p:txBody>
      </p:sp>
      <p:pic>
        <p:nvPicPr>
          <p:cNvPr id="110" name="Graphique 109" descr="Tirelire avec un remplissage uni">
            <a:extLst>
              <a:ext uri="{FF2B5EF4-FFF2-40B4-BE49-F238E27FC236}">
                <a16:creationId xmlns:a16="http://schemas.microsoft.com/office/drawing/2014/main" id="{89D93EDB-00DC-4FCB-B215-ED48A4E7142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181438" y="4126166"/>
            <a:ext cx="514426" cy="514426"/>
          </a:xfrm>
          <a:prstGeom prst="rect">
            <a:avLst/>
          </a:prstGeom>
        </p:spPr>
      </p:pic>
      <p:sp>
        <p:nvSpPr>
          <p:cNvPr id="111" name="ZoneTexte 110">
            <a:extLst>
              <a:ext uri="{FF2B5EF4-FFF2-40B4-BE49-F238E27FC236}">
                <a16:creationId xmlns:a16="http://schemas.microsoft.com/office/drawing/2014/main" id="{20049176-1418-4A7E-8DFD-729C9D606111}"/>
              </a:ext>
            </a:extLst>
          </p:cNvPr>
          <p:cNvSpPr txBox="1"/>
          <p:nvPr/>
        </p:nvSpPr>
        <p:spPr>
          <a:xfrm>
            <a:off x="1143001" y="1123025"/>
            <a:ext cx="1701895" cy="707886"/>
          </a:xfrm>
          <a:prstGeom prst="rect">
            <a:avLst/>
          </a:prstGeom>
          <a:noFill/>
        </p:spPr>
        <p:txBody>
          <a:bodyPr wrap="square" lIns="108000" rIns="108000" rtlCol="0">
            <a:spAutoFit/>
          </a:bodyPr>
          <a:lstStyle/>
          <a:p>
            <a:endParaRPr lang="fr-FR" sz="1000">
              <a:solidFill>
                <a:srgbClr val="5F5F5F"/>
              </a:solidFill>
              <a:latin typeface="Tahoma"/>
            </a:endParaRPr>
          </a:p>
          <a:p>
            <a:pPr algn="ctr"/>
            <a:r>
              <a:rPr lang="fr-FR" sz="1000" b="1">
                <a:solidFill>
                  <a:srgbClr val="503078"/>
                </a:solidFill>
                <a:latin typeface="Tahoma"/>
              </a:rPr>
              <a:t>Domaine Porte-Neuve</a:t>
            </a:r>
          </a:p>
          <a:p>
            <a:pPr algn="ctr"/>
            <a:r>
              <a:rPr lang="fr-FR" sz="1000">
                <a:solidFill>
                  <a:srgbClr val="5F5F5F"/>
                </a:solidFill>
                <a:latin typeface="Tahoma"/>
              </a:rPr>
              <a:t>Riec-sur-Bélon (29)</a:t>
            </a:r>
          </a:p>
          <a:p>
            <a:endParaRPr lang="fr-FR" sz="1000">
              <a:solidFill>
                <a:srgbClr val="5F5F5F"/>
              </a:solidFill>
              <a:latin typeface="Tahoma"/>
            </a:endParaRPr>
          </a:p>
        </p:txBody>
      </p:sp>
      <p:pic>
        <p:nvPicPr>
          <p:cNvPr id="112" name="Location-White-Background">
            <a:extLst>
              <a:ext uri="{FF2B5EF4-FFF2-40B4-BE49-F238E27FC236}">
                <a16:creationId xmlns:a16="http://schemas.microsoft.com/office/drawing/2014/main" id="{223DA469-F837-4D5F-989E-AAF9ECB15344}"/>
              </a:ext>
            </a:extLst>
          </p:cNvPr>
          <p:cNvPicPr>
            <a:picLocks noChangeAspect="1"/>
          </p:cNvPicPr>
          <p:nvPr/>
        </p:nvPicPr>
        <p:blipFill>
          <a:blip r:embed="rId15" cstate="print">
            <a:extLst>
              <a:ext uri="{BEBA8EAE-BF5A-486C-A8C5-ECC9F3942E4B}">
                <a14:imgProps xmlns:a14="http://schemas.microsoft.com/office/drawing/2010/main">
                  <a14:imgLayer r:embed="rId16">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1514605" y="1121024"/>
            <a:ext cx="242960" cy="226717"/>
          </a:xfrm>
          <a:prstGeom prst="rect">
            <a:avLst/>
          </a:prstGeom>
        </p:spPr>
      </p:pic>
      <p:sp>
        <p:nvSpPr>
          <p:cNvPr id="113" name="ZoneTexte 112">
            <a:extLst>
              <a:ext uri="{FF2B5EF4-FFF2-40B4-BE49-F238E27FC236}">
                <a16:creationId xmlns:a16="http://schemas.microsoft.com/office/drawing/2014/main" id="{683193DB-C4B0-45AD-BE8B-D594692163CA}"/>
              </a:ext>
            </a:extLst>
          </p:cNvPr>
          <p:cNvSpPr txBox="1"/>
          <p:nvPr/>
        </p:nvSpPr>
        <p:spPr>
          <a:xfrm>
            <a:off x="6162476" y="5069268"/>
            <a:ext cx="3777331" cy="1039580"/>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Financement des séjours à 1/3 par la MGEN et à 1/3 par le Ministère de l’Education Nationale, reste à charge : </a:t>
            </a:r>
          </a:p>
          <a:p>
            <a:pPr marL="360363" lvl="1" indent="-171450" algn="just">
              <a:lnSpc>
                <a:spcPct val="107000"/>
              </a:lnSpc>
              <a:spcAft>
                <a:spcPts val="300"/>
              </a:spcAft>
              <a:buClr>
                <a:srgbClr val="503078"/>
              </a:buClr>
              <a:buFont typeface="Courier New" panose="02070309020205020404" pitchFamily="49" charset="0"/>
              <a:buChar char="o"/>
            </a:pPr>
            <a:r>
              <a:rPr lang="fr-FR" sz="900">
                <a:solidFill>
                  <a:srgbClr val="5F5F5F"/>
                </a:solidFill>
                <a:latin typeface="Tahoma"/>
              </a:rPr>
              <a:t>Tarifs de 125 à 1325€ / semaine / vacancier en fonction du statut (Agent EN / Non agent EN) et du quotient familial - possibilité de mobiliser des aides ANCV / ALEFPA (PSH &lt; 16 ans) / MDPH pour le reste à charge</a:t>
            </a:r>
          </a:p>
        </p:txBody>
      </p:sp>
      <p:pic>
        <p:nvPicPr>
          <p:cNvPr id="114" name="Graphique 113" descr="Pièces avec un remplissage uni">
            <a:extLst>
              <a:ext uri="{FF2B5EF4-FFF2-40B4-BE49-F238E27FC236}">
                <a16:creationId xmlns:a16="http://schemas.microsoft.com/office/drawing/2014/main" id="{A851CB97-99BB-412A-897D-36ABB8A1DBC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226107" y="5398219"/>
            <a:ext cx="457966" cy="457966"/>
          </a:xfrm>
          <a:prstGeom prst="rect">
            <a:avLst/>
          </a:prstGeom>
        </p:spPr>
      </p:pic>
      <p:pic>
        <p:nvPicPr>
          <p:cNvPr id="115" name="Graphique 114" descr="Dormir avec un remplissage uni">
            <a:extLst>
              <a:ext uri="{FF2B5EF4-FFF2-40B4-BE49-F238E27FC236}">
                <a16:creationId xmlns:a16="http://schemas.microsoft.com/office/drawing/2014/main" id="{3CF0BBAE-71EC-405E-B851-D16DADCFA8C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648462" y="2583744"/>
            <a:ext cx="565198" cy="565198"/>
          </a:xfrm>
          <a:prstGeom prst="rect">
            <a:avLst/>
          </a:prstGeom>
        </p:spPr>
      </p:pic>
      <p:pic>
        <p:nvPicPr>
          <p:cNvPr id="116" name="Graphique 115" descr="Trousse de premiers secours avec un remplissage uni">
            <a:extLst>
              <a:ext uri="{FF2B5EF4-FFF2-40B4-BE49-F238E27FC236}">
                <a16:creationId xmlns:a16="http://schemas.microsoft.com/office/drawing/2014/main" id="{F70D6787-21ED-43C4-967E-459C0FA7D823}"/>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658806" y="4082744"/>
            <a:ext cx="557136" cy="557136"/>
          </a:xfrm>
          <a:prstGeom prst="rect">
            <a:avLst/>
          </a:prstGeom>
        </p:spPr>
      </p:pic>
      <p:pic>
        <p:nvPicPr>
          <p:cNvPr id="117" name="Graphique 116" descr="Assiette couverte avec un remplissage uni">
            <a:extLst>
              <a:ext uri="{FF2B5EF4-FFF2-40B4-BE49-F238E27FC236}">
                <a16:creationId xmlns:a16="http://schemas.microsoft.com/office/drawing/2014/main" id="{AB7D442E-AB5F-49FD-A9DE-F9A2B12A8356}"/>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641740" y="5428411"/>
            <a:ext cx="565199" cy="565199"/>
          </a:xfrm>
          <a:prstGeom prst="rect">
            <a:avLst/>
          </a:prstGeom>
        </p:spPr>
      </p:pic>
      <p:sp>
        <p:nvSpPr>
          <p:cNvPr id="118" name="ZoneTexte 117">
            <a:extLst>
              <a:ext uri="{FF2B5EF4-FFF2-40B4-BE49-F238E27FC236}">
                <a16:creationId xmlns:a16="http://schemas.microsoft.com/office/drawing/2014/main" id="{F00BFF1E-F000-487C-8DC9-B270CFB774F5}"/>
              </a:ext>
            </a:extLst>
          </p:cNvPr>
          <p:cNvSpPr txBox="1"/>
          <p:nvPr/>
        </p:nvSpPr>
        <p:spPr>
          <a:xfrm>
            <a:off x="1254007" y="2505800"/>
            <a:ext cx="1376242" cy="446276"/>
          </a:xfrm>
          <a:prstGeom prst="rect">
            <a:avLst/>
          </a:prstGeom>
          <a:noFill/>
          <a:ln>
            <a:noFill/>
          </a:ln>
        </p:spPr>
        <p:txBody>
          <a:bodyPr wrap="square" lIns="108000" rIns="108000" rtlCol="0">
            <a:spAutoFit/>
          </a:bodyPr>
          <a:lstStyle/>
          <a:p>
            <a:pPr algn="ctr"/>
            <a:r>
              <a:rPr lang="fr-FR" sz="1100" b="1">
                <a:solidFill>
                  <a:srgbClr val="B0ADCC"/>
                </a:solidFill>
                <a:latin typeface="Tahoma"/>
              </a:rPr>
              <a:t>Hébergement</a:t>
            </a:r>
          </a:p>
          <a:p>
            <a:pPr marL="171450" indent="-171450" algn="ctr">
              <a:buFontTx/>
              <a:buChar char="-"/>
            </a:pPr>
            <a:endParaRPr lang="fr-FR" sz="1200">
              <a:solidFill>
                <a:srgbClr val="B0ADCC"/>
              </a:solidFill>
              <a:latin typeface="Tahoma"/>
            </a:endParaRPr>
          </a:p>
        </p:txBody>
      </p:sp>
      <p:sp>
        <p:nvSpPr>
          <p:cNvPr id="120" name="ZoneTexte 119">
            <a:extLst>
              <a:ext uri="{FF2B5EF4-FFF2-40B4-BE49-F238E27FC236}">
                <a16:creationId xmlns:a16="http://schemas.microsoft.com/office/drawing/2014/main" id="{93434E9D-F875-48AF-BC78-4B9CB9A8CC7D}"/>
              </a:ext>
            </a:extLst>
          </p:cNvPr>
          <p:cNvSpPr txBox="1"/>
          <p:nvPr/>
        </p:nvSpPr>
        <p:spPr>
          <a:xfrm>
            <a:off x="1450733" y="5080169"/>
            <a:ext cx="965590" cy="430887"/>
          </a:xfrm>
          <a:prstGeom prst="rect">
            <a:avLst/>
          </a:prstGeom>
          <a:noFill/>
          <a:ln>
            <a:noFill/>
          </a:ln>
        </p:spPr>
        <p:txBody>
          <a:bodyPr wrap="square" lIns="108000" rIns="108000" rtlCol="0">
            <a:spAutoFit/>
          </a:bodyPr>
          <a:lstStyle/>
          <a:p>
            <a:pPr algn="ctr"/>
            <a:r>
              <a:rPr lang="fr-FR" sz="1100" b="1">
                <a:solidFill>
                  <a:srgbClr val="B0ADCC"/>
                </a:solidFill>
                <a:latin typeface="Tahoma"/>
              </a:rPr>
              <a:t>Services </a:t>
            </a:r>
          </a:p>
          <a:p>
            <a:pPr algn="ctr"/>
            <a:r>
              <a:rPr lang="fr-FR" sz="1100" b="1">
                <a:solidFill>
                  <a:srgbClr val="B0ADCC"/>
                </a:solidFill>
                <a:latin typeface="Tahoma"/>
              </a:rPr>
              <a:t>hôteliers </a:t>
            </a:r>
          </a:p>
        </p:txBody>
      </p:sp>
      <p:sp>
        <p:nvSpPr>
          <p:cNvPr id="119" name="ZoneTexte 118">
            <a:extLst>
              <a:ext uri="{FF2B5EF4-FFF2-40B4-BE49-F238E27FC236}">
                <a16:creationId xmlns:a16="http://schemas.microsoft.com/office/drawing/2014/main" id="{E2B0164B-EF8F-40CA-94F8-2C6971E592DB}"/>
              </a:ext>
            </a:extLst>
          </p:cNvPr>
          <p:cNvSpPr txBox="1"/>
          <p:nvPr/>
        </p:nvSpPr>
        <p:spPr>
          <a:xfrm>
            <a:off x="1050602" y="3745760"/>
            <a:ext cx="1743708" cy="615553"/>
          </a:xfrm>
          <a:prstGeom prst="rect">
            <a:avLst/>
          </a:prstGeom>
          <a:noFill/>
          <a:ln>
            <a:noFill/>
          </a:ln>
        </p:spPr>
        <p:txBody>
          <a:bodyPr wrap="square" lIns="108000" rIns="108000" rtlCol="0">
            <a:spAutoFit/>
          </a:bodyPr>
          <a:lstStyle/>
          <a:p>
            <a:pPr algn="ctr"/>
            <a:r>
              <a:rPr lang="fr-FR" sz="1100" b="1">
                <a:solidFill>
                  <a:srgbClr val="B0ADCC"/>
                </a:solidFill>
                <a:latin typeface="Tahoma"/>
              </a:rPr>
              <a:t>Accompagnement médico-social</a:t>
            </a:r>
          </a:p>
          <a:p>
            <a:pPr marL="171450" indent="-171450" algn="ctr">
              <a:buFontTx/>
              <a:buChar char="-"/>
            </a:pPr>
            <a:endParaRPr lang="fr-FR" sz="1200">
              <a:solidFill>
                <a:srgbClr val="B0ADCC"/>
              </a:solidFill>
              <a:latin typeface="Tahoma"/>
            </a:endParaRPr>
          </a:p>
        </p:txBody>
      </p:sp>
    </p:spTree>
    <p:extLst>
      <p:ext uri="{BB962C8B-B14F-4D97-AF65-F5344CB8AC3E}">
        <p14:creationId xmlns:p14="http://schemas.microsoft.com/office/powerpoint/2010/main" val="29158105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DDB96D-5870-433E-8224-8BA70AB31D5A}"/>
              </a:ext>
            </a:extLst>
          </p:cNvPr>
          <p:cNvSpPr>
            <a:spLocks noGrp="1"/>
          </p:cNvSpPr>
          <p:nvPr>
            <p:ph type="title"/>
          </p:nvPr>
        </p:nvSpPr>
        <p:spPr/>
        <p:txBody>
          <a:bodyPr/>
          <a:lstStyle/>
          <a:p>
            <a:r>
              <a:rPr lang="fr-FR"/>
              <a:t>Centre de répit Les Bruyères</a:t>
            </a:r>
          </a:p>
        </p:txBody>
      </p:sp>
      <p:sp>
        <p:nvSpPr>
          <p:cNvPr id="3" name="Espace réservé du texte 2">
            <a:extLst>
              <a:ext uri="{FF2B5EF4-FFF2-40B4-BE49-F238E27FC236}">
                <a16:creationId xmlns:a16="http://schemas.microsoft.com/office/drawing/2014/main" id="{9C630387-01A6-4667-A171-E57EE95EAA8D}"/>
              </a:ext>
            </a:extLst>
          </p:cNvPr>
          <p:cNvSpPr>
            <a:spLocks noGrp="1"/>
          </p:cNvSpPr>
          <p:nvPr>
            <p:ph type="body" sz="quarter" idx="13"/>
          </p:nvPr>
        </p:nvSpPr>
        <p:spPr/>
        <p:txBody>
          <a:bodyPr/>
          <a:lstStyle/>
          <a:p>
            <a:r>
              <a:rPr lang="fr-FR"/>
              <a:t>fiches initiatives</a:t>
            </a:r>
          </a:p>
        </p:txBody>
      </p:sp>
      <p:grpSp>
        <p:nvGrpSpPr>
          <p:cNvPr id="89" name="Group 219">
            <a:extLst>
              <a:ext uri="{FF2B5EF4-FFF2-40B4-BE49-F238E27FC236}">
                <a16:creationId xmlns:a16="http://schemas.microsoft.com/office/drawing/2014/main" id="{23563D0E-A6E2-449B-BBEF-8098E393884C}"/>
              </a:ext>
            </a:extLst>
          </p:cNvPr>
          <p:cNvGrpSpPr>
            <a:grpSpLocks/>
          </p:cNvGrpSpPr>
          <p:nvPr/>
        </p:nvGrpSpPr>
        <p:grpSpPr bwMode="gray">
          <a:xfrm>
            <a:off x="1498106" y="972493"/>
            <a:ext cx="1015402" cy="933665"/>
            <a:chOff x="48" y="168"/>
            <a:chExt cx="3077" cy="3032"/>
          </a:xfrm>
          <a:solidFill>
            <a:schemeClr val="tx2"/>
          </a:solidFill>
          <a:effectLst>
            <a:outerShdw blurRad="127000" dist="50800" dir="2700000" algn="ctr" rotWithShape="0">
              <a:schemeClr val="tx1">
                <a:alpha val="40000"/>
              </a:schemeClr>
            </a:outerShdw>
          </a:effectLst>
        </p:grpSpPr>
        <p:sp>
          <p:nvSpPr>
            <p:cNvPr id="90" name="Nord-Pas-de-Calais" descr="© INSCALE GmbH, 05.05.2010&#10;http://www.presentationload.com/">
              <a:extLst>
                <a:ext uri="{FF2B5EF4-FFF2-40B4-BE49-F238E27FC236}">
                  <a16:creationId xmlns:a16="http://schemas.microsoft.com/office/drawing/2014/main" id="{AB720DBB-1E99-4155-8615-016531D8396C}"/>
                </a:ext>
              </a:extLst>
            </p:cNvPr>
            <p:cNvSpPr>
              <a:spLocks/>
            </p:cNvSpPr>
            <p:nvPr/>
          </p:nvSpPr>
          <p:spPr bwMode="gray">
            <a:xfrm>
              <a:off x="1600" y="168"/>
              <a:ext cx="608" cy="383"/>
            </a:xfrm>
            <a:custGeom>
              <a:avLst/>
              <a:gdLst/>
              <a:ahLst/>
              <a:cxnLst>
                <a:cxn ang="0">
                  <a:pos x="77" y="236"/>
                </a:cxn>
                <a:cxn ang="0">
                  <a:pos x="101" y="257"/>
                </a:cxn>
                <a:cxn ang="0">
                  <a:pos x="117" y="279"/>
                </a:cxn>
                <a:cxn ang="0">
                  <a:pos x="159" y="269"/>
                </a:cxn>
                <a:cxn ang="0">
                  <a:pos x="187" y="273"/>
                </a:cxn>
                <a:cxn ang="0">
                  <a:pos x="173" y="309"/>
                </a:cxn>
                <a:cxn ang="0">
                  <a:pos x="208" y="304"/>
                </a:cxn>
                <a:cxn ang="0">
                  <a:pos x="232" y="300"/>
                </a:cxn>
                <a:cxn ang="0">
                  <a:pos x="244" y="323"/>
                </a:cxn>
                <a:cxn ang="0">
                  <a:pos x="272" y="324"/>
                </a:cxn>
                <a:cxn ang="0">
                  <a:pos x="279" y="321"/>
                </a:cxn>
                <a:cxn ang="0">
                  <a:pos x="343" y="329"/>
                </a:cxn>
                <a:cxn ang="0">
                  <a:pos x="364" y="327"/>
                </a:cxn>
                <a:cxn ang="0">
                  <a:pos x="440" y="317"/>
                </a:cxn>
                <a:cxn ang="0">
                  <a:pos x="473" y="333"/>
                </a:cxn>
                <a:cxn ang="0">
                  <a:pos x="492" y="335"/>
                </a:cxn>
                <a:cxn ang="0">
                  <a:pos x="548" y="320"/>
                </a:cxn>
                <a:cxn ang="0">
                  <a:pos x="556" y="283"/>
                </a:cxn>
                <a:cxn ang="0">
                  <a:pos x="545" y="269"/>
                </a:cxn>
                <a:cxn ang="0">
                  <a:pos x="559" y="243"/>
                </a:cxn>
                <a:cxn ang="0">
                  <a:pos x="543" y="243"/>
                </a:cxn>
                <a:cxn ang="0">
                  <a:pos x="517" y="215"/>
                </a:cxn>
                <a:cxn ang="0">
                  <a:pos x="500" y="219"/>
                </a:cxn>
                <a:cxn ang="0">
                  <a:pos x="486" y="217"/>
                </a:cxn>
                <a:cxn ang="0">
                  <a:pos x="452" y="228"/>
                </a:cxn>
                <a:cxn ang="0">
                  <a:pos x="442" y="201"/>
                </a:cxn>
                <a:cxn ang="0">
                  <a:pos x="436" y="174"/>
                </a:cxn>
                <a:cxn ang="0">
                  <a:pos x="409" y="165"/>
                </a:cxn>
                <a:cxn ang="0">
                  <a:pos x="362" y="157"/>
                </a:cxn>
                <a:cxn ang="0">
                  <a:pos x="353" y="124"/>
                </a:cxn>
                <a:cxn ang="0">
                  <a:pos x="350" y="110"/>
                </a:cxn>
                <a:cxn ang="0">
                  <a:pos x="325" y="90"/>
                </a:cxn>
                <a:cxn ang="0">
                  <a:pos x="283" y="114"/>
                </a:cxn>
                <a:cxn ang="0">
                  <a:pos x="262" y="106"/>
                </a:cxn>
                <a:cxn ang="0">
                  <a:pos x="245" y="76"/>
                </a:cxn>
                <a:cxn ang="0">
                  <a:pos x="221" y="67"/>
                </a:cxn>
                <a:cxn ang="0">
                  <a:pos x="224" y="42"/>
                </a:cxn>
                <a:cxn ang="0">
                  <a:pos x="212" y="9"/>
                </a:cxn>
                <a:cxn ang="0">
                  <a:pos x="157" y="7"/>
                </a:cxn>
                <a:cxn ang="0">
                  <a:pos x="54" y="31"/>
                </a:cxn>
                <a:cxn ang="0">
                  <a:pos x="7" y="57"/>
                </a:cxn>
                <a:cxn ang="0">
                  <a:pos x="5" y="106"/>
                </a:cxn>
                <a:cxn ang="0">
                  <a:pos x="4" y="192"/>
                </a:cxn>
                <a:cxn ang="0">
                  <a:pos x="1" y="228"/>
                </a:cxn>
                <a:cxn ang="0">
                  <a:pos x="12" y="235"/>
                </a:cxn>
                <a:cxn ang="0">
                  <a:pos x="65" y="237"/>
                </a:cxn>
              </a:cxnLst>
              <a:rect l="0" t="0" r="r" b="b"/>
              <a:pathLst>
                <a:path w="564" h="355">
                  <a:moveTo>
                    <a:pt x="65" y="237"/>
                  </a:moveTo>
                  <a:cubicBezTo>
                    <a:pt x="77" y="236"/>
                    <a:pt x="77" y="236"/>
                    <a:pt x="77" y="236"/>
                  </a:cubicBezTo>
                  <a:cubicBezTo>
                    <a:pt x="79" y="247"/>
                    <a:pt x="79" y="247"/>
                    <a:pt x="79" y="247"/>
                  </a:cubicBezTo>
                  <a:cubicBezTo>
                    <a:pt x="101" y="257"/>
                    <a:pt x="101" y="257"/>
                    <a:pt x="101" y="257"/>
                  </a:cubicBezTo>
                  <a:cubicBezTo>
                    <a:pt x="109" y="275"/>
                    <a:pt x="109" y="275"/>
                    <a:pt x="109" y="275"/>
                  </a:cubicBezTo>
                  <a:cubicBezTo>
                    <a:pt x="117" y="279"/>
                    <a:pt x="117" y="279"/>
                    <a:pt x="117" y="279"/>
                  </a:cubicBezTo>
                  <a:cubicBezTo>
                    <a:pt x="143" y="265"/>
                    <a:pt x="143" y="265"/>
                    <a:pt x="143" y="265"/>
                  </a:cubicBezTo>
                  <a:cubicBezTo>
                    <a:pt x="159" y="269"/>
                    <a:pt x="159" y="269"/>
                    <a:pt x="159" y="269"/>
                  </a:cubicBezTo>
                  <a:cubicBezTo>
                    <a:pt x="180" y="263"/>
                    <a:pt x="180" y="263"/>
                    <a:pt x="180" y="263"/>
                  </a:cubicBezTo>
                  <a:cubicBezTo>
                    <a:pt x="187" y="273"/>
                    <a:pt x="187" y="273"/>
                    <a:pt x="187" y="273"/>
                  </a:cubicBezTo>
                  <a:cubicBezTo>
                    <a:pt x="187" y="273"/>
                    <a:pt x="163" y="293"/>
                    <a:pt x="163" y="304"/>
                  </a:cubicBezTo>
                  <a:cubicBezTo>
                    <a:pt x="163" y="315"/>
                    <a:pt x="173" y="309"/>
                    <a:pt x="173" y="309"/>
                  </a:cubicBezTo>
                  <a:cubicBezTo>
                    <a:pt x="173" y="309"/>
                    <a:pt x="193" y="289"/>
                    <a:pt x="193" y="300"/>
                  </a:cubicBezTo>
                  <a:cubicBezTo>
                    <a:pt x="193" y="300"/>
                    <a:pt x="208" y="297"/>
                    <a:pt x="208" y="304"/>
                  </a:cubicBezTo>
                  <a:cubicBezTo>
                    <a:pt x="208" y="311"/>
                    <a:pt x="227" y="313"/>
                    <a:pt x="227" y="313"/>
                  </a:cubicBezTo>
                  <a:cubicBezTo>
                    <a:pt x="232" y="300"/>
                    <a:pt x="232" y="300"/>
                    <a:pt x="232" y="300"/>
                  </a:cubicBezTo>
                  <a:cubicBezTo>
                    <a:pt x="248" y="303"/>
                    <a:pt x="248" y="303"/>
                    <a:pt x="248" y="303"/>
                  </a:cubicBezTo>
                  <a:cubicBezTo>
                    <a:pt x="244" y="323"/>
                    <a:pt x="244" y="323"/>
                    <a:pt x="244" y="323"/>
                  </a:cubicBezTo>
                  <a:cubicBezTo>
                    <a:pt x="263" y="313"/>
                    <a:pt x="263" y="313"/>
                    <a:pt x="263" y="313"/>
                  </a:cubicBezTo>
                  <a:cubicBezTo>
                    <a:pt x="272" y="324"/>
                    <a:pt x="272" y="324"/>
                    <a:pt x="272" y="324"/>
                  </a:cubicBezTo>
                  <a:cubicBezTo>
                    <a:pt x="265" y="332"/>
                    <a:pt x="265" y="332"/>
                    <a:pt x="265" y="332"/>
                  </a:cubicBezTo>
                  <a:cubicBezTo>
                    <a:pt x="279" y="321"/>
                    <a:pt x="279" y="321"/>
                    <a:pt x="279" y="321"/>
                  </a:cubicBezTo>
                  <a:cubicBezTo>
                    <a:pt x="313" y="321"/>
                    <a:pt x="313" y="321"/>
                    <a:pt x="313" y="321"/>
                  </a:cubicBezTo>
                  <a:cubicBezTo>
                    <a:pt x="313" y="321"/>
                    <a:pt x="320" y="341"/>
                    <a:pt x="343" y="329"/>
                  </a:cubicBezTo>
                  <a:cubicBezTo>
                    <a:pt x="348" y="331"/>
                    <a:pt x="348" y="335"/>
                    <a:pt x="348" y="335"/>
                  </a:cubicBezTo>
                  <a:cubicBezTo>
                    <a:pt x="348" y="335"/>
                    <a:pt x="359" y="339"/>
                    <a:pt x="364" y="327"/>
                  </a:cubicBezTo>
                  <a:cubicBezTo>
                    <a:pt x="364" y="327"/>
                    <a:pt x="400" y="337"/>
                    <a:pt x="404" y="319"/>
                  </a:cubicBezTo>
                  <a:cubicBezTo>
                    <a:pt x="403" y="323"/>
                    <a:pt x="413" y="339"/>
                    <a:pt x="440" y="317"/>
                  </a:cubicBezTo>
                  <a:cubicBezTo>
                    <a:pt x="473" y="327"/>
                    <a:pt x="473" y="327"/>
                    <a:pt x="473" y="327"/>
                  </a:cubicBezTo>
                  <a:cubicBezTo>
                    <a:pt x="473" y="333"/>
                    <a:pt x="473" y="333"/>
                    <a:pt x="473" y="333"/>
                  </a:cubicBezTo>
                  <a:cubicBezTo>
                    <a:pt x="492" y="321"/>
                    <a:pt x="492" y="321"/>
                    <a:pt x="492" y="321"/>
                  </a:cubicBezTo>
                  <a:cubicBezTo>
                    <a:pt x="492" y="335"/>
                    <a:pt x="492" y="335"/>
                    <a:pt x="492" y="335"/>
                  </a:cubicBezTo>
                  <a:cubicBezTo>
                    <a:pt x="492" y="335"/>
                    <a:pt x="522" y="355"/>
                    <a:pt x="554" y="333"/>
                  </a:cubicBezTo>
                  <a:cubicBezTo>
                    <a:pt x="551" y="330"/>
                    <a:pt x="549" y="325"/>
                    <a:pt x="548" y="320"/>
                  </a:cubicBezTo>
                  <a:cubicBezTo>
                    <a:pt x="547" y="313"/>
                    <a:pt x="558" y="305"/>
                    <a:pt x="561" y="303"/>
                  </a:cubicBezTo>
                  <a:cubicBezTo>
                    <a:pt x="564" y="301"/>
                    <a:pt x="556" y="283"/>
                    <a:pt x="556" y="283"/>
                  </a:cubicBezTo>
                  <a:cubicBezTo>
                    <a:pt x="556" y="283"/>
                    <a:pt x="553" y="283"/>
                    <a:pt x="547" y="283"/>
                  </a:cubicBezTo>
                  <a:cubicBezTo>
                    <a:pt x="541" y="283"/>
                    <a:pt x="545" y="269"/>
                    <a:pt x="545" y="269"/>
                  </a:cubicBezTo>
                  <a:cubicBezTo>
                    <a:pt x="547" y="260"/>
                    <a:pt x="547" y="260"/>
                    <a:pt x="547" y="260"/>
                  </a:cubicBezTo>
                  <a:cubicBezTo>
                    <a:pt x="547" y="260"/>
                    <a:pt x="558" y="246"/>
                    <a:pt x="559" y="243"/>
                  </a:cubicBezTo>
                  <a:cubicBezTo>
                    <a:pt x="560" y="240"/>
                    <a:pt x="554" y="236"/>
                    <a:pt x="554" y="236"/>
                  </a:cubicBezTo>
                  <a:cubicBezTo>
                    <a:pt x="543" y="243"/>
                    <a:pt x="543" y="243"/>
                    <a:pt x="543" y="243"/>
                  </a:cubicBezTo>
                  <a:cubicBezTo>
                    <a:pt x="542" y="233"/>
                    <a:pt x="542" y="233"/>
                    <a:pt x="542" y="233"/>
                  </a:cubicBezTo>
                  <a:cubicBezTo>
                    <a:pt x="517" y="215"/>
                    <a:pt x="517" y="215"/>
                    <a:pt x="517" y="215"/>
                  </a:cubicBezTo>
                  <a:cubicBezTo>
                    <a:pt x="514" y="219"/>
                    <a:pt x="514" y="219"/>
                    <a:pt x="514" y="219"/>
                  </a:cubicBezTo>
                  <a:cubicBezTo>
                    <a:pt x="500" y="219"/>
                    <a:pt x="500" y="219"/>
                    <a:pt x="500" y="219"/>
                  </a:cubicBezTo>
                  <a:cubicBezTo>
                    <a:pt x="493" y="225"/>
                    <a:pt x="493" y="225"/>
                    <a:pt x="493" y="225"/>
                  </a:cubicBezTo>
                  <a:cubicBezTo>
                    <a:pt x="486" y="217"/>
                    <a:pt x="486" y="217"/>
                    <a:pt x="486" y="217"/>
                  </a:cubicBezTo>
                  <a:cubicBezTo>
                    <a:pt x="460" y="216"/>
                    <a:pt x="460" y="216"/>
                    <a:pt x="460" y="216"/>
                  </a:cubicBezTo>
                  <a:cubicBezTo>
                    <a:pt x="452" y="228"/>
                    <a:pt x="452" y="228"/>
                    <a:pt x="452" y="228"/>
                  </a:cubicBezTo>
                  <a:cubicBezTo>
                    <a:pt x="443" y="216"/>
                    <a:pt x="443" y="216"/>
                    <a:pt x="443" y="216"/>
                  </a:cubicBezTo>
                  <a:cubicBezTo>
                    <a:pt x="442" y="201"/>
                    <a:pt x="442" y="201"/>
                    <a:pt x="442" y="201"/>
                  </a:cubicBezTo>
                  <a:cubicBezTo>
                    <a:pt x="449" y="195"/>
                    <a:pt x="449" y="195"/>
                    <a:pt x="449" y="195"/>
                  </a:cubicBezTo>
                  <a:cubicBezTo>
                    <a:pt x="436" y="174"/>
                    <a:pt x="436" y="174"/>
                    <a:pt x="436" y="174"/>
                  </a:cubicBezTo>
                  <a:cubicBezTo>
                    <a:pt x="410" y="172"/>
                    <a:pt x="410" y="172"/>
                    <a:pt x="410" y="172"/>
                  </a:cubicBezTo>
                  <a:cubicBezTo>
                    <a:pt x="409" y="165"/>
                    <a:pt x="409" y="165"/>
                    <a:pt x="409" y="165"/>
                  </a:cubicBezTo>
                  <a:cubicBezTo>
                    <a:pt x="409" y="165"/>
                    <a:pt x="390" y="174"/>
                    <a:pt x="383" y="174"/>
                  </a:cubicBezTo>
                  <a:cubicBezTo>
                    <a:pt x="376" y="174"/>
                    <a:pt x="362" y="157"/>
                    <a:pt x="362" y="157"/>
                  </a:cubicBezTo>
                  <a:cubicBezTo>
                    <a:pt x="362" y="141"/>
                    <a:pt x="362" y="141"/>
                    <a:pt x="362" y="141"/>
                  </a:cubicBezTo>
                  <a:cubicBezTo>
                    <a:pt x="353" y="124"/>
                    <a:pt x="353" y="124"/>
                    <a:pt x="353" y="124"/>
                  </a:cubicBezTo>
                  <a:cubicBezTo>
                    <a:pt x="353" y="124"/>
                    <a:pt x="360" y="119"/>
                    <a:pt x="359" y="116"/>
                  </a:cubicBezTo>
                  <a:cubicBezTo>
                    <a:pt x="358" y="113"/>
                    <a:pt x="350" y="110"/>
                    <a:pt x="350" y="110"/>
                  </a:cubicBezTo>
                  <a:cubicBezTo>
                    <a:pt x="335" y="85"/>
                    <a:pt x="335" y="85"/>
                    <a:pt x="335" y="85"/>
                  </a:cubicBezTo>
                  <a:cubicBezTo>
                    <a:pt x="325" y="90"/>
                    <a:pt x="325" y="90"/>
                    <a:pt x="325" y="90"/>
                  </a:cubicBezTo>
                  <a:cubicBezTo>
                    <a:pt x="325" y="90"/>
                    <a:pt x="291" y="99"/>
                    <a:pt x="291" y="106"/>
                  </a:cubicBezTo>
                  <a:cubicBezTo>
                    <a:pt x="291" y="113"/>
                    <a:pt x="283" y="114"/>
                    <a:pt x="283" y="114"/>
                  </a:cubicBezTo>
                  <a:cubicBezTo>
                    <a:pt x="273" y="106"/>
                    <a:pt x="273" y="106"/>
                    <a:pt x="273" y="106"/>
                  </a:cubicBezTo>
                  <a:cubicBezTo>
                    <a:pt x="262" y="106"/>
                    <a:pt x="262" y="106"/>
                    <a:pt x="262" y="106"/>
                  </a:cubicBezTo>
                  <a:cubicBezTo>
                    <a:pt x="262" y="106"/>
                    <a:pt x="253" y="99"/>
                    <a:pt x="253" y="95"/>
                  </a:cubicBezTo>
                  <a:cubicBezTo>
                    <a:pt x="253" y="91"/>
                    <a:pt x="245" y="76"/>
                    <a:pt x="245" y="76"/>
                  </a:cubicBezTo>
                  <a:cubicBezTo>
                    <a:pt x="231" y="77"/>
                    <a:pt x="231" y="77"/>
                    <a:pt x="231" y="77"/>
                  </a:cubicBezTo>
                  <a:cubicBezTo>
                    <a:pt x="221" y="67"/>
                    <a:pt x="221" y="67"/>
                    <a:pt x="221" y="67"/>
                  </a:cubicBezTo>
                  <a:cubicBezTo>
                    <a:pt x="223" y="56"/>
                    <a:pt x="223" y="56"/>
                    <a:pt x="223" y="56"/>
                  </a:cubicBezTo>
                  <a:cubicBezTo>
                    <a:pt x="223" y="56"/>
                    <a:pt x="221" y="42"/>
                    <a:pt x="224" y="42"/>
                  </a:cubicBezTo>
                  <a:cubicBezTo>
                    <a:pt x="227" y="42"/>
                    <a:pt x="221" y="27"/>
                    <a:pt x="221" y="27"/>
                  </a:cubicBezTo>
                  <a:cubicBezTo>
                    <a:pt x="221" y="27"/>
                    <a:pt x="212" y="15"/>
                    <a:pt x="212" y="9"/>
                  </a:cubicBezTo>
                  <a:cubicBezTo>
                    <a:pt x="212" y="3"/>
                    <a:pt x="207" y="0"/>
                    <a:pt x="207" y="0"/>
                  </a:cubicBezTo>
                  <a:cubicBezTo>
                    <a:pt x="207" y="0"/>
                    <a:pt x="174" y="6"/>
                    <a:pt x="157" y="7"/>
                  </a:cubicBezTo>
                  <a:cubicBezTo>
                    <a:pt x="140" y="8"/>
                    <a:pt x="143" y="8"/>
                    <a:pt x="115" y="17"/>
                  </a:cubicBezTo>
                  <a:cubicBezTo>
                    <a:pt x="87" y="26"/>
                    <a:pt x="75" y="27"/>
                    <a:pt x="54" y="31"/>
                  </a:cubicBezTo>
                  <a:cubicBezTo>
                    <a:pt x="33" y="35"/>
                    <a:pt x="26" y="54"/>
                    <a:pt x="26" y="54"/>
                  </a:cubicBezTo>
                  <a:cubicBezTo>
                    <a:pt x="7" y="57"/>
                    <a:pt x="7" y="57"/>
                    <a:pt x="7" y="57"/>
                  </a:cubicBezTo>
                  <a:cubicBezTo>
                    <a:pt x="7" y="57"/>
                    <a:pt x="16" y="74"/>
                    <a:pt x="15" y="87"/>
                  </a:cubicBezTo>
                  <a:cubicBezTo>
                    <a:pt x="14" y="100"/>
                    <a:pt x="5" y="100"/>
                    <a:pt x="5" y="106"/>
                  </a:cubicBezTo>
                  <a:cubicBezTo>
                    <a:pt x="5" y="112"/>
                    <a:pt x="14" y="157"/>
                    <a:pt x="14" y="157"/>
                  </a:cubicBezTo>
                  <a:cubicBezTo>
                    <a:pt x="4" y="192"/>
                    <a:pt x="4" y="192"/>
                    <a:pt x="4" y="192"/>
                  </a:cubicBezTo>
                  <a:cubicBezTo>
                    <a:pt x="4" y="192"/>
                    <a:pt x="7" y="201"/>
                    <a:pt x="12" y="203"/>
                  </a:cubicBezTo>
                  <a:cubicBezTo>
                    <a:pt x="4" y="203"/>
                    <a:pt x="0" y="217"/>
                    <a:pt x="1" y="228"/>
                  </a:cubicBezTo>
                  <a:cubicBezTo>
                    <a:pt x="2" y="239"/>
                    <a:pt x="9" y="232"/>
                    <a:pt x="9" y="232"/>
                  </a:cubicBezTo>
                  <a:cubicBezTo>
                    <a:pt x="9" y="232"/>
                    <a:pt x="10" y="233"/>
                    <a:pt x="12" y="235"/>
                  </a:cubicBezTo>
                  <a:cubicBezTo>
                    <a:pt x="21" y="231"/>
                    <a:pt x="35" y="224"/>
                    <a:pt x="39" y="224"/>
                  </a:cubicBezTo>
                  <a:cubicBezTo>
                    <a:pt x="44" y="224"/>
                    <a:pt x="65" y="237"/>
                    <a:pt x="65" y="23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1" name="Picardie" descr="© INSCALE GmbH, 05.05.2010&#10;http://www.presentationload.com/">
              <a:extLst>
                <a:ext uri="{FF2B5EF4-FFF2-40B4-BE49-F238E27FC236}">
                  <a16:creationId xmlns:a16="http://schemas.microsoft.com/office/drawing/2014/main" id="{2A78403A-7F28-4A1F-B641-DECB4BC24BE4}"/>
                </a:ext>
              </a:extLst>
            </p:cNvPr>
            <p:cNvSpPr>
              <a:spLocks/>
            </p:cNvSpPr>
            <p:nvPr/>
          </p:nvSpPr>
          <p:spPr bwMode="gray">
            <a:xfrm>
              <a:off x="1552" y="410"/>
              <a:ext cx="644" cy="519"/>
            </a:xfrm>
            <a:custGeom>
              <a:avLst/>
              <a:gdLst/>
              <a:ahLst/>
              <a:cxnLst>
                <a:cxn ang="0">
                  <a:pos x="17" y="99"/>
                </a:cxn>
                <a:cxn ang="0">
                  <a:pos x="85" y="189"/>
                </a:cxn>
                <a:cxn ang="0">
                  <a:pos x="79" y="213"/>
                </a:cxn>
                <a:cxn ang="0">
                  <a:pos x="79" y="264"/>
                </a:cxn>
                <a:cxn ang="0">
                  <a:pos x="83" y="275"/>
                </a:cxn>
                <a:cxn ang="0">
                  <a:pos x="84" y="355"/>
                </a:cxn>
                <a:cxn ang="0">
                  <a:pos x="76" y="379"/>
                </a:cxn>
                <a:cxn ang="0">
                  <a:pos x="144" y="371"/>
                </a:cxn>
                <a:cxn ang="0">
                  <a:pos x="160" y="373"/>
                </a:cxn>
                <a:cxn ang="0">
                  <a:pos x="173" y="376"/>
                </a:cxn>
                <a:cxn ang="0">
                  <a:pos x="196" y="375"/>
                </a:cxn>
                <a:cxn ang="0">
                  <a:pos x="196" y="375"/>
                </a:cxn>
                <a:cxn ang="0">
                  <a:pos x="232" y="403"/>
                </a:cxn>
                <a:cxn ang="0">
                  <a:pos x="251" y="409"/>
                </a:cxn>
                <a:cxn ang="0">
                  <a:pos x="280" y="412"/>
                </a:cxn>
                <a:cxn ang="0">
                  <a:pos x="311" y="413"/>
                </a:cxn>
                <a:cxn ang="0">
                  <a:pos x="356" y="397"/>
                </a:cxn>
                <a:cxn ang="0">
                  <a:pos x="392" y="451"/>
                </a:cxn>
                <a:cxn ang="0">
                  <a:pos x="407" y="457"/>
                </a:cxn>
                <a:cxn ang="0">
                  <a:pos x="421" y="476"/>
                </a:cxn>
                <a:cxn ang="0">
                  <a:pos x="451" y="461"/>
                </a:cxn>
                <a:cxn ang="0">
                  <a:pos x="480" y="424"/>
                </a:cxn>
                <a:cxn ang="0">
                  <a:pos x="463" y="415"/>
                </a:cxn>
                <a:cxn ang="0">
                  <a:pos x="465" y="391"/>
                </a:cxn>
                <a:cxn ang="0">
                  <a:pos x="473" y="364"/>
                </a:cxn>
                <a:cxn ang="0">
                  <a:pos x="473" y="333"/>
                </a:cxn>
                <a:cxn ang="0">
                  <a:pos x="517" y="309"/>
                </a:cxn>
                <a:cxn ang="0">
                  <a:pos x="552" y="316"/>
                </a:cxn>
                <a:cxn ang="0">
                  <a:pos x="560" y="260"/>
                </a:cxn>
                <a:cxn ang="0">
                  <a:pos x="564" y="229"/>
                </a:cxn>
                <a:cxn ang="0">
                  <a:pos x="593" y="187"/>
                </a:cxn>
                <a:cxn ang="0">
                  <a:pos x="592" y="143"/>
                </a:cxn>
                <a:cxn ang="0">
                  <a:pos x="536" y="111"/>
                </a:cxn>
                <a:cxn ang="0">
                  <a:pos x="517" y="109"/>
                </a:cxn>
                <a:cxn ang="0">
                  <a:pos x="484" y="93"/>
                </a:cxn>
                <a:cxn ang="0">
                  <a:pos x="408" y="103"/>
                </a:cxn>
                <a:cxn ang="0">
                  <a:pos x="387" y="105"/>
                </a:cxn>
                <a:cxn ang="0">
                  <a:pos x="323" y="97"/>
                </a:cxn>
                <a:cxn ang="0">
                  <a:pos x="316" y="100"/>
                </a:cxn>
                <a:cxn ang="0">
                  <a:pos x="288" y="99"/>
                </a:cxn>
                <a:cxn ang="0">
                  <a:pos x="276" y="76"/>
                </a:cxn>
                <a:cxn ang="0">
                  <a:pos x="252" y="80"/>
                </a:cxn>
                <a:cxn ang="0">
                  <a:pos x="217" y="85"/>
                </a:cxn>
                <a:cxn ang="0">
                  <a:pos x="231" y="49"/>
                </a:cxn>
                <a:cxn ang="0">
                  <a:pos x="203" y="45"/>
                </a:cxn>
                <a:cxn ang="0">
                  <a:pos x="161" y="55"/>
                </a:cxn>
                <a:cxn ang="0">
                  <a:pos x="145" y="33"/>
                </a:cxn>
                <a:cxn ang="0">
                  <a:pos x="121" y="12"/>
                </a:cxn>
                <a:cxn ang="0">
                  <a:pos x="83" y="0"/>
                </a:cxn>
                <a:cxn ang="0">
                  <a:pos x="63" y="30"/>
                </a:cxn>
                <a:cxn ang="0">
                  <a:pos x="25" y="60"/>
                </a:cxn>
                <a:cxn ang="0">
                  <a:pos x="5" y="92"/>
                </a:cxn>
              </a:cxnLst>
              <a:rect l="0" t="0" r="r" b="b"/>
              <a:pathLst>
                <a:path w="597" h="481">
                  <a:moveTo>
                    <a:pt x="17" y="95"/>
                  </a:moveTo>
                  <a:cubicBezTo>
                    <a:pt x="17" y="99"/>
                    <a:pt x="17" y="99"/>
                    <a:pt x="17" y="99"/>
                  </a:cubicBezTo>
                  <a:cubicBezTo>
                    <a:pt x="17" y="99"/>
                    <a:pt x="43" y="136"/>
                    <a:pt x="61" y="139"/>
                  </a:cubicBezTo>
                  <a:cubicBezTo>
                    <a:pt x="85" y="189"/>
                    <a:pt x="85" y="189"/>
                    <a:pt x="85" y="189"/>
                  </a:cubicBezTo>
                  <a:cubicBezTo>
                    <a:pt x="85" y="189"/>
                    <a:pt x="64" y="211"/>
                    <a:pt x="68" y="212"/>
                  </a:cubicBezTo>
                  <a:cubicBezTo>
                    <a:pt x="72" y="213"/>
                    <a:pt x="79" y="213"/>
                    <a:pt x="79" y="213"/>
                  </a:cubicBezTo>
                  <a:cubicBezTo>
                    <a:pt x="69" y="244"/>
                    <a:pt x="69" y="244"/>
                    <a:pt x="69" y="244"/>
                  </a:cubicBezTo>
                  <a:cubicBezTo>
                    <a:pt x="79" y="264"/>
                    <a:pt x="79" y="264"/>
                    <a:pt x="79" y="264"/>
                  </a:cubicBezTo>
                  <a:cubicBezTo>
                    <a:pt x="73" y="276"/>
                    <a:pt x="73" y="276"/>
                    <a:pt x="73" y="276"/>
                  </a:cubicBezTo>
                  <a:cubicBezTo>
                    <a:pt x="83" y="275"/>
                    <a:pt x="83" y="275"/>
                    <a:pt x="83" y="275"/>
                  </a:cubicBezTo>
                  <a:cubicBezTo>
                    <a:pt x="73" y="303"/>
                    <a:pt x="73" y="303"/>
                    <a:pt x="73" y="303"/>
                  </a:cubicBezTo>
                  <a:cubicBezTo>
                    <a:pt x="73" y="303"/>
                    <a:pt x="85" y="340"/>
                    <a:pt x="84" y="355"/>
                  </a:cubicBezTo>
                  <a:cubicBezTo>
                    <a:pt x="65" y="349"/>
                    <a:pt x="65" y="349"/>
                    <a:pt x="65" y="349"/>
                  </a:cubicBezTo>
                  <a:cubicBezTo>
                    <a:pt x="76" y="379"/>
                    <a:pt x="76" y="379"/>
                    <a:pt x="76" y="379"/>
                  </a:cubicBezTo>
                  <a:cubicBezTo>
                    <a:pt x="128" y="375"/>
                    <a:pt x="128" y="375"/>
                    <a:pt x="128" y="375"/>
                  </a:cubicBezTo>
                  <a:cubicBezTo>
                    <a:pt x="144" y="371"/>
                    <a:pt x="144" y="371"/>
                    <a:pt x="144" y="371"/>
                  </a:cubicBezTo>
                  <a:cubicBezTo>
                    <a:pt x="151" y="376"/>
                    <a:pt x="151" y="376"/>
                    <a:pt x="151" y="376"/>
                  </a:cubicBezTo>
                  <a:cubicBezTo>
                    <a:pt x="160" y="373"/>
                    <a:pt x="160" y="373"/>
                    <a:pt x="160" y="373"/>
                  </a:cubicBezTo>
                  <a:cubicBezTo>
                    <a:pt x="169" y="383"/>
                    <a:pt x="169" y="383"/>
                    <a:pt x="169" y="383"/>
                  </a:cubicBezTo>
                  <a:cubicBezTo>
                    <a:pt x="173" y="376"/>
                    <a:pt x="173" y="376"/>
                    <a:pt x="173" y="376"/>
                  </a:cubicBezTo>
                  <a:cubicBezTo>
                    <a:pt x="177" y="384"/>
                    <a:pt x="177" y="384"/>
                    <a:pt x="177" y="384"/>
                  </a:cubicBezTo>
                  <a:cubicBezTo>
                    <a:pt x="196" y="375"/>
                    <a:pt x="196" y="375"/>
                    <a:pt x="196" y="375"/>
                  </a:cubicBezTo>
                  <a:cubicBezTo>
                    <a:pt x="197" y="375"/>
                    <a:pt x="197" y="375"/>
                    <a:pt x="197" y="375"/>
                  </a:cubicBezTo>
                  <a:cubicBezTo>
                    <a:pt x="196" y="375"/>
                    <a:pt x="196" y="375"/>
                    <a:pt x="196" y="375"/>
                  </a:cubicBezTo>
                  <a:cubicBezTo>
                    <a:pt x="194" y="376"/>
                    <a:pt x="190" y="380"/>
                    <a:pt x="203" y="383"/>
                  </a:cubicBezTo>
                  <a:cubicBezTo>
                    <a:pt x="219" y="387"/>
                    <a:pt x="237" y="399"/>
                    <a:pt x="232" y="403"/>
                  </a:cubicBezTo>
                  <a:cubicBezTo>
                    <a:pt x="227" y="407"/>
                    <a:pt x="245" y="399"/>
                    <a:pt x="245" y="399"/>
                  </a:cubicBezTo>
                  <a:cubicBezTo>
                    <a:pt x="251" y="409"/>
                    <a:pt x="251" y="409"/>
                    <a:pt x="251" y="409"/>
                  </a:cubicBezTo>
                  <a:cubicBezTo>
                    <a:pt x="251" y="409"/>
                    <a:pt x="253" y="397"/>
                    <a:pt x="260" y="401"/>
                  </a:cubicBezTo>
                  <a:cubicBezTo>
                    <a:pt x="267" y="405"/>
                    <a:pt x="272" y="409"/>
                    <a:pt x="280" y="412"/>
                  </a:cubicBezTo>
                  <a:cubicBezTo>
                    <a:pt x="288" y="415"/>
                    <a:pt x="297" y="405"/>
                    <a:pt x="297" y="405"/>
                  </a:cubicBezTo>
                  <a:cubicBezTo>
                    <a:pt x="311" y="413"/>
                    <a:pt x="311" y="413"/>
                    <a:pt x="311" y="413"/>
                  </a:cubicBezTo>
                  <a:cubicBezTo>
                    <a:pt x="349" y="403"/>
                    <a:pt x="349" y="403"/>
                    <a:pt x="349" y="403"/>
                  </a:cubicBezTo>
                  <a:cubicBezTo>
                    <a:pt x="356" y="397"/>
                    <a:pt x="356" y="397"/>
                    <a:pt x="356" y="397"/>
                  </a:cubicBezTo>
                  <a:cubicBezTo>
                    <a:pt x="356" y="397"/>
                    <a:pt x="380" y="399"/>
                    <a:pt x="376" y="431"/>
                  </a:cubicBezTo>
                  <a:cubicBezTo>
                    <a:pt x="377" y="436"/>
                    <a:pt x="393" y="443"/>
                    <a:pt x="392" y="451"/>
                  </a:cubicBezTo>
                  <a:cubicBezTo>
                    <a:pt x="391" y="459"/>
                    <a:pt x="404" y="449"/>
                    <a:pt x="404" y="449"/>
                  </a:cubicBezTo>
                  <a:cubicBezTo>
                    <a:pt x="407" y="457"/>
                    <a:pt x="407" y="457"/>
                    <a:pt x="407" y="457"/>
                  </a:cubicBezTo>
                  <a:cubicBezTo>
                    <a:pt x="417" y="457"/>
                    <a:pt x="417" y="457"/>
                    <a:pt x="417" y="457"/>
                  </a:cubicBezTo>
                  <a:cubicBezTo>
                    <a:pt x="417" y="457"/>
                    <a:pt x="417" y="476"/>
                    <a:pt x="421" y="476"/>
                  </a:cubicBezTo>
                  <a:cubicBezTo>
                    <a:pt x="425" y="476"/>
                    <a:pt x="441" y="481"/>
                    <a:pt x="441" y="481"/>
                  </a:cubicBezTo>
                  <a:cubicBezTo>
                    <a:pt x="451" y="461"/>
                    <a:pt x="451" y="461"/>
                    <a:pt x="451" y="461"/>
                  </a:cubicBezTo>
                  <a:cubicBezTo>
                    <a:pt x="457" y="459"/>
                    <a:pt x="457" y="459"/>
                    <a:pt x="457" y="459"/>
                  </a:cubicBezTo>
                  <a:cubicBezTo>
                    <a:pt x="457" y="459"/>
                    <a:pt x="487" y="429"/>
                    <a:pt x="480" y="424"/>
                  </a:cubicBezTo>
                  <a:cubicBezTo>
                    <a:pt x="473" y="419"/>
                    <a:pt x="461" y="420"/>
                    <a:pt x="461" y="420"/>
                  </a:cubicBezTo>
                  <a:cubicBezTo>
                    <a:pt x="463" y="415"/>
                    <a:pt x="463" y="415"/>
                    <a:pt x="463" y="415"/>
                  </a:cubicBezTo>
                  <a:cubicBezTo>
                    <a:pt x="471" y="408"/>
                    <a:pt x="471" y="408"/>
                    <a:pt x="471" y="408"/>
                  </a:cubicBezTo>
                  <a:cubicBezTo>
                    <a:pt x="471" y="408"/>
                    <a:pt x="463" y="396"/>
                    <a:pt x="465" y="391"/>
                  </a:cubicBezTo>
                  <a:cubicBezTo>
                    <a:pt x="468" y="385"/>
                    <a:pt x="492" y="380"/>
                    <a:pt x="492" y="380"/>
                  </a:cubicBezTo>
                  <a:cubicBezTo>
                    <a:pt x="473" y="364"/>
                    <a:pt x="473" y="364"/>
                    <a:pt x="473" y="364"/>
                  </a:cubicBezTo>
                  <a:cubicBezTo>
                    <a:pt x="479" y="353"/>
                    <a:pt x="479" y="353"/>
                    <a:pt x="479" y="353"/>
                  </a:cubicBezTo>
                  <a:cubicBezTo>
                    <a:pt x="473" y="333"/>
                    <a:pt x="473" y="333"/>
                    <a:pt x="473" y="333"/>
                  </a:cubicBezTo>
                  <a:cubicBezTo>
                    <a:pt x="473" y="333"/>
                    <a:pt x="495" y="315"/>
                    <a:pt x="512" y="320"/>
                  </a:cubicBezTo>
                  <a:cubicBezTo>
                    <a:pt x="516" y="319"/>
                    <a:pt x="517" y="309"/>
                    <a:pt x="517" y="309"/>
                  </a:cubicBezTo>
                  <a:cubicBezTo>
                    <a:pt x="528" y="303"/>
                    <a:pt x="528" y="303"/>
                    <a:pt x="528" y="303"/>
                  </a:cubicBezTo>
                  <a:cubicBezTo>
                    <a:pt x="528" y="303"/>
                    <a:pt x="547" y="316"/>
                    <a:pt x="552" y="316"/>
                  </a:cubicBezTo>
                  <a:cubicBezTo>
                    <a:pt x="557" y="316"/>
                    <a:pt x="552" y="267"/>
                    <a:pt x="552" y="267"/>
                  </a:cubicBezTo>
                  <a:cubicBezTo>
                    <a:pt x="560" y="260"/>
                    <a:pt x="560" y="260"/>
                    <a:pt x="560" y="260"/>
                  </a:cubicBezTo>
                  <a:cubicBezTo>
                    <a:pt x="548" y="231"/>
                    <a:pt x="548" y="231"/>
                    <a:pt x="548" y="231"/>
                  </a:cubicBezTo>
                  <a:cubicBezTo>
                    <a:pt x="564" y="229"/>
                    <a:pt x="564" y="229"/>
                    <a:pt x="564" y="229"/>
                  </a:cubicBezTo>
                  <a:cubicBezTo>
                    <a:pt x="571" y="215"/>
                    <a:pt x="571" y="215"/>
                    <a:pt x="571" y="215"/>
                  </a:cubicBezTo>
                  <a:cubicBezTo>
                    <a:pt x="593" y="187"/>
                    <a:pt x="593" y="187"/>
                    <a:pt x="593" y="187"/>
                  </a:cubicBezTo>
                  <a:cubicBezTo>
                    <a:pt x="587" y="180"/>
                    <a:pt x="587" y="180"/>
                    <a:pt x="587" y="180"/>
                  </a:cubicBezTo>
                  <a:cubicBezTo>
                    <a:pt x="592" y="143"/>
                    <a:pt x="592" y="143"/>
                    <a:pt x="592" y="143"/>
                  </a:cubicBezTo>
                  <a:cubicBezTo>
                    <a:pt x="592" y="143"/>
                    <a:pt x="583" y="130"/>
                    <a:pt x="597" y="110"/>
                  </a:cubicBezTo>
                  <a:cubicBezTo>
                    <a:pt x="566" y="131"/>
                    <a:pt x="536" y="111"/>
                    <a:pt x="536" y="111"/>
                  </a:cubicBezTo>
                  <a:cubicBezTo>
                    <a:pt x="536" y="97"/>
                    <a:pt x="536" y="97"/>
                    <a:pt x="536" y="97"/>
                  </a:cubicBezTo>
                  <a:cubicBezTo>
                    <a:pt x="517" y="109"/>
                    <a:pt x="517" y="109"/>
                    <a:pt x="517" y="109"/>
                  </a:cubicBezTo>
                  <a:cubicBezTo>
                    <a:pt x="517" y="103"/>
                    <a:pt x="517" y="103"/>
                    <a:pt x="517" y="103"/>
                  </a:cubicBezTo>
                  <a:cubicBezTo>
                    <a:pt x="484" y="93"/>
                    <a:pt x="484" y="93"/>
                    <a:pt x="484" y="93"/>
                  </a:cubicBezTo>
                  <a:cubicBezTo>
                    <a:pt x="457" y="115"/>
                    <a:pt x="447" y="99"/>
                    <a:pt x="448" y="95"/>
                  </a:cubicBezTo>
                  <a:cubicBezTo>
                    <a:pt x="444" y="113"/>
                    <a:pt x="408" y="103"/>
                    <a:pt x="408" y="103"/>
                  </a:cubicBezTo>
                  <a:cubicBezTo>
                    <a:pt x="403" y="115"/>
                    <a:pt x="392" y="111"/>
                    <a:pt x="392" y="111"/>
                  </a:cubicBezTo>
                  <a:cubicBezTo>
                    <a:pt x="392" y="111"/>
                    <a:pt x="392" y="107"/>
                    <a:pt x="387" y="105"/>
                  </a:cubicBezTo>
                  <a:cubicBezTo>
                    <a:pt x="364" y="117"/>
                    <a:pt x="357" y="97"/>
                    <a:pt x="357" y="97"/>
                  </a:cubicBezTo>
                  <a:cubicBezTo>
                    <a:pt x="323" y="97"/>
                    <a:pt x="323" y="97"/>
                    <a:pt x="323" y="97"/>
                  </a:cubicBezTo>
                  <a:cubicBezTo>
                    <a:pt x="309" y="108"/>
                    <a:pt x="309" y="108"/>
                    <a:pt x="309" y="108"/>
                  </a:cubicBezTo>
                  <a:cubicBezTo>
                    <a:pt x="316" y="100"/>
                    <a:pt x="316" y="100"/>
                    <a:pt x="316" y="100"/>
                  </a:cubicBezTo>
                  <a:cubicBezTo>
                    <a:pt x="307" y="89"/>
                    <a:pt x="307" y="89"/>
                    <a:pt x="307" y="89"/>
                  </a:cubicBezTo>
                  <a:cubicBezTo>
                    <a:pt x="288" y="99"/>
                    <a:pt x="288" y="99"/>
                    <a:pt x="288" y="99"/>
                  </a:cubicBezTo>
                  <a:cubicBezTo>
                    <a:pt x="292" y="79"/>
                    <a:pt x="292" y="79"/>
                    <a:pt x="292" y="79"/>
                  </a:cubicBezTo>
                  <a:cubicBezTo>
                    <a:pt x="276" y="76"/>
                    <a:pt x="276" y="76"/>
                    <a:pt x="276" y="76"/>
                  </a:cubicBezTo>
                  <a:cubicBezTo>
                    <a:pt x="271" y="89"/>
                    <a:pt x="271" y="89"/>
                    <a:pt x="271" y="89"/>
                  </a:cubicBezTo>
                  <a:cubicBezTo>
                    <a:pt x="271" y="89"/>
                    <a:pt x="252" y="87"/>
                    <a:pt x="252" y="80"/>
                  </a:cubicBezTo>
                  <a:cubicBezTo>
                    <a:pt x="252" y="73"/>
                    <a:pt x="237" y="76"/>
                    <a:pt x="237" y="76"/>
                  </a:cubicBezTo>
                  <a:cubicBezTo>
                    <a:pt x="237" y="65"/>
                    <a:pt x="217" y="85"/>
                    <a:pt x="217" y="85"/>
                  </a:cubicBezTo>
                  <a:cubicBezTo>
                    <a:pt x="217" y="85"/>
                    <a:pt x="207" y="91"/>
                    <a:pt x="207" y="80"/>
                  </a:cubicBezTo>
                  <a:cubicBezTo>
                    <a:pt x="207" y="69"/>
                    <a:pt x="231" y="49"/>
                    <a:pt x="231" y="49"/>
                  </a:cubicBezTo>
                  <a:cubicBezTo>
                    <a:pt x="224" y="39"/>
                    <a:pt x="224" y="39"/>
                    <a:pt x="224" y="39"/>
                  </a:cubicBezTo>
                  <a:cubicBezTo>
                    <a:pt x="203" y="45"/>
                    <a:pt x="203" y="45"/>
                    <a:pt x="203" y="45"/>
                  </a:cubicBezTo>
                  <a:cubicBezTo>
                    <a:pt x="187" y="41"/>
                    <a:pt x="187" y="41"/>
                    <a:pt x="187" y="41"/>
                  </a:cubicBezTo>
                  <a:cubicBezTo>
                    <a:pt x="161" y="55"/>
                    <a:pt x="161" y="55"/>
                    <a:pt x="161" y="55"/>
                  </a:cubicBezTo>
                  <a:cubicBezTo>
                    <a:pt x="153" y="51"/>
                    <a:pt x="153" y="51"/>
                    <a:pt x="153" y="51"/>
                  </a:cubicBezTo>
                  <a:cubicBezTo>
                    <a:pt x="145" y="33"/>
                    <a:pt x="145" y="33"/>
                    <a:pt x="145" y="33"/>
                  </a:cubicBezTo>
                  <a:cubicBezTo>
                    <a:pt x="123" y="23"/>
                    <a:pt x="123" y="23"/>
                    <a:pt x="123" y="23"/>
                  </a:cubicBezTo>
                  <a:cubicBezTo>
                    <a:pt x="121" y="12"/>
                    <a:pt x="121" y="12"/>
                    <a:pt x="121" y="12"/>
                  </a:cubicBezTo>
                  <a:cubicBezTo>
                    <a:pt x="109" y="13"/>
                    <a:pt x="109" y="13"/>
                    <a:pt x="109" y="13"/>
                  </a:cubicBezTo>
                  <a:cubicBezTo>
                    <a:pt x="109" y="13"/>
                    <a:pt x="88" y="0"/>
                    <a:pt x="83" y="0"/>
                  </a:cubicBezTo>
                  <a:cubicBezTo>
                    <a:pt x="79" y="0"/>
                    <a:pt x="65" y="7"/>
                    <a:pt x="56" y="11"/>
                  </a:cubicBezTo>
                  <a:cubicBezTo>
                    <a:pt x="60" y="16"/>
                    <a:pt x="69" y="27"/>
                    <a:pt x="63" y="30"/>
                  </a:cubicBezTo>
                  <a:cubicBezTo>
                    <a:pt x="55" y="34"/>
                    <a:pt x="45" y="21"/>
                    <a:pt x="45" y="21"/>
                  </a:cubicBezTo>
                  <a:cubicBezTo>
                    <a:pt x="35" y="27"/>
                    <a:pt x="25" y="60"/>
                    <a:pt x="25" y="60"/>
                  </a:cubicBezTo>
                  <a:cubicBezTo>
                    <a:pt x="25" y="60"/>
                    <a:pt x="14" y="68"/>
                    <a:pt x="0" y="77"/>
                  </a:cubicBezTo>
                  <a:cubicBezTo>
                    <a:pt x="5" y="92"/>
                    <a:pt x="5" y="92"/>
                    <a:pt x="5" y="92"/>
                  </a:cubicBezTo>
                  <a:lnTo>
                    <a:pt x="17" y="9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2" name="Haute Normandie" descr="© INSCALE GmbH, 05.05.2010&#10;http://www.presentationload.com/">
              <a:extLst>
                <a:ext uri="{FF2B5EF4-FFF2-40B4-BE49-F238E27FC236}">
                  <a16:creationId xmlns:a16="http://schemas.microsoft.com/office/drawing/2014/main" id="{67DE9D41-AD0D-42D6-AE91-CBB98FF22C82}"/>
                </a:ext>
              </a:extLst>
            </p:cNvPr>
            <p:cNvSpPr>
              <a:spLocks/>
            </p:cNvSpPr>
            <p:nvPr/>
          </p:nvSpPr>
          <p:spPr bwMode="gray">
            <a:xfrm>
              <a:off x="1259" y="493"/>
              <a:ext cx="385" cy="503"/>
            </a:xfrm>
            <a:custGeom>
              <a:avLst/>
              <a:gdLst/>
              <a:ahLst/>
              <a:cxnLst>
                <a:cxn ang="0">
                  <a:pos x="355" y="198"/>
                </a:cxn>
                <a:cxn ang="0">
                  <a:pos x="345" y="199"/>
                </a:cxn>
                <a:cxn ang="0">
                  <a:pos x="351" y="187"/>
                </a:cxn>
                <a:cxn ang="0">
                  <a:pos x="341" y="167"/>
                </a:cxn>
                <a:cxn ang="0">
                  <a:pos x="351" y="136"/>
                </a:cxn>
                <a:cxn ang="0">
                  <a:pos x="340" y="135"/>
                </a:cxn>
                <a:cxn ang="0">
                  <a:pos x="357" y="112"/>
                </a:cxn>
                <a:cxn ang="0">
                  <a:pos x="333" y="62"/>
                </a:cxn>
                <a:cxn ang="0">
                  <a:pos x="289" y="22"/>
                </a:cxn>
                <a:cxn ang="0">
                  <a:pos x="289" y="18"/>
                </a:cxn>
                <a:cxn ang="0">
                  <a:pos x="277" y="15"/>
                </a:cxn>
                <a:cxn ang="0">
                  <a:pos x="272" y="0"/>
                </a:cxn>
                <a:cxn ang="0">
                  <a:pos x="220" y="29"/>
                </a:cxn>
                <a:cxn ang="0">
                  <a:pos x="155" y="47"/>
                </a:cxn>
                <a:cxn ang="0">
                  <a:pos x="108" y="50"/>
                </a:cxn>
                <a:cxn ang="0">
                  <a:pos x="30" y="93"/>
                </a:cxn>
                <a:cxn ang="0">
                  <a:pos x="0" y="150"/>
                </a:cxn>
                <a:cxn ang="0">
                  <a:pos x="10" y="167"/>
                </a:cxn>
                <a:cxn ang="0">
                  <a:pos x="39" y="178"/>
                </a:cxn>
                <a:cxn ang="0">
                  <a:pos x="52" y="263"/>
                </a:cxn>
                <a:cxn ang="0">
                  <a:pos x="53" y="271"/>
                </a:cxn>
                <a:cxn ang="0">
                  <a:pos x="67" y="288"/>
                </a:cxn>
                <a:cxn ang="0">
                  <a:pos x="67" y="303"/>
                </a:cxn>
                <a:cxn ang="0">
                  <a:pos x="72" y="311"/>
                </a:cxn>
                <a:cxn ang="0">
                  <a:pos x="71" y="331"/>
                </a:cxn>
                <a:cxn ang="0">
                  <a:pos x="63" y="332"/>
                </a:cxn>
                <a:cxn ang="0">
                  <a:pos x="72" y="344"/>
                </a:cxn>
                <a:cxn ang="0">
                  <a:pos x="65" y="379"/>
                </a:cxn>
                <a:cxn ang="0">
                  <a:pos x="72" y="388"/>
                </a:cxn>
                <a:cxn ang="0">
                  <a:pos x="105" y="390"/>
                </a:cxn>
                <a:cxn ang="0">
                  <a:pos x="112" y="410"/>
                </a:cxn>
                <a:cxn ang="0">
                  <a:pos x="136" y="448"/>
                </a:cxn>
                <a:cxn ang="0">
                  <a:pos x="139" y="459"/>
                </a:cxn>
                <a:cxn ang="0">
                  <a:pos x="167" y="444"/>
                </a:cxn>
                <a:cxn ang="0">
                  <a:pos x="201" y="434"/>
                </a:cxn>
                <a:cxn ang="0">
                  <a:pos x="211" y="438"/>
                </a:cxn>
                <a:cxn ang="0">
                  <a:pos x="212" y="427"/>
                </a:cxn>
                <a:cxn ang="0">
                  <a:pos x="263" y="431"/>
                </a:cxn>
                <a:cxn ang="0">
                  <a:pos x="268" y="408"/>
                </a:cxn>
                <a:cxn ang="0">
                  <a:pos x="288" y="395"/>
                </a:cxn>
                <a:cxn ang="0">
                  <a:pos x="288" y="383"/>
                </a:cxn>
                <a:cxn ang="0">
                  <a:pos x="297" y="379"/>
                </a:cxn>
                <a:cxn ang="0">
                  <a:pos x="284" y="343"/>
                </a:cxn>
                <a:cxn ang="0">
                  <a:pos x="297" y="338"/>
                </a:cxn>
                <a:cxn ang="0">
                  <a:pos x="295" y="331"/>
                </a:cxn>
                <a:cxn ang="0">
                  <a:pos x="323" y="328"/>
                </a:cxn>
                <a:cxn ang="0">
                  <a:pos x="340" y="281"/>
                </a:cxn>
                <a:cxn ang="0">
                  <a:pos x="337" y="272"/>
                </a:cxn>
                <a:cxn ang="0">
                  <a:pos x="354" y="277"/>
                </a:cxn>
                <a:cxn ang="0">
                  <a:pos x="356" y="278"/>
                </a:cxn>
                <a:cxn ang="0">
                  <a:pos x="356" y="277"/>
                </a:cxn>
                <a:cxn ang="0">
                  <a:pos x="345" y="226"/>
                </a:cxn>
                <a:cxn ang="0">
                  <a:pos x="355" y="198"/>
                </a:cxn>
              </a:cxnLst>
              <a:rect l="0" t="0" r="r" b="b"/>
              <a:pathLst>
                <a:path w="357" h="466">
                  <a:moveTo>
                    <a:pt x="355" y="198"/>
                  </a:moveTo>
                  <a:cubicBezTo>
                    <a:pt x="345" y="199"/>
                    <a:pt x="345" y="199"/>
                    <a:pt x="345" y="199"/>
                  </a:cubicBezTo>
                  <a:cubicBezTo>
                    <a:pt x="351" y="187"/>
                    <a:pt x="351" y="187"/>
                    <a:pt x="351" y="187"/>
                  </a:cubicBezTo>
                  <a:cubicBezTo>
                    <a:pt x="341" y="167"/>
                    <a:pt x="341" y="167"/>
                    <a:pt x="341" y="167"/>
                  </a:cubicBezTo>
                  <a:cubicBezTo>
                    <a:pt x="351" y="136"/>
                    <a:pt x="351" y="136"/>
                    <a:pt x="351" y="136"/>
                  </a:cubicBezTo>
                  <a:cubicBezTo>
                    <a:pt x="351" y="136"/>
                    <a:pt x="344" y="136"/>
                    <a:pt x="340" y="135"/>
                  </a:cubicBezTo>
                  <a:cubicBezTo>
                    <a:pt x="336" y="134"/>
                    <a:pt x="357" y="112"/>
                    <a:pt x="357" y="112"/>
                  </a:cubicBezTo>
                  <a:cubicBezTo>
                    <a:pt x="333" y="62"/>
                    <a:pt x="333" y="62"/>
                    <a:pt x="333" y="62"/>
                  </a:cubicBezTo>
                  <a:cubicBezTo>
                    <a:pt x="315" y="59"/>
                    <a:pt x="289" y="22"/>
                    <a:pt x="289" y="22"/>
                  </a:cubicBezTo>
                  <a:cubicBezTo>
                    <a:pt x="289" y="18"/>
                    <a:pt x="289" y="18"/>
                    <a:pt x="289" y="18"/>
                  </a:cubicBezTo>
                  <a:cubicBezTo>
                    <a:pt x="277" y="15"/>
                    <a:pt x="277" y="15"/>
                    <a:pt x="277" y="15"/>
                  </a:cubicBezTo>
                  <a:cubicBezTo>
                    <a:pt x="272" y="0"/>
                    <a:pt x="272" y="0"/>
                    <a:pt x="272" y="0"/>
                  </a:cubicBezTo>
                  <a:cubicBezTo>
                    <a:pt x="255" y="11"/>
                    <a:pt x="233" y="25"/>
                    <a:pt x="220" y="29"/>
                  </a:cubicBezTo>
                  <a:cubicBezTo>
                    <a:pt x="196" y="38"/>
                    <a:pt x="155" y="47"/>
                    <a:pt x="155" y="47"/>
                  </a:cubicBezTo>
                  <a:cubicBezTo>
                    <a:pt x="155" y="47"/>
                    <a:pt x="110" y="54"/>
                    <a:pt x="108" y="50"/>
                  </a:cubicBezTo>
                  <a:cubicBezTo>
                    <a:pt x="81" y="78"/>
                    <a:pt x="30" y="93"/>
                    <a:pt x="30" y="93"/>
                  </a:cubicBezTo>
                  <a:cubicBezTo>
                    <a:pt x="0" y="150"/>
                    <a:pt x="0" y="150"/>
                    <a:pt x="0" y="150"/>
                  </a:cubicBezTo>
                  <a:cubicBezTo>
                    <a:pt x="10" y="167"/>
                    <a:pt x="10" y="167"/>
                    <a:pt x="10" y="167"/>
                  </a:cubicBezTo>
                  <a:cubicBezTo>
                    <a:pt x="10" y="167"/>
                    <a:pt x="44" y="176"/>
                    <a:pt x="39" y="178"/>
                  </a:cubicBezTo>
                  <a:cubicBezTo>
                    <a:pt x="52" y="263"/>
                    <a:pt x="52" y="263"/>
                    <a:pt x="52" y="263"/>
                  </a:cubicBezTo>
                  <a:cubicBezTo>
                    <a:pt x="52" y="263"/>
                    <a:pt x="84" y="260"/>
                    <a:pt x="53" y="271"/>
                  </a:cubicBezTo>
                  <a:cubicBezTo>
                    <a:pt x="51" y="278"/>
                    <a:pt x="67" y="288"/>
                    <a:pt x="67" y="288"/>
                  </a:cubicBezTo>
                  <a:cubicBezTo>
                    <a:pt x="67" y="303"/>
                    <a:pt x="67" y="303"/>
                    <a:pt x="67" y="303"/>
                  </a:cubicBezTo>
                  <a:cubicBezTo>
                    <a:pt x="72" y="311"/>
                    <a:pt x="72" y="311"/>
                    <a:pt x="72" y="311"/>
                  </a:cubicBezTo>
                  <a:cubicBezTo>
                    <a:pt x="71" y="331"/>
                    <a:pt x="71" y="331"/>
                    <a:pt x="71" y="331"/>
                  </a:cubicBezTo>
                  <a:cubicBezTo>
                    <a:pt x="63" y="332"/>
                    <a:pt x="63" y="332"/>
                    <a:pt x="63" y="332"/>
                  </a:cubicBezTo>
                  <a:cubicBezTo>
                    <a:pt x="72" y="344"/>
                    <a:pt x="72" y="344"/>
                    <a:pt x="72" y="344"/>
                  </a:cubicBezTo>
                  <a:cubicBezTo>
                    <a:pt x="72" y="344"/>
                    <a:pt x="72" y="374"/>
                    <a:pt x="65" y="379"/>
                  </a:cubicBezTo>
                  <a:cubicBezTo>
                    <a:pt x="59" y="384"/>
                    <a:pt x="72" y="388"/>
                    <a:pt x="72" y="388"/>
                  </a:cubicBezTo>
                  <a:cubicBezTo>
                    <a:pt x="105" y="390"/>
                    <a:pt x="105" y="390"/>
                    <a:pt x="105" y="390"/>
                  </a:cubicBezTo>
                  <a:cubicBezTo>
                    <a:pt x="112" y="410"/>
                    <a:pt x="112" y="410"/>
                    <a:pt x="112" y="410"/>
                  </a:cubicBezTo>
                  <a:cubicBezTo>
                    <a:pt x="112" y="410"/>
                    <a:pt x="157" y="434"/>
                    <a:pt x="136" y="448"/>
                  </a:cubicBezTo>
                  <a:cubicBezTo>
                    <a:pt x="132" y="448"/>
                    <a:pt x="139" y="459"/>
                    <a:pt x="139" y="459"/>
                  </a:cubicBezTo>
                  <a:cubicBezTo>
                    <a:pt x="139" y="459"/>
                    <a:pt x="159" y="466"/>
                    <a:pt x="167" y="444"/>
                  </a:cubicBezTo>
                  <a:cubicBezTo>
                    <a:pt x="171" y="444"/>
                    <a:pt x="179" y="456"/>
                    <a:pt x="201" y="434"/>
                  </a:cubicBezTo>
                  <a:cubicBezTo>
                    <a:pt x="203" y="438"/>
                    <a:pt x="211" y="438"/>
                    <a:pt x="211" y="438"/>
                  </a:cubicBezTo>
                  <a:cubicBezTo>
                    <a:pt x="212" y="427"/>
                    <a:pt x="212" y="427"/>
                    <a:pt x="212" y="427"/>
                  </a:cubicBezTo>
                  <a:cubicBezTo>
                    <a:pt x="212" y="427"/>
                    <a:pt x="256" y="442"/>
                    <a:pt x="263" y="431"/>
                  </a:cubicBezTo>
                  <a:cubicBezTo>
                    <a:pt x="269" y="420"/>
                    <a:pt x="268" y="408"/>
                    <a:pt x="268" y="408"/>
                  </a:cubicBezTo>
                  <a:cubicBezTo>
                    <a:pt x="268" y="408"/>
                    <a:pt x="287" y="400"/>
                    <a:pt x="288" y="395"/>
                  </a:cubicBezTo>
                  <a:cubicBezTo>
                    <a:pt x="289" y="390"/>
                    <a:pt x="288" y="383"/>
                    <a:pt x="288" y="383"/>
                  </a:cubicBezTo>
                  <a:cubicBezTo>
                    <a:pt x="297" y="379"/>
                    <a:pt x="297" y="379"/>
                    <a:pt x="297" y="379"/>
                  </a:cubicBezTo>
                  <a:cubicBezTo>
                    <a:pt x="284" y="343"/>
                    <a:pt x="284" y="343"/>
                    <a:pt x="284" y="343"/>
                  </a:cubicBezTo>
                  <a:cubicBezTo>
                    <a:pt x="284" y="343"/>
                    <a:pt x="301" y="338"/>
                    <a:pt x="297" y="338"/>
                  </a:cubicBezTo>
                  <a:cubicBezTo>
                    <a:pt x="293" y="338"/>
                    <a:pt x="295" y="331"/>
                    <a:pt x="295" y="331"/>
                  </a:cubicBezTo>
                  <a:cubicBezTo>
                    <a:pt x="323" y="328"/>
                    <a:pt x="323" y="328"/>
                    <a:pt x="323" y="328"/>
                  </a:cubicBezTo>
                  <a:cubicBezTo>
                    <a:pt x="340" y="281"/>
                    <a:pt x="340" y="281"/>
                    <a:pt x="340" y="281"/>
                  </a:cubicBezTo>
                  <a:cubicBezTo>
                    <a:pt x="337" y="272"/>
                    <a:pt x="337" y="272"/>
                    <a:pt x="337" y="272"/>
                  </a:cubicBezTo>
                  <a:cubicBezTo>
                    <a:pt x="354" y="277"/>
                    <a:pt x="354" y="277"/>
                    <a:pt x="354" y="277"/>
                  </a:cubicBezTo>
                  <a:cubicBezTo>
                    <a:pt x="356" y="278"/>
                    <a:pt x="356" y="278"/>
                    <a:pt x="356" y="278"/>
                  </a:cubicBezTo>
                  <a:cubicBezTo>
                    <a:pt x="356" y="278"/>
                    <a:pt x="356" y="277"/>
                    <a:pt x="356" y="277"/>
                  </a:cubicBezTo>
                  <a:cubicBezTo>
                    <a:pt x="357" y="262"/>
                    <a:pt x="345" y="226"/>
                    <a:pt x="345" y="226"/>
                  </a:cubicBezTo>
                  <a:lnTo>
                    <a:pt x="355" y="19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3" name="Ile-de-France" descr="© INSCALE GmbH, 05.05.2010&#10;http://www.presentationload.com/">
              <a:extLst>
                <a:ext uri="{FF2B5EF4-FFF2-40B4-BE49-F238E27FC236}">
                  <a16:creationId xmlns:a16="http://schemas.microsoft.com/office/drawing/2014/main" id="{AC31993E-D426-4B7A-9900-2091A79541F4}"/>
                </a:ext>
              </a:extLst>
            </p:cNvPr>
            <p:cNvSpPr>
              <a:spLocks/>
            </p:cNvSpPr>
            <p:nvPr/>
          </p:nvSpPr>
          <p:spPr bwMode="gray">
            <a:xfrm>
              <a:off x="1565" y="796"/>
              <a:ext cx="483" cy="386"/>
            </a:xfrm>
            <a:custGeom>
              <a:avLst/>
              <a:gdLst/>
              <a:ahLst/>
              <a:cxnLst>
                <a:cxn ang="0">
                  <a:pos x="31" y="127"/>
                </a:cxn>
                <a:cxn ang="0">
                  <a:pos x="36" y="158"/>
                </a:cxn>
                <a:cxn ang="0">
                  <a:pos x="35" y="177"/>
                </a:cxn>
                <a:cxn ang="0">
                  <a:pos x="48" y="199"/>
                </a:cxn>
                <a:cxn ang="0">
                  <a:pos x="56" y="214"/>
                </a:cxn>
                <a:cxn ang="0">
                  <a:pos x="71" y="246"/>
                </a:cxn>
                <a:cxn ang="0">
                  <a:pos x="103" y="267"/>
                </a:cxn>
                <a:cxn ang="0">
                  <a:pos x="111" y="303"/>
                </a:cxn>
                <a:cxn ang="0">
                  <a:pos x="153" y="301"/>
                </a:cxn>
                <a:cxn ang="0">
                  <a:pos x="167" y="290"/>
                </a:cxn>
                <a:cxn ang="0">
                  <a:pos x="183" y="293"/>
                </a:cxn>
                <a:cxn ang="0">
                  <a:pos x="201" y="297"/>
                </a:cxn>
                <a:cxn ang="0">
                  <a:pos x="229" y="338"/>
                </a:cxn>
                <a:cxn ang="0">
                  <a:pos x="273" y="354"/>
                </a:cxn>
                <a:cxn ang="0">
                  <a:pos x="285" y="346"/>
                </a:cxn>
                <a:cxn ang="0">
                  <a:pos x="316" y="345"/>
                </a:cxn>
                <a:cxn ang="0">
                  <a:pos x="333" y="297"/>
                </a:cxn>
                <a:cxn ang="0">
                  <a:pos x="400" y="277"/>
                </a:cxn>
                <a:cxn ang="0">
                  <a:pos x="411" y="243"/>
                </a:cxn>
                <a:cxn ang="0">
                  <a:pos x="413" y="225"/>
                </a:cxn>
                <a:cxn ang="0">
                  <a:pos x="424" y="210"/>
                </a:cxn>
                <a:cxn ang="0">
                  <a:pos x="437" y="199"/>
                </a:cxn>
                <a:cxn ang="0">
                  <a:pos x="440" y="191"/>
                </a:cxn>
                <a:cxn ang="0">
                  <a:pos x="425" y="158"/>
                </a:cxn>
                <a:cxn ang="0">
                  <a:pos x="411" y="147"/>
                </a:cxn>
                <a:cxn ang="0">
                  <a:pos x="412" y="137"/>
                </a:cxn>
                <a:cxn ang="0">
                  <a:pos x="428" y="123"/>
                </a:cxn>
                <a:cxn ang="0">
                  <a:pos x="405" y="99"/>
                </a:cxn>
                <a:cxn ang="0">
                  <a:pos x="392" y="91"/>
                </a:cxn>
                <a:cxn ang="0">
                  <a:pos x="364" y="73"/>
                </a:cxn>
                <a:cxn ang="0">
                  <a:pos x="337" y="45"/>
                </a:cxn>
                <a:cxn ang="0">
                  <a:pos x="285" y="47"/>
                </a:cxn>
                <a:cxn ang="0">
                  <a:pos x="248" y="43"/>
                </a:cxn>
                <a:cxn ang="0">
                  <a:pos x="233" y="41"/>
                </a:cxn>
                <a:cxn ang="0">
                  <a:pos x="191" y="25"/>
                </a:cxn>
                <a:cxn ang="0">
                  <a:pos x="165" y="26"/>
                </a:cxn>
                <a:cxn ang="0">
                  <a:pos x="157" y="25"/>
                </a:cxn>
                <a:cxn ang="0">
                  <a:pos x="139" y="18"/>
                </a:cxn>
                <a:cxn ang="0">
                  <a:pos x="116" y="17"/>
                </a:cxn>
                <a:cxn ang="0">
                  <a:pos x="56" y="0"/>
                </a:cxn>
                <a:cxn ang="0">
                  <a:pos x="11" y="50"/>
                </a:cxn>
                <a:cxn ang="0">
                  <a:pos x="0" y="62"/>
                </a:cxn>
                <a:cxn ang="0">
                  <a:pos x="12" y="99"/>
                </a:cxn>
                <a:cxn ang="0">
                  <a:pos x="23" y="122"/>
                </a:cxn>
              </a:cxnLst>
              <a:rect l="0" t="0" r="r" b="b"/>
              <a:pathLst>
                <a:path w="448" h="357">
                  <a:moveTo>
                    <a:pt x="23" y="122"/>
                  </a:moveTo>
                  <a:cubicBezTo>
                    <a:pt x="31" y="127"/>
                    <a:pt x="31" y="127"/>
                    <a:pt x="31" y="127"/>
                  </a:cubicBezTo>
                  <a:cubicBezTo>
                    <a:pt x="29" y="151"/>
                    <a:pt x="29" y="151"/>
                    <a:pt x="29" y="151"/>
                  </a:cubicBezTo>
                  <a:cubicBezTo>
                    <a:pt x="36" y="158"/>
                    <a:pt x="36" y="158"/>
                    <a:pt x="36" y="158"/>
                  </a:cubicBezTo>
                  <a:cubicBezTo>
                    <a:pt x="25" y="173"/>
                    <a:pt x="25" y="173"/>
                    <a:pt x="25" y="173"/>
                  </a:cubicBezTo>
                  <a:cubicBezTo>
                    <a:pt x="35" y="177"/>
                    <a:pt x="35" y="177"/>
                    <a:pt x="35" y="177"/>
                  </a:cubicBezTo>
                  <a:cubicBezTo>
                    <a:pt x="33" y="187"/>
                    <a:pt x="33" y="187"/>
                    <a:pt x="33" y="187"/>
                  </a:cubicBezTo>
                  <a:cubicBezTo>
                    <a:pt x="48" y="199"/>
                    <a:pt x="48" y="199"/>
                    <a:pt x="48" y="199"/>
                  </a:cubicBezTo>
                  <a:cubicBezTo>
                    <a:pt x="57" y="202"/>
                    <a:pt x="57" y="202"/>
                    <a:pt x="57" y="202"/>
                  </a:cubicBezTo>
                  <a:cubicBezTo>
                    <a:pt x="56" y="214"/>
                    <a:pt x="56" y="214"/>
                    <a:pt x="56" y="214"/>
                  </a:cubicBezTo>
                  <a:cubicBezTo>
                    <a:pt x="69" y="221"/>
                    <a:pt x="69" y="221"/>
                    <a:pt x="69" y="221"/>
                  </a:cubicBezTo>
                  <a:cubicBezTo>
                    <a:pt x="71" y="246"/>
                    <a:pt x="71" y="246"/>
                    <a:pt x="71" y="246"/>
                  </a:cubicBezTo>
                  <a:cubicBezTo>
                    <a:pt x="71" y="246"/>
                    <a:pt x="95" y="261"/>
                    <a:pt x="97" y="253"/>
                  </a:cubicBezTo>
                  <a:cubicBezTo>
                    <a:pt x="101" y="254"/>
                    <a:pt x="103" y="267"/>
                    <a:pt x="103" y="267"/>
                  </a:cubicBezTo>
                  <a:cubicBezTo>
                    <a:pt x="113" y="269"/>
                    <a:pt x="113" y="269"/>
                    <a:pt x="113" y="269"/>
                  </a:cubicBezTo>
                  <a:cubicBezTo>
                    <a:pt x="113" y="269"/>
                    <a:pt x="101" y="295"/>
                    <a:pt x="111" y="303"/>
                  </a:cubicBezTo>
                  <a:cubicBezTo>
                    <a:pt x="120" y="311"/>
                    <a:pt x="127" y="301"/>
                    <a:pt x="135" y="301"/>
                  </a:cubicBezTo>
                  <a:cubicBezTo>
                    <a:pt x="143" y="301"/>
                    <a:pt x="153" y="301"/>
                    <a:pt x="153" y="301"/>
                  </a:cubicBezTo>
                  <a:cubicBezTo>
                    <a:pt x="160" y="287"/>
                    <a:pt x="160" y="287"/>
                    <a:pt x="160" y="287"/>
                  </a:cubicBezTo>
                  <a:cubicBezTo>
                    <a:pt x="167" y="290"/>
                    <a:pt x="167" y="290"/>
                    <a:pt x="167" y="290"/>
                  </a:cubicBezTo>
                  <a:cubicBezTo>
                    <a:pt x="169" y="301"/>
                    <a:pt x="169" y="301"/>
                    <a:pt x="169" y="301"/>
                  </a:cubicBezTo>
                  <a:cubicBezTo>
                    <a:pt x="183" y="293"/>
                    <a:pt x="183" y="293"/>
                    <a:pt x="183" y="293"/>
                  </a:cubicBezTo>
                  <a:cubicBezTo>
                    <a:pt x="199" y="298"/>
                    <a:pt x="199" y="298"/>
                    <a:pt x="199" y="298"/>
                  </a:cubicBezTo>
                  <a:cubicBezTo>
                    <a:pt x="201" y="297"/>
                    <a:pt x="201" y="297"/>
                    <a:pt x="201" y="297"/>
                  </a:cubicBezTo>
                  <a:cubicBezTo>
                    <a:pt x="205" y="313"/>
                    <a:pt x="205" y="313"/>
                    <a:pt x="205" y="313"/>
                  </a:cubicBezTo>
                  <a:cubicBezTo>
                    <a:pt x="205" y="313"/>
                    <a:pt x="232" y="319"/>
                    <a:pt x="229" y="338"/>
                  </a:cubicBezTo>
                  <a:cubicBezTo>
                    <a:pt x="228" y="349"/>
                    <a:pt x="222" y="352"/>
                    <a:pt x="218" y="353"/>
                  </a:cubicBezTo>
                  <a:cubicBezTo>
                    <a:pt x="273" y="354"/>
                    <a:pt x="273" y="354"/>
                    <a:pt x="273" y="354"/>
                  </a:cubicBezTo>
                  <a:cubicBezTo>
                    <a:pt x="273" y="346"/>
                    <a:pt x="273" y="346"/>
                    <a:pt x="273" y="346"/>
                  </a:cubicBezTo>
                  <a:cubicBezTo>
                    <a:pt x="285" y="346"/>
                    <a:pt x="285" y="346"/>
                    <a:pt x="285" y="346"/>
                  </a:cubicBezTo>
                  <a:cubicBezTo>
                    <a:pt x="285" y="357"/>
                    <a:pt x="285" y="357"/>
                    <a:pt x="285" y="357"/>
                  </a:cubicBezTo>
                  <a:cubicBezTo>
                    <a:pt x="285" y="357"/>
                    <a:pt x="308" y="353"/>
                    <a:pt x="316" y="345"/>
                  </a:cubicBezTo>
                  <a:cubicBezTo>
                    <a:pt x="324" y="337"/>
                    <a:pt x="339" y="313"/>
                    <a:pt x="339" y="313"/>
                  </a:cubicBezTo>
                  <a:cubicBezTo>
                    <a:pt x="333" y="297"/>
                    <a:pt x="333" y="297"/>
                    <a:pt x="333" y="297"/>
                  </a:cubicBezTo>
                  <a:cubicBezTo>
                    <a:pt x="341" y="277"/>
                    <a:pt x="341" y="277"/>
                    <a:pt x="341" y="277"/>
                  </a:cubicBezTo>
                  <a:cubicBezTo>
                    <a:pt x="400" y="277"/>
                    <a:pt x="400" y="277"/>
                    <a:pt x="400" y="277"/>
                  </a:cubicBezTo>
                  <a:cubicBezTo>
                    <a:pt x="415" y="269"/>
                    <a:pt x="415" y="269"/>
                    <a:pt x="415" y="269"/>
                  </a:cubicBezTo>
                  <a:cubicBezTo>
                    <a:pt x="411" y="243"/>
                    <a:pt x="411" y="243"/>
                    <a:pt x="411" y="243"/>
                  </a:cubicBezTo>
                  <a:cubicBezTo>
                    <a:pt x="420" y="234"/>
                    <a:pt x="420" y="234"/>
                    <a:pt x="420" y="234"/>
                  </a:cubicBezTo>
                  <a:cubicBezTo>
                    <a:pt x="413" y="225"/>
                    <a:pt x="413" y="225"/>
                    <a:pt x="413" y="225"/>
                  </a:cubicBezTo>
                  <a:cubicBezTo>
                    <a:pt x="428" y="222"/>
                    <a:pt x="428" y="222"/>
                    <a:pt x="428" y="222"/>
                  </a:cubicBezTo>
                  <a:cubicBezTo>
                    <a:pt x="424" y="210"/>
                    <a:pt x="424" y="210"/>
                    <a:pt x="424" y="210"/>
                  </a:cubicBezTo>
                  <a:cubicBezTo>
                    <a:pt x="436" y="210"/>
                    <a:pt x="436" y="210"/>
                    <a:pt x="436" y="210"/>
                  </a:cubicBezTo>
                  <a:cubicBezTo>
                    <a:pt x="437" y="199"/>
                    <a:pt x="437" y="199"/>
                    <a:pt x="437" y="199"/>
                  </a:cubicBezTo>
                  <a:cubicBezTo>
                    <a:pt x="448" y="201"/>
                    <a:pt x="448" y="201"/>
                    <a:pt x="448" y="201"/>
                  </a:cubicBezTo>
                  <a:cubicBezTo>
                    <a:pt x="440" y="191"/>
                    <a:pt x="440" y="191"/>
                    <a:pt x="440" y="191"/>
                  </a:cubicBezTo>
                  <a:cubicBezTo>
                    <a:pt x="424" y="190"/>
                    <a:pt x="424" y="190"/>
                    <a:pt x="424" y="190"/>
                  </a:cubicBezTo>
                  <a:cubicBezTo>
                    <a:pt x="425" y="158"/>
                    <a:pt x="425" y="158"/>
                    <a:pt x="425" y="158"/>
                  </a:cubicBezTo>
                  <a:cubicBezTo>
                    <a:pt x="411" y="157"/>
                    <a:pt x="411" y="157"/>
                    <a:pt x="411" y="157"/>
                  </a:cubicBezTo>
                  <a:cubicBezTo>
                    <a:pt x="411" y="147"/>
                    <a:pt x="411" y="147"/>
                    <a:pt x="411" y="147"/>
                  </a:cubicBezTo>
                  <a:cubicBezTo>
                    <a:pt x="419" y="146"/>
                    <a:pt x="419" y="146"/>
                    <a:pt x="419" y="146"/>
                  </a:cubicBezTo>
                  <a:cubicBezTo>
                    <a:pt x="412" y="137"/>
                    <a:pt x="412" y="137"/>
                    <a:pt x="412" y="137"/>
                  </a:cubicBezTo>
                  <a:cubicBezTo>
                    <a:pt x="428" y="130"/>
                    <a:pt x="428" y="130"/>
                    <a:pt x="428" y="130"/>
                  </a:cubicBezTo>
                  <a:cubicBezTo>
                    <a:pt x="428" y="123"/>
                    <a:pt x="428" y="123"/>
                    <a:pt x="428" y="123"/>
                  </a:cubicBezTo>
                  <a:cubicBezTo>
                    <a:pt x="424" y="122"/>
                    <a:pt x="413" y="118"/>
                    <a:pt x="409" y="118"/>
                  </a:cubicBezTo>
                  <a:cubicBezTo>
                    <a:pt x="405" y="118"/>
                    <a:pt x="405" y="99"/>
                    <a:pt x="405" y="99"/>
                  </a:cubicBezTo>
                  <a:cubicBezTo>
                    <a:pt x="395" y="99"/>
                    <a:pt x="395" y="99"/>
                    <a:pt x="395" y="99"/>
                  </a:cubicBezTo>
                  <a:cubicBezTo>
                    <a:pt x="392" y="91"/>
                    <a:pt x="392" y="91"/>
                    <a:pt x="392" y="91"/>
                  </a:cubicBezTo>
                  <a:cubicBezTo>
                    <a:pt x="392" y="91"/>
                    <a:pt x="379" y="101"/>
                    <a:pt x="380" y="93"/>
                  </a:cubicBezTo>
                  <a:cubicBezTo>
                    <a:pt x="381" y="85"/>
                    <a:pt x="365" y="78"/>
                    <a:pt x="364" y="73"/>
                  </a:cubicBezTo>
                  <a:cubicBezTo>
                    <a:pt x="368" y="41"/>
                    <a:pt x="344" y="39"/>
                    <a:pt x="344" y="39"/>
                  </a:cubicBezTo>
                  <a:cubicBezTo>
                    <a:pt x="337" y="45"/>
                    <a:pt x="337" y="45"/>
                    <a:pt x="337" y="45"/>
                  </a:cubicBezTo>
                  <a:cubicBezTo>
                    <a:pt x="299" y="55"/>
                    <a:pt x="299" y="55"/>
                    <a:pt x="299" y="55"/>
                  </a:cubicBezTo>
                  <a:cubicBezTo>
                    <a:pt x="285" y="47"/>
                    <a:pt x="285" y="47"/>
                    <a:pt x="285" y="47"/>
                  </a:cubicBezTo>
                  <a:cubicBezTo>
                    <a:pt x="285" y="47"/>
                    <a:pt x="276" y="57"/>
                    <a:pt x="268" y="54"/>
                  </a:cubicBezTo>
                  <a:cubicBezTo>
                    <a:pt x="260" y="51"/>
                    <a:pt x="255" y="47"/>
                    <a:pt x="248" y="43"/>
                  </a:cubicBezTo>
                  <a:cubicBezTo>
                    <a:pt x="241" y="39"/>
                    <a:pt x="239" y="51"/>
                    <a:pt x="239" y="51"/>
                  </a:cubicBezTo>
                  <a:cubicBezTo>
                    <a:pt x="233" y="41"/>
                    <a:pt x="233" y="41"/>
                    <a:pt x="233" y="41"/>
                  </a:cubicBezTo>
                  <a:cubicBezTo>
                    <a:pt x="233" y="41"/>
                    <a:pt x="215" y="49"/>
                    <a:pt x="220" y="45"/>
                  </a:cubicBezTo>
                  <a:cubicBezTo>
                    <a:pt x="225" y="41"/>
                    <a:pt x="207" y="29"/>
                    <a:pt x="191" y="25"/>
                  </a:cubicBezTo>
                  <a:cubicBezTo>
                    <a:pt x="178" y="22"/>
                    <a:pt x="182" y="18"/>
                    <a:pt x="184" y="17"/>
                  </a:cubicBezTo>
                  <a:cubicBezTo>
                    <a:pt x="165" y="26"/>
                    <a:pt x="165" y="26"/>
                    <a:pt x="165" y="26"/>
                  </a:cubicBezTo>
                  <a:cubicBezTo>
                    <a:pt x="161" y="18"/>
                    <a:pt x="161" y="18"/>
                    <a:pt x="161" y="18"/>
                  </a:cubicBezTo>
                  <a:cubicBezTo>
                    <a:pt x="157" y="25"/>
                    <a:pt x="157" y="25"/>
                    <a:pt x="157" y="25"/>
                  </a:cubicBezTo>
                  <a:cubicBezTo>
                    <a:pt x="148" y="15"/>
                    <a:pt x="148" y="15"/>
                    <a:pt x="148" y="15"/>
                  </a:cubicBezTo>
                  <a:cubicBezTo>
                    <a:pt x="139" y="18"/>
                    <a:pt x="139" y="18"/>
                    <a:pt x="139" y="18"/>
                  </a:cubicBezTo>
                  <a:cubicBezTo>
                    <a:pt x="132" y="13"/>
                    <a:pt x="132" y="13"/>
                    <a:pt x="132" y="13"/>
                  </a:cubicBezTo>
                  <a:cubicBezTo>
                    <a:pt x="116" y="17"/>
                    <a:pt x="116" y="17"/>
                    <a:pt x="116" y="17"/>
                  </a:cubicBezTo>
                  <a:cubicBezTo>
                    <a:pt x="64" y="21"/>
                    <a:pt x="64" y="21"/>
                    <a:pt x="64" y="21"/>
                  </a:cubicBezTo>
                  <a:cubicBezTo>
                    <a:pt x="56" y="0"/>
                    <a:pt x="56" y="0"/>
                    <a:pt x="56" y="0"/>
                  </a:cubicBezTo>
                  <a:cubicBezTo>
                    <a:pt x="39" y="47"/>
                    <a:pt x="39" y="47"/>
                    <a:pt x="39" y="47"/>
                  </a:cubicBezTo>
                  <a:cubicBezTo>
                    <a:pt x="11" y="50"/>
                    <a:pt x="11" y="50"/>
                    <a:pt x="11" y="50"/>
                  </a:cubicBezTo>
                  <a:cubicBezTo>
                    <a:pt x="11" y="50"/>
                    <a:pt x="9" y="57"/>
                    <a:pt x="13" y="57"/>
                  </a:cubicBezTo>
                  <a:cubicBezTo>
                    <a:pt x="17" y="57"/>
                    <a:pt x="0" y="62"/>
                    <a:pt x="0" y="62"/>
                  </a:cubicBezTo>
                  <a:cubicBezTo>
                    <a:pt x="13" y="98"/>
                    <a:pt x="13" y="98"/>
                    <a:pt x="13" y="98"/>
                  </a:cubicBezTo>
                  <a:cubicBezTo>
                    <a:pt x="12" y="99"/>
                    <a:pt x="12" y="99"/>
                    <a:pt x="12" y="99"/>
                  </a:cubicBezTo>
                  <a:cubicBezTo>
                    <a:pt x="27" y="113"/>
                    <a:pt x="27" y="113"/>
                    <a:pt x="27" y="113"/>
                  </a:cubicBezTo>
                  <a:lnTo>
                    <a:pt x="23" y="12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4" name="Champagne-Ardenne" descr="© INSCALE GmbH, 05.05.2010&#10;http://www.presentationload.com/">
              <a:extLst>
                <a:ext uri="{FF2B5EF4-FFF2-40B4-BE49-F238E27FC236}">
                  <a16:creationId xmlns:a16="http://schemas.microsoft.com/office/drawing/2014/main" id="{42702F3F-420E-4857-A133-B4AD3E556CC4}"/>
                </a:ext>
              </a:extLst>
            </p:cNvPr>
            <p:cNvSpPr>
              <a:spLocks/>
            </p:cNvSpPr>
            <p:nvPr/>
          </p:nvSpPr>
          <p:spPr bwMode="gray">
            <a:xfrm>
              <a:off x="2008" y="466"/>
              <a:ext cx="578" cy="893"/>
            </a:xfrm>
            <a:custGeom>
              <a:avLst/>
              <a:gdLst/>
              <a:ahLst/>
              <a:cxnLst>
                <a:cxn ang="0">
                  <a:pos x="514" y="699"/>
                </a:cxn>
                <a:cxn ang="0">
                  <a:pos x="493" y="668"/>
                </a:cxn>
                <a:cxn ang="0">
                  <a:pos x="497" y="623"/>
                </a:cxn>
                <a:cxn ang="0">
                  <a:pos x="465" y="599"/>
                </a:cxn>
                <a:cxn ang="0">
                  <a:pos x="432" y="580"/>
                </a:cxn>
                <a:cxn ang="0">
                  <a:pos x="429" y="563"/>
                </a:cxn>
                <a:cxn ang="0">
                  <a:pos x="381" y="521"/>
                </a:cxn>
                <a:cxn ang="0">
                  <a:pos x="341" y="497"/>
                </a:cxn>
                <a:cxn ang="0">
                  <a:pos x="322" y="425"/>
                </a:cxn>
                <a:cxn ang="0">
                  <a:pos x="333" y="363"/>
                </a:cxn>
                <a:cxn ang="0">
                  <a:pos x="324" y="299"/>
                </a:cxn>
                <a:cxn ang="0">
                  <a:pos x="354" y="240"/>
                </a:cxn>
                <a:cxn ang="0">
                  <a:pos x="365" y="192"/>
                </a:cxn>
                <a:cxn ang="0">
                  <a:pos x="394" y="184"/>
                </a:cxn>
                <a:cxn ang="0">
                  <a:pos x="416" y="161"/>
                </a:cxn>
                <a:cxn ang="0">
                  <a:pos x="351" y="115"/>
                </a:cxn>
                <a:cxn ang="0">
                  <a:pos x="321" y="99"/>
                </a:cxn>
                <a:cxn ang="0">
                  <a:pos x="301" y="55"/>
                </a:cxn>
                <a:cxn ang="0">
                  <a:pos x="320" y="8"/>
                </a:cxn>
                <a:cxn ang="0">
                  <a:pos x="282" y="21"/>
                </a:cxn>
                <a:cxn ang="0">
                  <a:pos x="230" y="63"/>
                </a:cxn>
                <a:cxn ang="0">
                  <a:pos x="175" y="57"/>
                </a:cxn>
                <a:cxn ang="0">
                  <a:pos x="164" y="128"/>
                </a:cxn>
                <a:cxn ang="0">
                  <a:pos x="141" y="177"/>
                </a:cxn>
                <a:cxn ang="0">
                  <a:pos x="129" y="215"/>
                </a:cxn>
                <a:cxn ang="0">
                  <a:pos x="94" y="257"/>
                </a:cxn>
                <a:cxn ang="0">
                  <a:pos x="56" y="301"/>
                </a:cxn>
                <a:cxn ang="0">
                  <a:pos x="42" y="339"/>
                </a:cxn>
                <a:cxn ang="0">
                  <a:pos x="38" y="368"/>
                </a:cxn>
                <a:cxn ang="0">
                  <a:pos x="28" y="409"/>
                </a:cxn>
                <a:cxn ang="0">
                  <a:pos x="17" y="436"/>
                </a:cxn>
                <a:cxn ang="0">
                  <a:pos x="0" y="453"/>
                </a:cxn>
                <a:cxn ang="0">
                  <a:pos x="13" y="496"/>
                </a:cxn>
                <a:cxn ang="0">
                  <a:pos x="26" y="505"/>
                </a:cxn>
                <a:cxn ang="0">
                  <a:pos x="17" y="528"/>
                </a:cxn>
                <a:cxn ang="0">
                  <a:pos x="0" y="549"/>
                </a:cxn>
                <a:cxn ang="0">
                  <a:pos x="14" y="583"/>
                </a:cxn>
                <a:cxn ang="0">
                  <a:pos x="44" y="644"/>
                </a:cxn>
                <a:cxn ang="0">
                  <a:pos x="68" y="653"/>
                </a:cxn>
                <a:cxn ang="0">
                  <a:pos x="76" y="656"/>
                </a:cxn>
                <a:cxn ang="0">
                  <a:pos x="108" y="720"/>
                </a:cxn>
                <a:cxn ang="0">
                  <a:pos x="156" y="723"/>
                </a:cxn>
                <a:cxn ang="0">
                  <a:pos x="173" y="707"/>
                </a:cxn>
                <a:cxn ang="0">
                  <a:pos x="197" y="723"/>
                </a:cxn>
                <a:cxn ang="0">
                  <a:pos x="301" y="691"/>
                </a:cxn>
                <a:cxn ang="0">
                  <a:pos x="318" y="713"/>
                </a:cxn>
                <a:cxn ang="0">
                  <a:pos x="325" y="719"/>
                </a:cxn>
                <a:cxn ang="0">
                  <a:pos x="332" y="767"/>
                </a:cxn>
                <a:cxn ang="0">
                  <a:pos x="353" y="787"/>
                </a:cxn>
                <a:cxn ang="0">
                  <a:pos x="388" y="807"/>
                </a:cxn>
                <a:cxn ang="0">
                  <a:pos x="421" y="816"/>
                </a:cxn>
                <a:cxn ang="0">
                  <a:pos x="468" y="792"/>
                </a:cxn>
                <a:cxn ang="0">
                  <a:pos x="500" y="788"/>
                </a:cxn>
                <a:cxn ang="0">
                  <a:pos x="497" y="747"/>
                </a:cxn>
                <a:cxn ang="0">
                  <a:pos x="525" y="735"/>
                </a:cxn>
                <a:cxn ang="0">
                  <a:pos x="530" y="697"/>
                </a:cxn>
              </a:cxnLst>
              <a:rect l="0" t="0" r="r" b="b"/>
              <a:pathLst>
                <a:path w="536" h="828">
                  <a:moveTo>
                    <a:pt x="530" y="697"/>
                  </a:moveTo>
                  <a:cubicBezTo>
                    <a:pt x="517" y="701"/>
                    <a:pt x="517" y="701"/>
                    <a:pt x="517" y="701"/>
                  </a:cubicBezTo>
                  <a:cubicBezTo>
                    <a:pt x="514" y="699"/>
                    <a:pt x="514" y="699"/>
                    <a:pt x="514" y="699"/>
                  </a:cubicBezTo>
                  <a:cubicBezTo>
                    <a:pt x="514" y="701"/>
                    <a:pt x="514" y="701"/>
                    <a:pt x="514" y="701"/>
                  </a:cubicBezTo>
                  <a:cubicBezTo>
                    <a:pt x="513" y="681"/>
                    <a:pt x="513" y="681"/>
                    <a:pt x="513" y="681"/>
                  </a:cubicBezTo>
                  <a:cubicBezTo>
                    <a:pt x="493" y="668"/>
                    <a:pt x="493" y="668"/>
                    <a:pt x="493" y="668"/>
                  </a:cubicBezTo>
                  <a:cubicBezTo>
                    <a:pt x="476" y="664"/>
                    <a:pt x="476" y="664"/>
                    <a:pt x="476" y="664"/>
                  </a:cubicBezTo>
                  <a:cubicBezTo>
                    <a:pt x="486" y="652"/>
                    <a:pt x="486" y="652"/>
                    <a:pt x="486" y="652"/>
                  </a:cubicBezTo>
                  <a:cubicBezTo>
                    <a:pt x="486" y="652"/>
                    <a:pt x="486" y="628"/>
                    <a:pt x="497" y="623"/>
                  </a:cubicBezTo>
                  <a:cubicBezTo>
                    <a:pt x="490" y="612"/>
                    <a:pt x="490" y="612"/>
                    <a:pt x="490" y="612"/>
                  </a:cubicBezTo>
                  <a:cubicBezTo>
                    <a:pt x="481" y="611"/>
                    <a:pt x="481" y="611"/>
                    <a:pt x="481" y="611"/>
                  </a:cubicBezTo>
                  <a:cubicBezTo>
                    <a:pt x="481" y="611"/>
                    <a:pt x="481" y="588"/>
                    <a:pt x="465" y="599"/>
                  </a:cubicBezTo>
                  <a:cubicBezTo>
                    <a:pt x="452" y="576"/>
                    <a:pt x="452" y="576"/>
                    <a:pt x="452" y="576"/>
                  </a:cubicBezTo>
                  <a:cubicBezTo>
                    <a:pt x="452" y="576"/>
                    <a:pt x="442" y="573"/>
                    <a:pt x="436" y="577"/>
                  </a:cubicBezTo>
                  <a:cubicBezTo>
                    <a:pt x="435" y="579"/>
                    <a:pt x="434" y="581"/>
                    <a:pt x="432" y="580"/>
                  </a:cubicBezTo>
                  <a:cubicBezTo>
                    <a:pt x="433" y="579"/>
                    <a:pt x="434" y="578"/>
                    <a:pt x="436" y="577"/>
                  </a:cubicBezTo>
                  <a:cubicBezTo>
                    <a:pt x="436" y="574"/>
                    <a:pt x="434" y="571"/>
                    <a:pt x="434" y="571"/>
                  </a:cubicBezTo>
                  <a:cubicBezTo>
                    <a:pt x="429" y="563"/>
                    <a:pt x="429" y="563"/>
                    <a:pt x="429" y="563"/>
                  </a:cubicBezTo>
                  <a:cubicBezTo>
                    <a:pt x="441" y="557"/>
                    <a:pt x="441" y="557"/>
                    <a:pt x="441" y="557"/>
                  </a:cubicBezTo>
                  <a:cubicBezTo>
                    <a:pt x="441" y="557"/>
                    <a:pt x="400" y="521"/>
                    <a:pt x="383" y="521"/>
                  </a:cubicBezTo>
                  <a:cubicBezTo>
                    <a:pt x="383" y="522"/>
                    <a:pt x="382" y="522"/>
                    <a:pt x="381" y="521"/>
                  </a:cubicBezTo>
                  <a:cubicBezTo>
                    <a:pt x="382" y="521"/>
                    <a:pt x="382" y="521"/>
                    <a:pt x="383" y="521"/>
                  </a:cubicBezTo>
                  <a:cubicBezTo>
                    <a:pt x="384" y="518"/>
                    <a:pt x="349" y="491"/>
                    <a:pt x="349" y="491"/>
                  </a:cubicBezTo>
                  <a:cubicBezTo>
                    <a:pt x="341" y="497"/>
                    <a:pt x="341" y="497"/>
                    <a:pt x="341" y="497"/>
                  </a:cubicBezTo>
                  <a:cubicBezTo>
                    <a:pt x="342" y="457"/>
                    <a:pt x="342" y="457"/>
                    <a:pt x="342" y="457"/>
                  </a:cubicBezTo>
                  <a:cubicBezTo>
                    <a:pt x="316" y="439"/>
                    <a:pt x="316" y="439"/>
                    <a:pt x="316" y="439"/>
                  </a:cubicBezTo>
                  <a:cubicBezTo>
                    <a:pt x="322" y="425"/>
                    <a:pt x="322" y="425"/>
                    <a:pt x="322" y="425"/>
                  </a:cubicBezTo>
                  <a:cubicBezTo>
                    <a:pt x="320" y="404"/>
                    <a:pt x="320" y="404"/>
                    <a:pt x="320" y="404"/>
                  </a:cubicBezTo>
                  <a:cubicBezTo>
                    <a:pt x="320" y="404"/>
                    <a:pt x="344" y="395"/>
                    <a:pt x="342" y="385"/>
                  </a:cubicBezTo>
                  <a:cubicBezTo>
                    <a:pt x="341" y="376"/>
                    <a:pt x="344" y="357"/>
                    <a:pt x="333" y="363"/>
                  </a:cubicBezTo>
                  <a:cubicBezTo>
                    <a:pt x="336" y="359"/>
                    <a:pt x="320" y="313"/>
                    <a:pt x="320" y="313"/>
                  </a:cubicBezTo>
                  <a:cubicBezTo>
                    <a:pt x="330" y="305"/>
                    <a:pt x="330" y="305"/>
                    <a:pt x="330" y="305"/>
                  </a:cubicBezTo>
                  <a:cubicBezTo>
                    <a:pt x="324" y="299"/>
                    <a:pt x="324" y="299"/>
                    <a:pt x="324" y="299"/>
                  </a:cubicBezTo>
                  <a:cubicBezTo>
                    <a:pt x="341" y="287"/>
                    <a:pt x="341" y="287"/>
                    <a:pt x="341" y="287"/>
                  </a:cubicBezTo>
                  <a:cubicBezTo>
                    <a:pt x="341" y="287"/>
                    <a:pt x="333" y="275"/>
                    <a:pt x="337" y="269"/>
                  </a:cubicBezTo>
                  <a:cubicBezTo>
                    <a:pt x="341" y="264"/>
                    <a:pt x="354" y="240"/>
                    <a:pt x="354" y="240"/>
                  </a:cubicBezTo>
                  <a:cubicBezTo>
                    <a:pt x="354" y="240"/>
                    <a:pt x="354" y="225"/>
                    <a:pt x="342" y="211"/>
                  </a:cubicBezTo>
                  <a:cubicBezTo>
                    <a:pt x="346" y="213"/>
                    <a:pt x="348" y="187"/>
                    <a:pt x="348" y="187"/>
                  </a:cubicBezTo>
                  <a:cubicBezTo>
                    <a:pt x="365" y="192"/>
                    <a:pt x="365" y="192"/>
                    <a:pt x="365" y="192"/>
                  </a:cubicBezTo>
                  <a:cubicBezTo>
                    <a:pt x="374" y="192"/>
                    <a:pt x="374" y="192"/>
                    <a:pt x="374" y="192"/>
                  </a:cubicBezTo>
                  <a:cubicBezTo>
                    <a:pt x="386" y="199"/>
                    <a:pt x="386" y="199"/>
                    <a:pt x="386" y="199"/>
                  </a:cubicBezTo>
                  <a:cubicBezTo>
                    <a:pt x="394" y="184"/>
                    <a:pt x="394" y="184"/>
                    <a:pt x="394" y="184"/>
                  </a:cubicBezTo>
                  <a:cubicBezTo>
                    <a:pt x="408" y="183"/>
                    <a:pt x="408" y="183"/>
                    <a:pt x="408" y="183"/>
                  </a:cubicBezTo>
                  <a:cubicBezTo>
                    <a:pt x="420" y="162"/>
                    <a:pt x="420" y="162"/>
                    <a:pt x="420" y="162"/>
                  </a:cubicBezTo>
                  <a:cubicBezTo>
                    <a:pt x="417" y="162"/>
                    <a:pt x="416" y="161"/>
                    <a:pt x="416" y="161"/>
                  </a:cubicBezTo>
                  <a:cubicBezTo>
                    <a:pt x="420" y="146"/>
                    <a:pt x="412" y="145"/>
                    <a:pt x="412" y="145"/>
                  </a:cubicBezTo>
                  <a:cubicBezTo>
                    <a:pt x="412" y="145"/>
                    <a:pt x="402" y="139"/>
                    <a:pt x="385" y="140"/>
                  </a:cubicBezTo>
                  <a:cubicBezTo>
                    <a:pt x="369" y="118"/>
                    <a:pt x="358" y="115"/>
                    <a:pt x="351" y="115"/>
                  </a:cubicBezTo>
                  <a:cubicBezTo>
                    <a:pt x="346" y="106"/>
                    <a:pt x="344" y="108"/>
                    <a:pt x="334" y="109"/>
                  </a:cubicBezTo>
                  <a:cubicBezTo>
                    <a:pt x="325" y="118"/>
                    <a:pt x="316" y="104"/>
                    <a:pt x="316" y="104"/>
                  </a:cubicBezTo>
                  <a:cubicBezTo>
                    <a:pt x="321" y="99"/>
                    <a:pt x="321" y="99"/>
                    <a:pt x="321" y="99"/>
                  </a:cubicBezTo>
                  <a:cubicBezTo>
                    <a:pt x="321" y="99"/>
                    <a:pt x="319" y="96"/>
                    <a:pt x="315" y="89"/>
                  </a:cubicBezTo>
                  <a:cubicBezTo>
                    <a:pt x="322" y="83"/>
                    <a:pt x="321" y="72"/>
                    <a:pt x="321" y="72"/>
                  </a:cubicBezTo>
                  <a:cubicBezTo>
                    <a:pt x="321" y="72"/>
                    <a:pt x="296" y="57"/>
                    <a:pt x="301" y="55"/>
                  </a:cubicBezTo>
                  <a:cubicBezTo>
                    <a:pt x="306" y="53"/>
                    <a:pt x="311" y="35"/>
                    <a:pt x="311" y="35"/>
                  </a:cubicBezTo>
                  <a:cubicBezTo>
                    <a:pt x="308" y="25"/>
                    <a:pt x="308" y="25"/>
                    <a:pt x="308" y="25"/>
                  </a:cubicBezTo>
                  <a:cubicBezTo>
                    <a:pt x="308" y="25"/>
                    <a:pt x="319" y="13"/>
                    <a:pt x="320" y="8"/>
                  </a:cubicBezTo>
                  <a:cubicBezTo>
                    <a:pt x="321" y="3"/>
                    <a:pt x="311" y="0"/>
                    <a:pt x="303" y="0"/>
                  </a:cubicBezTo>
                  <a:cubicBezTo>
                    <a:pt x="295" y="0"/>
                    <a:pt x="289" y="17"/>
                    <a:pt x="289" y="17"/>
                  </a:cubicBezTo>
                  <a:cubicBezTo>
                    <a:pt x="289" y="17"/>
                    <a:pt x="286" y="17"/>
                    <a:pt x="282" y="21"/>
                  </a:cubicBezTo>
                  <a:cubicBezTo>
                    <a:pt x="278" y="25"/>
                    <a:pt x="280" y="45"/>
                    <a:pt x="279" y="49"/>
                  </a:cubicBezTo>
                  <a:cubicBezTo>
                    <a:pt x="278" y="53"/>
                    <a:pt x="263" y="50"/>
                    <a:pt x="254" y="49"/>
                  </a:cubicBezTo>
                  <a:cubicBezTo>
                    <a:pt x="249" y="63"/>
                    <a:pt x="236" y="63"/>
                    <a:pt x="230" y="63"/>
                  </a:cubicBezTo>
                  <a:cubicBezTo>
                    <a:pt x="224" y="63"/>
                    <a:pt x="207" y="56"/>
                    <a:pt x="199" y="55"/>
                  </a:cubicBezTo>
                  <a:cubicBezTo>
                    <a:pt x="191" y="54"/>
                    <a:pt x="187" y="59"/>
                    <a:pt x="181" y="60"/>
                  </a:cubicBezTo>
                  <a:cubicBezTo>
                    <a:pt x="179" y="61"/>
                    <a:pt x="176" y="59"/>
                    <a:pt x="175" y="57"/>
                  </a:cubicBezTo>
                  <a:cubicBezTo>
                    <a:pt x="174" y="57"/>
                    <a:pt x="174" y="58"/>
                    <a:pt x="174" y="58"/>
                  </a:cubicBezTo>
                  <a:cubicBezTo>
                    <a:pt x="160" y="78"/>
                    <a:pt x="169" y="91"/>
                    <a:pt x="169" y="91"/>
                  </a:cubicBezTo>
                  <a:cubicBezTo>
                    <a:pt x="164" y="128"/>
                    <a:pt x="164" y="128"/>
                    <a:pt x="164" y="128"/>
                  </a:cubicBezTo>
                  <a:cubicBezTo>
                    <a:pt x="170" y="135"/>
                    <a:pt x="170" y="135"/>
                    <a:pt x="170" y="135"/>
                  </a:cubicBezTo>
                  <a:cubicBezTo>
                    <a:pt x="148" y="163"/>
                    <a:pt x="148" y="163"/>
                    <a:pt x="148" y="163"/>
                  </a:cubicBezTo>
                  <a:cubicBezTo>
                    <a:pt x="141" y="177"/>
                    <a:pt x="141" y="177"/>
                    <a:pt x="141" y="177"/>
                  </a:cubicBezTo>
                  <a:cubicBezTo>
                    <a:pt x="125" y="179"/>
                    <a:pt x="125" y="179"/>
                    <a:pt x="125" y="179"/>
                  </a:cubicBezTo>
                  <a:cubicBezTo>
                    <a:pt x="137" y="208"/>
                    <a:pt x="137" y="208"/>
                    <a:pt x="137" y="208"/>
                  </a:cubicBezTo>
                  <a:cubicBezTo>
                    <a:pt x="129" y="215"/>
                    <a:pt x="129" y="215"/>
                    <a:pt x="129" y="215"/>
                  </a:cubicBezTo>
                  <a:cubicBezTo>
                    <a:pt x="129" y="215"/>
                    <a:pt x="134" y="264"/>
                    <a:pt x="129" y="264"/>
                  </a:cubicBezTo>
                  <a:cubicBezTo>
                    <a:pt x="124" y="264"/>
                    <a:pt x="105" y="251"/>
                    <a:pt x="105" y="251"/>
                  </a:cubicBezTo>
                  <a:cubicBezTo>
                    <a:pt x="94" y="257"/>
                    <a:pt x="94" y="257"/>
                    <a:pt x="94" y="257"/>
                  </a:cubicBezTo>
                  <a:cubicBezTo>
                    <a:pt x="94" y="257"/>
                    <a:pt x="93" y="267"/>
                    <a:pt x="89" y="268"/>
                  </a:cubicBezTo>
                  <a:cubicBezTo>
                    <a:pt x="72" y="263"/>
                    <a:pt x="50" y="281"/>
                    <a:pt x="50" y="281"/>
                  </a:cubicBezTo>
                  <a:cubicBezTo>
                    <a:pt x="56" y="301"/>
                    <a:pt x="56" y="301"/>
                    <a:pt x="56" y="301"/>
                  </a:cubicBezTo>
                  <a:cubicBezTo>
                    <a:pt x="50" y="312"/>
                    <a:pt x="50" y="312"/>
                    <a:pt x="50" y="312"/>
                  </a:cubicBezTo>
                  <a:cubicBezTo>
                    <a:pt x="69" y="328"/>
                    <a:pt x="69" y="328"/>
                    <a:pt x="69" y="328"/>
                  </a:cubicBezTo>
                  <a:cubicBezTo>
                    <a:pt x="69" y="328"/>
                    <a:pt x="45" y="333"/>
                    <a:pt x="42" y="339"/>
                  </a:cubicBezTo>
                  <a:cubicBezTo>
                    <a:pt x="40" y="344"/>
                    <a:pt x="48" y="356"/>
                    <a:pt x="48" y="356"/>
                  </a:cubicBezTo>
                  <a:cubicBezTo>
                    <a:pt x="40" y="363"/>
                    <a:pt x="40" y="363"/>
                    <a:pt x="40" y="363"/>
                  </a:cubicBezTo>
                  <a:cubicBezTo>
                    <a:pt x="38" y="368"/>
                    <a:pt x="38" y="368"/>
                    <a:pt x="38" y="368"/>
                  </a:cubicBezTo>
                  <a:cubicBezTo>
                    <a:pt x="38" y="368"/>
                    <a:pt x="50" y="367"/>
                    <a:pt x="57" y="372"/>
                  </a:cubicBezTo>
                  <a:cubicBezTo>
                    <a:pt x="64" y="377"/>
                    <a:pt x="34" y="407"/>
                    <a:pt x="34" y="407"/>
                  </a:cubicBezTo>
                  <a:cubicBezTo>
                    <a:pt x="28" y="409"/>
                    <a:pt x="28" y="409"/>
                    <a:pt x="28" y="409"/>
                  </a:cubicBezTo>
                  <a:cubicBezTo>
                    <a:pt x="18" y="429"/>
                    <a:pt x="18" y="429"/>
                    <a:pt x="18" y="429"/>
                  </a:cubicBezTo>
                  <a:cubicBezTo>
                    <a:pt x="18" y="429"/>
                    <a:pt x="18" y="429"/>
                    <a:pt x="17" y="429"/>
                  </a:cubicBezTo>
                  <a:cubicBezTo>
                    <a:pt x="17" y="436"/>
                    <a:pt x="17" y="436"/>
                    <a:pt x="17" y="436"/>
                  </a:cubicBezTo>
                  <a:cubicBezTo>
                    <a:pt x="1" y="443"/>
                    <a:pt x="1" y="443"/>
                    <a:pt x="1" y="443"/>
                  </a:cubicBezTo>
                  <a:cubicBezTo>
                    <a:pt x="8" y="452"/>
                    <a:pt x="8" y="452"/>
                    <a:pt x="8" y="452"/>
                  </a:cubicBezTo>
                  <a:cubicBezTo>
                    <a:pt x="0" y="453"/>
                    <a:pt x="0" y="453"/>
                    <a:pt x="0" y="453"/>
                  </a:cubicBezTo>
                  <a:cubicBezTo>
                    <a:pt x="0" y="463"/>
                    <a:pt x="0" y="463"/>
                    <a:pt x="0" y="463"/>
                  </a:cubicBezTo>
                  <a:cubicBezTo>
                    <a:pt x="14" y="464"/>
                    <a:pt x="14" y="464"/>
                    <a:pt x="14" y="464"/>
                  </a:cubicBezTo>
                  <a:cubicBezTo>
                    <a:pt x="13" y="496"/>
                    <a:pt x="13" y="496"/>
                    <a:pt x="13" y="496"/>
                  </a:cubicBezTo>
                  <a:cubicBezTo>
                    <a:pt x="29" y="497"/>
                    <a:pt x="29" y="497"/>
                    <a:pt x="29" y="497"/>
                  </a:cubicBezTo>
                  <a:cubicBezTo>
                    <a:pt x="37" y="507"/>
                    <a:pt x="37" y="507"/>
                    <a:pt x="37" y="507"/>
                  </a:cubicBezTo>
                  <a:cubicBezTo>
                    <a:pt x="26" y="505"/>
                    <a:pt x="26" y="505"/>
                    <a:pt x="26" y="505"/>
                  </a:cubicBezTo>
                  <a:cubicBezTo>
                    <a:pt x="25" y="516"/>
                    <a:pt x="25" y="516"/>
                    <a:pt x="25" y="516"/>
                  </a:cubicBezTo>
                  <a:cubicBezTo>
                    <a:pt x="13" y="516"/>
                    <a:pt x="13" y="516"/>
                    <a:pt x="13" y="516"/>
                  </a:cubicBezTo>
                  <a:cubicBezTo>
                    <a:pt x="17" y="528"/>
                    <a:pt x="17" y="528"/>
                    <a:pt x="17" y="528"/>
                  </a:cubicBezTo>
                  <a:cubicBezTo>
                    <a:pt x="2" y="531"/>
                    <a:pt x="2" y="531"/>
                    <a:pt x="2" y="531"/>
                  </a:cubicBezTo>
                  <a:cubicBezTo>
                    <a:pt x="9" y="540"/>
                    <a:pt x="9" y="540"/>
                    <a:pt x="9" y="540"/>
                  </a:cubicBezTo>
                  <a:cubicBezTo>
                    <a:pt x="0" y="549"/>
                    <a:pt x="0" y="549"/>
                    <a:pt x="0" y="549"/>
                  </a:cubicBezTo>
                  <a:cubicBezTo>
                    <a:pt x="4" y="575"/>
                    <a:pt x="4" y="575"/>
                    <a:pt x="4" y="575"/>
                  </a:cubicBezTo>
                  <a:cubicBezTo>
                    <a:pt x="8" y="585"/>
                    <a:pt x="8" y="585"/>
                    <a:pt x="8" y="585"/>
                  </a:cubicBezTo>
                  <a:cubicBezTo>
                    <a:pt x="14" y="583"/>
                    <a:pt x="14" y="583"/>
                    <a:pt x="14" y="583"/>
                  </a:cubicBezTo>
                  <a:cubicBezTo>
                    <a:pt x="14" y="583"/>
                    <a:pt x="41" y="593"/>
                    <a:pt x="41" y="608"/>
                  </a:cubicBezTo>
                  <a:cubicBezTo>
                    <a:pt x="45" y="613"/>
                    <a:pt x="45" y="613"/>
                    <a:pt x="45" y="613"/>
                  </a:cubicBezTo>
                  <a:cubicBezTo>
                    <a:pt x="45" y="613"/>
                    <a:pt x="53" y="635"/>
                    <a:pt x="44" y="644"/>
                  </a:cubicBezTo>
                  <a:cubicBezTo>
                    <a:pt x="53" y="641"/>
                    <a:pt x="53" y="641"/>
                    <a:pt x="53" y="641"/>
                  </a:cubicBezTo>
                  <a:cubicBezTo>
                    <a:pt x="62" y="656"/>
                    <a:pt x="62" y="656"/>
                    <a:pt x="62" y="656"/>
                  </a:cubicBezTo>
                  <a:cubicBezTo>
                    <a:pt x="68" y="653"/>
                    <a:pt x="68" y="653"/>
                    <a:pt x="68" y="653"/>
                  </a:cubicBezTo>
                  <a:cubicBezTo>
                    <a:pt x="68" y="644"/>
                    <a:pt x="68" y="644"/>
                    <a:pt x="68" y="644"/>
                  </a:cubicBezTo>
                  <a:cubicBezTo>
                    <a:pt x="76" y="645"/>
                    <a:pt x="76" y="645"/>
                    <a:pt x="76" y="645"/>
                  </a:cubicBezTo>
                  <a:cubicBezTo>
                    <a:pt x="76" y="656"/>
                    <a:pt x="76" y="656"/>
                    <a:pt x="76" y="656"/>
                  </a:cubicBezTo>
                  <a:cubicBezTo>
                    <a:pt x="76" y="656"/>
                    <a:pt x="85" y="664"/>
                    <a:pt x="94" y="684"/>
                  </a:cubicBezTo>
                  <a:cubicBezTo>
                    <a:pt x="104" y="704"/>
                    <a:pt x="102" y="708"/>
                    <a:pt x="112" y="700"/>
                  </a:cubicBezTo>
                  <a:cubicBezTo>
                    <a:pt x="112" y="703"/>
                    <a:pt x="108" y="720"/>
                    <a:pt x="108" y="720"/>
                  </a:cubicBezTo>
                  <a:cubicBezTo>
                    <a:pt x="142" y="721"/>
                    <a:pt x="142" y="721"/>
                    <a:pt x="142" y="721"/>
                  </a:cubicBezTo>
                  <a:cubicBezTo>
                    <a:pt x="144" y="716"/>
                    <a:pt x="144" y="716"/>
                    <a:pt x="144" y="716"/>
                  </a:cubicBezTo>
                  <a:cubicBezTo>
                    <a:pt x="156" y="723"/>
                    <a:pt x="156" y="723"/>
                    <a:pt x="156" y="723"/>
                  </a:cubicBezTo>
                  <a:cubicBezTo>
                    <a:pt x="169" y="712"/>
                    <a:pt x="169" y="712"/>
                    <a:pt x="169" y="712"/>
                  </a:cubicBezTo>
                  <a:cubicBezTo>
                    <a:pt x="176" y="716"/>
                    <a:pt x="176" y="716"/>
                    <a:pt x="176" y="716"/>
                  </a:cubicBezTo>
                  <a:cubicBezTo>
                    <a:pt x="173" y="707"/>
                    <a:pt x="173" y="707"/>
                    <a:pt x="173" y="707"/>
                  </a:cubicBezTo>
                  <a:cubicBezTo>
                    <a:pt x="182" y="707"/>
                    <a:pt x="182" y="707"/>
                    <a:pt x="182" y="707"/>
                  </a:cubicBezTo>
                  <a:cubicBezTo>
                    <a:pt x="188" y="720"/>
                    <a:pt x="188" y="720"/>
                    <a:pt x="188" y="720"/>
                  </a:cubicBezTo>
                  <a:cubicBezTo>
                    <a:pt x="197" y="723"/>
                    <a:pt x="197" y="723"/>
                    <a:pt x="197" y="723"/>
                  </a:cubicBezTo>
                  <a:cubicBezTo>
                    <a:pt x="197" y="711"/>
                    <a:pt x="197" y="711"/>
                    <a:pt x="197" y="711"/>
                  </a:cubicBezTo>
                  <a:cubicBezTo>
                    <a:pt x="252" y="709"/>
                    <a:pt x="252" y="709"/>
                    <a:pt x="252" y="709"/>
                  </a:cubicBezTo>
                  <a:cubicBezTo>
                    <a:pt x="252" y="709"/>
                    <a:pt x="220" y="675"/>
                    <a:pt x="301" y="691"/>
                  </a:cubicBezTo>
                  <a:cubicBezTo>
                    <a:pt x="300" y="708"/>
                    <a:pt x="300" y="708"/>
                    <a:pt x="300" y="708"/>
                  </a:cubicBezTo>
                  <a:cubicBezTo>
                    <a:pt x="313" y="708"/>
                    <a:pt x="313" y="708"/>
                    <a:pt x="313" y="708"/>
                  </a:cubicBezTo>
                  <a:cubicBezTo>
                    <a:pt x="318" y="713"/>
                    <a:pt x="318" y="713"/>
                    <a:pt x="318" y="713"/>
                  </a:cubicBezTo>
                  <a:cubicBezTo>
                    <a:pt x="312" y="721"/>
                    <a:pt x="312" y="721"/>
                    <a:pt x="312" y="721"/>
                  </a:cubicBezTo>
                  <a:cubicBezTo>
                    <a:pt x="318" y="725"/>
                    <a:pt x="318" y="725"/>
                    <a:pt x="318" y="725"/>
                  </a:cubicBezTo>
                  <a:cubicBezTo>
                    <a:pt x="325" y="719"/>
                    <a:pt x="325" y="719"/>
                    <a:pt x="325" y="719"/>
                  </a:cubicBezTo>
                  <a:cubicBezTo>
                    <a:pt x="325" y="719"/>
                    <a:pt x="336" y="740"/>
                    <a:pt x="342" y="748"/>
                  </a:cubicBezTo>
                  <a:cubicBezTo>
                    <a:pt x="332" y="766"/>
                    <a:pt x="332" y="766"/>
                    <a:pt x="332" y="766"/>
                  </a:cubicBezTo>
                  <a:cubicBezTo>
                    <a:pt x="332" y="767"/>
                    <a:pt x="332" y="767"/>
                    <a:pt x="332" y="767"/>
                  </a:cubicBezTo>
                  <a:cubicBezTo>
                    <a:pt x="341" y="769"/>
                    <a:pt x="341" y="769"/>
                    <a:pt x="341" y="769"/>
                  </a:cubicBezTo>
                  <a:cubicBezTo>
                    <a:pt x="341" y="792"/>
                    <a:pt x="341" y="792"/>
                    <a:pt x="341" y="792"/>
                  </a:cubicBezTo>
                  <a:cubicBezTo>
                    <a:pt x="353" y="787"/>
                    <a:pt x="353" y="787"/>
                    <a:pt x="353" y="787"/>
                  </a:cubicBezTo>
                  <a:cubicBezTo>
                    <a:pt x="353" y="787"/>
                    <a:pt x="365" y="801"/>
                    <a:pt x="374" y="801"/>
                  </a:cubicBezTo>
                  <a:cubicBezTo>
                    <a:pt x="384" y="801"/>
                    <a:pt x="388" y="797"/>
                    <a:pt x="388" y="797"/>
                  </a:cubicBezTo>
                  <a:cubicBezTo>
                    <a:pt x="388" y="807"/>
                    <a:pt x="388" y="807"/>
                    <a:pt x="388" y="807"/>
                  </a:cubicBezTo>
                  <a:cubicBezTo>
                    <a:pt x="404" y="815"/>
                    <a:pt x="404" y="815"/>
                    <a:pt x="404" y="815"/>
                  </a:cubicBezTo>
                  <a:cubicBezTo>
                    <a:pt x="404" y="828"/>
                    <a:pt x="404" y="828"/>
                    <a:pt x="404" y="828"/>
                  </a:cubicBezTo>
                  <a:cubicBezTo>
                    <a:pt x="421" y="816"/>
                    <a:pt x="421" y="816"/>
                    <a:pt x="421" y="816"/>
                  </a:cubicBezTo>
                  <a:cubicBezTo>
                    <a:pt x="421" y="816"/>
                    <a:pt x="426" y="819"/>
                    <a:pt x="430" y="819"/>
                  </a:cubicBezTo>
                  <a:cubicBezTo>
                    <a:pt x="434" y="819"/>
                    <a:pt x="438" y="791"/>
                    <a:pt x="438" y="791"/>
                  </a:cubicBezTo>
                  <a:cubicBezTo>
                    <a:pt x="468" y="792"/>
                    <a:pt x="468" y="792"/>
                    <a:pt x="468" y="792"/>
                  </a:cubicBezTo>
                  <a:cubicBezTo>
                    <a:pt x="469" y="785"/>
                    <a:pt x="469" y="785"/>
                    <a:pt x="469" y="785"/>
                  </a:cubicBezTo>
                  <a:cubicBezTo>
                    <a:pt x="481" y="793"/>
                    <a:pt x="481" y="793"/>
                    <a:pt x="481" y="793"/>
                  </a:cubicBezTo>
                  <a:cubicBezTo>
                    <a:pt x="500" y="788"/>
                    <a:pt x="500" y="788"/>
                    <a:pt x="500" y="788"/>
                  </a:cubicBezTo>
                  <a:cubicBezTo>
                    <a:pt x="502" y="757"/>
                    <a:pt x="502" y="757"/>
                    <a:pt x="502" y="757"/>
                  </a:cubicBezTo>
                  <a:cubicBezTo>
                    <a:pt x="492" y="757"/>
                    <a:pt x="492" y="757"/>
                    <a:pt x="492" y="757"/>
                  </a:cubicBezTo>
                  <a:cubicBezTo>
                    <a:pt x="497" y="747"/>
                    <a:pt x="497" y="747"/>
                    <a:pt x="497" y="747"/>
                  </a:cubicBezTo>
                  <a:cubicBezTo>
                    <a:pt x="505" y="748"/>
                    <a:pt x="505" y="748"/>
                    <a:pt x="505" y="748"/>
                  </a:cubicBezTo>
                  <a:cubicBezTo>
                    <a:pt x="512" y="733"/>
                    <a:pt x="512" y="733"/>
                    <a:pt x="512" y="733"/>
                  </a:cubicBezTo>
                  <a:cubicBezTo>
                    <a:pt x="525" y="735"/>
                    <a:pt x="525" y="735"/>
                    <a:pt x="525" y="735"/>
                  </a:cubicBezTo>
                  <a:cubicBezTo>
                    <a:pt x="528" y="720"/>
                    <a:pt x="528" y="720"/>
                    <a:pt x="528" y="720"/>
                  </a:cubicBezTo>
                  <a:cubicBezTo>
                    <a:pt x="536" y="715"/>
                    <a:pt x="536" y="715"/>
                    <a:pt x="536" y="715"/>
                  </a:cubicBezTo>
                  <a:lnTo>
                    <a:pt x="530" y="697"/>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5" name="Lorraine" descr="© INSCALE GmbH, 05.05.2010&#10;http://www.presentationload.com/">
              <a:extLst>
                <a:ext uri="{FF2B5EF4-FFF2-40B4-BE49-F238E27FC236}">
                  <a16:creationId xmlns:a16="http://schemas.microsoft.com/office/drawing/2014/main" id="{2ACB0F13-E462-48F4-A8B6-FD41570E9DC6}"/>
                </a:ext>
              </a:extLst>
            </p:cNvPr>
            <p:cNvSpPr>
              <a:spLocks/>
            </p:cNvSpPr>
            <p:nvPr/>
          </p:nvSpPr>
          <p:spPr bwMode="gray">
            <a:xfrm>
              <a:off x="2349" y="641"/>
              <a:ext cx="619" cy="618"/>
            </a:xfrm>
            <a:custGeom>
              <a:avLst/>
              <a:gdLst/>
              <a:ahLst/>
              <a:cxnLst>
                <a:cxn ang="0">
                  <a:pos x="552" y="140"/>
                </a:cxn>
                <a:cxn ang="0">
                  <a:pos x="524" y="152"/>
                </a:cxn>
                <a:cxn ang="0">
                  <a:pos x="482" y="143"/>
                </a:cxn>
                <a:cxn ang="0">
                  <a:pos x="464" y="142"/>
                </a:cxn>
                <a:cxn ang="0">
                  <a:pos x="429" y="124"/>
                </a:cxn>
                <a:cxn ang="0">
                  <a:pos x="423" y="143"/>
                </a:cxn>
                <a:cxn ang="0">
                  <a:pos x="395" y="131"/>
                </a:cxn>
                <a:cxn ang="0">
                  <a:pos x="388" y="114"/>
                </a:cxn>
                <a:cxn ang="0">
                  <a:pos x="365" y="84"/>
                </a:cxn>
                <a:cxn ang="0">
                  <a:pos x="368" y="71"/>
                </a:cxn>
                <a:cxn ang="0">
                  <a:pos x="333" y="43"/>
                </a:cxn>
                <a:cxn ang="0">
                  <a:pos x="281" y="38"/>
                </a:cxn>
                <a:cxn ang="0">
                  <a:pos x="233" y="36"/>
                </a:cxn>
                <a:cxn ang="0">
                  <a:pos x="191" y="20"/>
                </a:cxn>
                <a:cxn ang="0">
                  <a:pos x="165" y="33"/>
                </a:cxn>
                <a:cxn ang="0">
                  <a:pos x="128" y="21"/>
                </a:cxn>
                <a:cxn ang="0">
                  <a:pos x="92" y="21"/>
                </a:cxn>
                <a:cxn ang="0">
                  <a:pos x="70" y="37"/>
                </a:cxn>
                <a:cxn ang="0">
                  <a:pos x="49" y="30"/>
                </a:cxn>
                <a:cxn ang="0">
                  <a:pos x="26" y="49"/>
                </a:cxn>
                <a:cxn ang="0">
                  <a:pos x="21" y="107"/>
                </a:cxn>
                <a:cxn ang="0">
                  <a:pos x="8" y="137"/>
                </a:cxn>
                <a:cxn ang="0">
                  <a:pos x="4" y="151"/>
                </a:cxn>
                <a:cxn ang="0">
                  <a:pos x="26" y="223"/>
                </a:cxn>
                <a:cxn ang="0">
                  <a:pos x="6" y="263"/>
                </a:cxn>
                <a:cxn ang="0">
                  <a:pos x="26" y="295"/>
                </a:cxn>
                <a:cxn ang="0">
                  <a:pos x="33" y="329"/>
                </a:cxn>
                <a:cxn ang="0">
                  <a:pos x="125" y="395"/>
                </a:cxn>
                <a:cxn ang="0">
                  <a:pos x="118" y="409"/>
                </a:cxn>
                <a:cxn ang="0">
                  <a:pos x="136" y="414"/>
                </a:cxn>
                <a:cxn ang="0">
                  <a:pos x="165" y="449"/>
                </a:cxn>
                <a:cxn ang="0">
                  <a:pos x="181" y="461"/>
                </a:cxn>
                <a:cxn ang="0">
                  <a:pos x="160" y="502"/>
                </a:cxn>
                <a:cxn ang="0">
                  <a:pos x="197" y="519"/>
                </a:cxn>
                <a:cxn ang="0">
                  <a:pos x="201" y="539"/>
                </a:cxn>
                <a:cxn ang="0">
                  <a:pos x="217" y="544"/>
                </a:cxn>
                <a:cxn ang="0">
                  <a:pos x="234" y="534"/>
                </a:cxn>
                <a:cxn ang="0">
                  <a:pos x="244" y="537"/>
                </a:cxn>
                <a:cxn ang="0">
                  <a:pos x="274" y="517"/>
                </a:cxn>
                <a:cxn ang="0">
                  <a:pos x="286" y="534"/>
                </a:cxn>
                <a:cxn ang="0">
                  <a:pos x="337" y="537"/>
                </a:cxn>
                <a:cxn ang="0">
                  <a:pos x="372" y="537"/>
                </a:cxn>
                <a:cxn ang="0">
                  <a:pos x="414" y="562"/>
                </a:cxn>
                <a:cxn ang="0">
                  <a:pos x="442" y="559"/>
                </a:cxn>
                <a:cxn ang="0">
                  <a:pos x="441" y="545"/>
                </a:cxn>
                <a:cxn ang="0">
                  <a:pos x="472" y="470"/>
                </a:cxn>
                <a:cxn ang="0">
                  <a:pos x="490" y="411"/>
                </a:cxn>
                <a:cxn ang="0">
                  <a:pos x="469" y="399"/>
                </a:cxn>
                <a:cxn ang="0">
                  <a:pos x="458" y="343"/>
                </a:cxn>
                <a:cxn ang="0">
                  <a:pos x="508" y="299"/>
                </a:cxn>
                <a:cxn ang="0">
                  <a:pos x="477" y="242"/>
                </a:cxn>
                <a:cxn ang="0">
                  <a:pos x="449" y="243"/>
                </a:cxn>
                <a:cxn ang="0">
                  <a:pos x="429" y="223"/>
                </a:cxn>
                <a:cxn ang="0">
                  <a:pos x="450" y="166"/>
                </a:cxn>
                <a:cxn ang="0">
                  <a:pos x="465" y="189"/>
                </a:cxn>
                <a:cxn ang="0">
                  <a:pos x="533" y="197"/>
                </a:cxn>
                <a:cxn ang="0">
                  <a:pos x="563" y="150"/>
                </a:cxn>
              </a:cxnLst>
              <a:rect l="0" t="0" r="r" b="b"/>
              <a:pathLst>
                <a:path w="574" h="573">
                  <a:moveTo>
                    <a:pt x="563" y="150"/>
                  </a:moveTo>
                  <a:cubicBezTo>
                    <a:pt x="569" y="145"/>
                    <a:pt x="561" y="142"/>
                    <a:pt x="552" y="140"/>
                  </a:cubicBezTo>
                  <a:cubicBezTo>
                    <a:pt x="542" y="130"/>
                    <a:pt x="536" y="147"/>
                    <a:pt x="536" y="147"/>
                  </a:cubicBezTo>
                  <a:cubicBezTo>
                    <a:pt x="524" y="152"/>
                    <a:pt x="524" y="152"/>
                    <a:pt x="524" y="152"/>
                  </a:cubicBezTo>
                  <a:cubicBezTo>
                    <a:pt x="489" y="154"/>
                    <a:pt x="489" y="154"/>
                    <a:pt x="489" y="154"/>
                  </a:cubicBezTo>
                  <a:cubicBezTo>
                    <a:pt x="482" y="143"/>
                    <a:pt x="482" y="143"/>
                    <a:pt x="482" y="143"/>
                  </a:cubicBezTo>
                  <a:cubicBezTo>
                    <a:pt x="471" y="154"/>
                    <a:pt x="471" y="154"/>
                    <a:pt x="471" y="154"/>
                  </a:cubicBezTo>
                  <a:cubicBezTo>
                    <a:pt x="464" y="142"/>
                    <a:pt x="464" y="142"/>
                    <a:pt x="464" y="142"/>
                  </a:cubicBezTo>
                  <a:cubicBezTo>
                    <a:pt x="464" y="122"/>
                    <a:pt x="438" y="126"/>
                    <a:pt x="438" y="126"/>
                  </a:cubicBezTo>
                  <a:cubicBezTo>
                    <a:pt x="429" y="124"/>
                    <a:pt x="429" y="124"/>
                    <a:pt x="429" y="124"/>
                  </a:cubicBezTo>
                  <a:cubicBezTo>
                    <a:pt x="431" y="135"/>
                    <a:pt x="431" y="135"/>
                    <a:pt x="431" y="135"/>
                  </a:cubicBezTo>
                  <a:cubicBezTo>
                    <a:pt x="423" y="143"/>
                    <a:pt x="423" y="143"/>
                    <a:pt x="423" y="143"/>
                  </a:cubicBezTo>
                  <a:cubicBezTo>
                    <a:pt x="419" y="140"/>
                    <a:pt x="419" y="140"/>
                    <a:pt x="419" y="140"/>
                  </a:cubicBezTo>
                  <a:cubicBezTo>
                    <a:pt x="397" y="145"/>
                    <a:pt x="395" y="131"/>
                    <a:pt x="395" y="131"/>
                  </a:cubicBezTo>
                  <a:cubicBezTo>
                    <a:pt x="403" y="125"/>
                    <a:pt x="397" y="121"/>
                    <a:pt x="397" y="121"/>
                  </a:cubicBezTo>
                  <a:cubicBezTo>
                    <a:pt x="392" y="126"/>
                    <a:pt x="388" y="114"/>
                    <a:pt x="388" y="114"/>
                  </a:cubicBezTo>
                  <a:cubicBezTo>
                    <a:pt x="389" y="107"/>
                    <a:pt x="377" y="99"/>
                    <a:pt x="370" y="96"/>
                  </a:cubicBezTo>
                  <a:cubicBezTo>
                    <a:pt x="370" y="88"/>
                    <a:pt x="365" y="84"/>
                    <a:pt x="365" y="84"/>
                  </a:cubicBezTo>
                  <a:cubicBezTo>
                    <a:pt x="371" y="79"/>
                    <a:pt x="371" y="79"/>
                    <a:pt x="371" y="79"/>
                  </a:cubicBezTo>
                  <a:cubicBezTo>
                    <a:pt x="368" y="71"/>
                    <a:pt x="368" y="71"/>
                    <a:pt x="368" y="71"/>
                  </a:cubicBezTo>
                  <a:cubicBezTo>
                    <a:pt x="361" y="71"/>
                    <a:pt x="358" y="59"/>
                    <a:pt x="358" y="59"/>
                  </a:cubicBezTo>
                  <a:cubicBezTo>
                    <a:pt x="333" y="43"/>
                    <a:pt x="333" y="43"/>
                    <a:pt x="333" y="43"/>
                  </a:cubicBezTo>
                  <a:cubicBezTo>
                    <a:pt x="317" y="61"/>
                    <a:pt x="297" y="38"/>
                    <a:pt x="297" y="38"/>
                  </a:cubicBezTo>
                  <a:cubicBezTo>
                    <a:pt x="297" y="38"/>
                    <a:pt x="297" y="38"/>
                    <a:pt x="281" y="38"/>
                  </a:cubicBezTo>
                  <a:cubicBezTo>
                    <a:pt x="272" y="54"/>
                    <a:pt x="245" y="52"/>
                    <a:pt x="243" y="48"/>
                  </a:cubicBezTo>
                  <a:cubicBezTo>
                    <a:pt x="241" y="44"/>
                    <a:pt x="233" y="36"/>
                    <a:pt x="233" y="36"/>
                  </a:cubicBezTo>
                  <a:cubicBezTo>
                    <a:pt x="233" y="36"/>
                    <a:pt x="223" y="33"/>
                    <a:pt x="212" y="31"/>
                  </a:cubicBezTo>
                  <a:cubicBezTo>
                    <a:pt x="206" y="20"/>
                    <a:pt x="191" y="20"/>
                    <a:pt x="191" y="20"/>
                  </a:cubicBezTo>
                  <a:cubicBezTo>
                    <a:pt x="175" y="19"/>
                    <a:pt x="175" y="19"/>
                    <a:pt x="175" y="19"/>
                  </a:cubicBezTo>
                  <a:cubicBezTo>
                    <a:pt x="165" y="33"/>
                    <a:pt x="165" y="33"/>
                    <a:pt x="165" y="33"/>
                  </a:cubicBezTo>
                  <a:cubicBezTo>
                    <a:pt x="165" y="33"/>
                    <a:pt x="162" y="29"/>
                    <a:pt x="145" y="30"/>
                  </a:cubicBezTo>
                  <a:cubicBezTo>
                    <a:pt x="126" y="45"/>
                    <a:pt x="129" y="24"/>
                    <a:pt x="128" y="21"/>
                  </a:cubicBezTo>
                  <a:cubicBezTo>
                    <a:pt x="128" y="5"/>
                    <a:pt x="111" y="1"/>
                    <a:pt x="104" y="0"/>
                  </a:cubicBezTo>
                  <a:cubicBezTo>
                    <a:pt x="92" y="21"/>
                    <a:pt x="92" y="21"/>
                    <a:pt x="92" y="21"/>
                  </a:cubicBezTo>
                  <a:cubicBezTo>
                    <a:pt x="78" y="22"/>
                    <a:pt x="78" y="22"/>
                    <a:pt x="78" y="22"/>
                  </a:cubicBezTo>
                  <a:cubicBezTo>
                    <a:pt x="70" y="37"/>
                    <a:pt x="70" y="37"/>
                    <a:pt x="70" y="37"/>
                  </a:cubicBezTo>
                  <a:cubicBezTo>
                    <a:pt x="58" y="30"/>
                    <a:pt x="58" y="30"/>
                    <a:pt x="58" y="30"/>
                  </a:cubicBezTo>
                  <a:cubicBezTo>
                    <a:pt x="49" y="30"/>
                    <a:pt x="49" y="30"/>
                    <a:pt x="49" y="30"/>
                  </a:cubicBezTo>
                  <a:cubicBezTo>
                    <a:pt x="32" y="25"/>
                    <a:pt x="32" y="25"/>
                    <a:pt x="32" y="25"/>
                  </a:cubicBezTo>
                  <a:cubicBezTo>
                    <a:pt x="32" y="25"/>
                    <a:pt x="30" y="51"/>
                    <a:pt x="26" y="49"/>
                  </a:cubicBezTo>
                  <a:cubicBezTo>
                    <a:pt x="38" y="63"/>
                    <a:pt x="38" y="78"/>
                    <a:pt x="38" y="78"/>
                  </a:cubicBezTo>
                  <a:cubicBezTo>
                    <a:pt x="38" y="78"/>
                    <a:pt x="25" y="102"/>
                    <a:pt x="21" y="107"/>
                  </a:cubicBezTo>
                  <a:cubicBezTo>
                    <a:pt x="17" y="113"/>
                    <a:pt x="25" y="125"/>
                    <a:pt x="25" y="125"/>
                  </a:cubicBezTo>
                  <a:cubicBezTo>
                    <a:pt x="8" y="137"/>
                    <a:pt x="8" y="137"/>
                    <a:pt x="8" y="137"/>
                  </a:cubicBezTo>
                  <a:cubicBezTo>
                    <a:pt x="14" y="143"/>
                    <a:pt x="14" y="143"/>
                    <a:pt x="14" y="143"/>
                  </a:cubicBezTo>
                  <a:cubicBezTo>
                    <a:pt x="4" y="151"/>
                    <a:pt x="4" y="151"/>
                    <a:pt x="4" y="151"/>
                  </a:cubicBezTo>
                  <a:cubicBezTo>
                    <a:pt x="4" y="151"/>
                    <a:pt x="20" y="197"/>
                    <a:pt x="17" y="201"/>
                  </a:cubicBezTo>
                  <a:cubicBezTo>
                    <a:pt x="28" y="195"/>
                    <a:pt x="25" y="214"/>
                    <a:pt x="26" y="223"/>
                  </a:cubicBezTo>
                  <a:cubicBezTo>
                    <a:pt x="28" y="233"/>
                    <a:pt x="4" y="242"/>
                    <a:pt x="4" y="242"/>
                  </a:cubicBezTo>
                  <a:cubicBezTo>
                    <a:pt x="6" y="263"/>
                    <a:pt x="6" y="263"/>
                    <a:pt x="6" y="263"/>
                  </a:cubicBezTo>
                  <a:cubicBezTo>
                    <a:pt x="0" y="277"/>
                    <a:pt x="0" y="277"/>
                    <a:pt x="0" y="277"/>
                  </a:cubicBezTo>
                  <a:cubicBezTo>
                    <a:pt x="26" y="295"/>
                    <a:pt x="26" y="295"/>
                    <a:pt x="26" y="295"/>
                  </a:cubicBezTo>
                  <a:cubicBezTo>
                    <a:pt x="25" y="335"/>
                    <a:pt x="25" y="335"/>
                    <a:pt x="25" y="335"/>
                  </a:cubicBezTo>
                  <a:cubicBezTo>
                    <a:pt x="33" y="329"/>
                    <a:pt x="33" y="329"/>
                    <a:pt x="33" y="329"/>
                  </a:cubicBezTo>
                  <a:cubicBezTo>
                    <a:pt x="33" y="329"/>
                    <a:pt x="68" y="356"/>
                    <a:pt x="67" y="359"/>
                  </a:cubicBezTo>
                  <a:cubicBezTo>
                    <a:pt x="84" y="359"/>
                    <a:pt x="125" y="395"/>
                    <a:pt x="125" y="395"/>
                  </a:cubicBezTo>
                  <a:cubicBezTo>
                    <a:pt x="113" y="401"/>
                    <a:pt x="113" y="401"/>
                    <a:pt x="113" y="401"/>
                  </a:cubicBezTo>
                  <a:cubicBezTo>
                    <a:pt x="118" y="409"/>
                    <a:pt x="118" y="409"/>
                    <a:pt x="118" y="409"/>
                  </a:cubicBezTo>
                  <a:cubicBezTo>
                    <a:pt x="118" y="409"/>
                    <a:pt x="120" y="412"/>
                    <a:pt x="120" y="415"/>
                  </a:cubicBezTo>
                  <a:cubicBezTo>
                    <a:pt x="126" y="411"/>
                    <a:pt x="136" y="414"/>
                    <a:pt x="136" y="414"/>
                  </a:cubicBezTo>
                  <a:cubicBezTo>
                    <a:pt x="149" y="437"/>
                    <a:pt x="149" y="437"/>
                    <a:pt x="149" y="437"/>
                  </a:cubicBezTo>
                  <a:cubicBezTo>
                    <a:pt x="165" y="426"/>
                    <a:pt x="165" y="449"/>
                    <a:pt x="165" y="449"/>
                  </a:cubicBezTo>
                  <a:cubicBezTo>
                    <a:pt x="174" y="450"/>
                    <a:pt x="174" y="450"/>
                    <a:pt x="174" y="450"/>
                  </a:cubicBezTo>
                  <a:cubicBezTo>
                    <a:pt x="181" y="461"/>
                    <a:pt x="181" y="461"/>
                    <a:pt x="181" y="461"/>
                  </a:cubicBezTo>
                  <a:cubicBezTo>
                    <a:pt x="170" y="466"/>
                    <a:pt x="170" y="490"/>
                    <a:pt x="170" y="490"/>
                  </a:cubicBezTo>
                  <a:cubicBezTo>
                    <a:pt x="160" y="502"/>
                    <a:pt x="160" y="502"/>
                    <a:pt x="160" y="502"/>
                  </a:cubicBezTo>
                  <a:cubicBezTo>
                    <a:pt x="177" y="506"/>
                    <a:pt x="177" y="506"/>
                    <a:pt x="177" y="506"/>
                  </a:cubicBezTo>
                  <a:cubicBezTo>
                    <a:pt x="197" y="519"/>
                    <a:pt x="197" y="519"/>
                    <a:pt x="197" y="519"/>
                  </a:cubicBezTo>
                  <a:cubicBezTo>
                    <a:pt x="198" y="537"/>
                    <a:pt x="198" y="537"/>
                    <a:pt x="198" y="537"/>
                  </a:cubicBezTo>
                  <a:cubicBezTo>
                    <a:pt x="201" y="539"/>
                    <a:pt x="201" y="539"/>
                    <a:pt x="201" y="539"/>
                  </a:cubicBezTo>
                  <a:cubicBezTo>
                    <a:pt x="214" y="547"/>
                    <a:pt x="214" y="547"/>
                    <a:pt x="214" y="547"/>
                  </a:cubicBezTo>
                  <a:cubicBezTo>
                    <a:pt x="217" y="544"/>
                    <a:pt x="217" y="544"/>
                    <a:pt x="217" y="544"/>
                  </a:cubicBezTo>
                  <a:cubicBezTo>
                    <a:pt x="224" y="533"/>
                    <a:pt x="224" y="533"/>
                    <a:pt x="224" y="533"/>
                  </a:cubicBezTo>
                  <a:cubicBezTo>
                    <a:pt x="234" y="534"/>
                    <a:pt x="234" y="534"/>
                    <a:pt x="234" y="534"/>
                  </a:cubicBezTo>
                  <a:cubicBezTo>
                    <a:pt x="230" y="543"/>
                    <a:pt x="230" y="543"/>
                    <a:pt x="230" y="543"/>
                  </a:cubicBezTo>
                  <a:cubicBezTo>
                    <a:pt x="244" y="537"/>
                    <a:pt x="244" y="537"/>
                    <a:pt x="244" y="537"/>
                  </a:cubicBezTo>
                  <a:cubicBezTo>
                    <a:pt x="249" y="523"/>
                    <a:pt x="249" y="523"/>
                    <a:pt x="249" y="523"/>
                  </a:cubicBezTo>
                  <a:cubicBezTo>
                    <a:pt x="274" y="517"/>
                    <a:pt x="274" y="517"/>
                    <a:pt x="274" y="517"/>
                  </a:cubicBezTo>
                  <a:cubicBezTo>
                    <a:pt x="273" y="533"/>
                    <a:pt x="273" y="533"/>
                    <a:pt x="273" y="533"/>
                  </a:cubicBezTo>
                  <a:cubicBezTo>
                    <a:pt x="286" y="534"/>
                    <a:pt x="286" y="534"/>
                    <a:pt x="286" y="534"/>
                  </a:cubicBezTo>
                  <a:cubicBezTo>
                    <a:pt x="285" y="543"/>
                    <a:pt x="285" y="543"/>
                    <a:pt x="285" y="543"/>
                  </a:cubicBezTo>
                  <a:cubicBezTo>
                    <a:pt x="285" y="543"/>
                    <a:pt x="333" y="526"/>
                    <a:pt x="337" y="537"/>
                  </a:cubicBezTo>
                  <a:cubicBezTo>
                    <a:pt x="341" y="547"/>
                    <a:pt x="346" y="554"/>
                    <a:pt x="346" y="554"/>
                  </a:cubicBezTo>
                  <a:cubicBezTo>
                    <a:pt x="372" y="537"/>
                    <a:pt x="372" y="537"/>
                    <a:pt x="372" y="537"/>
                  </a:cubicBezTo>
                  <a:cubicBezTo>
                    <a:pt x="381" y="549"/>
                    <a:pt x="381" y="549"/>
                    <a:pt x="381" y="549"/>
                  </a:cubicBezTo>
                  <a:cubicBezTo>
                    <a:pt x="414" y="562"/>
                    <a:pt x="414" y="562"/>
                    <a:pt x="414" y="562"/>
                  </a:cubicBezTo>
                  <a:cubicBezTo>
                    <a:pt x="414" y="562"/>
                    <a:pt x="422" y="573"/>
                    <a:pt x="428" y="570"/>
                  </a:cubicBezTo>
                  <a:cubicBezTo>
                    <a:pt x="433" y="567"/>
                    <a:pt x="442" y="559"/>
                    <a:pt x="442" y="559"/>
                  </a:cubicBezTo>
                  <a:cubicBezTo>
                    <a:pt x="437" y="550"/>
                    <a:pt x="437" y="550"/>
                    <a:pt x="437" y="550"/>
                  </a:cubicBezTo>
                  <a:cubicBezTo>
                    <a:pt x="441" y="545"/>
                    <a:pt x="441" y="545"/>
                    <a:pt x="441" y="545"/>
                  </a:cubicBezTo>
                  <a:cubicBezTo>
                    <a:pt x="442" y="514"/>
                    <a:pt x="442" y="514"/>
                    <a:pt x="442" y="514"/>
                  </a:cubicBezTo>
                  <a:cubicBezTo>
                    <a:pt x="442" y="514"/>
                    <a:pt x="460" y="511"/>
                    <a:pt x="472" y="470"/>
                  </a:cubicBezTo>
                  <a:cubicBezTo>
                    <a:pt x="476" y="470"/>
                    <a:pt x="469" y="466"/>
                    <a:pt x="469" y="466"/>
                  </a:cubicBezTo>
                  <a:cubicBezTo>
                    <a:pt x="490" y="411"/>
                    <a:pt x="490" y="411"/>
                    <a:pt x="490" y="411"/>
                  </a:cubicBezTo>
                  <a:cubicBezTo>
                    <a:pt x="489" y="402"/>
                    <a:pt x="489" y="402"/>
                    <a:pt x="489" y="402"/>
                  </a:cubicBezTo>
                  <a:cubicBezTo>
                    <a:pt x="489" y="402"/>
                    <a:pt x="469" y="411"/>
                    <a:pt x="469" y="399"/>
                  </a:cubicBezTo>
                  <a:cubicBezTo>
                    <a:pt x="469" y="387"/>
                    <a:pt x="472" y="349"/>
                    <a:pt x="472" y="349"/>
                  </a:cubicBezTo>
                  <a:cubicBezTo>
                    <a:pt x="458" y="343"/>
                    <a:pt x="458" y="343"/>
                    <a:pt x="458" y="343"/>
                  </a:cubicBezTo>
                  <a:cubicBezTo>
                    <a:pt x="480" y="338"/>
                    <a:pt x="480" y="338"/>
                    <a:pt x="480" y="338"/>
                  </a:cubicBezTo>
                  <a:cubicBezTo>
                    <a:pt x="480" y="338"/>
                    <a:pt x="505" y="337"/>
                    <a:pt x="508" y="299"/>
                  </a:cubicBezTo>
                  <a:cubicBezTo>
                    <a:pt x="506" y="304"/>
                    <a:pt x="487" y="294"/>
                    <a:pt x="505" y="262"/>
                  </a:cubicBezTo>
                  <a:cubicBezTo>
                    <a:pt x="502" y="260"/>
                    <a:pt x="483" y="244"/>
                    <a:pt x="477" y="242"/>
                  </a:cubicBezTo>
                  <a:cubicBezTo>
                    <a:pt x="470" y="239"/>
                    <a:pt x="457" y="258"/>
                    <a:pt x="457" y="258"/>
                  </a:cubicBezTo>
                  <a:cubicBezTo>
                    <a:pt x="449" y="243"/>
                    <a:pt x="449" y="243"/>
                    <a:pt x="449" y="243"/>
                  </a:cubicBezTo>
                  <a:cubicBezTo>
                    <a:pt x="457" y="233"/>
                    <a:pt x="457" y="233"/>
                    <a:pt x="457" y="233"/>
                  </a:cubicBezTo>
                  <a:cubicBezTo>
                    <a:pt x="429" y="223"/>
                    <a:pt x="429" y="223"/>
                    <a:pt x="429" y="223"/>
                  </a:cubicBezTo>
                  <a:cubicBezTo>
                    <a:pt x="429" y="223"/>
                    <a:pt x="434" y="203"/>
                    <a:pt x="444" y="205"/>
                  </a:cubicBezTo>
                  <a:cubicBezTo>
                    <a:pt x="450" y="166"/>
                    <a:pt x="450" y="166"/>
                    <a:pt x="450" y="166"/>
                  </a:cubicBezTo>
                  <a:cubicBezTo>
                    <a:pt x="456" y="167"/>
                    <a:pt x="456" y="167"/>
                    <a:pt x="456" y="167"/>
                  </a:cubicBezTo>
                  <a:cubicBezTo>
                    <a:pt x="465" y="189"/>
                    <a:pt x="465" y="189"/>
                    <a:pt x="465" y="189"/>
                  </a:cubicBezTo>
                  <a:cubicBezTo>
                    <a:pt x="493" y="193"/>
                    <a:pt x="493" y="193"/>
                    <a:pt x="493" y="193"/>
                  </a:cubicBezTo>
                  <a:cubicBezTo>
                    <a:pt x="493" y="193"/>
                    <a:pt x="498" y="217"/>
                    <a:pt x="533" y="197"/>
                  </a:cubicBezTo>
                  <a:cubicBezTo>
                    <a:pt x="533" y="197"/>
                    <a:pt x="553" y="229"/>
                    <a:pt x="574" y="164"/>
                  </a:cubicBezTo>
                  <a:lnTo>
                    <a:pt x="563" y="15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6" name="Alsace" descr="© INSCALE GmbH, 05.05.2010&#10;http://www.presentationload.com/">
              <a:extLst>
                <a:ext uri="{FF2B5EF4-FFF2-40B4-BE49-F238E27FC236}">
                  <a16:creationId xmlns:a16="http://schemas.microsoft.com/office/drawing/2014/main" id="{F0F39AF0-5E77-4803-A309-B0A4DD2EAFF8}"/>
                </a:ext>
              </a:extLst>
            </p:cNvPr>
            <p:cNvSpPr>
              <a:spLocks/>
            </p:cNvSpPr>
            <p:nvPr/>
          </p:nvSpPr>
          <p:spPr bwMode="gray">
            <a:xfrm>
              <a:off x="2808" y="818"/>
              <a:ext cx="317" cy="567"/>
            </a:xfrm>
            <a:custGeom>
              <a:avLst/>
              <a:gdLst/>
              <a:ahLst/>
              <a:cxnLst>
                <a:cxn ang="0">
                  <a:pos x="271" y="35"/>
                </a:cxn>
                <a:cxn ang="0">
                  <a:pos x="250" y="20"/>
                </a:cxn>
                <a:cxn ang="0">
                  <a:pos x="242" y="22"/>
                </a:cxn>
                <a:cxn ang="0">
                  <a:pos x="225" y="13"/>
                </a:cxn>
                <a:cxn ang="0">
                  <a:pos x="206" y="12"/>
                </a:cxn>
                <a:cxn ang="0">
                  <a:pos x="172" y="14"/>
                </a:cxn>
                <a:cxn ang="0">
                  <a:pos x="164" y="2"/>
                </a:cxn>
                <a:cxn ang="0">
                  <a:pos x="152" y="4"/>
                </a:cxn>
                <a:cxn ang="0">
                  <a:pos x="148" y="0"/>
                </a:cxn>
                <a:cxn ang="0">
                  <a:pos x="107" y="33"/>
                </a:cxn>
                <a:cxn ang="0">
                  <a:pos x="67" y="29"/>
                </a:cxn>
                <a:cxn ang="0">
                  <a:pos x="39" y="25"/>
                </a:cxn>
                <a:cxn ang="0">
                  <a:pos x="30" y="3"/>
                </a:cxn>
                <a:cxn ang="0">
                  <a:pos x="24" y="2"/>
                </a:cxn>
                <a:cxn ang="0">
                  <a:pos x="18" y="41"/>
                </a:cxn>
                <a:cxn ang="0">
                  <a:pos x="3" y="59"/>
                </a:cxn>
                <a:cxn ang="0">
                  <a:pos x="31" y="69"/>
                </a:cxn>
                <a:cxn ang="0">
                  <a:pos x="23" y="79"/>
                </a:cxn>
                <a:cxn ang="0">
                  <a:pos x="31" y="94"/>
                </a:cxn>
                <a:cxn ang="0">
                  <a:pos x="51" y="78"/>
                </a:cxn>
                <a:cxn ang="0">
                  <a:pos x="79" y="98"/>
                </a:cxn>
                <a:cxn ang="0">
                  <a:pos x="82" y="135"/>
                </a:cxn>
                <a:cxn ang="0">
                  <a:pos x="54" y="174"/>
                </a:cxn>
                <a:cxn ang="0">
                  <a:pos x="32" y="179"/>
                </a:cxn>
                <a:cxn ang="0">
                  <a:pos x="46" y="185"/>
                </a:cxn>
                <a:cxn ang="0">
                  <a:pos x="43" y="235"/>
                </a:cxn>
                <a:cxn ang="0">
                  <a:pos x="63" y="238"/>
                </a:cxn>
                <a:cxn ang="0">
                  <a:pos x="64" y="247"/>
                </a:cxn>
                <a:cxn ang="0">
                  <a:pos x="43" y="302"/>
                </a:cxn>
                <a:cxn ang="0">
                  <a:pos x="46" y="306"/>
                </a:cxn>
                <a:cxn ang="0">
                  <a:pos x="16" y="350"/>
                </a:cxn>
                <a:cxn ang="0">
                  <a:pos x="15" y="381"/>
                </a:cxn>
                <a:cxn ang="0">
                  <a:pos x="11" y="386"/>
                </a:cxn>
                <a:cxn ang="0">
                  <a:pos x="16" y="395"/>
                </a:cxn>
                <a:cxn ang="0">
                  <a:pos x="2" y="406"/>
                </a:cxn>
                <a:cxn ang="0">
                  <a:pos x="0" y="406"/>
                </a:cxn>
                <a:cxn ang="0">
                  <a:pos x="4" y="417"/>
                </a:cxn>
                <a:cxn ang="0">
                  <a:pos x="43" y="471"/>
                </a:cxn>
                <a:cxn ang="0">
                  <a:pos x="66" y="496"/>
                </a:cxn>
                <a:cxn ang="0">
                  <a:pos x="90" y="499"/>
                </a:cxn>
                <a:cxn ang="0">
                  <a:pos x="113" y="510"/>
                </a:cxn>
                <a:cxn ang="0">
                  <a:pos x="143" y="491"/>
                </a:cxn>
                <a:cxn ang="0">
                  <a:pos x="152" y="503"/>
                </a:cxn>
                <a:cxn ang="0">
                  <a:pos x="161" y="493"/>
                </a:cxn>
                <a:cxn ang="0">
                  <a:pos x="174" y="463"/>
                </a:cxn>
                <a:cxn ang="0">
                  <a:pos x="165" y="419"/>
                </a:cxn>
                <a:cxn ang="0">
                  <a:pos x="167" y="386"/>
                </a:cxn>
                <a:cxn ang="0">
                  <a:pos x="176" y="349"/>
                </a:cxn>
                <a:cxn ang="0">
                  <a:pos x="176" y="336"/>
                </a:cxn>
                <a:cxn ang="0">
                  <a:pos x="185" y="262"/>
                </a:cxn>
                <a:cxn ang="0">
                  <a:pos x="199" y="229"/>
                </a:cxn>
                <a:cxn ang="0">
                  <a:pos x="209" y="177"/>
                </a:cxn>
                <a:cxn ang="0">
                  <a:pos x="218" y="138"/>
                </a:cxn>
                <a:cxn ang="0">
                  <a:pos x="245" y="104"/>
                </a:cxn>
                <a:cxn ang="0">
                  <a:pos x="261" y="93"/>
                </a:cxn>
                <a:cxn ang="0">
                  <a:pos x="279" y="58"/>
                </a:cxn>
                <a:cxn ang="0">
                  <a:pos x="294" y="35"/>
                </a:cxn>
                <a:cxn ang="0">
                  <a:pos x="271" y="35"/>
                </a:cxn>
              </a:cxnLst>
              <a:rect l="0" t="0" r="r" b="b"/>
              <a:pathLst>
                <a:path w="294" h="526">
                  <a:moveTo>
                    <a:pt x="271" y="35"/>
                  </a:moveTo>
                  <a:cubicBezTo>
                    <a:pt x="250" y="20"/>
                    <a:pt x="250" y="20"/>
                    <a:pt x="250" y="20"/>
                  </a:cubicBezTo>
                  <a:cubicBezTo>
                    <a:pt x="242" y="22"/>
                    <a:pt x="242" y="22"/>
                    <a:pt x="242" y="22"/>
                  </a:cubicBezTo>
                  <a:cubicBezTo>
                    <a:pt x="233" y="7"/>
                    <a:pt x="232" y="15"/>
                    <a:pt x="225" y="13"/>
                  </a:cubicBezTo>
                  <a:cubicBezTo>
                    <a:pt x="215" y="25"/>
                    <a:pt x="206" y="12"/>
                    <a:pt x="206" y="12"/>
                  </a:cubicBezTo>
                  <a:cubicBezTo>
                    <a:pt x="172" y="14"/>
                    <a:pt x="172" y="14"/>
                    <a:pt x="172" y="14"/>
                  </a:cubicBezTo>
                  <a:cubicBezTo>
                    <a:pt x="164" y="2"/>
                    <a:pt x="164" y="2"/>
                    <a:pt x="164" y="2"/>
                  </a:cubicBezTo>
                  <a:cubicBezTo>
                    <a:pt x="152" y="4"/>
                    <a:pt x="152" y="4"/>
                    <a:pt x="152" y="4"/>
                  </a:cubicBezTo>
                  <a:cubicBezTo>
                    <a:pt x="148" y="0"/>
                    <a:pt x="148" y="0"/>
                    <a:pt x="148" y="0"/>
                  </a:cubicBezTo>
                  <a:cubicBezTo>
                    <a:pt x="127" y="65"/>
                    <a:pt x="107" y="33"/>
                    <a:pt x="107" y="33"/>
                  </a:cubicBezTo>
                  <a:cubicBezTo>
                    <a:pt x="72" y="53"/>
                    <a:pt x="67" y="29"/>
                    <a:pt x="67" y="29"/>
                  </a:cubicBezTo>
                  <a:cubicBezTo>
                    <a:pt x="39" y="25"/>
                    <a:pt x="39" y="25"/>
                    <a:pt x="39" y="25"/>
                  </a:cubicBezTo>
                  <a:cubicBezTo>
                    <a:pt x="30" y="3"/>
                    <a:pt x="30" y="3"/>
                    <a:pt x="30" y="3"/>
                  </a:cubicBezTo>
                  <a:cubicBezTo>
                    <a:pt x="24" y="2"/>
                    <a:pt x="24" y="2"/>
                    <a:pt x="24" y="2"/>
                  </a:cubicBezTo>
                  <a:cubicBezTo>
                    <a:pt x="18" y="41"/>
                    <a:pt x="18" y="41"/>
                    <a:pt x="18" y="41"/>
                  </a:cubicBezTo>
                  <a:cubicBezTo>
                    <a:pt x="8" y="39"/>
                    <a:pt x="3" y="59"/>
                    <a:pt x="3" y="59"/>
                  </a:cubicBezTo>
                  <a:cubicBezTo>
                    <a:pt x="31" y="69"/>
                    <a:pt x="31" y="69"/>
                    <a:pt x="31" y="69"/>
                  </a:cubicBezTo>
                  <a:cubicBezTo>
                    <a:pt x="23" y="79"/>
                    <a:pt x="23" y="79"/>
                    <a:pt x="23" y="79"/>
                  </a:cubicBezTo>
                  <a:cubicBezTo>
                    <a:pt x="31" y="94"/>
                    <a:pt x="31" y="94"/>
                    <a:pt x="31" y="94"/>
                  </a:cubicBezTo>
                  <a:cubicBezTo>
                    <a:pt x="31" y="94"/>
                    <a:pt x="44" y="75"/>
                    <a:pt x="51" y="78"/>
                  </a:cubicBezTo>
                  <a:cubicBezTo>
                    <a:pt x="57" y="80"/>
                    <a:pt x="76" y="96"/>
                    <a:pt x="79" y="98"/>
                  </a:cubicBezTo>
                  <a:cubicBezTo>
                    <a:pt x="61" y="130"/>
                    <a:pt x="80" y="140"/>
                    <a:pt x="82" y="135"/>
                  </a:cubicBezTo>
                  <a:cubicBezTo>
                    <a:pt x="79" y="173"/>
                    <a:pt x="54" y="174"/>
                    <a:pt x="54" y="174"/>
                  </a:cubicBezTo>
                  <a:cubicBezTo>
                    <a:pt x="32" y="179"/>
                    <a:pt x="32" y="179"/>
                    <a:pt x="32" y="179"/>
                  </a:cubicBezTo>
                  <a:cubicBezTo>
                    <a:pt x="46" y="185"/>
                    <a:pt x="46" y="185"/>
                    <a:pt x="46" y="185"/>
                  </a:cubicBezTo>
                  <a:cubicBezTo>
                    <a:pt x="46" y="185"/>
                    <a:pt x="43" y="223"/>
                    <a:pt x="43" y="235"/>
                  </a:cubicBezTo>
                  <a:cubicBezTo>
                    <a:pt x="43" y="247"/>
                    <a:pt x="63" y="238"/>
                    <a:pt x="63" y="238"/>
                  </a:cubicBezTo>
                  <a:cubicBezTo>
                    <a:pt x="64" y="247"/>
                    <a:pt x="64" y="247"/>
                    <a:pt x="64" y="247"/>
                  </a:cubicBezTo>
                  <a:cubicBezTo>
                    <a:pt x="43" y="302"/>
                    <a:pt x="43" y="302"/>
                    <a:pt x="43" y="302"/>
                  </a:cubicBezTo>
                  <a:cubicBezTo>
                    <a:pt x="43" y="302"/>
                    <a:pt x="50" y="306"/>
                    <a:pt x="46" y="306"/>
                  </a:cubicBezTo>
                  <a:cubicBezTo>
                    <a:pt x="34" y="347"/>
                    <a:pt x="16" y="350"/>
                    <a:pt x="16" y="350"/>
                  </a:cubicBezTo>
                  <a:cubicBezTo>
                    <a:pt x="15" y="381"/>
                    <a:pt x="15" y="381"/>
                    <a:pt x="15" y="381"/>
                  </a:cubicBezTo>
                  <a:cubicBezTo>
                    <a:pt x="11" y="386"/>
                    <a:pt x="11" y="386"/>
                    <a:pt x="11" y="386"/>
                  </a:cubicBezTo>
                  <a:cubicBezTo>
                    <a:pt x="16" y="395"/>
                    <a:pt x="16" y="395"/>
                    <a:pt x="16" y="395"/>
                  </a:cubicBezTo>
                  <a:cubicBezTo>
                    <a:pt x="16" y="395"/>
                    <a:pt x="7" y="403"/>
                    <a:pt x="2" y="406"/>
                  </a:cubicBezTo>
                  <a:cubicBezTo>
                    <a:pt x="1" y="406"/>
                    <a:pt x="1" y="406"/>
                    <a:pt x="0" y="406"/>
                  </a:cubicBezTo>
                  <a:cubicBezTo>
                    <a:pt x="4" y="417"/>
                    <a:pt x="4" y="417"/>
                    <a:pt x="4" y="417"/>
                  </a:cubicBezTo>
                  <a:cubicBezTo>
                    <a:pt x="4" y="417"/>
                    <a:pt x="52" y="414"/>
                    <a:pt x="43" y="471"/>
                  </a:cubicBezTo>
                  <a:cubicBezTo>
                    <a:pt x="45" y="477"/>
                    <a:pt x="61" y="476"/>
                    <a:pt x="66" y="496"/>
                  </a:cubicBezTo>
                  <a:cubicBezTo>
                    <a:pt x="76" y="498"/>
                    <a:pt x="87" y="500"/>
                    <a:pt x="90" y="499"/>
                  </a:cubicBezTo>
                  <a:cubicBezTo>
                    <a:pt x="92" y="526"/>
                    <a:pt x="116" y="512"/>
                    <a:pt x="113" y="510"/>
                  </a:cubicBezTo>
                  <a:cubicBezTo>
                    <a:pt x="153" y="521"/>
                    <a:pt x="143" y="491"/>
                    <a:pt x="143" y="491"/>
                  </a:cubicBezTo>
                  <a:cubicBezTo>
                    <a:pt x="152" y="503"/>
                    <a:pt x="152" y="503"/>
                    <a:pt x="152" y="503"/>
                  </a:cubicBezTo>
                  <a:cubicBezTo>
                    <a:pt x="152" y="503"/>
                    <a:pt x="152" y="503"/>
                    <a:pt x="161" y="493"/>
                  </a:cubicBezTo>
                  <a:cubicBezTo>
                    <a:pt x="158" y="468"/>
                    <a:pt x="174" y="468"/>
                    <a:pt x="174" y="463"/>
                  </a:cubicBezTo>
                  <a:cubicBezTo>
                    <a:pt x="154" y="435"/>
                    <a:pt x="165" y="419"/>
                    <a:pt x="165" y="419"/>
                  </a:cubicBezTo>
                  <a:cubicBezTo>
                    <a:pt x="165" y="419"/>
                    <a:pt x="159" y="406"/>
                    <a:pt x="167" y="386"/>
                  </a:cubicBezTo>
                  <a:cubicBezTo>
                    <a:pt x="166" y="363"/>
                    <a:pt x="176" y="349"/>
                    <a:pt x="176" y="349"/>
                  </a:cubicBezTo>
                  <a:cubicBezTo>
                    <a:pt x="176" y="336"/>
                    <a:pt x="176" y="336"/>
                    <a:pt x="176" y="336"/>
                  </a:cubicBezTo>
                  <a:cubicBezTo>
                    <a:pt x="144" y="322"/>
                    <a:pt x="179" y="281"/>
                    <a:pt x="185" y="262"/>
                  </a:cubicBezTo>
                  <a:cubicBezTo>
                    <a:pt x="180" y="238"/>
                    <a:pt x="199" y="232"/>
                    <a:pt x="199" y="229"/>
                  </a:cubicBezTo>
                  <a:cubicBezTo>
                    <a:pt x="191" y="200"/>
                    <a:pt x="207" y="183"/>
                    <a:pt x="209" y="177"/>
                  </a:cubicBezTo>
                  <a:cubicBezTo>
                    <a:pt x="200" y="156"/>
                    <a:pt x="215" y="141"/>
                    <a:pt x="218" y="138"/>
                  </a:cubicBezTo>
                  <a:cubicBezTo>
                    <a:pt x="247" y="113"/>
                    <a:pt x="245" y="104"/>
                    <a:pt x="245" y="104"/>
                  </a:cubicBezTo>
                  <a:cubicBezTo>
                    <a:pt x="251" y="104"/>
                    <a:pt x="261" y="93"/>
                    <a:pt x="261" y="93"/>
                  </a:cubicBezTo>
                  <a:cubicBezTo>
                    <a:pt x="270" y="94"/>
                    <a:pt x="279" y="58"/>
                    <a:pt x="279" y="58"/>
                  </a:cubicBezTo>
                  <a:cubicBezTo>
                    <a:pt x="294" y="35"/>
                    <a:pt x="294" y="35"/>
                    <a:pt x="294" y="35"/>
                  </a:cubicBezTo>
                  <a:lnTo>
                    <a:pt x="271" y="3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7" name="Franche-Comté" descr="© INSCALE GmbH, 05.05.2010&#10;http://www.presentationload.com/">
              <a:extLst>
                <a:ext uri="{FF2B5EF4-FFF2-40B4-BE49-F238E27FC236}">
                  <a16:creationId xmlns:a16="http://schemas.microsoft.com/office/drawing/2014/main" id="{1F490D34-6D95-4776-8198-C2E5920D6864}"/>
                </a:ext>
              </a:extLst>
            </p:cNvPr>
            <p:cNvSpPr>
              <a:spLocks/>
            </p:cNvSpPr>
            <p:nvPr/>
          </p:nvSpPr>
          <p:spPr bwMode="gray">
            <a:xfrm>
              <a:off x="2452" y="1199"/>
              <a:ext cx="435" cy="623"/>
            </a:xfrm>
            <a:custGeom>
              <a:avLst/>
              <a:gdLst/>
              <a:ahLst/>
              <a:cxnLst>
                <a:cxn ang="0">
                  <a:pos x="40" y="136"/>
                </a:cxn>
                <a:cxn ang="0">
                  <a:pos x="17" y="186"/>
                </a:cxn>
                <a:cxn ang="0">
                  <a:pos x="30" y="212"/>
                </a:cxn>
                <a:cxn ang="0">
                  <a:pos x="46" y="228"/>
                </a:cxn>
                <a:cxn ang="0">
                  <a:pos x="13" y="312"/>
                </a:cxn>
                <a:cxn ang="0">
                  <a:pos x="12" y="326"/>
                </a:cxn>
                <a:cxn ang="0">
                  <a:pos x="14" y="353"/>
                </a:cxn>
                <a:cxn ang="0">
                  <a:pos x="46" y="380"/>
                </a:cxn>
                <a:cxn ang="0">
                  <a:pos x="25" y="402"/>
                </a:cxn>
                <a:cxn ang="0">
                  <a:pos x="36" y="418"/>
                </a:cxn>
                <a:cxn ang="0">
                  <a:pos x="37" y="465"/>
                </a:cxn>
                <a:cxn ang="0">
                  <a:pos x="40" y="498"/>
                </a:cxn>
                <a:cxn ang="0">
                  <a:pos x="18" y="524"/>
                </a:cxn>
                <a:cxn ang="0">
                  <a:pos x="32" y="542"/>
                </a:cxn>
                <a:cxn ang="0">
                  <a:pos x="53" y="566"/>
                </a:cxn>
                <a:cxn ang="0">
                  <a:pos x="109" y="548"/>
                </a:cxn>
                <a:cxn ang="0">
                  <a:pos x="145" y="562"/>
                </a:cxn>
                <a:cxn ang="0">
                  <a:pos x="200" y="497"/>
                </a:cxn>
                <a:cxn ang="0">
                  <a:pos x="201" y="425"/>
                </a:cxn>
                <a:cxn ang="0">
                  <a:pos x="257" y="358"/>
                </a:cxn>
                <a:cxn ang="0">
                  <a:pos x="272" y="305"/>
                </a:cxn>
                <a:cxn ang="0">
                  <a:pos x="312" y="288"/>
                </a:cxn>
                <a:cxn ang="0">
                  <a:pos x="370" y="218"/>
                </a:cxn>
                <a:cxn ang="0">
                  <a:pos x="373" y="202"/>
                </a:cxn>
                <a:cxn ang="0">
                  <a:pos x="386" y="180"/>
                </a:cxn>
                <a:cxn ang="0">
                  <a:pos x="364" y="161"/>
                </a:cxn>
                <a:cxn ang="0">
                  <a:pos x="378" y="139"/>
                </a:cxn>
                <a:cxn ang="0">
                  <a:pos x="373" y="118"/>
                </a:cxn>
                <a:cxn ang="0">
                  <a:pos x="330" y="53"/>
                </a:cxn>
                <a:cxn ang="0">
                  <a:pos x="285" y="32"/>
                </a:cxn>
                <a:cxn ang="0">
                  <a:pos x="250" y="37"/>
                </a:cxn>
                <a:cxn ang="0">
                  <a:pos x="189" y="26"/>
                </a:cxn>
                <a:cxn ang="0">
                  <a:pos x="177" y="16"/>
                </a:cxn>
                <a:cxn ang="0">
                  <a:pos x="153" y="6"/>
                </a:cxn>
                <a:cxn ang="0">
                  <a:pos x="134" y="26"/>
                </a:cxn>
                <a:cxn ang="0">
                  <a:pos x="128" y="16"/>
                </a:cxn>
                <a:cxn ang="0">
                  <a:pos x="124" y="36"/>
                </a:cxn>
                <a:cxn ang="0">
                  <a:pos x="113" y="56"/>
                </a:cxn>
                <a:cxn ang="0">
                  <a:pos x="93" y="69"/>
                </a:cxn>
                <a:cxn ang="0">
                  <a:pos x="80" y="78"/>
                </a:cxn>
                <a:cxn ang="0">
                  <a:pos x="88" y="109"/>
                </a:cxn>
                <a:cxn ang="0">
                  <a:pos x="57" y="106"/>
                </a:cxn>
                <a:cxn ang="0">
                  <a:pos x="26" y="112"/>
                </a:cxn>
                <a:cxn ang="0">
                  <a:pos x="24" y="140"/>
                </a:cxn>
              </a:cxnLst>
              <a:rect l="0" t="0" r="r" b="b"/>
              <a:pathLst>
                <a:path w="403" h="577">
                  <a:moveTo>
                    <a:pt x="32" y="132"/>
                  </a:moveTo>
                  <a:cubicBezTo>
                    <a:pt x="40" y="136"/>
                    <a:pt x="40" y="136"/>
                    <a:pt x="40" y="136"/>
                  </a:cubicBezTo>
                  <a:cubicBezTo>
                    <a:pt x="40" y="136"/>
                    <a:pt x="45" y="176"/>
                    <a:pt x="29" y="176"/>
                  </a:cubicBezTo>
                  <a:cubicBezTo>
                    <a:pt x="13" y="176"/>
                    <a:pt x="25" y="186"/>
                    <a:pt x="17" y="186"/>
                  </a:cubicBezTo>
                  <a:cubicBezTo>
                    <a:pt x="9" y="186"/>
                    <a:pt x="30" y="190"/>
                    <a:pt x="30" y="190"/>
                  </a:cubicBezTo>
                  <a:cubicBezTo>
                    <a:pt x="30" y="212"/>
                    <a:pt x="30" y="212"/>
                    <a:pt x="30" y="212"/>
                  </a:cubicBezTo>
                  <a:cubicBezTo>
                    <a:pt x="49" y="208"/>
                    <a:pt x="49" y="208"/>
                    <a:pt x="49" y="208"/>
                  </a:cubicBezTo>
                  <a:cubicBezTo>
                    <a:pt x="46" y="228"/>
                    <a:pt x="46" y="228"/>
                    <a:pt x="46" y="228"/>
                  </a:cubicBezTo>
                  <a:cubicBezTo>
                    <a:pt x="54" y="236"/>
                    <a:pt x="54" y="236"/>
                    <a:pt x="54" y="236"/>
                  </a:cubicBezTo>
                  <a:cubicBezTo>
                    <a:pt x="54" y="236"/>
                    <a:pt x="34" y="301"/>
                    <a:pt x="13" y="312"/>
                  </a:cubicBezTo>
                  <a:cubicBezTo>
                    <a:pt x="10" y="316"/>
                    <a:pt x="5" y="325"/>
                    <a:pt x="5" y="325"/>
                  </a:cubicBezTo>
                  <a:cubicBezTo>
                    <a:pt x="12" y="326"/>
                    <a:pt x="12" y="326"/>
                    <a:pt x="12" y="326"/>
                  </a:cubicBezTo>
                  <a:cubicBezTo>
                    <a:pt x="12" y="326"/>
                    <a:pt x="0" y="340"/>
                    <a:pt x="0" y="352"/>
                  </a:cubicBezTo>
                  <a:cubicBezTo>
                    <a:pt x="14" y="353"/>
                    <a:pt x="14" y="353"/>
                    <a:pt x="14" y="353"/>
                  </a:cubicBezTo>
                  <a:cubicBezTo>
                    <a:pt x="18" y="364"/>
                    <a:pt x="18" y="364"/>
                    <a:pt x="18" y="364"/>
                  </a:cubicBezTo>
                  <a:cubicBezTo>
                    <a:pt x="18" y="364"/>
                    <a:pt x="30" y="368"/>
                    <a:pt x="46" y="380"/>
                  </a:cubicBezTo>
                  <a:cubicBezTo>
                    <a:pt x="13" y="392"/>
                    <a:pt x="13" y="392"/>
                    <a:pt x="13" y="392"/>
                  </a:cubicBezTo>
                  <a:cubicBezTo>
                    <a:pt x="25" y="402"/>
                    <a:pt x="25" y="402"/>
                    <a:pt x="25" y="402"/>
                  </a:cubicBezTo>
                  <a:cubicBezTo>
                    <a:pt x="25" y="422"/>
                    <a:pt x="25" y="422"/>
                    <a:pt x="25" y="422"/>
                  </a:cubicBezTo>
                  <a:cubicBezTo>
                    <a:pt x="36" y="418"/>
                    <a:pt x="36" y="418"/>
                    <a:pt x="36" y="418"/>
                  </a:cubicBezTo>
                  <a:cubicBezTo>
                    <a:pt x="36" y="418"/>
                    <a:pt x="28" y="436"/>
                    <a:pt x="45" y="445"/>
                  </a:cubicBezTo>
                  <a:cubicBezTo>
                    <a:pt x="40" y="445"/>
                    <a:pt x="37" y="465"/>
                    <a:pt x="37" y="465"/>
                  </a:cubicBezTo>
                  <a:cubicBezTo>
                    <a:pt x="37" y="465"/>
                    <a:pt x="16" y="484"/>
                    <a:pt x="41" y="490"/>
                  </a:cubicBezTo>
                  <a:cubicBezTo>
                    <a:pt x="44" y="492"/>
                    <a:pt x="40" y="498"/>
                    <a:pt x="40" y="498"/>
                  </a:cubicBezTo>
                  <a:cubicBezTo>
                    <a:pt x="21" y="504"/>
                    <a:pt x="21" y="504"/>
                    <a:pt x="21" y="504"/>
                  </a:cubicBezTo>
                  <a:cubicBezTo>
                    <a:pt x="18" y="524"/>
                    <a:pt x="18" y="524"/>
                    <a:pt x="18" y="524"/>
                  </a:cubicBezTo>
                  <a:cubicBezTo>
                    <a:pt x="32" y="529"/>
                    <a:pt x="32" y="529"/>
                    <a:pt x="32" y="529"/>
                  </a:cubicBezTo>
                  <a:cubicBezTo>
                    <a:pt x="32" y="542"/>
                    <a:pt x="32" y="542"/>
                    <a:pt x="32" y="542"/>
                  </a:cubicBezTo>
                  <a:cubicBezTo>
                    <a:pt x="56" y="553"/>
                    <a:pt x="56" y="553"/>
                    <a:pt x="56" y="553"/>
                  </a:cubicBezTo>
                  <a:cubicBezTo>
                    <a:pt x="53" y="566"/>
                    <a:pt x="53" y="566"/>
                    <a:pt x="53" y="566"/>
                  </a:cubicBezTo>
                  <a:cubicBezTo>
                    <a:pt x="53" y="566"/>
                    <a:pt x="76" y="577"/>
                    <a:pt x="93" y="538"/>
                  </a:cubicBezTo>
                  <a:cubicBezTo>
                    <a:pt x="89" y="545"/>
                    <a:pt x="109" y="548"/>
                    <a:pt x="109" y="548"/>
                  </a:cubicBezTo>
                  <a:cubicBezTo>
                    <a:pt x="113" y="564"/>
                    <a:pt x="113" y="564"/>
                    <a:pt x="113" y="564"/>
                  </a:cubicBezTo>
                  <a:cubicBezTo>
                    <a:pt x="145" y="562"/>
                    <a:pt x="145" y="562"/>
                    <a:pt x="145" y="562"/>
                  </a:cubicBezTo>
                  <a:cubicBezTo>
                    <a:pt x="202" y="503"/>
                    <a:pt x="202" y="503"/>
                    <a:pt x="202" y="503"/>
                  </a:cubicBezTo>
                  <a:cubicBezTo>
                    <a:pt x="201" y="500"/>
                    <a:pt x="200" y="497"/>
                    <a:pt x="200" y="497"/>
                  </a:cubicBezTo>
                  <a:cubicBezTo>
                    <a:pt x="166" y="487"/>
                    <a:pt x="201" y="445"/>
                    <a:pt x="201" y="445"/>
                  </a:cubicBezTo>
                  <a:cubicBezTo>
                    <a:pt x="188" y="434"/>
                    <a:pt x="201" y="425"/>
                    <a:pt x="201" y="425"/>
                  </a:cubicBezTo>
                  <a:cubicBezTo>
                    <a:pt x="201" y="425"/>
                    <a:pt x="253" y="379"/>
                    <a:pt x="253" y="376"/>
                  </a:cubicBezTo>
                  <a:cubicBezTo>
                    <a:pt x="261" y="375"/>
                    <a:pt x="271" y="367"/>
                    <a:pt x="257" y="358"/>
                  </a:cubicBezTo>
                  <a:cubicBezTo>
                    <a:pt x="276" y="339"/>
                    <a:pt x="259" y="323"/>
                    <a:pt x="259" y="323"/>
                  </a:cubicBezTo>
                  <a:cubicBezTo>
                    <a:pt x="272" y="305"/>
                    <a:pt x="272" y="305"/>
                    <a:pt x="272" y="305"/>
                  </a:cubicBezTo>
                  <a:cubicBezTo>
                    <a:pt x="302" y="298"/>
                    <a:pt x="302" y="298"/>
                    <a:pt x="302" y="298"/>
                  </a:cubicBezTo>
                  <a:cubicBezTo>
                    <a:pt x="312" y="288"/>
                    <a:pt x="312" y="288"/>
                    <a:pt x="312" y="288"/>
                  </a:cubicBezTo>
                  <a:cubicBezTo>
                    <a:pt x="315" y="277"/>
                    <a:pt x="315" y="277"/>
                    <a:pt x="315" y="277"/>
                  </a:cubicBezTo>
                  <a:cubicBezTo>
                    <a:pt x="315" y="277"/>
                    <a:pt x="368" y="222"/>
                    <a:pt x="370" y="218"/>
                  </a:cubicBezTo>
                  <a:cubicBezTo>
                    <a:pt x="365" y="210"/>
                    <a:pt x="376" y="203"/>
                    <a:pt x="375" y="202"/>
                  </a:cubicBezTo>
                  <a:cubicBezTo>
                    <a:pt x="374" y="202"/>
                    <a:pt x="374" y="202"/>
                    <a:pt x="373" y="202"/>
                  </a:cubicBezTo>
                  <a:cubicBezTo>
                    <a:pt x="374" y="202"/>
                    <a:pt x="374" y="202"/>
                    <a:pt x="375" y="202"/>
                  </a:cubicBezTo>
                  <a:cubicBezTo>
                    <a:pt x="403" y="203"/>
                    <a:pt x="386" y="180"/>
                    <a:pt x="386" y="180"/>
                  </a:cubicBezTo>
                  <a:cubicBezTo>
                    <a:pt x="354" y="184"/>
                    <a:pt x="354" y="184"/>
                    <a:pt x="354" y="184"/>
                  </a:cubicBezTo>
                  <a:cubicBezTo>
                    <a:pt x="364" y="161"/>
                    <a:pt x="364" y="161"/>
                    <a:pt x="364" y="161"/>
                  </a:cubicBezTo>
                  <a:cubicBezTo>
                    <a:pt x="380" y="152"/>
                    <a:pt x="380" y="152"/>
                    <a:pt x="380" y="152"/>
                  </a:cubicBezTo>
                  <a:cubicBezTo>
                    <a:pt x="378" y="139"/>
                    <a:pt x="378" y="139"/>
                    <a:pt x="378" y="139"/>
                  </a:cubicBezTo>
                  <a:cubicBezTo>
                    <a:pt x="378" y="139"/>
                    <a:pt x="387" y="141"/>
                    <a:pt x="396" y="143"/>
                  </a:cubicBezTo>
                  <a:cubicBezTo>
                    <a:pt x="391" y="123"/>
                    <a:pt x="375" y="124"/>
                    <a:pt x="373" y="118"/>
                  </a:cubicBezTo>
                  <a:cubicBezTo>
                    <a:pt x="382" y="61"/>
                    <a:pt x="334" y="64"/>
                    <a:pt x="334" y="64"/>
                  </a:cubicBezTo>
                  <a:cubicBezTo>
                    <a:pt x="330" y="53"/>
                    <a:pt x="330" y="53"/>
                    <a:pt x="330" y="53"/>
                  </a:cubicBezTo>
                  <a:cubicBezTo>
                    <a:pt x="325" y="54"/>
                    <a:pt x="318" y="45"/>
                    <a:pt x="318" y="45"/>
                  </a:cubicBezTo>
                  <a:cubicBezTo>
                    <a:pt x="285" y="32"/>
                    <a:pt x="285" y="32"/>
                    <a:pt x="285" y="32"/>
                  </a:cubicBezTo>
                  <a:cubicBezTo>
                    <a:pt x="276" y="20"/>
                    <a:pt x="276" y="20"/>
                    <a:pt x="276" y="20"/>
                  </a:cubicBezTo>
                  <a:cubicBezTo>
                    <a:pt x="250" y="37"/>
                    <a:pt x="250" y="37"/>
                    <a:pt x="250" y="37"/>
                  </a:cubicBezTo>
                  <a:cubicBezTo>
                    <a:pt x="250" y="37"/>
                    <a:pt x="245" y="30"/>
                    <a:pt x="241" y="20"/>
                  </a:cubicBezTo>
                  <a:cubicBezTo>
                    <a:pt x="237" y="9"/>
                    <a:pt x="189" y="26"/>
                    <a:pt x="189" y="26"/>
                  </a:cubicBezTo>
                  <a:cubicBezTo>
                    <a:pt x="190" y="17"/>
                    <a:pt x="190" y="17"/>
                    <a:pt x="190" y="17"/>
                  </a:cubicBezTo>
                  <a:cubicBezTo>
                    <a:pt x="177" y="16"/>
                    <a:pt x="177" y="16"/>
                    <a:pt x="177" y="16"/>
                  </a:cubicBezTo>
                  <a:cubicBezTo>
                    <a:pt x="178" y="0"/>
                    <a:pt x="178" y="0"/>
                    <a:pt x="178" y="0"/>
                  </a:cubicBezTo>
                  <a:cubicBezTo>
                    <a:pt x="153" y="6"/>
                    <a:pt x="153" y="6"/>
                    <a:pt x="153" y="6"/>
                  </a:cubicBezTo>
                  <a:cubicBezTo>
                    <a:pt x="148" y="20"/>
                    <a:pt x="148" y="20"/>
                    <a:pt x="148" y="20"/>
                  </a:cubicBezTo>
                  <a:cubicBezTo>
                    <a:pt x="134" y="26"/>
                    <a:pt x="134" y="26"/>
                    <a:pt x="134" y="26"/>
                  </a:cubicBezTo>
                  <a:cubicBezTo>
                    <a:pt x="138" y="17"/>
                    <a:pt x="138" y="17"/>
                    <a:pt x="138" y="17"/>
                  </a:cubicBezTo>
                  <a:cubicBezTo>
                    <a:pt x="128" y="16"/>
                    <a:pt x="128" y="16"/>
                    <a:pt x="128" y="16"/>
                  </a:cubicBezTo>
                  <a:cubicBezTo>
                    <a:pt x="121" y="27"/>
                    <a:pt x="121" y="27"/>
                    <a:pt x="121" y="27"/>
                  </a:cubicBezTo>
                  <a:cubicBezTo>
                    <a:pt x="124" y="36"/>
                    <a:pt x="124" y="36"/>
                    <a:pt x="124" y="36"/>
                  </a:cubicBezTo>
                  <a:cubicBezTo>
                    <a:pt x="116" y="41"/>
                    <a:pt x="116" y="41"/>
                    <a:pt x="116" y="41"/>
                  </a:cubicBezTo>
                  <a:cubicBezTo>
                    <a:pt x="113" y="56"/>
                    <a:pt x="113" y="56"/>
                    <a:pt x="113" y="56"/>
                  </a:cubicBezTo>
                  <a:cubicBezTo>
                    <a:pt x="100" y="54"/>
                    <a:pt x="100" y="54"/>
                    <a:pt x="100" y="54"/>
                  </a:cubicBezTo>
                  <a:cubicBezTo>
                    <a:pt x="93" y="69"/>
                    <a:pt x="93" y="69"/>
                    <a:pt x="93" y="69"/>
                  </a:cubicBezTo>
                  <a:cubicBezTo>
                    <a:pt x="85" y="68"/>
                    <a:pt x="85" y="68"/>
                    <a:pt x="85" y="68"/>
                  </a:cubicBezTo>
                  <a:cubicBezTo>
                    <a:pt x="80" y="78"/>
                    <a:pt x="80" y="78"/>
                    <a:pt x="80" y="78"/>
                  </a:cubicBezTo>
                  <a:cubicBezTo>
                    <a:pt x="90" y="78"/>
                    <a:pt x="90" y="78"/>
                    <a:pt x="90" y="78"/>
                  </a:cubicBezTo>
                  <a:cubicBezTo>
                    <a:pt x="88" y="109"/>
                    <a:pt x="88" y="109"/>
                    <a:pt x="88" y="109"/>
                  </a:cubicBezTo>
                  <a:cubicBezTo>
                    <a:pt x="69" y="114"/>
                    <a:pt x="69" y="114"/>
                    <a:pt x="69" y="114"/>
                  </a:cubicBezTo>
                  <a:cubicBezTo>
                    <a:pt x="57" y="106"/>
                    <a:pt x="57" y="106"/>
                    <a:pt x="57" y="106"/>
                  </a:cubicBezTo>
                  <a:cubicBezTo>
                    <a:pt x="56" y="113"/>
                    <a:pt x="56" y="113"/>
                    <a:pt x="56" y="113"/>
                  </a:cubicBezTo>
                  <a:cubicBezTo>
                    <a:pt x="26" y="112"/>
                    <a:pt x="26" y="112"/>
                    <a:pt x="26" y="112"/>
                  </a:cubicBezTo>
                  <a:cubicBezTo>
                    <a:pt x="26" y="112"/>
                    <a:pt x="24" y="129"/>
                    <a:pt x="21" y="136"/>
                  </a:cubicBezTo>
                  <a:cubicBezTo>
                    <a:pt x="24" y="140"/>
                    <a:pt x="24" y="140"/>
                    <a:pt x="24" y="140"/>
                  </a:cubicBezTo>
                  <a:lnTo>
                    <a:pt x="32" y="13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8" name="Bourgogne" descr="© INSCALE GmbH, 05.05.2010&#10;http://www.presentationload.com/">
              <a:extLst>
                <a:ext uri="{FF2B5EF4-FFF2-40B4-BE49-F238E27FC236}">
                  <a16:creationId xmlns:a16="http://schemas.microsoft.com/office/drawing/2014/main" id="{67CEE325-8000-4C18-B665-933A28B6F9A2}"/>
                </a:ext>
              </a:extLst>
            </p:cNvPr>
            <p:cNvSpPr>
              <a:spLocks/>
            </p:cNvSpPr>
            <p:nvPr/>
          </p:nvSpPr>
          <p:spPr bwMode="gray">
            <a:xfrm>
              <a:off x="1885" y="1086"/>
              <a:ext cx="625" cy="772"/>
            </a:xfrm>
            <a:custGeom>
              <a:avLst/>
              <a:gdLst/>
              <a:ahLst/>
              <a:cxnLst>
                <a:cxn ang="0">
                  <a:pos x="43" y="156"/>
                </a:cxn>
                <a:cxn ang="0">
                  <a:pos x="36" y="170"/>
                </a:cxn>
                <a:cxn ang="0">
                  <a:pos x="0" y="220"/>
                </a:cxn>
                <a:cxn ang="0">
                  <a:pos x="19" y="253"/>
                </a:cxn>
                <a:cxn ang="0">
                  <a:pos x="20" y="309"/>
                </a:cxn>
                <a:cxn ang="0">
                  <a:pos x="40" y="429"/>
                </a:cxn>
                <a:cxn ang="0">
                  <a:pos x="43" y="512"/>
                </a:cxn>
                <a:cxn ang="0">
                  <a:pos x="111" y="545"/>
                </a:cxn>
                <a:cxn ang="0">
                  <a:pos x="138" y="558"/>
                </a:cxn>
                <a:cxn ang="0">
                  <a:pos x="164" y="521"/>
                </a:cxn>
                <a:cxn ang="0">
                  <a:pos x="219" y="597"/>
                </a:cxn>
                <a:cxn ang="0">
                  <a:pos x="255" y="658"/>
                </a:cxn>
                <a:cxn ang="0">
                  <a:pos x="235" y="669"/>
                </a:cxn>
                <a:cxn ang="0">
                  <a:pos x="256" y="710"/>
                </a:cxn>
                <a:cxn ang="0">
                  <a:pos x="304" y="703"/>
                </a:cxn>
                <a:cxn ang="0">
                  <a:pos x="319" y="714"/>
                </a:cxn>
                <a:cxn ang="0">
                  <a:pos x="346" y="666"/>
                </a:cxn>
                <a:cxn ang="0">
                  <a:pos x="382" y="666"/>
                </a:cxn>
                <a:cxn ang="0">
                  <a:pos x="411" y="678"/>
                </a:cxn>
                <a:cxn ang="0">
                  <a:pos x="431" y="704"/>
                </a:cxn>
                <a:cxn ang="0">
                  <a:pos x="520" y="594"/>
                </a:cxn>
                <a:cxn ang="0">
                  <a:pos x="547" y="608"/>
                </a:cxn>
                <a:cxn ang="0">
                  <a:pos x="563" y="569"/>
                </a:cxn>
                <a:cxn ang="0">
                  <a:pos x="551" y="526"/>
                </a:cxn>
                <a:cxn ang="0">
                  <a:pos x="572" y="484"/>
                </a:cxn>
                <a:cxn ang="0">
                  <a:pos x="526" y="456"/>
                </a:cxn>
                <a:cxn ang="0">
                  <a:pos x="539" y="416"/>
                </a:cxn>
                <a:cxn ang="0">
                  <a:pos x="575" y="312"/>
                </a:cxn>
                <a:cxn ang="0">
                  <a:pos x="543" y="290"/>
                </a:cxn>
                <a:cxn ang="0">
                  <a:pos x="558" y="236"/>
                </a:cxn>
                <a:cxn ang="0">
                  <a:pos x="544" y="244"/>
                </a:cxn>
                <a:cxn ang="0">
                  <a:pos x="518" y="240"/>
                </a:cxn>
                <a:cxn ang="0">
                  <a:pos x="488" y="226"/>
                </a:cxn>
                <a:cxn ang="0">
                  <a:pos x="455" y="194"/>
                </a:cxn>
                <a:cxn ang="0">
                  <a:pos x="456" y="173"/>
                </a:cxn>
                <a:cxn ang="0">
                  <a:pos x="426" y="146"/>
                </a:cxn>
                <a:cxn ang="0">
                  <a:pos x="414" y="133"/>
                </a:cxn>
                <a:cxn ang="0">
                  <a:pos x="311" y="136"/>
                </a:cxn>
                <a:cxn ang="0">
                  <a:pos x="296" y="132"/>
                </a:cxn>
                <a:cxn ang="0">
                  <a:pos x="283" y="137"/>
                </a:cxn>
                <a:cxn ang="0">
                  <a:pos x="256" y="146"/>
                </a:cxn>
                <a:cxn ang="0">
                  <a:pos x="208" y="109"/>
                </a:cxn>
                <a:cxn ang="0">
                  <a:pos x="182" y="69"/>
                </a:cxn>
                <a:cxn ang="0">
                  <a:pos x="167" y="66"/>
                </a:cxn>
                <a:cxn ang="0">
                  <a:pos x="155" y="33"/>
                </a:cxn>
                <a:cxn ang="0">
                  <a:pos x="118" y="0"/>
                </a:cxn>
                <a:cxn ang="0">
                  <a:pos x="36" y="28"/>
                </a:cxn>
                <a:cxn ang="0">
                  <a:pos x="39" y="84"/>
                </a:cxn>
              </a:cxnLst>
              <a:rect l="0" t="0" r="r" b="b"/>
              <a:pathLst>
                <a:path w="580" h="715">
                  <a:moveTo>
                    <a:pt x="58" y="114"/>
                  </a:moveTo>
                  <a:cubicBezTo>
                    <a:pt x="59" y="133"/>
                    <a:pt x="59" y="133"/>
                    <a:pt x="59" y="133"/>
                  </a:cubicBezTo>
                  <a:cubicBezTo>
                    <a:pt x="43" y="156"/>
                    <a:pt x="43" y="156"/>
                    <a:pt x="43" y="156"/>
                  </a:cubicBezTo>
                  <a:cubicBezTo>
                    <a:pt x="34" y="157"/>
                    <a:pt x="34" y="157"/>
                    <a:pt x="34" y="157"/>
                  </a:cubicBezTo>
                  <a:cubicBezTo>
                    <a:pt x="31" y="170"/>
                    <a:pt x="31" y="170"/>
                    <a:pt x="31" y="170"/>
                  </a:cubicBezTo>
                  <a:cubicBezTo>
                    <a:pt x="36" y="170"/>
                    <a:pt x="36" y="170"/>
                    <a:pt x="36" y="170"/>
                  </a:cubicBezTo>
                  <a:cubicBezTo>
                    <a:pt x="36" y="194"/>
                    <a:pt x="36" y="194"/>
                    <a:pt x="36" y="194"/>
                  </a:cubicBezTo>
                  <a:cubicBezTo>
                    <a:pt x="2" y="204"/>
                    <a:pt x="2" y="204"/>
                    <a:pt x="2" y="204"/>
                  </a:cubicBezTo>
                  <a:cubicBezTo>
                    <a:pt x="0" y="220"/>
                    <a:pt x="0" y="220"/>
                    <a:pt x="0" y="220"/>
                  </a:cubicBezTo>
                  <a:cubicBezTo>
                    <a:pt x="10" y="218"/>
                    <a:pt x="10" y="218"/>
                    <a:pt x="10" y="218"/>
                  </a:cubicBezTo>
                  <a:cubicBezTo>
                    <a:pt x="23" y="240"/>
                    <a:pt x="23" y="240"/>
                    <a:pt x="23" y="240"/>
                  </a:cubicBezTo>
                  <a:cubicBezTo>
                    <a:pt x="19" y="253"/>
                    <a:pt x="19" y="253"/>
                    <a:pt x="19" y="253"/>
                  </a:cubicBezTo>
                  <a:cubicBezTo>
                    <a:pt x="27" y="265"/>
                    <a:pt x="27" y="265"/>
                    <a:pt x="27" y="265"/>
                  </a:cubicBezTo>
                  <a:cubicBezTo>
                    <a:pt x="4" y="270"/>
                    <a:pt x="4" y="270"/>
                    <a:pt x="4" y="270"/>
                  </a:cubicBezTo>
                  <a:cubicBezTo>
                    <a:pt x="20" y="309"/>
                    <a:pt x="20" y="309"/>
                    <a:pt x="20" y="309"/>
                  </a:cubicBezTo>
                  <a:cubicBezTo>
                    <a:pt x="6" y="344"/>
                    <a:pt x="6" y="344"/>
                    <a:pt x="6" y="344"/>
                  </a:cubicBezTo>
                  <a:cubicBezTo>
                    <a:pt x="31" y="365"/>
                    <a:pt x="31" y="365"/>
                    <a:pt x="31" y="365"/>
                  </a:cubicBezTo>
                  <a:cubicBezTo>
                    <a:pt x="31" y="365"/>
                    <a:pt x="40" y="385"/>
                    <a:pt x="40" y="429"/>
                  </a:cubicBezTo>
                  <a:cubicBezTo>
                    <a:pt x="50" y="437"/>
                    <a:pt x="50" y="437"/>
                    <a:pt x="50" y="437"/>
                  </a:cubicBezTo>
                  <a:cubicBezTo>
                    <a:pt x="50" y="437"/>
                    <a:pt x="51" y="469"/>
                    <a:pt x="46" y="474"/>
                  </a:cubicBezTo>
                  <a:cubicBezTo>
                    <a:pt x="40" y="480"/>
                    <a:pt x="56" y="497"/>
                    <a:pt x="43" y="512"/>
                  </a:cubicBezTo>
                  <a:cubicBezTo>
                    <a:pt x="47" y="514"/>
                    <a:pt x="67" y="546"/>
                    <a:pt x="76" y="548"/>
                  </a:cubicBezTo>
                  <a:cubicBezTo>
                    <a:pt x="86" y="549"/>
                    <a:pt x="91" y="538"/>
                    <a:pt x="95" y="538"/>
                  </a:cubicBezTo>
                  <a:cubicBezTo>
                    <a:pt x="99" y="538"/>
                    <a:pt x="107" y="545"/>
                    <a:pt x="111" y="545"/>
                  </a:cubicBezTo>
                  <a:cubicBezTo>
                    <a:pt x="115" y="545"/>
                    <a:pt x="126" y="537"/>
                    <a:pt x="126" y="537"/>
                  </a:cubicBezTo>
                  <a:cubicBezTo>
                    <a:pt x="138" y="544"/>
                    <a:pt x="138" y="544"/>
                    <a:pt x="138" y="544"/>
                  </a:cubicBezTo>
                  <a:cubicBezTo>
                    <a:pt x="138" y="558"/>
                    <a:pt x="138" y="558"/>
                    <a:pt x="138" y="558"/>
                  </a:cubicBezTo>
                  <a:cubicBezTo>
                    <a:pt x="150" y="544"/>
                    <a:pt x="150" y="544"/>
                    <a:pt x="150" y="544"/>
                  </a:cubicBezTo>
                  <a:cubicBezTo>
                    <a:pt x="159" y="545"/>
                    <a:pt x="159" y="545"/>
                    <a:pt x="159" y="545"/>
                  </a:cubicBezTo>
                  <a:cubicBezTo>
                    <a:pt x="159" y="545"/>
                    <a:pt x="160" y="517"/>
                    <a:pt x="164" y="521"/>
                  </a:cubicBezTo>
                  <a:cubicBezTo>
                    <a:pt x="168" y="525"/>
                    <a:pt x="198" y="576"/>
                    <a:pt x="198" y="576"/>
                  </a:cubicBezTo>
                  <a:cubicBezTo>
                    <a:pt x="202" y="594"/>
                    <a:pt x="202" y="594"/>
                    <a:pt x="202" y="594"/>
                  </a:cubicBezTo>
                  <a:cubicBezTo>
                    <a:pt x="219" y="597"/>
                    <a:pt x="219" y="597"/>
                    <a:pt x="219" y="597"/>
                  </a:cubicBezTo>
                  <a:cubicBezTo>
                    <a:pt x="230" y="610"/>
                    <a:pt x="230" y="610"/>
                    <a:pt x="230" y="610"/>
                  </a:cubicBezTo>
                  <a:cubicBezTo>
                    <a:pt x="230" y="610"/>
                    <a:pt x="258" y="600"/>
                    <a:pt x="256" y="614"/>
                  </a:cubicBezTo>
                  <a:cubicBezTo>
                    <a:pt x="255" y="629"/>
                    <a:pt x="255" y="658"/>
                    <a:pt x="255" y="658"/>
                  </a:cubicBezTo>
                  <a:cubicBezTo>
                    <a:pt x="248" y="658"/>
                    <a:pt x="248" y="658"/>
                    <a:pt x="248" y="658"/>
                  </a:cubicBezTo>
                  <a:cubicBezTo>
                    <a:pt x="243" y="672"/>
                    <a:pt x="243" y="672"/>
                    <a:pt x="243" y="672"/>
                  </a:cubicBezTo>
                  <a:cubicBezTo>
                    <a:pt x="235" y="669"/>
                    <a:pt x="235" y="669"/>
                    <a:pt x="235" y="669"/>
                  </a:cubicBezTo>
                  <a:cubicBezTo>
                    <a:pt x="236" y="697"/>
                    <a:pt x="236" y="697"/>
                    <a:pt x="236" y="697"/>
                  </a:cubicBezTo>
                  <a:cubicBezTo>
                    <a:pt x="250" y="697"/>
                    <a:pt x="250" y="697"/>
                    <a:pt x="250" y="697"/>
                  </a:cubicBezTo>
                  <a:cubicBezTo>
                    <a:pt x="256" y="710"/>
                    <a:pt x="256" y="710"/>
                    <a:pt x="256" y="710"/>
                  </a:cubicBezTo>
                  <a:cubicBezTo>
                    <a:pt x="280" y="704"/>
                    <a:pt x="280" y="704"/>
                    <a:pt x="280" y="704"/>
                  </a:cubicBezTo>
                  <a:cubicBezTo>
                    <a:pt x="280" y="704"/>
                    <a:pt x="280" y="705"/>
                    <a:pt x="295" y="706"/>
                  </a:cubicBezTo>
                  <a:cubicBezTo>
                    <a:pt x="305" y="707"/>
                    <a:pt x="305" y="705"/>
                    <a:pt x="304" y="703"/>
                  </a:cubicBezTo>
                  <a:cubicBezTo>
                    <a:pt x="303" y="702"/>
                    <a:pt x="303" y="701"/>
                    <a:pt x="303" y="701"/>
                  </a:cubicBezTo>
                  <a:cubicBezTo>
                    <a:pt x="303" y="701"/>
                    <a:pt x="304" y="702"/>
                    <a:pt x="304" y="703"/>
                  </a:cubicBezTo>
                  <a:cubicBezTo>
                    <a:pt x="307" y="707"/>
                    <a:pt x="314" y="715"/>
                    <a:pt x="319" y="714"/>
                  </a:cubicBezTo>
                  <a:cubicBezTo>
                    <a:pt x="326" y="713"/>
                    <a:pt x="320" y="706"/>
                    <a:pt x="326" y="706"/>
                  </a:cubicBezTo>
                  <a:cubicBezTo>
                    <a:pt x="331" y="706"/>
                    <a:pt x="342" y="705"/>
                    <a:pt x="342" y="705"/>
                  </a:cubicBezTo>
                  <a:cubicBezTo>
                    <a:pt x="346" y="666"/>
                    <a:pt x="346" y="666"/>
                    <a:pt x="346" y="666"/>
                  </a:cubicBezTo>
                  <a:cubicBezTo>
                    <a:pt x="358" y="665"/>
                    <a:pt x="358" y="665"/>
                    <a:pt x="358" y="665"/>
                  </a:cubicBezTo>
                  <a:cubicBezTo>
                    <a:pt x="367" y="678"/>
                    <a:pt x="367" y="678"/>
                    <a:pt x="367" y="678"/>
                  </a:cubicBezTo>
                  <a:cubicBezTo>
                    <a:pt x="382" y="666"/>
                    <a:pt x="382" y="666"/>
                    <a:pt x="382" y="666"/>
                  </a:cubicBezTo>
                  <a:cubicBezTo>
                    <a:pt x="382" y="666"/>
                    <a:pt x="382" y="676"/>
                    <a:pt x="387" y="676"/>
                  </a:cubicBezTo>
                  <a:cubicBezTo>
                    <a:pt x="392" y="676"/>
                    <a:pt x="391" y="660"/>
                    <a:pt x="402" y="664"/>
                  </a:cubicBezTo>
                  <a:cubicBezTo>
                    <a:pt x="412" y="668"/>
                    <a:pt x="411" y="678"/>
                    <a:pt x="411" y="678"/>
                  </a:cubicBezTo>
                  <a:cubicBezTo>
                    <a:pt x="419" y="686"/>
                    <a:pt x="419" y="686"/>
                    <a:pt x="419" y="686"/>
                  </a:cubicBezTo>
                  <a:cubicBezTo>
                    <a:pt x="420" y="702"/>
                    <a:pt x="420" y="702"/>
                    <a:pt x="420" y="702"/>
                  </a:cubicBezTo>
                  <a:cubicBezTo>
                    <a:pt x="431" y="704"/>
                    <a:pt x="431" y="704"/>
                    <a:pt x="431" y="704"/>
                  </a:cubicBezTo>
                  <a:cubicBezTo>
                    <a:pt x="459" y="596"/>
                    <a:pt x="459" y="596"/>
                    <a:pt x="459" y="596"/>
                  </a:cubicBezTo>
                  <a:cubicBezTo>
                    <a:pt x="459" y="596"/>
                    <a:pt x="476" y="602"/>
                    <a:pt x="490" y="602"/>
                  </a:cubicBezTo>
                  <a:cubicBezTo>
                    <a:pt x="503" y="602"/>
                    <a:pt x="518" y="589"/>
                    <a:pt x="520" y="594"/>
                  </a:cubicBezTo>
                  <a:cubicBezTo>
                    <a:pt x="523" y="600"/>
                    <a:pt x="524" y="612"/>
                    <a:pt x="528" y="612"/>
                  </a:cubicBezTo>
                  <a:cubicBezTo>
                    <a:pt x="530" y="612"/>
                    <a:pt x="538" y="613"/>
                    <a:pt x="546" y="614"/>
                  </a:cubicBezTo>
                  <a:cubicBezTo>
                    <a:pt x="547" y="608"/>
                    <a:pt x="547" y="608"/>
                    <a:pt x="547" y="608"/>
                  </a:cubicBezTo>
                  <a:cubicBezTo>
                    <a:pt x="566" y="602"/>
                    <a:pt x="566" y="602"/>
                    <a:pt x="566" y="602"/>
                  </a:cubicBezTo>
                  <a:cubicBezTo>
                    <a:pt x="566" y="602"/>
                    <a:pt x="570" y="596"/>
                    <a:pt x="567" y="594"/>
                  </a:cubicBezTo>
                  <a:cubicBezTo>
                    <a:pt x="542" y="588"/>
                    <a:pt x="563" y="569"/>
                    <a:pt x="563" y="569"/>
                  </a:cubicBezTo>
                  <a:cubicBezTo>
                    <a:pt x="563" y="569"/>
                    <a:pt x="566" y="549"/>
                    <a:pt x="571" y="549"/>
                  </a:cubicBezTo>
                  <a:cubicBezTo>
                    <a:pt x="554" y="540"/>
                    <a:pt x="562" y="522"/>
                    <a:pt x="562" y="522"/>
                  </a:cubicBezTo>
                  <a:cubicBezTo>
                    <a:pt x="551" y="526"/>
                    <a:pt x="551" y="526"/>
                    <a:pt x="551" y="526"/>
                  </a:cubicBezTo>
                  <a:cubicBezTo>
                    <a:pt x="551" y="506"/>
                    <a:pt x="551" y="506"/>
                    <a:pt x="551" y="506"/>
                  </a:cubicBezTo>
                  <a:cubicBezTo>
                    <a:pt x="539" y="496"/>
                    <a:pt x="539" y="496"/>
                    <a:pt x="539" y="496"/>
                  </a:cubicBezTo>
                  <a:cubicBezTo>
                    <a:pt x="572" y="484"/>
                    <a:pt x="572" y="484"/>
                    <a:pt x="572" y="484"/>
                  </a:cubicBezTo>
                  <a:cubicBezTo>
                    <a:pt x="556" y="472"/>
                    <a:pt x="544" y="468"/>
                    <a:pt x="544" y="468"/>
                  </a:cubicBezTo>
                  <a:cubicBezTo>
                    <a:pt x="540" y="457"/>
                    <a:pt x="540" y="457"/>
                    <a:pt x="540" y="457"/>
                  </a:cubicBezTo>
                  <a:cubicBezTo>
                    <a:pt x="526" y="456"/>
                    <a:pt x="526" y="456"/>
                    <a:pt x="526" y="456"/>
                  </a:cubicBezTo>
                  <a:cubicBezTo>
                    <a:pt x="526" y="444"/>
                    <a:pt x="538" y="430"/>
                    <a:pt x="538" y="430"/>
                  </a:cubicBezTo>
                  <a:cubicBezTo>
                    <a:pt x="531" y="429"/>
                    <a:pt x="531" y="429"/>
                    <a:pt x="531" y="429"/>
                  </a:cubicBezTo>
                  <a:cubicBezTo>
                    <a:pt x="531" y="429"/>
                    <a:pt x="536" y="420"/>
                    <a:pt x="539" y="416"/>
                  </a:cubicBezTo>
                  <a:cubicBezTo>
                    <a:pt x="560" y="405"/>
                    <a:pt x="580" y="340"/>
                    <a:pt x="580" y="340"/>
                  </a:cubicBezTo>
                  <a:cubicBezTo>
                    <a:pt x="572" y="332"/>
                    <a:pt x="572" y="332"/>
                    <a:pt x="572" y="332"/>
                  </a:cubicBezTo>
                  <a:cubicBezTo>
                    <a:pt x="575" y="312"/>
                    <a:pt x="575" y="312"/>
                    <a:pt x="575" y="312"/>
                  </a:cubicBezTo>
                  <a:cubicBezTo>
                    <a:pt x="556" y="316"/>
                    <a:pt x="556" y="316"/>
                    <a:pt x="556" y="316"/>
                  </a:cubicBezTo>
                  <a:cubicBezTo>
                    <a:pt x="556" y="294"/>
                    <a:pt x="556" y="294"/>
                    <a:pt x="556" y="294"/>
                  </a:cubicBezTo>
                  <a:cubicBezTo>
                    <a:pt x="556" y="294"/>
                    <a:pt x="535" y="290"/>
                    <a:pt x="543" y="290"/>
                  </a:cubicBezTo>
                  <a:cubicBezTo>
                    <a:pt x="551" y="290"/>
                    <a:pt x="539" y="280"/>
                    <a:pt x="555" y="280"/>
                  </a:cubicBezTo>
                  <a:cubicBezTo>
                    <a:pt x="571" y="280"/>
                    <a:pt x="566" y="240"/>
                    <a:pt x="566" y="240"/>
                  </a:cubicBezTo>
                  <a:cubicBezTo>
                    <a:pt x="558" y="236"/>
                    <a:pt x="558" y="236"/>
                    <a:pt x="558" y="236"/>
                  </a:cubicBezTo>
                  <a:cubicBezTo>
                    <a:pt x="550" y="244"/>
                    <a:pt x="550" y="244"/>
                    <a:pt x="550" y="244"/>
                  </a:cubicBezTo>
                  <a:cubicBezTo>
                    <a:pt x="547" y="240"/>
                    <a:pt x="547" y="240"/>
                    <a:pt x="547" y="240"/>
                  </a:cubicBezTo>
                  <a:cubicBezTo>
                    <a:pt x="546" y="242"/>
                    <a:pt x="545" y="244"/>
                    <a:pt x="544" y="244"/>
                  </a:cubicBezTo>
                  <a:cubicBezTo>
                    <a:pt x="540" y="244"/>
                    <a:pt x="535" y="241"/>
                    <a:pt x="535" y="241"/>
                  </a:cubicBezTo>
                  <a:cubicBezTo>
                    <a:pt x="518" y="253"/>
                    <a:pt x="518" y="253"/>
                    <a:pt x="518" y="253"/>
                  </a:cubicBezTo>
                  <a:cubicBezTo>
                    <a:pt x="518" y="240"/>
                    <a:pt x="518" y="240"/>
                    <a:pt x="518" y="240"/>
                  </a:cubicBezTo>
                  <a:cubicBezTo>
                    <a:pt x="502" y="232"/>
                    <a:pt x="502" y="232"/>
                    <a:pt x="502" y="232"/>
                  </a:cubicBezTo>
                  <a:cubicBezTo>
                    <a:pt x="502" y="222"/>
                    <a:pt x="502" y="222"/>
                    <a:pt x="502" y="222"/>
                  </a:cubicBezTo>
                  <a:cubicBezTo>
                    <a:pt x="502" y="222"/>
                    <a:pt x="498" y="226"/>
                    <a:pt x="488" y="226"/>
                  </a:cubicBezTo>
                  <a:cubicBezTo>
                    <a:pt x="479" y="226"/>
                    <a:pt x="467" y="212"/>
                    <a:pt x="467" y="212"/>
                  </a:cubicBezTo>
                  <a:cubicBezTo>
                    <a:pt x="455" y="217"/>
                    <a:pt x="455" y="217"/>
                    <a:pt x="455" y="217"/>
                  </a:cubicBezTo>
                  <a:cubicBezTo>
                    <a:pt x="455" y="194"/>
                    <a:pt x="455" y="194"/>
                    <a:pt x="455" y="194"/>
                  </a:cubicBezTo>
                  <a:cubicBezTo>
                    <a:pt x="446" y="192"/>
                    <a:pt x="446" y="192"/>
                    <a:pt x="446" y="192"/>
                  </a:cubicBezTo>
                  <a:cubicBezTo>
                    <a:pt x="446" y="191"/>
                    <a:pt x="446" y="191"/>
                    <a:pt x="446" y="191"/>
                  </a:cubicBezTo>
                  <a:cubicBezTo>
                    <a:pt x="456" y="173"/>
                    <a:pt x="456" y="173"/>
                    <a:pt x="456" y="173"/>
                  </a:cubicBezTo>
                  <a:cubicBezTo>
                    <a:pt x="450" y="165"/>
                    <a:pt x="439" y="144"/>
                    <a:pt x="439" y="144"/>
                  </a:cubicBezTo>
                  <a:cubicBezTo>
                    <a:pt x="432" y="150"/>
                    <a:pt x="432" y="150"/>
                    <a:pt x="432" y="150"/>
                  </a:cubicBezTo>
                  <a:cubicBezTo>
                    <a:pt x="426" y="146"/>
                    <a:pt x="426" y="146"/>
                    <a:pt x="426" y="146"/>
                  </a:cubicBezTo>
                  <a:cubicBezTo>
                    <a:pt x="432" y="138"/>
                    <a:pt x="432" y="138"/>
                    <a:pt x="432" y="138"/>
                  </a:cubicBezTo>
                  <a:cubicBezTo>
                    <a:pt x="427" y="133"/>
                    <a:pt x="427" y="133"/>
                    <a:pt x="427" y="133"/>
                  </a:cubicBezTo>
                  <a:cubicBezTo>
                    <a:pt x="414" y="133"/>
                    <a:pt x="414" y="133"/>
                    <a:pt x="414" y="133"/>
                  </a:cubicBezTo>
                  <a:cubicBezTo>
                    <a:pt x="414" y="133"/>
                    <a:pt x="414" y="133"/>
                    <a:pt x="415" y="116"/>
                  </a:cubicBezTo>
                  <a:cubicBezTo>
                    <a:pt x="334" y="100"/>
                    <a:pt x="366" y="134"/>
                    <a:pt x="366" y="134"/>
                  </a:cubicBezTo>
                  <a:cubicBezTo>
                    <a:pt x="311" y="136"/>
                    <a:pt x="311" y="136"/>
                    <a:pt x="311" y="136"/>
                  </a:cubicBezTo>
                  <a:cubicBezTo>
                    <a:pt x="311" y="148"/>
                    <a:pt x="311" y="148"/>
                    <a:pt x="311" y="148"/>
                  </a:cubicBezTo>
                  <a:cubicBezTo>
                    <a:pt x="302" y="145"/>
                    <a:pt x="302" y="145"/>
                    <a:pt x="302" y="145"/>
                  </a:cubicBezTo>
                  <a:cubicBezTo>
                    <a:pt x="296" y="132"/>
                    <a:pt x="296" y="132"/>
                    <a:pt x="296" y="132"/>
                  </a:cubicBezTo>
                  <a:cubicBezTo>
                    <a:pt x="287" y="132"/>
                    <a:pt x="287" y="132"/>
                    <a:pt x="287" y="132"/>
                  </a:cubicBezTo>
                  <a:cubicBezTo>
                    <a:pt x="290" y="141"/>
                    <a:pt x="290" y="141"/>
                    <a:pt x="290" y="141"/>
                  </a:cubicBezTo>
                  <a:cubicBezTo>
                    <a:pt x="283" y="137"/>
                    <a:pt x="283" y="137"/>
                    <a:pt x="283" y="137"/>
                  </a:cubicBezTo>
                  <a:cubicBezTo>
                    <a:pt x="270" y="148"/>
                    <a:pt x="270" y="148"/>
                    <a:pt x="270" y="148"/>
                  </a:cubicBezTo>
                  <a:cubicBezTo>
                    <a:pt x="258" y="141"/>
                    <a:pt x="258" y="141"/>
                    <a:pt x="258" y="141"/>
                  </a:cubicBezTo>
                  <a:cubicBezTo>
                    <a:pt x="256" y="146"/>
                    <a:pt x="256" y="146"/>
                    <a:pt x="256" y="146"/>
                  </a:cubicBezTo>
                  <a:cubicBezTo>
                    <a:pt x="222" y="145"/>
                    <a:pt x="222" y="145"/>
                    <a:pt x="222" y="145"/>
                  </a:cubicBezTo>
                  <a:cubicBezTo>
                    <a:pt x="222" y="145"/>
                    <a:pt x="226" y="128"/>
                    <a:pt x="226" y="125"/>
                  </a:cubicBezTo>
                  <a:cubicBezTo>
                    <a:pt x="216" y="133"/>
                    <a:pt x="218" y="129"/>
                    <a:pt x="208" y="109"/>
                  </a:cubicBezTo>
                  <a:cubicBezTo>
                    <a:pt x="199" y="89"/>
                    <a:pt x="190" y="81"/>
                    <a:pt x="190" y="81"/>
                  </a:cubicBezTo>
                  <a:cubicBezTo>
                    <a:pt x="190" y="70"/>
                    <a:pt x="190" y="70"/>
                    <a:pt x="190" y="70"/>
                  </a:cubicBezTo>
                  <a:cubicBezTo>
                    <a:pt x="182" y="69"/>
                    <a:pt x="182" y="69"/>
                    <a:pt x="182" y="69"/>
                  </a:cubicBezTo>
                  <a:cubicBezTo>
                    <a:pt x="182" y="78"/>
                    <a:pt x="182" y="78"/>
                    <a:pt x="182" y="78"/>
                  </a:cubicBezTo>
                  <a:cubicBezTo>
                    <a:pt x="176" y="81"/>
                    <a:pt x="176" y="81"/>
                    <a:pt x="176" y="81"/>
                  </a:cubicBezTo>
                  <a:cubicBezTo>
                    <a:pt x="167" y="66"/>
                    <a:pt x="167" y="66"/>
                    <a:pt x="167" y="66"/>
                  </a:cubicBezTo>
                  <a:cubicBezTo>
                    <a:pt x="158" y="69"/>
                    <a:pt x="158" y="69"/>
                    <a:pt x="158" y="69"/>
                  </a:cubicBezTo>
                  <a:cubicBezTo>
                    <a:pt x="167" y="60"/>
                    <a:pt x="159" y="38"/>
                    <a:pt x="159" y="38"/>
                  </a:cubicBezTo>
                  <a:cubicBezTo>
                    <a:pt x="155" y="33"/>
                    <a:pt x="155" y="33"/>
                    <a:pt x="155" y="33"/>
                  </a:cubicBezTo>
                  <a:cubicBezTo>
                    <a:pt x="155" y="18"/>
                    <a:pt x="128" y="8"/>
                    <a:pt x="128" y="8"/>
                  </a:cubicBezTo>
                  <a:cubicBezTo>
                    <a:pt x="122" y="10"/>
                    <a:pt x="122" y="10"/>
                    <a:pt x="122" y="10"/>
                  </a:cubicBezTo>
                  <a:cubicBezTo>
                    <a:pt x="118" y="0"/>
                    <a:pt x="118" y="0"/>
                    <a:pt x="118" y="0"/>
                  </a:cubicBezTo>
                  <a:cubicBezTo>
                    <a:pt x="103" y="8"/>
                    <a:pt x="103" y="8"/>
                    <a:pt x="103" y="8"/>
                  </a:cubicBezTo>
                  <a:cubicBezTo>
                    <a:pt x="44" y="8"/>
                    <a:pt x="44" y="8"/>
                    <a:pt x="44" y="8"/>
                  </a:cubicBezTo>
                  <a:cubicBezTo>
                    <a:pt x="36" y="28"/>
                    <a:pt x="36" y="28"/>
                    <a:pt x="36" y="28"/>
                  </a:cubicBezTo>
                  <a:cubicBezTo>
                    <a:pt x="42" y="44"/>
                    <a:pt x="42" y="44"/>
                    <a:pt x="42" y="44"/>
                  </a:cubicBezTo>
                  <a:cubicBezTo>
                    <a:pt x="42" y="44"/>
                    <a:pt x="28" y="66"/>
                    <a:pt x="20" y="75"/>
                  </a:cubicBezTo>
                  <a:cubicBezTo>
                    <a:pt x="39" y="84"/>
                    <a:pt x="39" y="84"/>
                    <a:pt x="39" y="84"/>
                  </a:cubicBezTo>
                  <a:cubicBezTo>
                    <a:pt x="39" y="84"/>
                    <a:pt x="28" y="104"/>
                    <a:pt x="58" y="114"/>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9" name="Centre" descr="© INSCALE GmbH, 05.05.2010&#10;http://www.presentationload.com/">
              <a:extLst>
                <a:ext uri="{FF2B5EF4-FFF2-40B4-BE49-F238E27FC236}">
                  <a16:creationId xmlns:a16="http://schemas.microsoft.com/office/drawing/2014/main" id="{2F93616E-9714-40DC-8DC4-1824DBEBEE72}"/>
                </a:ext>
              </a:extLst>
            </p:cNvPr>
            <p:cNvSpPr>
              <a:spLocks/>
            </p:cNvSpPr>
            <p:nvPr/>
          </p:nvSpPr>
          <p:spPr bwMode="gray">
            <a:xfrm>
              <a:off x="1233" y="903"/>
              <a:ext cx="716" cy="887"/>
            </a:xfrm>
            <a:custGeom>
              <a:avLst/>
              <a:gdLst/>
              <a:ahLst/>
              <a:cxnLst>
                <a:cxn ang="0">
                  <a:pos x="209" y="158"/>
                </a:cxn>
                <a:cxn ang="0">
                  <a:pos x="173" y="227"/>
                </a:cxn>
                <a:cxn ang="0">
                  <a:pos x="193" y="251"/>
                </a:cxn>
                <a:cxn ang="0">
                  <a:pos x="168" y="275"/>
                </a:cxn>
                <a:cxn ang="0">
                  <a:pos x="179" y="314"/>
                </a:cxn>
                <a:cxn ang="0">
                  <a:pos x="144" y="367"/>
                </a:cxn>
                <a:cxn ang="0">
                  <a:pos x="79" y="406"/>
                </a:cxn>
                <a:cxn ang="0">
                  <a:pos x="43" y="418"/>
                </a:cxn>
                <a:cxn ang="0">
                  <a:pos x="29" y="494"/>
                </a:cxn>
                <a:cxn ang="0">
                  <a:pos x="29" y="594"/>
                </a:cxn>
                <a:cxn ang="0">
                  <a:pos x="56" y="598"/>
                </a:cxn>
                <a:cxn ang="0">
                  <a:pos x="79" y="632"/>
                </a:cxn>
                <a:cxn ang="0">
                  <a:pos x="108" y="611"/>
                </a:cxn>
                <a:cxn ang="0">
                  <a:pos x="185" y="712"/>
                </a:cxn>
                <a:cxn ang="0">
                  <a:pos x="233" y="788"/>
                </a:cxn>
                <a:cxn ang="0">
                  <a:pos x="251" y="820"/>
                </a:cxn>
                <a:cxn ang="0">
                  <a:pos x="287" y="811"/>
                </a:cxn>
                <a:cxn ang="0">
                  <a:pos x="320" y="814"/>
                </a:cxn>
                <a:cxn ang="0">
                  <a:pos x="353" y="806"/>
                </a:cxn>
                <a:cxn ang="0">
                  <a:pos x="404" y="802"/>
                </a:cxn>
                <a:cxn ang="0">
                  <a:pos x="539" y="771"/>
                </a:cxn>
                <a:cxn ang="0">
                  <a:pos x="559" y="719"/>
                </a:cxn>
                <a:cxn ang="0">
                  <a:pos x="650" y="684"/>
                </a:cxn>
                <a:cxn ang="0">
                  <a:pos x="655" y="607"/>
                </a:cxn>
                <a:cxn ang="0">
                  <a:pos x="611" y="514"/>
                </a:cxn>
                <a:cxn ang="0">
                  <a:pos x="632" y="435"/>
                </a:cxn>
                <a:cxn ang="0">
                  <a:pos x="615" y="388"/>
                </a:cxn>
                <a:cxn ang="0">
                  <a:pos x="641" y="364"/>
                </a:cxn>
                <a:cxn ang="0">
                  <a:pos x="639" y="327"/>
                </a:cxn>
                <a:cxn ang="0">
                  <a:pos x="663" y="284"/>
                </a:cxn>
                <a:cxn ang="0">
                  <a:pos x="624" y="246"/>
                </a:cxn>
                <a:cxn ang="0">
                  <a:pos x="581" y="247"/>
                </a:cxn>
                <a:cxn ang="0">
                  <a:pos x="520" y="254"/>
                </a:cxn>
                <a:cxn ang="0">
                  <a:pos x="513" y="214"/>
                </a:cxn>
                <a:cxn ang="0">
                  <a:pos x="491" y="194"/>
                </a:cxn>
                <a:cxn ang="0">
                  <a:pos x="468" y="188"/>
                </a:cxn>
                <a:cxn ang="0">
                  <a:pos x="419" y="204"/>
                </a:cxn>
                <a:cxn ang="0">
                  <a:pos x="405" y="154"/>
                </a:cxn>
                <a:cxn ang="0">
                  <a:pos x="364" y="115"/>
                </a:cxn>
                <a:cxn ang="0">
                  <a:pos x="341" y="88"/>
                </a:cxn>
                <a:cxn ang="0">
                  <a:pos x="344" y="59"/>
                </a:cxn>
                <a:cxn ang="0">
                  <a:pos x="331" y="23"/>
                </a:cxn>
                <a:cxn ang="0">
                  <a:pos x="312" y="3"/>
                </a:cxn>
                <a:cxn ang="0">
                  <a:pos x="287" y="51"/>
                </a:cxn>
                <a:cxn ang="0">
                  <a:pos x="225" y="54"/>
                </a:cxn>
                <a:cxn ang="0">
                  <a:pos x="177" y="98"/>
                </a:cxn>
              </a:cxnLst>
              <a:rect l="0" t="0" r="r" b="b"/>
              <a:pathLst>
                <a:path w="664" h="822">
                  <a:moveTo>
                    <a:pt x="205" y="131"/>
                  </a:moveTo>
                  <a:cubicBezTo>
                    <a:pt x="205" y="136"/>
                    <a:pt x="201" y="144"/>
                    <a:pt x="201" y="144"/>
                  </a:cubicBezTo>
                  <a:cubicBezTo>
                    <a:pt x="209" y="158"/>
                    <a:pt x="209" y="158"/>
                    <a:pt x="209" y="158"/>
                  </a:cubicBezTo>
                  <a:cubicBezTo>
                    <a:pt x="197" y="172"/>
                    <a:pt x="197" y="172"/>
                    <a:pt x="197" y="172"/>
                  </a:cubicBezTo>
                  <a:cubicBezTo>
                    <a:pt x="197" y="172"/>
                    <a:pt x="171" y="179"/>
                    <a:pt x="168" y="190"/>
                  </a:cubicBezTo>
                  <a:cubicBezTo>
                    <a:pt x="165" y="200"/>
                    <a:pt x="173" y="227"/>
                    <a:pt x="173" y="227"/>
                  </a:cubicBezTo>
                  <a:cubicBezTo>
                    <a:pt x="173" y="235"/>
                    <a:pt x="173" y="235"/>
                    <a:pt x="173" y="235"/>
                  </a:cubicBezTo>
                  <a:cubicBezTo>
                    <a:pt x="193" y="242"/>
                    <a:pt x="193" y="242"/>
                    <a:pt x="193" y="242"/>
                  </a:cubicBezTo>
                  <a:cubicBezTo>
                    <a:pt x="193" y="251"/>
                    <a:pt x="193" y="251"/>
                    <a:pt x="193" y="251"/>
                  </a:cubicBezTo>
                  <a:cubicBezTo>
                    <a:pt x="179" y="252"/>
                    <a:pt x="179" y="252"/>
                    <a:pt x="179" y="252"/>
                  </a:cubicBezTo>
                  <a:cubicBezTo>
                    <a:pt x="179" y="270"/>
                    <a:pt x="179" y="270"/>
                    <a:pt x="179" y="270"/>
                  </a:cubicBezTo>
                  <a:cubicBezTo>
                    <a:pt x="168" y="275"/>
                    <a:pt x="168" y="275"/>
                    <a:pt x="168" y="275"/>
                  </a:cubicBezTo>
                  <a:cubicBezTo>
                    <a:pt x="176" y="287"/>
                    <a:pt x="176" y="287"/>
                    <a:pt x="176" y="287"/>
                  </a:cubicBezTo>
                  <a:cubicBezTo>
                    <a:pt x="172" y="300"/>
                    <a:pt x="172" y="300"/>
                    <a:pt x="172" y="300"/>
                  </a:cubicBezTo>
                  <a:cubicBezTo>
                    <a:pt x="179" y="314"/>
                    <a:pt x="179" y="314"/>
                    <a:pt x="179" y="314"/>
                  </a:cubicBezTo>
                  <a:cubicBezTo>
                    <a:pt x="171" y="324"/>
                    <a:pt x="171" y="324"/>
                    <a:pt x="171" y="324"/>
                  </a:cubicBezTo>
                  <a:cubicBezTo>
                    <a:pt x="171" y="324"/>
                    <a:pt x="161" y="328"/>
                    <a:pt x="161" y="343"/>
                  </a:cubicBezTo>
                  <a:cubicBezTo>
                    <a:pt x="157" y="347"/>
                    <a:pt x="144" y="367"/>
                    <a:pt x="144" y="367"/>
                  </a:cubicBezTo>
                  <a:cubicBezTo>
                    <a:pt x="144" y="367"/>
                    <a:pt x="112" y="388"/>
                    <a:pt x="128" y="394"/>
                  </a:cubicBezTo>
                  <a:cubicBezTo>
                    <a:pt x="124" y="395"/>
                    <a:pt x="95" y="402"/>
                    <a:pt x="95" y="402"/>
                  </a:cubicBezTo>
                  <a:cubicBezTo>
                    <a:pt x="95" y="402"/>
                    <a:pt x="96" y="424"/>
                    <a:pt x="79" y="406"/>
                  </a:cubicBezTo>
                  <a:cubicBezTo>
                    <a:pt x="80" y="408"/>
                    <a:pt x="69" y="415"/>
                    <a:pt x="69" y="415"/>
                  </a:cubicBezTo>
                  <a:cubicBezTo>
                    <a:pt x="80" y="430"/>
                    <a:pt x="80" y="430"/>
                    <a:pt x="80" y="430"/>
                  </a:cubicBezTo>
                  <a:cubicBezTo>
                    <a:pt x="43" y="418"/>
                    <a:pt x="43" y="418"/>
                    <a:pt x="43" y="418"/>
                  </a:cubicBezTo>
                  <a:cubicBezTo>
                    <a:pt x="43" y="418"/>
                    <a:pt x="32" y="446"/>
                    <a:pt x="39" y="454"/>
                  </a:cubicBezTo>
                  <a:cubicBezTo>
                    <a:pt x="35" y="464"/>
                    <a:pt x="23" y="482"/>
                    <a:pt x="23" y="482"/>
                  </a:cubicBezTo>
                  <a:cubicBezTo>
                    <a:pt x="29" y="494"/>
                    <a:pt x="29" y="494"/>
                    <a:pt x="29" y="494"/>
                  </a:cubicBezTo>
                  <a:cubicBezTo>
                    <a:pt x="29" y="494"/>
                    <a:pt x="0" y="528"/>
                    <a:pt x="3" y="556"/>
                  </a:cubicBezTo>
                  <a:cubicBezTo>
                    <a:pt x="5" y="584"/>
                    <a:pt x="29" y="580"/>
                    <a:pt x="29" y="580"/>
                  </a:cubicBezTo>
                  <a:cubicBezTo>
                    <a:pt x="29" y="594"/>
                    <a:pt x="29" y="594"/>
                    <a:pt x="29" y="594"/>
                  </a:cubicBezTo>
                  <a:cubicBezTo>
                    <a:pt x="43" y="587"/>
                    <a:pt x="43" y="587"/>
                    <a:pt x="43" y="587"/>
                  </a:cubicBezTo>
                  <a:cubicBezTo>
                    <a:pt x="47" y="594"/>
                    <a:pt x="47" y="594"/>
                    <a:pt x="47" y="594"/>
                  </a:cubicBezTo>
                  <a:cubicBezTo>
                    <a:pt x="56" y="598"/>
                    <a:pt x="56" y="598"/>
                    <a:pt x="56" y="598"/>
                  </a:cubicBezTo>
                  <a:cubicBezTo>
                    <a:pt x="56" y="598"/>
                    <a:pt x="44" y="624"/>
                    <a:pt x="56" y="628"/>
                  </a:cubicBezTo>
                  <a:cubicBezTo>
                    <a:pt x="68" y="632"/>
                    <a:pt x="67" y="626"/>
                    <a:pt x="67" y="626"/>
                  </a:cubicBezTo>
                  <a:cubicBezTo>
                    <a:pt x="79" y="632"/>
                    <a:pt x="79" y="632"/>
                    <a:pt x="79" y="632"/>
                  </a:cubicBezTo>
                  <a:cubicBezTo>
                    <a:pt x="93" y="624"/>
                    <a:pt x="93" y="624"/>
                    <a:pt x="93" y="624"/>
                  </a:cubicBezTo>
                  <a:cubicBezTo>
                    <a:pt x="116" y="624"/>
                    <a:pt x="116" y="624"/>
                    <a:pt x="116" y="624"/>
                  </a:cubicBezTo>
                  <a:cubicBezTo>
                    <a:pt x="108" y="611"/>
                    <a:pt x="108" y="611"/>
                    <a:pt x="108" y="611"/>
                  </a:cubicBezTo>
                  <a:cubicBezTo>
                    <a:pt x="140" y="622"/>
                    <a:pt x="140" y="622"/>
                    <a:pt x="140" y="622"/>
                  </a:cubicBezTo>
                  <a:cubicBezTo>
                    <a:pt x="140" y="622"/>
                    <a:pt x="143" y="654"/>
                    <a:pt x="160" y="670"/>
                  </a:cubicBezTo>
                  <a:cubicBezTo>
                    <a:pt x="177" y="686"/>
                    <a:pt x="153" y="679"/>
                    <a:pt x="185" y="712"/>
                  </a:cubicBezTo>
                  <a:cubicBezTo>
                    <a:pt x="184" y="726"/>
                    <a:pt x="179" y="755"/>
                    <a:pt x="207" y="756"/>
                  </a:cubicBezTo>
                  <a:cubicBezTo>
                    <a:pt x="211" y="758"/>
                    <a:pt x="208" y="767"/>
                    <a:pt x="208" y="767"/>
                  </a:cubicBezTo>
                  <a:cubicBezTo>
                    <a:pt x="208" y="767"/>
                    <a:pt x="227" y="746"/>
                    <a:pt x="233" y="788"/>
                  </a:cubicBezTo>
                  <a:cubicBezTo>
                    <a:pt x="237" y="795"/>
                    <a:pt x="248" y="800"/>
                    <a:pt x="248" y="800"/>
                  </a:cubicBezTo>
                  <a:cubicBezTo>
                    <a:pt x="244" y="811"/>
                    <a:pt x="244" y="811"/>
                    <a:pt x="244" y="811"/>
                  </a:cubicBezTo>
                  <a:cubicBezTo>
                    <a:pt x="251" y="820"/>
                    <a:pt x="251" y="820"/>
                    <a:pt x="251" y="820"/>
                  </a:cubicBezTo>
                  <a:cubicBezTo>
                    <a:pt x="269" y="818"/>
                    <a:pt x="269" y="818"/>
                    <a:pt x="269" y="818"/>
                  </a:cubicBezTo>
                  <a:cubicBezTo>
                    <a:pt x="269" y="811"/>
                    <a:pt x="269" y="811"/>
                    <a:pt x="269" y="811"/>
                  </a:cubicBezTo>
                  <a:cubicBezTo>
                    <a:pt x="287" y="811"/>
                    <a:pt x="287" y="811"/>
                    <a:pt x="287" y="811"/>
                  </a:cubicBezTo>
                  <a:cubicBezTo>
                    <a:pt x="292" y="822"/>
                    <a:pt x="292" y="822"/>
                    <a:pt x="292" y="822"/>
                  </a:cubicBezTo>
                  <a:cubicBezTo>
                    <a:pt x="319" y="802"/>
                    <a:pt x="319" y="802"/>
                    <a:pt x="319" y="802"/>
                  </a:cubicBezTo>
                  <a:cubicBezTo>
                    <a:pt x="320" y="814"/>
                    <a:pt x="320" y="814"/>
                    <a:pt x="320" y="814"/>
                  </a:cubicBezTo>
                  <a:cubicBezTo>
                    <a:pt x="337" y="803"/>
                    <a:pt x="337" y="803"/>
                    <a:pt x="337" y="803"/>
                  </a:cubicBezTo>
                  <a:cubicBezTo>
                    <a:pt x="340" y="811"/>
                    <a:pt x="340" y="811"/>
                    <a:pt x="340" y="811"/>
                  </a:cubicBezTo>
                  <a:cubicBezTo>
                    <a:pt x="353" y="806"/>
                    <a:pt x="353" y="806"/>
                    <a:pt x="353" y="806"/>
                  </a:cubicBezTo>
                  <a:cubicBezTo>
                    <a:pt x="363" y="812"/>
                    <a:pt x="363" y="812"/>
                    <a:pt x="363" y="812"/>
                  </a:cubicBezTo>
                  <a:cubicBezTo>
                    <a:pt x="368" y="794"/>
                    <a:pt x="368" y="794"/>
                    <a:pt x="368" y="794"/>
                  </a:cubicBezTo>
                  <a:cubicBezTo>
                    <a:pt x="368" y="794"/>
                    <a:pt x="392" y="804"/>
                    <a:pt x="404" y="802"/>
                  </a:cubicBezTo>
                  <a:cubicBezTo>
                    <a:pt x="416" y="799"/>
                    <a:pt x="411" y="790"/>
                    <a:pt x="436" y="803"/>
                  </a:cubicBezTo>
                  <a:cubicBezTo>
                    <a:pt x="441" y="812"/>
                    <a:pt x="483" y="802"/>
                    <a:pt x="483" y="802"/>
                  </a:cubicBezTo>
                  <a:cubicBezTo>
                    <a:pt x="483" y="802"/>
                    <a:pt x="505" y="759"/>
                    <a:pt x="539" y="771"/>
                  </a:cubicBezTo>
                  <a:cubicBezTo>
                    <a:pt x="555" y="760"/>
                    <a:pt x="555" y="760"/>
                    <a:pt x="555" y="760"/>
                  </a:cubicBezTo>
                  <a:cubicBezTo>
                    <a:pt x="555" y="760"/>
                    <a:pt x="545" y="738"/>
                    <a:pt x="552" y="732"/>
                  </a:cubicBezTo>
                  <a:cubicBezTo>
                    <a:pt x="559" y="727"/>
                    <a:pt x="559" y="719"/>
                    <a:pt x="559" y="719"/>
                  </a:cubicBezTo>
                  <a:cubicBezTo>
                    <a:pt x="559" y="719"/>
                    <a:pt x="577" y="700"/>
                    <a:pt x="581" y="700"/>
                  </a:cubicBezTo>
                  <a:cubicBezTo>
                    <a:pt x="585" y="700"/>
                    <a:pt x="600" y="722"/>
                    <a:pt x="608" y="706"/>
                  </a:cubicBezTo>
                  <a:cubicBezTo>
                    <a:pt x="615" y="691"/>
                    <a:pt x="625" y="683"/>
                    <a:pt x="650" y="684"/>
                  </a:cubicBezTo>
                  <a:cubicBezTo>
                    <a:pt x="649" y="683"/>
                    <a:pt x="649" y="682"/>
                    <a:pt x="648" y="682"/>
                  </a:cubicBezTo>
                  <a:cubicBezTo>
                    <a:pt x="661" y="667"/>
                    <a:pt x="645" y="650"/>
                    <a:pt x="651" y="644"/>
                  </a:cubicBezTo>
                  <a:cubicBezTo>
                    <a:pt x="656" y="639"/>
                    <a:pt x="655" y="607"/>
                    <a:pt x="655" y="607"/>
                  </a:cubicBezTo>
                  <a:cubicBezTo>
                    <a:pt x="645" y="599"/>
                    <a:pt x="645" y="599"/>
                    <a:pt x="645" y="599"/>
                  </a:cubicBezTo>
                  <a:cubicBezTo>
                    <a:pt x="645" y="555"/>
                    <a:pt x="636" y="535"/>
                    <a:pt x="636" y="535"/>
                  </a:cubicBezTo>
                  <a:cubicBezTo>
                    <a:pt x="611" y="514"/>
                    <a:pt x="611" y="514"/>
                    <a:pt x="611" y="514"/>
                  </a:cubicBezTo>
                  <a:cubicBezTo>
                    <a:pt x="625" y="479"/>
                    <a:pt x="625" y="479"/>
                    <a:pt x="625" y="479"/>
                  </a:cubicBezTo>
                  <a:cubicBezTo>
                    <a:pt x="609" y="440"/>
                    <a:pt x="609" y="440"/>
                    <a:pt x="609" y="440"/>
                  </a:cubicBezTo>
                  <a:cubicBezTo>
                    <a:pt x="632" y="435"/>
                    <a:pt x="632" y="435"/>
                    <a:pt x="632" y="435"/>
                  </a:cubicBezTo>
                  <a:cubicBezTo>
                    <a:pt x="624" y="423"/>
                    <a:pt x="624" y="423"/>
                    <a:pt x="624" y="423"/>
                  </a:cubicBezTo>
                  <a:cubicBezTo>
                    <a:pt x="628" y="410"/>
                    <a:pt x="628" y="410"/>
                    <a:pt x="628" y="410"/>
                  </a:cubicBezTo>
                  <a:cubicBezTo>
                    <a:pt x="615" y="388"/>
                    <a:pt x="615" y="388"/>
                    <a:pt x="615" y="388"/>
                  </a:cubicBezTo>
                  <a:cubicBezTo>
                    <a:pt x="605" y="390"/>
                    <a:pt x="605" y="390"/>
                    <a:pt x="605" y="390"/>
                  </a:cubicBezTo>
                  <a:cubicBezTo>
                    <a:pt x="607" y="374"/>
                    <a:pt x="607" y="374"/>
                    <a:pt x="607" y="374"/>
                  </a:cubicBezTo>
                  <a:cubicBezTo>
                    <a:pt x="641" y="364"/>
                    <a:pt x="641" y="364"/>
                    <a:pt x="641" y="364"/>
                  </a:cubicBezTo>
                  <a:cubicBezTo>
                    <a:pt x="641" y="340"/>
                    <a:pt x="641" y="340"/>
                    <a:pt x="641" y="340"/>
                  </a:cubicBezTo>
                  <a:cubicBezTo>
                    <a:pt x="636" y="340"/>
                    <a:pt x="636" y="340"/>
                    <a:pt x="636" y="340"/>
                  </a:cubicBezTo>
                  <a:cubicBezTo>
                    <a:pt x="639" y="327"/>
                    <a:pt x="639" y="327"/>
                    <a:pt x="639" y="327"/>
                  </a:cubicBezTo>
                  <a:cubicBezTo>
                    <a:pt x="648" y="326"/>
                    <a:pt x="648" y="326"/>
                    <a:pt x="648" y="326"/>
                  </a:cubicBezTo>
                  <a:cubicBezTo>
                    <a:pt x="664" y="303"/>
                    <a:pt x="664" y="303"/>
                    <a:pt x="664" y="303"/>
                  </a:cubicBezTo>
                  <a:cubicBezTo>
                    <a:pt x="663" y="284"/>
                    <a:pt x="663" y="284"/>
                    <a:pt x="663" y="284"/>
                  </a:cubicBezTo>
                  <a:cubicBezTo>
                    <a:pt x="633" y="274"/>
                    <a:pt x="644" y="254"/>
                    <a:pt x="644" y="254"/>
                  </a:cubicBezTo>
                  <a:cubicBezTo>
                    <a:pt x="625" y="245"/>
                    <a:pt x="625" y="245"/>
                    <a:pt x="625" y="245"/>
                  </a:cubicBezTo>
                  <a:cubicBezTo>
                    <a:pt x="625" y="245"/>
                    <a:pt x="624" y="246"/>
                    <a:pt x="624" y="246"/>
                  </a:cubicBezTo>
                  <a:cubicBezTo>
                    <a:pt x="616" y="254"/>
                    <a:pt x="593" y="258"/>
                    <a:pt x="593" y="258"/>
                  </a:cubicBezTo>
                  <a:cubicBezTo>
                    <a:pt x="593" y="247"/>
                    <a:pt x="593" y="247"/>
                    <a:pt x="593" y="247"/>
                  </a:cubicBezTo>
                  <a:cubicBezTo>
                    <a:pt x="581" y="247"/>
                    <a:pt x="581" y="247"/>
                    <a:pt x="581" y="247"/>
                  </a:cubicBezTo>
                  <a:cubicBezTo>
                    <a:pt x="581" y="255"/>
                    <a:pt x="581" y="255"/>
                    <a:pt x="581" y="255"/>
                  </a:cubicBezTo>
                  <a:cubicBezTo>
                    <a:pt x="526" y="254"/>
                    <a:pt x="526" y="254"/>
                    <a:pt x="526" y="254"/>
                  </a:cubicBezTo>
                  <a:cubicBezTo>
                    <a:pt x="523" y="254"/>
                    <a:pt x="520" y="254"/>
                    <a:pt x="520" y="254"/>
                  </a:cubicBezTo>
                  <a:cubicBezTo>
                    <a:pt x="526" y="254"/>
                    <a:pt x="526" y="254"/>
                    <a:pt x="526" y="254"/>
                  </a:cubicBezTo>
                  <a:cubicBezTo>
                    <a:pt x="530" y="253"/>
                    <a:pt x="536" y="250"/>
                    <a:pt x="537" y="239"/>
                  </a:cubicBezTo>
                  <a:cubicBezTo>
                    <a:pt x="540" y="220"/>
                    <a:pt x="513" y="214"/>
                    <a:pt x="513" y="214"/>
                  </a:cubicBezTo>
                  <a:cubicBezTo>
                    <a:pt x="509" y="198"/>
                    <a:pt x="509" y="198"/>
                    <a:pt x="509" y="198"/>
                  </a:cubicBezTo>
                  <a:cubicBezTo>
                    <a:pt x="507" y="199"/>
                    <a:pt x="507" y="199"/>
                    <a:pt x="507" y="199"/>
                  </a:cubicBezTo>
                  <a:cubicBezTo>
                    <a:pt x="491" y="194"/>
                    <a:pt x="491" y="194"/>
                    <a:pt x="491" y="194"/>
                  </a:cubicBezTo>
                  <a:cubicBezTo>
                    <a:pt x="477" y="202"/>
                    <a:pt x="477" y="202"/>
                    <a:pt x="477" y="202"/>
                  </a:cubicBezTo>
                  <a:cubicBezTo>
                    <a:pt x="475" y="191"/>
                    <a:pt x="475" y="191"/>
                    <a:pt x="475" y="191"/>
                  </a:cubicBezTo>
                  <a:cubicBezTo>
                    <a:pt x="468" y="188"/>
                    <a:pt x="468" y="188"/>
                    <a:pt x="468" y="188"/>
                  </a:cubicBezTo>
                  <a:cubicBezTo>
                    <a:pt x="461" y="202"/>
                    <a:pt x="461" y="202"/>
                    <a:pt x="461" y="202"/>
                  </a:cubicBezTo>
                  <a:cubicBezTo>
                    <a:pt x="461" y="202"/>
                    <a:pt x="451" y="202"/>
                    <a:pt x="443" y="202"/>
                  </a:cubicBezTo>
                  <a:cubicBezTo>
                    <a:pt x="435" y="202"/>
                    <a:pt x="428" y="212"/>
                    <a:pt x="419" y="204"/>
                  </a:cubicBezTo>
                  <a:cubicBezTo>
                    <a:pt x="409" y="196"/>
                    <a:pt x="421" y="170"/>
                    <a:pt x="421" y="170"/>
                  </a:cubicBezTo>
                  <a:cubicBezTo>
                    <a:pt x="411" y="168"/>
                    <a:pt x="411" y="168"/>
                    <a:pt x="411" y="168"/>
                  </a:cubicBezTo>
                  <a:cubicBezTo>
                    <a:pt x="411" y="168"/>
                    <a:pt x="409" y="155"/>
                    <a:pt x="405" y="154"/>
                  </a:cubicBezTo>
                  <a:cubicBezTo>
                    <a:pt x="403" y="162"/>
                    <a:pt x="379" y="147"/>
                    <a:pt x="379" y="147"/>
                  </a:cubicBezTo>
                  <a:cubicBezTo>
                    <a:pt x="377" y="122"/>
                    <a:pt x="377" y="122"/>
                    <a:pt x="377" y="122"/>
                  </a:cubicBezTo>
                  <a:cubicBezTo>
                    <a:pt x="364" y="115"/>
                    <a:pt x="364" y="115"/>
                    <a:pt x="364" y="115"/>
                  </a:cubicBezTo>
                  <a:cubicBezTo>
                    <a:pt x="365" y="103"/>
                    <a:pt x="365" y="103"/>
                    <a:pt x="365" y="103"/>
                  </a:cubicBezTo>
                  <a:cubicBezTo>
                    <a:pt x="356" y="100"/>
                    <a:pt x="356" y="100"/>
                    <a:pt x="356" y="100"/>
                  </a:cubicBezTo>
                  <a:cubicBezTo>
                    <a:pt x="341" y="88"/>
                    <a:pt x="341" y="88"/>
                    <a:pt x="341" y="88"/>
                  </a:cubicBezTo>
                  <a:cubicBezTo>
                    <a:pt x="343" y="78"/>
                    <a:pt x="343" y="78"/>
                    <a:pt x="343" y="78"/>
                  </a:cubicBezTo>
                  <a:cubicBezTo>
                    <a:pt x="333" y="74"/>
                    <a:pt x="333" y="74"/>
                    <a:pt x="333" y="74"/>
                  </a:cubicBezTo>
                  <a:cubicBezTo>
                    <a:pt x="344" y="59"/>
                    <a:pt x="344" y="59"/>
                    <a:pt x="344" y="59"/>
                  </a:cubicBezTo>
                  <a:cubicBezTo>
                    <a:pt x="337" y="52"/>
                    <a:pt x="337" y="52"/>
                    <a:pt x="337" y="52"/>
                  </a:cubicBezTo>
                  <a:cubicBezTo>
                    <a:pt x="339" y="28"/>
                    <a:pt x="339" y="28"/>
                    <a:pt x="339" y="28"/>
                  </a:cubicBezTo>
                  <a:cubicBezTo>
                    <a:pt x="331" y="23"/>
                    <a:pt x="331" y="23"/>
                    <a:pt x="331" y="23"/>
                  </a:cubicBezTo>
                  <a:cubicBezTo>
                    <a:pt x="335" y="14"/>
                    <a:pt x="335" y="14"/>
                    <a:pt x="335" y="14"/>
                  </a:cubicBezTo>
                  <a:cubicBezTo>
                    <a:pt x="320" y="0"/>
                    <a:pt x="320" y="0"/>
                    <a:pt x="320" y="0"/>
                  </a:cubicBezTo>
                  <a:cubicBezTo>
                    <a:pt x="312" y="3"/>
                    <a:pt x="312" y="3"/>
                    <a:pt x="312" y="3"/>
                  </a:cubicBezTo>
                  <a:cubicBezTo>
                    <a:pt x="312" y="3"/>
                    <a:pt x="313" y="10"/>
                    <a:pt x="312" y="15"/>
                  </a:cubicBezTo>
                  <a:cubicBezTo>
                    <a:pt x="311" y="20"/>
                    <a:pt x="292" y="28"/>
                    <a:pt x="292" y="28"/>
                  </a:cubicBezTo>
                  <a:cubicBezTo>
                    <a:pt x="292" y="28"/>
                    <a:pt x="293" y="40"/>
                    <a:pt x="287" y="51"/>
                  </a:cubicBezTo>
                  <a:cubicBezTo>
                    <a:pt x="280" y="62"/>
                    <a:pt x="236" y="47"/>
                    <a:pt x="236" y="47"/>
                  </a:cubicBezTo>
                  <a:cubicBezTo>
                    <a:pt x="235" y="58"/>
                    <a:pt x="235" y="58"/>
                    <a:pt x="235" y="58"/>
                  </a:cubicBezTo>
                  <a:cubicBezTo>
                    <a:pt x="235" y="58"/>
                    <a:pt x="227" y="58"/>
                    <a:pt x="225" y="54"/>
                  </a:cubicBezTo>
                  <a:cubicBezTo>
                    <a:pt x="203" y="76"/>
                    <a:pt x="195" y="64"/>
                    <a:pt x="191" y="64"/>
                  </a:cubicBezTo>
                  <a:cubicBezTo>
                    <a:pt x="187" y="74"/>
                    <a:pt x="182" y="78"/>
                    <a:pt x="176" y="79"/>
                  </a:cubicBezTo>
                  <a:cubicBezTo>
                    <a:pt x="177" y="98"/>
                    <a:pt x="177" y="98"/>
                    <a:pt x="177" y="98"/>
                  </a:cubicBezTo>
                  <a:cubicBezTo>
                    <a:pt x="177" y="98"/>
                    <a:pt x="205" y="126"/>
                    <a:pt x="205" y="13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0" name="Basse Normandie" descr="© INSCALE GmbH, 05.05.2010&#10;http://www.presentationload.com/">
              <a:extLst>
                <a:ext uri="{FF2B5EF4-FFF2-40B4-BE49-F238E27FC236}">
                  <a16:creationId xmlns:a16="http://schemas.microsoft.com/office/drawing/2014/main" id="{96C755B5-878D-43B1-9DB9-C3827DF7190E}"/>
                </a:ext>
              </a:extLst>
            </p:cNvPr>
            <p:cNvSpPr>
              <a:spLocks/>
            </p:cNvSpPr>
            <p:nvPr/>
          </p:nvSpPr>
          <p:spPr bwMode="gray">
            <a:xfrm>
              <a:off x="801" y="585"/>
              <a:ext cx="657" cy="573"/>
            </a:xfrm>
            <a:custGeom>
              <a:avLst/>
              <a:gdLst/>
              <a:ahLst/>
              <a:cxnLst>
                <a:cxn ang="0">
                  <a:pos x="197" y="413"/>
                </a:cxn>
                <a:cxn ang="0">
                  <a:pos x="245" y="437"/>
                </a:cxn>
                <a:cxn ang="0">
                  <a:pos x="265" y="435"/>
                </a:cxn>
                <a:cxn ang="0">
                  <a:pos x="315" y="422"/>
                </a:cxn>
                <a:cxn ang="0">
                  <a:pos x="336" y="415"/>
                </a:cxn>
                <a:cxn ang="0">
                  <a:pos x="348" y="405"/>
                </a:cxn>
                <a:cxn ang="0">
                  <a:pos x="373" y="439"/>
                </a:cxn>
                <a:cxn ang="0">
                  <a:pos x="395" y="465"/>
                </a:cxn>
                <a:cxn ang="0">
                  <a:pos x="485" y="481"/>
                </a:cxn>
                <a:cxn ang="0">
                  <a:pos x="512" y="513"/>
                </a:cxn>
                <a:cxn ang="0">
                  <a:pos x="561" y="531"/>
                </a:cxn>
                <a:cxn ang="0">
                  <a:pos x="573" y="522"/>
                </a:cxn>
                <a:cxn ang="0">
                  <a:pos x="597" y="467"/>
                </a:cxn>
                <a:cxn ang="0">
                  <a:pos x="601" y="439"/>
                </a:cxn>
                <a:cxn ang="0">
                  <a:pos x="577" y="393"/>
                </a:cxn>
                <a:cxn ang="0">
                  <a:pos x="563" y="374"/>
                </a:cxn>
                <a:cxn ang="0">
                  <a:pos x="536" y="325"/>
                </a:cxn>
                <a:cxn ang="0">
                  <a:pos x="496" y="303"/>
                </a:cxn>
                <a:cxn ang="0">
                  <a:pos x="496" y="259"/>
                </a:cxn>
                <a:cxn ang="0">
                  <a:pos x="495" y="246"/>
                </a:cxn>
                <a:cxn ang="0">
                  <a:pos x="491" y="218"/>
                </a:cxn>
                <a:cxn ang="0">
                  <a:pos x="477" y="186"/>
                </a:cxn>
                <a:cxn ang="0">
                  <a:pos x="463" y="93"/>
                </a:cxn>
                <a:cxn ang="0">
                  <a:pos x="357" y="137"/>
                </a:cxn>
                <a:cxn ang="0">
                  <a:pos x="239" y="114"/>
                </a:cxn>
                <a:cxn ang="0">
                  <a:pos x="168" y="123"/>
                </a:cxn>
                <a:cxn ang="0">
                  <a:pos x="157" y="102"/>
                </a:cxn>
                <a:cxn ang="0">
                  <a:pos x="130" y="51"/>
                </a:cxn>
                <a:cxn ang="0">
                  <a:pos x="140" y="11"/>
                </a:cxn>
                <a:cxn ang="0">
                  <a:pos x="91" y="21"/>
                </a:cxn>
                <a:cxn ang="0">
                  <a:pos x="1" y="0"/>
                </a:cxn>
                <a:cxn ang="0">
                  <a:pos x="16" y="23"/>
                </a:cxn>
                <a:cxn ang="0">
                  <a:pos x="22" y="85"/>
                </a:cxn>
                <a:cxn ang="0">
                  <a:pos x="66" y="158"/>
                </a:cxn>
                <a:cxn ang="0">
                  <a:pos x="73" y="216"/>
                </a:cxn>
                <a:cxn ang="0">
                  <a:pos x="78" y="239"/>
                </a:cxn>
                <a:cxn ang="0">
                  <a:pos x="69" y="294"/>
                </a:cxn>
                <a:cxn ang="0">
                  <a:pos x="83" y="331"/>
                </a:cxn>
                <a:cxn ang="0">
                  <a:pos x="58" y="332"/>
                </a:cxn>
                <a:cxn ang="0">
                  <a:pos x="136" y="402"/>
                </a:cxn>
              </a:cxnLst>
              <a:rect l="0" t="0" r="r" b="b"/>
              <a:pathLst>
                <a:path w="609" h="531">
                  <a:moveTo>
                    <a:pt x="136" y="402"/>
                  </a:moveTo>
                  <a:cubicBezTo>
                    <a:pt x="173" y="418"/>
                    <a:pt x="187" y="426"/>
                    <a:pt x="197" y="413"/>
                  </a:cubicBezTo>
                  <a:cubicBezTo>
                    <a:pt x="207" y="418"/>
                    <a:pt x="220" y="422"/>
                    <a:pt x="220" y="422"/>
                  </a:cubicBezTo>
                  <a:cubicBezTo>
                    <a:pt x="220" y="422"/>
                    <a:pt x="245" y="446"/>
                    <a:pt x="245" y="437"/>
                  </a:cubicBezTo>
                  <a:cubicBezTo>
                    <a:pt x="245" y="427"/>
                    <a:pt x="261" y="426"/>
                    <a:pt x="261" y="426"/>
                  </a:cubicBezTo>
                  <a:cubicBezTo>
                    <a:pt x="265" y="435"/>
                    <a:pt x="265" y="435"/>
                    <a:pt x="265" y="435"/>
                  </a:cubicBezTo>
                  <a:cubicBezTo>
                    <a:pt x="265" y="435"/>
                    <a:pt x="288" y="435"/>
                    <a:pt x="293" y="421"/>
                  </a:cubicBezTo>
                  <a:cubicBezTo>
                    <a:pt x="300" y="421"/>
                    <a:pt x="315" y="422"/>
                    <a:pt x="315" y="422"/>
                  </a:cubicBezTo>
                  <a:cubicBezTo>
                    <a:pt x="321" y="427"/>
                    <a:pt x="321" y="427"/>
                    <a:pt x="321" y="427"/>
                  </a:cubicBezTo>
                  <a:cubicBezTo>
                    <a:pt x="336" y="415"/>
                    <a:pt x="336" y="415"/>
                    <a:pt x="336" y="415"/>
                  </a:cubicBezTo>
                  <a:cubicBezTo>
                    <a:pt x="336" y="415"/>
                    <a:pt x="344" y="426"/>
                    <a:pt x="348" y="418"/>
                  </a:cubicBezTo>
                  <a:cubicBezTo>
                    <a:pt x="352" y="410"/>
                    <a:pt x="344" y="405"/>
                    <a:pt x="348" y="405"/>
                  </a:cubicBezTo>
                  <a:cubicBezTo>
                    <a:pt x="352" y="405"/>
                    <a:pt x="375" y="414"/>
                    <a:pt x="375" y="414"/>
                  </a:cubicBezTo>
                  <a:cubicBezTo>
                    <a:pt x="375" y="414"/>
                    <a:pt x="361" y="439"/>
                    <a:pt x="373" y="439"/>
                  </a:cubicBezTo>
                  <a:cubicBezTo>
                    <a:pt x="385" y="439"/>
                    <a:pt x="391" y="438"/>
                    <a:pt x="391" y="438"/>
                  </a:cubicBezTo>
                  <a:cubicBezTo>
                    <a:pt x="395" y="465"/>
                    <a:pt x="395" y="465"/>
                    <a:pt x="395" y="465"/>
                  </a:cubicBezTo>
                  <a:cubicBezTo>
                    <a:pt x="415" y="465"/>
                    <a:pt x="415" y="465"/>
                    <a:pt x="415" y="465"/>
                  </a:cubicBezTo>
                  <a:cubicBezTo>
                    <a:pt x="415" y="465"/>
                    <a:pt x="477" y="390"/>
                    <a:pt x="485" y="481"/>
                  </a:cubicBezTo>
                  <a:cubicBezTo>
                    <a:pt x="492" y="486"/>
                    <a:pt x="505" y="493"/>
                    <a:pt x="505" y="493"/>
                  </a:cubicBezTo>
                  <a:cubicBezTo>
                    <a:pt x="512" y="513"/>
                    <a:pt x="512" y="513"/>
                    <a:pt x="512" y="513"/>
                  </a:cubicBezTo>
                  <a:cubicBezTo>
                    <a:pt x="537" y="507"/>
                    <a:pt x="537" y="507"/>
                    <a:pt x="537" y="507"/>
                  </a:cubicBezTo>
                  <a:cubicBezTo>
                    <a:pt x="561" y="531"/>
                    <a:pt x="561" y="531"/>
                    <a:pt x="561" y="531"/>
                  </a:cubicBezTo>
                  <a:cubicBezTo>
                    <a:pt x="573" y="529"/>
                    <a:pt x="573" y="529"/>
                    <a:pt x="573" y="529"/>
                  </a:cubicBezTo>
                  <a:cubicBezTo>
                    <a:pt x="573" y="522"/>
                    <a:pt x="573" y="522"/>
                    <a:pt x="573" y="522"/>
                  </a:cubicBezTo>
                  <a:cubicBezTo>
                    <a:pt x="573" y="522"/>
                    <a:pt x="565" y="495"/>
                    <a:pt x="568" y="485"/>
                  </a:cubicBezTo>
                  <a:cubicBezTo>
                    <a:pt x="571" y="474"/>
                    <a:pt x="597" y="467"/>
                    <a:pt x="597" y="467"/>
                  </a:cubicBezTo>
                  <a:cubicBezTo>
                    <a:pt x="609" y="453"/>
                    <a:pt x="609" y="453"/>
                    <a:pt x="609" y="453"/>
                  </a:cubicBezTo>
                  <a:cubicBezTo>
                    <a:pt x="601" y="439"/>
                    <a:pt x="601" y="439"/>
                    <a:pt x="601" y="439"/>
                  </a:cubicBezTo>
                  <a:cubicBezTo>
                    <a:pt x="601" y="439"/>
                    <a:pt x="605" y="431"/>
                    <a:pt x="605" y="426"/>
                  </a:cubicBezTo>
                  <a:cubicBezTo>
                    <a:pt x="605" y="421"/>
                    <a:pt x="577" y="393"/>
                    <a:pt x="577" y="393"/>
                  </a:cubicBezTo>
                  <a:cubicBezTo>
                    <a:pt x="576" y="374"/>
                    <a:pt x="576" y="374"/>
                    <a:pt x="576" y="374"/>
                  </a:cubicBezTo>
                  <a:cubicBezTo>
                    <a:pt x="569" y="376"/>
                    <a:pt x="563" y="374"/>
                    <a:pt x="563" y="374"/>
                  </a:cubicBezTo>
                  <a:cubicBezTo>
                    <a:pt x="563" y="374"/>
                    <a:pt x="556" y="363"/>
                    <a:pt x="560" y="363"/>
                  </a:cubicBezTo>
                  <a:cubicBezTo>
                    <a:pt x="581" y="349"/>
                    <a:pt x="536" y="325"/>
                    <a:pt x="536" y="325"/>
                  </a:cubicBezTo>
                  <a:cubicBezTo>
                    <a:pt x="529" y="305"/>
                    <a:pt x="529" y="305"/>
                    <a:pt x="529" y="305"/>
                  </a:cubicBezTo>
                  <a:cubicBezTo>
                    <a:pt x="496" y="303"/>
                    <a:pt x="496" y="303"/>
                    <a:pt x="496" y="303"/>
                  </a:cubicBezTo>
                  <a:cubicBezTo>
                    <a:pt x="496" y="303"/>
                    <a:pt x="483" y="299"/>
                    <a:pt x="489" y="294"/>
                  </a:cubicBezTo>
                  <a:cubicBezTo>
                    <a:pt x="496" y="289"/>
                    <a:pt x="496" y="259"/>
                    <a:pt x="496" y="259"/>
                  </a:cubicBezTo>
                  <a:cubicBezTo>
                    <a:pt x="487" y="247"/>
                    <a:pt x="487" y="247"/>
                    <a:pt x="487" y="247"/>
                  </a:cubicBezTo>
                  <a:cubicBezTo>
                    <a:pt x="495" y="246"/>
                    <a:pt x="495" y="246"/>
                    <a:pt x="495" y="246"/>
                  </a:cubicBezTo>
                  <a:cubicBezTo>
                    <a:pt x="496" y="226"/>
                    <a:pt x="496" y="226"/>
                    <a:pt x="496" y="226"/>
                  </a:cubicBezTo>
                  <a:cubicBezTo>
                    <a:pt x="491" y="218"/>
                    <a:pt x="491" y="218"/>
                    <a:pt x="491" y="218"/>
                  </a:cubicBezTo>
                  <a:cubicBezTo>
                    <a:pt x="491" y="203"/>
                    <a:pt x="491" y="203"/>
                    <a:pt x="491" y="203"/>
                  </a:cubicBezTo>
                  <a:cubicBezTo>
                    <a:pt x="491" y="203"/>
                    <a:pt x="475" y="193"/>
                    <a:pt x="477" y="186"/>
                  </a:cubicBezTo>
                  <a:cubicBezTo>
                    <a:pt x="508" y="175"/>
                    <a:pt x="476" y="178"/>
                    <a:pt x="476" y="178"/>
                  </a:cubicBezTo>
                  <a:cubicBezTo>
                    <a:pt x="463" y="93"/>
                    <a:pt x="463" y="93"/>
                    <a:pt x="463" y="93"/>
                  </a:cubicBezTo>
                  <a:cubicBezTo>
                    <a:pt x="458" y="95"/>
                    <a:pt x="436" y="105"/>
                    <a:pt x="435" y="102"/>
                  </a:cubicBezTo>
                  <a:cubicBezTo>
                    <a:pt x="418" y="138"/>
                    <a:pt x="357" y="137"/>
                    <a:pt x="357" y="137"/>
                  </a:cubicBezTo>
                  <a:cubicBezTo>
                    <a:pt x="325" y="122"/>
                    <a:pt x="325" y="122"/>
                    <a:pt x="325" y="122"/>
                  </a:cubicBezTo>
                  <a:cubicBezTo>
                    <a:pt x="325" y="122"/>
                    <a:pt x="286" y="117"/>
                    <a:pt x="239" y="114"/>
                  </a:cubicBezTo>
                  <a:cubicBezTo>
                    <a:pt x="194" y="93"/>
                    <a:pt x="170" y="107"/>
                    <a:pt x="170" y="107"/>
                  </a:cubicBezTo>
                  <a:cubicBezTo>
                    <a:pt x="168" y="123"/>
                    <a:pt x="168" y="123"/>
                    <a:pt x="168" y="123"/>
                  </a:cubicBezTo>
                  <a:cubicBezTo>
                    <a:pt x="160" y="116"/>
                    <a:pt x="160" y="116"/>
                    <a:pt x="160" y="116"/>
                  </a:cubicBezTo>
                  <a:cubicBezTo>
                    <a:pt x="160" y="116"/>
                    <a:pt x="150" y="108"/>
                    <a:pt x="157" y="102"/>
                  </a:cubicBezTo>
                  <a:cubicBezTo>
                    <a:pt x="164" y="96"/>
                    <a:pt x="152" y="88"/>
                    <a:pt x="152" y="88"/>
                  </a:cubicBezTo>
                  <a:cubicBezTo>
                    <a:pt x="130" y="51"/>
                    <a:pt x="130" y="51"/>
                    <a:pt x="130" y="51"/>
                  </a:cubicBezTo>
                  <a:cubicBezTo>
                    <a:pt x="150" y="35"/>
                    <a:pt x="150" y="35"/>
                    <a:pt x="150" y="35"/>
                  </a:cubicBezTo>
                  <a:cubicBezTo>
                    <a:pt x="140" y="11"/>
                    <a:pt x="140" y="11"/>
                    <a:pt x="140" y="11"/>
                  </a:cubicBezTo>
                  <a:cubicBezTo>
                    <a:pt x="104" y="7"/>
                    <a:pt x="104" y="7"/>
                    <a:pt x="104" y="7"/>
                  </a:cubicBezTo>
                  <a:cubicBezTo>
                    <a:pt x="91" y="21"/>
                    <a:pt x="91" y="21"/>
                    <a:pt x="91" y="21"/>
                  </a:cubicBezTo>
                  <a:cubicBezTo>
                    <a:pt x="91" y="21"/>
                    <a:pt x="82" y="30"/>
                    <a:pt x="59" y="24"/>
                  </a:cubicBezTo>
                  <a:cubicBezTo>
                    <a:pt x="36" y="18"/>
                    <a:pt x="1" y="0"/>
                    <a:pt x="1" y="0"/>
                  </a:cubicBezTo>
                  <a:cubicBezTo>
                    <a:pt x="0" y="16"/>
                    <a:pt x="0" y="16"/>
                    <a:pt x="0" y="16"/>
                  </a:cubicBezTo>
                  <a:cubicBezTo>
                    <a:pt x="0" y="16"/>
                    <a:pt x="4" y="16"/>
                    <a:pt x="16" y="23"/>
                  </a:cubicBezTo>
                  <a:cubicBezTo>
                    <a:pt x="28" y="30"/>
                    <a:pt x="12" y="63"/>
                    <a:pt x="12" y="63"/>
                  </a:cubicBezTo>
                  <a:cubicBezTo>
                    <a:pt x="12" y="63"/>
                    <a:pt x="21" y="81"/>
                    <a:pt x="22" y="85"/>
                  </a:cubicBezTo>
                  <a:cubicBezTo>
                    <a:pt x="22" y="112"/>
                    <a:pt x="34" y="108"/>
                    <a:pt x="34" y="108"/>
                  </a:cubicBezTo>
                  <a:cubicBezTo>
                    <a:pt x="66" y="158"/>
                    <a:pt x="66" y="158"/>
                    <a:pt x="66" y="158"/>
                  </a:cubicBezTo>
                  <a:cubicBezTo>
                    <a:pt x="65" y="214"/>
                    <a:pt x="65" y="214"/>
                    <a:pt x="65" y="214"/>
                  </a:cubicBezTo>
                  <a:cubicBezTo>
                    <a:pt x="73" y="216"/>
                    <a:pt x="73" y="216"/>
                    <a:pt x="73" y="216"/>
                  </a:cubicBezTo>
                  <a:cubicBezTo>
                    <a:pt x="69" y="232"/>
                    <a:pt x="69" y="232"/>
                    <a:pt x="69" y="232"/>
                  </a:cubicBezTo>
                  <a:cubicBezTo>
                    <a:pt x="78" y="239"/>
                    <a:pt x="78" y="239"/>
                    <a:pt x="78" y="239"/>
                  </a:cubicBezTo>
                  <a:cubicBezTo>
                    <a:pt x="70" y="245"/>
                    <a:pt x="70" y="245"/>
                    <a:pt x="70" y="245"/>
                  </a:cubicBezTo>
                  <a:cubicBezTo>
                    <a:pt x="70" y="245"/>
                    <a:pt x="66" y="280"/>
                    <a:pt x="69" y="294"/>
                  </a:cubicBezTo>
                  <a:cubicBezTo>
                    <a:pt x="71" y="315"/>
                    <a:pt x="108" y="326"/>
                    <a:pt x="108" y="326"/>
                  </a:cubicBezTo>
                  <a:cubicBezTo>
                    <a:pt x="83" y="331"/>
                    <a:pt x="83" y="331"/>
                    <a:pt x="83" y="331"/>
                  </a:cubicBezTo>
                  <a:cubicBezTo>
                    <a:pt x="83" y="331"/>
                    <a:pt x="75" y="328"/>
                    <a:pt x="68" y="329"/>
                  </a:cubicBezTo>
                  <a:cubicBezTo>
                    <a:pt x="66" y="330"/>
                    <a:pt x="62" y="331"/>
                    <a:pt x="58" y="332"/>
                  </a:cubicBezTo>
                  <a:cubicBezTo>
                    <a:pt x="77" y="377"/>
                    <a:pt x="77" y="377"/>
                    <a:pt x="77" y="377"/>
                  </a:cubicBezTo>
                  <a:cubicBezTo>
                    <a:pt x="77" y="377"/>
                    <a:pt x="87" y="470"/>
                    <a:pt x="136" y="402"/>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1" name="Bretagne" descr="© INSCALE GmbH, 05.05.2010&#10;http://www.presentationload.com/">
              <a:extLst>
                <a:ext uri="{FF2B5EF4-FFF2-40B4-BE49-F238E27FC236}">
                  <a16:creationId xmlns:a16="http://schemas.microsoft.com/office/drawing/2014/main" id="{F823883D-B803-4C7E-982B-A6EA279E0036}"/>
                </a:ext>
              </a:extLst>
            </p:cNvPr>
            <p:cNvSpPr>
              <a:spLocks noEditPoints="1"/>
            </p:cNvSpPr>
            <p:nvPr/>
          </p:nvSpPr>
          <p:spPr bwMode="gray">
            <a:xfrm>
              <a:off x="48" y="857"/>
              <a:ext cx="953" cy="536"/>
            </a:xfrm>
            <a:custGeom>
              <a:avLst/>
              <a:gdLst/>
              <a:ahLst/>
              <a:cxnLst>
                <a:cxn ang="0">
                  <a:pos x="459" y="18"/>
                </a:cxn>
                <a:cxn ang="0">
                  <a:pos x="5" y="133"/>
                </a:cxn>
                <a:cxn ang="0">
                  <a:pos x="355" y="388"/>
                </a:cxn>
                <a:cxn ang="0">
                  <a:pos x="355" y="388"/>
                </a:cxn>
                <a:cxn ang="0">
                  <a:pos x="394" y="465"/>
                </a:cxn>
                <a:cxn ang="0">
                  <a:pos x="422" y="494"/>
                </a:cxn>
                <a:cxn ang="0">
                  <a:pos x="413" y="479"/>
                </a:cxn>
                <a:cxn ang="0">
                  <a:pos x="448" y="462"/>
                </a:cxn>
                <a:cxn ang="0">
                  <a:pos x="467" y="479"/>
                </a:cxn>
                <a:cxn ang="0">
                  <a:pos x="55" y="259"/>
                </a:cxn>
                <a:cxn ang="0">
                  <a:pos x="36" y="144"/>
                </a:cxn>
                <a:cxn ang="0">
                  <a:pos x="56" y="163"/>
                </a:cxn>
                <a:cxn ang="0">
                  <a:pos x="246" y="42"/>
                </a:cxn>
                <a:cxn ang="0">
                  <a:pos x="874" y="165"/>
                </a:cxn>
                <a:cxn ang="0">
                  <a:pos x="757" y="79"/>
                </a:cxn>
                <a:cxn ang="0">
                  <a:pos x="705" y="58"/>
                </a:cxn>
                <a:cxn ang="0">
                  <a:pos x="628" y="92"/>
                </a:cxn>
                <a:cxn ang="0">
                  <a:pos x="606" y="63"/>
                </a:cxn>
                <a:cxn ang="0">
                  <a:pos x="570" y="80"/>
                </a:cxn>
                <a:cxn ang="0">
                  <a:pos x="526" y="116"/>
                </a:cxn>
                <a:cxn ang="0">
                  <a:pos x="496" y="71"/>
                </a:cxn>
                <a:cxn ang="0">
                  <a:pos x="458" y="31"/>
                </a:cxn>
                <a:cxn ang="0">
                  <a:pos x="446" y="0"/>
                </a:cxn>
                <a:cxn ang="0">
                  <a:pos x="401" y="13"/>
                </a:cxn>
                <a:cxn ang="0">
                  <a:pos x="347" y="22"/>
                </a:cxn>
                <a:cxn ang="0">
                  <a:pos x="333" y="59"/>
                </a:cxn>
                <a:cxn ang="0">
                  <a:pos x="268" y="58"/>
                </a:cxn>
                <a:cxn ang="0">
                  <a:pos x="237" y="58"/>
                </a:cxn>
                <a:cxn ang="0">
                  <a:pos x="186" y="70"/>
                </a:cxn>
                <a:cxn ang="0">
                  <a:pos x="147" y="76"/>
                </a:cxn>
                <a:cxn ang="0">
                  <a:pos x="115" y="80"/>
                </a:cxn>
                <a:cxn ang="0">
                  <a:pos x="84" y="106"/>
                </a:cxn>
                <a:cxn ang="0">
                  <a:pos x="79" y="148"/>
                </a:cxn>
                <a:cxn ang="0">
                  <a:pos x="98" y="154"/>
                </a:cxn>
                <a:cxn ang="0">
                  <a:pos x="156" y="145"/>
                </a:cxn>
                <a:cxn ang="0">
                  <a:pos x="172" y="160"/>
                </a:cxn>
                <a:cxn ang="0">
                  <a:pos x="155" y="185"/>
                </a:cxn>
                <a:cxn ang="0">
                  <a:pos x="122" y="172"/>
                </a:cxn>
                <a:cxn ang="0">
                  <a:pos x="125" y="211"/>
                </a:cxn>
                <a:cxn ang="0">
                  <a:pos x="171" y="237"/>
                </a:cxn>
                <a:cxn ang="0">
                  <a:pos x="156" y="329"/>
                </a:cxn>
                <a:cxn ang="0">
                  <a:pos x="235" y="316"/>
                </a:cxn>
                <a:cxn ang="0">
                  <a:pos x="294" y="333"/>
                </a:cxn>
                <a:cxn ang="0">
                  <a:pos x="384" y="364"/>
                </a:cxn>
                <a:cxn ang="0">
                  <a:pos x="414" y="432"/>
                </a:cxn>
                <a:cxn ang="0">
                  <a:pos x="425" y="403"/>
                </a:cxn>
                <a:cxn ang="0">
                  <a:pos x="460" y="391"/>
                </a:cxn>
                <a:cxn ang="0">
                  <a:pos x="522" y="390"/>
                </a:cxn>
                <a:cxn ang="0">
                  <a:pos x="462" y="407"/>
                </a:cxn>
                <a:cxn ang="0">
                  <a:pos x="513" y="428"/>
                </a:cxn>
                <a:cxn ang="0">
                  <a:pos x="555" y="424"/>
                </a:cxn>
                <a:cxn ang="0">
                  <a:pos x="566" y="454"/>
                </a:cxn>
                <a:cxn ang="0">
                  <a:pos x="554" y="487"/>
                </a:cxn>
                <a:cxn ang="0">
                  <a:pos x="595" y="481"/>
                </a:cxn>
                <a:cxn ang="0">
                  <a:pos x="666" y="409"/>
                </a:cxn>
                <a:cxn ang="0">
                  <a:pos x="752" y="389"/>
                </a:cxn>
                <a:cxn ang="0">
                  <a:pos x="796" y="377"/>
                </a:cxn>
                <a:cxn ang="0">
                  <a:pos x="838" y="366"/>
                </a:cxn>
                <a:cxn ang="0">
                  <a:pos x="879" y="220"/>
                </a:cxn>
              </a:cxnLst>
              <a:rect l="0" t="0" r="r" b="b"/>
              <a:pathLst>
                <a:path w="884" h="496">
                  <a:moveTo>
                    <a:pt x="459" y="18"/>
                  </a:moveTo>
                  <a:cubicBezTo>
                    <a:pt x="460" y="17"/>
                    <a:pt x="460" y="17"/>
                    <a:pt x="460" y="15"/>
                  </a:cubicBezTo>
                  <a:cubicBezTo>
                    <a:pt x="460" y="12"/>
                    <a:pt x="459" y="14"/>
                    <a:pt x="459" y="18"/>
                  </a:cubicBezTo>
                  <a:close/>
                  <a:moveTo>
                    <a:pt x="17" y="117"/>
                  </a:moveTo>
                  <a:cubicBezTo>
                    <a:pt x="11" y="117"/>
                    <a:pt x="0" y="125"/>
                    <a:pt x="0" y="125"/>
                  </a:cubicBezTo>
                  <a:cubicBezTo>
                    <a:pt x="5" y="133"/>
                    <a:pt x="5" y="133"/>
                    <a:pt x="5" y="133"/>
                  </a:cubicBezTo>
                  <a:cubicBezTo>
                    <a:pt x="21" y="123"/>
                    <a:pt x="21" y="123"/>
                    <a:pt x="21" y="123"/>
                  </a:cubicBezTo>
                  <a:cubicBezTo>
                    <a:pt x="21" y="123"/>
                    <a:pt x="23" y="117"/>
                    <a:pt x="17" y="117"/>
                  </a:cubicBezTo>
                  <a:close/>
                  <a:moveTo>
                    <a:pt x="355" y="388"/>
                  </a:moveTo>
                  <a:cubicBezTo>
                    <a:pt x="346" y="382"/>
                    <a:pt x="339" y="378"/>
                    <a:pt x="339" y="378"/>
                  </a:cubicBezTo>
                  <a:cubicBezTo>
                    <a:pt x="339" y="378"/>
                    <a:pt x="333" y="390"/>
                    <a:pt x="344" y="389"/>
                  </a:cubicBezTo>
                  <a:cubicBezTo>
                    <a:pt x="355" y="388"/>
                    <a:pt x="364" y="394"/>
                    <a:pt x="355" y="388"/>
                  </a:cubicBezTo>
                  <a:close/>
                  <a:moveTo>
                    <a:pt x="413" y="479"/>
                  </a:moveTo>
                  <a:cubicBezTo>
                    <a:pt x="409" y="469"/>
                    <a:pt x="409" y="469"/>
                    <a:pt x="409" y="469"/>
                  </a:cubicBezTo>
                  <a:cubicBezTo>
                    <a:pt x="394" y="465"/>
                    <a:pt x="394" y="465"/>
                    <a:pt x="394" y="465"/>
                  </a:cubicBezTo>
                  <a:cubicBezTo>
                    <a:pt x="384" y="466"/>
                    <a:pt x="393" y="490"/>
                    <a:pt x="393" y="490"/>
                  </a:cubicBezTo>
                  <a:cubicBezTo>
                    <a:pt x="413" y="490"/>
                    <a:pt x="413" y="490"/>
                    <a:pt x="413" y="490"/>
                  </a:cubicBezTo>
                  <a:cubicBezTo>
                    <a:pt x="422" y="494"/>
                    <a:pt x="422" y="494"/>
                    <a:pt x="422" y="494"/>
                  </a:cubicBezTo>
                  <a:cubicBezTo>
                    <a:pt x="427" y="485"/>
                    <a:pt x="427" y="485"/>
                    <a:pt x="427" y="485"/>
                  </a:cubicBezTo>
                  <a:cubicBezTo>
                    <a:pt x="425" y="480"/>
                    <a:pt x="425" y="480"/>
                    <a:pt x="425" y="480"/>
                  </a:cubicBezTo>
                  <a:lnTo>
                    <a:pt x="413" y="479"/>
                  </a:lnTo>
                  <a:close/>
                  <a:moveTo>
                    <a:pt x="448" y="462"/>
                  </a:moveTo>
                  <a:cubicBezTo>
                    <a:pt x="448" y="462"/>
                    <a:pt x="454" y="467"/>
                    <a:pt x="454" y="465"/>
                  </a:cubicBezTo>
                  <a:cubicBezTo>
                    <a:pt x="454" y="462"/>
                    <a:pt x="454" y="462"/>
                    <a:pt x="448" y="462"/>
                  </a:cubicBezTo>
                  <a:close/>
                  <a:moveTo>
                    <a:pt x="467" y="479"/>
                  </a:moveTo>
                  <a:cubicBezTo>
                    <a:pt x="467" y="479"/>
                    <a:pt x="473" y="479"/>
                    <a:pt x="473" y="476"/>
                  </a:cubicBezTo>
                  <a:cubicBezTo>
                    <a:pt x="473" y="473"/>
                    <a:pt x="467" y="479"/>
                    <a:pt x="467" y="479"/>
                  </a:cubicBezTo>
                  <a:close/>
                  <a:moveTo>
                    <a:pt x="55" y="259"/>
                  </a:moveTo>
                  <a:cubicBezTo>
                    <a:pt x="58" y="258"/>
                    <a:pt x="53" y="251"/>
                    <a:pt x="53" y="251"/>
                  </a:cubicBezTo>
                  <a:cubicBezTo>
                    <a:pt x="53" y="251"/>
                    <a:pt x="52" y="260"/>
                    <a:pt x="55" y="259"/>
                  </a:cubicBezTo>
                  <a:close/>
                  <a:moveTo>
                    <a:pt x="36" y="144"/>
                  </a:moveTo>
                  <a:cubicBezTo>
                    <a:pt x="41" y="150"/>
                    <a:pt x="40" y="142"/>
                    <a:pt x="40" y="142"/>
                  </a:cubicBezTo>
                  <a:cubicBezTo>
                    <a:pt x="40" y="142"/>
                    <a:pt x="31" y="139"/>
                    <a:pt x="36" y="144"/>
                  </a:cubicBezTo>
                  <a:close/>
                  <a:moveTo>
                    <a:pt x="56" y="163"/>
                  </a:moveTo>
                  <a:cubicBezTo>
                    <a:pt x="56" y="163"/>
                    <a:pt x="64" y="161"/>
                    <a:pt x="59" y="156"/>
                  </a:cubicBezTo>
                  <a:cubicBezTo>
                    <a:pt x="54" y="152"/>
                    <a:pt x="56" y="163"/>
                    <a:pt x="56" y="163"/>
                  </a:cubicBezTo>
                  <a:close/>
                  <a:moveTo>
                    <a:pt x="247" y="36"/>
                  </a:moveTo>
                  <a:cubicBezTo>
                    <a:pt x="242" y="39"/>
                    <a:pt x="242" y="39"/>
                    <a:pt x="242" y="39"/>
                  </a:cubicBezTo>
                  <a:cubicBezTo>
                    <a:pt x="246" y="42"/>
                    <a:pt x="246" y="42"/>
                    <a:pt x="246" y="42"/>
                  </a:cubicBezTo>
                  <a:lnTo>
                    <a:pt x="247" y="36"/>
                  </a:lnTo>
                  <a:close/>
                  <a:moveTo>
                    <a:pt x="872" y="188"/>
                  </a:moveTo>
                  <a:cubicBezTo>
                    <a:pt x="874" y="165"/>
                    <a:pt x="874" y="165"/>
                    <a:pt x="874" y="165"/>
                  </a:cubicBezTo>
                  <a:cubicBezTo>
                    <a:pt x="865" y="163"/>
                    <a:pt x="853" y="157"/>
                    <a:pt x="835" y="149"/>
                  </a:cubicBezTo>
                  <a:cubicBezTo>
                    <a:pt x="786" y="217"/>
                    <a:pt x="776" y="124"/>
                    <a:pt x="776" y="124"/>
                  </a:cubicBezTo>
                  <a:cubicBezTo>
                    <a:pt x="757" y="79"/>
                    <a:pt x="757" y="79"/>
                    <a:pt x="757" y="79"/>
                  </a:cubicBezTo>
                  <a:cubicBezTo>
                    <a:pt x="750" y="81"/>
                    <a:pt x="742" y="83"/>
                    <a:pt x="742" y="83"/>
                  </a:cubicBezTo>
                  <a:cubicBezTo>
                    <a:pt x="742" y="83"/>
                    <a:pt x="722" y="85"/>
                    <a:pt x="710" y="84"/>
                  </a:cubicBezTo>
                  <a:cubicBezTo>
                    <a:pt x="698" y="83"/>
                    <a:pt x="705" y="58"/>
                    <a:pt x="705" y="58"/>
                  </a:cubicBezTo>
                  <a:cubicBezTo>
                    <a:pt x="692" y="58"/>
                    <a:pt x="664" y="78"/>
                    <a:pt x="664" y="78"/>
                  </a:cubicBezTo>
                  <a:cubicBezTo>
                    <a:pt x="647" y="76"/>
                    <a:pt x="647" y="76"/>
                    <a:pt x="647" y="76"/>
                  </a:cubicBezTo>
                  <a:cubicBezTo>
                    <a:pt x="647" y="76"/>
                    <a:pt x="636" y="91"/>
                    <a:pt x="628" y="92"/>
                  </a:cubicBezTo>
                  <a:cubicBezTo>
                    <a:pt x="620" y="93"/>
                    <a:pt x="616" y="75"/>
                    <a:pt x="616" y="75"/>
                  </a:cubicBezTo>
                  <a:cubicBezTo>
                    <a:pt x="601" y="80"/>
                    <a:pt x="601" y="80"/>
                    <a:pt x="601" y="80"/>
                  </a:cubicBezTo>
                  <a:cubicBezTo>
                    <a:pt x="601" y="80"/>
                    <a:pt x="609" y="67"/>
                    <a:pt x="606" y="63"/>
                  </a:cubicBezTo>
                  <a:cubicBezTo>
                    <a:pt x="603" y="59"/>
                    <a:pt x="584" y="75"/>
                    <a:pt x="584" y="75"/>
                  </a:cubicBezTo>
                  <a:cubicBezTo>
                    <a:pt x="571" y="72"/>
                    <a:pt x="571" y="72"/>
                    <a:pt x="571" y="72"/>
                  </a:cubicBezTo>
                  <a:cubicBezTo>
                    <a:pt x="570" y="80"/>
                    <a:pt x="570" y="80"/>
                    <a:pt x="570" y="80"/>
                  </a:cubicBezTo>
                  <a:cubicBezTo>
                    <a:pt x="533" y="109"/>
                    <a:pt x="533" y="109"/>
                    <a:pt x="533" y="109"/>
                  </a:cubicBezTo>
                  <a:cubicBezTo>
                    <a:pt x="529" y="106"/>
                    <a:pt x="529" y="106"/>
                    <a:pt x="529" y="106"/>
                  </a:cubicBezTo>
                  <a:cubicBezTo>
                    <a:pt x="526" y="116"/>
                    <a:pt x="526" y="116"/>
                    <a:pt x="526" y="116"/>
                  </a:cubicBezTo>
                  <a:cubicBezTo>
                    <a:pt x="516" y="96"/>
                    <a:pt x="516" y="96"/>
                    <a:pt x="516" y="96"/>
                  </a:cubicBezTo>
                  <a:cubicBezTo>
                    <a:pt x="499" y="88"/>
                    <a:pt x="499" y="88"/>
                    <a:pt x="499" y="88"/>
                  </a:cubicBezTo>
                  <a:cubicBezTo>
                    <a:pt x="496" y="71"/>
                    <a:pt x="496" y="71"/>
                    <a:pt x="496" y="71"/>
                  </a:cubicBezTo>
                  <a:cubicBezTo>
                    <a:pt x="473" y="49"/>
                    <a:pt x="473" y="49"/>
                    <a:pt x="473" y="49"/>
                  </a:cubicBezTo>
                  <a:cubicBezTo>
                    <a:pt x="473" y="36"/>
                    <a:pt x="473" y="36"/>
                    <a:pt x="473" y="36"/>
                  </a:cubicBezTo>
                  <a:cubicBezTo>
                    <a:pt x="473" y="36"/>
                    <a:pt x="459" y="35"/>
                    <a:pt x="458" y="31"/>
                  </a:cubicBezTo>
                  <a:cubicBezTo>
                    <a:pt x="457" y="29"/>
                    <a:pt x="458" y="22"/>
                    <a:pt x="459" y="18"/>
                  </a:cubicBezTo>
                  <a:cubicBezTo>
                    <a:pt x="455" y="21"/>
                    <a:pt x="444" y="18"/>
                    <a:pt x="444" y="18"/>
                  </a:cubicBezTo>
                  <a:cubicBezTo>
                    <a:pt x="446" y="0"/>
                    <a:pt x="446" y="0"/>
                    <a:pt x="446" y="0"/>
                  </a:cubicBezTo>
                  <a:cubicBezTo>
                    <a:pt x="426" y="10"/>
                    <a:pt x="426" y="10"/>
                    <a:pt x="426" y="10"/>
                  </a:cubicBezTo>
                  <a:cubicBezTo>
                    <a:pt x="415" y="4"/>
                    <a:pt x="415" y="4"/>
                    <a:pt x="415" y="4"/>
                  </a:cubicBezTo>
                  <a:cubicBezTo>
                    <a:pt x="415" y="4"/>
                    <a:pt x="411" y="10"/>
                    <a:pt x="401" y="13"/>
                  </a:cubicBezTo>
                  <a:cubicBezTo>
                    <a:pt x="387" y="15"/>
                    <a:pt x="372" y="26"/>
                    <a:pt x="372" y="26"/>
                  </a:cubicBezTo>
                  <a:cubicBezTo>
                    <a:pt x="371" y="19"/>
                    <a:pt x="356" y="12"/>
                    <a:pt x="351" y="12"/>
                  </a:cubicBezTo>
                  <a:cubicBezTo>
                    <a:pt x="346" y="12"/>
                    <a:pt x="347" y="22"/>
                    <a:pt x="347" y="22"/>
                  </a:cubicBezTo>
                  <a:cubicBezTo>
                    <a:pt x="341" y="25"/>
                    <a:pt x="341" y="25"/>
                    <a:pt x="341" y="25"/>
                  </a:cubicBezTo>
                  <a:cubicBezTo>
                    <a:pt x="347" y="40"/>
                    <a:pt x="347" y="40"/>
                    <a:pt x="347" y="40"/>
                  </a:cubicBezTo>
                  <a:cubicBezTo>
                    <a:pt x="347" y="40"/>
                    <a:pt x="336" y="60"/>
                    <a:pt x="333" y="59"/>
                  </a:cubicBezTo>
                  <a:cubicBezTo>
                    <a:pt x="300" y="51"/>
                    <a:pt x="285" y="50"/>
                    <a:pt x="282" y="56"/>
                  </a:cubicBezTo>
                  <a:cubicBezTo>
                    <a:pt x="279" y="62"/>
                    <a:pt x="280" y="72"/>
                    <a:pt x="277" y="72"/>
                  </a:cubicBezTo>
                  <a:cubicBezTo>
                    <a:pt x="274" y="72"/>
                    <a:pt x="268" y="58"/>
                    <a:pt x="268" y="58"/>
                  </a:cubicBezTo>
                  <a:cubicBezTo>
                    <a:pt x="258" y="63"/>
                    <a:pt x="258" y="63"/>
                    <a:pt x="258" y="63"/>
                  </a:cubicBezTo>
                  <a:cubicBezTo>
                    <a:pt x="258" y="63"/>
                    <a:pt x="251" y="44"/>
                    <a:pt x="245" y="47"/>
                  </a:cubicBezTo>
                  <a:cubicBezTo>
                    <a:pt x="239" y="50"/>
                    <a:pt x="237" y="58"/>
                    <a:pt x="237" y="58"/>
                  </a:cubicBezTo>
                  <a:cubicBezTo>
                    <a:pt x="237" y="58"/>
                    <a:pt x="226" y="55"/>
                    <a:pt x="217" y="54"/>
                  </a:cubicBezTo>
                  <a:cubicBezTo>
                    <a:pt x="208" y="53"/>
                    <a:pt x="200" y="64"/>
                    <a:pt x="200" y="64"/>
                  </a:cubicBezTo>
                  <a:cubicBezTo>
                    <a:pt x="186" y="70"/>
                    <a:pt x="186" y="70"/>
                    <a:pt x="186" y="70"/>
                  </a:cubicBezTo>
                  <a:cubicBezTo>
                    <a:pt x="173" y="60"/>
                    <a:pt x="173" y="60"/>
                    <a:pt x="173" y="60"/>
                  </a:cubicBezTo>
                  <a:cubicBezTo>
                    <a:pt x="173" y="60"/>
                    <a:pt x="168" y="65"/>
                    <a:pt x="161" y="69"/>
                  </a:cubicBezTo>
                  <a:cubicBezTo>
                    <a:pt x="154" y="73"/>
                    <a:pt x="147" y="76"/>
                    <a:pt x="147" y="76"/>
                  </a:cubicBezTo>
                  <a:cubicBezTo>
                    <a:pt x="147" y="76"/>
                    <a:pt x="131" y="70"/>
                    <a:pt x="126" y="70"/>
                  </a:cubicBezTo>
                  <a:cubicBezTo>
                    <a:pt x="121" y="70"/>
                    <a:pt x="134" y="84"/>
                    <a:pt x="134" y="84"/>
                  </a:cubicBezTo>
                  <a:cubicBezTo>
                    <a:pt x="115" y="80"/>
                    <a:pt x="115" y="80"/>
                    <a:pt x="115" y="80"/>
                  </a:cubicBezTo>
                  <a:cubicBezTo>
                    <a:pt x="115" y="85"/>
                    <a:pt x="115" y="85"/>
                    <a:pt x="115" y="85"/>
                  </a:cubicBezTo>
                  <a:cubicBezTo>
                    <a:pt x="105" y="87"/>
                    <a:pt x="105" y="87"/>
                    <a:pt x="105" y="87"/>
                  </a:cubicBezTo>
                  <a:cubicBezTo>
                    <a:pt x="105" y="87"/>
                    <a:pt x="96" y="98"/>
                    <a:pt x="84" y="106"/>
                  </a:cubicBezTo>
                  <a:cubicBezTo>
                    <a:pt x="72" y="114"/>
                    <a:pt x="86" y="121"/>
                    <a:pt x="86" y="121"/>
                  </a:cubicBezTo>
                  <a:cubicBezTo>
                    <a:pt x="86" y="121"/>
                    <a:pt x="76" y="131"/>
                    <a:pt x="75" y="139"/>
                  </a:cubicBezTo>
                  <a:cubicBezTo>
                    <a:pt x="74" y="147"/>
                    <a:pt x="79" y="148"/>
                    <a:pt x="79" y="148"/>
                  </a:cubicBezTo>
                  <a:cubicBezTo>
                    <a:pt x="79" y="148"/>
                    <a:pt x="74" y="150"/>
                    <a:pt x="75" y="160"/>
                  </a:cubicBezTo>
                  <a:cubicBezTo>
                    <a:pt x="76" y="170"/>
                    <a:pt x="86" y="164"/>
                    <a:pt x="86" y="164"/>
                  </a:cubicBezTo>
                  <a:cubicBezTo>
                    <a:pt x="98" y="154"/>
                    <a:pt x="98" y="154"/>
                    <a:pt x="98" y="154"/>
                  </a:cubicBezTo>
                  <a:cubicBezTo>
                    <a:pt x="107" y="157"/>
                    <a:pt x="107" y="157"/>
                    <a:pt x="107" y="157"/>
                  </a:cubicBezTo>
                  <a:cubicBezTo>
                    <a:pt x="107" y="157"/>
                    <a:pt x="112" y="161"/>
                    <a:pt x="122" y="156"/>
                  </a:cubicBezTo>
                  <a:cubicBezTo>
                    <a:pt x="132" y="151"/>
                    <a:pt x="156" y="145"/>
                    <a:pt x="156" y="145"/>
                  </a:cubicBezTo>
                  <a:cubicBezTo>
                    <a:pt x="145" y="163"/>
                    <a:pt x="145" y="163"/>
                    <a:pt x="145" y="163"/>
                  </a:cubicBezTo>
                  <a:cubicBezTo>
                    <a:pt x="157" y="168"/>
                    <a:pt x="157" y="168"/>
                    <a:pt x="157" y="168"/>
                  </a:cubicBezTo>
                  <a:cubicBezTo>
                    <a:pt x="172" y="160"/>
                    <a:pt x="172" y="160"/>
                    <a:pt x="172" y="160"/>
                  </a:cubicBezTo>
                  <a:cubicBezTo>
                    <a:pt x="174" y="166"/>
                    <a:pt x="186" y="174"/>
                    <a:pt x="183" y="174"/>
                  </a:cubicBezTo>
                  <a:cubicBezTo>
                    <a:pt x="180" y="174"/>
                    <a:pt x="166" y="183"/>
                    <a:pt x="166" y="183"/>
                  </a:cubicBezTo>
                  <a:cubicBezTo>
                    <a:pt x="155" y="185"/>
                    <a:pt x="155" y="185"/>
                    <a:pt x="155" y="185"/>
                  </a:cubicBezTo>
                  <a:cubicBezTo>
                    <a:pt x="145" y="173"/>
                    <a:pt x="145" y="173"/>
                    <a:pt x="145" y="173"/>
                  </a:cubicBezTo>
                  <a:cubicBezTo>
                    <a:pt x="137" y="178"/>
                    <a:pt x="137" y="178"/>
                    <a:pt x="137" y="178"/>
                  </a:cubicBezTo>
                  <a:cubicBezTo>
                    <a:pt x="122" y="172"/>
                    <a:pt x="122" y="172"/>
                    <a:pt x="122" y="172"/>
                  </a:cubicBezTo>
                  <a:cubicBezTo>
                    <a:pt x="109" y="181"/>
                    <a:pt x="109" y="181"/>
                    <a:pt x="109" y="181"/>
                  </a:cubicBezTo>
                  <a:cubicBezTo>
                    <a:pt x="120" y="189"/>
                    <a:pt x="120" y="189"/>
                    <a:pt x="120" y="189"/>
                  </a:cubicBezTo>
                  <a:cubicBezTo>
                    <a:pt x="120" y="189"/>
                    <a:pt x="124" y="208"/>
                    <a:pt x="125" y="211"/>
                  </a:cubicBezTo>
                  <a:cubicBezTo>
                    <a:pt x="126" y="214"/>
                    <a:pt x="130" y="192"/>
                    <a:pt x="141" y="191"/>
                  </a:cubicBezTo>
                  <a:cubicBezTo>
                    <a:pt x="152" y="190"/>
                    <a:pt x="135" y="190"/>
                    <a:pt x="164" y="204"/>
                  </a:cubicBezTo>
                  <a:cubicBezTo>
                    <a:pt x="193" y="218"/>
                    <a:pt x="171" y="237"/>
                    <a:pt x="171" y="237"/>
                  </a:cubicBezTo>
                  <a:cubicBezTo>
                    <a:pt x="144" y="227"/>
                    <a:pt x="79" y="254"/>
                    <a:pt x="79" y="254"/>
                  </a:cubicBezTo>
                  <a:cubicBezTo>
                    <a:pt x="139" y="267"/>
                    <a:pt x="141" y="276"/>
                    <a:pt x="153" y="293"/>
                  </a:cubicBezTo>
                  <a:cubicBezTo>
                    <a:pt x="165" y="310"/>
                    <a:pt x="156" y="329"/>
                    <a:pt x="156" y="329"/>
                  </a:cubicBezTo>
                  <a:cubicBezTo>
                    <a:pt x="197" y="333"/>
                    <a:pt x="197" y="333"/>
                    <a:pt x="197" y="333"/>
                  </a:cubicBezTo>
                  <a:cubicBezTo>
                    <a:pt x="197" y="333"/>
                    <a:pt x="207" y="310"/>
                    <a:pt x="214" y="310"/>
                  </a:cubicBezTo>
                  <a:cubicBezTo>
                    <a:pt x="221" y="310"/>
                    <a:pt x="231" y="316"/>
                    <a:pt x="235" y="316"/>
                  </a:cubicBezTo>
                  <a:cubicBezTo>
                    <a:pt x="239" y="316"/>
                    <a:pt x="249" y="301"/>
                    <a:pt x="249" y="301"/>
                  </a:cubicBezTo>
                  <a:cubicBezTo>
                    <a:pt x="268" y="334"/>
                    <a:pt x="268" y="334"/>
                    <a:pt x="268" y="334"/>
                  </a:cubicBezTo>
                  <a:cubicBezTo>
                    <a:pt x="294" y="333"/>
                    <a:pt x="294" y="333"/>
                    <a:pt x="294" y="333"/>
                  </a:cubicBezTo>
                  <a:cubicBezTo>
                    <a:pt x="296" y="338"/>
                    <a:pt x="335" y="344"/>
                    <a:pt x="335" y="344"/>
                  </a:cubicBezTo>
                  <a:cubicBezTo>
                    <a:pt x="335" y="344"/>
                    <a:pt x="355" y="365"/>
                    <a:pt x="358" y="365"/>
                  </a:cubicBezTo>
                  <a:cubicBezTo>
                    <a:pt x="361" y="365"/>
                    <a:pt x="384" y="364"/>
                    <a:pt x="384" y="364"/>
                  </a:cubicBezTo>
                  <a:cubicBezTo>
                    <a:pt x="414" y="401"/>
                    <a:pt x="414" y="401"/>
                    <a:pt x="414" y="401"/>
                  </a:cubicBezTo>
                  <a:cubicBezTo>
                    <a:pt x="410" y="421"/>
                    <a:pt x="410" y="421"/>
                    <a:pt x="410" y="421"/>
                  </a:cubicBezTo>
                  <a:cubicBezTo>
                    <a:pt x="414" y="432"/>
                    <a:pt x="414" y="432"/>
                    <a:pt x="414" y="432"/>
                  </a:cubicBezTo>
                  <a:cubicBezTo>
                    <a:pt x="414" y="432"/>
                    <a:pt x="426" y="438"/>
                    <a:pt x="422" y="432"/>
                  </a:cubicBezTo>
                  <a:cubicBezTo>
                    <a:pt x="418" y="426"/>
                    <a:pt x="421" y="398"/>
                    <a:pt x="421" y="398"/>
                  </a:cubicBezTo>
                  <a:cubicBezTo>
                    <a:pt x="425" y="403"/>
                    <a:pt x="425" y="403"/>
                    <a:pt x="425" y="403"/>
                  </a:cubicBezTo>
                  <a:cubicBezTo>
                    <a:pt x="442" y="399"/>
                    <a:pt x="442" y="399"/>
                    <a:pt x="442" y="399"/>
                  </a:cubicBezTo>
                  <a:cubicBezTo>
                    <a:pt x="452" y="403"/>
                    <a:pt x="452" y="403"/>
                    <a:pt x="452" y="403"/>
                  </a:cubicBezTo>
                  <a:cubicBezTo>
                    <a:pt x="460" y="391"/>
                    <a:pt x="460" y="391"/>
                    <a:pt x="460" y="391"/>
                  </a:cubicBezTo>
                  <a:cubicBezTo>
                    <a:pt x="466" y="399"/>
                    <a:pt x="466" y="399"/>
                    <a:pt x="466" y="399"/>
                  </a:cubicBezTo>
                  <a:cubicBezTo>
                    <a:pt x="481" y="388"/>
                    <a:pt x="481" y="388"/>
                    <a:pt x="481" y="388"/>
                  </a:cubicBezTo>
                  <a:cubicBezTo>
                    <a:pt x="481" y="388"/>
                    <a:pt x="518" y="389"/>
                    <a:pt x="522" y="390"/>
                  </a:cubicBezTo>
                  <a:cubicBezTo>
                    <a:pt x="517" y="392"/>
                    <a:pt x="502" y="416"/>
                    <a:pt x="502" y="416"/>
                  </a:cubicBezTo>
                  <a:cubicBezTo>
                    <a:pt x="502" y="416"/>
                    <a:pt x="503" y="411"/>
                    <a:pt x="495" y="411"/>
                  </a:cubicBezTo>
                  <a:cubicBezTo>
                    <a:pt x="487" y="411"/>
                    <a:pt x="462" y="407"/>
                    <a:pt x="462" y="407"/>
                  </a:cubicBezTo>
                  <a:cubicBezTo>
                    <a:pt x="487" y="429"/>
                    <a:pt x="487" y="429"/>
                    <a:pt x="487" y="429"/>
                  </a:cubicBezTo>
                  <a:cubicBezTo>
                    <a:pt x="505" y="422"/>
                    <a:pt x="505" y="422"/>
                    <a:pt x="505" y="422"/>
                  </a:cubicBezTo>
                  <a:cubicBezTo>
                    <a:pt x="513" y="428"/>
                    <a:pt x="513" y="428"/>
                    <a:pt x="513" y="428"/>
                  </a:cubicBezTo>
                  <a:cubicBezTo>
                    <a:pt x="517" y="419"/>
                    <a:pt x="517" y="419"/>
                    <a:pt x="517" y="419"/>
                  </a:cubicBezTo>
                  <a:cubicBezTo>
                    <a:pt x="538" y="427"/>
                    <a:pt x="538" y="427"/>
                    <a:pt x="538" y="427"/>
                  </a:cubicBezTo>
                  <a:cubicBezTo>
                    <a:pt x="538" y="427"/>
                    <a:pt x="548" y="420"/>
                    <a:pt x="555" y="424"/>
                  </a:cubicBezTo>
                  <a:cubicBezTo>
                    <a:pt x="562" y="428"/>
                    <a:pt x="557" y="444"/>
                    <a:pt x="557" y="444"/>
                  </a:cubicBezTo>
                  <a:cubicBezTo>
                    <a:pt x="563" y="444"/>
                    <a:pt x="563" y="444"/>
                    <a:pt x="563" y="444"/>
                  </a:cubicBezTo>
                  <a:cubicBezTo>
                    <a:pt x="566" y="454"/>
                    <a:pt x="566" y="454"/>
                    <a:pt x="566" y="454"/>
                  </a:cubicBezTo>
                  <a:cubicBezTo>
                    <a:pt x="555" y="452"/>
                    <a:pt x="555" y="452"/>
                    <a:pt x="555" y="452"/>
                  </a:cubicBezTo>
                  <a:cubicBezTo>
                    <a:pt x="545" y="463"/>
                    <a:pt x="545" y="463"/>
                    <a:pt x="545" y="463"/>
                  </a:cubicBezTo>
                  <a:cubicBezTo>
                    <a:pt x="554" y="487"/>
                    <a:pt x="554" y="487"/>
                    <a:pt x="554" y="487"/>
                  </a:cubicBezTo>
                  <a:cubicBezTo>
                    <a:pt x="567" y="476"/>
                    <a:pt x="567" y="476"/>
                    <a:pt x="567" y="476"/>
                  </a:cubicBezTo>
                  <a:cubicBezTo>
                    <a:pt x="575" y="481"/>
                    <a:pt x="575" y="481"/>
                    <a:pt x="575" y="481"/>
                  </a:cubicBezTo>
                  <a:cubicBezTo>
                    <a:pt x="595" y="481"/>
                    <a:pt x="595" y="481"/>
                    <a:pt x="595" y="481"/>
                  </a:cubicBezTo>
                  <a:cubicBezTo>
                    <a:pt x="596" y="469"/>
                    <a:pt x="596" y="469"/>
                    <a:pt x="596" y="469"/>
                  </a:cubicBezTo>
                  <a:cubicBezTo>
                    <a:pt x="596" y="469"/>
                    <a:pt x="635" y="496"/>
                    <a:pt x="642" y="436"/>
                  </a:cubicBezTo>
                  <a:cubicBezTo>
                    <a:pt x="666" y="409"/>
                    <a:pt x="666" y="409"/>
                    <a:pt x="666" y="409"/>
                  </a:cubicBezTo>
                  <a:cubicBezTo>
                    <a:pt x="674" y="418"/>
                    <a:pt x="674" y="418"/>
                    <a:pt x="674" y="418"/>
                  </a:cubicBezTo>
                  <a:cubicBezTo>
                    <a:pt x="674" y="418"/>
                    <a:pt x="706" y="416"/>
                    <a:pt x="734" y="410"/>
                  </a:cubicBezTo>
                  <a:cubicBezTo>
                    <a:pt x="752" y="389"/>
                    <a:pt x="752" y="389"/>
                    <a:pt x="752" y="389"/>
                  </a:cubicBezTo>
                  <a:cubicBezTo>
                    <a:pt x="778" y="385"/>
                    <a:pt x="778" y="385"/>
                    <a:pt x="778" y="385"/>
                  </a:cubicBezTo>
                  <a:cubicBezTo>
                    <a:pt x="780" y="370"/>
                    <a:pt x="780" y="370"/>
                    <a:pt x="780" y="370"/>
                  </a:cubicBezTo>
                  <a:cubicBezTo>
                    <a:pt x="796" y="377"/>
                    <a:pt x="796" y="377"/>
                    <a:pt x="796" y="377"/>
                  </a:cubicBezTo>
                  <a:cubicBezTo>
                    <a:pt x="799" y="386"/>
                    <a:pt x="799" y="386"/>
                    <a:pt x="799" y="386"/>
                  </a:cubicBezTo>
                  <a:cubicBezTo>
                    <a:pt x="830" y="392"/>
                    <a:pt x="830" y="392"/>
                    <a:pt x="830" y="392"/>
                  </a:cubicBezTo>
                  <a:cubicBezTo>
                    <a:pt x="830" y="392"/>
                    <a:pt x="832" y="378"/>
                    <a:pt x="838" y="366"/>
                  </a:cubicBezTo>
                  <a:cubicBezTo>
                    <a:pt x="843" y="354"/>
                    <a:pt x="848" y="328"/>
                    <a:pt x="870" y="328"/>
                  </a:cubicBezTo>
                  <a:cubicBezTo>
                    <a:pt x="884" y="316"/>
                    <a:pt x="875" y="334"/>
                    <a:pt x="867" y="242"/>
                  </a:cubicBezTo>
                  <a:cubicBezTo>
                    <a:pt x="875" y="214"/>
                    <a:pt x="879" y="220"/>
                    <a:pt x="879" y="220"/>
                  </a:cubicBezTo>
                  <a:lnTo>
                    <a:pt x="872" y="18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2" name="Pays-de-la-Loire" descr="© INSCALE GmbH, 05.05.2010&#10;http://www.presentationload.com/">
              <a:extLst>
                <a:ext uri="{FF2B5EF4-FFF2-40B4-BE49-F238E27FC236}">
                  <a16:creationId xmlns:a16="http://schemas.microsoft.com/office/drawing/2014/main" id="{85508898-E58C-4F8D-BC43-AB4DB22941C3}"/>
                </a:ext>
              </a:extLst>
            </p:cNvPr>
            <p:cNvSpPr>
              <a:spLocks noEditPoints="1"/>
            </p:cNvSpPr>
            <p:nvPr/>
          </p:nvSpPr>
          <p:spPr bwMode="gray">
            <a:xfrm>
              <a:off x="644" y="1006"/>
              <a:ext cx="797" cy="790"/>
            </a:xfrm>
            <a:custGeom>
              <a:avLst/>
              <a:gdLst/>
              <a:ahLst/>
              <a:cxnLst>
                <a:cxn ang="0">
                  <a:pos x="16" y="534"/>
                </a:cxn>
                <a:cxn ang="0">
                  <a:pos x="51" y="448"/>
                </a:cxn>
                <a:cxn ang="0">
                  <a:pos x="219" y="694"/>
                </a:cxn>
                <a:cxn ang="0">
                  <a:pos x="191" y="687"/>
                </a:cxn>
                <a:cxn ang="0">
                  <a:pos x="211" y="706"/>
                </a:cxn>
                <a:cxn ang="0">
                  <a:pos x="222" y="703"/>
                </a:cxn>
                <a:cxn ang="0">
                  <a:pos x="707" y="141"/>
                </a:cxn>
                <a:cxn ang="0">
                  <a:pos x="651" y="103"/>
                </a:cxn>
                <a:cxn ang="0">
                  <a:pos x="541" y="75"/>
                </a:cxn>
                <a:cxn ang="0">
                  <a:pos x="521" y="24"/>
                </a:cxn>
                <a:cxn ang="0">
                  <a:pos x="482" y="25"/>
                </a:cxn>
                <a:cxn ang="0">
                  <a:pos x="439" y="31"/>
                </a:cxn>
                <a:cxn ang="0">
                  <a:pos x="391" y="47"/>
                </a:cxn>
                <a:cxn ang="0">
                  <a:pos x="321" y="28"/>
                </a:cxn>
                <a:cxn ang="0">
                  <a:pos x="314" y="105"/>
                </a:cxn>
                <a:cxn ang="0">
                  <a:pos x="277" y="255"/>
                </a:cxn>
                <a:cxn ang="0">
                  <a:pos x="227" y="233"/>
                </a:cxn>
                <a:cxn ang="0">
                  <a:pos x="181" y="273"/>
                </a:cxn>
                <a:cxn ang="0">
                  <a:pos x="89" y="299"/>
                </a:cxn>
                <a:cxn ang="0">
                  <a:pos x="22" y="344"/>
                </a:cxn>
                <a:cxn ang="0">
                  <a:pos x="3" y="354"/>
                </a:cxn>
                <a:cxn ang="0">
                  <a:pos x="24" y="359"/>
                </a:cxn>
                <a:cxn ang="0">
                  <a:pos x="105" y="349"/>
                </a:cxn>
                <a:cxn ang="0">
                  <a:pos x="67" y="376"/>
                </a:cxn>
                <a:cxn ang="0">
                  <a:pos x="52" y="399"/>
                </a:cxn>
                <a:cxn ang="0">
                  <a:pos x="104" y="444"/>
                </a:cxn>
                <a:cxn ang="0">
                  <a:pos x="72" y="483"/>
                </a:cxn>
                <a:cxn ang="0">
                  <a:pos x="55" y="465"/>
                </a:cxn>
                <a:cxn ang="0">
                  <a:pos x="72" y="511"/>
                </a:cxn>
                <a:cxn ang="0">
                  <a:pos x="135" y="611"/>
                </a:cxn>
                <a:cxn ang="0">
                  <a:pos x="210" y="658"/>
                </a:cxn>
                <a:cxn ang="0">
                  <a:pos x="251" y="669"/>
                </a:cxn>
                <a:cxn ang="0">
                  <a:pos x="287" y="680"/>
                </a:cxn>
                <a:cxn ang="0">
                  <a:pos x="289" y="723"/>
                </a:cxn>
                <a:cxn ang="0">
                  <a:pos x="337" y="729"/>
                </a:cxn>
                <a:cxn ang="0">
                  <a:pos x="385" y="728"/>
                </a:cxn>
                <a:cxn ang="0">
                  <a:pos x="389" y="707"/>
                </a:cxn>
                <a:cxn ang="0">
                  <a:pos x="394" y="664"/>
                </a:cxn>
                <a:cxn ang="0">
                  <a:pos x="386" y="605"/>
                </a:cxn>
                <a:cxn ang="0">
                  <a:pos x="353" y="548"/>
                </a:cxn>
                <a:cxn ang="0">
                  <a:pos x="378" y="511"/>
                </a:cxn>
                <a:cxn ang="0">
                  <a:pos x="434" y="488"/>
                </a:cxn>
                <a:cxn ang="0">
                  <a:pos x="502" y="480"/>
                </a:cxn>
                <a:cxn ang="0">
                  <a:pos x="514" y="483"/>
                </a:cxn>
                <a:cxn ang="0">
                  <a:pos x="549" y="461"/>
                </a:cxn>
                <a:cxn ang="0">
                  <a:pos x="585" y="359"/>
                </a:cxn>
                <a:cxn ang="0">
                  <a:pos x="615" y="320"/>
                </a:cxn>
                <a:cxn ang="0">
                  <a:pos x="674" y="299"/>
                </a:cxn>
                <a:cxn ang="0">
                  <a:pos x="717" y="229"/>
                </a:cxn>
                <a:cxn ang="0">
                  <a:pos x="722" y="192"/>
                </a:cxn>
                <a:cxn ang="0">
                  <a:pos x="725" y="157"/>
                </a:cxn>
                <a:cxn ang="0">
                  <a:pos x="719" y="140"/>
                </a:cxn>
              </a:cxnLst>
              <a:rect l="0" t="0" r="r" b="b"/>
              <a:pathLst>
                <a:path w="739" h="732">
                  <a:moveTo>
                    <a:pt x="16" y="534"/>
                  </a:moveTo>
                  <a:cubicBezTo>
                    <a:pt x="10" y="548"/>
                    <a:pt x="22" y="548"/>
                    <a:pt x="37" y="548"/>
                  </a:cubicBezTo>
                  <a:cubicBezTo>
                    <a:pt x="32" y="535"/>
                    <a:pt x="16" y="534"/>
                    <a:pt x="16" y="534"/>
                  </a:cubicBezTo>
                  <a:close/>
                  <a:moveTo>
                    <a:pt x="38" y="440"/>
                  </a:moveTo>
                  <a:cubicBezTo>
                    <a:pt x="36" y="461"/>
                    <a:pt x="44" y="460"/>
                    <a:pt x="47" y="462"/>
                  </a:cubicBezTo>
                  <a:cubicBezTo>
                    <a:pt x="50" y="464"/>
                    <a:pt x="51" y="458"/>
                    <a:pt x="51" y="448"/>
                  </a:cubicBezTo>
                  <a:cubicBezTo>
                    <a:pt x="51" y="438"/>
                    <a:pt x="38" y="440"/>
                    <a:pt x="38" y="440"/>
                  </a:cubicBezTo>
                  <a:close/>
                  <a:moveTo>
                    <a:pt x="222" y="703"/>
                  </a:moveTo>
                  <a:cubicBezTo>
                    <a:pt x="219" y="694"/>
                    <a:pt x="219" y="694"/>
                    <a:pt x="219" y="694"/>
                  </a:cubicBezTo>
                  <a:cubicBezTo>
                    <a:pt x="201" y="701"/>
                    <a:pt x="201" y="701"/>
                    <a:pt x="201" y="701"/>
                  </a:cubicBezTo>
                  <a:cubicBezTo>
                    <a:pt x="203" y="686"/>
                    <a:pt x="203" y="686"/>
                    <a:pt x="203" y="686"/>
                  </a:cubicBezTo>
                  <a:cubicBezTo>
                    <a:pt x="191" y="687"/>
                    <a:pt x="191" y="687"/>
                    <a:pt x="191" y="687"/>
                  </a:cubicBezTo>
                  <a:cubicBezTo>
                    <a:pt x="190" y="693"/>
                    <a:pt x="190" y="693"/>
                    <a:pt x="190" y="693"/>
                  </a:cubicBezTo>
                  <a:cubicBezTo>
                    <a:pt x="200" y="708"/>
                    <a:pt x="200" y="708"/>
                    <a:pt x="200" y="708"/>
                  </a:cubicBezTo>
                  <a:cubicBezTo>
                    <a:pt x="211" y="706"/>
                    <a:pt x="211" y="706"/>
                    <a:pt x="211" y="706"/>
                  </a:cubicBezTo>
                  <a:cubicBezTo>
                    <a:pt x="230" y="714"/>
                    <a:pt x="230" y="714"/>
                    <a:pt x="230" y="714"/>
                  </a:cubicBezTo>
                  <a:cubicBezTo>
                    <a:pt x="238" y="725"/>
                    <a:pt x="246" y="718"/>
                    <a:pt x="250" y="719"/>
                  </a:cubicBezTo>
                  <a:cubicBezTo>
                    <a:pt x="241" y="705"/>
                    <a:pt x="222" y="703"/>
                    <a:pt x="222" y="703"/>
                  </a:cubicBezTo>
                  <a:close/>
                  <a:moveTo>
                    <a:pt x="719" y="140"/>
                  </a:moveTo>
                  <a:cubicBezTo>
                    <a:pt x="719" y="139"/>
                    <a:pt x="719" y="139"/>
                    <a:pt x="719" y="139"/>
                  </a:cubicBezTo>
                  <a:cubicBezTo>
                    <a:pt x="707" y="141"/>
                    <a:pt x="707" y="141"/>
                    <a:pt x="707" y="141"/>
                  </a:cubicBezTo>
                  <a:cubicBezTo>
                    <a:pt x="683" y="117"/>
                    <a:pt x="683" y="117"/>
                    <a:pt x="683" y="117"/>
                  </a:cubicBezTo>
                  <a:cubicBezTo>
                    <a:pt x="658" y="123"/>
                    <a:pt x="658" y="123"/>
                    <a:pt x="658" y="123"/>
                  </a:cubicBezTo>
                  <a:cubicBezTo>
                    <a:pt x="651" y="103"/>
                    <a:pt x="651" y="103"/>
                    <a:pt x="651" y="103"/>
                  </a:cubicBezTo>
                  <a:cubicBezTo>
                    <a:pt x="651" y="103"/>
                    <a:pt x="638" y="96"/>
                    <a:pt x="631" y="91"/>
                  </a:cubicBezTo>
                  <a:cubicBezTo>
                    <a:pt x="623" y="0"/>
                    <a:pt x="561" y="75"/>
                    <a:pt x="561" y="75"/>
                  </a:cubicBezTo>
                  <a:cubicBezTo>
                    <a:pt x="541" y="75"/>
                    <a:pt x="541" y="75"/>
                    <a:pt x="541" y="75"/>
                  </a:cubicBezTo>
                  <a:cubicBezTo>
                    <a:pt x="537" y="48"/>
                    <a:pt x="537" y="48"/>
                    <a:pt x="537" y="48"/>
                  </a:cubicBezTo>
                  <a:cubicBezTo>
                    <a:pt x="537" y="48"/>
                    <a:pt x="531" y="49"/>
                    <a:pt x="519" y="49"/>
                  </a:cubicBezTo>
                  <a:cubicBezTo>
                    <a:pt x="507" y="49"/>
                    <a:pt x="521" y="24"/>
                    <a:pt x="521" y="24"/>
                  </a:cubicBezTo>
                  <a:cubicBezTo>
                    <a:pt x="521" y="24"/>
                    <a:pt x="498" y="15"/>
                    <a:pt x="494" y="15"/>
                  </a:cubicBezTo>
                  <a:cubicBezTo>
                    <a:pt x="490" y="15"/>
                    <a:pt x="498" y="20"/>
                    <a:pt x="494" y="28"/>
                  </a:cubicBezTo>
                  <a:cubicBezTo>
                    <a:pt x="490" y="36"/>
                    <a:pt x="482" y="25"/>
                    <a:pt x="482" y="25"/>
                  </a:cubicBezTo>
                  <a:cubicBezTo>
                    <a:pt x="467" y="37"/>
                    <a:pt x="467" y="37"/>
                    <a:pt x="467" y="37"/>
                  </a:cubicBezTo>
                  <a:cubicBezTo>
                    <a:pt x="461" y="32"/>
                    <a:pt x="461" y="32"/>
                    <a:pt x="461" y="32"/>
                  </a:cubicBezTo>
                  <a:cubicBezTo>
                    <a:pt x="461" y="32"/>
                    <a:pt x="446" y="31"/>
                    <a:pt x="439" y="31"/>
                  </a:cubicBezTo>
                  <a:cubicBezTo>
                    <a:pt x="434" y="45"/>
                    <a:pt x="411" y="45"/>
                    <a:pt x="411" y="45"/>
                  </a:cubicBezTo>
                  <a:cubicBezTo>
                    <a:pt x="407" y="36"/>
                    <a:pt x="407" y="36"/>
                    <a:pt x="407" y="36"/>
                  </a:cubicBezTo>
                  <a:cubicBezTo>
                    <a:pt x="407" y="36"/>
                    <a:pt x="391" y="37"/>
                    <a:pt x="391" y="47"/>
                  </a:cubicBezTo>
                  <a:cubicBezTo>
                    <a:pt x="391" y="56"/>
                    <a:pt x="366" y="32"/>
                    <a:pt x="366" y="32"/>
                  </a:cubicBezTo>
                  <a:cubicBezTo>
                    <a:pt x="366" y="32"/>
                    <a:pt x="353" y="28"/>
                    <a:pt x="343" y="23"/>
                  </a:cubicBezTo>
                  <a:cubicBezTo>
                    <a:pt x="338" y="30"/>
                    <a:pt x="331" y="31"/>
                    <a:pt x="321" y="28"/>
                  </a:cubicBezTo>
                  <a:cubicBezTo>
                    <a:pt x="319" y="51"/>
                    <a:pt x="319" y="51"/>
                    <a:pt x="319" y="51"/>
                  </a:cubicBezTo>
                  <a:cubicBezTo>
                    <a:pt x="326" y="83"/>
                    <a:pt x="326" y="83"/>
                    <a:pt x="326" y="83"/>
                  </a:cubicBezTo>
                  <a:cubicBezTo>
                    <a:pt x="326" y="83"/>
                    <a:pt x="322" y="77"/>
                    <a:pt x="314" y="105"/>
                  </a:cubicBezTo>
                  <a:cubicBezTo>
                    <a:pt x="322" y="197"/>
                    <a:pt x="331" y="179"/>
                    <a:pt x="317" y="191"/>
                  </a:cubicBezTo>
                  <a:cubicBezTo>
                    <a:pt x="295" y="191"/>
                    <a:pt x="290" y="217"/>
                    <a:pt x="285" y="229"/>
                  </a:cubicBezTo>
                  <a:cubicBezTo>
                    <a:pt x="279" y="241"/>
                    <a:pt x="277" y="255"/>
                    <a:pt x="277" y="255"/>
                  </a:cubicBezTo>
                  <a:cubicBezTo>
                    <a:pt x="246" y="249"/>
                    <a:pt x="246" y="249"/>
                    <a:pt x="246" y="249"/>
                  </a:cubicBezTo>
                  <a:cubicBezTo>
                    <a:pt x="243" y="240"/>
                    <a:pt x="243" y="240"/>
                    <a:pt x="243" y="240"/>
                  </a:cubicBezTo>
                  <a:cubicBezTo>
                    <a:pt x="227" y="233"/>
                    <a:pt x="227" y="233"/>
                    <a:pt x="227" y="233"/>
                  </a:cubicBezTo>
                  <a:cubicBezTo>
                    <a:pt x="225" y="248"/>
                    <a:pt x="225" y="248"/>
                    <a:pt x="225" y="248"/>
                  </a:cubicBezTo>
                  <a:cubicBezTo>
                    <a:pt x="199" y="252"/>
                    <a:pt x="199" y="252"/>
                    <a:pt x="199" y="252"/>
                  </a:cubicBezTo>
                  <a:cubicBezTo>
                    <a:pt x="199" y="252"/>
                    <a:pt x="199" y="252"/>
                    <a:pt x="181" y="273"/>
                  </a:cubicBezTo>
                  <a:cubicBezTo>
                    <a:pt x="153" y="279"/>
                    <a:pt x="121" y="281"/>
                    <a:pt x="121" y="281"/>
                  </a:cubicBezTo>
                  <a:cubicBezTo>
                    <a:pt x="113" y="272"/>
                    <a:pt x="113" y="272"/>
                    <a:pt x="113" y="272"/>
                  </a:cubicBezTo>
                  <a:cubicBezTo>
                    <a:pt x="113" y="272"/>
                    <a:pt x="113" y="272"/>
                    <a:pt x="89" y="299"/>
                  </a:cubicBezTo>
                  <a:cubicBezTo>
                    <a:pt x="82" y="359"/>
                    <a:pt x="43" y="332"/>
                    <a:pt x="43" y="332"/>
                  </a:cubicBezTo>
                  <a:cubicBezTo>
                    <a:pt x="42" y="344"/>
                    <a:pt x="42" y="344"/>
                    <a:pt x="42" y="344"/>
                  </a:cubicBezTo>
                  <a:cubicBezTo>
                    <a:pt x="22" y="344"/>
                    <a:pt x="22" y="344"/>
                    <a:pt x="22" y="344"/>
                  </a:cubicBezTo>
                  <a:cubicBezTo>
                    <a:pt x="14" y="339"/>
                    <a:pt x="14" y="339"/>
                    <a:pt x="14" y="339"/>
                  </a:cubicBezTo>
                  <a:cubicBezTo>
                    <a:pt x="1" y="350"/>
                    <a:pt x="1" y="350"/>
                    <a:pt x="1" y="350"/>
                  </a:cubicBezTo>
                  <a:cubicBezTo>
                    <a:pt x="3" y="354"/>
                    <a:pt x="3" y="354"/>
                    <a:pt x="3" y="354"/>
                  </a:cubicBezTo>
                  <a:cubicBezTo>
                    <a:pt x="0" y="355"/>
                    <a:pt x="0" y="355"/>
                    <a:pt x="0" y="355"/>
                  </a:cubicBezTo>
                  <a:cubicBezTo>
                    <a:pt x="2" y="357"/>
                    <a:pt x="4" y="360"/>
                    <a:pt x="7" y="364"/>
                  </a:cubicBezTo>
                  <a:cubicBezTo>
                    <a:pt x="14" y="363"/>
                    <a:pt x="24" y="359"/>
                    <a:pt x="24" y="359"/>
                  </a:cubicBezTo>
                  <a:cubicBezTo>
                    <a:pt x="24" y="359"/>
                    <a:pt x="39" y="374"/>
                    <a:pt x="45" y="374"/>
                  </a:cubicBezTo>
                  <a:cubicBezTo>
                    <a:pt x="51" y="374"/>
                    <a:pt x="70" y="351"/>
                    <a:pt x="70" y="351"/>
                  </a:cubicBezTo>
                  <a:cubicBezTo>
                    <a:pt x="70" y="351"/>
                    <a:pt x="103" y="344"/>
                    <a:pt x="105" y="349"/>
                  </a:cubicBezTo>
                  <a:cubicBezTo>
                    <a:pt x="107" y="354"/>
                    <a:pt x="96" y="361"/>
                    <a:pt x="96" y="361"/>
                  </a:cubicBezTo>
                  <a:cubicBezTo>
                    <a:pt x="72" y="363"/>
                    <a:pt x="72" y="363"/>
                    <a:pt x="72" y="363"/>
                  </a:cubicBezTo>
                  <a:cubicBezTo>
                    <a:pt x="67" y="376"/>
                    <a:pt x="67" y="376"/>
                    <a:pt x="67" y="376"/>
                  </a:cubicBezTo>
                  <a:cubicBezTo>
                    <a:pt x="71" y="385"/>
                    <a:pt x="71" y="385"/>
                    <a:pt x="71" y="385"/>
                  </a:cubicBezTo>
                  <a:cubicBezTo>
                    <a:pt x="65" y="399"/>
                    <a:pt x="65" y="399"/>
                    <a:pt x="65" y="399"/>
                  </a:cubicBezTo>
                  <a:cubicBezTo>
                    <a:pt x="52" y="399"/>
                    <a:pt x="52" y="399"/>
                    <a:pt x="52" y="399"/>
                  </a:cubicBezTo>
                  <a:cubicBezTo>
                    <a:pt x="52" y="408"/>
                    <a:pt x="52" y="408"/>
                    <a:pt x="52" y="408"/>
                  </a:cubicBezTo>
                  <a:cubicBezTo>
                    <a:pt x="91" y="415"/>
                    <a:pt x="91" y="415"/>
                    <a:pt x="91" y="415"/>
                  </a:cubicBezTo>
                  <a:cubicBezTo>
                    <a:pt x="104" y="444"/>
                    <a:pt x="104" y="444"/>
                    <a:pt x="104" y="444"/>
                  </a:cubicBezTo>
                  <a:cubicBezTo>
                    <a:pt x="95" y="445"/>
                    <a:pt x="95" y="445"/>
                    <a:pt x="95" y="445"/>
                  </a:cubicBezTo>
                  <a:cubicBezTo>
                    <a:pt x="92" y="462"/>
                    <a:pt x="92" y="462"/>
                    <a:pt x="92" y="462"/>
                  </a:cubicBezTo>
                  <a:cubicBezTo>
                    <a:pt x="72" y="483"/>
                    <a:pt x="72" y="483"/>
                    <a:pt x="72" y="483"/>
                  </a:cubicBezTo>
                  <a:cubicBezTo>
                    <a:pt x="69" y="468"/>
                    <a:pt x="69" y="468"/>
                    <a:pt x="69" y="468"/>
                  </a:cubicBezTo>
                  <a:cubicBezTo>
                    <a:pt x="55" y="458"/>
                    <a:pt x="55" y="458"/>
                    <a:pt x="55" y="458"/>
                  </a:cubicBezTo>
                  <a:cubicBezTo>
                    <a:pt x="55" y="465"/>
                    <a:pt x="55" y="465"/>
                    <a:pt x="55" y="465"/>
                  </a:cubicBezTo>
                  <a:cubicBezTo>
                    <a:pt x="55" y="465"/>
                    <a:pt x="62" y="463"/>
                    <a:pt x="63" y="469"/>
                  </a:cubicBezTo>
                  <a:cubicBezTo>
                    <a:pt x="64" y="475"/>
                    <a:pt x="68" y="489"/>
                    <a:pt x="68" y="489"/>
                  </a:cubicBezTo>
                  <a:cubicBezTo>
                    <a:pt x="68" y="489"/>
                    <a:pt x="73" y="508"/>
                    <a:pt x="72" y="511"/>
                  </a:cubicBezTo>
                  <a:cubicBezTo>
                    <a:pt x="91" y="521"/>
                    <a:pt x="103" y="549"/>
                    <a:pt x="103" y="549"/>
                  </a:cubicBezTo>
                  <a:cubicBezTo>
                    <a:pt x="111" y="549"/>
                    <a:pt x="111" y="549"/>
                    <a:pt x="111" y="549"/>
                  </a:cubicBezTo>
                  <a:cubicBezTo>
                    <a:pt x="126" y="569"/>
                    <a:pt x="135" y="611"/>
                    <a:pt x="135" y="611"/>
                  </a:cubicBezTo>
                  <a:cubicBezTo>
                    <a:pt x="135" y="611"/>
                    <a:pt x="135" y="603"/>
                    <a:pt x="149" y="617"/>
                  </a:cubicBezTo>
                  <a:cubicBezTo>
                    <a:pt x="163" y="631"/>
                    <a:pt x="200" y="642"/>
                    <a:pt x="200" y="642"/>
                  </a:cubicBezTo>
                  <a:cubicBezTo>
                    <a:pt x="210" y="658"/>
                    <a:pt x="210" y="658"/>
                    <a:pt x="210" y="658"/>
                  </a:cubicBezTo>
                  <a:cubicBezTo>
                    <a:pt x="210" y="658"/>
                    <a:pt x="229" y="658"/>
                    <a:pt x="235" y="660"/>
                  </a:cubicBezTo>
                  <a:cubicBezTo>
                    <a:pt x="241" y="662"/>
                    <a:pt x="248" y="678"/>
                    <a:pt x="248" y="678"/>
                  </a:cubicBezTo>
                  <a:cubicBezTo>
                    <a:pt x="251" y="669"/>
                    <a:pt x="251" y="669"/>
                    <a:pt x="251" y="669"/>
                  </a:cubicBezTo>
                  <a:cubicBezTo>
                    <a:pt x="265" y="682"/>
                    <a:pt x="265" y="682"/>
                    <a:pt x="265" y="682"/>
                  </a:cubicBezTo>
                  <a:cubicBezTo>
                    <a:pt x="274" y="666"/>
                    <a:pt x="274" y="666"/>
                    <a:pt x="274" y="666"/>
                  </a:cubicBezTo>
                  <a:cubicBezTo>
                    <a:pt x="274" y="666"/>
                    <a:pt x="284" y="675"/>
                    <a:pt x="287" y="680"/>
                  </a:cubicBezTo>
                  <a:cubicBezTo>
                    <a:pt x="290" y="685"/>
                    <a:pt x="262" y="717"/>
                    <a:pt x="262" y="717"/>
                  </a:cubicBezTo>
                  <a:cubicBezTo>
                    <a:pt x="267" y="720"/>
                    <a:pt x="271" y="724"/>
                    <a:pt x="275" y="728"/>
                  </a:cubicBezTo>
                  <a:cubicBezTo>
                    <a:pt x="289" y="723"/>
                    <a:pt x="289" y="723"/>
                    <a:pt x="289" y="723"/>
                  </a:cubicBezTo>
                  <a:cubicBezTo>
                    <a:pt x="322" y="712"/>
                    <a:pt x="322" y="712"/>
                    <a:pt x="322" y="712"/>
                  </a:cubicBezTo>
                  <a:cubicBezTo>
                    <a:pt x="322" y="728"/>
                    <a:pt x="322" y="728"/>
                    <a:pt x="322" y="728"/>
                  </a:cubicBezTo>
                  <a:cubicBezTo>
                    <a:pt x="337" y="729"/>
                    <a:pt x="337" y="729"/>
                    <a:pt x="337" y="729"/>
                  </a:cubicBezTo>
                  <a:cubicBezTo>
                    <a:pt x="346" y="723"/>
                    <a:pt x="346" y="723"/>
                    <a:pt x="346" y="723"/>
                  </a:cubicBezTo>
                  <a:cubicBezTo>
                    <a:pt x="361" y="732"/>
                    <a:pt x="361" y="732"/>
                    <a:pt x="361" y="732"/>
                  </a:cubicBezTo>
                  <a:cubicBezTo>
                    <a:pt x="361" y="732"/>
                    <a:pt x="378" y="728"/>
                    <a:pt x="385" y="728"/>
                  </a:cubicBezTo>
                  <a:cubicBezTo>
                    <a:pt x="391" y="728"/>
                    <a:pt x="391" y="717"/>
                    <a:pt x="391" y="717"/>
                  </a:cubicBezTo>
                  <a:cubicBezTo>
                    <a:pt x="391" y="717"/>
                    <a:pt x="421" y="719"/>
                    <a:pt x="398" y="699"/>
                  </a:cubicBezTo>
                  <a:cubicBezTo>
                    <a:pt x="389" y="707"/>
                    <a:pt x="389" y="707"/>
                    <a:pt x="389" y="707"/>
                  </a:cubicBezTo>
                  <a:cubicBezTo>
                    <a:pt x="393" y="684"/>
                    <a:pt x="393" y="684"/>
                    <a:pt x="393" y="684"/>
                  </a:cubicBezTo>
                  <a:cubicBezTo>
                    <a:pt x="383" y="664"/>
                    <a:pt x="383" y="664"/>
                    <a:pt x="383" y="664"/>
                  </a:cubicBezTo>
                  <a:cubicBezTo>
                    <a:pt x="394" y="664"/>
                    <a:pt x="394" y="664"/>
                    <a:pt x="394" y="664"/>
                  </a:cubicBezTo>
                  <a:cubicBezTo>
                    <a:pt x="394" y="627"/>
                    <a:pt x="394" y="627"/>
                    <a:pt x="394" y="627"/>
                  </a:cubicBezTo>
                  <a:cubicBezTo>
                    <a:pt x="383" y="627"/>
                    <a:pt x="383" y="627"/>
                    <a:pt x="383" y="627"/>
                  </a:cubicBezTo>
                  <a:cubicBezTo>
                    <a:pt x="386" y="605"/>
                    <a:pt x="386" y="605"/>
                    <a:pt x="386" y="605"/>
                  </a:cubicBezTo>
                  <a:cubicBezTo>
                    <a:pt x="371" y="585"/>
                    <a:pt x="371" y="585"/>
                    <a:pt x="371" y="585"/>
                  </a:cubicBezTo>
                  <a:cubicBezTo>
                    <a:pt x="378" y="573"/>
                    <a:pt x="378" y="573"/>
                    <a:pt x="378" y="573"/>
                  </a:cubicBezTo>
                  <a:cubicBezTo>
                    <a:pt x="353" y="548"/>
                    <a:pt x="353" y="548"/>
                    <a:pt x="353" y="548"/>
                  </a:cubicBezTo>
                  <a:cubicBezTo>
                    <a:pt x="357" y="537"/>
                    <a:pt x="357" y="537"/>
                    <a:pt x="357" y="537"/>
                  </a:cubicBezTo>
                  <a:cubicBezTo>
                    <a:pt x="357" y="537"/>
                    <a:pt x="337" y="532"/>
                    <a:pt x="339" y="523"/>
                  </a:cubicBezTo>
                  <a:cubicBezTo>
                    <a:pt x="342" y="513"/>
                    <a:pt x="371" y="503"/>
                    <a:pt x="378" y="511"/>
                  </a:cubicBezTo>
                  <a:cubicBezTo>
                    <a:pt x="385" y="519"/>
                    <a:pt x="413" y="501"/>
                    <a:pt x="413" y="501"/>
                  </a:cubicBezTo>
                  <a:cubicBezTo>
                    <a:pt x="415" y="485"/>
                    <a:pt x="415" y="485"/>
                    <a:pt x="415" y="485"/>
                  </a:cubicBezTo>
                  <a:cubicBezTo>
                    <a:pt x="434" y="488"/>
                    <a:pt x="434" y="488"/>
                    <a:pt x="434" y="488"/>
                  </a:cubicBezTo>
                  <a:cubicBezTo>
                    <a:pt x="433" y="496"/>
                    <a:pt x="433" y="496"/>
                    <a:pt x="433" y="496"/>
                  </a:cubicBezTo>
                  <a:cubicBezTo>
                    <a:pt x="459" y="481"/>
                    <a:pt x="459" y="481"/>
                    <a:pt x="459" y="481"/>
                  </a:cubicBezTo>
                  <a:cubicBezTo>
                    <a:pt x="502" y="480"/>
                    <a:pt x="502" y="480"/>
                    <a:pt x="502" y="480"/>
                  </a:cubicBezTo>
                  <a:cubicBezTo>
                    <a:pt x="499" y="492"/>
                    <a:pt x="499" y="492"/>
                    <a:pt x="499" y="492"/>
                  </a:cubicBezTo>
                  <a:cubicBezTo>
                    <a:pt x="509" y="492"/>
                    <a:pt x="509" y="492"/>
                    <a:pt x="509" y="492"/>
                  </a:cubicBezTo>
                  <a:cubicBezTo>
                    <a:pt x="514" y="483"/>
                    <a:pt x="514" y="483"/>
                    <a:pt x="514" y="483"/>
                  </a:cubicBezTo>
                  <a:cubicBezTo>
                    <a:pt x="519" y="484"/>
                    <a:pt x="519" y="484"/>
                    <a:pt x="519" y="484"/>
                  </a:cubicBezTo>
                  <a:cubicBezTo>
                    <a:pt x="519" y="484"/>
                    <a:pt x="518" y="464"/>
                    <a:pt x="549" y="464"/>
                  </a:cubicBezTo>
                  <a:cubicBezTo>
                    <a:pt x="549" y="463"/>
                    <a:pt x="549" y="462"/>
                    <a:pt x="549" y="461"/>
                  </a:cubicBezTo>
                  <a:cubicBezTo>
                    <a:pt x="546" y="433"/>
                    <a:pt x="575" y="399"/>
                    <a:pt x="575" y="399"/>
                  </a:cubicBezTo>
                  <a:cubicBezTo>
                    <a:pt x="569" y="387"/>
                    <a:pt x="569" y="387"/>
                    <a:pt x="569" y="387"/>
                  </a:cubicBezTo>
                  <a:cubicBezTo>
                    <a:pt x="569" y="387"/>
                    <a:pt x="581" y="369"/>
                    <a:pt x="585" y="359"/>
                  </a:cubicBezTo>
                  <a:cubicBezTo>
                    <a:pt x="578" y="351"/>
                    <a:pt x="589" y="323"/>
                    <a:pt x="589" y="323"/>
                  </a:cubicBezTo>
                  <a:cubicBezTo>
                    <a:pt x="626" y="335"/>
                    <a:pt x="626" y="335"/>
                    <a:pt x="626" y="335"/>
                  </a:cubicBezTo>
                  <a:cubicBezTo>
                    <a:pt x="615" y="320"/>
                    <a:pt x="615" y="320"/>
                    <a:pt x="615" y="320"/>
                  </a:cubicBezTo>
                  <a:cubicBezTo>
                    <a:pt x="615" y="320"/>
                    <a:pt x="626" y="313"/>
                    <a:pt x="625" y="311"/>
                  </a:cubicBezTo>
                  <a:cubicBezTo>
                    <a:pt x="642" y="329"/>
                    <a:pt x="641" y="307"/>
                    <a:pt x="641" y="307"/>
                  </a:cubicBezTo>
                  <a:cubicBezTo>
                    <a:pt x="641" y="307"/>
                    <a:pt x="670" y="300"/>
                    <a:pt x="674" y="299"/>
                  </a:cubicBezTo>
                  <a:cubicBezTo>
                    <a:pt x="658" y="293"/>
                    <a:pt x="690" y="272"/>
                    <a:pt x="690" y="272"/>
                  </a:cubicBezTo>
                  <a:cubicBezTo>
                    <a:pt x="690" y="272"/>
                    <a:pt x="703" y="252"/>
                    <a:pt x="707" y="248"/>
                  </a:cubicBezTo>
                  <a:cubicBezTo>
                    <a:pt x="707" y="233"/>
                    <a:pt x="717" y="229"/>
                    <a:pt x="717" y="229"/>
                  </a:cubicBezTo>
                  <a:cubicBezTo>
                    <a:pt x="725" y="219"/>
                    <a:pt x="725" y="219"/>
                    <a:pt x="725" y="219"/>
                  </a:cubicBezTo>
                  <a:cubicBezTo>
                    <a:pt x="718" y="205"/>
                    <a:pt x="718" y="205"/>
                    <a:pt x="718" y="205"/>
                  </a:cubicBezTo>
                  <a:cubicBezTo>
                    <a:pt x="722" y="192"/>
                    <a:pt x="722" y="192"/>
                    <a:pt x="722" y="192"/>
                  </a:cubicBezTo>
                  <a:cubicBezTo>
                    <a:pt x="714" y="180"/>
                    <a:pt x="714" y="180"/>
                    <a:pt x="714" y="180"/>
                  </a:cubicBezTo>
                  <a:cubicBezTo>
                    <a:pt x="725" y="175"/>
                    <a:pt x="725" y="175"/>
                    <a:pt x="725" y="175"/>
                  </a:cubicBezTo>
                  <a:cubicBezTo>
                    <a:pt x="725" y="157"/>
                    <a:pt x="725" y="157"/>
                    <a:pt x="725" y="157"/>
                  </a:cubicBezTo>
                  <a:cubicBezTo>
                    <a:pt x="739" y="156"/>
                    <a:pt x="739" y="156"/>
                    <a:pt x="739" y="156"/>
                  </a:cubicBezTo>
                  <a:cubicBezTo>
                    <a:pt x="739" y="147"/>
                    <a:pt x="739" y="147"/>
                    <a:pt x="739" y="147"/>
                  </a:cubicBezTo>
                  <a:lnTo>
                    <a:pt x="719" y="14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3" name="POitou-Charentes" descr="© INSCALE GmbH, 05.05.2010&#10;http://www.presentationload.com/">
              <a:extLst>
                <a:ext uri="{FF2B5EF4-FFF2-40B4-BE49-F238E27FC236}">
                  <a16:creationId xmlns:a16="http://schemas.microsoft.com/office/drawing/2014/main" id="{3AE2A17A-E1A4-415C-BCBD-27B07359DE41}"/>
                </a:ext>
              </a:extLst>
            </p:cNvPr>
            <p:cNvSpPr>
              <a:spLocks noEditPoints="1"/>
            </p:cNvSpPr>
            <p:nvPr/>
          </p:nvSpPr>
          <p:spPr bwMode="gray">
            <a:xfrm>
              <a:off x="881" y="1507"/>
              <a:ext cx="619" cy="717"/>
            </a:xfrm>
            <a:custGeom>
              <a:avLst/>
              <a:gdLst/>
              <a:ahLst/>
              <a:cxnLst>
                <a:cxn ang="0">
                  <a:pos x="39" y="333"/>
                </a:cxn>
                <a:cxn ang="0">
                  <a:pos x="19" y="308"/>
                </a:cxn>
                <a:cxn ang="0">
                  <a:pos x="6" y="327"/>
                </a:cxn>
                <a:cxn ang="0">
                  <a:pos x="32" y="355"/>
                </a:cxn>
                <a:cxn ang="0">
                  <a:pos x="46" y="345"/>
                </a:cxn>
                <a:cxn ang="0">
                  <a:pos x="559" y="229"/>
                </a:cxn>
                <a:cxn ang="0">
                  <a:pos x="533" y="197"/>
                </a:cxn>
                <a:cxn ang="0">
                  <a:pos x="486" y="111"/>
                </a:cxn>
                <a:cxn ang="0">
                  <a:pos x="434" y="52"/>
                </a:cxn>
                <a:cxn ang="0">
                  <a:pos x="419" y="65"/>
                </a:cxn>
                <a:cxn ang="0">
                  <a:pos x="393" y="67"/>
                </a:cxn>
                <a:cxn ang="0">
                  <a:pos x="382" y="39"/>
                </a:cxn>
                <a:cxn ang="0">
                  <a:pos x="369" y="28"/>
                </a:cxn>
                <a:cxn ang="0">
                  <a:pos x="355" y="21"/>
                </a:cxn>
                <a:cxn ang="0">
                  <a:pos x="299" y="20"/>
                </a:cxn>
                <a:cxn ang="0">
                  <a:pos x="289" y="28"/>
                </a:cxn>
                <a:cxn ang="0">
                  <a:pos x="282" y="16"/>
                </a:cxn>
                <a:cxn ang="0">
                  <a:pos x="213" y="32"/>
                </a:cxn>
                <a:cxn ang="0">
                  <a:pos x="195" y="21"/>
                </a:cxn>
                <a:cxn ang="0">
                  <a:pos x="158" y="47"/>
                </a:cxn>
                <a:cxn ang="0">
                  <a:pos x="137" y="73"/>
                </a:cxn>
                <a:cxn ang="0">
                  <a:pos x="158" y="109"/>
                </a:cxn>
                <a:cxn ang="0">
                  <a:pos x="166" y="141"/>
                </a:cxn>
                <a:cxn ang="0">
                  <a:pos x="174" y="163"/>
                </a:cxn>
                <a:cxn ang="0">
                  <a:pos x="163" y="200"/>
                </a:cxn>
                <a:cxn ang="0">
                  <a:pos x="169" y="243"/>
                </a:cxn>
                <a:cxn ang="0">
                  <a:pos x="171" y="253"/>
                </a:cxn>
                <a:cxn ang="0">
                  <a:pos x="141" y="268"/>
                </a:cxn>
                <a:cxn ang="0">
                  <a:pos x="117" y="265"/>
                </a:cxn>
                <a:cxn ang="0">
                  <a:pos x="102" y="248"/>
                </a:cxn>
                <a:cxn ang="0">
                  <a:pos x="55" y="264"/>
                </a:cxn>
                <a:cxn ang="0">
                  <a:pos x="64" y="309"/>
                </a:cxn>
                <a:cxn ang="0">
                  <a:pos x="69" y="324"/>
                </a:cxn>
                <a:cxn ang="0">
                  <a:pos x="63" y="352"/>
                </a:cxn>
                <a:cxn ang="0">
                  <a:pos x="58" y="367"/>
                </a:cxn>
                <a:cxn ang="0">
                  <a:pos x="44" y="372"/>
                </a:cxn>
                <a:cxn ang="0">
                  <a:pos x="37" y="406"/>
                </a:cxn>
                <a:cxn ang="0">
                  <a:pos x="80" y="427"/>
                </a:cxn>
                <a:cxn ang="0">
                  <a:pos x="103" y="454"/>
                </a:cxn>
                <a:cxn ang="0">
                  <a:pos x="147" y="539"/>
                </a:cxn>
                <a:cxn ang="0">
                  <a:pos x="152" y="564"/>
                </a:cxn>
                <a:cxn ang="0">
                  <a:pos x="151" y="581"/>
                </a:cxn>
                <a:cxn ang="0">
                  <a:pos x="171" y="593"/>
                </a:cxn>
                <a:cxn ang="0">
                  <a:pos x="210" y="643"/>
                </a:cxn>
                <a:cxn ang="0">
                  <a:pos x="293" y="652"/>
                </a:cxn>
                <a:cxn ang="0">
                  <a:pos x="327" y="625"/>
                </a:cxn>
                <a:cxn ang="0">
                  <a:pos x="357" y="597"/>
                </a:cxn>
                <a:cxn ang="0">
                  <a:pos x="405" y="524"/>
                </a:cxn>
                <a:cxn ang="0">
                  <a:pos x="411" y="495"/>
                </a:cxn>
                <a:cxn ang="0">
                  <a:pos x="461" y="451"/>
                </a:cxn>
                <a:cxn ang="0">
                  <a:pos x="481" y="439"/>
                </a:cxn>
                <a:cxn ang="0">
                  <a:pos x="487" y="395"/>
                </a:cxn>
                <a:cxn ang="0">
                  <a:pos x="513" y="391"/>
                </a:cxn>
                <a:cxn ang="0">
                  <a:pos x="490" y="332"/>
                </a:cxn>
                <a:cxn ang="0">
                  <a:pos x="494" y="301"/>
                </a:cxn>
                <a:cxn ang="0">
                  <a:pos x="529" y="287"/>
                </a:cxn>
                <a:cxn ang="0">
                  <a:pos x="555" y="263"/>
                </a:cxn>
                <a:cxn ang="0">
                  <a:pos x="570" y="252"/>
                </a:cxn>
              </a:cxnLst>
              <a:rect l="0" t="0" r="r" b="b"/>
              <a:pathLst>
                <a:path w="574" h="665">
                  <a:moveTo>
                    <a:pt x="46" y="345"/>
                  </a:moveTo>
                  <a:cubicBezTo>
                    <a:pt x="39" y="333"/>
                    <a:pt x="39" y="333"/>
                    <a:pt x="39" y="333"/>
                  </a:cubicBezTo>
                  <a:cubicBezTo>
                    <a:pt x="38" y="311"/>
                    <a:pt x="38" y="311"/>
                    <a:pt x="38" y="311"/>
                  </a:cubicBezTo>
                  <a:cubicBezTo>
                    <a:pt x="19" y="308"/>
                    <a:pt x="19" y="308"/>
                    <a:pt x="19" y="308"/>
                  </a:cubicBezTo>
                  <a:cubicBezTo>
                    <a:pt x="4" y="289"/>
                    <a:pt x="4" y="289"/>
                    <a:pt x="4" y="289"/>
                  </a:cubicBezTo>
                  <a:cubicBezTo>
                    <a:pt x="0" y="293"/>
                    <a:pt x="6" y="327"/>
                    <a:pt x="6" y="327"/>
                  </a:cubicBezTo>
                  <a:cubicBezTo>
                    <a:pt x="19" y="337"/>
                    <a:pt x="19" y="337"/>
                    <a:pt x="19" y="337"/>
                  </a:cubicBezTo>
                  <a:cubicBezTo>
                    <a:pt x="32" y="355"/>
                    <a:pt x="32" y="355"/>
                    <a:pt x="32" y="355"/>
                  </a:cubicBezTo>
                  <a:cubicBezTo>
                    <a:pt x="36" y="368"/>
                    <a:pt x="36" y="368"/>
                    <a:pt x="36" y="368"/>
                  </a:cubicBezTo>
                  <a:lnTo>
                    <a:pt x="46" y="345"/>
                  </a:lnTo>
                  <a:close/>
                  <a:moveTo>
                    <a:pt x="574" y="241"/>
                  </a:moveTo>
                  <a:cubicBezTo>
                    <a:pt x="574" y="241"/>
                    <a:pt x="563" y="236"/>
                    <a:pt x="559" y="229"/>
                  </a:cubicBezTo>
                  <a:cubicBezTo>
                    <a:pt x="553" y="187"/>
                    <a:pt x="534" y="208"/>
                    <a:pt x="534" y="208"/>
                  </a:cubicBezTo>
                  <a:cubicBezTo>
                    <a:pt x="534" y="208"/>
                    <a:pt x="537" y="199"/>
                    <a:pt x="533" y="197"/>
                  </a:cubicBezTo>
                  <a:cubicBezTo>
                    <a:pt x="505" y="196"/>
                    <a:pt x="510" y="167"/>
                    <a:pt x="511" y="153"/>
                  </a:cubicBezTo>
                  <a:cubicBezTo>
                    <a:pt x="479" y="120"/>
                    <a:pt x="503" y="127"/>
                    <a:pt x="486" y="111"/>
                  </a:cubicBezTo>
                  <a:cubicBezTo>
                    <a:pt x="469" y="95"/>
                    <a:pt x="466" y="63"/>
                    <a:pt x="466" y="63"/>
                  </a:cubicBezTo>
                  <a:cubicBezTo>
                    <a:pt x="434" y="52"/>
                    <a:pt x="434" y="52"/>
                    <a:pt x="434" y="52"/>
                  </a:cubicBezTo>
                  <a:cubicBezTo>
                    <a:pt x="442" y="65"/>
                    <a:pt x="442" y="65"/>
                    <a:pt x="442" y="65"/>
                  </a:cubicBezTo>
                  <a:cubicBezTo>
                    <a:pt x="419" y="65"/>
                    <a:pt x="419" y="65"/>
                    <a:pt x="419" y="65"/>
                  </a:cubicBezTo>
                  <a:cubicBezTo>
                    <a:pt x="405" y="73"/>
                    <a:pt x="405" y="73"/>
                    <a:pt x="405" y="73"/>
                  </a:cubicBezTo>
                  <a:cubicBezTo>
                    <a:pt x="393" y="67"/>
                    <a:pt x="393" y="67"/>
                    <a:pt x="393" y="67"/>
                  </a:cubicBezTo>
                  <a:cubicBezTo>
                    <a:pt x="393" y="67"/>
                    <a:pt x="394" y="73"/>
                    <a:pt x="382" y="69"/>
                  </a:cubicBezTo>
                  <a:cubicBezTo>
                    <a:pt x="370" y="65"/>
                    <a:pt x="382" y="39"/>
                    <a:pt x="382" y="39"/>
                  </a:cubicBezTo>
                  <a:cubicBezTo>
                    <a:pt x="373" y="35"/>
                    <a:pt x="373" y="35"/>
                    <a:pt x="373" y="35"/>
                  </a:cubicBezTo>
                  <a:cubicBezTo>
                    <a:pt x="369" y="28"/>
                    <a:pt x="369" y="28"/>
                    <a:pt x="369" y="28"/>
                  </a:cubicBezTo>
                  <a:cubicBezTo>
                    <a:pt x="355" y="35"/>
                    <a:pt x="355" y="35"/>
                    <a:pt x="355" y="35"/>
                  </a:cubicBezTo>
                  <a:cubicBezTo>
                    <a:pt x="355" y="21"/>
                    <a:pt x="355" y="21"/>
                    <a:pt x="355" y="21"/>
                  </a:cubicBezTo>
                  <a:cubicBezTo>
                    <a:pt x="355" y="21"/>
                    <a:pt x="333" y="25"/>
                    <a:pt x="329" y="0"/>
                  </a:cubicBezTo>
                  <a:cubicBezTo>
                    <a:pt x="298" y="0"/>
                    <a:pt x="299" y="20"/>
                    <a:pt x="299" y="20"/>
                  </a:cubicBezTo>
                  <a:cubicBezTo>
                    <a:pt x="294" y="19"/>
                    <a:pt x="294" y="19"/>
                    <a:pt x="294" y="19"/>
                  </a:cubicBezTo>
                  <a:cubicBezTo>
                    <a:pt x="289" y="28"/>
                    <a:pt x="289" y="28"/>
                    <a:pt x="289" y="28"/>
                  </a:cubicBezTo>
                  <a:cubicBezTo>
                    <a:pt x="279" y="28"/>
                    <a:pt x="279" y="28"/>
                    <a:pt x="279" y="28"/>
                  </a:cubicBezTo>
                  <a:cubicBezTo>
                    <a:pt x="282" y="16"/>
                    <a:pt x="282" y="16"/>
                    <a:pt x="282" y="16"/>
                  </a:cubicBezTo>
                  <a:cubicBezTo>
                    <a:pt x="239" y="17"/>
                    <a:pt x="239" y="17"/>
                    <a:pt x="239" y="17"/>
                  </a:cubicBezTo>
                  <a:cubicBezTo>
                    <a:pt x="213" y="32"/>
                    <a:pt x="213" y="32"/>
                    <a:pt x="213" y="32"/>
                  </a:cubicBezTo>
                  <a:cubicBezTo>
                    <a:pt x="214" y="24"/>
                    <a:pt x="214" y="24"/>
                    <a:pt x="214" y="24"/>
                  </a:cubicBezTo>
                  <a:cubicBezTo>
                    <a:pt x="195" y="21"/>
                    <a:pt x="195" y="21"/>
                    <a:pt x="195" y="21"/>
                  </a:cubicBezTo>
                  <a:cubicBezTo>
                    <a:pt x="193" y="37"/>
                    <a:pt x="193" y="37"/>
                    <a:pt x="193" y="37"/>
                  </a:cubicBezTo>
                  <a:cubicBezTo>
                    <a:pt x="193" y="37"/>
                    <a:pt x="165" y="55"/>
                    <a:pt x="158" y="47"/>
                  </a:cubicBezTo>
                  <a:cubicBezTo>
                    <a:pt x="151" y="39"/>
                    <a:pt x="122" y="49"/>
                    <a:pt x="119" y="59"/>
                  </a:cubicBezTo>
                  <a:cubicBezTo>
                    <a:pt x="117" y="68"/>
                    <a:pt x="137" y="73"/>
                    <a:pt x="137" y="73"/>
                  </a:cubicBezTo>
                  <a:cubicBezTo>
                    <a:pt x="133" y="84"/>
                    <a:pt x="133" y="84"/>
                    <a:pt x="133" y="84"/>
                  </a:cubicBezTo>
                  <a:cubicBezTo>
                    <a:pt x="158" y="109"/>
                    <a:pt x="158" y="109"/>
                    <a:pt x="158" y="109"/>
                  </a:cubicBezTo>
                  <a:cubicBezTo>
                    <a:pt x="151" y="121"/>
                    <a:pt x="151" y="121"/>
                    <a:pt x="151" y="121"/>
                  </a:cubicBezTo>
                  <a:cubicBezTo>
                    <a:pt x="166" y="141"/>
                    <a:pt x="166" y="141"/>
                    <a:pt x="166" y="141"/>
                  </a:cubicBezTo>
                  <a:cubicBezTo>
                    <a:pt x="163" y="163"/>
                    <a:pt x="163" y="163"/>
                    <a:pt x="163" y="163"/>
                  </a:cubicBezTo>
                  <a:cubicBezTo>
                    <a:pt x="174" y="163"/>
                    <a:pt x="174" y="163"/>
                    <a:pt x="174" y="163"/>
                  </a:cubicBezTo>
                  <a:cubicBezTo>
                    <a:pt x="174" y="200"/>
                    <a:pt x="174" y="200"/>
                    <a:pt x="174" y="200"/>
                  </a:cubicBezTo>
                  <a:cubicBezTo>
                    <a:pt x="163" y="200"/>
                    <a:pt x="163" y="200"/>
                    <a:pt x="163" y="200"/>
                  </a:cubicBezTo>
                  <a:cubicBezTo>
                    <a:pt x="173" y="220"/>
                    <a:pt x="173" y="220"/>
                    <a:pt x="173" y="220"/>
                  </a:cubicBezTo>
                  <a:cubicBezTo>
                    <a:pt x="169" y="243"/>
                    <a:pt x="169" y="243"/>
                    <a:pt x="169" y="243"/>
                  </a:cubicBezTo>
                  <a:cubicBezTo>
                    <a:pt x="178" y="235"/>
                    <a:pt x="178" y="235"/>
                    <a:pt x="178" y="235"/>
                  </a:cubicBezTo>
                  <a:cubicBezTo>
                    <a:pt x="201" y="255"/>
                    <a:pt x="171" y="253"/>
                    <a:pt x="171" y="253"/>
                  </a:cubicBezTo>
                  <a:cubicBezTo>
                    <a:pt x="171" y="253"/>
                    <a:pt x="171" y="264"/>
                    <a:pt x="165" y="264"/>
                  </a:cubicBezTo>
                  <a:cubicBezTo>
                    <a:pt x="158" y="264"/>
                    <a:pt x="141" y="268"/>
                    <a:pt x="141" y="268"/>
                  </a:cubicBezTo>
                  <a:cubicBezTo>
                    <a:pt x="126" y="259"/>
                    <a:pt x="126" y="259"/>
                    <a:pt x="126" y="259"/>
                  </a:cubicBezTo>
                  <a:cubicBezTo>
                    <a:pt x="117" y="265"/>
                    <a:pt x="117" y="265"/>
                    <a:pt x="117" y="265"/>
                  </a:cubicBezTo>
                  <a:cubicBezTo>
                    <a:pt x="102" y="264"/>
                    <a:pt x="102" y="264"/>
                    <a:pt x="102" y="264"/>
                  </a:cubicBezTo>
                  <a:cubicBezTo>
                    <a:pt x="102" y="248"/>
                    <a:pt x="102" y="248"/>
                    <a:pt x="102" y="248"/>
                  </a:cubicBezTo>
                  <a:cubicBezTo>
                    <a:pt x="69" y="259"/>
                    <a:pt x="69" y="259"/>
                    <a:pt x="69" y="259"/>
                  </a:cubicBezTo>
                  <a:cubicBezTo>
                    <a:pt x="55" y="264"/>
                    <a:pt x="55" y="264"/>
                    <a:pt x="55" y="264"/>
                  </a:cubicBezTo>
                  <a:cubicBezTo>
                    <a:pt x="71" y="282"/>
                    <a:pt x="78" y="307"/>
                    <a:pt x="78" y="307"/>
                  </a:cubicBezTo>
                  <a:cubicBezTo>
                    <a:pt x="64" y="309"/>
                    <a:pt x="64" y="309"/>
                    <a:pt x="64" y="309"/>
                  </a:cubicBezTo>
                  <a:cubicBezTo>
                    <a:pt x="69" y="320"/>
                    <a:pt x="69" y="320"/>
                    <a:pt x="69" y="320"/>
                  </a:cubicBezTo>
                  <a:cubicBezTo>
                    <a:pt x="69" y="324"/>
                    <a:pt x="69" y="324"/>
                    <a:pt x="69" y="324"/>
                  </a:cubicBezTo>
                  <a:cubicBezTo>
                    <a:pt x="71" y="335"/>
                    <a:pt x="71" y="335"/>
                    <a:pt x="71" y="335"/>
                  </a:cubicBezTo>
                  <a:cubicBezTo>
                    <a:pt x="63" y="352"/>
                    <a:pt x="63" y="352"/>
                    <a:pt x="63" y="352"/>
                  </a:cubicBezTo>
                  <a:cubicBezTo>
                    <a:pt x="52" y="352"/>
                    <a:pt x="52" y="352"/>
                    <a:pt x="52" y="352"/>
                  </a:cubicBezTo>
                  <a:cubicBezTo>
                    <a:pt x="58" y="367"/>
                    <a:pt x="58" y="367"/>
                    <a:pt x="58" y="367"/>
                  </a:cubicBezTo>
                  <a:cubicBezTo>
                    <a:pt x="67" y="382"/>
                    <a:pt x="67" y="382"/>
                    <a:pt x="67" y="382"/>
                  </a:cubicBezTo>
                  <a:cubicBezTo>
                    <a:pt x="67" y="382"/>
                    <a:pt x="51" y="372"/>
                    <a:pt x="44" y="372"/>
                  </a:cubicBezTo>
                  <a:cubicBezTo>
                    <a:pt x="37" y="372"/>
                    <a:pt x="35" y="378"/>
                    <a:pt x="33" y="389"/>
                  </a:cubicBezTo>
                  <a:cubicBezTo>
                    <a:pt x="31" y="400"/>
                    <a:pt x="37" y="406"/>
                    <a:pt x="37" y="406"/>
                  </a:cubicBezTo>
                  <a:cubicBezTo>
                    <a:pt x="70" y="427"/>
                    <a:pt x="70" y="427"/>
                    <a:pt x="70" y="427"/>
                  </a:cubicBezTo>
                  <a:cubicBezTo>
                    <a:pt x="80" y="427"/>
                    <a:pt x="80" y="427"/>
                    <a:pt x="80" y="427"/>
                  </a:cubicBezTo>
                  <a:cubicBezTo>
                    <a:pt x="93" y="454"/>
                    <a:pt x="93" y="454"/>
                    <a:pt x="93" y="454"/>
                  </a:cubicBezTo>
                  <a:cubicBezTo>
                    <a:pt x="103" y="454"/>
                    <a:pt x="103" y="454"/>
                    <a:pt x="103" y="454"/>
                  </a:cubicBezTo>
                  <a:cubicBezTo>
                    <a:pt x="103" y="454"/>
                    <a:pt x="104" y="457"/>
                    <a:pt x="114" y="462"/>
                  </a:cubicBezTo>
                  <a:cubicBezTo>
                    <a:pt x="124" y="467"/>
                    <a:pt x="147" y="539"/>
                    <a:pt x="147" y="539"/>
                  </a:cubicBezTo>
                  <a:cubicBezTo>
                    <a:pt x="145" y="553"/>
                    <a:pt x="145" y="553"/>
                    <a:pt x="145" y="553"/>
                  </a:cubicBezTo>
                  <a:cubicBezTo>
                    <a:pt x="152" y="564"/>
                    <a:pt x="152" y="564"/>
                    <a:pt x="152" y="564"/>
                  </a:cubicBezTo>
                  <a:cubicBezTo>
                    <a:pt x="148" y="576"/>
                    <a:pt x="148" y="576"/>
                    <a:pt x="148" y="576"/>
                  </a:cubicBezTo>
                  <a:cubicBezTo>
                    <a:pt x="148" y="576"/>
                    <a:pt x="149" y="578"/>
                    <a:pt x="151" y="581"/>
                  </a:cubicBezTo>
                  <a:cubicBezTo>
                    <a:pt x="165" y="580"/>
                    <a:pt x="165" y="580"/>
                    <a:pt x="165" y="580"/>
                  </a:cubicBezTo>
                  <a:cubicBezTo>
                    <a:pt x="171" y="593"/>
                    <a:pt x="171" y="593"/>
                    <a:pt x="171" y="593"/>
                  </a:cubicBezTo>
                  <a:cubicBezTo>
                    <a:pt x="171" y="593"/>
                    <a:pt x="211" y="604"/>
                    <a:pt x="205" y="619"/>
                  </a:cubicBezTo>
                  <a:cubicBezTo>
                    <a:pt x="210" y="637"/>
                    <a:pt x="210" y="643"/>
                    <a:pt x="210" y="643"/>
                  </a:cubicBezTo>
                  <a:cubicBezTo>
                    <a:pt x="210" y="643"/>
                    <a:pt x="218" y="628"/>
                    <a:pt x="235" y="645"/>
                  </a:cubicBezTo>
                  <a:cubicBezTo>
                    <a:pt x="253" y="663"/>
                    <a:pt x="286" y="665"/>
                    <a:pt x="293" y="652"/>
                  </a:cubicBezTo>
                  <a:cubicBezTo>
                    <a:pt x="299" y="639"/>
                    <a:pt x="315" y="616"/>
                    <a:pt x="315" y="616"/>
                  </a:cubicBezTo>
                  <a:cubicBezTo>
                    <a:pt x="315" y="616"/>
                    <a:pt x="323" y="625"/>
                    <a:pt x="327" y="625"/>
                  </a:cubicBezTo>
                  <a:cubicBezTo>
                    <a:pt x="331" y="625"/>
                    <a:pt x="350" y="597"/>
                    <a:pt x="350" y="597"/>
                  </a:cubicBezTo>
                  <a:cubicBezTo>
                    <a:pt x="357" y="597"/>
                    <a:pt x="357" y="597"/>
                    <a:pt x="357" y="597"/>
                  </a:cubicBezTo>
                  <a:cubicBezTo>
                    <a:pt x="357" y="597"/>
                    <a:pt x="345" y="544"/>
                    <a:pt x="397" y="537"/>
                  </a:cubicBezTo>
                  <a:cubicBezTo>
                    <a:pt x="401" y="523"/>
                    <a:pt x="405" y="524"/>
                    <a:pt x="405" y="524"/>
                  </a:cubicBezTo>
                  <a:cubicBezTo>
                    <a:pt x="417" y="523"/>
                    <a:pt x="417" y="523"/>
                    <a:pt x="417" y="523"/>
                  </a:cubicBezTo>
                  <a:cubicBezTo>
                    <a:pt x="417" y="523"/>
                    <a:pt x="407" y="495"/>
                    <a:pt x="411" y="495"/>
                  </a:cubicBezTo>
                  <a:cubicBezTo>
                    <a:pt x="415" y="495"/>
                    <a:pt x="426" y="493"/>
                    <a:pt x="426" y="493"/>
                  </a:cubicBezTo>
                  <a:cubicBezTo>
                    <a:pt x="461" y="451"/>
                    <a:pt x="461" y="451"/>
                    <a:pt x="461" y="451"/>
                  </a:cubicBezTo>
                  <a:cubicBezTo>
                    <a:pt x="461" y="443"/>
                    <a:pt x="461" y="443"/>
                    <a:pt x="461" y="443"/>
                  </a:cubicBezTo>
                  <a:cubicBezTo>
                    <a:pt x="481" y="439"/>
                    <a:pt x="481" y="439"/>
                    <a:pt x="481" y="439"/>
                  </a:cubicBezTo>
                  <a:cubicBezTo>
                    <a:pt x="489" y="413"/>
                    <a:pt x="489" y="413"/>
                    <a:pt x="489" y="413"/>
                  </a:cubicBezTo>
                  <a:cubicBezTo>
                    <a:pt x="489" y="413"/>
                    <a:pt x="483" y="393"/>
                    <a:pt x="487" y="395"/>
                  </a:cubicBezTo>
                  <a:cubicBezTo>
                    <a:pt x="491" y="396"/>
                    <a:pt x="501" y="399"/>
                    <a:pt x="501" y="399"/>
                  </a:cubicBezTo>
                  <a:cubicBezTo>
                    <a:pt x="513" y="391"/>
                    <a:pt x="513" y="391"/>
                    <a:pt x="513" y="391"/>
                  </a:cubicBezTo>
                  <a:cubicBezTo>
                    <a:pt x="506" y="371"/>
                    <a:pt x="506" y="371"/>
                    <a:pt x="506" y="371"/>
                  </a:cubicBezTo>
                  <a:cubicBezTo>
                    <a:pt x="506" y="371"/>
                    <a:pt x="478" y="372"/>
                    <a:pt x="490" y="332"/>
                  </a:cubicBezTo>
                  <a:cubicBezTo>
                    <a:pt x="482" y="311"/>
                    <a:pt x="482" y="311"/>
                    <a:pt x="482" y="311"/>
                  </a:cubicBezTo>
                  <a:cubicBezTo>
                    <a:pt x="494" y="301"/>
                    <a:pt x="494" y="301"/>
                    <a:pt x="494" y="301"/>
                  </a:cubicBezTo>
                  <a:cubicBezTo>
                    <a:pt x="510" y="285"/>
                    <a:pt x="510" y="285"/>
                    <a:pt x="510" y="285"/>
                  </a:cubicBezTo>
                  <a:cubicBezTo>
                    <a:pt x="529" y="287"/>
                    <a:pt x="529" y="287"/>
                    <a:pt x="529" y="287"/>
                  </a:cubicBezTo>
                  <a:cubicBezTo>
                    <a:pt x="541" y="261"/>
                    <a:pt x="541" y="261"/>
                    <a:pt x="541" y="261"/>
                  </a:cubicBezTo>
                  <a:cubicBezTo>
                    <a:pt x="555" y="263"/>
                    <a:pt x="555" y="263"/>
                    <a:pt x="555" y="263"/>
                  </a:cubicBezTo>
                  <a:cubicBezTo>
                    <a:pt x="573" y="256"/>
                    <a:pt x="573" y="256"/>
                    <a:pt x="573" y="256"/>
                  </a:cubicBezTo>
                  <a:cubicBezTo>
                    <a:pt x="570" y="252"/>
                    <a:pt x="570" y="252"/>
                    <a:pt x="570" y="252"/>
                  </a:cubicBezTo>
                  <a:lnTo>
                    <a:pt x="574" y="241"/>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4" name="Limousin" descr="© INSCALE GmbH, 05.05.2010&#10;http://www.presentationload.com/">
              <a:extLst>
                <a:ext uri="{FF2B5EF4-FFF2-40B4-BE49-F238E27FC236}">
                  <a16:creationId xmlns:a16="http://schemas.microsoft.com/office/drawing/2014/main" id="{4FA2DC5F-8B28-45E5-99F2-EB35462EE5EB}"/>
                </a:ext>
              </a:extLst>
            </p:cNvPr>
            <p:cNvSpPr>
              <a:spLocks/>
            </p:cNvSpPr>
            <p:nvPr/>
          </p:nvSpPr>
          <p:spPr bwMode="gray">
            <a:xfrm>
              <a:off x="1360" y="1756"/>
              <a:ext cx="473" cy="536"/>
            </a:xfrm>
            <a:custGeom>
              <a:avLst/>
              <a:gdLst/>
              <a:ahLst/>
              <a:cxnLst>
                <a:cxn ang="0">
                  <a:pos x="50" y="266"/>
                </a:cxn>
                <a:cxn ang="0">
                  <a:pos x="97" y="293"/>
                </a:cxn>
                <a:cxn ang="0">
                  <a:pos x="110" y="314"/>
                </a:cxn>
                <a:cxn ang="0">
                  <a:pos x="135" y="337"/>
                </a:cxn>
                <a:cxn ang="0">
                  <a:pos x="133" y="369"/>
                </a:cxn>
                <a:cxn ang="0">
                  <a:pos x="141" y="386"/>
                </a:cxn>
                <a:cxn ang="0">
                  <a:pos x="142" y="404"/>
                </a:cxn>
                <a:cxn ang="0">
                  <a:pos x="169" y="426"/>
                </a:cxn>
                <a:cxn ang="0">
                  <a:pos x="175" y="461"/>
                </a:cxn>
                <a:cxn ang="0">
                  <a:pos x="258" y="493"/>
                </a:cxn>
                <a:cxn ang="0">
                  <a:pos x="286" y="481"/>
                </a:cxn>
                <a:cxn ang="0">
                  <a:pos x="319" y="474"/>
                </a:cxn>
                <a:cxn ang="0">
                  <a:pos x="343" y="440"/>
                </a:cxn>
                <a:cxn ang="0">
                  <a:pos x="350" y="412"/>
                </a:cxn>
                <a:cxn ang="0">
                  <a:pos x="363" y="374"/>
                </a:cxn>
                <a:cxn ang="0">
                  <a:pos x="385" y="365"/>
                </a:cxn>
                <a:cxn ang="0">
                  <a:pos x="402" y="348"/>
                </a:cxn>
                <a:cxn ang="0">
                  <a:pos x="410" y="330"/>
                </a:cxn>
                <a:cxn ang="0">
                  <a:pos x="419" y="265"/>
                </a:cxn>
                <a:cxn ang="0">
                  <a:pos x="403" y="193"/>
                </a:cxn>
                <a:cxn ang="0">
                  <a:pos x="438" y="161"/>
                </a:cxn>
                <a:cxn ang="0">
                  <a:pos x="430" y="105"/>
                </a:cxn>
                <a:cxn ang="0">
                  <a:pos x="397" y="54"/>
                </a:cxn>
                <a:cxn ang="0">
                  <a:pos x="375" y="28"/>
                </a:cxn>
                <a:cxn ang="0">
                  <a:pos x="365" y="11"/>
                </a:cxn>
                <a:cxn ang="0">
                  <a:pos x="318" y="13"/>
                </a:cxn>
                <a:cxn ang="0">
                  <a:pos x="250" y="4"/>
                </a:cxn>
                <a:cxn ang="0">
                  <a:pos x="235" y="16"/>
                </a:cxn>
                <a:cxn ang="0">
                  <a:pos x="219" y="13"/>
                </a:cxn>
                <a:cxn ang="0">
                  <a:pos x="201" y="12"/>
                </a:cxn>
                <a:cxn ang="0">
                  <a:pos x="169" y="21"/>
                </a:cxn>
                <a:cxn ang="0">
                  <a:pos x="151" y="28"/>
                </a:cxn>
                <a:cxn ang="0">
                  <a:pos x="129" y="25"/>
                </a:cxn>
                <a:cxn ang="0">
                  <a:pos x="97" y="30"/>
                </a:cxn>
                <a:cxn ang="0">
                  <a:pos x="66" y="54"/>
                </a:cxn>
                <a:cxn ang="0">
                  <a:pos x="38" y="80"/>
                </a:cxn>
                <a:cxn ang="0">
                  <a:pos x="62" y="140"/>
                </a:cxn>
                <a:cxn ang="0">
                  <a:pos x="57" y="168"/>
                </a:cxn>
                <a:cxn ang="0">
                  <a:pos x="45" y="182"/>
                </a:cxn>
                <a:cxn ang="0">
                  <a:pos x="17" y="212"/>
                </a:cxn>
                <a:cxn ang="0">
                  <a:pos x="0" y="240"/>
                </a:cxn>
                <a:cxn ang="0">
                  <a:pos x="31" y="277"/>
                </a:cxn>
              </a:cxnLst>
              <a:rect l="0" t="0" r="r" b="b"/>
              <a:pathLst>
                <a:path w="439" h="497">
                  <a:moveTo>
                    <a:pt x="31" y="277"/>
                  </a:moveTo>
                  <a:cubicBezTo>
                    <a:pt x="38" y="281"/>
                    <a:pt x="50" y="266"/>
                    <a:pt x="50" y="266"/>
                  </a:cubicBezTo>
                  <a:cubicBezTo>
                    <a:pt x="85" y="270"/>
                    <a:pt x="85" y="270"/>
                    <a:pt x="85" y="270"/>
                  </a:cubicBezTo>
                  <a:cubicBezTo>
                    <a:pt x="85" y="270"/>
                    <a:pt x="90" y="293"/>
                    <a:pt x="97" y="293"/>
                  </a:cubicBezTo>
                  <a:cubicBezTo>
                    <a:pt x="103" y="293"/>
                    <a:pt x="115" y="294"/>
                    <a:pt x="115" y="294"/>
                  </a:cubicBezTo>
                  <a:cubicBezTo>
                    <a:pt x="110" y="314"/>
                    <a:pt x="110" y="314"/>
                    <a:pt x="110" y="314"/>
                  </a:cubicBezTo>
                  <a:cubicBezTo>
                    <a:pt x="142" y="336"/>
                    <a:pt x="142" y="336"/>
                    <a:pt x="142" y="336"/>
                  </a:cubicBezTo>
                  <a:cubicBezTo>
                    <a:pt x="135" y="337"/>
                    <a:pt x="135" y="337"/>
                    <a:pt x="135" y="337"/>
                  </a:cubicBezTo>
                  <a:cubicBezTo>
                    <a:pt x="135" y="337"/>
                    <a:pt x="149" y="341"/>
                    <a:pt x="149" y="348"/>
                  </a:cubicBezTo>
                  <a:cubicBezTo>
                    <a:pt x="149" y="354"/>
                    <a:pt x="133" y="369"/>
                    <a:pt x="133" y="369"/>
                  </a:cubicBezTo>
                  <a:cubicBezTo>
                    <a:pt x="133" y="380"/>
                    <a:pt x="133" y="380"/>
                    <a:pt x="133" y="380"/>
                  </a:cubicBezTo>
                  <a:cubicBezTo>
                    <a:pt x="141" y="386"/>
                    <a:pt x="141" y="386"/>
                    <a:pt x="141" y="386"/>
                  </a:cubicBezTo>
                  <a:cubicBezTo>
                    <a:pt x="134" y="402"/>
                    <a:pt x="134" y="402"/>
                    <a:pt x="134" y="402"/>
                  </a:cubicBezTo>
                  <a:cubicBezTo>
                    <a:pt x="142" y="404"/>
                    <a:pt x="142" y="404"/>
                    <a:pt x="142" y="404"/>
                  </a:cubicBezTo>
                  <a:cubicBezTo>
                    <a:pt x="138" y="414"/>
                    <a:pt x="138" y="414"/>
                    <a:pt x="138" y="414"/>
                  </a:cubicBezTo>
                  <a:cubicBezTo>
                    <a:pt x="169" y="426"/>
                    <a:pt x="169" y="426"/>
                    <a:pt x="169" y="426"/>
                  </a:cubicBezTo>
                  <a:cubicBezTo>
                    <a:pt x="163" y="436"/>
                    <a:pt x="163" y="436"/>
                    <a:pt x="163" y="436"/>
                  </a:cubicBezTo>
                  <a:cubicBezTo>
                    <a:pt x="175" y="461"/>
                    <a:pt x="175" y="461"/>
                    <a:pt x="175" y="461"/>
                  </a:cubicBezTo>
                  <a:cubicBezTo>
                    <a:pt x="186" y="454"/>
                    <a:pt x="218" y="458"/>
                    <a:pt x="218" y="458"/>
                  </a:cubicBezTo>
                  <a:cubicBezTo>
                    <a:pt x="218" y="458"/>
                    <a:pt x="247" y="489"/>
                    <a:pt x="258" y="493"/>
                  </a:cubicBezTo>
                  <a:cubicBezTo>
                    <a:pt x="269" y="497"/>
                    <a:pt x="283" y="474"/>
                    <a:pt x="283" y="474"/>
                  </a:cubicBezTo>
                  <a:cubicBezTo>
                    <a:pt x="286" y="481"/>
                    <a:pt x="286" y="481"/>
                    <a:pt x="286" y="481"/>
                  </a:cubicBezTo>
                  <a:cubicBezTo>
                    <a:pt x="298" y="476"/>
                    <a:pt x="298" y="476"/>
                    <a:pt x="298" y="476"/>
                  </a:cubicBezTo>
                  <a:cubicBezTo>
                    <a:pt x="319" y="474"/>
                    <a:pt x="319" y="474"/>
                    <a:pt x="319" y="474"/>
                  </a:cubicBezTo>
                  <a:cubicBezTo>
                    <a:pt x="319" y="474"/>
                    <a:pt x="323" y="468"/>
                    <a:pt x="331" y="466"/>
                  </a:cubicBezTo>
                  <a:cubicBezTo>
                    <a:pt x="319" y="444"/>
                    <a:pt x="343" y="440"/>
                    <a:pt x="343" y="440"/>
                  </a:cubicBezTo>
                  <a:cubicBezTo>
                    <a:pt x="342" y="421"/>
                    <a:pt x="342" y="421"/>
                    <a:pt x="342" y="421"/>
                  </a:cubicBezTo>
                  <a:cubicBezTo>
                    <a:pt x="350" y="412"/>
                    <a:pt x="350" y="412"/>
                    <a:pt x="350" y="412"/>
                  </a:cubicBezTo>
                  <a:cubicBezTo>
                    <a:pt x="346" y="401"/>
                    <a:pt x="346" y="401"/>
                    <a:pt x="346" y="401"/>
                  </a:cubicBezTo>
                  <a:cubicBezTo>
                    <a:pt x="363" y="374"/>
                    <a:pt x="363" y="374"/>
                    <a:pt x="363" y="374"/>
                  </a:cubicBezTo>
                  <a:cubicBezTo>
                    <a:pt x="371" y="366"/>
                    <a:pt x="371" y="366"/>
                    <a:pt x="371" y="366"/>
                  </a:cubicBezTo>
                  <a:cubicBezTo>
                    <a:pt x="385" y="365"/>
                    <a:pt x="385" y="365"/>
                    <a:pt x="385" y="365"/>
                  </a:cubicBezTo>
                  <a:cubicBezTo>
                    <a:pt x="385" y="365"/>
                    <a:pt x="378" y="336"/>
                    <a:pt x="385" y="334"/>
                  </a:cubicBezTo>
                  <a:cubicBezTo>
                    <a:pt x="391" y="333"/>
                    <a:pt x="402" y="348"/>
                    <a:pt x="402" y="348"/>
                  </a:cubicBezTo>
                  <a:cubicBezTo>
                    <a:pt x="421" y="342"/>
                    <a:pt x="421" y="342"/>
                    <a:pt x="421" y="342"/>
                  </a:cubicBezTo>
                  <a:cubicBezTo>
                    <a:pt x="410" y="330"/>
                    <a:pt x="410" y="330"/>
                    <a:pt x="410" y="330"/>
                  </a:cubicBezTo>
                  <a:cubicBezTo>
                    <a:pt x="410" y="330"/>
                    <a:pt x="415" y="325"/>
                    <a:pt x="418" y="293"/>
                  </a:cubicBezTo>
                  <a:cubicBezTo>
                    <a:pt x="399" y="269"/>
                    <a:pt x="419" y="265"/>
                    <a:pt x="419" y="265"/>
                  </a:cubicBezTo>
                  <a:cubicBezTo>
                    <a:pt x="419" y="265"/>
                    <a:pt x="426" y="258"/>
                    <a:pt x="403" y="226"/>
                  </a:cubicBezTo>
                  <a:cubicBezTo>
                    <a:pt x="381" y="194"/>
                    <a:pt x="403" y="193"/>
                    <a:pt x="403" y="193"/>
                  </a:cubicBezTo>
                  <a:cubicBezTo>
                    <a:pt x="403" y="193"/>
                    <a:pt x="414" y="208"/>
                    <a:pt x="419" y="185"/>
                  </a:cubicBezTo>
                  <a:cubicBezTo>
                    <a:pt x="425" y="162"/>
                    <a:pt x="438" y="161"/>
                    <a:pt x="438" y="161"/>
                  </a:cubicBezTo>
                  <a:cubicBezTo>
                    <a:pt x="438" y="161"/>
                    <a:pt x="437" y="145"/>
                    <a:pt x="439" y="141"/>
                  </a:cubicBezTo>
                  <a:cubicBezTo>
                    <a:pt x="410" y="118"/>
                    <a:pt x="430" y="105"/>
                    <a:pt x="430" y="105"/>
                  </a:cubicBezTo>
                  <a:cubicBezTo>
                    <a:pt x="411" y="56"/>
                    <a:pt x="411" y="56"/>
                    <a:pt x="411" y="56"/>
                  </a:cubicBezTo>
                  <a:cubicBezTo>
                    <a:pt x="397" y="54"/>
                    <a:pt x="397" y="54"/>
                    <a:pt x="397" y="54"/>
                  </a:cubicBezTo>
                  <a:cubicBezTo>
                    <a:pt x="397" y="54"/>
                    <a:pt x="395" y="45"/>
                    <a:pt x="393" y="44"/>
                  </a:cubicBezTo>
                  <a:cubicBezTo>
                    <a:pt x="354" y="56"/>
                    <a:pt x="375" y="28"/>
                    <a:pt x="375" y="28"/>
                  </a:cubicBezTo>
                  <a:cubicBezTo>
                    <a:pt x="369" y="28"/>
                    <a:pt x="369" y="28"/>
                    <a:pt x="369" y="28"/>
                  </a:cubicBezTo>
                  <a:cubicBezTo>
                    <a:pt x="365" y="11"/>
                    <a:pt x="365" y="11"/>
                    <a:pt x="365" y="11"/>
                  </a:cubicBezTo>
                  <a:cubicBezTo>
                    <a:pt x="365" y="11"/>
                    <a:pt x="365" y="12"/>
                    <a:pt x="365" y="12"/>
                  </a:cubicBezTo>
                  <a:cubicBezTo>
                    <a:pt x="365" y="12"/>
                    <a:pt x="323" y="22"/>
                    <a:pt x="318" y="13"/>
                  </a:cubicBezTo>
                  <a:cubicBezTo>
                    <a:pt x="293" y="0"/>
                    <a:pt x="298" y="9"/>
                    <a:pt x="286" y="12"/>
                  </a:cubicBezTo>
                  <a:cubicBezTo>
                    <a:pt x="274" y="14"/>
                    <a:pt x="250" y="4"/>
                    <a:pt x="250" y="4"/>
                  </a:cubicBezTo>
                  <a:cubicBezTo>
                    <a:pt x="245" y="22"/>
                    <a:pt x="245" y="22"/>
                    <a:pt x="245" y="22"/>
                  </a:cubicBezTo>
                  <a:cubicBezTo>
                    <a:pt x="235" y="16"/>
                    <a:pt x="235" y="16"/>
                    <a:pt x="235" y="16"/>
                  </a:cubicBezTo>
                  <a:cubicBezTo>
                    <a:pt x="222" y="21"/>
                    <a:pt x="222" y="21"/>
                    <a:pt x="222" y="21"/>
                  </a:cubicBezTo>
                  <a:cubicBezTo>
                    <a:pt x="219" y="13"/>
                    <a:pt x="219" y="13"/>
                    <a:pt x="219" y="13"/>
                  </a:cubicBezTo>
                  <a:cubicBezTo>
                    <a:pt x="202" y="24"/>
                    <a:pt x="202" y="24"/>
                    <a:pt x="202" y="24"/>
                  </a:cubicBezTo>
                  <a:cubicBezTo>
                    <a:pt x="201" y="12"/>
                    <a:pt x="201" y="12"/>
                    <a:pt x="201" y="12"/>
                  </a:cubicBezTo>
                  <a:cubicBezTo>
                    <a:pt x="174" y="32"/>
                    <a:pt x="174" y="32"/>
                    <a:pt x="174" y="32"/>
                  </a:cubicBezTo>
                  <a:cubicBezTo>
                    <a:pt x="169" y="21"/>
                    <a:pt x="169" y="21"/>
                    <a:pt x="169" y="21"/>
                  </a:cubicBezTo>
                  <a:cubicBezTo>
                    <a:pt x="151" y="21"/>
                    <a:pt x="151" y="21"/>
                    <a:pt x="151" y="21"/>
                  </a:cubicBezTo>
                  <a:cubicBezTo>
                    <a:pt x="151" y="28"/>
                    <a:pt x="151" y="28"/>
                    <a:pt x="151" y="28"/>
                  </a:cubicBezTo>
                  <a:cubicBezTo>
                    <a:pt x="133" y="30"/>
                    <a:pt x="133" y="30"/>
                    <a:pt x="133" y="30"/>
                  </a:cubicBezTo>
                  <a:cubicBezTo>
                    <a:pt x="129" y="25"/>
                    <a:pt x="129" y="25"/>
                    <a:pt x="129" y="25"/>
                  </a:cubicBezTo>
                  <a:cubicBezTo>
                    <a:pt x="111" y="32"/>
                    <a:pt x="111" y="32"/>
                    <a:pt x="111" y="32"/>
                  </a:cubicBezTo>
                  <a:cubicBezTo>
                    <a:pt x="97" y="30"/>
                    <a:pt x="97" y="30"/>
                    <a:pt x="97" y="30"/>
                  </a:cubicBezTo>
                  <a:cubicBezTo>
                    <a:pt x="85" y="56"/>
                    <a:pt x="85" y="56"/>
                    <a:pt x="85" y="56"/>
                  </a:cubicBezTo>
                  <a:cubicBezTo>
                    <a:pt x="66" y="54"/>
                    <a:pt x="66" y="54"/>
                    <a:pt x="66" y="54"/>
                  </a:cubicBezTo>
                  <a:cubicBezTo>
                    <a:pt x="50" y="70"/>
                    <a:pt x="50" y="70"/>
                    <a:pt x="50" y="70"/>
                  </a:cubicBezTo>
                  <a:cubicBezTo>
                    <a:pt x="38" y="80"/>
                    <a:pt x="38" y="80"/>
                    <a:pt x="38" y="80"/>
                  </a:cubicBezTo>
                  <a:cubicBezTo>
                    <a:pt x="46" y="101"/>
                    <a:pt x="46" y="101"/>
                    <a:pt x="46" y="101"/>
                  </a:cubicBezTo>
                  <a:cubicBezTo>
                    <a:pt x="34" y="141"/>
                    <a:pt x="62" y="140"/>
                    <a:pt x="62" y="140"/>
                  </a:cubicBezTo>
                  <a:cubicBezTo>
                    <a:pt x="69" y="160"/>
                    <a:pt x="69" y="160"/>
                    <a:pt x="69" y="160"/>
                  </a:cubicBezTo>
                  <a:cubicBezTo>
                    <a:pt x="57" y="168"/>
                    <a:pt x="57" y="168"/>
                    <a:pt x="57" y="168"/>
                  </a:cubicBezTo>
                  <a:cubicBezTo>
                    <a:pt x="57" y="168"/>
                    <a:pt x="47" y="165"/>
                    <a:pt x="43" y="164"/>
                  </a:cubicBezTo>
                  <a:cubicBezTo>
                    <a:pt x="39" y="162"/>
                    <a:pt x="45" y="182"/>
                    <a:pt x="45" y="182"/>
                  </a:cubicBezTo>
                  <a:cubicBezTo>
                    <a:pt x="37" y="208"/>
                    <a:pt x="37" y="208"/>
                    <a:pt x="37" y="208"/>
                  </a:cubicBezTo>
                  <a:cubicBezTo>
                    <a:pt x="17" y="212"/>
                    <a:pt x="17" y="212"/>
                    <a:pt x="17" y="212"/>
                  </a:cubicBezTo>
                  <a:cubicBezTo>
                    <a:pt x="17" y="220"/>
                    <a:pt x="17" y="220"/>
                    <a:pt x="17" y="220"/>
                  </a:cubicBezTo>
                  <a:cubicBezTo>
                    <a:pt x="0" y="240"/>
                    <a:pt x="0" y="240"/>
                    <a:pt x="0" y="240"/>
                  </a:cubicBezTo>
                  <a:cubicBezTo>
                    <a:pt x="18" y="243"/>
                    <a:pt x="31" y="249"/>
                    <a:pt x="31" y="249"/>
                  </a:cubicBezTo>
                  <a:cubicBezTo>
                    <a:pt x="31" y="249"/>
                    <a:pt x="25" y="273"/>
                    <a:pt x="31" y="2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5" name="Auvergne" descr="© INSCALE GmbH, 05.05.2010&#10;http://www.presentationload.com/">
              <a:extLst>
                <a:ext uri="{FF2B5EF4-FFF2-40B4-BE49-F238E27FC236}">
                  <a16:creationId xmlns:a16="http://schemas.microsoft.com/office/drawing/2014/main" id="{9BD5E988-15D3-4B08-876C-E8948F7A9579}"/>
                </a:ext>
              </a:extLst>
            </p:cNvPr>
            <p:cNvSpPr>
              <a:spLocks/>
            </p:cNvSpPr>
            <p:nvPr/>
          </p:nvSpPr>
          <p:spPr bwMode="gray">
            <a:xfrm>
              <a:off x="1704" y="1640"/>
              <a:ext cx="593" cy="753"/>
            </a:xfrm>
            <a:custGeom>
              <a:avLst/>
              <a:gdLst/>
              <a:ahLst/>
              <a:cxnLst>
                <a:cxn ang="0">
                  <a:pos x="15" y="669"/>
                </a:cxn>
                <a:cxn ang="0">
                  <a:pos x="31" y="697"/>
                </a:cxn>
                <a:cxn ang="0">
                  <a:pos x="60" y="689"/>
                </a:cxn>
                <a:cxn ang="0">
                  <a:pos x="111" y="665"/>
                </a:cxn>
                <a:cxn ang="0">
                  <a:pos x="122" y="617"/>
                </a:cxn>
                <a:cxn ang="0">
                  <a:pos x="186" y="636"/>
                </a:cxn>
                <a:cxn ang="0">
                  <a:pos x="218" y="663"/>
                </a:cxn>
                <a:cxn ang="0">
                  <a:pos x="231" y="607"/>
                </a:cxn>
                <a:cxn ang="0">
                  <a:pos x="266" y="611"/>
                </a:cxn>
                <a:cxn ang="0">
                  <a:pos x="266" y="603"/>
                </a:cxn>
                <a:cxn ang="0">
                  <a:pos x="318" y="635"/>
                </a:cxn>
                <a:cxn ang="0">
                  <a:pos x="378" y="629"/>
                </a:cxn>
                <a:cxn ang="0">
                  <a:pos x="424" y="628"/>
                </a:cxn>
                <a:cxn ang="0">
                  <a:pos x="472" y="612"/>
                </a:cxn>
                <a:cxn ang="0">
                  <a:pos x="504" y="560"/>
                </a:cxn>
                <a:cxn ang="0">
                  <a:pos x="522" y="535"/>
                </a:cxn>
                <a:cxn ang="0">
                  <a:pos x="536" y="517"/>
                </a:cxn>
                <a:cxn ang="0">
                  <a:pos x="507" y="467"/>
                </a:cxn>
                <a:cxn ang="0">
                  <a:pos x="450" y="463"/>
                </a:cxn>
                <a:cxn ang="0">
                  <a:pos x="430" y="449"/>
                </a:cxn>
                <a:cxn ang="0">
                  <a:pos x="408" y="445"/>
                </a:cxn>
                <a:cxn ang="0">
                  <a:pos x="364" y="320"/>
                </a:cxn>
                <a:cxn ang="0">
                  <a:pos x="362" y="273"/>
                </a:cxn>
                <a:cxn ang="0">
                  <a:pos x="386" y="217"/>
                </a:cxn>
                <a:cxn ang="0">
                  <a:pos x="378" y="176"/>
                </a:cxn>
                <a:cxn ang="0">
                  <a:pos x="411" y="159"/>
                </a:cxn>
                <a:cxn ang="0">
                  <a:pos x="424" y="101"/>
                </a:cxn>
                <a:cxn ang="0">
                  <a:pos x="370" y="81"/>
                </a:cxn>
                <a:cxn ang="0">
                  <a:pos x="327" y="32"/>
                </a:cxn>
                <a:cxn ang="0">
                  <a:pos x="306" y="31"/>
                </a:cxn>
                <a:cxn ang="0">
                  <a:pos x="263" y="25"/>
                </a:cxn>
                <a:cxn ang="0">
                  <a:pos x="171" y="23"/>
                </a:cxn>
                <a:cxn ang="0">
                  <a:pos x="115" y="49"/>
                </a:cxn>
                <a:cxn ang="0">
                  <a:pos x="46" y="118"/>
                </a:cxn>
                <a:cxn ang="0">
                  <a:pos x="74" y="151"/>
                </a:cxn>
                <a:cxn ang="0">
                  <a:pos x="111" y="212"/>
                </a:cxn>
                <a:cxn ang="0">
                  <a:pos x="100" y="292"/>
                </a:cxn>
                <a:cxn ang="0">
                  <a:pos x="100" y="372"/>
                </a:cxn>
                <a:cxn ang="0">
                  <a:pos x="102" y="449"/>
                </a:cxn>
                <a:cxn ang="0">
                  <a:pos x="66" y="472"/>
                </a:cxn>
                <a:cxn ang="0">
                  <a:pos x="27" y="508"/>
                </a:cxn>
                <a:cxn ang="0">
                  <a:pos x="24" y="547"/>
                </a:cxn>
                <a:cxn ang="0">
                  <a:pos x="4" y="608"/>
                </a:cxn>
              </a:cxnLst>
              <a:rect l="0" t="0" r="r" b="b"/>
              <a:pathLst>
                <a:path w="550" h="697">
                  <a:moveTo>
                    <a:pt x="4" y="608"/>
                  </a:moveTo>
                  <a:cubicBezTo>
                    <a:pt x="20" y="635"/>
                    <a:pt x="20" y="635"/>
                    <a:pt x="20" y="635"/>
                  </a:cubicBezTo>
                  <a:cubicBezTo>
                    <a:pt x="15" y="669"/>
                    <a:pt x="15" y="669"/>
                    <a:pt x="15" y="669"/>
                  </a:cubicBezTo>
                  <a:cubicBezTo>
                    <a:pt x="24" y="675"/>
                    <a:pt x="24" y="675"/>
                    <a:pt x="24" y="675"/>
                  </a:cubicBezTo>
                  <a:cubicBezTo>
                    <a:pt x="26" y="691"/>
                    <a:pt x="26" y="691"/>
                    <a:pt x="26" y="691"/>
                  </a:cubicBezTo>
                  <a:cubicBezTo>
                    <a:pt x="31" y="697"/>
                    <a:pt x="31" y="697"/>
                    <a:pt x="31" y="697"/>
                  </a:cubicBezTo>
                  <a:cubicBezTo>
                    <a:pt x="30" y="685"/>
                    <a:pt x="30" y="685"/>
                    <a:pt x="30" y="685"/>
                  </a:cubicBezTo>
                  <a:cubicBezTo>
                    <a:pt x="59" y="684"/>
                    <a:pt x="59" y="684"/>
                    <a:pt x="59" y="684"/>
                  </a:cubicBezTo>
                  <a:cubicBezTo>
                    <a:pt x="60" y="689"/>
                    <a:pt x="60" y="689"/>
                    <a:pt x="60" y="689"/>
                  </a:cubicBezTo>
                  <a:cubicBezTo>
                    <a:pt x="94" y="687"/>
                    <a:pt x="94" y="687"/>
                    <a:pt x="94" y="687"/>
                  </a:cubicBezTo>
                  <a:cubicBezTo>
                    <a:pt x="98" y="675"/>
                    <a:pt x="98" y="675"/>
                    <a:pt x="98" y="675"/>
                  </a:cubicBezTo>
                  <a:cubicBezTo>
                    <a:pt x="111" y="665"/>
                    <a:pt x="111" y="665"/>
                    <a:pt x="111" y="665"/>
                  </a:cubicBezTo>
                  <a:cubicBezTo>
                    <a:pt x="112" y="645"/>
                    <a:pt x="112" y="645"/>
                    <a:pt x="112" y="645"/>
                  </a:cubicBezTo>
                  <a:cubicBezTo>
                    <a:pt x="120" y="639"/>
                    <a:pt x="120" y="639"/>
                    <a:pt x="120" y="639"/>
                  </a:cubicBezTo>
                  <a:cubicBezTo>
                    <a:pt x="122" y="617"/>
                    <a:pt x="122" y="617"/>
                    <a:pt x="122" y="617"/>
                  </a:cubicBezTo>
                  <a:cubicBezTo>
                    <a:pt x="122" y="617"/>
                    <a:pt x="122" y="624"/>
                    <a:pt x="131" y="616"/>
                  </a:cubicBezTo>
                  <a:cubicBezTo>
                    <a:pt x="157" y="579"/>
                    <a:pt x="163" y="607"/>
                    <a:pt x="161" y="614"/>
                  </a:cubicBezTo>
                  <a:cubicBezTo>
                    <a:pt x="172" y="606"/>
                    <a:pt x="186" y="636"/>
                    <a:pt x="186" y="636"/>
                  </a:cubicBezTo>
                  <a:cubicBezTo>
                    <a:pt x="195" y="647"/>
                    <a:pt x="195" y="647"/>
                    <a:pt x="195" y="647"/>
                  </a:cubicBezTo>
                  <a:cubicBezTo>
                    <a:pt x="204" y="687"/>
                    <a:pt x="204" y="687"/>
                    <a:pt x="204" y="687"/>
                  </a:cubicBezTo>
                  <a:cubicBezTo>
                    <a:pt x="218" y="663"/>
                    <a:pt x="218" y="663"/>
                    <a:pt x="218" y="663"/>
                  </a:cubicBezTo>
                  <a:cubicBezTo>
                    <a:pt x="224" y="636"/>
                    <a:pt x="224" y="636"/>
                    <a:pt x="224" y="636"/>
                  </a:cubicBezTo>
                  <a:cubicBezTo>
                    <a:pt x="232" y="627"/>
                    <a:pt x="232" y="627"/>
                    <a:pt x="232" y="627"/>
                  </a:cubicBezTo>
                  <a:cubicBezTo>
                    <a:pt x="231" y="607"/>
                    <a:pt x="231" y="607"/>
                    <a:pt x="231" y="607"/>
                  </a:cubicBezTo>
                  <a:cubicBezTo>
                    <a:pt x="240" y="603"/>
                    <a:pt x="240" y="603"/>
                    <a:pt x="240" y="603"/>
                  </a:cubicBezTo>
                  <a:cubicBezTo>
                    <a:pt x="248" y="616"/>
                    <a:pt x="248" y="616"/>
                    <a:pt x="248" y="616"/>
                  </a:cubicBezTo>
                  <a:cubicBezTo>
                    <a:pt x="266" y="611"/>
                    <a:pt x="266" y="611"/>
                    <a:pt x="266" y="611"/>
                  </a:cubicBezTo>
                  <a:cubicBezTo>
                    <a:pt x="266" y="603"/>
                    <a:pt x="266" y="603"/>
                    <a:pt x="266" y="603"/>
                  </a:cubicBezTo>
                  <a:cubicBezTo>
                    <a:pt x="263" y="603"/>
                    <a:pt x="267" y="593"/>
                    <a:pt x="267" y="593"/>
                  </a:cubicBezTo>
                  <a:cubicBezTo>
                    <a:pt x="266" y="603"/>
                    <a:pt x="266" y="603"/>
                    <a:pt x="266" y="603"/>
                  </a:cubicBezTo>
                  <a:cubicBezTo>
                    <a:pt x="267" y="603"/>
                    <a:pt x="269" y="602"/>
                    <a:pt x="271" y="600"/>
                  </a:cubicBezTo>
                  <a:cubicBezTo>
                    <a:pt x="282" y="591"/>
                    <a:pt x="300" y="584"/>
                    <a:pt x="300" y="584"/>
                  </a:cubicBezTo>
                  <a:cubicBezTo>
                    <a:pt x="318" y="635"/>
                    <a:pt x="318" y="635"/>
                    <a:pt x="318" y="635"/>
                  </a:cubicBezTo>
                  <a:cubicBezTo>
                    <a:pt x="318" y="635"/>
                    <a:pt x="318" y="635"/>
                    <a:pt x="342" y="627"/>
                  </a:cubicBezTo>
                  <a:cubicBezTo>
                    <a:pt x="346" y="600"/>
                    <a:pt x="356" y="624"/>
                    <a:pt x="356" y="624"/>
                  </a:cubicBezTo>
                  <a:cubicBezTo>
                    <a:pt x="378" y="629"/>
                    <a:pt x="378" y="629"/>
                    <a:pt x="378" y="629"/>
                  </a:cubicBezTo>
                  <a:cubicBezTo>
                    <a:pt x="399" y="655"/>
                    <a:pt x="399" y="655"/>
                    <a:pt x="399" y="655"/>
                  </a:cubicBezTo>
                  <a:cubicBezTo>
                    <a:pt x="424" y="644"/>
                    <a:pt x="424" y="644"/>
                    <a:pt x="424" y="644"/>
                  </a:cubicBezTo>
                  <a:cubicBezTo>
                    <a:pt x="424" y="628"/>
                    <a:pt x="424" y="628"/>
                    <a:pt x="424" y="628"/>
                  </a:cubicBezTo>
                  <a:cubicBezTo>
                    <a:pt x="443" y="619"/>
                    <a:pt x="443" y="619"/>
                    <a:pt x="443" y="619"/>
                  </a:cubicBezTo>
                  <a:cubicBezTo>
                    <a:pt x="444" y="613"/>
                    <a:pt x="444" y="613"/>
                    <a:pt x="444" y="613"/>
                  </a:cubicBezTo>
                  <a:cubicBezTo>
                    <a:pt x="472" y="612"/>
                    <a:pt x="472" y="612"/>
                    <a:pt x="472" y="612"/>
                  </a:cubicBezTo>
                  <a:cubicBezTo>
                    <a:pt x="484" y="584"/>
                    <a:pt x="484" y="584"/>
                    <a:pt x="484" y="584"/>
                  </a:cubicBezTo>
                  <a:cubicBezTo>
                    <a:pt x="504" y="580"/>
                    <a:pt x="504" y="580"/>
                    <a:pt x="504" y="580"/>
                  </a:cubicBezTo>
                  <a:cubicBezTo>
                    <a:pt x="504" y="560"/>
                    <a:pt x="504" y="560"/>
                    <a:pt x="504" y="560"/>
                  </a:cubicBezTo>
                  <a:cubicBezTo>
                    <a:pt x="519" y="560"/>
                    <a:pt x="519" y="560"/>
                    <a:pt x="519" y="560"/>
                  </a:cubicBezTo>
                  <a:cubicBezTo>
                    <a:pt x="519" y="560"/>
                    <a:pt x="512" y="548"/>
                    <a:pt x="512" y="544"/>
                  </a:cubicBezTo>
                  <a:cubicBezTo>
                    <a:pt x="512" y="540"/>
                    <a:pt x="522" y="535"/>
                    <a:pt x="522" y="535"/>
                  </a:cubicBezTo>
                  <a:cubicBezTo>
                    <a:pt x="519" y="523"/>
                    <a:pt x="519" y="523"/>
                    <a:pt x="519" y="523"/>
                  </a:cubicBezTo>
                  <a:cubicBezTo>
                    <a:pt x="533" y="534"/>
                    <a:pt x="533" y="534"/>
                    <a:pt x="533" y="534"/>
                  </a:cubicBezTo>
                  <a:cubicBezTo>
                    <a:pt x="532" y="533"/>
                    <a:pt x="532" y="529"/>
                    <a:pt x="536" y="517"/>
                  </a:cubicBezTo>
                  <a:cubicBezTo>
                    <a:pt x="550" y="468"/>
                    <a:pt x="519" y="489"/>
                    <a:pt x="519" y="489"/>
                  </a:cubicBezTo>
                  <a:cubicBezTo>
                    <a:pt x="512" y="471"/>
                    <a:pt x="512" y="471"/>
                    <a:pt x="512" y="471"/>
                  </a:cubicBezTo>
                  <a:cubicBezTo>
                    <a:pt x="507" y="467"/>
                    <a:pt x="507" y="467"/>
                    <a:pt x="507" y="467"/>
                  </a:cubicBezTo>
                  <a:cubicBezTo>
                    <a:pt x="520" y="456"/>
                    <a:pt x="495" y="459"/>
                    <a:pt x="488" y="449"/>
                  </a:cubicBezTo>
                  <a:cubicBezTo>
                    <a:pt x="482" y="440"/>
                    <a:pt x="452" y="455"/>
                    <a:pt x="452" y="455"/>
                  </a:cubicBezTo>
                  <a:cubicBezTo>
                    <a:pt x="450" y="463"/>
                    <a:pt x="450" y="463"/>
                    <a:pt x="450" y="463"/>
                  </a:cubicBezTo>
                  <a:cubicBezTo>
                    <a:pt x="444" y="456"/>
                    <a:pt x="444" y="456"/>
                    <a:pt x="444" y="456"/>
                  </a:cubicBezTo>
                  <a:cubicBezTo>
                    <a:pt x="434" y="461"/>
                    <a:pt x="434" y="461"/>
                    <a:pt x="434" y="461"/>
                  </a:cubicBezTo>
                  <a:cubicBezTo>
                    <a:pt x="430" y="449"/>
                    <a:pt x="430" y="449"/>
                    <a:pt x="430" y="449"/>
                  </a:cubicBezTo>
                  <a:cubicBezTo>
                    <a:pt x="418" y="449"/>
                    <a:pt x="418" y="449"/>
                    <a:pt x="418" y="449"/>
                  </a:cubicBezTo>
                  <a:cubicBezTo>
                    <a:pt x="412" y="468"/>
                    <a:pt x="412" y="468"/>
                    <a:pt x="412" y="468"/>
                  </a:cubicBezTo>
                  <a:cubicBezTo>
                    <a:pt x="408" y="445"/>
                    <a:pt x="408" y="445"/>
                    <a:pt x="408" y="445"/>
                  </a:cubicBezTo>
                  <a:cubicBezTo>
                    <a:pt x="408" y="445"/>
                    <a:pt x="422" y="439"/>
                    <a:pt x="424" y="432"/>
                  </a:cubicBezTo>
                  <a:cubicBezTo>
                    <a:pt x="436" y="412"/>
                    <a:pt x="396" y="376"/>
                    <a:pt x="391" y="376"/>
                  </a:cubicBezTo>
                  <a:cubicBezTo>
                    <a:pt x="387" y="356"/>
                    <a:pt x="364" y="320"/>
                    <a:pt x="364" y="320"/>
                  </a:cubicBezTo>
                  <a:cubicBezTo>
                    <a:pt x="366" y="292"/>
                    <a:pt x="366" y="292"/>
                    <a:pt x="366" y="292"/>
                  </a:cubicBezTo>
                  <a:cubicBezTo>
                    <a:pt x="374" y="289"/>
                    <a:pt x="374" y="289"/>
                    <a:pt x="374" y="289"/>
                  </a:cubicBezTo>
                  <a:cubicBezTo>
                    <a:pt x="362" y="273"/>
                    <a:pt x="362" y="273"/>
                    <a:pt x="362" y="273"/>
                  </a:cubicBezTo>
                  <a:cubicBezTo>
                    <a:pt x="362" y="261"/>
                    <a:pt x="362" y="261"/>
                    <a:pt x="362" y="261"/>
                  </a:cubicBezTo>
                  <a:cubicBezTo>
                    <a:pt x="387" y="252"/>
                    <a:pt x="387" y="252"/>
                    <a:pt x="387" y="252"/>
                  </a:cubicBezTo>
                  <a:cubicBezTo>
                    <a:pt x="386" y="217"/>
                    <a:pt x="386" y="217"/>
                    <a:pt x="386" y="217"/>
                  </a:cubicBezTo>
                  <a:cubicBezTo>
                    <a:pt x="379" y="204"/>
                    <a:pt x="379" y="204"/>
                    <a:pt x="379" y="204"/>
                  </a:cubicBezTo>
                  <a:cubicBezTo>
                    <a:pt x="383" y="189"/>
                    <a:pt x="383" y="189"/>
                    <a:pt x="383" y="189"/>
                  </a:cubicBezTo>
                  <a:cubicBezTo>
                    <a:pt x="378" y="176"/>
                    <a:pt x="378" y="176"/>
                    <a:pt x="378" y="176"/>
                  </a:cubicBezTo>
                  <a:cubicBezTo>
                    <a:pt x="403" y="165"/>
                    <a:pt x="403" y="165"/>
                    <a:pt x="403" y="165"/>
                  </a:cubicBezTo>
                  <a:cubicBezTo>
                    <a:pt x="403" y="156"/>
                    <a:pt x="403" y="156"/>
                    <a:pt x="403" y="156"/>
                  </a:cubicBezTo>
                  <a:cubicBezTo>
                    <a:pt x="411" y="159"/>
                    <a:pt x="411" y="159"/>
                    <a:pt x="411" y="159"/>
                  </a:cubicBezTo>
                  <a:cubicBezTo>
                    <a:pt x="416" y="145"/>
                    <a:pt x="416" y="145"/>
                    <a:pt x="416" y="145"/>
                  </a:cubicBezTo>
                  <a:cubicBezTo>
                    <a:pt x="423" y="145"/>
                    <a:pt x="423" y="145"/>
                    <a:pt x="423" y="145"/>
                  </a:cubicBezTo>
                  <a:cubicBezTo>
                    <a:pt x="423" y="145"/>
                    <a:pt x="423" y="116"/>
                    <a:pt x="424" y="101"/>
                  </a:cubicBezTo>
                  <a:cubicBezTo>
                    <a:pt x="426" y="87"/>
                    <a:pt x="398" y="97"/>
                    <a:pt x="398" y="97"/>
                  </a:cubicBezTo>
                  <a:cubicBezTo>
                    <a:pt x="387" y="84"/>
                    <a:pt x="387" y="84"/>
                    <a:pt x="387" y="84"/>
                  </a:cubicBezTo>
                  <a:cubicBezTo>
                    <a:pt x="370" y="81"/>
                    <a:pt x="370" y="81"/>
                    <a:pt x="370" y="81"/>
                  </a:cubicBezTo>
                  <a:cubicBezTo>
                    <a:pt x="366" y="63"/>
                    <a:pt x="366" y="63"/>
                    <a:pt x="366" y="63"/>
                  </a:cubicBezTo>
                  <a:cubicBezTo>
                    <a:pt x="366" y="63"/>
                    <a:pt x="336" y="12"/>
                    <a:pt x="332" y="8"/>
                  </a:cubicBezTo>
                  <a:cubicBezTo>
                    <a:pt x="328" y="4"/>
                    <a:pt x="327" y="32"/>
                    <a:pt x="327" y="32"/>
                  </a:cubicBezTo>
                  <a:cubicBezTo>
                    <a:pt x="318" y="31"/>
                    <a:pt x="318" y="31"/>
                    <a:pt x="318" y="31"/>
                  </a:cubicBezTo>
                  <a:cubicBezTo>
                    <a:pt x="306" y="45"/>
                    <a:pt x="306" y="45"/>
                    <a:pt x="306" y="45"/>
                  </a:cubicBezTo>
                  <a:cubicBezTo>
                    <a:pt x="306" y="31"/>
                    <a:pt x="306" y="31"/>
                    <a:pt x="306" y="31"/>
                  </a:cubicBezTo>
                  <a:cubicBezTo>
                    <a:pt x="294" y="24"/>
                    <a:pt x="294" y="24"/>
                    <a:pt x="294" y="24"/>
                  </a:cubicBezTo>
                  <a:cubicBezTo>
                    <a:pt x="294" y="24"/>
                    <a:pt x="283" y="32"/>
                    <a:pt x="279" y="32"/>
                  </a:cubicBezTo>
                  <a:cubicBezTo>
                    <a:pt x="275" y="32"/>
                    <a:pt x="267" y="25"/>
                    <a:pt x="263" y="25"/>
                  </a:cubicBezTo>
                  <a:cubicBezTo>
                    <a:pt x="259" y="25"/>
                    <a:pt x="254" y="36"/>
                    <a:pt x="244" y="35"/>
                  </a:cubicBezTo>
                  <a:cubicBezTo>
                    <a:pt x="236" y="34"/>
                    <a:pt x="220" y="9"/>
                    <a:pt x="213" y="1"/>
                  </a:cubicBezTo>
                  <a:cubicBezTo>
                    <a:pt x="188" y="0"/>
                    <a:pt x="178" y="8"/>
                    <a:pt x="171" y="23"/>
                  </a:cubicBezTo>
                  <a:cubicBezTo>
                    <a:pt x="163" y="39"/>
                    <a:pt x="148" y="17"/>
                    <a:pt x="144" y="17"/>
                  </a:cubicBezTo>
                  <a:cubicBezTo>
                    <a:pt x="140" y="17"/>
                    <a:pt x="122" y="36"/>
                    <a:pt x="122" y="36"/>
                  </a:cubicBezTo>
                  <a:cubicBezTo>
                    <a:pt x="122" y="36"/>
                    <a:pt x="122" y="44"/>
                    <a:pt x="115" y="49"/>
                  </a:cubicBezTo>
                  <a:cubicBezTo>
                    <a:pt x="108" y="55"/>
                    <a:pt x="118" y="77"/>
                    <a:pt x="118" y="77"/>
                  </a:cubicBezTo>
                  <a:cubicBezTo>
                    <a:pt x="118" y="77"/>
                    <a:pt x="118" y="77"/>
                    <a:pt x="102" y="88"/>
                  </a:cubicBezTo>
                  <a:cubicBezTo>
                    <a:pt x="72" y="77"/>
                    <a:pt x="50" y="111"/>
                    <a:pt x="46" y="118"/>
                  </a:cubicBezTo>
                  <a:cubicBezTo>
                    <a:pt x="50" y="135"/>
                    <a:pt x="50" y="135"/>
                    <a:pt x="50" y="135"/>
                  </a:cubicBezTo>
                  <a:cubicBezTo>
                    <a:pt x="56" y="135"/>
                    <a:pt x="56" y="135"/>
                    <a:pt x="56" y="135"/>
                  </a:cubicBezTo>
                  <a:cubicBezTo>
                    <a:pt x="56" y="135"/>
                    <a:pt x="35" y="163"/>
                    <a:pt x="74" y="151"/>
                  </a:cubicBezTo>
                  <a:cubicBezTo>
                    <a:pt x="76" y="152"/>
                    <a:pt x="78" y="161"/>
                    <a:pt x="78" y="161"/>
                  </a:cubicBezTo>
                  <a:cubicBezTo>
                    <a:pt x="92" y="163"/>
                    <a:pt x="92" y="163"/>
                    <a:pt x="92" y="163"/>
                  </a:cubicBezTo>
                  <a:cubicBezTo>
                    <a:pt x="111" y="212"/>
                    <a:pt x="111" y="212"/>
                    <a:pt x="111" y="212"/>
                  </a:cubicBezTo>
                  <a:cubicBezTo>
                    <a:pt x="111" y="212"/>
                    <a:pt x="91" y="225"/>
                    <a:pt x="120" y="248"/>
                  </a:cubicBezTo>
                  <a:cubicBezTo>
                    <a:pt x="118" y="252"/>
                    <a:pt x="119" y="268"/>
                    <a:pt x="119" y="268"/>
                  </a:cubicBezTo>
                  <a:cubicBezTo>
                    <a:pt x="119" y="268"/>
                    <a:pt x="106" y="269"/>
                    <a:pt x="100" y="292"/>
                  </a:cubicBezTo>
                  <a:cubicBezTo>
                    <a:pt x="95" y="315"/>
                    <a:pt x="84" y="300"/>
                    <a:pt x="84" y="300"/>
                  </a:cubicBezTo>
                  <a:cubicBezTo>
                    <a:pt x="84" y="300"/>
                    <a:pt x="62" y="301"/>
                    <a:pt x="84" y="333"/>
                  </a:cubicBezTo>
                  <a:cubicBezTo>
                    <a:pt x="107" y="365"/>
                    <a:pt x="100" y="372"/>
                    <a:pt x="100" y="372"/>
                  </a:cubicBezTo>
                  <a:cubicBezTo>
                    <a:pt x="100" y="372"/>
                    <a:pt x="80" y="376"/>
                    <a:pt x="99" y="400"/>
                  </a:cubicBezTo>
                  <a:cubicBezTo>
                    <a:pt x="96" y="432"/>
                    <a:pt x="91" y="437"/>
                    <a:pt x="91" y="437"/>
                  </a:cubicBezTo>
                  <a:cubicBezTo>
                    <a:pt x="102" y="449"/>
                    <a:pt x="102" y="449"/>
                    <a:pt x="102" y="449"/>
                  </a:cubicBezTo>
                  <a:cubicBezTo>
                    <a:pt x="83" y="455"/>
                    <a:pt x="83" y="455"/>
                    <a:pt x="83" y="455"/>
                  </a:cubicBezTo>
                  <a:cubicBezTo>
                    <a:pt x="83" y="455"/>
                    <a:pt x="72" y="440"/>
                    <a:pt x="66" y="441"/>
                  </a:cubicBezTo>
                  <a:cubicBezTo>
                    <a:pt x="59" y="443"/>
                    <a:pt x="66" y="472"/>
                    <a:pt x="66" y="472"/>
                  </a:cubicBezTo>
                  <a:cubicBezTo>
                    <a:pt x="52" y="473"/>
                    <a:pt x="52" y="473"/>
                    <a:pt x="52" y="473"/>
                  </a:cubicBezTo>
                  <a:cubicBezTo>
                    <a:pt x="44" y="481"/>
                    <a:pt x="44" y="481"/>
                    <a:pt x="44" y="481"/>
                  </a:cubicBezTo>
                  <a:cubicBezTo>
                    <a:pt x="27" y="508"/>
                    <a:pt x="27" y="508"/>
                    <a:pt x="27" y="508"/>
                  </a:cubicBezTo>
                  <a:cubicBezTo>
                    <a:pt x="31" y="519"/>
                    <a:pt x="31" y="519"/>
                    <a:pt x="31" y="519"/>
                  </a:cubicBezTo>
                  <a:cubicBezTo>
                    <a:pt x="23" y="528"/>
                    <a:pt x="23" y="528"/>
                    <a:pt x="23" y="528"/>
                  </a:cubicBezTo>
                  <a:cubicBezTo>
                    <a:pt x="24" y="547"/>
                    <a:pt x="24" y="547"/>
                    <a:pt x="24" y="547"/>
                  </a:cubicBezTo>
                  <a:cubicBezTo>
                    <a:pt x="24" y="547"/>
                    <a:pt x="0" y="551"/>
                    <a:pt x="12" y="573"/>
                  </a:cubicBezTo>
                  <a:cubicBezTo>
                    <a:pt x="8" y="574"/>
                    <a:pt x="5" y="576"/>
                    <a:pt x="3" y="578"/>
                  </a:cubicBezTo>
                  <a:cubicBezTo>
                    <a:pt x="6" y="591"/>
                    <a:pt x="4" y="608"/>
                    <a:pt x="4" y="608"/>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6" name="Provence" descr="© INSCALE GmbH, 05.05.2010&#10;http://www.presentationload.com/">
              <a:extLst>
                <a:ext uri="{FF2B5EF4-FFF2-40B4-BE49-F238E27FC236}">
                  <a16:creationId xmlns:a16="http://schemas.microsoft.com/office/drawing/2014/main" id="{9A4171FE-BD58-4F57-89AE-DD2732B8B4B6}"/>
                </a:ext>
              </a:extLst>
            </p:cNvPr>
            <p:cNvSpPr>
              <a:spLocks/>
            </p:cNvSpPr>
            <p:nvPr/>
          </p:nvSpPr>
          <p:spPr bwMode="gray">
            <a:xfrm>
              <a:off x="2233" y="2198"/>
              <a:ext cx="838" cy="739"/>
            </a:xfrm>
            <a:custGeom>
              <a:avLst/>
              <a:gdLst/>
              <a:ahLst/>
              <a:cxnLst>
                <a:cxn ang="0">
                  <a:pos x="68" y="539"/>
                </a:cxn>
                <a:cxn ang="0">
                  <a:pos x="78" y="572"/>
                </a:cxn>
                <a:cxn ang="0">
                  <a:pos x="129" y="586"/>
                </a:cxn>
                <a:cxn ang="0">
                  <a:pos x="134" y="565"/>
                </a:cxn>
                <a:cxn ang="0">
                  <a:pos x="161" y="554"/>
                </a:cxn>
                <a:cxn ang="0">
                  <a:pos x="214" y="585"/>
                </a:cxn>
                <a:cxn ang="0">
                  <a:pos x="251" y="596"/>
                </a:cxn>
                <a:cxn ang="0">
                  <a:pos x="255" y="612"/>
                </a:cxn>
                <a:cxn ang="0">
                  <a:pos x="295" y="632"/>
                </a:cxn>
                <a:cxn ang="0">
                  <a:pos x="332" y="649"/>
                </a:cxn>
                <a:cxn ang="0">
                  <a:pos x="364" y="684"/>
                </a:cxn>
                <a:cxn ang="0">
                  <a:pos x="407" y="679"/>
                </a:cxn>
                <a:cxn ang="0">
                  <a:pos x="426" y="679"/>
                </a:cxn>
                <a:cxn ang="0">
                  <a:pos x="465" y="665"/>
                </a:cxn>
                <a:cxn ang="0">
                  <a:pos x="526" y="641"/>
                </a:cxn>
                <a:cxn ang="0">
                  <a:pos x="549" y="634"/>
                </a:cxn>
                <a:cxn ang="0">
                  <a:pos x="532" y="604"/>
                </a:cxn>
                <a:cxn ang="0">
                  <a:pos x="569" y="558"/>
                </a:cxn>
                <a:cxn ang="0">
                  <a:pos x="631" y="523"/>
                </a:cxn>
                <a:cxn ang="0">
                  <a:pos x="667" y="477"/>
                </a:cxn>
                <a:cxn ang="0">
                  <a:pos x="691" y="466"/>
                </a:cxn>
                <a:cxn ang="0">
                  <a:pos x="715" y="460"/>
                </a:cxn>
                <a:cxn ang="0">
                  <a:pos x="723" y="445"/>
                </a:cxn>
                <a:cxn ang="0">
                  <a:pos x="727" y="410"/>
                </a:cxn>
                <a:cxn ang="0">
                  <a:pos x="749" y="384"/>
                </a:cxn>
                <a:cxn ang="0">
                  <a:pos x="764" y="325"/>
                </a:cxn>
                <a:cxn ang="0">
                  <a:pos x="758" y="308"/>
                </a:cxn>
                <a:cxn ang="0">
                  <a:pos x="725" y="323"/>
                </a:cxn>
                <a:cxn ang="0">
                  <a:pos x="630" y="285"/>
                </a:cxn>
                <a:cxn ang="0">
                  <a:pos x="612" y="282"/>
                </a:cxn>
                <a:cxn ang="0">
                  <a:pos x="589" y="238"/>
                </a:cxn>
                <a:cxn ang="0">
                  <a:pos x="579" y="182"/>
                </a:cxn>
                <a:cxn ang="0">
                  <a:pos x="609" y="133"/>
                </a:cxn>
                <a:cxn ang="0">
                  <a:pos x="614" y="82"/>
                </a:cxn>
                <a:cxn ang="0">
                  <a:pos x="548" y="49"/>
                </a:cxn>
                <a:cxn ang="0">
                  <a:pos x="534" y="16"/>
                </a:cxn>
                <a:cxn ang="0">
                  <a:pos x="528" y="2"/>
                </a:cxn>
                <a:cxn ang="0">
                  <a:pos x="501" y="14"/>
                </a:cxn>
                <a:cxn ang="0">
                  <a:pos x="476" y="0"/>
                </a:cxn>
                <a:cxn ang="0">
                  <a:pos x="449" y="11"/>
                </a:cxn>
                <a:cxn ang="0">
                  <a:pos x="468" y="40"/>
                </a:cxn>
                <a:cxn ang="0">
                  <a:pos x="413" y="94"/>
                </a:cxn>
                <a:cxn ang="0">
                  <a:pos x="361" y="116"/>
                </a:cxn>
                <a:cxn ang="0">
                  <a:pos x="321" y="162"/>
                </a:cxn>
                <a:cxn ang="0">
                  <a:pos x="325" y="198"/>
                </a:cxn>
                <a:cxn ang="0">
                  <a:pos x="281" y="206"/>
                </a:cxn>
                <a:cxn ang="0">
                  <a:pos x="286" y="230"/>
                </a:cxn>
                <a:cxn ang="0">
                  <a:pos x="286" y="256"/>
                </a:cxn>
                <a:cxn ang="0">
                  <a:pos x="334" y="278"/>
                </a:cxn>
                <a:cxn ang="0">
                  <a:pos x="322" y="311"/>
                </a:cxn>
                <a:cxn ang="0">
                  <a:pos x="288" y="326"/>
                </a:cxn>
                <a:cxn ang="0">
                  <a:pos x="265" y="314"/>
                </a:cxn>
                <a:cxn ang="0">
                  <a:pos x="237" y="295"/>
                </a:cxn>
                <a:cxn ang="0">
                  <a:pos x="213" y="294"/>
                </a:cxn>
                <a:cxn ang="0">
                  <a:pos x="201" y="276"/>
                </a:cxn>
                <a:cxn ang="0">
                  <a:pos x="136" y="296"/>
                </a:cxn>
                <a:cxn ang="0">
                  <a:pos x="100" y="283"/>
                </a:cxn>
                <a:cxn ang="0">
                  <a:pos x="104" y="303"/>
                </a:cxn>
                <a:cxn ang="0">
                  <a:pos x="114" y="343"/>
                </a:cxn>
                <a:cxn ang="0">
                  <a:pos x="145" y="371"/>
                </a:cxn>
                <a:cxn ang="0">
                  <a:pos x="94" y="472"/>
                </a:cxn>
                <a:cxn ang="0">
                  <a:pos x="54" y="490"/>
                </a:cxn>
                <a:cxn ang="0">
                  <a:pos x="0" y="540"/>
                </a:cxn>
              </a:cxnLst>
              <a:rect l="0" t="0" r="r" b="b"/>
              <a:pathLst>
                <a:path w="778" h="684">
                  <a:moveTo>
                    <a:pt x="2" y="541"/>
                  </a:moveTo>
                  <a:cubicBezTo>
                    <a:pt x="3" y="544"/>
                    <a:pt x="54" y="539"/>
                    <a:pt x="68" y="539"/>
                  </a:cubicBezTo>
                  <a:cubicBezTo>
                    <a:pt x="82" y="539"/>
                    <a:pt x="80" y="555"/>
                    <a:pt x="80" y="555"/>
                  </a:cubicBezTo>
                  <a:cubicBezTo>
                    <a:pt x="57" y="564"/>
                    <a:pt x="80" y="563"/>
                    <a:pt x="78" y="572"/>
                  </a:cubicBezTo>
                  <a:cubicBezTo>
                    <a:pt x="76" y="581"/>
                    <a:pt x="119" y="577"/>
                    <a:pt x="119" y="577"/>
                  </a:cubicBezTo>
                  <a:cubicBezTo>
                    <a:pt x="119" y="577"/>
                    <a:pt x="127" y="583"/>
                    <a:pt x="129" y="586"/>
                  </a:cubicBezTo>
                  <a:cubicBezTo>
                    <a:pt x="131" y="589"/>
                    <a:pt x="138" y="577"/>
                    <a:pt x="144" y="575"/>
                  </a:cubicBezTo>
                  <a:cubicBezTo>
                    <a:pt x="150" y="573"/>
                    <a:pt x="138" y="576"/>
                    <a:pt x="134" y="565"/>
                  </a:cubicBezTo>
                  <a:cubicBezTo>
                    <a:pt x="130" y="554"/>
                    <a:pt x="139" y="558"/>
                    <a:pt x="139" y="554"/>
                  </a:cubicBezTo>
                  <a:cubicBezTo>
                    <a:pt x="139" y="550"/>
                    <a:pt x="151" y="554"/>
                    <a:pt x="161" y="554"/>
                  </a:cubicBezTo>
                  <a:cubicBezTo>
                    <a:pt x="171" y="554"/>
                    <a:pt x="177" y="583"/>
                    <a:pt x="177" y="583"/>
                  </a:cubicBezTo>
                  <a:cubicBezTo>
                    <a:pt x="214" y="585"/>
                    <a:pt x="214" y="585"/>
                    <a:pt x="214" y="585"/>
                  </a:cubicBezTo>
                  <a:cubicBezTo>
                    <a:pt x="214" y="585"/>
                    <a:pt x="233" y="578"/>
                    <a:pt x="240" y="569"/>
                  </a:cubicBezTo>
                  <a:cubicBezTo>
                    <a:pt x="247" y="560"/>
                    <a:pt x="251" y="596"/>
                    <a:pt x="251" y="596"/>
                  </a:cubicBezTo>
                  <a:cubicBezTo>
                    <a:pt x="251" y="596"/>
                    <a:pt x="248" y="600"/>
                    <a:pt x="245" y="600"/>
                  </a:cubicBezTo>
                  <a:cubicBezTo>
                    <a:pt x="242" y="600"/>
                    <a:pt x="252" y="608"/>
                    <a:pt x="255" y="612"/>
                  </a:cubicBezTo>
                  <a:cubicBezTo>
                    <a:pt x="258" y="616"/>
                    <a:pt x="248" y="623"/>
                    <a:pt x="248" y="623"/>
                  </a:cubicBezTo>
                  <a:cubicBezTo>
                    <a:pt x="248" y="623"/>
                    <a:pt x="291" y="631"/>
                    <a:pt x="295" y="632"/>
                  </a:cubicBezTo>
                  <a:cubicBezTo>
                    <a:pt x="305" y="651"/>
                    <a:pt x="316" y="636"/>
                    <a:pt x="322" y="637"/>
                  </a:cubicBezTo>
                  <a:cubicBezTo>
                    <a:pt x="328" y="638"/>
                    <a:pt x="320" y="648"/>
                    <a:pt x="332" y="649"/>
                  </a:cubicBezTo>
                  <a:cubicBezTo>
                    <a:pt x="344" y="650"/>
                    <a:pt x="354" y="671"/>
                    <a:pt x="348" y="676"/>
                  </a:cubicBezTo>
                  <a:cubicBezTo>
                    <a:pt x="342" y="681"/>
                    <a:pt x="356" y="680"/>
                    <a:pt x="364" y="684"/>
                  </a:cubicBezTo>
                  <a:cubicBezTo>
                    <a:pt x="372" y="671"/>
                    <a:pt x="393" y="669"/>
                    <a:pt x="399" y="666"/>
                  </a:cubicBezTo>
                  <a:cubicBezTo>
                    <a:pt x="405" y="663"/>
                    <a:pt x="404" y="681"/>
                    <a:pt x="407" y="679"/>
                  </a:cubicBezTo>
                  <a:cubicBezTo>
                    <a:pt x="410" y="677"/>
                    <a:pt x="418" y="669"/>
                    <a:pt x="424" y="674"/>
                  </a:cubicBezTo>
                  <a:cubicBezTo>
                    <a:pt x="426" y="676"/>
                    <a:pt x="426" y="678"/>
                    <a:pt x="426" y="679"/>
                  </a:cubicBezTo>
                  <a:cubicBezTo>
                    <a:pt x="427" y="679"/>
                    <a:pt x="437" y="672"/>
                    <a:pt x="443" y="663"/>
                  </a:cubicBezTo>
                  <a:cubicBezTo>
                    <a:pt x="449" y="654"/>
                    <a:pt x="443" y="663"/>
                    <a:pt x="465" y="665"/>
                  </a:cubicBezTo>
                  <a:cubicBezTo>
                    <a:pt x="472" y="679"/>
                    <a:pt x="481" y="671"/>
                    <a:pt x="481" y="671"/>
                  </a:cubicBezTo>
                  <a:cubicBezTo>
                    <a:pt x="469" y="660"/>
                    <a:pt x="520" y="642"/>
                    <a:pt x="526" y="641"/>
                  </a:cubicBezTo>
                  <a:cubicBezTo>
                    <a:pt x="532" y="640"/>
                    <a:pt x="538" y="646"/>
                    <a:pt x="538" y="646"/>
                  </a:cubicBezTo>
                  <a:cubicBezTo>
                    <a:pt x="538" y="646"/>
                    <a:pt x="547" y="639"/>
                    <a:pt x="549" y="634"/>
                  </a:cubicBezTo>
                  <a:cubicBezTo>
                    <a:pt x="551" y="629"/>
                    <a:pt x="551" y="618"/>
                    <a:pt x="548" y="610"/>
                  </a:cubicBezTo>
                  <a:cubicBezTo>
                    <a:pt x="518" y="622"/>
                    <a:pt x="535" y="604"/>
                    <a:pt x="532" y="604"/>
                  </a:cubicBezTo>
                  <a:cubicBezTo>
                    <a:pt x="529" y="604"/>
                    <a:pt x="552" y="584"/>
                    <a:pt x="560" y="578"/>
                  </a:cubicBezTo>
                  <a:cubicBezTo>
                    <a:pt x="559" y="561"/>
                    <a:pt x="569" y="558"/>
                    <a:pt x="569" y="558"/>
                  </a:cubicBezTo>
                  <a:cubicBezTo>
                    <a:pt x="581" y="586"/>
                    <a:pt x="609" y="532"/>
                    <a:pt x="609" y="532"/>
                  </a:cubicBezTo>
                  <a:cubicBezTo>
                    <a:pt x="603" y="509"/>
                    <a:pt x="629" y="516"/>
                    <a:pt x="631" y="523"/>
                  </a:cubicBezTo>
                  <a:cubicBezTo>
                    <a:pt x="630" y="511"/>
                    <a:pt x="644" y="515"/>
                    <a:pt x="648" y="508"/>
                  </a:cubicBezTo>
                  <a:cubicBezTo>
                    <a:pt x="647" y="480"/>
                    <a:pt x="667" y="477"/>
                    <a:pt x="667" y="477"/>
                  </a:cubicBezTo>
                  <a:cubicBezTo>
                    <a:pt x="675" y="465"/>
                    <a:pt x="675" y="465"/>
                    <a:pt x="675" y="465"/>
                  </a:cubicBezTo>
                  <a:cubicBezTo>
                    <a:pt x="691" y="466"/>
                    <a:pt x="691" y="466"/>
                    <a:pt x="691" y="466"/>
                  </a:cubicBezTo>
                  <a:cubicBezTo>
                    <a:pt x="696" y="456"/>
                    <a:pt x="696" y="456"/>
                    <a:pt x="696" y="456"/>
                  </a:cubicBezTo>
                  <a:cubicBezTo>
                    <a:pt x="715" y="460"/>
                    <a:pt x="715" y="460"/>
                    <a:pt x="715" y="460"/>
                  </a:cubicBezTo>
                  <a:cubicBezTo>
                    <a:pt x="713" y="442"/>
                    <a:pt x="713" y="442"/>
                    <a:pt x="713" y="442"/>
                  </a:cubicBezTo>
                  <a:cubicBezTo>
                    <a:pt x="723" y="445"/>
                    <a:pt x="723" y="445"/>
                    <a:pt x="723" y="445"/>
                  </a:cubicBezTo>
                  <a:cubicBezTo>
                    <a:pt x="736" y="435"/>
                    <a:pt x="736" y="435"/>
                    <a:pt x="736" y="435"/>
                  </a:cubicBezTo>
                  <a:cubicBezTo>
                    <a:pt x="727" y="410"/>
                    <a:pt x="727" y="410"/>
                    <a:pt x="727" y="410"/>
                  </a:cubicBezTo>
                  <a:cubicBezTo>
                    <a:pt x="746" y="398"/>
                    <a:pt x="746" y="398"/>
                    <a:pt x="746" y="398"/>
                  </a:cubicBezTo>
                  <a:cubicBezTo>
                    <a:pt x="749" y="384"/>
                    <a:pt x="749" y="384"/>
                    <a:pt x="749" y="384"/>
                  </a:cubicBezTo>
                  <a:cubicBezTo>
                    <a:pt x="763" y="390"/>
                    <a:pt x="778" y="338"/>
                    <a:pt x="778" y="338"/>
                  </a:cubicBezTo>
                  <a:cubicBezTo>
                    <a:pt x="764" y="325"/>
                    <a:pt x="764" y="325"/>
                    <a:pt x="764" y="325"/>
                  </a:cubicBezTo>
                  <a:cubicBezTo>
                    <a:pt x="768" y="311"/>
                    <a:pt x="768" y="311"/>
                    <a:pt x="768" y="311"/>
                  </a:cubicBezTo>
                  <a:cubicBezTo>
                    <a:pt x="758" y="308"/>
                    <a:pt x="758" y="308"/>
                    <a:pt x="758" y="308"/>
                  </a:cubicBezTo>
                  <a:cubicBezTo>
                    <a:pt x="751" y="316"/>
                    <a:pt x="751" y="316"/>
                    <a:pt x="751" y="316"/>
                  </a:cubicBezTo>
                  <a:cubicBezTo>
                    <a:pt x="751" y="316"/>
                    <a:pt x="730" y="316"/>
                    <a:pt x="725" y="323"/>
                  </a:cubicBezTo>
                  <a:cubicBezTo>
                    <a:pt x="717" y="339"/>
                    <a:pt x="690" y="316"/>
                    <a:pt x="690" y="316"/>
                  </a:cubicBezTo>
                  <a:cubicBezTo>
                    <a:pt x="630" y="285"/>
                    <a:pt x="630" y="285"/>
                    <a:pt x="630" y="285"/>
                  </a:cubicBezTo>
                  <a:cubicBezTo>
                    <a:pt x="623" y="288"/>
                    <a:pt x="623" y="288"/>
                    <a:pt x="623" y="288"/>
                  </a:cubicBezTo>
                  <a:cubicBezTo>
                    <a:pt x="612" y="282"/>
                    <a:pt x="612" y="282"/>
                    <a:pt x="612" y="282"/>
                  </a:cubicBezTo>
                  <a:cubicBezTo>
                    <a:pt x="613" y="271"/>
                    <a:pt x="613" y="271"/>
                    <a:pt x="613" y="271"/>
                  </a:cubicBezTo>
                  <a:cubicBezTo>
                    <a:pt x="589" y="238"/>
                    <a:pt x="589" y="238"/>
                    <a:pt x="589" y="238"/>
                  </a:cubicBezTo>
                  <a:cubicBezTo>
                    <a:pt x="598" y="219"/>
                    <a:pt x="598" y="219"/>
                    <a:pt x="598" y="219"/>
                  </a:cubicBezTo>
                  <a:cubicBezTo>
                    <a:pt x="579" y="182"/>
                    <a:pt x="579" y="182"/>
                    <a:pt x="579" y="182"/>
                  </a:cubicBezTo>
                  <a:cubicBezTo>
                    <a:pt x="579" y="182"/>
                    <a:pt x="601" y="155"/>
                    <a:pt x="604" y="152"/>
                  </a:cubicBezTo>
                  <a:cubicBezTo>
                    <a:pt x="598" y="134"/>
                    <a:pt x="611" y="136"/>
                    <a:pt x="609" y="133"/>
                  </a:cubicBezTo>
                  <a:cubicBezTo>
                    <a:pt x="622" y="140"/>
                    <a:pt x="620" y="121"/>
                    <a:pt x="624" y="123"/>
                  </a:cubicBezTo>
                  <a:cubicBezTo>
                    <a:pt x="611" y="113"/>
                    <a:pt x="614" y="82"/>
                    <a:pt x="614" y="82"/>
                  </a:cubicBezTo>
                  <a:cubicBezTo>
                    <a:pt x="577" y="74"/>
                    <a:pt x="577" y="74"/>
                    <a:pt x="577" y="74"/>
                  </a:cubicBezTo>
                  <a:cubicBezTo>
                    <a:pt x="548" y="49"/>
                    <a:pt x="548" y="49"/>
                    <a:pt x="548" y="49"/>
                  </a:cubicBezTo>
                  <a:cubicBezTo>
                    <a:pt x="550" y="19"/>
                    <a:pt x="550" y="19"/>
                    <a:pt x="550" y="19"/>
                  </a:cubicBezTo>
                  <a:cubicBezTo>
                    <a:pt x="534" y="16"/>
                    <a:pt x="534" y="16"/>
                    <a:pt x="534" y="16"/>
                  </a:cubicBezTo>
                  <a:cubicBezTo>
                    <a:pt x="532" y="7"/>
                    <a:pt x="532" y="7"/>
                    <a:pt x="532" y="7"/>
                  </a:cubicBezTo>
                  <a:cubicBezTo>
                    <a:pt x="530" y="6"/>
                    <a:pt x="529" y="4"/>
                    <a:pt x="528" y="2"/>
                  </a:cubicBezTo>
                  <a:cubicBezTo>
                    <a:pt x="504" y="6"/>
                    <a:pt x="504" y="6"/>
                    <a:pt x="504" y="6"/>
                  </a:cubicBezTo>
                  <a:cubicBezTo>
                    <a:pt x="501" y="14"/>
                    <a:pt x="501" y="14"/>
                    <a:pt x="501" y="14"/>
                  </a:cubicBezTo>
                  <a:cubicBezTo>
                    <a:pt x="477" y="14"/>
                    <a:pt x="477" y="14"/>
                    <a:pt x="477" y="14"/>
                  </a:cubicBezTo>
                  <a:cubicBezTo>
                    <a:pt x="476" y="0"/>
                    <a:pt x="476" y="0"/>
                    <a:pt x="476" y="0"/>
                  </a:cubicBezTo>
                  <a:cubicBezTo>
                    <a:pt x="446" y="3"/>
                    <a:pt x="446" y="3"/>
                    <a:pt x="446" y="3"/>
                  </a:cubicBezTo>
                  <a:cubicBezTo>
                    <a:pt x="449" y="11"/>
                    <a:pt x="449" y="11"/>
                    <a:pt x="449" y="11"/>
                  </a:cubicBezTo>
                  <a:cubicBezTo>
                    <a:pt x="449" y="11"/>
                    <a:pt x="444" y="24"/>
                    <a:pt x="444" y="35"/>
                  </a:cubicBezTo>
                  <a:cubicBezTo>
                    <a:pt x="444" y="46"/>
                    <a:pt x="468" y="40"/>
                    <a:pt x="468" y="40"/>
                  </a:cubicBezTo>
                  <a:cubicBezTo>
                    <a:pt x="468" y="40"/>
                    <a:pt x="469" y="59"/>
                    <a:pt x="476" y="82"/>
                  </a:cubicBezTo>
                  <a:cubicBezTo>
                    <a:pt x="410" y="80"/>
                    <a:pt x="420" y="100"/>
                    <a:pt x="413" y="94"/>
                  </a:cubicBezTo>
                  <a:cubicBezTo>
                    <a:pt x="406" y="87"/>
                    <a:pt x="397" y="110"/>
                    <a:pt x="397" y="110"/>
                  </a:cubicBezTo>
                  <a:cubicBezTo>
                    <a:pt x="397" y="110"/>
                    <a:pt x="373" y="116"/>
                    <a:pt x="361" y="116"/>
                  </a:cubicBezTo>
                  <a:cubicBezTo>
                    <a:pt x="349" y="116"/>
                    <a:pt x="354" y="128"/>
                    <a:pt x="358" y="138"/>
                  </a:cubicBezTo>
                  <a:cubicBezTo>
                    <a:pt x="362" y="147"/>
                    <a:pt x="321" y="162"/>
                    <a:pt x="321" y="162"/>
                  </a:cubicBezTo>
                  <a:cubicBezTo>
                    <a:pt x="308" y="188"/>
                    <a:pt x="308" y="188"/>
                    <a:pt x="308" y="188"/>
                  </a:cubicBezTo>
                  <a:cubicBezTo>
                    <a:pt x="325" y="198"/>
                    <a:pt x="325" y="198"/>
                    <a:pt x="325" y="198"/>
                  </a:cubicBezTo>
                  <a:cubicBezTo>
                    <a:pt x="310" y="210"/>
                    <a:pt x="310" y="210"/>
                    <a:pt x="310" y="210"/>
                  </a:cubicBezTo>
                  <a:cubicBezTo>
                    <a:pt x="281" y="206"/>
                    <a:pt x="281" y="206"/>
                    <a:pt x="281" y="206"/>
                  </a:cubicBezTo>
                  <a:cubicBezTo>
                    <a:pt x="278" y="218"/>
                    <a:pt x="278" y="218"/>
                    <a:pt x="278" y="218"/>
                  </a:cubicBezTo>
                  <a:cubicBezTo>
                    <a:pt x="286" y="230"/>
                    <a:pt x="286" y="230"/>
                    <a:pt x="286" y="230"/>
                  </a:cubicBezTo>
                  <a:cubicBezTo>
                    <a:pt x="270" y="231"/>
                    <a:pt x="270" y="231"/>
                    <a:pt x="270" y="231"/>
                  </a:cubicBezTo>
                  <a:cubicBezTo>
                    <a:pt x="286" y="256"/>
                    <a:pt x="286" y="256"/>
                    <a:pt x="286" y="256"/>
                  </a:cubicBezTo>
                  <a:cubicBezTo>
                    <a:pt x="317" y="258"/>
                    <a:pt x="317" y="258"/>
                    <a:pt x="317" y="258"/>
                  </a:cubicBezTo>
                  <a:cubicBezTo>
                    <a:pt x="334" y="278"/>
                    <a:pt x="334" y="278"/>
                    <a:pt x="334" y="278"/>
                  </a:cubicBezTo>
                  <a:cubicBezTo>
                    <a:pt x="334" y="300"/>
                    <a:pt x="334" y="300"/>
                    <a:pt x="334" y="300"/>
                  </a:cubicBezTo>
                  <a:cubicBezTo>
                    <a:pt x="334" y="300"/>
                    <a:pt x="320" y="314"/>
                    <a:pt x="322" y="311"/>
                  </a:cubicBezTo>
                  <a:cubicBezTo>
                    <a:pt x="298" y="303"/>
                    <a:pt x="308" y="314"/>
                    <a:pt x="308" y="314"/>
                  </a:cubicBezTo>
                  <a:cubicBezTo>
                    <a:pt x="288" y="326"/>
                    <a:pt x="288" y="326"/>
                    <a:pt x="288" y="326"/>
                  </a:cubicBezTo>
                  <a:cubicBezTo>
                    <a:pt x="278" y="319"/>
                    <a:pt x="278" y="319"/>
                    <a:pt x="278" y="319"/>
                  </a:cubicBezTo>
                  <a:cubicBezTo>
                    <a:pt x="278" y="319"/>
                    <a:pt x="265" y="323"/>
                    <a:pt x="265" y="314"/>
                  </a:cubicBezTo>
                  <a:cubicBezTo>
                    <a:pt x="265" y="304"/>
                    <a:pt x="258" y="300"/>
                    <a:pt x="258" y="300"/>
                  </a:cubicBezTo>
                  <a:cubicBezTo>
                    <a:pt x="237" y="295"/>
                    <a:pt x="237" y="295"/>
                    <a:pt x="237" y="295"/>
                  </a:cubicBezTo>
                  <a:cubicBezTo>
                    <a:pt x="238" y="302"/>
                    <a:pt x="238" y="302"/>
                    <a:pt x="238" y="302"/>
                  </a:cubicBezTo>
                  <a:cubicBezTo>
                    <a:pt x="213" y="294"/>
                    <a:pt x="213" y="294"/>
                    <a:pt x="213" y="294"/>
                  </a:cubicBezTo>
                  <a:cubicBezTo>
                    <a:pt x="213" y="270"/>
                    <a:pt x="213" y="270"/>
                    <a:pt x="213" y="270"/>
                  </a:cubicBezTo>
                  <a:cubicBezTo>
                    <a:pt x="201" y="276"/>
                    <a:pt x="201" y="276"/>
                    <a:pt x="201" y="276"/>
                  </a:cubicBezTo>
                  <a:cubicBezTo>
                    <a:pt x="190" y="272"/>
                    <a:pt x="190" y="272"/>
                    <a:pt x="190" y="272"/>
                  </a:cubicBezTo>
                  <a:cubicBezTo>
                    <a:pt x="136" y="296"/>
                    <a:pt x="136" y="296"/>
                    <a:pt x="136" y="296"/>
                  </a:cubicBezTo>
                  <a:cubicBezTo>
                    <a:pt x="134" y="260"/>
                    <a:pt x="100" y="268"/>
                    <a:pt x="100" y="268"/>
                  </a:cubicBezTo>
                  <a:cubicBezTo>
                    <a:pt x="100" y="283"/>
                    <a:pt x="100" y="283"/>
                    <a:pt x="100" y="283"/>
                  </a:cubicBezTo>
                  <a:cubicBezTo>
                    <a:pt x="95" y="281"/>
                    <a:pt x="95" y="281"/>
                    <a:pt x="95" y="281"/>
                  </a:cubicBezTo>
                  <a:cubicBezTo>
                    <a:pt x="104" y="303"/>
                    <a:pt x="104" y="303"/>
                    <a:pt x="104" y="303"/>
                  </a:cubicBezTo>
                  <a:cubicBezTo>
                    <a:pt x="114" y="304"/>
                    <a:pt x="114" y="304"/>
                    <a:pt x="114" y="304"/>
                  </a:cubicBezTo>
                  <a:cubicBezTo>
                    <a:pt x="114" y="343"/>
                    <a:pt x="114" y="343"/>
                    <a:pt x="114" y="343"/>
                  </a:cubicBezTo>
                  <a:cubicBezTo>
                    <a:pt x="125" y="339"/>
                    <a:pt x="125" y="339"/>
                    <a:pt x="125" y="339"/>
                  </a:cubicBezTo>
                  <a:cubicBezTo>
                    <a:pt x="145" y="371"/>
                    <a:pt x="145" y="371"/>
                    <a:pt x="145" y="371"/>
                  </a:cubicBezTo>
                  <a:cubicBezTo>
                    <a:pt x="102" y="415"/>
                    <a:pt x="102" y="415"/>
                    <a:pt x="102" y="415"/>
                  </a:cubicBezTo>
                  <a:cubicBezTo>
                    <a:pt x="94" y="472"/>
                    <a:pt x="94" y="472"/>
                    <a:pt x="94" y="472"/>
                  </a:cubicBezTo>
                  <a:cubicBezTo>
                    <a:pt x="69" y="466"/>
                    <a:pt x="69" y="466"/>
                    <a:pt x="69" y="466"/>
                  </a:cubicBezTo>
                  <a:cubicBezTo>
                    <a:pt x="54" y="490"/>
                    <a:pt x="54" y="490"/>
                    <a:pt x="54" y="490"/>
                  </a:cubicBezTo>
                  <a:cubicBezTo>
                    <a:pt x="58" y="500"/>
                    <a:pt x="58" y="500"/>
                    <a:pt x="58" y="500"/>
                  </a:cubicBezTo>
                  <a:cubicBezTo>
                    <a:pt x="0" y="540"/>
                    <a:pt x="0" y="540"/>
                    <a:pt x="0" y="540"/>
                  </a:cubicBezTo>
                  <a:cubicBezTo>
                    <a:pt x="1" y="541"/>
                    <a:pt x="2" y="541"/>
                    <a:pt x="2" y="54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7" name="Languedoc-Roussillon" descr="© INSCALE GmbH, 05.05.2010&#10;http://www.presentationload.com/">
              <a:extLst>
                <a:ext uri="{FF2B5EF4-FFF2-40B4-BE49-F238E27FC236}">
                  <a16:creationId xmlns:a16="http://schemas.microsoft.com/office/drawing/2014/main" id="{50A5143E-E69F-488B-AEDD-AD9B91FA6B95}"/>
                </a:ext>
              </a:extLst>
            </p:cNvPr>
            <p:cNvSpPr>
              <a:spLocks/>
            </p:cNvSpPr>
            <p:nvPr/>
          </p:nvSpPr>
          <p:spPr bwMode="gray">
            <a:xfrm>
              <a:off x="1594" y="2270"/>
              <a:ext cx="795" cy="930"/>
            </a:xfrm>
            <a:custGeom>
              <a:avLst/>
              <a:gdLst/>
              <a:ahLst/>
              <a:cxnLst>
                <a:cxn ang="0">
                  <a:pos x="20" y="800"/>
                </a:cxn>
                <a:cxn ang="0">
                  <a:pos x="61" y="817"/>
                </a:cxn>
                <a:cxn ang="0">
                  <a:pos x="99" y="847"/>
                </a:cxn>
                <a:cxn ang="0">
                  <a:pos x="151" y="830"/>
                </a:cxn>
                <a:cxn ang="0">
                  <a:pos x="230" y="858"/>
                </a:cxn>
                <a:cxn ang="0">
                  <a:pos x="248" y="831"/>
                </a:cxn>
                <a:cxn ang="0">
                  <a:pos x="282" y="817"/>
                </a:cxn>
                <a:cxn ang="0">
                  <a:pos x="318" y="812"/>
                </a:cxn>
                <a:cxn ang="0">
                  <a:pos x="347" y="824"/>
                </a:cxn>
                <a:cxn ang="0">
                  <a:pos x="335" y="788"/>
                </a:cxn>
                <a:cxn ang="0">
                  <a:pos x="322" y="658"/>
                </a:cxn>
                <a:cxn ang="0">
                  <a:pos x="319" y="622"/>
                </a:cxn>
                <a:cxn ang="0">
                  <a:pos x="466" y="488"/>
                </a:cxn>
                <a:cxn ang="0">
                  <a:pos x="564" y="442"/>
                </a:cxn>
                <a:cxn ang="0">
                  <a:pos x="650" y="433"/>
                </a:cxn>
                <a:cxn ang="0">
                  <a:pos x="661" y="399"/>
                </a:cxn>
                <a:cxn ang="0">
                  <a:pos x="694" y="348"/>
                </a:cxn>
                <a:cxn ang="0">
                  <a:pos x="717" y="272"/>
                </a:cxn>
                <a:cxn ang="0">
                  <a:pos x="706" y="237"/>
                </a:cxn>
                <a:cxn ang="0">
                  <a:pos x="687" y="214"/>
                </a:cxn>
                <a:cxn ang="0">
                  <a:pos x="641" y="209"/>
                </a:cxn>
                <a:cxn ang="0">
                  <a:pos x="634" y="195"/>
                </a:cxn>
                <a:cxn ang="0">
                  <a:pos x="600" y="225"/>
                </a:cxn>
                <a:cxn ang="0">
                  <a:pos x="549" y="208"/>
                </a:cxn>
                <a:cxn ang="0">
                  <a:pos x="536" y="159"/>
                </a:cxn>
                <a:cxn ang="0">
                  <a:pos x="518" y="121"/>
                </a:cxn>
                <a:cxn ang="0">
                  <a:pos x="501" y="71"/>
                </a:cxn>
                <a:cxn ang="0">
                  <a:pos x="458" y="40"/>
                </a:cxn>
                <a:cxn ang="0">
                  <a:pos x="420" y="51"/>
                </a:cxn>
                <a:cxn ang="0">
                  <a:pos x="373" y="16"/>
                </a:cxn>
                <a:cxn ang="0">
                  <a:pos x="368" y="27"/>
                </a:cxn>
                <a:cxn ang="0">
                  <a:pos x="342" y="19"/>
                </a:cxn>
                <a:cxn ang="0">
                  <a:pos x="334" y="43"/>
                </a:cxn>
                <a:cxn ang="0">
                  <a:pos x="320" y="79"/>
                </a:cxn>
                <a:cxn ang="0">
                  <a:pos x="308" y="108"/>
                </a:cxn>
                <a:cxn ang="0">
                  <a:pos x="325" y="155"/>
                </a:cxn>
                <a:cxn ang="0">
                  <a:pos x="348" y="208"/>
                </a:cxn>
                <a:cxn ang="0">
                  <a:pos x="361" y="232"/>
                </a:cxn>
                <a:cxn ang="0">
                  <a:pos x="393" y="256"/>
                </a:cxn>
                <a:cxn ang="0">
                  <a:pos x="393" y="285"/>
                </a:cxn>
                <a:cxn ang="0">
                  <a:pos x="418" y="303"/>
                </a:cxn>
                <a:cxn ang="0">
                  <a:pos x="394" y="345"/>
                </a:cxn>
                <a:cxn ang="0">
                  <a:pos x="373" y="364"/>
                </a:cxn>
                <a:cxn ang="0">
                  <a:pos x="328" y="405"/>
                </a:cxn>
                <a:cxn ang="0">
                  <a:pos x="253" y="427"/>
                </a:cxn>
                <a:cxn ang="0">
                  <a:pos x="198" y="492"/>
                </a:cxn>
                <a:cxn ang="0">
                  <a:pos x="130" y="509"/>
                </a:cxn>
                <a:cxn ang="0">
                  <a:pos x="96" y="496"/>
                </a:cxn>
                <a:cxn ang="0">
                  <a:pos x="62" y="508"/>
                </a:cxn>
                <a:cxn ang="0">
                  <a:pos x="37" y="520"/>
                </a:cxn>
                <a:cxn ang="0">
                  <a:pos x="14" y="572"/>
                </a:cxn>
                <a:cxn ang="0">
                  <a:pos x="68" y="612"/>
                </a:cxn>
                <a:cxn ang="0">
                  <a:pos x="64" y="651"/>
                </a:cxn>
                <a:cxn ang="0">
                  <a:pos x="77" y="669"/>
                </a:cxn>
                <a:cxn ang="0">
                  <a:pos x="53" y="693"/>
                </a:cxn>
                <a:cxn ang="0">
                  <a:pos x="101" y="713"/>
                </a:cxn>
                <a:cxn ang="0">
                  <a:pos x="76" y="743"/>
                </a:cxn>
                <a:cxn ang="0">
                  <a:pos x="57" y="760"/>
                </a:cxn>
                <a:cxn ang="0">
                  <a:pos x="26" y="768"/>
                </a:cxn>
                <a:cxn ang="0">
                  <a:pos x="25" y="777"/>
                </a:cxn>
              </a:cxnLst>
              <a:rect l="0" t="0" r="r" b="b"/>
              <a:pathLst>
                <a:path w="737" h="861">
                  <a:moveTo>
                    <a:pt x="25" y="777"/>
                  </a:moveTo>
                  <a:cubicBezTo>
                    <a:pt x="20" y="781"/>
                    <a:pt x="20" y="800"/>
                    <a:pt x="20" y="800"/>
                  </a:cubicBezTo>
                  <a:cubicBezTo>
                    <a:pt x="20" y="800"/>
                    <a:pt x="41" y="808"/>
                    <a:pt x="43" y="805"/>
                  </a:cubicBezTo>
                  <a:cubicBezTo>
                    <a:pt x="47" y="818"/>
                    <a:pt x="61" y="817"/>
                    <a:pt x="61" y="817"/>
                  </a:cubicBezTo>
                  <a:cubicBezTo>
                    <a:pt x="79" y="848"/>
                    <a:pt x="79" y="848"/>
                    <a:pt x="79" y="848"/>
                  </a:cubicBezTo>
                  <a:cubicBezTo>
                    <a:pt x="99" y="847"/>
                    <a:pt x="99" y="847"/>
                    <a:pt x="99" y="847"/>
                  </a:cubicBezTo>
                  <a:cubicBezTo>
                    <a:pt x="119" y="828"/>
                    <a:pt x="119" y="828"/>
                    <a:pt x="119" y="828"/>
                  </a:cubicBezTo>
                  <a:cubicBezTo>
                    <a:pt x="151" y="830"/>
                    <a:pt x="151" y="830"/>
                    <a:pt x="151" y="830"/>
                  </a:cubicBezTo>
                  <a:cubicBezTo>
                    <a:pt x="151" y="830"/>
                    <a:pt x="194" y="861"/>
                    <a:pt x="205" y="857"/>
                  </a:cubicBezTo>
                  <a:cubicBezTo>
                    <a:pt x="216" y="853"/>
                    <a:pt x="230" y="858"/>
                    <a:pt x="230" y="858"/>
                  </a:cubicBezTo>
                  <a:cubicBezTo>
                    <a:pt x="234" y="844"/>
                    <a:pt x="234" y="844"/>
                    <a:pt x="234" y="844"/>
                  </a:cubicBezTo>
                  <a:cubicBezTo>
                    <a:pt x="248" y="831"/>
                    <a:pt x="248" y="831"/>
                    <a:pt x="248" y="831"/>
                  </a:cubicBezTo>
                  <a:cubicBezTo>
                    <a:pt x="265" y="830"/>
                    <a:pt x="265" y="830"/>
                    <a:pt x="265" y="830"/>
                  </a:cubicBezTo>
                  <a:cubicBezTo>
                    <a:pt x="282" y="817"/>
                    <a:pt x="282" y="817"/>
                    <a:pt x="282" y="817"/>
                  </a:cubicBezTo>
                  <a:cubicBezTo>
                    <a:pt x="313" y="812"/>
                    <a:pt x="313" y="812"/>
                    <a:pt x="313" y="812"/>
                  </a:cubicBezTo>
                  <a:cubicBezTo>
                    <a:pt x="318" y="812"/>
                    <a:pt x="318" y="812"/>
                    <a:pt x="318" y="812"/>
                  </a:cubicBezTo>
                  <a:cubicBezTo>
                    <a:pt x="328" y="830"/>
                    <a:pt x="328" y="830"/>
                    <a:pt x="328" y="830"/>
                  </a:cubicBezTo>
                  <a:cubicBezTo>
                    <a:pt x="347" y="824"/>
                    <a:pt x="347" y="824"/>
                    <a:pt x="347" y="824"/>
                  </a:cubicBezTo>
                  <a:cubicBezTo>
                    <a:pt x="352" y="815"/>
                    <a:pt x="340" y="807"/>
                    <a:pt x="340" y="807"/>
                  </a:cubicBezTo>
                  <a:cubicBezTo>
                    <a:pt x="335" y="788"/>
                    <a:pt x="335" y="788"/>
                    <a:pt x="335" y="788"/>
                  </a:cubicBezTo>
                  <a:cubicBezTo>
                    <a:pt x="318" y="785"/>
                    <a:pt x="318" y="785"/>
                    <a:pt x="318" y="785"/>
                  </a:cubicBezTo>
                  <a:cubicBezTo>
                    <a:pt x="322" y="658"/>
                    <a:pt x="322" y="658"/>
                    <a:pt x="322" y="658"/>
                  </a:cubicBezTo>
                  <a:cubicBezTo>
                    <a:pt x="312" y="643"/>
                    <a:pt x="312" y="643"/>
                    <a:pt x="312" y="643"/>
                  </a:cubicBezTo>
                  <a:cubicBezTo>
                    <a:pt x="312" y="643"/>
                    <a:pt x="319" y="627"/>
                    <a:pt x="319" y="622"/>
                  </a:cubicBezTo>
                  <a:cubicBezTo>
                    <a:pt x="380" y="492"/>
                    <a:pt x="416" y="533"/>
                    <a:pt x="416" y="533"/>
                  </a:cubicBezTo>
                  <a:cubicBezTo>
                    <a:pt x="416" y="533"/>
                    <a:pt x="445" y="505"/>
                    <a:pt x="466" y="488"/>
                  </a:cubicBezTo>
                  <a:cubicBezTo>
                    <a:pt x="487" y="471"/>
                    <a:pt x="490" y="472"/>
                    <a:pt x="496" y="458"/>
                  </a:cubicBezTo>
                  <a:cubicBezTo>
                    <a:pt x="559" y="418"/>
                    <a:pt x="561" y="439"/>
                    <a:pt x="564" y="442"/>
                  </a:cubicBezTo>
                  <a:cubicBezTo>
                    <a:pt x="546" y="458"/>
                    <a:pt x="582" y="469"/>
                    <a:pt x="592" y="473"/>
                  </a:cubicBezTo>
                  <a:cubicBezTo>
                    <a:pt x="650" y="433"/>
                    <a:pt x="650" y="433"/>
                    <a:pt x="650" y="433"/>
                  </a:cubicBezTo>
                  <a:cubicBezTo>
                    <a:pt x="646" y="423"/>
                    <a:pt x="646" y="423"/>
                    <a:pt x="646" y="423"/>
                  </a:cubicBezTo>
                  <a:cubicBezTo>
                    <a:pt x="661" y="399"/>
                    <a:pt x="661" y="399"/>
                    <a:pt x="661" y="399"/>
                  </a:cubicBezTo>
                  <a:cubicBezTo>
                    <a:pt x="686" y="405"/>
                    <a:pt x="686" y="405"/>
                    <a:pt x="686" y="405"/>
                  </a:cubicBezTo>
                  <a:cubicBezTo>
                    <a:pt x="694" y="348"/>
                    <a:pt x="694" y="348"/>
                    <a:pt x="694" y="348"/>
                  </a:cubicBezTo>
                  <a:cubicBezTo>
                    <a:pt x="737" y="304"/>
                    <a:pt x="737" y="304"/>
                    <a:pt x="737" y="304"/>
                  </a:cubicBezTo>
                  <a:cubicBezTo>
                    <a:pt x="717" y="272"/>
                    <a:pt x="717" y="272"/>
                    <a:pt x="717" y="272"/>
                  </a:cubicBezTo>
                  <a:cubicBezTo>
                    <a:pt x="706" y="276"/>
                    <a:pt x="706" y="276"/>
                    <a:pt x="706" y="276"/>
                  </a:cubicBezTo>
                  <a:cubicBezTo>
                    <a:pt x="706" y="237"/>
                    <a:pt x="706" y="237"/>
                    <a:pt x="706" y="237"/>
                  </a:cubicBezTo>
                  <a:cubicBezTo>
                    <a:pt x="696" y="236"/>
                    <a:pt x="696" y="236"/>
                    <a:pt x="696" y="236"/>
                  </a:cubicBezTo>
                  <a:cubicBezTo>
                    <a:pt x="687" y="214"/>
                    <a:pt x="687" y="214"/>
                    <a:pt x="687" y="214"/>
                  </a:cubicBezTo>
                  <a:cubicBezTo>
                    <a:pt x="649" y="197"/>
                    <a:pt x="649" y="197"/>
                    <a:pt x="649" y="197"/>
                  </a:cubicBezTo>
                  <a:cubicBezTo>
                    <a:pt x="641" y="209"/>
                    <a:pt x="641" y="209"/>
                    <a:pt x="641" y="209"/>
                  </a:cubicBezTo>
                  <a:cubicBezTo>
                    <a:pt x="634" y="209"/>
                    <a:pt x="634" y="209"/>
                    <a:pt x="634" y="209"/>
                  </a:cubicBezTo>
                  <a:cubicBezTo>
                    <a:pt x="634" y="195"/>
                    <a:pt x="634" y="195"/>
                    <a:pt x="634" y="195"/>
                  </a:cubicBezTo>
                  <a:cubicBezTo>
                    <a:pt x="620" y="195"/>
                    <a:pt x="620" y="195"/>
                    <a:pt x="620" y="195"/>
                  </a:cubicBezTo>
                  <a:cubicBezTo>
                    <a:pt x="600" y="225"/>
                    <a:pt x="600" y="225"/>
                    <a:pt x="600" y="225"/>
                  </a:cubicBezTo>
                  <a:cubicBezTo>
                    <a:pt x="568" y="197"/>
                    <a:pt x="568" y="197"/>
                    <a:pt x="568" y="197"/>
                  </a:cubicBezTo>
                  <a:cubicBezTo>
                    <a:pt x="549" y="208"/>
                    <a:pt x="549" y="208"/>
                    <a:pt x="549" y="208"/>
                  </a:cubicBezTo>
                  <a:cubicBezTo>
                    <a:pt x="556" y="177"/>
                    <a:pt x="556" y="177"/>
                    <a:pt x="556" y="177"/>
                  </a:cubicBezTo>
                  <a:cubicBezTo>
                    <a:pt x="536" y="159"/>
                    <a:pt x="536" y="159"/>
                    <a:pt x="536" y="159"/>
                  </a:cubicBezTo>
                  <a:cubicBezTo>
                    <a:pt x="532" y="128"/>
                    <a:pt x="532" y="128"/>
                    <a:pt x="532" y="128"/>
                  </a:cubicBezTo>
                  <a:cubicBezTo>
                    <a:pt x="518" y="121"/>
                    <a:pt x="518" y="121"/>
                    <a:pt x="518" y="121"/>
                  </a:cubicBezTo>
                  <a:cubicBezTo>
                    <a:pt x="505" y="69"/>
                    <a:pt x="505" y="69"/>
                    <a:pt x="505" y="69"/>
                  </a:cubicBezTo>
                  <a:cubicBezTo>
                    <a:pt x="501" y="71"/>
                    <a:pt x="501" y="71"/>
                    <a:pt x="501" y="71"/>
                  </a:cubicBezTo>
                  <a:cubicBezTo>
                    <a:pt x="480" y="45"/>
                    <a:pt x="480" y="45"/>
                    <a:pt x="480" y="45"/>
                  </a:cubicBezTo>
                  <a:cubicBezTo>
                    <a:pt x="458" y="40"/>
                    <a:pt x="458" y="40"/>
                    <a:pt x="458" y="40"/>
                  </a:cubicBezTo>
                  <a:cubicBezTo>
                    <a:pt x="458" y="40"/>
                    <a:pt x="448" y="16"/>
                    <a:pt x="444" y="43"/>
                  </a:cubicBezTo>
                  <a:cubicBezTo>
                    <a:pt x="420" y="51"/>
                    <a:pt x="420" y="51"/>
                    <a:pt x="420" y="51"/>
                  </a:cubicBezTo>
                  <a:cubicBezTo>
                    <a:pt x="402" y="0"/>
                    <a:pt x="402" y="0"/>
                    <a:pt x="402" y="0"/>
                  </a:cubicBezTo>
                  <a:cubicBezTo>
                    <a:pt x="402" y="0"/>
                    <a:pt x="384" y="7"/>
                    <a:pt x="373" y="16"/>
                  </a:cubicBezTo>
                  <a:cubicBezTo>
                    <a:pt x="371" y="18"/>
                    <a:pt x="369" y="19"/>
                    <a:pt x="368" y="19"/>
                  </a:cubicBezTo>
                  <a:cubicBezTo>
                    <a:pt x="368" y="27"/>
                    <a:pt x="368" y="27"/>
                    <a:pt x="368" y="27"/>
                  </a:cubicBezTo>
                  <a:cubicBezTo>
                    <a:pt x="350" y="32"/>
                    <a:pt x="350" y="32"/>
                    <a:pt x="350" y="32"/>
                  </a:cubicBezTo>
                  <a:cubicBezTo>
                    <a:pt x="342" y="19"/>
                    <a:pt x="342" y="19"/>
                    <a:pt x="342" y="19"/>
                  </a:cubicBezTo>
                  <a:cubicBezTo>
                    <a:pt x="333" y="23"/>
                    <a:pt x="333" y="23"/>
                    <a:pt x="333" y="23"/>
                  </a:cubicBezTo>
                  <a:cubicBezTo>
                    <a:pt x="334" y="43"/>
                    <a:pt x="334" y="43"/>
                    <a:pt x="334" y="43"/>
                  </a:cubicBezTo>
                  <a:cubicBezTo>
                    <a:pt x="326" y="52"/>
                    <a:pt x="326" y="52"/>
                    <a:pt x="326" y="52"/>
                  </a:cubicBezTo>
                  <a:cubicBezTo>
                    <a:pt x="320" y="79"/>
                    <a:pt x="320" y="79"/>
                    <a:pt x="320" y="79"/>
                  </a:cubicBezTo>
                  <a:cubicBezTo>
                    <a:pt x="308" y="99"/>
                    <a:pt x="308" y="99"/>
                    <a:pt x="308" y="99"/>
                  </a:cubicBezTo>
                  <a:cubicBezTo>
                    <a:pt x="308" y="108"/>
                    <a:pt x="308" y="108"/>
                    <a:pt x="308" y="108"/>
                  </a:cubicBezTo>
                  <a:cubicBezTo>
                    <a:pt x="329" y="123"/>
                    <a:pt x="329" y="123"/>
                    <a:pt x="329" y="123"/>
                  </a:cubicBezTo>
                  <a:cubicBezTo>
                    <a:pt x="325" y="155"/>
                    <a:pt x="325" y="155"/>
                    <a:pt x="325" y="155"/>
                  </a:cubicBezTo>
                  <a:cubicBezTo>
                    <a:pt x="346" y="168"/>
                    <a:pt x="346" y="168"/>
                    <a:pt x="346" y="168"/>
                  </a:cubicBezTo>
                  <a:cubicBezTo>
                    <a:pt x="348" y="208"/>
                    <a:pt x="348" y="208"/>
                    <a:pt x="348" y="208"/>
                  </a:cubicBezTo>
                  <a:cubicBezTo>
                    <a:pt x="338" y="224"/>
                    <a:pt x="338" y="224"/>
                    <a:pt x="338" y="224"/>
                  </a:cubicBezTo>
                  <a:cubicBezTo>
                    <a:pt x="361" y="232"/>
                    <a:pt x="361" y="232"/>
                    <a:pt x="361" y="232"/>
                  </a:cubicBezTo>
                  <a:cubicBezTo>
                    <a:pt x="357" y="244"/>
                    <a:pt x="357" y="244"/>
                    <a:pt x="357" y="244"/>
                  </a:cubicBezTo>
                  <a:cubicBezTo>
                    <a:pt x="357" y="244"/>
                    <a:pt x="398" y="251"/>
                    <a:pt x="393" y="256"/>
                  </a:cubicBezTo>
                  <a:cubicBezTo>
                    <a:pt x="388" y="261"/>
                    <a:pt x="373" y="279"/>
                    <a:pt x="373" y="279"/>
                  </a:cubicBezTo>
                  <a:cubicBezTo>
                    <a:pt x="393" y="285"/>
                    <a:pt x="393" y="285"/>
                    <a:pt x="393" y="285"/>
                  </a:cubicBezTo>
                  <a:cubicBezTo>
                    <a:pt x="405" y="295"/>
                    <a:pt x="405" y="295"/>
                    <a:pt x="405" y="295"/>
                  </a:cubicBezTo>
                  <a:cubicBezTo>
                    <a:pt x="418" y="303"/>
                    <a:pt x="418" y="303"/>
                    <a:pt x="418" y="303"/>
                  </a:cubicBezTo>
                  <a:cubicBezTo>
                    <a:pt x="397" y="328"/>
                    <a:pt x="397" y="328"/>
                    <a:pt x="397" y="328"/>
                  </a:cubicBezTo>
                  <a:cubicBezTo>
                    <a:pt x="394" y="345"/>
                    <a:pt x="394" y="345"/>
                    <a:pt x="394" y="345"/>
                  </a:cubicBezTo>
                  <a:cubicBezTo>
                    <a:pt x="373" y="347"/>
                    <a:pt x="373" y="347"/>
                    <a:pt x="373" y="347"/>
                  </a:cubicBezTo>
                  <a:cubicBezTo>
                    <a:pt x="373" y="364"/>
                    <a:pt x="373" y="364"/>
                    <a:pt x="373" y="364"/>
                  </a:cubicBezTo>
                  <a:cubicBezTo>
                    <a:pt x="329" y="365"/>
                    <a:pt x="329" y="365"/>
                    <a:pt x="329" y="365"/>
                  </a:cubicBezTo>
                  <a:cubicBezTo>
                    <a:pt x="328" y="405"/>
                    <a:pt x="328" y="405"/>
                    <a:pt x="328" y="405"/>
                  </a:cubicBezTo>
                  <a:cubicBezTo>
                    <a:pt x="328" y="405"/>
                    <a:pt x="306" y="399"/>
                    <a:pt x="297" y="417"/>
                  </a:cubicBezTo>
                  <a:cubicBezTo>
                    <a:pt x="276" y="427"/>
                    <a:pt x="253" y="427"/>
                    <a:pt x="253" y="427"/>
                  </a:cubicBezTo>
                  <a:cubicBezTo>
                    <a:pt x="253" y="427"/>
                    <a:pt x="202" y="425"/>
                    <a:pt x="241" y="464"/>
                  </a:cubicBezTo>
                  <a:cubicBezTo>
                    <a:pt x="232" y="469"/>
                    <a:pt x="232" y="497"/>
                    <a:pt x="198" y="492"/>
                  </a:cubicBezTo>
                  <a:cubicBezTo>
                    <a:pt x="165" y="487"/>
                    <a:pt x="173" y="499"/>
                    <a:pt x="173" y="499"/>
                  </a:cubicBezTo>
                  <a:cubicBezTo>
                    <a:pt x="173" y="499"/>
                    <a:pt x="130" y="476"/>
                    <a:pt x="130" y="509"/>
                  </a:cubicBezTo>
                  <a:cubicBezTo>
                    <a:pt x="130" y="509"/>
                    <a:pt x="108" y="504"/>
                    <a:pt x="102" y="505"/>
                  </a:cubicBezTo>
                  <a:cubicBezTo>
                    <a:pt x="97" y="507"/>
                    <a:pt x="96" y="496"/>
                    <a:pt x="96" y="496"/>
                  </a:cubicBezTo>
                  <a:cubicBezTo>
                    <a:pt x="68" y="495"/>
                    <a:pt x="68" y="495"/>
                    <a:pt x="68" y="495"/>
                  </a:cubicBezTo>
                  <a:cubicBezTo>
                    <a:pt x="62" y="508"/>
                    <a:pt x="62" y="508"/>
                    <a:pt x="62" y="508"/>
                  </a:cubicBezTo>
                  <a:cubicBezTo>
                    <a:pt x="49" y="487"/>
                    <a:pt x="49" y="487"/>
                    <a:pt x="49" y="487"/>
                  </a:cubicBezTo>
                  <a:cubicBezTo>
                    <a:pt x="49" y="487"/>
                    <a:pt x="37" y="495"/>
                    <a:pt x="37" y="520"/>
                  </a:cubicBezTo>
                  <a:cubicBezTo>
                    <a:pt x="34" y="525"/>
                    <a:pt x="0" y="531"/>
                    <a:pt x="18" y="553"/>
                  </a:cubicBezTo>
                  <a:cubicBezTo>
                    <a:pt x="12" y="553"/>
                    <a:pt x="14" y="572"/>
                    <a:pt x="14" y="572"/>
                  </a:cubicBezTo>
                  <a:cubicBezTo>
                    <a:pt x="64" y="591"/>
                    <a:pt x="64" y="591"/>
                    <a:pt x="64" y="591"/>
                  </a:cubicBezTo>
                  <a:cubicBezTo>
                    <a:pt x="64" y="591"/>
                    <a:pt x="73" y="607"/>
                    <a:pt x="68" y="612"/>
                  </a:cubicBezTo>
                  <a:cubicBezTo>
                    <a:pt x="62" y="617"/>
                    <a:pt x="78" y="644"/>
                    <a:pt x="78" y="644"/>
                  </a:cubicBezTo>
                  <a:cubicBezTo>
                    <a:pt x="64" y="651"/>
                    <a:pt x="64" y="651"/>
                    <a:pt x="64" y="651"/>
                  </a:cubicBezTo>
                  <a:cubicBezTo>
                    <a:pt x="80" y="655"/>
                    <a:pt x="80" y="655"/>
                    <a:pt x="80" y="655"/>
                  </a:cubicBezTo>
                  <a:cubicBezTo>
                    <a:pt x="80" y="655"/>
                    <a:pt x="77" y="665"/>
                    <a:pt x="77" y="669"/>
                  </a:cubicBezTo>
                  <a:cubicBezTo>
                    <a:pt x="77" y="673"/>
                    <a:pt x="54" y="679"/>
                    <a:pt x="54" y="679"/>
                  </a:cubicBezTo>
                  <a:cubicBezTo>
                    <a:pt x="53" y="693"/>
                    <a:pt x="53" y="693"/>
                    <a:pt x="53" y="693"/>
                  </a:cubicBezTo>
                  <a:cubicBezTo>
                    <a:pt x="62" y="697"/>
                    <a:pt x="62" y="697"/>
                    <a:pt x="62" y="697"/>
                  </a:cubicBezTo>
                  <a:cubicBezTo>
                    <a:pt x="62" y="697"/>
                    <a:pt x="48" y="717"/>
                    <a:pt x="101" y="713"/>
                  </a:cubicBezTo>
                  <a:cubicBezTo>
                    <a:pt x="122" y="735"/>
                    <a:pt x="120" y="741"/>
                    <a:pt x="120" y="741"/>
                  </a:cubicBezTo>
                  <a:cubicBezTo>
                    <a:pt x="76" y="743"/>
                    <a:pt x="76" y="743"/>
                    <a:pt x="76" y="743"/>
                  </a:cubicBezTo>
                  <a:cubicBezTo>
                    <a:pt x="78" y="755"/>
                    <a:pt x="78" y="755"/>
                    <a:pt x="78" y="755"/>
                  </a:cubicBezTo>
                  <a:cubicBezTo>
                    <a:pt x="57" y="760"/>
                    <a:pt x="57" y="760"/>
                    <a:pt x="57" y="760"/>
                  </a:cubicBezTo>
                  <a:cubicBezTo>
                    <a:pt x="50" y="769"/>
                    <a:pt x="50" y="769"/>
                    <a:pt x="50" y="769"/>
                  </a:cubicBezTo>
                  <a:cubicBezTo>
                    <a:pt x="26" y="768"/>
                    <a:pt x="26" y="768"/>
                    <a:pt x="26" y="768"/>
                  </a:cubicBezTo>
                  <a:cubicBezTo>
                    <a:pt x="25" y="771"/>
                    <a:pt x="25" y="771"/>
                    <a:pt x="25" y="771"/>
                  </a:cubicBezTo>
                  <a:cubicBezTo>
                    <a:pt x="26" y="774"/>
                    <a:pt x="26" y="776"/>
                    <a:pt x="25" y="7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8" name="Midi-Pyrénnées" descr="© INSCALE GmbH, 05.05.2010&#10;http://www.presentationload.com/">
              <a:extLst>
                <a:ext uri="{FF2B5EF4-FFF2-40B4-BE49-F238E27FC236}">
                  <a16:creationId xmlns:a16="http://schemas.microsoft.com/office/drawing/2014/main" id="{A2F3FD82-C7EE-4A6F-8CF6-1DEA7DAD94F2}"/>
                </a:ext>
              </a:extLst>
            </p:cNvPr>
            <p:cNvSpPr>
              <a:spLocks/>
            </p:cNvSpPr>
            <p:nvPr/>
          </p:nvSpPr>
          <p:spPr bwMode="gray">
            <a:xfrm>
              <a:off x="1092" y="2246"/>
              <a:ext cx="953" cy="857"/>
            </a:xfrm>
            <a:custGeom>
              <a:avLst/>
              <a:gdLst/>
              <a:ahLst/>
              <a:cxnLst>
                <a:cxn ang="0">
                  <a:pos x="839" y="302"/>
                </a:cxn>
                <a:cxn ang="0">
                  <a:pos x="827" y="255"/>
                </a:cxn>
                <a:cxn ang="0">
                  <a:pos x="812" y="191"/>
                </a:cxn>
                <a:cxn ang="0">
                  <a:pos x="774" y="131"/>
                </a:cxn>
                <a:cxn ang="0">
                  <a:pos x="763" y="86"/>
                </a:cxn>
                <a:cxn ang="0">
                  <a:pos x="727" y="55"/>
                </a:cxn>
                <a:cxn ang="0">
                  <a:pos x="690" y="56"/>
                </a:cxn>
                <a:cxn ang="0">
                  <a:pos x="679" y="104"/>
                </a:cxn>
                <a:cxn ang="0">
                  <a:pos x="628" y="128"/>
                </a:cxn>
                <a:cxn ang="0">
                  <a:pos x="599" y="136"/>
                </a:cxn>
                <a:cxn ang="0">
                  <a:pos x="583" y="108"/>
                </a:cxn>
                <a:cxn ang="0">
                  <a:pos x="571" y="17"/>
                </a:cxn>
                <a:cxn ang="0">
                  <a:pos x="535" y="27"/>
                </a:cxn>
                <a:cxn ang="0">
                  <a:pos x="467" y="4"/>
                </a:cxn>
                <a:cxn ang="0">
                  <a:pos x="420" y="8"/>
                </a:cxn>
                <a:cxn ang="0">
                  <a:pos x="424" y="54"/>
                </a:cxn>
                <a:cxn ang="0">
                  <a:pos x="390" y="75"/>
                </a:cxn>
                <a:cxn ang="0">
                  <a:pos x="363" y="118"/>
                </a:cxn>
                <a:cxn ang="0">
                  <a:pos x="327" y="190"/>
                </a:cxn>
                <a:cxn ang="0">
                  <a:pos x="291" y="234"/>
                </a:cxn>
                <a:cxn ang="0">
                  <a:pos x="296" y="287"/>
                </a:cxn>
                <a:cxn ang="0">
                  <a:pos x="227" y="306"/>
                </a:cxn>
                <a:cxn ang="0">
                  <a:pos x="140" y="319"/>
                </a:cxn>
                <a:cxn ang="0">
                  <a:pos x="104" y="343"/>
                </a:cxn>
                <a:cxn ang="0">
                  <a:pos x="83" y="335"/>
                </a:cxn>
                <a:cxn ang="0">
                  <a:pos x="42" y="390"/>
                </a:cxn>
                <a:cxn ang="0">
                  <a:pos x="30" y="423"/>
                </a:cxn>
                <a:cxn ang="0">
                  <a:pos x="34" y="458"/>
                </a:cxn>
                <a:cxn ang="0">
                  <a:pos x="72" y="498"/>
                </a:cxn>
                <a:cxn ang="0">
                  <a:pos x="90" y="538"/>
                </a:cxn>
                <a:cxn ang="0">
                  <a:pos x="67" y="578"/>
                </a:cxn>
                <a:cxn ang="0">
                  <a:pos x="38" y="614"/>
                </a:cxn>
                <a:cxn ang="0">
                  <a:pos x="0" y="699"/>
                </a:cxn>
                <a:cxn ang="0">
                  <a:pos x="53" y="712"/>
                </a:cxn>
                <a:cxn ang="0">
                  <a:pos x="129" y="735"/>
                </a:cxn>
                <a:cxn ang="0">
                  <a:pos x="245" y="753"/>
                </a:cxn>
                <a:cxn ang="0">
                  <a:pos x="321" y="721"/>
                </a:cxn>
                <a:cxn ang="0">
                  <a:pos x="467" y="782"/>
                </a:cxn>
                <a:cxn ang="0">
                  <a:pos x="492" y="791"/>
                </a:cxn>
                <a:cxn ang="0">
                  <a:pos x="544" y="778"/>
                </a:cxn>
                <a:cxn ang="0">
                  <a:pos x="567" y="736"/>
                </a:cxn>
                <a:cxn ang="0">
                  <a:pos x="520" y="702"/>
                </a:cxn>
                <a:cxn ang="0">
                  <a:pos x="530" y="674"/>
                </a:cxn>
                <a:cxn ang="0">
                  <a:pos x="530" y="614"/>
                </a:cxn>
                <a:cxn ang="0">
                  <a:pos x="503" y="543"/>
                </a:cxn>
                <a:cxn ang="0">
                  <a:pos x="534" y="518"/>
                </a:cxn>
                <a:cxn ang="0">
                  <a:pos x="596" y="532"/>
                </a:cxn>
                <a:cxn ang="0">
                  <a:pos x="707" y="487"/>
                </a:cxn>
                <a:cxn ang="0">
                  <a:pos x="794" y="428"/>
                </a:cxn>
                <a:cxn ang="0">
                  <a:pos x="839" y="370"/>
                </a:cxn>
                <a:cxn ang="0">
                  <a:pos x="884" y="326"/>
                </a:cxn>
              </a:cxnLst>
              <a:rect l="0" t="0" r="r" b="b"/>
              <a:pathLst>
                <a:path w="884" h="794">
                  <a:moveTo>
                    <a:pt x="871" y="318"/>
                  </a:moveTo>
                  <a:cubicBezTo>
                    <a:pt x="859" y="308"/>
                    <a:pt x="859" y="308"/>
                    <a:pt x="859" y="308"/>
                  </a:cubicBezTo>
                  <a:cubicBezTo>
                    <a:pt x="839" y="302"/>
                    <a:pt x="839" y="302"/>
                    <a:pt x="839" y="302"/>
                  </a:cubicBezTo>
                  <a:cubicBezTo>
                    <a:pt x="839" y="302"/>
                    <a:pt x="854" y="284"/>
                    <a:pt x="859" y="279"/>
                  </a:cubicBezTo>
                  <a:cubicBezTo>
                    <a:pt x="864" y="274"/>
                    <a:pt x="823" y="267"/>
                    <a:pt x="823" y="267"/>
                  </a:cubicBezTo>
                  <a:cubicBezTo>
                    <a:pt x="827" y="255"/>
                    <a:pt x="827" y="255"/>
                    <a:pt x="827" y="255"/>
                  </a:cubicBezTo>
                  <a:cubicBezTo>
                    <a:pt x="804" y="247"/>
                    <a:pt x="804" y="247"/>
                    <a:pt x="804" y="247"/>
                  </a:cubicBezTo>
                  <a:cubicBezTo>
                    <a:pt x="814" y="231"/>
                    <a:pt x="814" y="231"/>
                    <a:pt x="814" y="231"/>
                  </a:cubicBezTo>
                  <a:cubicBezTo>
                    <a:pt x="812" y="191"/>
                    <a:pt x="812" y="191"/>
                    <a:pt x="812" y="191"/>
                  </a:cubicBezTo>
                  <a:cubicBezTo>
                    <a:pt x="791" y="178"/>
                    <a:pt x="791" y="178"/>
                    <a:pt x="791" y="178"/>
                  </a:cubicBezTo>
                  <a:cubicBezTo>
                    <a:pt x="795" y="146"/>
                    <a:pt x="795" y="146"/>
                    <a:pt x="795" y="146"/>
                  </a:cubicBezTo>
                  <a:cubicBezTo>
                    <a:pt x="774" y="131"/>
                    <a:pt x="774" y="131"/>
                    <a:pt x="774" y="131"/>
                  </a:cubicBezTo>
                  <a:cubicBezTo>
                    <a:pt x="774" y="122"/>
                    <a:pt x="774" y="122"/>
                    <a:pt x="774" y="122"/>
                  </a:cubicBezTo>
                  <a:cubicBezTo>
                    <a:pt x="772" y="126"/>
                    <a:pt x="772" y="126"/>
                    <a:pt x="772" y="126"/>
                  </a:cubicBezTo>
                  <a:cubicBezTo>
                    <a:pt x="763" y="86"/>
                    <a:pt x="763" y="86"/>
                    <a:pt x="763" y="86"/>
                  </a:cubicBezTo>
                  <a:cubicBezTo>
                    <a:pt x="754" y="75"/>
                    <a:pt x="754" y="75"/>
                    <a:pt x="754" y="75"/>
                  </a:cubicBezTo>
                  <a:cubicBezTo>
                    <a:pt x="754" y="75"/>
                    <a:pt x="740" y="45"/>
                    <a:pt x="729" y="53"/>
                  </a:cubicBezTo>
                  <a:cubicBezTo>
                    <a:pt x="729" y="55"/>
                    <a:pt x="728" y="56"/>
                    <a:pt x="727" y="55"/>
                  </a:cubicBezTo>
                  <a:cubicBezTo>
                    <a:pt x="728" y="54"/>
                    <a:pt x="728" y="54"/>
                    <a:pt x="729" y="53"/>
                  </a:cubicBezTo>
                  <a:cubicBezTo>
                    <a:pt x="731" y="46"/>
                    <a:pt x="725" y="18"/>
                    <a:pt x="699" y="55"/>
                  </a:cubicBezTo>
                  <a:cubicBezTo>
                    <a:pt x="690" y="63"/>
                    <a:pt x="690" y="56"/>
                    <a:pt x="690" y="56"/>
                  </a:cubicBezTo>
                  <a:cubicBezTo>
                    <a:pt x="688" y="78"/>
                    <a:pt x="688" y="78"/>
                    <a:pt x="688" y="78"/>
                  </a:cubicBezTo>
                  <a:cubicBezTo>
                    <a:pt x="680" y="84"/>
                    <a:pt x="680" y="84"/>
                    <a:pt x="680" y="84"/>
                  </a:cubicBezTo>
                  <a:cubicBezTo>
                    <a:pt x="679" y="104"/>
                    <a:pt x="679" y="104"/>
                    <a:pt x="679" y="104"/>
                  </a:cubicBezTo>
                  <a:cubicBezTo>
                    <a:pt x="666" y="114"/>
                    <a:pt x="666" y="114"/>
                    <a:pt x="666" y="114"/>
                  </a:cubicBezTo>
                  <a:cubicBezTo>
                    <a:pt x="662" y="126"/>
                    <a:pt x="662" y="126"/>
                    <a:pt x="662" y="126"/>
                  </a:cubicBezTo>
                  <a:cubicBezTo>
                    <a:pt x="628" y="128"/>
                    <a:pt x="628" y="128"/>
                    <a:pt x="628" y="128"/>
                  </a:cubicBezTo>
                  <a:cubicBezTo>
                    <a:pt x="627" y="123"/>
                    <a:pt x="627" y="123"/>
                    <a:pt x="627" y="123"/>
                  </a:cubicBezTo>
                  <a:cubicBezTo>
                    <a:pt x="598" y="124"/>
                    <a:pt x="598" y="124"/>
                    <a:pt x="598" y="124"/>
                  </a:cubicBezTo>
                  <a:cubicBezTo>
                    <a:pt x="599" y="136"/>
                    <a:pt x="599" y="136"/>
                    <a:pt x="599" y="136"/>
                  </a:cubicBezTo>
                  <a:cubicBezTo>
                    <a:pt x="594" y="130"/>
                    <a:pt x="594" y="130"/>
                    <a:pt x="594" y="130"/>
                  </a:cubicBezTo>
                  <a:cubicBezTo>
                    <a:pt x="592" y="114"/>
                    <a:pt x="592" y="114"/>
                    <a:pt x="592" y="114"/>
                  </a:cubicBezTo>
                  <a:cubicBezTo>
                    <a:pt x="583" y="108"/>
                    <a:pt x="583" y="108"/>
                    <a:pt x="583" y="108"/>
                  </a:cubicBezTo>
                  <a:cubicBezTo>
                    <a:pt x="588" y="74"/>
                    <a:pt x="588" y="74"/>
                    <a:pt x="588" y="74"/>
                  </a:cubicBezTo>
                  <a:cubicBezTo>
                    <a:pt x="572" y="47"/>
                    <a:pt x="572" y="47"/>
                    <a:pt x="572" y="47"/>
                  </a:cubicBezTo>
                  <a:cubicBezTo>
                    <a:pt x="572" y="47"/>
                    <a:pt x="574" y="30"/>
                    <a:pt x="571" y="17"/>
                  </a:cubicBezTo>
                  <a:cubicBezTo>
                    <a:pt x="569" y="19"/>
                    <a:pt x="568" y="20"/>
                    <a:pt x="568" y="20"/>
                  </a:cubicBezTo>
                  <a:cubicBezTo>
                    <a:pt x="547" y="22"/>
                    <a:pt x="547" y="22"/>
                    <a:pt x="547" y="22"/>
                  </a:cubicBezTo>
                  <a:cubicBezTo>
                    <a:pt x="535" y="27"/>
                    <a:pt x="535" y="27"/>
                    <a:pt x="535" y="27"/>
                  </a:cubicBezTo>
                  <a:cubicBezTo>
                    <a:pt x="532" y="20"/>
                    <a:pt x="532" y="20"/>
                    <a:pt x="532" y="20"/>
                  </a:cubicBezTo>
                  <a:cubicBezTo>
                    <a:pt x="532" y="20"/>
                    <a:pt x="518" y="43"/>
                    <a:pt x="507" y="39"/>
                  </a:cubicBezTo>
                  <a:cubicBezTo>
                    <a:pt x="496" y="35"/>
                    <a:pt x="467" y="4"/>
                    <a:pt x="467" y="4"/>
                  </a:cubicBezTo>
                  <a:cubicBezTo>
                    <a:pt x="467" y="4"/>
                    <a:pt x="435" y="0"/>
                    <a:pt x="424" y="7"/>
                  </a:cubicBezTo>
                  <a:cubicBezTo>
                    <a:pt x="423" y="4"/>
                    <a:pt x="423" y="4"/>
                    <a:pt x="423" y="4"/>
                  </a:cubicBezTo>
                  <a:cubicBezTo>
                    <a:pt x="420" y="8"/>
                    <a:pt x="420" y="8"/>
                    <a:pt x="420" y="8"/>
                  </a:cubicBezTo>
                  <a:cubicBezTo>
                    <a:pt x="426" y="39"/>
                    <a:pt x="426" y="39"/>
                    <a:pt x="426" y="39"/>
                  </a:cubicBezTo>
                  <a:cubicBezTo>
                    <a:pt x="419" y="44"/>
                    <a:pt x="419" y="44"/>
                    <a:pt x="419" y="44"/>
                  </a:cubicBezTo>
                  <a:cubicBezTo>
                    <a:pt x="424" y="54"/>
                    <a:pt x="424" y="54"/>
                    <a:pt x="424" y="54"/>
                  </a:cubicBezTo>
                  <a:cubicBezTo>
                    <a:pt x="407" y="60"/>
                    <a:pt x="407" y="60"/>
                    <a:pt x="407" y="60"/>
                  </a:cubicBezTo>
                  <a:cubicBezTo>
                    <a:pt x="406" y="74"/>
                    <a:pt x="406" y="74"/>
                    <a:pt x="406" y="74"/>
                  </a:cubicBezTo>
                  <a:cubicBezTo>
                    <a:pt x="390" y="75"/>
                    <a:pt x="390" y="75"/>
                    <a:pt x="390" y="75"/>
                  </a:cubicBezTo>
                  <a:cubicBezTo>
                    <a:pt x="398" y="92"/>
                    <a:pt x="398" y="92"/>
                    <a:pt x="398" y="92"/>
                  </a:cubicBezTo>
                  <a:cubicBezTo>
                    <a:pt x="384" y="112"/>
                    <a:pt x="384" y="112"/>
                    <a:pt x="384" y="112"/>
                  </a:cubicBezTo>
                  <a:cubicBezTo>
                    <a:pt x="363" y="118"/>
                    <a:pt x="363" y="118"/>
                    <a:pt x="363" y="118"/>
                  </a:cubicBezTo>
                  <a:cubicBezTo>
                    <a:pt x="344" y="147"/>
                    <a:pt x="344" y="147"/>
                    <a:pt x="344" y="147"/>
                  </a:cubicBezTo>
                  <a:cubicBezTo>
                    <a:pt x="316" y="156"/>
                    <a:pt x="316" y="156"/>
                    <a:pt x="316" y="156"/>
                  </a:cubicBezTo>
                  <a:cubicBezTo>
                    <a:pt x="316" y="156"/>
                    <a:pt x="327" y="186"/>
                    <a:pt x="327" y="190"/>
                  </a:cubicBezTo>
                  <a:cubicBezTo>
                    <a:pt x="327" y="194"/>
                    <a:pt x="334" y="198"/>
                    <a:pt x="334" y="198"/>
                  </a:cubicBezTo>
                  <a:cubicBezTo>
                    <a:pt x="334" y="198"/>
                    <a:pt x="331" y="223"/>
                    <a:pt x="312" y="216"/>
                  </a:cubicBezTo>
                  <a:cubicBezTo>
                    <a:pt x="294" y="210"/>
                    <a:pt x="291" y="234"/>
                    <a:pt x="291" y="234"/>
                  </a:cubicBezTo>
                  <a:cubicBezTo>
                    <a:pt x="308" y="246"/>
                    <a:pt x="308" y="246"/>
                    <a:pt x="308" y="246"/>
                  </a:cubicBezTo>
                  <a:cubicBezTo>
                    <a:pt x="291" y="270"/>
                    <a:pt x="291" y="270"/>
                    <a:pt x="291" y="270"/>
                  </a:cubicBezTo>
                  <a:cubicBezTo>
                    <a:pt x="296" y="287"/>
                    <a:pt x="296" y="287"/>
                    <a:pt x="296" y="287"/>
                  </a:cubicBezTo>
                  <a:cubicBezTo>
                    <a:pt x="274" y="286"/>
                    <a:pt x="274" y="286"/>
                    <a:pt x="274" y="286"/>
                  </a:cubicBezTo>
                  <a:cubicBezTo>
                    <a:pt x="274" y="286"/>
                    <a:pt x="262" y="322"/>
                    <a:pt x="247" y="322"/>
                  </a:cubicBezTo>
                  <a:cubicBezTo>
                    <a:pt x="232" y="322"/>
                    <a:pt x="227" y="306"/>
                    <a:pt x="227" y="306"/>
                  </a:cubicBezTo>
                  <a:cubicBezTo>
                    <a:pt x="214" y="311"/>
                    <a:pt x="214" y="311"/>
                    <a:pt x="214" y="311"/>
                  </a:cubicBezTo>
                  <a:cubicBezTo>
                    <a:pt x="214" y="311"/>
                    <a:pt x="183" y="326"/>
                    <a:pt x="168" y="327"/>
                  </a:cubicBezTo>
                  <a:cubicBezTo>
                    <a:pt x="154" y="328"/>
                    <a:pt x="140" y="319"/>
                    <a:pt x="140" y="319"/>
                  </a:cubicBezTo>
                  <a:cubicBezTo>
                    <a:pt x="127" y="328"/>
                    <a:pt x="127" y="328"/>
                    <a:pt x="127" y="328"/>
                  </a:cubicBezTo>
                  <a:cubicBezTo>
                    <a:pt x="118" y="326"/>
                    <a:pt x="118" y="326"/>
                    <a:pt x="118" y="326"/>
                  </a:cubicBezTo>
                  <a:cubicBezTo>
                    <a:pt x="118" y="326"/>
                    <a:pt x="103" y="338"/>
                    <a:pt x="104" y="343"/>
                  </a:cubicBezTo>
                  <a:cubicBezTo>
                    <a:pt x="106" y="348"/>
                    <a:pt x="112" y="362"/>
                    <a:pt x="104" y="359"/>
                  </a:cubicBezTo>
                  <a:cubicBezTo>
                    <a:pt x="96" y="356"/>
                    <a:pt x="91" y="348"/>
                    <a:pt x="88" y="342"/>
                  </a:cubicBezTo>
                  <a:cubicBezTo>
                    <a:pt x="86" y="335"/>
                    <a:pt x="83" y="335"/>
                    <a:pt x="83" y="335"/>
                  </a:cubicBezTo>
                  <a:cubicBezTo>
                    <a:pt x="83" y="335"/>
                    <a:pt x="74" y="344"/>
                    <a:pt x="67" y="344"/>
                  </a:cubicBezTo>
                  <a:cubicBezTo>
                    <a:pt x="60" y="344"/>
                    <a:pt x="38" y="358"/>
                    <a:pt x="38" y="358"/>
                  </a:cubicBezTo>
                  <a:cubicBezTo>
                    <a:pt x="42" y="390"/>
                    <a:pt x="42" y="390"/>
                    <a:pt x="42" y="390"/>
                  </a:cubicBezTo>
                  <a:cubicBezTo>
                    <a:pt x="38" y="387"/>
                    <a:pt x="38" y="387"/>
                    <a:pt x="38" y="387"/>
                  </a:cubicBezTo>
                  <a:cubicBezTo>
                    <a:pt x="43" y="408"/>
                    <a:pt x="43" y="408"/>
                    <a:pt x="43" y="408"/>
                  </a:cubicBezTo>
                  <a:cubicBezTo>
                    <a:pt x="30" y="423"/>
                    <a:pt x="30" y="423"/>
                    <a:pt x="30" y="423"/>
                  </a:cubicBezTo>
                  <a:cubicBezTo>
                    <a:pt x="31" y="442"/>
                    <a:pt x="31" y="442"/>
                    <a:pt x="31" y="442"/>
                  </a:cubicBezTo>
                  <a:cubicBezTo>
                    <a:pt x="22" y="446"/>
                    <a:pt x="22" y="446"/>
                    <a:pt x="22" y="446"/>
                  </a:cubicBezTo>
                  <a:cubicBezTo>
                    <a:pt x="34" y="458"/>
                    <a:pt x="34" y="458"/>
                    <a:pt x="34" y="458"/>
                  </a:cubicBezTo>
                  <a:cubicBezTo>
                    <a:pt x="34" y="458"/>
                    <a:pt x="72" y="471"/>
                    <a:pt x="76" y="480"/>
                  </a:cubicBezTo>
                  <a:cubicBezTo>
                    <a:pt x="80" y="490"/>
                    <a:pt x="83" y="494"/>
                    <a:pt x="83" y="494"/>
                  </a:cubicBezTo>
                  <a:cubicBezTo>
                    <a:pt x="72" y="498"/>
                    <a:pt x="72" y="498"/>
                    <a:pt x="72" y="498"/>
                  </a:cubicBezTo>
                  <a:cubicBezTo>
                    <a:pt x="72" y="514"/>
                    <a:pt x="72" y="514"/>
                    <a:pt x="72" y="514"/>
                  </a:cubicBezTo>
                  <a:cubicBezTo>
                    <a:pt x="88" y="508"/>
                    <a:pt x="88" y="508"/>
                    <a:pt x="88" y="508"/>
                  </a:cubicBezTo>
                  <a:cubicBezTo>
                    <a:pt x="90" y="538"/>
                    <a:pt x="90" y="538"/>
                    <a:pt x="90" y="538"/>
                  </a:cubicBezTo>
                  <a:cubicBezTo>
                    <a:pt x="78" y="543"/>
                    <a:pt x="78" y="543"/>
                    <a:pt x="78" y="543"/>
                  </a:cubicBezTo>
                  <a:cubicBezTo>
                    <a:pt x="78" y="543"/>
                    <a:pt x="72" y="555"/>
                    <a:pt x="79" y="563"/>
                  </a:cubicBezTo>
                  <a:cubicBezTo>
                    <a:pt x="79" y="568"/>
                    <a:pt x="67" y="578"/>
                    <a:pt x="67" y="578"/>
                  </a:cubicBezTo>
                  <a:cubicBezTo>
                    <a:pt x="67" y="588"/>
                    <a:pt x="67" y="588"/>
                    <a:pt x="67" y="588"/>
                  </a:cubicBezTo>
                  <a:cubicBezTo>
                    <a:pt x="58" y="588"/>
                    <a:pt x="58" y="588"/>
                    <a:pt x="58" y="588"/>
                  </a:cubicBezTo>
                  <a:cubicBezTo>
                    <a:pt x="38" y="614"/>
                    <a:pt x="38" y="614"/>
                    <a:pt x="38" y="614"/>
                  </a:cubicBezTo>
                  <a:cubicBezTo>
                    <a:pt x="38" y="632"/>
                    <a:pt x="38" y="632"/>
                    <a:pt x="38" y="632"/>
                  </a:cubicBezTo>
                  <a:cubicBezTo>
                    <a:pt x="22" y="634"/>
                    <a:pt x="22" y="634"/>
                    <a:pt x="22" y="634"/>
                  </a:cubicBezTo>
                  <a:cubicBezTo>
                    <a:pt x="0" y="699"/>
                    <a:pt x="0" y="699"/>
                    <a:pt x="0" y="699"/>
                  </a:cubicBezTo>
                  <a:cubicBezTo>
                    <a:pt x="0" y="699"/>
                    <a:pt x="1" y="701"/>
                    <a:pt x="1" y="705"/>
                  </a:cubicBezTo>
                  <a:cubicBezTo>
                    <a:pt x="24" y="689"/>
                    <a:pt x="48" y="712"/>
                    <a:pt x="48" y="712"/>
                  </a:cubicBezTo>
                  <a:cubicBezTo>
                    <a:pt x="53" y="712"/>
                    <a:pt x="53" y="712"/>
                    <a:pt x="53" y="712"/>
                  </a:cubicBezTo>
                  <a:cubicBezTo>
                    <a:pt x="79" y="748"/>
                    <a:pt x="79" y="748"/>
                    <a:pt x="79" y="748"/>
                  </a:cubicBezTo>
                  <a:cubicBezTo>
                    <a:pt x="119" y="746"/>
                    <a:pt x="119" y="746"/>
                    <a:pt x="119" y="746"/>
                  </a:cubicBezTo>
                  <a:cubicBezTo>
                    <a:pt x="129" y="735"/>
                    <a:pt x="129" y="735"/>
                    <a:pt x="129" y="735"/>
                  </a:cubicBezTo>
                  <a:cubicBezTo>
                    <a:pt x="129" y="735"/>
                    <a:pt x="153" y="752"/>
                    <a:pt x="162" y="757"/>
                  </a:cubicBezTo>
                  <a:cubicBezTo>
                    <a:pt x="170" y="733"/>
                    <a:pt x="192" y="748"/>
                    <a:pt x="192" y="748"/>
                  </a:cubicBezTo>
                  <a:cubicBezTo>
                    <a:pt x="192" y="748"/>
                    <a:pt x="239" y="752"/>
                    <a:pt x="245" y="753"/>
                  </a:cubicBezTo>
                  <a:cubicBezTo>
                    <a:pt x="251" y="754"/>
                    <a:pt x="245" y="741"/>
                    <a:pt x="245" y="741"/>
                  </a:cubicBezTo>
                  <a:cubicBezTo>
                    <a:pt x="234" y="718"/>
                    <a:pt x="253" y="691"/>
                    <a:pt x="253" y="691"/>
                  </a:cubicBezTo>
                  <a:cubicBezTo>
                    <a:pt x="253" y="691"/>
                    <a:pt x="302" y="721"/>
                    <a:pt x="321" y="721"/>
                  </a:cubicBezTo>
                  <a:cubicBezTo>
                    <a:pt x="340" y="721"/>
                    <a:pt x="364" y="744"/>
                    <a:pt x="364" y="744"/>
                  </a:cubicBezTo>
                  <a:cubicBezTo>
                    <a:pt x="398" y="728"/>
                    <a:pt x="420" y="779"/>
                    <a:pt x="421" y="782"/>
                  </a:cubicBezTo>
                  <a:cubicBezTo>
                    <a:pt x="442" y="756"/>
                    <a:pt x="467" y="782"/>
                    <a:pt x="467" y="782"/>
                  </a:cubicBezTo>
                  <a:cubicBezTo>
                    <a:pt x="479" y="774"/>
                    <a:pt x="479" y="774"/>
                    <a:pt x="479" y="774"/>
                  </a:cubicBezTo>
                  <a:cubicBezTo>
                    <a:pt x="479" y="774"/>
                    <a:pt x="488" y="786"/>
                    <a:pt x="491" y="794"/>
                  </a:cubicBezTo>
                  <a:cubicBezTo>
                    <a:pt x="492" y="791"/>
                    <a:pt x="492" y="791"/>
                    <a:pt x="492" y="791"/>
                  </a:cubicBezTo>
                  <a:cubicBezTo>
                    <a:pt x="516" y="792"/>
                    <a:pt x="516" y="792"/>
                    <a:pt x="516" y="792"/>
                  </a:cubicBezTo>
                  <a:cubicBezTo>
                    <a:pt x="523" y="783"/>
                    <a:pt x="523" y="783"/>
                    <a:pt x="523" y="783"/>
                  </a:cubicBezTo>
                  <a:cubicBezTo>
                    <a:pt x="544" y="778"/>
                    <a:pt x="544" y="778"/>
                    <a:pt x="544" y="778"/>
                  </a:cubicBezTo>
                  <a:cubicBezTo>
                    <a:pt x="542" y="766"/>
                    <a:pt x="542" y="766"/>
                    <a:pt x="542" y="766"/>
                  </a:cubicBezTo>
                  <a:cubicBezTo>
                    <a:pt x="586" y="764"/>
                    <a:pt x="586" y="764"/>
                    <a:pt x="586" y="764"/>
                  </a:cubicBezTo>
                  <a:cubicBezTo>
                    <a:pt x="586" y="764"/>
                    <a:pt x="588" y="758"/>
                    <a:pt x="567" y="736"/>
                  </a:cubicBezTo>
                  <a:cubicBezTo>
                    <a:pt x="514" y="740"/>
                    <a:pt x="528" y="720"/>
                    <a:pt x="528" y="720"/>
                  </a:cubicBezTo>
                  <a:cubicBezTo>
                    <a:pt x="519" y="716"/>
                    <a:pt x="519" y="716"/>
                    <a:pt x="519" y="716"/>
                  </a:cubicBezTo>
                  <a:cubicBezTo>
                    <a:pt x="520" y="702"/>
                    <a:pt x="520" y="702"/>
                    <a:pt x="520" y="702"/>
                  </a:cubicBezTo>
                  <a:cubicBezTo>
                    <a:pt x="520" y="702"/>
                    <a:pt x="543" y="696"/>
                    <a:pt x="543" y="692"/>
                  </a:cubicBezTo>
                  <a:cubicBezTo>
                    <a:pt x="543" y="688"/>
                    <a:pt x="546" y="678"/>
                    <a:pt x="546" y="678"/>
                  </a:cubicBezTo>
                  <a:cubicBezTo>
                    <a:pt x="530" y="674"/>
                    <a:pt x="530" y="674"/>
                    <a:pt x="530" y="674"/>
                  </a:cubicBezTo>
                  <a:cubicBezTo>
                    <a:pt x="544" y="667"/>
                    <a:pt x="544" y="667"/>
                    <a:pt x="544" y="667"/>
                  </a:cubicBezTo>
                  <a:cubicBezTo>
                    <a:pt x="544" y="667"/>
                    <a:pt x="528" y="640"/>
                    <a:pt x="534" y="635"/>
                  </a:cubicBezTo>
                  <a:cubicBezTo>
                    <a:pt x="539" y="630"/>
                    <a:pt x="530" y="614"/>
                    <a:pt x="530" y="614"/>
                  </a:cubicBezTo>
                  <a:cubicBezTo>
                    <a:pt x="480" y="595"/>
                    <a:pt x="480" y="595"/>
                    <a:pt x="480" y="595"/>
                  </a:cubicBezTo>
                  <a:cubicBezTo>
                    <a:pt x="480" y="595"/>
                    <a:pt x="478" y="576"/>
                    <a:pt x="484" y="576"/>
                  </a:cubicBezTo>
                  <a:cubicBezTo>
                    <a:pt x="466" y="554"/>
                    <a:pt x="500" y="548"/>
                    <a:pt x="503" y="543"/>
                  </a:cubicBezTo>
                  <a:cubicBezTo>
                    <a:pt x="503" y="518"/>
                    <a:pt x="515" y="510"/>
                    <a:pt x="515" y="510"/>
                  </a:cubicBezTo>
                  <a:cubicBezTo>
                    <a:pt x="528" y="531"/>
                    <a:pt x="528" y="531"/>
                    <a:pt x="528" y="531"/>
                  </a:cubicBezTo>
                  <a:cubicBezTo>
                    <a:pt x="534" y="518"/>
                    <a:pt x="534" y="518"/>
                    <a:pt x="534" y="518"/>
                  </a:cubicBezTo>
                  <a:cubicBezTo>
                    <a:pt x="562" y="519"/>
                    <a:pt x="562" y="519"/>
                    <a:pt x="562" y="519"/>
                  </a:cubicBezTo>
                  <a:cubicBezTo>
                    <a:pt x="562" y="519"/>
                    <a:pt x="563" y="530"/>
                    <a:pt x="568" y="528"/>
                  </a:cubicBezTo>
                  <a:cubicBezTo>
                    <a:pt x="574" y="527"/>
                    <a:pt x="596" y="532"/>
                    <a:pt x="596" y="532"/>
                  </a:cubicBezTo>
                  <a:cubicBezTo>
                    <a:pt x="596" y="499"/>
                    <a:pt x="639" y="522"/>
                    <a:pt x="639" y="522"/>
                  </a:cubicBezTo>
                  <a:cubicBezTo>
                    <a:pt x="639" y="522"/>
                    <a:pt x="631" y="510"/>
                    <a:pt x="664" y="515"/>
                  </a:cubicBezTo>
                  <a:cubicBezTo>
                    <a:pt x="698" y="520"/>
                    <a:pt x="698" y="492"/>
                    <a:pt x="707" y="487"/>
                  </a:cubicBezTo>
                  <a:cubicBezTo>
                    <a:pt x="668" y="448"/>
                    <a:pt x="719" y="450"/>
                    <a:pt x="719" y="450"/>
                  </a:cubicBezTo>
                  <a:cubicBezTo>
                    <a:pt x="719" y="450"/>
                    <a:pt x="742" y="450"/>
                    <a:pt x="763" y="440"/>
                  </a:cubicBezTo>
                  <a:cubicBezTo>
                    <a:pt x="772" y="422"/>
                    <a:pt x="794" y="428"/>
                    <a:pt x="794" y="428"/>
                  </a:cubicBezTo>
                  <a:cubicBezTo>
                    <a:pt x="795" y="388"/>
                    <a:pt x="795" y="388"/>
                    <a:pt x="795" y="388"/>
                  </a:cubicBezTo>
                  <a:cubicBezTo>
                    <a:pt x="839" y="387"/>
                    <a:pt x="839" y="387"/>
                    <a:pt x="839" y="387"/>
                  </a:cubicBezTo>
                  <a:cubicBezTo>
                    <a:pt x="839" y="370"/>
                    <a:pt x="839" y="370"/>
                    <a:pt x="839" y="370"/>
                  </a:cubicBezTo>
                  <a:cubicBezTo>
                    <a:pt x="860" y="368"/>
                    <a:pt x="860" y="368"/>
                    <a:pt x="860" y="368"/>
                  </a:cubicBezTo>
                  <a:cubicBezTo>
                    <a:pt x="863" y="351"/>
                    <a:pt x="863" y="351"/>
                    <a:pt x="863" y="351"/>
                  </a:cubicBezTo>
                  <a:cubicBezTo>
                    <a:pt x="884" y="326"/>
                    <a:pt x="884" y="326"/>
                    <a:pt x="884" y="326"/>
                  </a:cubicBezTo>
                  <a:lnTo>
                    <a:pt x="871" y="31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9" name="Aquitaine" descr="© INSCALE GmbH, 05.05.2010&#10;http://www.presentationload.com/">
              <a:extLst>
                <a:ext uri="{FF2B5EF4-FFF2-40B4-BE49-F238E27FC236}">
                  <a16:creationId xmlns:a16="http://schemas.microsoft.com/office/drawing/2014/main" id="{97CDBFD3-5115-4B18-AE8A-FC35BD36554B}"/>
                </a:ext>
              </a:extLst>
            </p:cNvPr>
            <p:cNvSpPr>
              <a:spLocks/>
            </p:cNvSpPr>
            <p:nvPr/>
          </p:nvSpPr>
          <p:spPr bwMode="gray">
            <a:xfrm>
              <a:off x="758" y="1992"/>
              <a:ext cx="793" cy="1021"/>
            </a:xfrm>
            <a:custGeom>
              <a:avLst/>
              <a:gdLst/>
              <a:ahLst/>
              <a:cxnLst>
                <a:cxn ang="0">
                  <a:pos x="347" y="849"/>
                </a:cxn>
                <a:cxn ang="0">
                  <a:pos x="376" y="813"/>
                </a:cxn>
                <a:cxn ang="0">
                  <a:pos x="399" y="773"/>
                </a:cxn>
                <a:cxn ang="0">
                  <a:pos x="381" y="733"/>
                </a:cxn>
                <a:cxn ang="0">
                  <a:pos x="343" y="693"/>
                </a:cxn>
                <a:cxn ang="0">
                  <a:pos x="339" y="658"/>
                </a:cxn>
                <a:cxn ang="0">
                  <a:pos x="351" y="625"/>
                </a:cxn>
                <a:cxn ang="0">
                  <a:pos x="392" y="570"/>
                </a:cxn>
                <a:cxn ang="0">
                  <a:pos x="413" y="578"/>
                </a:cxn>
                <a:cxn ang="0">
                  <a:pos x="449" y="554"/>
                </a:cxn>
                <a:cxn ang="0">
                  <a:pos x="536" y="541"/>
                </a:cxn>
                <a:cxn ang="0">
                  <a:pos x="605" y="522"/>
                </a:cxn>
                <a:cxn ang="0">
                  <a:pos x="600" y="469"/>
                </a:cxn>
                <a:cxn ang="0">
                  <a:pos x="636" y="425"/>
                </a:cxn>
                <a:cxn ang="0">
                  <a:pos x="672" y="353"/>
                </a:cxn>
                <a:cxn ang="0">
                  <a:pos x="699" y="310"/>
                </a:cxn>
                <a:cxn ang="0">
                  <a:pos x="733" y="289"/>
                </a:cxn>
                <a:cxn ang="0">
                  <a:pos x="729" y="243"/>
                </a:cxn>
                <a:cxn ang="0">
                  <a:pos x="727" y="207"/>
                </a:cxn>
                <a:cxn ang="0">
                  <a:pos x="692" y="183"/>
                </a:cxn>
                <a:cxn ang="0">
                  <a:pos x="691" y="150"/>
                </a:cxn>
                <a:cxn ang="0">
                  <a:pos x="700" y="117"/>
                </a:cxn>
                <a:cxn ang="0">
                  <a:pos x="655" y="74"/>
                </a:cxn>
                <a:cxn ang="0">
                  <a:pos x="589" y="58"/>
                </a:cxn>
                <a:cxn ang="0">
                  <a:pos x="540" y="43"/>
                </a:cxn>
                <a:cxn ang="0">
                  <a:pos x="519" y="74"/>
                </a:cxn>
                <a:cxn ang="0">
                  <a:pos x="464" y="147"/>
                </a:cxn>
                <a:cxn ang="0">
                  <a:pos x="407" y="202"/>
                </a:cxn>
                <a:cxn ang="0">
                  <a:pos x="319" y="169"/>
                </a:cxn>
                <a:cxn ang="0">
                  <a:pos x="265" y="131"/>
                </a:cxn>
                <a:cxn ang="0">
                  <a:pos x="279" y="178"/>
                </a:cxn>
                <a:cxn ang="0">
                  <a:pos x="239" y="76"/>
                </a:cxn>
                <a:cxn ang="0">
                  <a:pos x="185" y="0"/>
                </a:cxn>
                <a:cxn ang="0">
                  <a:pos x="133" y="309"/>
                </a:cxn>
                <a:cxn ang="0">
                  <a:pos x="147" y="302"/>
                </a:cxn>
                <a:cxn ang="0">
                  <a:pos x="23" y="730"/>
                </a:cxn>
                <a:cxn ang="0">
                  <a:pos x="34" y="764"/>
                </a:cxn>
                <a:cxn ang="0">
                  <a:pos x="86" y="787"/>
                </a:cxn>
                <a:cxn ang="0">
                  <a:pos x="110" y="831"/>
                </a:cxn>
                <a:cxn ang="0">
                  <a:pos x="142" y="869"/>
                </a:cxn>
                <a:cxn ang="0">
                  <a:pos x="228" y="882"/>
                </a:cxn>
                <a:cxn ang="0">
                  <a:pos x="293" y="943"/>
                </a:cxn>
                <a:cxn ang="0">
                  <a:pos x="309" y="934"/>
                </a:cxn>
              </a:cxnLst>
              <a:rect l="0" t="0" r="r" b="b"/>
              <a:pathLst>
                <a:path w="735" h="946">
                  <a:moveTo>
                    <a:pt x="331" y="869"/>
                  </a:moveTo>
                  <a:cubicBezTo>
                    <a:pt x="347" y="867"/>
                    <a:pt x="347" y="867"/>
                    <a:pt x="347" y="867"/>
                  </a:cubicBezTo>
                  <a:cubicBezTo>
                    <a:pt x="347" y="849"/>
                    <a:pt x="347" y="849"/>
                    <a:pt x="347" y="849"/>
                  </a:cubicBezTo>
                  <a:cubicBezTo>
                    <a:pt x="367" y="823"/>
                    <a:pt x="367" y="823"/>
                    <a:pt x="367" y="823"/>
                  </a:cubicBezTo>
                  <a:cubicBezTo>
                    <a:pt x="376" y="823"/>
                    <a:pt x="376" y="823"/>
                    <a:pt x="376" y="823"/>
                  </a:cubicBezTo>
                  <a:cubicBezTo>
                    <a:pt x="376" y="813"/>
                    <a:pt x="376" y="813"/>
                    <a:pt x="376" y="813"/>
                  </a:cubicBezTo>
                  <a:cubicBezTo>
                    <a:pt x="376" y="813"/>
                    <a:pt x="388" y="803"/>
                    <a:pt x="388" y="798"/>
                  </a:cubicBezTo>
                  <a:cubicBezTo>
                    <a:pt x="381" y="790"/>
                    <a:pt x="387" y="778"/>
                    <a:pt x="387" y="778"/>
                  </a:cubicBezTo>
                  <a:cubicBezTo>
                    <a:pt x="399" y="773"/>
                    <a:pt x="399" y="773"/>
                    <a:pt x="399" y="773"/>
                  </a:cubicBezTo>
                  <a:cubicBezTo>
                    <a:pt x="397" y="743"/>
                    <a:pt x="397" y="743"/>
                    <a:pt x="397" y="743"/>
                  </a:cubicBezTo>
                  <a:cubicBezTo>
                    <a:pt x="381" y="749"/>
                    <a:pt x="381" y="749"/>
                    <a:pt x="381" y="749"/>
                  </a:cubicBezTo>
                  <a:cubicBezTo>
                    <a:pt x="381" y="733"/>
                    <a:pt x="381" y="733"/>
                    <a:pt x="381" y="733"/>
                  </a:cubicBezTo>
                  <a:cubicBezTo>
                    <a:pt x="392" y="729"/>
                    <a:pt x="392" y="729"/>
                    <a:pt x="392" y="729"/>
                  </a:cubicBezTo>
                  <a:cubicBezTo>
                    <a:pt x="392" y="729"/>
                    <a:pt x="389" y="725"/>
                    <a:pt x="385" y="715"/>
                  </a:cubicBezTo>
                  <a:cubicBezTo>
                    <a:pt x="381" y="706"/>
                    <a:pt x="343" y="693"/>
                    <a:pt x="343" y="693"/>
                  </a:cubicBezTo>
                  <a:cubicBezTo>
                    <a:pt x="331" y="681"/>
                    <a:pt x="331" y="681"/>
                    <a:pt x="331" y="681"/>
                  </a:cubicBezTo>
                  <a:cubicBezTo>
                    <a:pt x="340" y="677"/>
                    <a:pt x="340" y="677"/>
                    <a:pt x="340" y="677"/>
                  </a:cubicBezTo>
                  <a:cubicBezTo>
                    <a:pt x="339" y="658"/>
                    <a:pt x="339" y="658"/>
                    <a:pt x="339" y="658"/>
                  </a:cubicBezTo>
                  <a:cubicBezTo>
                    <a:pt x="352" y="643"/>
                    <a:pt x="352" y="643"/>
                    <a:pt x="352" y="643"/>
                  </a:cubicBezTo>
                  <a:cubicBezTo>
                    <a:pt x="347" y="622"/>
                    <a:pt x="347" y="622"/>
                    <a:pt x="347" y="622"/>
                  </a:cubicBezTo>
                  <a:cubicBezTo>
                    <a:pt x="351" y="625"/>
                    <a:pt x="351" y="625"/>
                    <a:pt x="351" y="625"/>
                  </a:cubicBezTo>
                  <a:cubicBezTo>
                    <a:pt x="347" y="593"/>
                    <a:pt x="347" y="593"/>
                    <a:pt x="347" y="593"/>
                  </a:cubicBezTo>
                  <a:cubicBezTo>
                    <a:pt x="347" y="593"/>
                    <a:pt x="369" y="579"/>
                    <a:pt x="376" y="579"/>
                  </a:cubicBezTo>
                  <a:cubicBezTo>
                    <a:pt x="383" y="579"/>
                    <a:pt x="392" y="570"/>
                    <a:pt x="392" y="570"/>
                  </a:cubicBezTo>
                  <a:cubicBezTo>
                    <a:pt x="392" y="570"/>
                    <a:pt x="395" y="570"/>
                    <a:pt x="397" y="577"/>
                  </a:cubicBezTo>
                  <a:cubicBezTo>
                    <a:pt x="400" y="583"/>
                    <a:pt x="405" y="591"/>
                    <a:pt x="413" y="594"/>
                  </a:cubicBezTo>
                  <a:cubicBezTo>
                    <a:pt x="421" y="597"/>
                    <a:pt x="415" y="583"/>
                    <a:pt x="413" y="578"/>
                  </a:cubicBezTo>
                  <a:cubicBezTo>
                    <a:pt x="412" y="573"/>
                    <a:pt x="427" y="561"/>
                    <a:pt x="427" y="561"/>
                  </a:cubicBezTo>
                  <a:cubicBezTo>
                    <a:pt x="436" y="563"/>
                    <a:pt x="436" y="563"/>
                    <a:pt x="436" y="563"/>
                  </a:cubicBezTo>
                  <a:cubicBezTo>
                    <a:pt x="449" y="554"/>
                    <a:pt x="449" y="554"/>
                    <a:pt x="449" y="554"/>
                  </a:cubicBezTo>
                  <a:cubicBezTo>
                    <a:pt x="449" y="554"/>
                    <a:pt x="463" y="563"/>
                    <a:pt x="477" y="562"/>
                  </a:cubicBezTo>
                  <a:cubicBezTo>
                    <a:pt x="492" y="561"/>
                    <a:pt x="523" y="546"/>
                    <a:pt x="523" y="546"/>
                  </a:cubicBezTo>
                  <a:cubicBezTo>
                    <a:pt x="536" y="541"/>
                    <a:pt x="536" y="541"/>
                    <a:pt x="536" y="541"/>
                  </a:cubicBezTo>
                  <a:cubicBezTo>
                    <a:pt x="536" y="541"/>
                    <a:pt x="541" y="557"/>
                    <a:pt x="556" y="557"/>
                  </a:cubicBezTo>
                  <a:cubicBezTo>
                    <a:pt x="571" y="557"/>
                    <a:pt x="583" y="521"/>
                    <a:pt x="583" y="521"/>
                  </a:cubicBezTo>
                  <a:cubicBezTo>
                    <a:pt x="605" y="522"/>
                    <a:pt x="605" y="522"/>
                    <a:pt x="605" y="522"/>
                  </a:cubicBezTo>
                  <a:cubicBezTo>
                    <a:pt x="600" y="505"/>
                    <a:pt x="600" y="505"/>
                    <a:pt x="600" y="505"/>
                  </a:cubicBezTo>
                  <a:cubicBezTo>
                    <a:pt x="617" y="481"/>
                    <a:pt x="617" y="481"/>
                    <a:pt x="617" y="481"/>
                  </a:cubicBezTo>
                  <a:cubicBezTo>
                    <a:pt x="600" y="469"/>
                    <a:pt x="600" y="469"/>
                    <a:pt x="600" y="469"/>
                  </a:cubicBezTo>
                  <a:cubicBezTo>
                    <a:pt x="600" y="469"/>
                    <a:pt x="603" y="445"/>
                    <a:pt x="621" y="451"/>
                  </a:cubicBezTo>
                  <a:cubicBezTo>
                    <a:pt x="640" y="458"/>
                    <a:pt x="643" y="433"/>
                    <a:pt x="643" y="433"/>
                  </a:cubicBezTo>
                  <a:cubicBezTo>
                    <a:pt x="643" y="433"/>
                    <a:pt x="636" y="429"/>
                    <a:pt x="636" y="425"/>
                  </a:cubicBezTo>
                  <a:cubicBezTo>
                    <a:pt x="636" y="421"/>
                    <a:pt x="625" y="391"/>
                    <a:pt x="625" y="391"/>
                  </a:cubicBezTo>
                  <a:cubicBezTo>
                    <a:pt x="653" y="382"/>
                    <a:pt x="653" y="382"/>
                    <a:pt x="653" y="382"/>
                  </a:cubicBezTo>
                  <a:cubicBezTo>
                    <a:pt x="672" y="353"/>
                    <a:pt x="672" y="353"/>
                    <a:pt x="672" y="353"/>
                  </a:cubicBezTo>
                  <a:cubicBezTo>
                    <a:pt x="693" y="347"/>
                    <a:pt x="693" y="347"/>
                    <a:pt x="693" y="347"/>
                  </a:cubicBezTo>
                  <a:cubicBezTo>
                    <a:pt x="707" y="327"/>
                    <a:pt x="707" y="327"/>
                    <a:pt x="707" y="327"/>
                  </a:cubicBezTo>
                  <a:cubicBezTo>
                    <a:pt x="699" y="310"/>
                    <a:pt x="699" y="310"/>
                    <a:pt x="699" y="310"/>
                  </a:cubicBezTo>
                  <a:cubicBezTo>
                    <a:pt x="715" y="309"/>
                    <a:pt x="715" y="309"/>
                    <a:pt x="715" y="309"/>
                  </a:cubicBezTo>
                  <a:cubicBezTo>
                    <a:pt x="716" y="295"/>
                    <a:pt x="716" y="295"/>
                    <a:pt x="716" y="295"/>
                  </a:cubicBezTo>
                  <a:cubicBezTo>
                    <a:pt x="733" y="289"/>
                    <a:pt x="733" y="289"/>
                    <a:pt x="733" y="289"/>
                  </a:cubicBezTo>
                  <a:cubicBezTo>
                    <a:pt x="728" y="279"/>
                    <a:pt x="728" y="279"/>
                    <a:pt x="728" y="279"/>
                  </a:cubicBezTo>
                  <a:cubicBezTo>
                    <a:pt x="735" y="274"/>
                    <a:pt x="735" y="274"/>
                    <a:pt x="735" y="274"/>
                  </a:cubicBezTo>
                  <a:cubicBezTo>
                    <a:pt x="729" y="243"/>
                    <a:pt x="729" y="243"/>
                    <a:pt x="729" y="243"/>
                  </a:cubicBezTo>
                  <a:cubicBezTo>
                    <a:pt x="732" y="239"/>
                    <a:pt x="732" y="239"/>
                    <a:pt x="732" y="239"/>
                  </a:cubicBezTo>
                  <a:cubicBezTo>
                    <a:pt x="721" y="217"/>
                    <a:pt x="721" y="217"/>
                    <a:pt x="721" y="217"/>
                  </a:cubicBezTo>
                  <a:cubicBezTo>
                    <a:pt x="727" y="207"/>
                    <a:pt x="727" y="207"/>
                    <a:pt x="727" y="207"/>
                  </a:cubicBezTo>
                  <a:cubicBezTo>
                    <a:pt x="696" y="195"/>
                    <a:pt x="696" y="195"/>
                    <a:pt x="696" y="195"/>
                  </a:cubicBezTo>
                  <a:cubicBezTo>
                    <a:pt x="700" y="185"/>
                    <a:pt x="700" y="185"/>
                    <a:pt x="700" y="185"/>
                  </a:cubicBezTo>
                  <a:cubicBezTo>
                    <a:pt x="692" y="183"/>
                    <a:pt x="692" y="183"/>
                    <a:pt x="692" y="183"/>
                  </a:cubicBezTo>
                  <a:cubicBezTo>
                    <a:pt x="699" y="167"/>
                    <a:pt x="699" y="167"/>
                    <a:pt x="699" y="167"/>
                  </a:cubicBezTo>
                  <a:cubicBezTo>
                    <a:pt x="691" y="161"/>
                    <a:pt x="691" y="161"/>
                    <a:pt x="691" y="161"/>
                  </a:cubicBezTo>
                  <a:cubicBezTo>
                    <a:pt x="691" y="150"/>
                    <a:pt x="691" y="150"/>
                    <a:pt x="691" y="150"/>
                  </a:cubicBezTo>
                  <a:cubicBezTo>
                    <a:pt x="691" y="150"/>
                    <a:pt x="707" y="135"/>
                    <a:pt x="707" y="129"/>
                  </a:cubicBezTo>
                  <a:cubicBezTo>
                    <a:pt x="707" y="122"/>
                    <a:pt x="693" y="118"/>
                    <a:pt x="693" y="118"/>
                  </a:cubicBezTo>
                  <a:cubicBezTo>
                    <a:pt x="700" y="117"/>
                    <a:pt x="700" y="117"/>
                    <a:pt x="700" y="117"/>
                  </a:cubicBezTo>
                  <a:cubicBezTo>
                    <a:pt x="668" y="95"/>
                    <a:pt x="668" y="95"/>
                    <a:pt x="668" y="95"/>
                  </a:cubicBezTo>
                  <a:cubicBezTo>
                    <a:pt x="673" y="75"/>
                    <a:pt x="673" y="75"/>
                    <a:pt x="673" y="75"/>
                  </a:cubicBezTo>
                  <a:cubicBezTo>
                    <a:pt x="673" y="75"/>
                    <a:pt x="661" y="74"/>
                    <a:pt x="655" y="74"/>
                  </a:cubicBezTo>
                  <a:cubicBezTo>
                    <a:pt x="648" y="74"/>
                    <a:pt x="643" y="51"/>
                    <a:pt x="643" y="51"/>
                  </a:cubicBezTo>
                  <a:cubicBezTo>
                    <a:pt x="608" y="47"/>
                    <a:pt x="608" y="47"/>
                    <a:pt x="608" y="47"/>
                  </a:cubicBezTo>
                  <a:cubicBezTo>
                    <a:pt x="608" y="47"/>
                    <a:pt x="596" y="62"/>
                    <a:pt x="589" y="58"/>
                  </a:cubicBezTo>
                  <a:cubicBezTo>
                    <a:pt x="583" y="54"/>
                    <a:pt x="589" y="30"/>
                    <a:pt x="589" y="30"/>
                  </a:cubicBezTo>
                  <a:cubicBezTo>
                    <a:pt x="589" y="30"/>
                    <a:pt x="576" y="24"/>
                    <a:pt x="558" y="21"/>
                  </a:cubicBezTo>
                  <a:cubicBezTo>
                    <a:pt x="540" y="43"/>
                    <a:pt x="540" y="43"/>
                    <a:pt x="540" y="43"/>
                  </a:cubicBezTo>
                  <a:cubicBezTo>
                    <a:pt x="540" y="43"/>
                    <a:pt x="529" y="45"/>
                    <a:pt x="525" y="45"/>
                  </a:cubicBezTo>
                  <a:cubicBezTo>
                    <a:pt x="521" y="45"/>
                    <a:pt x="531" y="73"/>
                    <a:pt x="531" y="73"/>
                  </a:cubicBezTo>
                  <a:cubicBezTo>
                    <a:pt x="519" y="74"/>
                    <a:pt x="519" y="74"/>
                    <a:pt x="519" y="74"/>
                  </a:cubicBezTo>
                  <a:cubicBezTo>
                    <a:pt x="519" y="74"/>
                    <a:pt x="515" y="73"/>
                    <a:pt x="511" y="87"/>
                  </a:cubicBezTo>
                  <a:cubicBezTo>
                    <a:pt x="459" y="94"/>
                    <a:pt x="471" y="147"/>
                    <a:pt x="471" y="147"/>
                  </a:cubicBezTo>
                  <a:cubicBezTo>
                    <a:pt x="464" y="147"/>
                    <a:pt x="464" y="147"/>
                    <a:pt x="464" y="147"/>
                  </a:cubicBezTo>
                  <a:cubicBezTo>
                    <a:pt x="464" y="147"/>
                    <a:pt x="445" y="175"/>
                    <a:pt x="441" y="175"/>
                  </a:cubicBezTo>
                  <a:cubicBezTo>
                    <a:pt x="437" y="175"/>
                    <a:pt x="429" y="166"/>
                    <a:pt x="429" y="166"/>
                  </a:cubicBezTo>
                  <a:cubicBezTo>
                    <a:pt x="429" y="166"/>
                    <a:pt x="413" y="189"/>
                    <a:pt x="407" y="202"/>
                  </a:cubicBezTo>
                  <a:cubicBezTo>
                    <a:pt x="400" y="215"/>
                    <a:pt x="367" y="213"/>
                    <a:pt x="349" y="195"/>
                  </a:cubicBezTo>
                  <a:cubicBezTo>
                    <a:pt x="332" y="178"/>
                    <a:pt x="324" y="193"/>
                    <a:pt x="324" y="193"/>
                  </a:cubicBezTo>
                  <a:cubicBezTo>
                    <a:pt x="324" y="193"/>
                    <a:pt x="324" y="187"/>
                    <a:pt x="319" y="169"/>
                  </a:cubicBezTo>
                  <a:cubicBezTo>
                    <a:pt x="325" y="154"/>
                    <a:pt x="285" y="143"/>
                    <a:pt x="285" y="143"/>
                  </a:cubicBezTo>
                  <a:cubicBezTo>
                    <a:pt x="279" y="130"/>
                    <a:pt x="279" y="130"/>
                    <a:pt x="279" y="130"/>
                  </a:cubicBezTo>
                  <a:cubicBezTo>
                    <a:pt x="265" y="131"/>
                    <a:pt x="265" y="131"/>
                    <a:pt x="265" y="131"/>
                  </a:cubicBezTo>
                  <a:cubicBezTo>
                    <a:pt x="267" y="136"/>
                    <a:pt x="270" y="143"/>
                    <a:pt x="272" y="153"/>
                  </a:cubicBezTo>
                  <a:cubicBezTo>
                    <a:pt x="276" y="171"/>
                    <a:pt x="290" y="171"/>
                    <a:pt x="290" y="171"/>
                  </a:cubicBezTo>
                  <a:cubicBezTo>
                    <a:pt x="279" y="178"/>
                    <a:pt x="279" y="178"/>
                    <a:pt x="279" y="178"/>
                  </a:cubicBezTo>
                  <a:cubicBezTo>
                    <a:pt x="279" y="178"/>
                    <a:pt x="262" y="147"/>
                    <a:pt x="258" y="143"/>
                  </a:cubicBezTo>
                  <a:cubicBezTo>
                    <a:pt x="254" y="140"/>
                    <a:pt x="250" y="104"/>
                    <a:pt x="242" y="83"/>
                  </a:cubicBezTo>
                  <a:cubicBezTo>
                    <a:pt x="239" y="76"/>
                    <a:pt x="239" y="76"/>
                    <a:pt x="239" y="76"/>
                  </a:cubicBezTo>
                  <a:cubicBezTo>
                    <a:pt x="239" y="75"/>
                    <a:pt x="239" y="75"/>
                    <a:pt x="239" y="75"/>
                  </a:cubicBezTo>
                  <a:cubicBezTo>
                    <a:pt x="229" y="55"/>
                    <a:pt x="184" y="19"/>
                    <a:pt x="184" y="19"/>
                  </a:cubicBezTo>
                  <a:cubicBezTo>
                    <a:pt x="185" y="0"/>
                    <a:pt x="185" y="0"/>
                    <a:pt x="185" y="0"/>
                  </a:cubicBezTo>
                  <a:cubicBezTo>
                    <a:pt x="162" y="28"/>
                    <a:pt x="162" y="28"/>
                    <a:pt x="162" y="28"/>
                  </a:cubicBezTo>
                  <a:cubicBezTo>
                    <a:pt x="162" y="28"/>
                    <a:pt x="164" y="82"/>
                    <a:pt x="159" y="107"/>
                  </a:cubicBezTo>
                  <a:cubicBezTo>
                    <a:pt x="155" y="130"/>
                    <a:pt x="136" y="279"/>
                    <a:pt x="133" y="309"/>
                  </a:cubicBezTo>
                  <a:cubicBezTo>
                    <a:pt x="136" y="291"/>
                    <a:pt x="155" y="262"/>
                    <a:pt x="155" y="262"/>
                  </a:cubicBezTo>
                  <a:cubicBezTo>
                    <a:pt x="155" y="262"/>
                    <a:pt x="187" y="292"/>
                    <a:pt x="180" y="304"/>
                  </a:cubicBezTo>
                  <a:cubicBezTo>
                    <a:pt x="173" y="316"/>
                    <a:pt x="147" y="302"/>
                    <a:pt x="147" y="302"/>
                  </a:cubicBezTo>
                  <a:cubicBezTo>
                    <a:pt x="145" y="322"/>
                    <a:pt x="131" y="339"/>
                    <a:pt x="131" y="339"/>
                  </a:cubicBezTo>
                  <a:cubicBezTo>
                    <a:pt x="131" y="339"/>
                    <a:pt x="115" y="435"/>
                    <a:pt x="93" y="567"/>
                  </a:cubicBezTo>
                  <a:cubicBezTo>
                    <a:pt x="71" y="699"/>
                    <a:pt x="23" y="730"/>
                    <a:pt x="23" y="730"/>
                  </a:cubicBezTo>
                  <a:cubicBezTo>
                    <a:pt x="0" y="733"/>
                    <a:pt x="0" y="733"/>
                    <a:pt x="0" y="733"/>
                  </a:cubicBezTo>
                  <a:cubicBezTo>
                    <a:pt x="13" y="763"/>
                    <a:pt x="13" y="763"/>
                    <a:pt x="13" y="763"/>
                  </a:cubicBezTo>
                  <a:cubicBezTo>
                    <a:pt x="34" y="764"/>
                    <a:pt x="34" y="764"/>
                    <a:pt x="34" y="764"/>
                  </a:cubicBezTo>
                  <a:cubicBezTo>
                    <a:pt x="34" y="764"/>
                    <a:pt x="37" y="773"/>
                    <a:pt x="42" y="779"/>
                  </a:cubicBezTo>
                  <a:cubicBezTo>
                    <a:pt x="47" y="785"/>
                    <a:pt x="48" y="774"/>
                    <a:pt x="56" y="771"/>
                  </a:cubicBezTo>
                  <a:cubicBezTo>
                    <a:pt x="64" y="768"/>
                    <a:pt x="74" y="776"/>
                    <a:pt x="86" y="787"/>
                  </a:cubicBezTo>
                  <a:cubicBezTo>
                    <a:pt x="98" y="798"/>
                    <a:pt x="71" y="830"/>
                    <a:pt x="69" y="843"/>
                  </a:cubicBezTo>
                  <a:cubicBezTo>
                    <a:pt x="67" y="856"/>
                    <a:pt x="92" y="859"/>
                    <a:pt x="92" y="859"/>
                  </a:cubicBezTo>
                  <a:cubicBezTo>
                    <a:pt x="92" y="859"/>
                    <a:pt x="100" y="831"/>
                    <a:pt x="110" y="831"/>
                  </a:cubicBezTo>
                  <a:cubicBezTo>
                    <a:pt x="120" y="831"/>
                    <a:pt x="107" y="846"/>
                    <a:pt x="107" y="846"/>
                  </a:cubicBezTo>
                  <a:cubicBezTo>
                    <a:pt x="136" y="857"/>
                    <a:pt x="136" y="857"/>
                    <a:pt x="136" y="857"/>
                  </a:cubicBezTo>
                  <a:cubicBezTo>
                    <a:pt x="142" y="869"/>
                    <a:pt x="142" y="869"/>
                    <a:pt x="142" y="869"/>
                  </a:cubicBezTo>
                  <a:cubicBezTo>
                    <a:pt x="149" y="864"/>
                    <a:pt x="149" y="864"/>
                    <a:pt x="149" y="864"/>
                  </a:cubicBezTo>
                  <a:cubicBezTo>
                    <a:pt x="182" y="884"/>
                    <a:pt x="182" y="884"/>
                    <a:pt x="182" y="884"/>
                  </a:cubicBezTo>
                  <a:cubicBezTo>
                    <a:pt x="228" y="882"/>
                    <a:pt x="228" y="882"/>
                    <a:pt x="228" y="882"/>
                  </a:cubicBezTo>
                  <a:cubicBezTo>
                    <a:pt x="228" y="882"/>
                    <a:pt x="230" y="909"/>
                    <a:pt x="239" y="912"/>
                  </a:cubicBezTo>
                  <a:cubicBezTo>
                    <a:pt x="248" y="915"/>
                    <a:pt x="277" y="946"/>
                    <a:pt x="277" y="946"/>
                  </a:cubicBezTo>
                  <a:cubicBezTo>
                    <a:pt x="293" y="936"/>
                    <a:pt x="293" y="943"/>
                    <a:pt x="293" y="943"/>
                  </a:cubicBezTo>
                  <a:cubicBezTo>
                    <a:pt x="293" y="943"/>
                    <a:pt x="309" y="946"/>
                    <a:pt x="306" y="942"/>
                  </a:cubicBezTo>
                  <a:cubicBezTo>
                    <a:pt x="307" y="941"/>
                    <a:pt x="308" y="940"/>
                    <a:pt x="310" y="940"/>
                  </a:cubicBezTo>
                  <a:cubicBezTo>
                    <a:pt x="310" y="936"/>
                    <a:pt x="309" y="934"/>
                    <a:pt x="309" y="934"/>
                  </a:cubicBezTo>
                  <a:lnTo>
                    <a:pt x="331" y="869"/>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10" name="Rhône-Alpes" descr="© INSCALE GmbH, 05.05.2010&#10;http://www.presentationload.com/">
              <a:extLst>
                <a:ext uri="{FF2B5EF4-FFF2-40B4-BE49-F238E27FC236}">
                  <a16:creationId xmlns:a16="http://schemas.microsoft.com/office/drawing/2014/main" id="{C96232F3-AA0D-4686-B8F3-177F16EC3D67}"/>
                </a:ext>
              </a:extLst>
            </p:cNvPr>
            <p:cNvSpPr>
              <a:spLocks/>
            </p:cNvSpPr>
            <p:nvPr/>
          </p:nvSpPr>
          <p:spPr bwMode="gray">
            <a:xfrm>
              <a:off x="2094" y="1710"/>
              <a:ext cx="833" cy="840"/>
            </a:xfrm>
            <a:custGeom>
              <a:avLst/>
              <a:gdLst/>
              <a:ahLst/>
              <a:cxnLst>
                <a:cxn ang="0">
                  <a:pos x="92" y="696"/>
                </a:cxn>
                <a:cxn ang="0">
                  <a:pos x="136" y="744"/>
                </a:cxn>
                <a:cxn ang="0">
                  <a:pos x="170" y="728"/>
                </a:cxn>
                <a:cxn ang="0">
                  <a:pos x="228" y="735"/>
                </a:cxn>
                <a:cxn ang="0">
                  <a:pos x="318" y="724"/>
                </a:cxn>
                <a:cxn ang="0">
                  <a:pos x="341" y="746"/>
                </a:cxn>
                <a:cxn ang="0">
                  <a:pos x="386" y="752"/>
                </a:cxn>
                <a:cxn ang="0">
                  <a:pos x="416" y="778"/>
                </a:cxn>
                <a:cxn ang="0">
                  <a:pos x="462" y="752"/>
                </a:cxn>
                <a:cxn ang="0">
                  <a:pos x="414" y="708"/>
                </a:cxn>
                <a:cxn ang="0">
                  <a:pos x="406" y="670"/>
                </a:cxn>
                <a:cxn ang="0">
                  <a:pos x="453" y="650"/>
                </a:cxn>
                <a:cxn ang="0">
                  <a:pos x="486" y="590"/>
                </a:cxn>
                <a:cxn ang="0">
                  <a:pos x="541" y="546"/>
                </a:cxn>
                <a:cxn ang="0">
                  <a:pos x="572" y="487"/>
                </a:cxn>
                <a:cxn ang="0">
                  <a:pos x="604" y="452"/>
                </a:cxn>
                <a:cxn ang="0">
                  <a:pos x="632" y="458"/>
                </a:cxn>
                <a:cxn ang="0">
                  <a:pos x="685" y="426"/>
                </a:cxn>
                <a:cxn ang="0">
                  <a:pos x="772" y="342"/>
                </a:cxn>
                <a:cxn ang="0">
                  <a:pos x="686" y="232"/>
                </a:cxn>
                <a:cxn ang="0">
                  <a:pos x="706" y="121"/>
                </a:cxn>
                <a:cxn ang="0">
                  <a:pos x="684" y="108"/>
                </a:cxn>
                <a:cxn ang="0">
                  <a:pos x="670" y="33"/>
                </a:cxn>
                <a:cxn ang="0">
                  <a:pos x="611" y="0"/>
                </a:cxn>
                <a:cxn ang="0">
                  <a:pos x="560" y="31"/>
                </a:cxn>
                <a:cxn ang="0">
                  <a:pos x="569" y="68"/>
                </a:cxn>
                <a:cxn ang="0">
                  <a:pos x="517" y="99"/>
                </a:cxn>
                <a:cxn ang="0">
                  <a:pos x="512" y="67"/>
                </a:cxn>
                <a:cxn ang="0">
                  <a:pos x="534" y="29"/>
                </a:cxn>
                <a:cxn ang="0">
                  <a:pos x="441" y="74"/>
                </a:cxn>
                <a:cxn ang="0">
                  <a:pos x="388" y="79"/>
                </a:cxn>
                <a:cxn ang="0">
                  <a:pos x="350" y="50"/>
                </a:cxn>
                <a:cxn ang="0">
                  <a:pos x="326" y="16"/>
                </a:cxn>
                <a:cxn ang="0">
                  <a:pos x="237" y="126"/>
                </a:cxn>
                <a:cxn ang="0">
                  <a:pos x="217" y="100"/>
                </a:cxn>
                <a:cxn ang="0">
                  <a:pos x="188" y="88"/>
                </a:cxn>
                <a:cxn ang="0">
                  <a:pos x="152" y="88"/>
                </a:cxn>
                <a:cxn ang="0">
                  <a:pos x="125" y="136"/>
                </a:cxn>
                <a:cxn ang="0">
                  <a:pos x="86" y="126"/>
                </a:cxn>
                <a:cxn ang="0">
                  <a:pos x="42" y="119"/>
                </a:cxn>
                <a:cxn ang="0">
                  <a:pos x="21" y="124"/>
                </a:cxn>
                <a:cxn ang="0">
                  <a:pos x="25" y="187"/>
                </a:cxn>
                <a:cxn ang="0">
                  <a:pos x="12" y="224"/>
                </a:cxn>
                <a:cxn ang="0">
                  <a:pos x="29" y="311"/>
                </a:cxn>
                <a:cxn ang="0">
                  <a:pos x="50" y="403"/>
                </a:cxn>
                <a:cxn ang="0">
                  <a:pos x="72" y="396"/>
                </a:cxn>
                <a:cxn ang="0">
                  <a:pos x="90" y="390"/>
                </a:cxn>
                <a:cxn ang="0">
                  <a:pos x="150" y="406"/>
                </a:cxn>
                <a:cxn ang="0">
                  <a:pos x="171" y="469"/>
                </a:cxn>
                <a:cxn ang="0">
                  <a:pos x="157" y="458"/>
                </a:cxn>
                <a:cxn ang="0">
                  <a:pos x="157" y="495"/>
                </a:cxn>
                <a:cxn ang="0">
                  <a:pos x="122" y="519"/>
                </a:cxn>
                <a:cxn ang="0">
                  <a:pos x="81" y="554"/>
                </a:cxn>
                <a:cxn ang="0">
                  <a:pos x="41" y="588"/>
                </a:cxn>
              </a:cxnLst>
              <a:rect l="0" t="0" r="r" b="b"/>
              <a:pathLst>
                <a:path w="772" h="778">
                  <a:moveTo>
                    <a:pt x="68" y="647"/>
                  </a:moveTo>
                  <a:cubicBezTo>
                    <a:pt x="72" y="678"/>
                    <a:pt x="72" y="678"/>
                    <a:pt x="72" y="678"/>
                  </a:cubicBezTo>
                  <a:cubicBezTo>
                    <a:pt x="92" y="696"/>
                    <a:pt x="92" y="696"/>
                    <a:pt x="92" y="696"/>
                  </a:cubicBezTo>
                  <a:cubicBezTo>
                    <a:pt x="85" y="727"/>
                    <a:pt x="85" y="727"/>
                    <a:pt x="85" y="727"/>
                  </a:cubicBezTo>
                  <a:cubicBezTo>
                    <a:pt x="104" y="716"/>
                    <a:pt x="104" y="716"/>
                    <a:pt x="104" y="716"/>
                  </a:cubicBezTo>
                  <a:cubicBezTo>
                    <a:pt x="136" y="744"/>
                    <a:pt x="136" y="744"/>
                    <a:pt x="136" y="744"/>
                  </a:cubicBezTo>
                  <a:cubicBezTo>
                    <a:pt x="156" y="714"/>
                    <a:pt x="156" y="714"/>
                    <a:pt x="156" y="714"/>
                  </a:cubicBezTo>
                  <a:cubicBezTo>
                    <a:pt x="170" y="714"/>
                    <a:pt x="170" y="714"/>
                    <a:pt x="170" y="714"/>
                  </a:cubicBezTo>
                  <a:cubicBezTo>
                    <a:pt x="170" y="728"/>
                    <a:pt x="170" y="728"/>
                    <a:pt x="170" y="728"/>
                  </a:cubicBezTo>
                  <a:cubicBezTo>
                    <a:pt x="177" y="728"/>
                    <a:pt x="177" y="728"/>
                    <a:pt x="177" y="728"/>
                  </a:cubicBezTo>
                  <a:cubicBezTo>
                    <a:pt x="185" y="716"/>
                    <a:pt x="185" y="716"/>
                    <a:pt x="185" y="716"/>
                  </a:cubicBezTo>
                  <a:cubicBezTo>
                    <a:pt x="228" y="735"/>
                    <a:pt x="228" y="735"/>
                    <a:pt x="228" y="735"/>
                  </a:cubicBezTo>
                  <a:cubicBezTo>
                    <a:pt x="228" y="720"/>
                    <a:pt x="228" y="720"/>
                    <a:pt x="228" y="720"/>
                  </a:cubicBezTo>
                  <a:cubicBezTo>
                    <a:pt x="228" y="720"/>
                    <a:pt x="262" y="712"/>
                    <a:pt x="264" y="748"/>
                  </a:cubicBezTo>
                  <a:cubicBezTo>
                    <a:pt x="318" y="724"/>
                    <a:pt x="318" y="724"/>
                    <a:pt x="318" y="724"/>
                  </a:cubicBezTo>
                  <a:cubicBezTo>
                    <a:pt x="329" y="728"/>
                    <a:pt x="329" y="728"/>
                    <a:pt x="329" y="728"/>
                  </a:cubicBezTo>
                  <a:cubicBezTo>
                    <a:pt x="341" y="722"/>
                    <a:pt x="341" y="722"/>
                    <a:pt x="341" y="722"/>
                  </a:cubicBezTo>
                  <a:cubicBezTo>
                    <a:pt x="341" y="746"/>
                    <a:pt x="341" y="746"/>
                    <a:pt x="341" y="746"/>
                  </a:cubicBezTo>
                  <a:cubicBezTo>
                    <a:pt x="366" y="754"/>
                    <a:pt x="366" y="754"/>
                    <a:pt x="366" y="754"/>
                  </a:cubicBezTo>
                  <a:cubicBezTo>
                    <a:pt x="365" y="747"/>
                    <a:pt x="365" y="747"/>
                    <a:pt x="365" y="747"/>
                  </a:cubicBezTo>
                  <a:cubicBezTo>
                    <a:pt x="386" y="752"/>
                    <a:pt x="386" y="752"/>
                    <a:pt x="386" y="752"/>
                  </a:cubicBezTo>
                  <a:cubicBezTo>
                    <a:pt x="386" y="752"/>
                    <a:pt x="393" y="756"/>
                    <a:pt x="393" y="766"/>
                  </a:cubicBezTo>
                  <a:cubicBezTo>
                    <a:pt x="393" y="775"/>
                    <a:pt x="406" y="771"/>
                    <a:pt x="406" y="771"/>
                  </a:cubicBezTo>
                  <a:cubicBezTo>
                    <a:pt x="416" y="778"/>
                    <a:pt x="416" y="778"/>
                    <a:pt x="416" y="778"/>
                  </a:cubicBezTo>
                  <a:cubicBezTo>
                    <a:pt x="436" y="766"/>
                    <a:pt x="436" y="766"/>
                    <a:pt x="436" y="766"/>
                  </a:cubicBezTo>
                  <a:cubicBezTo>
                    <a:pt x="436" y="766"/>
                    <a:pt x="426" y="755"/>
                    <a:pt x="450" y="763"/>
                  </a:cubicBezTo>
                  <a:cubicBezTo>
                    <a:pt x="448" y="766"/>
                    <a:pt x="462" y="752"/>
                    <a:pt x="462" y="752"/>
                  </a:cubicBezTo>
                  <a:cubicBezTo>
                    <a:pt x="462" y="730"/>
                    <a:pt x="462" y="730"/>
                    <a:pt x="462" y="730"/>
                  </a:cubicBezTo>
                  <a:cubicBezTo>
                    <a:pt x="445" y="710"/>
                    <a:pt x="445" y="710"/>
                    <a:pt x="445" y="710"/>
                  </a:cubicBezTo>
                  <a:cubicBezTo>
                    <a:pt x="414" y="708"/>
                    <a:pt x="414" y="708"/>
                    <a:pt x="414" y="708"/>
                  </a:cubicBezTo>
                  <a:cubicBezTo>
                    <a:pt x="398" y="683"/>
                    <a:pt x="398" y="683"/>
                    <a:pt x="398" y="683"/>
                  </a:cubicBezTo>
                  <a:cubicBezTo>
                    <a:pt x="414" y="682"/>
                    <a:pt x="414" y="682"/>
                    <a:pt x="414" y="682"/>
                  </a:cubicBezTo>
                  <a:cubicBezTo>
                    <a:pt x="406" y="670"/>
                    <a:pt x="406" y="670"/>
                    <a:pt x="406" y="670"/>
                  </a:cubicBezTo>
                  <a:cubicBezTo>
                    <a:pt x="409" y="658"/>
                    <a:pt x="409" y="658"/>
                    <a:pt x="409" y="658"/>
                  </a:cubicBezTo>
                  <a:cubicBezTo>
                    <a:pt x="438" y="662"/>
                    <a:pt x="438" y="662"/>
                    <a:pt x="438" y="662"/>
                  </a:cubicBezTo>
                  <a:cubicBezTo>
                    <a:pt x="453" y="650"/>
                    <a:pt x="453" y="650"/>
                    <a:pt x="453" y="650"/>
                  </a:cubicBezTo>
                  <a:cubicBezTo>
                    <a:pt x="436" y="640"/>
                    <a:pt x="436" y="640"/>
                    <a:pt x="436" y="640"/>
                  </a:cubicBezTo>
                  <a:cubicBezTo>
                    <a:pt x="449" y="614"/>
                    <a:pt x="449" y="614"/>
                    <a:pt x="449" y="614"/>
                  </a:cubicBezTo>
                  <a:cubicBezTo>
                    <a:pt x="449" y="614"/>
                    <a:pt x="490" y="599"/>
                    <a:pt x="486" y="590"/>
                  </a:cubicBezTo>
                  <a:cubicBezTo>
                    <a:pt x="482" y="580"/>
                    <a:pt x="477" y="568"/>
                    <a:pt x="489" y="568"/>
                  </a:cubicBezTo>
                  <a:cubicBezTo>
                    <a:pt x="501" y="568"/>
                    <a:pt x="525" y="562"/>
                    <a:pt x="525" y="562"/>
                  </a:cubicBezTo>
                  <a:cubicBezTo>
                    <a:pt x="525" y="562"/>
                    <a:pt x="534" y="539"/>
                    <a:pt x="541" y="546"/>
                  </a:cubicBezTo>
                  <a:cubicBezTo>
                    <a:pt x="548" y="552"/>
                    <a:pt x="538" y="532"/>
                    <a:pt x="604" y="534"/>
                  </a:cubicBezTo>
                  <a:cubicBezTo>
                    <a:pt x="597" y="511"/>
                    <a:pt x="596" y="492"/>
                    <a:pt x="596" y="492"/>
                  </a:cubicBezTo>
                  <a:cubicBezTo>
                    <a:pt x="596" y="492"/>
                    <a:pt x="572" y="498"/>
                    <a:pt x="572" y="487"/>
                  </a:cubicBezTo>
                  <a:cubicBezTo>
                    <a:pt x="572" y="476"/>
                    <a:pt x="577" y="463"/>
                    <a:pt x="577" y="463"/>
                  </a:cubicBezTo>
                  <a:cubicBezTo>
                    <a:pt x="574" y="455"/>
                    <a:pt x="574" y="455"/>
                    <a:pt x="574" y="455"/>
                  </a:cubicBezTo>
                  <a:cubicBezTo>
                    <a:pt x="604" y="452"/>
                    <a:pt x="604" y="452"/>
                    <a:pt x="604" y="452"/>
                  </a:cubicBezTo>
                  <a:cubicBezTo>
                    <a:pt x="605" y="466"/>
                    <a:pt x="605" y="466"/>
                    <a:pt x="605" y="466"/>
                  </a:cubicBezTo>
                  <a:cubicBezTo>
                    <a:pt x="629" y="466"/>
                    <a:pt x="629" y="466"/>
                    <a:pt x="629" y="466"/>
                  </a:cubicBezTo>
                  <a:cubicBezTo>
                    <a:pt x="632" y="458"/>
                    <a:pt x="632" y="458"/>
                    <a:pt x="632" y="458"/>
                  </a:cubicBezTo>
                  <a:cubicBezTo>
                    <a:pt x="656" y="454"/>
                    <a:pt x="656" y="454"/>
                    <a:pt x="656" y="454"/>
                  </a:cubicBezTo>
                  <a:cubicBezTo>
                    <a:pt x="648" y="442"/>
                    <a:pt x="660" y="431"/>
                    <a:pt x="660" y="431"/>
                  </a:cubicBezTo>
                  <a:cubicBezTo>
                    <a:pt x="670" y="445"/>
                    <a:pt x="685" y="426"/>
                    <a:pt x="685" y="426"/>
                  </a:cubicBezTo>
                  <a:cubicBezTo>
                    <a:pt x="704" y="448"/>
                    <a:pt x="725" y="407"/>
                    <a:pt x="725" y="407"/>
                  </a:cubicBezTo>
                  <a:cubicBezTo>
                    <a:pt x="725" y="407"/>
                    <a:pt x="757" y="400"/>
                    <a:pt x="758" y="394"/>
                  </a:cubicBezTo>
                  <a:cubicBezTo>
                    <a:pt x="755" y="371"/>
                    <a:pt x="772" y="342"/>
                    <a:pt x="772" y="342"/>
                  </a:cubicBezTo>
                  <a:cubicBezTo>
                    <a:pt x="764" y="342"/>
                    <a:pt x="744" y="317"/>
                    <a:pt x="741" y="313"/>
                  </a:cubicBezTo>
                  <a:cubicBezTo>
                    <a:pt x="705" y="284"/>
                    <a:pt x="737" y="269"/>
                    <a:pt x="733" y="267"/>
                  </a:cubicBezTo>
                  <a:cubicBezTo>
                    <a:pt x="704" y="274"/>
                    <a:pt x="688" y="235"/>
                    <a:pt x="686" y="232"/>
                  </a:cubicBezTo>
                  <a:cubicBezTo>
                    <a:pt x="678" y="230"/>
                    <a:pt x="684" y="206"/>
                    <a:pt x="684" y="200"/>
                  </a:cubicBezTo>
                  <a:cubicBezTo>
                    <a:pt x="698" y="224"/>
                    <a:pt x="737" y="172"/>
                    <a:pt x="737" y="172"/>
                  </a:cubicBezTo>
                  <a:cubicBezTo>
                    <a:pt x="706" y="121"/>
                    <a:pt x="706" y="121"/>
                    <a:pt x="706" y="121"/>
                  </a:cubicBezTo>
                  <a:cubicBezTo>
                    <a:pt x="701" y="129"/>
                    <a:pt x="701" y="129"/>
                    <a:pt x="701" y="129"/>
                  </a:cubicBezTo>
                  <a:cubicBezTo>
                    <a:pt x="698" y="120"/>
                    <a:pt x="698" y="120"/>
                    <a:pt x="698" y="120"/>
                  </a:cubicBezTo>
                  <a:cubicBezTo>
                    <a:pt x="706" y="98"/>
                    <a:pt x="684" y="108"/>
                    <a:pt x="684" y="108"/>
                  </a:cubicBezTo>
                  <a:cubicBezTo>
                    <a:pt x="675" y="97"/>
                    <a:pt x="675" y="97"/>
                    <a:pt x="675" y="97"/>
                  </a:cubicBezTo>
                  <a:cubicBezTo>
                    <a:pt x="691" y="55"/>
                    <a:pt x="691" y="55"/>
                    <a:pt x="691" y="55"/>
                  </a:cubicBezTo>
                  <a:cubicBezTo>
                    <a:pt x="670" y="33"/>
                    <a:pt x="670" y="33"/>
                    <a:pt x="670" y="33"/>
                  </a:cubicBezTo>
                  <a:cubicBezTo>
                    <a:pt x="680" y="10"/>
                    <a:pt x="680" y="10"/>
                    <a:pt x="680" y="10"/>
                  </a:cubicBezTo>
                  <a:cubicBezTo>
                    <a:pt x="674" y="3"/>
                    <a:pt x="674" y="3"/>
                    <a:pt x="674" y="3"/>
                  </a:cubicBezTo>
                  <a:cubicBezTo>
                    <a:pt x="611" y="0"/>
                    <a:pt x="611" y="0"/>
                    <a:pt x="611" y="0"/>
                  </a:cubicBezTo>
                  <a:cubicBezTo>
                    <a:pt x="593" y="12"/>
                    <a:pt x="593" y="12"/>
                    <a:pt x="593" y="12"/>
                  </a:cubicBezTo>
                  <a:cubicBezTo>
                    <a:pt x="577" y="12"/>
                    <a:pt x="577" y="12"/>
                    <a:pt x="577" y="12"/>
                  </a:cubicBezTo>
                  <a:cubicBezTo>
                    <a:pt x="577" y="12"/>
                    <a:pt x="570" y="21"/>
                    <a:pt x="560" y="31"/>
                  </a:cubicBezTo>
                  <a:cubicBezTo>
                    <a:pt x="550" y="30"/>
                    <a:pt x="553" y="57"/>
                    <a:pt x="553" y="57"/>
                  </a:cubicBezTo>
                  <a:cubicBezTo>
                    <a:pt x="559" y="63"/>
                    <a:pt x="559" y="63"/>
                    <a:pt x="559" y="63"/>
                  </a:cubicBezTo>
                  <a:cubicBezTo>
                    <a:pt x="559" y="63"/>
                    <a:pt x="564" y="60"/>
                    <a:pt x="569" y="68"/>
                  </a:cubicBezTo>
                  <a:cubicBezTo>
                    <a:pt x="574" y="76"/>
                    <a:pt x="558" y="76"/>
                    <a:pt x="558" y="76"/>
                  </a:cubicBezTo>
                  <a:cubicBezTo>
                    <a:pt x="527" y="100"/>
                    <a:pt x="527" y="100"/>
                    <a:pt x="527" y="100"/>
                  </a:cubicBezTo>
                  <a:cubicBezTo>
                    <a:pt x="521" y="93"/>
                    <a:pt x="517" y="99"/>
                    <a:pt x="517" y="99"/>
                  </a:cubicBezTo>
                  <a:cubicBezTo>
                    <a:pt x="499" y="98"/>
                    <a:pt x="499" y="98"/>
                    <a:pt x="499" y="98"/>
                  </a:cubicBezTo>
                  <a:cubicBezTo>
                    <a:pt x="497" y="82"/>
                    <a:pt x="497" y="82"/>
                    <a:pt x="497" y="82"/>
                  </a:cubicBezTo>
                  <a:cubicBezTo>
                    <a:pt x="512" y="67"/>
                    <a:pt x="512" y="67"/>
                    <a:pt x="512" y="67"/>
                  </a:cubicBezTo>
                  <a:cubicBezTo>
                    <a:pt x="525" y="66"/>
                    <a:pt x="525" y="66"/>
                    <a:pt x="525" y="66"/>
                  </a:cubicBezTo>
                  <a:cubicBezTo>
                    <a:pt x="525" y="48"/>
                    <a:pt x="525" y="48"/>
                    <a:pt x="525" y="48"/>
                  </a:cubicBezTo>
                  <a:cubicBezTo>
                    <a:pt x="534" y="41"/>
                    <a:pt x="535" y="34"/>
                    <a:pt x="534" y="29"/>
                  </a:cubicBezTo>
                  <a:cubicBezTo>
                    <a:pt x="477" y="88"/>
                    <a:pt x="477" y="88"/>
                    <a:pt x="477" y="88"/>
                  </a:cubicBezTo>
                  <a:cubicBezTo>
                    <a:pt x="445" y="90"/>
                    <a:pt x="445" y="90"/>
                    <a:pt x="445" y="90"/>
                  </a:cubicBezTo>
                  <a:cubicBezTo>
                    <a:pt x="441" y="74"/>
                    <a:pt x="441" y="74"/>
                    <a:pt x="441" y="74"/>
                  </a:cubicBezTo>
                  <a:cubicBezTo>
                    <a:pt x="441" y="74"/>
                    <a:pt x="421" y="71"/>
                    <a:pt x="425" y="64"/>
                  </a:cubicBezTo>
                  <a:cubicBezTo>
                    <a:pt x="408" y="103"/>
                    <a:pt x="385" y="92"/>
                    <a:pt x="385" y="92"/>
                  </a:cubicBezTo>
                  <a:cubicBezTo>
                    <a:pt x="388" y="79"/>
                    <a:pt x="388" y="79"/>
                    <a:pt x="388" y="79"/>
                  </a:cubicBezTo>
                  <a:cubicBezTo>
                    <a:pt x="364" y="68"/>
                    <a:pt x="364" y="68"/>
                    <a:pt x="364" y="68"/>
                  </a:cubicBezTo>
                  <a:cubicBezTo>
                    <a:pt x="364" y="55"/>
                    <a:pt x="364" y="55"/>
                    <a:pt x="364" y="55"/>
                  </a:cubicBezTo>
                  <a:cubicBezTo>
                    <a:pt x="350" y="50"/>
                    <a:pt x="350" y="50"/>
                    <a:pt x="350" y="50"/>
                  </a:cubicBezTo>
                  <a:cubicBezTo>
                    <a:pt x="352" y="36"/>
                    <a:pt x="352" y="36"/>
                    <a:pt x="352" y="36"/>
                  </a:cubicBezTo>
                  <a:cubicBezTo>
                    <a:pt x="344" y="35"/>
                    <a:pt x="336" y="34"/>
                    <a:pt x="334" y="34"/>
                  </a:cubicBezTo>
                  <a:cubicBezTo>
                    <a:pt x="330" y="34"/>
                    <a:pt x="329" y="22"/>
                    <a:pt x="326" y="16"/>
                  </a:cubicBezTo>
                  <a:cubicBezTo>
                    <a:pt x="324" y="11"/>
                    <a:pt x="309" y="24"/>
                    <a:pt x="296" y="24"/>
                  </a:cubicBezTo>
                  <a:cubicBezTo>
                    <a:pt x="282" y="24"/>
                    <a:pt x="265" y="18"/>
                    <a:pt x="265" y="18"/>
                  </a:cubicBezTo>
                  <a:cubicBezTo>
                    <a:pt x="237" y="126"/>
                    <a:pt x="237" y="126"/>
                    <a:pt x="237" y="126"/>
                  </a:cubicBezTo>
                  <a:cubicBezTo>
                    <a:pt x="226" y="124"/>
                    <a:pt x="226" y="124"/>
                    <a:pt x="226" y="124"/>
                  </a:cubicBezTo>
                  <a:cubicBezTo>
                    <a:pt x="225" y="108"/>
                    <a:pt x="225" y="108"/>
                    <a:pt x="225" y="108"/>
                  </a:cubicBezTo>
                  <a:cubicBezTo>
                    <a:pt x="217" y="100"/>
                    <a:pt x="217" y="100"/>
                    <a:pt x="217" y="100"/>
                  </a:cubicBezTo>
                  <a:cubicBezTo>
                    <a:pt x="217" y="100"/>
                    <a:pt x="218" y="90"/>
                    <a:pt x="208" y="86"/>
                  </a:cubicBezTo>
                  <a:cubicBezTo>
                    <a:pt x="197" y="82"/>
                    <a:pt x="198" y="98"/>
                    <a:pt x="193" y="98"/>
                  </a:cubicBezTo>
                  <a:cubicBezTo>
                    <a:pt x="188" y="98"/>
                    <a:pt x="188" y="88"/>
                    <a:pt x="188" y="88"/>
                  </a:cubicBezTo>
                  <a:cubicBezTo>
                    <a:pt x="173" y="100"/>
                    <a:pt x="173" y="100"/>
                    <a:pt x="173" y="100"/>
                  </a:cubicBezTo>
                  <a:cubicBezTo>
                    <a:pt x="164" y="87"/>
                    <a:pt x="164" y="87"/>
                    <a:pt x="164" y="87"/>
                  </a:cubicBezTo>
                  <a:cubicBezTo>
                    <a:pt x="152" y="88"/>
                    <a:pt x="152" y="88"/>
                    <a:pt x="152" y="88"/>
                  </a:cubicBezTo>
                  <a:cubicBezTo>
                    <a:pt x="148" y="127"/>
                    <a:pt x="148" y="127"/>
                    <a:pt x="148" y="127"/>
                  </a:cubicBezTo>
                  <a:cubicBezTo>
                    <a:pt x="148" y="127"/>
                    <a:pt x="137" y="128"/>
                    <a:pt x="132" y="128"/>
                  </a:cubicBezTo>
                  <a:cubicBezTo>
                    <a:pt x="126" y="128"/>
                    <a:pt x="132" y="135"/>
                    <a:pt x="125" y="136"/>
                  </a:cubicBezTo>
                  <a:cubicBezTo>
                    <a:pt x="120" y="137"/>
                    <a:pt x="113" y="129"/>
                    <a:pt x="110" y="125"/>
                  </a:cubicBezTo>
                  <a:cubicBezTo>
                    <a:pt x="111" y="127"/>
                    <a:pt x="111" y="129"/>
                    <a:pt x="101" y="128"/>
                  </a:cubicBezTo>
                  <a:cubicBezTo>
                    <a:pt x="86" y="127"/>
                    <a:pt x="86" y="126"/>
                    <a:pt x="86" y="126"/>
                  </a:cubicBezTo>
                  <a:cubicBezTo>
                    <a:pt x="62" y="132"/>
                    <a:pt x="62" y="132"/>
                    <a:pt x="62" y="132"/>
                  </a:cubicBezTo>
                  <a:cubicBezTo>
                    <a:pt x="56" y="119"/>
                    <a:pt x="56" y="119"/>
                    <a:pt x="56" y="119"/>
                  </a:cubicBezTo>
                  <a:cubicBezTo>
                    <a:pt x="42" y="119"/>
                    <a:pt x="42" y="119"/>
                    <a:pt x="42" y="119"/>
                  </a:cubicBezTo>
                  <a:cubicBezTo>
                    <a:pt x="41" y="100"/>
                    <a:pt x="41" y="100"/>
                    <a:pt x="41" y="100"/>
                  </a:cubicBezTo>
                  <a:cubicBezTo>
                    <a:pt x="16" y="111"/>
                    <a:pt x="16" y="111"/>
                    <a:pt x="16" y="111"/>
                  </a:cubicBezTo>
                  <a:cubicBezTo>
                    <a:pt x="21" y="124"/>
                    <a:pt x="21" y="124"/>
                    <a:pt x="21" y="124"/>
                  </a:cubicBezTo>
                  <a:cubicBezTo>
                    <a:pt x="17" y="139"/>
                    <a:pt x="17" y="139"/>
                    <a:pt x="17" y="139"/>
                  </a:cubicBezTo>
                  <a:cubicBezTo>
                    <a:pt x="24" y="152"/>
                    <a:pt x="24" y="152"/>
                    <a:pt x="24" y="152"/>
                  </a:cubicBezTo>
                  <a:cubicBezTo>
                    <a:pt x="25" y="187"/>
                    <a:pt x="25" y="187"/>
                    <a:pt x="25" y="187"/>
                  </a:cubicBezTo>
                  <a:cubicBezTo>
                    <a:pt x="0" y="196"/>
                    <a:pt x="0" y="196"/>
                    <a:pt x="0" y="196"/>
                  </a:cubicBezTo>
                  <a:cubicBezTo>
                    <a:pt x="0" y="208"/>
                    <a:pt x="0" y="208"/>
                    <a:pt x="0" y="208"/>
                  </a:cubicBezTo>
                  <a:cubicBezTo>
                    <a:pt x="12" y="224"/>
                    <a:pt x="12" y="224"/>
                    <a:pt x="12" y="224"/>
                  </a:cubicBezTo>
                  <a:cubicBezTo>
                    <a:pt x="4" y="227"/>
                    <a:pt x="4" y="227"/>
                    <a:pt x="4" y="227"/>
                  </a:cubicBezTo>
                  <a:cubicBezTo>
                    <a:pt x="2" y="255"/>
                    <a:pt x="2" y="255"/>
                    <a:pt x="2" y="255"/>
                  </a:cubicBezTo>
                  <a:cubicBezTo>
                    <a:pt x="2" y="255"/>
                    <a:pt x="25" y="291"/>
                    <a:pt x="29" y="311"/>
                  </a:cubicBezTo>
                  <a:cubicBezTo>
                    <a:pt x="34" y="311"/>
                    <a:pt x="74" y="347"/>
                    <a:pt x="62" y="367"/>
                  </a:cubicBezTo>
                  <a:cubicBezTo>
                    <a:pt x="60" y="374"/>
                    <a:pt x="46" y="380"/>
                    <a:pt x="46" y="380"/>
                  </a:cubicBezTo>
                  <a:cubicBezTo>
                    <a:pt x="50" y="403"/>
                    <a:pt x="50" y="403"/>
                    <a:pt x="50" y="403"/>
                  </a:cubicBezTo>
                  <a:cubicBezTo>
                    <a:pt x="56" y="384"/>
                    <a:pt x="56" y="384"/>
                    <a:pt x="56" y="384"/>
                  </a:cubicBezTo>
                  <a:cubicBezTo>
                    <a:pt x="68" y="384"/>
                    <a:pt x="68" y="384"/>
                    <a:pt x="68" y="384"/>
                  </a:cubicBezTo>
                  <a:cubicBezTo>
                    <a:pt x="72" y="396"/>
                    <a:pt x="72" y="396"/>
                    <a:pt x="72" y="396"/>
                  </a:cubicBezTo>
                  <a:cubicBezTo>
                    <a:pt x="82" y="391"/>
                    <a:pt x="82" y="391"/>
                    <a:pt x="82" y="391"/>
                  </a:cubicBezTo>
                  <a:cubicBezTo>
                    <a:pt x="88" y="398"/>
                    <a:pt x="88" y="398"/>
                    <a:pt x="88" y="398"/>
                  </a:cubicBezTo>
                  <a:cubicBezTo>
                    <a:pt x="90" y="390"/>
                    <a:pt x="90" y="390"/>
                    <a:pt x="90" y="390"/>
                  </a:cubicBezTo>
                  <a:cubicBezTo>
                    <a:pt x="90" y="390"/>
                    <a:pt x="120" y="375"/>
                    <a:pt x="126" y="384"/>
                  </a:cubicBezTo>
                  <a:cubicBezTo>
                    <a:pt x="133" y="394"/>
                    <a:pt x="158" y="391"/>
                    <a:pt x="145" y="402"/>
                  </a:cubicBezTo>
                  <a:cubicBezTo>
                    <a:pt x="150" y="406"/>
                    <a:pt x="150" y="406"/>
                    <a:pt x="150" y="406"/>
                  </a:cubicBezTo>
                  <a:cubicBezTo>
                    <a:pt x="157" y="424"/>
                    <a:pt x="157" y="424"/>
                    <a:pt x="157" y="424"/>
                  </a:cubicBezTo>
                  <a:cubicBezTo>
                    <a:pt x="157" y="424"/>
                    <a:pt x="188" y="403"/>
                    <a:pt x="174" y="452"/>
                  </a:cubicBezTo>
                  <a:cubicBezTo>
                    <a:pt x="170" y="464"/>
                    <a:pt x="170" y="468"/>
                    <a:pt x="171" y="469"/>
                  </a:cubicBezTo>
                  <a:cubicBezTo>
                    <a:pt x="172" y="470"/>
                    <a:pt x="172" y="470"/>
                    <a:pt x="172" y="470"/>
                  </a:cubicBezTo>
                  <a:cubicBezTo>
                    <a:pt x="172" y="470"/>
                    <a:pt x="171" y="470"/>
                    <a:pt x="171" y="469"/>
                  </a:cubicBezTo>
                  <a:cubicBezTo>
                    <a:pt x="157" y="458"/>
                    <a:pt x="157" y="458"/>
                    <a:pt x="157" y="458"/>
                  </a:cubicBezTo>
                  <a:cubicBezTo>
                    <a:pt x="160" y="470"/>
                    <a:pt x="160" y="470"/>
                    <a:pt x="160" y="470"/>
                  </a:cubicBezTo>
                  <a:cubicBezTo>
                    <a:pt x="160" y="470"/>
                    <a:pt x="150" y="475"/>
                    <a:pt x="150" y="479"/>
                  </a:cubicBezTo>
                  <a:cubicBezTo>
                    <a:pt x="150" y="483"/>
                    <a:pt x="157" y="495"/>
                    <a:pt x="157" y="495"/>
                  </a:cubicBezTo>
                  <a:cubicBezTo>
                    <a:pt x="142" y="495"/>
                    <a:pt x="142" y="495"/>
                    <a:pt x="142" y="495"/>
                  </a:cubicBezTo>
                  <a:cubicBezTo>
                    <a:pt x="142" y="515"/>
                    <a:pt x="142" y="515"/>
                    <a:pt x="142" y="515"/>
                  </a:cubicBezTo>
                  <a:cubicBezTo>
                    <a:pt x="122" y="519"/>
                    <a:pt x="122" y="519"/>
                    <a:pt x="122" y="519"/>
                  </a:cubicBezTo>
                  <a:cubicBezTo>
                    <a:pt x="110" y="547"/>
                    <a:pt x="110" y="547"/>
                    <a:pt x="110" y="547"/>
                  </a:cubicBezTo>
                  <a:cubicBezTo>
                    <a:pt x="82" y="548"/>
                    <a:pt x="82" y="548"/>
                    <a:pt x="82" y="548"/>
                  </a:cubicBezTo>
                  <a:cubicBezTo>
                    <a:pt x="81" y="554"/>
                    <a:pt x="81" y="554"/>
                    <a:pt x="81" y="554"/>
                  </a:cubicBezTo>
                  <a:cubicBezTo>
                    <a:pt x="62" y="563"/>
                    <a:pt x="62" y="563"/>
                    <a:pt x="62" y="563"/>
                  </a:cubicBezTo>
                  <a:cubicBezTo>
                    <a:pt x="62" y="579"/>
                    <a:pt x="62" y="579"/>
                    <a:pt x="62" y="579"/>
                  </a:cubicBezTo>
                  <a:cubicBezTo>
                    <a:pt x="41" y="588"/>
                    <a:pt x="41" y="588"/>
                    <a:pt x="41" y="588"/>
                  </a:cubicBezTo>
                  <a:cubicBezTo>
                    <a:pt x="54" y="640"/>
                    <a:pt x="54" y="640"/>
                    <a:pt x="54" y="640"/>
                  </a:cubicBezTo>
                  <a:lnTo>
                    <a:pt x="68" y="647"/>
                  </a:lnTo>
                  <a:close/>
                </a:path>
              </a:pathLst>
            </a:custGeom>
            <a:solidFill>
              <a:srgbClr val="F4F3F0"/>
            </a:solid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grpSp>
      <p:pic>
        <p:nvPicPr>
          <p:cNvPr id="59" name="Graphique 58" descr="Utilisateur">
            <a:extLst>
              <a:ext uri="{FF2B5EF4-FFF2-40B4-BE49-F238E27FC236}">
                <a16:creationId xmlns:a16="http://schemas.microsoft.com/office/drawing/2014/main" id="{BCF539CA-033C-4E53-AA11-C9F1D57FD99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62600" y="918286"/>
            <a:ext cx="343642" cy="343642"/>
          </a:xfrm>
          <a:prstGeom prst="rect">
            <a:avLst/>
          </a:prstGeom>
        </p:spPr>
      </p:pic>
      <p:pic>
        <p:nvPicPr>
          <p:cNvPr id="60" name="Graphique 59" descr="Enfants">
            <a:extLst>
              <a:ext uri="{FF2B5EF4-FFF2-40B4-BE49-F238E27FC236}">
                <a16:creationId xmlns:a16="http://schemas.microsoft.com/office/drawing/2014/main" id="{D039143E-4976-4C18-9C94-0BA53EE64FF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82720" y="929748"/>
            <a:ext cx="357605" cy="357605"/>
          </a:xfrm>
          <a:prstGeom prst="rect">
            <a:avLst/>
          </a:prstGeom>
        </p:spPr>
      </p:pic>
      <p:pic>
        <p:nvPicPr>
          <p:cNvPr id="61" name="Graphique 60" descr="Hôpital">
            <a:extLst>
              <a:ext uri="{FF2B5EF4-FFF2-40B4-BE49-F238E27FC236}">
                <a16:creationId xmlns:a16="http://schemas.microsoft.com/office/drawing/2014/main" id="{5A6293E0-A850-432A-AEC2-55244F91F50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01315" y="898323"/>
            <a:ext cx="377667" cy="377667"/>
          </a:xfrm>
          <a:prstGeom prst="rect">
            <a:avLst/>
          </a:prstGeom>
        </p:spPr>
      </p:pic>
      <p:sp>
        <p:nvSpPr>
          <p:cNvPr id="71" name="ZoneTexte 70">
            <a:extLst>
              <a:ext uri="{FF2B5EF4-FFF2-40B4-BE49-F238E27FC236}">
                <a16:creationId xmlns:a16="http://schemas.microsoft.com/office/drawing/2014/main" id="{95275340-2C5E-4AB7-8968-428537133200}"/>
              </a:ext>
            </a:extLst>
          </p:cNvPr>
          <p:cNvSpPr txBox="1"/>
          <p:nvPr/>
        </p:nvSpPr>
        <p:spPr>
          <a:xfrm>
            <a:off x="3506076" y="959276"/>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ublic cible</a:t>
            </a:r>
          </a:p>
          <a:p>
            <a:pPr marL="171450" indent="-171450">
              <a:buFontTx/>
              <a:buChar char="-"/>
            </a:pPr>
            <a:endParaRPr lang="fr-FR" sz="1200">
              <a:solidFill>
                <a:srgbClr val="5F5F5F"/>
              </a:solidFill>
              <a:latin typeface="Tahoma"/>
            </a:endParaRPr>
          </a:p>
        </p:txBody>
      </p:sp>
      <p:sp>
        <p:nvSpPr>
          <p:cNvPr id="72" name="Rectangle 71">
            <a:extLst>
              <a:ext uri="{FF2B5EF4-FFF2-40B4-BE49-F238E27FC236}">
                <a16:creationId xmlns:a16="http://schemas.microsoft.com/office/drawing/2014/main" id="{CF33C1E5-DDE1-4156-A8BA-4E287E034C81}"/>
              </a:ext>
            </a:extLst>
          </p:cNvPr>
          <p:cNvSpPr/>
          <p:nvPr/>
        </p:nvSpPr>
        <p:spPr>
          <a:xfrm>
            <a:off x="3041222" y="920243"/>
            <a:ext cx="2566378"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3" name="Rectangle 72">
            <a:extLst>
              <a:ext uri="{FF2B5EF4-FFF2-40B4-BE49-F238E27FC236}">
                <a16:creationId xmlns:a16="http://schemas.microsoft.com/office/drawing/2014/main" id="{E85DFD2B-8AE0-4AEF-971A-2B7DB41E3803}"/>
              </a:ext>
            </a:extLst>
          </p:cNvPr>
          <p:cNvSpPr/>
          <p:nvPr/>
        </p:nvSpPr>
        <p:spPr>
          <a:xfrm>
            <a:off x="8329059" y="918287"/>
            <a:ext cx="2630482" cy="1028237"/>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4" name="ZoneTexte 73">
            <a:extLst>
              <a:ext uri="{FF2B5EF4-FFF2-40B4-BE49-F238E27FC236}">
                <a16:creationId xmlns:a16="http://schemas.microsoft.com/office/drawing/2014/main" id="{77576367-5766-4A85-8CC6-3A325240D7B8}"/>
              </a:ext>
            </a:extLst>
          </p:cNvPr>
          <p:cNvSpPr txBox="1"/>
          <p:nvPr/>
        </p:nvSpPr>
        <p:spPr>
          <a:xfrm>
            <a:off x="8699428" y="963457"/>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ortage / gestion du projet </a:t>
            </a:r>
          </a:p>
          <a:p>
            <a:pPr marL="171450" indent="-171450">
              <a:buFontTx/>
              <a:buChar char="-"/>
            </a:pPr>
            <a:endParaRPr lang="fr-FR" sz="1200">
              <a:solidFill>
                <a:srgbClr val="5F5F5F"/>
              </a:solidFill>
              <a:latin typeface="Tahoma"/>
            </a:endParaRPr>
          </a:p>
        </p:txBody>
      </p:sp>
      <p:sp>
        <p:nvSpPr>
          <p:cNvPr id="76" name="Rectangle 75">
            <a:extLst>
              <a:ext uri="{FF2B5EF4-FFF2-40B4-BE49-F238E27FC236}">
                <a16:creationId xmlns:a16="http://schemas.microsoft.com/office/drawing/2014/main" id="{DEA056E4-366B-4B6E-AD2A-2A7DACC2777B}"/>
              </a:ext>
            </a:extLst>
          </p:cNvPr>
          <p:cNvSpPr/>
          <p:nvPr/>
        </p:nvSpPr>
        <p:spPr>
          <a:xfrm>
            <a:off x="5657842" y="920242"/>
            <a:ext cx="2630482" cy="1026282"/>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7" name="ZoneTexte 76">
            <a:extLst>
              <a:ext uri="{FF2B5EF4-FFF2-40B4-BE49-F238E27FC236}">
                <a16:creationId xmlns:a16="http://schemas.microsoft.com/office/drawing/2014/main" id="{9B3B4E4E-968C-4AC1-A916-2CB2CBC81062}"/>
              </a:ext>
            </a:extLst>
          </p:cNvPr>
          <p:cNvSpPr txBox="1"/>
          <p:nvPr/>
        </p:nvSpPr>
        <p:spPr>
          <a:xfrm>
            <a:off x="6045885" y="987123"/>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Typologie de structure</a:t>
            </a:r>
          </a:p>
          <a:p>
            <a:pPr marL="171450" indent="-171450">
              <a:buFontTx/>
              <a:buChar char="-"/>
            </a:pPr>
            <a:endParaRPr lang="fr-FR" sz="1200">
              <a:solidFill>
                <a:srgbClr val="5F5F5F"/>
              </a:solidFill>
              <a:latin typeface="Tahoma"/>
            </a:endParaRPr>
          </a:p>
        </p:txBody>
      </p:sp>
      <p:sp>
        <p:nvSpPr>
          <p:cNvPr id="78" name="ZoneTexte 77">
            <a:extLst>
              <a:ext uri="{FF2B5EF4-FFF2-40B4-BE49-F238E27FC236}">
                <a16:creationId xmlns:a16="http://schemas.microsoft.com/office/drawing/2014/main" id="{96B574C6-E211-4064-9944-5448EE32BE54}"/>
              </a:ext>
            </a:extLst>
          </p:cNvPr>
          <p:cNvSpPr txBox="1"/>
          <p:nvPr/>
        </p:nvSpPr>
        <p:spPr>
          <a:xfrm>
            <a:off x="2992778" y="1229168"/>
            <a:ext cx="2660644" cy="738664"/>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pPr>
            <a:r>
              <a:rPr lang="fr-FR" sz="1050">
                <a:solidFill>
                  <a:srgbClr val="5F5F5F"/>
                </a:solidFill>
                <a:latin typeface="Tahoma"/>
              </a:rPr>
              <a:t>Personnes en situation de dépendance (âge et handicap) et leurs aidants </a:t>
            </a:r>
          </a:p>
          <a:p>
            <a:pPr marL="171450" indent="-171450">
              <a:buClr>
                <a:srgbClr val="503078"/>
              </a:buClr>
              <a:buFont typeface="Tahoma" panose="020B0604030504040204" pitchFamily="34" charset="0"/>
              <a:buChar char="⁄"/>
            </a:pPr>
            <a:r>
              <a:rPr lang="fr-FR" sz="1050">
                <a:solidFill>
                  <a:srgbClr val="5F5F5F"/>
                </a:solidFill>
                <a:latin typeface="Tahoma"/>
              </a:rPr>
              <a:t>Public individuel ou structures MS</a:t>
            </a:r>
          </a:p>
          <a:p>
            <a:pPr marL="171450" indent="-171450">
              <a:buClr>
                <a:srgbClr val="503078"/>
              </a:buClr>
              <a:buFont typeface="Tahoma" panose="020B0604030504040204" pitchFamily="34" charset="0"/>
              <a:buChar char="⁄"/>
            </a:pPr>
            <a:r>
              <a:rPr lang="fr-FR" sz="1050">
                <a:solidFill>
                  <a:srgbClr val="5F5F5F"/>
                </a:solidFill>
                <a:latin typeface="Tahoma"/>
              </a:rPr>
              <a:t>Public ordinaire </a:t>
            </a:r>
            <a:endParaRPr lang="fr-FR" sz="1600">
              <a:solidFill>
                <a:srgbClr val="5F5F5F"/>
              </a:solidFill>
              <a:latin typeface="Tahoma"/>
            </a:endParaRPr>
          </a:p>
        </p:txBody>
      </p:sp>
      <p:sp>
        <p:nvSpPr>
          <p:cNvPr id="79" name="ZoneTexte 78">
            <a:extLst>
              <a:ext uri="{FF2B5EF4-FFF2-40B4-BE49-F238E27FC236}">
                <a16:creationId xmlns:a16="http://schemas.microsoft.com/office/drawing/2014/main" id="{201EC015-8921-47D5-8EEB-4F8E037742E5}"/>
              </a:ext>
            </a:extLst>
          </p:cNvPr>
          <p:cNvSpPr txBox="1"/>
          <p:nvPr/>
        </p:nvSpPr>
        <p:spPr>
          <a:xfrm>
            <a:off x="5633852" y="1228238"/>
            <a:ext cx="2734774" cy="697948"/>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Etablissement de tourisme social (labellisé Tourisme &amp; Handicaps)</a:t>
            </a:r>
          </a:p>
          <a:p>
            <a:pPr marL="171450" indent="-171450">
              <a:lnSpc>
                <a:spcPct val="107000"/>
              </a:lnSpc>
              <a:spcAft>
                <a:spcPts val="800"/>
              </a:spcAft>
              <a:buClr>
                <a:srgbClr val="503078"/>
              </a:buClr>
              <a:buFont typeface="Tahoma" panose="020B0604030504040204" pitchFamily="34" charset="0"/>
              <a:buChar char="⁄"/>
            </a:pPr>
            <a:r>
              <a:rPr lang="fr-FR" sz="1050" b="1">
                <a:solidFill>
                  <a:srgbClr val="5F5F5F"/>
                </a:solidFill>
                <a:latin typeface="Tahoma"/>
              </a:rPr>
              <a:t>Structure désormais fermée</a:t>
            </a:r>
          </a:p>
        </p:txBody>
      </p:sp>
      <p:sp>
        <p:nvSpPr>
          <p:cNvPr id="80" name="ZoneTexte 79">
            <a:extLst>
              <a:ext uri="{FF2B5EF4-FFF2-40B4-BE49-F238E27FC236}">
                <a16:creationId xmlns:a16="http://schemas.microsoft.com/office/drawing/2014/main" id="{D486C829-4B6E-4981-9B49-72041AC2853F}"/>
              </a:ext>
            </a:extLst>
          </p:cNvPr>
          <p:cNvSpPr txBox="1"/>
          <p:nvPr/>
        </p:nvSpPr>
        <p:spPr>
          <a:xfrm>
            <a:off x="8270852" y="1233161"/>
            <a:ext cx="2770132" cy="768224"/>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Gestion du village assurée par l'Association de Préfiguration à la Fondation Denise Picard + association de service à la personne</a:t>
            </a:r>
          </a:p>
        </p:txBody>
      </p:sp>
      <p:sp>
        <p:nvSpPr>
          <p:cNvPr id="31" name="ZoneTexte 30">
            <a:extLst>
              <a:ext uri="{FF2B5EF4-FFF2-40B4-BE49-F238E27FC236}">
                <a16:creationId xmlns:a16="http://schemas.microsoft.com/office/drawing/2014/main" id="{C39631CE-B746-44D2-AD28-BE401BB99C89}"/>
              </a:ext>
            </a:extLst>
          </p:cNvPr>
          <p:cNvSpPr txBox="1"/>
          <p:nvPr/>
        </p:nvSpPr>
        <p:spPr>
          <a:xfrm>
            <a:off x="2624667" y="2508139"/>
            <a:ext cx="3376602" cy="595771"/>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6" name="ZoneTexte 115">
            <a:extLst>
              <a:ext uri="{FF2B5EF4-FFF2-40B4-BE49-F238E27FC236}">
                <a16:creationId xmlns:a16="http://schemas.microsoft.com/office/drawing/2014/main" id="{5841F24B-1AD4-488A-A365-BF5647BD2308}"/>
              </a:ext>
            </a:extLst>
          </p:cNvPr>
          <p:cNvSpPr txBox="1"/>
          <p:nvPr/>
        </p:nvSpPr>
        <p:spPr>
          <a:xfrm>
            <a:off x="2634653" y="4743753"/>
            <a:ext cx="3366617" cy="1700660"/>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7" name="ZoneTexte 116">
            <a:extLst>
              <a:ext uri="{FF2B5EF4-FFF2-40B4-BE49-F238E27FC236}">
                <a16:creationId xmlns:a16="http://schemas.microsoft.com/office/drawing/2014/main" id="{EF317FFF-EA6E-44C5-B24E-8AE03952F5E8}"/>
              </a:ext>
            </a:extLst>
          </p:cNvPr>
          <p:cNvSpPr txBox="1"/>
          <p:nvPr/>
        </p:nvSpPr>
        <p:spPr>
          <a:xfrm>
            <a:off x="2624667" y="3134927"/>
            <a:ext cx="3376602" cy="1582284"/>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20" name="Rectangle 119">
            <a:extLst>
              <a:ext uri="{FF2B5EF4-FFF2-40B4-BE49-F238E27FC236}">
                <a16:creationId xmlns:a16="http://schemas.microsoft.com/office/drawing/2014/main" id="{5A8580EE-0AD3-4053-A66F-58A5DE5D3476}"/>
              </a:ext>
            </a:extLst>
          </p:cNvPr>
          <p:cNvSpPr/>
          <p:nvPr/>
        </p:nvSpPr>
        <p:spPr>
          <a:xfrm>
            <a:off x="1254009" y="2059375"/>
            <a:ext cx="4825165" cy="4434773"/>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21" name="ZoneTexte 120">
            <a:extLst>
              <a:ext uri="{FF2B5EF4-FFF2-40B4-BE49-F238E27FC236}">
                <a16:creationId xmlns:a16="http://schemas.microsoft.com/office/drawing/2014/main" id="{E5F58253-D1BD-4954-81FE-7B8DBC05FC92}"/>
              </a:ext>
            </a:extLst>
          </p:cNvPr>
          <p:cNvSpPr txBox="1"/>
          <p:nvPr/>
        </p:nvSpPr>
        <p:spPr>
          <a:xfrm>
            <a:off x="1254009" y="2080425"/>
            <a:ext cx="4815764" cy="307777"/>
          </a:xfrm>
          <a:prstGeom prst="rect">
            <a:avLst/>
          </a:prstGeom>
          <a:solidFill>
            <a:srgbClr val="B0ADCC"/>
          </a:solidFill>
          <a:ln>
            <a:noFill/>
          </a:ln>
        </p:spPr>
        <p:txBody>
          <a:bodyPr wrap="square" lIns="108000" rIns="108000" rtlCol="0">
            <a:spAutoFit/>
          </a:bodyPr>
          <a:lstStyle/>
          <a:p>
            <a:pPr algn="ctr"/>
            <a:r>
              <a:rPr lang="fr-FR" sz="1400" b="1">
                <a:solidFill>
                  <a:srgbClr val="FFFFFF"/>
                </a:solidFill>
                <a:latin typeface="Tahoma"/>
              </a:rPr>
              <a:t>Modèle opérationnel </a:t>
            </a:r>
          </a:p>
        </p:txBody>
      </p:sp>
      <p:sp>
        <p:nvSpPr>
          <p:cNvPr id="122" name="Rectangle 121">
            <a:extLst>
              <a:ext uri="{FF2B5EF4-FFF2-40B4-BE49-F238E27FC236}">
                <a16:creationId xmlns:a16="http://schemas.microsoft.com/office/drawing/2014/main" id="{EEE3ADDF-8F40-48B9-AE5E-299C1C497490}"/>
              </a:ext>
            </a:extLst>
          </p:cNvPr>
          <p:cNvSpPr/>
          <p:nvPr/>
        </p:nvSpPr>
        <p:spPr>
          <a:xfrm>
            <a:off x="6122614" y="2059375"/>
            <a:ext cx="4824000" cy="4434773"/>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23" name="ZoneTexte 122">
            <a:extLst>
              <a:ext uri="{FF2B5EF4-FFF2-40B4-BE49-F238E27FC236}">
                <a16:creationId xmlns:a16="http://schemas.microsoft.com/office/drawing/2014/main" id="{A32D682C-0E70-4C6A-98EA-32C315F12098}"/>
              </a:ext>
            </a:extLst>
          </p:cNvPr>
          <p:cNvSpPr txBox="1"/>
          <p:nvPr/>
        </p:nvSpPr>
        <p:spPr>
          <a:xfrm>
            <a:off x="6135540" y="2080426"/>
            <a:ext cx="4824000" cy="307777"/>
          </a:xfrm>
          <a:prstGeom prst="rect">
            <a:avLst/>
          </a:prstGeom>
          <a:solidFill>
            <a:srgbClr val="B24669"/>
          </a:solidFill>
          <a:ln>
            <a:noFill/>
          </a:ln>
        </p:spPr>
        <p:txBody>
          <a:bodyPr wrap="square" lIns="108000" rIns="108000" rtlCol="0">
            <a:spAutoFit/>
          </a:bodyPr>
          <a:lstStyle/>
          <a:p>
            <a:pPr algn="ctr"/>
            <a:r>
              <a:rPr lang="fr-FR" sz="1400" b="1">
                <a:solidFill>
                  <a:srgbClr val="FFFFFF"/>
                </a:solidFill>
                <a:latin typeface="Tahoma"/>
              </a:rPr>
              <a:t>Modèle économique </a:t>
            </a:r>
          </a:p>
        </p:txBody>
      </p:sp>
      <p:sp>
        <p:nvSpPr>
          <p:cNvPr id="124" name="ZoneTexte 123">
            <a:extLst>
              <a:ext uri="{FF2B5EF4-FFF2-40B4-BE49-F238E27FC236}">
                <a16:creationId xmlns:a16="http://schemas.microsoft.com/office/drawing/2014/main" id="{A49BC405-C11B-485E-BB12-6EA8FA6FC408}"/>
              </a:ext>
            </a:extLst>
          </p:cNvPr>
          <p:cNvSpPr txBox="1"/>
          <p:nvPr/>
        </p:nvSpPr>
        <p:spPr>
          <a:xfrm>
            <a:off x="2693963" y="2475231"/>
            <a:ext cx="3130434" cy="571503"/>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10 chalets d’une capacité de 4 à 6 personnes ; un projet d'agrandissement était en cours pour passer à 15 puis 20 chalets</a:t>
            </a:r>
          </a:p>
        </p:txBody>
      </p:sp>
      <p:sp>
        <p:nvSpPr>
          <p:cNvPr id="126" name="ZoneTexte 125">
            <a:extLst>
              <a:ext uri="{FF2B5EF4-FFF2-40B4-BE49-F238E27FC236}">
                <a16:creationId xmlns:a16="http://schemas.microsoft.com/office/drawing/2014/main" id="{B49F6C26-2A8B-4C21-A64B-9E4007B97392}"/>
              </a:ext>
            </a:extLst>
          </p:cNvPr>
          <p:cNvSpPr txBox="1"/>
          <p:nvPr/>
        </p:nvSpPr>
        <p:spPr>
          <a:xfrm>
            <a:off x="2616666" y="4781843"/>
            <a:ext cx="3366617" cy="1597938"/>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Restauration : en autonomie (chalets équipés de kitchenettes), possibilité de recourir au traiteur partenaire pour une livraison au chalet avec des tarifs préférentiels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nimations adaptées à la clientèle (exemples : pétanque adaptée, accessible aux personnes en fauteuil, danse adaptée, pour personnes en fauteuil également, loto adapté aux personnes aveugles, piscine adaptée...)</a:t>
            </a:r>
          </a:p>
        </p:txBody>
      </p:sp>
      <p:sp>
        <p:nvSpPr>
          <p:cNvPr id="128" name="ZoneTexte 127">
            <a:extLst>
              <a:ext uri="{FF2B5EF4-FFF2-40B4-BE49-F238E27FC236}">
                <a16:creationId xmlns:a16="http://schemas.microsoft.com/office/drawing/2014/main" id="{D0B66643-80F9-42D8-8F09-B693AF7FBBCB}"/>
              </a:ext>
            </a:extLst>
          </p:cNvPr>
          <p:cNvSpPr txBox="1"/>
          <p:nvPr/>
        </p:nvSpPr>
        <p:spPr>
          <a:xfrm>
            <a:off x="2629904" y="3263225"/>
            <a:ext cx="3376359" cy="1345561"/>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ucune place d'AT / d'HT : établissement non reconnu comme étant médico-social</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Système de transport (possibilité d'avoir une aide auprès de la MDPH - plafond de 1800 euros sur 3 an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Services d'aides à la personne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artenariat avec un réseau de soins libéraux</a:t>
            </a:r>
          </a:p>
        </p:txBody>
      </p:sp>
      <p:sp>
        <p:nvSpPr>
          <p:cNvPr id="129" name="ZoneTexte 128">
            <a:extLst>
              <a:ext uri="{FF2B5EF4-FFF2-40B4-BE49-F238E27FC236}">
                <a16:creationId xmlns:a16="http://schemas.microsoft.com/office/drawing/2014/main" id="{B5C29EF3-8432-4FB1-A08C-C8DFD0F770E0}"/>
              </a:ext>
            </a:extLst>
          </p:cNvPr>
          <p:cNvSpPr txBox="1"/>
          <p:nvPr/>
        </p:nvSpPr>
        <p:spPr>
          <a:xfrm>
            <a:off x="6183559" y="2508139"/>
            <a:ext cx="3743057" cy="715410"/>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130" name="ZoneTexte 129">
            <a:extLst>
              <a:ext uri="{FF2B5EF4-FFF2-40B4-BE49-F238E27FC236}">
                <a16:creationId xmlns:a16="http://schemas.microsoft.com/office/drawing/2014/main" id="{C51512ED-D218-4E3C-8049-02770EADD196}"/>
              </a:ext>
            </a:extLst>
          </p:cNvPr>
          <p:cNvSpPr txBox="1"/>
          <p:nvPr/>
        </p:nvSpPr>
        <p:spPr>
          <a:xfrm>
            <a:off x="6179121" y="3265634"/>
            <a:ext cx="3743057" cy="1545174"/>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pic>
        <p:nvPicPr>
          <p:cNvPr id="35" name="Graphique 34" descr="Logement avec un remplissage uni">
            <a:extLst>
              <a:ext uri="{FF2B5EF4-FFF2-40B4-BE49-F238E27FC236}">
                <a16:creationId xmlns:a16="http://schemas.microsoft.com/office/drawing/2014/main" id="{71FC271C-D2ED-4AF0-8123-6C7A28C751C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19351" y="2591112"/>
            <a:ext cx="447721" cy="447721"/>
          </a:xfrm>
          <a:prstGeom prst="rect">
            <a:avLst/>
          </a:prstGeom>
        </p:spPr>
      </p:pic>
      <p:sp>
        <p:nvSpPr>
          <p:cNvPr id="131" name="ZoneTexte 130">
            <a:extLst>
              <a:ext uri="{FF2B5EF4-FFF2-40B4-BE49-F238E27FC236}">
                <a16:creationId xmlns:a16="http://schemas.microsoft.com/office/drawing/2014/main" id="{1C14C040-B2C5-440C-B7E3-1882123D0301}"/>
              </a:ext>
            </a:extLst>
          </p:cNvPr>
          <p:cNvSpPr txBox="1"/>
          <p:nvPr/>
        </p:nvSpPr>
        <p:spPr>
          <a:xfrm>
            <a:off x="9796442" y="2423330"/>
            <a:ext cx="1244543" cy="446276"/>
          </a:xfrm>
          <a:prstGeom prst="rect">
            <a:avLst/>
          </a:prstGeom>
          <a:noFill/>
          <a:ln>
            <a:noFill/>
          </a:ln>
        </p:spPr>
        <p:txBody>
          <a:bodyPr wrap="square" lIns="108000" rIns="108000" rtlCol="0">
            <a:spAutoFit/>
          </a:bodyPr>
          <a:lstStyle/>
          <a:p>
            <a:pPr algn="ctr"/>
            <a:r>
              <a:rPr lang="fr-FR" sz="1100" b="1">
                <a:solidFill>
                  <a:srgbClr val="B24669"/>
                </a:solidFill>
                <a:latin typeface="Tahoma"/>
              </a:rPr>
              <a:t>Immobilier</a:t>
            </a:r>
          </a:p>
          <a:p>
            <a:pPr marL="171450" indent="-171450" algn="ctr">
              <a:buFontTx/>
              <a:buChar char="-"/>
            </a:pPr>
            <a:endParaRPr lang="fr-FR" sz="1200">
              <a:solidFill>
                <a:srgbClr val="B24669"/>
              </a:solidFill>
              <a:latin typeface="Tahoma"/>
            </a:endParaRPr>
          </a:p>
        </p:txBody>
      </p:sp>
      <p:sp>
        <p:nvSpPr>
          <p:cNvPr id="133" name="ZoneTexte 132">
            <a:extLst>
              <a:ext uri="{FF2B5EF4-FFF2-40B4-BE49-F238E27FC236}">
                <a16:creationId xmlns:a16="http://schemas.microsoft.com/office/drawing/2014/main" id="{B210A790-ECF0-4619-A27B-B52AFCD222D8}"/>
              </a:ext>
            </a:extLst>
          </p:cNvPr>
          <p:cNvSpPr txBox="1"/>
          <p:nvPr/>
        </p:nvSpPr>
        <p:spPr>
          <a:xfrm>
            <a:off x="6146429" y="2493060"/>
            <a:ext cx="3769944" cy="736164"/>
          </a:xfrm>
          <a:prstGeom prst="rect">
            <a:avLst/>
          </a:prstGeom>
          <a:noFill/>
          <a:ln>
            <a:noFill/>
          </a:ln>
        </p:spPr>
        <p:txBody>
          <a:bodyPr wrap="square" lIns="108000" rIns="108000" rtlCol="0">
            <a:spAutoFit/>
          </a:bodyPr>
          <a:lstStyle/>
          <a:p>
            <a:pPr marL="171450" indent="-171450" algn="just">
              <a:lnSpc>
                <a:spcPct val="107000"/>
              </a:lnSpc>
              <a:spcAft>
                <a:spcPts val="800"/>
              </a:spcAft>
              <a:buClr>
                <a:srgbClr val="503078"/>
              </a:buClr>
              <a:buFont typeface="Tahoma" panose="020B0604030504040204" pitchFamily="34" charset="0"/>
              <a:buChar char="⁄"/>
            </a:pPr>
            <a:r>
              <a:rPr lang="fr-FR" sz="1000">
                <a:solidFill>
                  <a:srgbClr val="5F5F5F"/>
                </a:solidFill>
                <a:latin typeface="Tahoma"/>
              </a:rPr>
              <a:t>Acquisition d'un village abandonné (bâti + terrain) par crédit vendeur auprès de la commune avec une clause résolutoire, financé par un crédit bancaire (emprunt de 300 000K, coût d’achat de 975K€) + coûts des travaux 300K€</a:t>
            </a:r>
          </a:p>
        </p:txBody>
      </p:sp>
      <p:sp>
        <p:nvSpPr>
          <p:cNvPr id="134" name="ZoneTexte 133">
            <a:extLst>
              <a:ext uri="{FF2B5EF4-FFF2-40B4-BE49-F238E27FC236}">
                <a16:creationId xmlns:a16="http://schemas.microsoft.com/office/drawing/2014/main" id="{12CB5D0E-D3B7-4457-B3F8-7B85794AC4B0}"/>
              </a:ext>
            </a:extLst>
          </p:cNvPr>
          <p:cNvSpPr txBox="1"/>
          <p:nvPr/>
        </p:nvSpPr>
        <p:spPr>
          <a:xfrm>
            <a:off x="9948430" y="3173065"/>
            <a:ext cx="998185"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Frais de </a:t>
            </a:r>
            <a:r>
              <a:rPr lang="fr-FR" sz="1100" b="1" err="1">
                <a:solidFill>
                  <a:srgbClr val="B24669"/>
                </a:solidFill>
                <a:latin typeface="Tahoma"/>
              </a:rPr>
              <a:t>fonct</a:t>
            </a:r>
            <a:r>
              <a:rPr lang="fr-FR" sz="1100" b="1">
                <a:solidFill>
                  <a:srgbClr val="B24669"/>
                </a:solidFill>
                <a:latin typeface="Tahoma"/>
              </a:rPr>
              <a:t>.</a:t>
            </a:r>
          </a:p>
        </p:txBody>
      </p:sp>
      <p:sp>
        <p:nvSpPr>
          <p:cNvPr id="135" name="ZoneTexte 134">
            <a:extLst>
              <a:ext uri="{FF2B5EF4-FFF2-40B4-BE49-F238E27FC236}">
                <a16:creationId xmlns:a16="http://schemas.microsoft.com/office/drawing/2014/main" id="{3DA739DB-3B5D-4A54-A299-C5AE798A7F11}"/>
              </a:ext>
            </a:extLst>
          </p:cNvPr>
          <p:cNvSpPr txBox="1"/>
          <p:nvPr/>
        </p:nvSpPr>
        <p:spPr>
          <a:xfrm>
            <a:off x="6144853" y="3272153"/>
            <a:ext cx="3790650" cy="1543051"/>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stimé par R. Picard à 500 000 €</a:t>
            </a:r>
            <a:r>
              <a:rPr lang="fr-FR" sz="1050">
                <a:solidFill>
                  <a:srgbClr val="5F5F5F"/>
                </a:solidFill>
                <a:latin typeface="Tahoma"/>
              </a:rPr>
              <a:t> </a:t>
            </a:r>
            <a:r>
              <a:rPr lang="fr-FR" sz="1000">
                <a:solidFill>
                  <a:srgbClr val="5F5F5F"/>
                </a:solidFill>
                <a:latin typeface="Tahoma"/>
              </a:rPr>
              <a:t>annuels</a:t>
            </a:r>
            <a:r>
              <a:rPr lang="fr-FR" sz="900">
                <a:solidFill>
                  <a:srgbClr val="5F5F5F"/>
                </a:solidFill>
                <a:latin typeface="Tahoma"/>
              </a:rPr>
              <a:t> </a:t>
            </a:r>
            <a:r>
              <a:rPr lang="fr-FR" sz="800">
                <a:solidFill>
                  <a:srgbClr val="5F5F5F"/>
                </a:solidFill>
                <a:latin typeface="Tahoma"/>
              </a:rPr>
              <a:t>: </a:t>
            </a:r>
          </a:p>
          <a:p>
            <a:pPr marL="358775" lvl="1" indent="-171450" algn="just">
              <a:lnSpc>
                <a:spcPct val="107000"/>
              </a:lnSpc>
              <a:spcAft>
                <a:spcPts val="300"/>
              </a:spcAft>
              <a:buClr>
                <a:srgbClr val="503078"/>
              </a:buClr>
              <a:buFont typeface="Tahoma" panose="020B0604030504040204" pitchFamily="34" charset="0"/>
              <a:buChar char="⁄"/>
            </a:pPr>
            <a:r>
              <a:rPr lang="fr-FR" sz="800">
                <a:solidFill>
                  <a:srgbClr val="5F5F5F"/>
                </a:solidFill>
                <a:latin typeface="Tahoma"/>
              </a:rPr>
              <a:t>Financement d’une MS de 12 personnes en haute saison / 4 en basse saison : animateurs, auxiliaires de vie, pour relayer les aidants dans les actes de la vie quotidienne, assistante sociale, équipe technique, gardiennage / ménage, comptable</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Modalités de financement : crowdfunding pour l'achat d'un véhicule de transport, mécénat, recette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quilibre économique impossible à atteindre : fermeture du site en 2022</a:t>
            </a:r>
          </a:p>
        </p:txBody>
      </p:sp>
      <p:sp>
        <p:nvSpPr>
          <p:cNvPr id="136" name="ZoneTexte 135">
            <a:extLst>
              <a:ext uri="{FF2B5EF4-FFF2-40B4-BE49-F238E27FC236}">
                <a16:creationId xmlns:a16="http://schemas.microsoft.com/office/drawing/2014/main" id="{FEA48678-D157-4E80-9C77-987BDFAE3851}"/>
              </a:ext>
            </a:extLst>
          </p:cNvPr>
          <p:cNvSpPr txBox="1"/>
          <p:nvPr/>
        </p:nvSpPr>
        <p:spPr>
          <a:xfrm>
            <a:off x="6173317" y="4847219"/>
            <a:ext cx="3743057" cy="880270"/>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38" name="ZoneTexte 137">
            <a:extLst>
              <a:ext uri="{FF2B5EF4-FFF2-40B4-BE49-F238E27FC236}">
                <a16:creationId xmlns:a16="http://schemas.microsoft.com/office/drawing/2014/main" id="{6C835C83-70AD-4C89-BF1E-C624BB9BC8DE}"/>
              </a:ext>
            </a:extLst>
          </p:cNvPr>
          <p:cNvSpPr txBox="1"/>
          <p:nvPr/>
        </p:nvSpPr>
        <p:spPr>
          <a:xfrm>
            <a:off x="1143001" y="6628588"/>
            <a:ext cx="9076350" cy="215444"/>
          </a:xfrm>
          <a:prstGeom prst="rect">
            <a:avLst/>
          </a:prstGeom>
          <a:solidFill>
            <a:schemeClr val="bg1"/>
          </a:solidFill>
        </p:spPr>
        <p:txBody>
          <a:bodyPr wrap="square">
            <a:spAutoFit/>
          </a:bodyPr>
          <a:lstStyle/>
          <a:p>
            <a:r>
              <a:rPr lang="fr-FR" sz="800">
                <a:solidFill>
                  <a:srgbClr val="5F5F5F"/>
                </a:solidFill>
                <a:latin typeface="Tahoma"/>
              </a:rPr>
              <a:t>* Les taux d’occupation étaient très variables en fonction de la saisonnalité : 100% voire 150% de demandes de réservation en haute saison, 50% à mi-saison et 0% en basse saison. </a:t>
            </a:r>
          </a:p>
        </p:txBody>
      </p:sp>
      <p:sp>
        <p:nvSpPr>
          <p:cNvPr id="139" name="Rectangle 138">
            <a:extLst>
              <a:ext uri="{FF2B5EF4-FFF2-40B4-BE49-F238E27FC236}">
                <a16:creationId xmlns:a16="http://schemas.microsoft.com/office/drawing/2014/main" id="{23DA1D13-F6FC-42CC-8CBC-A6643FFAA543}"/>
              </a:ext>
            </a:extLst>
          </p:cNvPr>
          <p:cNvSpPr/>
          <p:nvPr/>
        </p:nvSpPr>
        <p:spPr>
          <a:xfrm>
            <a:off x="1254009" y="923574"/>
            <a:ext cx="1728514"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40" name="ZoneTexte 139">
            <a:extLst>
              <a:ext uri="{FF2B5EF4-FFF2-40B4-BE49-F238E27FC236}">
                <a16:creationId xmlns:a16="http://schemas.microsoft.com/office/drawing/2014/main" id="{807D6A60-04F3-43BD-94C2-76626F2816C8}"/>
              </a:ext>
            </a:extLst>
          </p:cNvPr>
          <p:cNvSpPr txBox="1"/>
          <p:nvPr/>
        </p:nvSpPr>
        <p:spPr>
          <a:xfrm>
            <a:off x="9885997" y="4540503"/>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rifs / reste à charge</a:t>
            </a:r>
          </a:p>
        </p:txBody>
      </p:sp>
      <p:pic>
        <p:nvPicPr>
          <p:cNvPr id="41" name="Graphique 40" descr="Clé avec un remplissage uni">
            <a:extLst>
              <a:ext uri="{FF2B5EF4-FFF2-40B4-BE49-F238E27FC236}">
                <a16:creationId xmlns:a16="http://schemas.microsoft.com/office/drawing/2014/main" id="{1FC8698B-AB58-44D0-8399-B572FCCD65E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50546" y="6014161"/>
            <a:ext cx="436000" cy="436000"/>
          </a:xfrm>
          <a:prstGeom prst="rect">
            <a:avLst/>
          </a:prstGeom>
        </p:spPr>
      </p:pic>
      <p:sp>
        <p:nvSpPr>
          <p:cNvPr id="141" name="ZoneTexte 140">
            <a:extLst>
              <a:ext uri="{FF2B5EF4-FFF2-40B4-BE49-F238E27FC236}">
                <a16:creationId xmlns:a16="http://schemas.microsoft.com/office/drawing/2014/main" id="{F5949C22-DA6A-4317-99B2-B19975E52561}"/>
              </a:ext>
            </a:extLst>
          </p:cNvPr>
          <p:cNvSpPr txBox="1"/>
          <p:nvPr/>
        </p:nvSpPr>
        <p:spPr>
          <a:xfrm>
            <a:off x="9909908" y="5679030"/>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ux d’occupation</a:t>
            </a:r>
          </a:p>
        </p:txBody>
      </p:sp>
      <p:sp>
        <p:nvSpPr>
          <p:cNvPr id="142" name="ZoneTexte 141">
            <a:extLst>
              <a:ext uri="{FF2B5EF4-FFF2-40B4-BE49-F238E27FC236}">
                <a16:creationId xmlns:a16="http://schemas.microsoft.com/office/drawing/2014/main" id="{8F48A671-85C8-478F-BBC5-AA8E0839A27E}"/>
              </a:ext>
            </a:extLst>
          </p:cNvPr>
          <p:cNvSpPr txBox="1"/>
          <p:nvPr/>
        </p:nvSpPr>
        <p:spPr>
          <a:xfrm>
            <a:off x="6173317" y="5762758"/>
            <a:ext cx="3736591" cy="659852"/>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43" name="ZoneTexte 142">
            <a:extLst>
              <a:ext uri="{FF2B5EF4-FFF2-40B4-BE49-F238E27FC236}">
                <a16:creationId xmlns:a16="http://schemas.microsoft.com/office/drawing/2014/main" id="{7C801268-29AF-4A45-808B-18ADBF5B32BE}"/>
              </a:ext>
            </a:extLst>
          </p:cNvPr>
          <p:cNvSpPr txBox="1"/>
          <p:nvPr/>
        </p:nvSpPr>
        <p:spPr>
          <a:xfrm>
            <a:off x="6154089" y="5781130"/>
            <a:ext cx="3650756" cy="672300"/>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Durée moyenne de séjour : 12 jour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Taux d’occupation d’environ 50 - 60% sur l’année*</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Des taux d’annulation à de 3 à 4%</a:t>
            </a:r>
          </a:p>
        </p:txBody>
      </p:sp>
      <p:pic>
        <p:nvPicPr>
          <p:cNvPr id="146" name="Graphique 145" descr="Tirelire avec un remplissage uni">
            <a:extLst>
              <a:ext uri="{FF2B5EF4-FFF2-40B4-BE49-F238E27FC236}">
                <a16:creationId xmlns:a16="http://schemas.microsoft.com/office/drawing/2014/main" id="{AC1ADC52-5381-42E2-AC24-383BB036C6C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19350" y="3628704"/>
            <a:ext cx="514426" cy="514426"/>
          </a:xfrm>
          <a:prstGeom prst="rect">
            <a:avLst/>
          </a:prstGeom>
        </p:spPr>
      </p:pic>
      <p:sp>
        <p:nvSpPr>
          <p:cNvPr id="81" name="ZoneTexte 80">
            <a:extLst>
              <a:ext uri="{FF2B5EF4-FFF2-40B4-BE49-F238E27FC236}">
                <a16:creationId xmlns:a16="http://schemas.microsoft.com/office/drawing/2014/main" id="{B6B02541-4955-4889-BA74-FB46F4880E07}"/>
              </a:ext>
            </a:extLst>
          </p:cNvPr>
          <p:cNvSpPr txBox="1"/>
          <p:nvPr/>
        </p:nvSpPr>
        <p:spPr>
          <a:xfrm>
            <a:off x="1378462" y="846713"/>
            <a:ext cx="1534052" cy="707886"/>
          </a:xfrm>
          <a:prstGeom prst="rect">
            <a:avLst/>
          </a:prstGeom>
          <a:noFill/>
        </p:spPr>
        <p:txBody>
          <a:bodyPr wrap="square" lIns="108000" rIns="108000" rtlCol="0">
            <a:spAutoFit/>
          </a:bodyPr>
          <a:lstStyle/>
          <a:p>
            <a:endParaRPr lang="fr-FR" sz="1000">
              <a:solidFill>
                <a:srgbClr val="5F5F5F"/>
              </a:solidFill>
              <a:latin typeface="Tahoma"/>
            </a:endParaRPr>
          </a:p>
          <a:p>
            <a:pPr algn="ctr"/>
            <a:r>
              <a:rPr lang="fr-FR" sz="1000" b="1">
                <a:solidFill>
                  <a:srgbClr val="503078"/>
                </a:solidFill>
                <a:latin typeface="Tahoma"/>
              </a:rPr>
              <a:t>Centre les Bruyères</a:t>
            </a:r>
          </a:p>
          <a:p>
            <a:pPr algn="ctr"/>
            <a:r>
              <a:rPr lang="fr-FR" sz="1000">
                <a:solidFill>
                  <a:srgbClr val="5F5F5F"/>
                </a:solidFill>
                <a:latin typeface="Tahoma"/>
              </a:rPr>
              <a:t>Brugheas (03)</a:t>
            </a:r>
          </a:p>
          <a:p>
            <a:endParaRPr lang="fr-FR" sz="1000">
              <a:solidFill>
                <a:srgbClr val="5F5F5F"/>
              </a:solidFill>
              <a:latin typeface="Tahoma"/>
            </a:endParaRPr>
          </a:p>
        </p:txBody>
      </p:sp>
      <p:pic>
        <p:nvPicPr>
          <p:cNvPr id="82" name="Location-White-Background">
            <a:extLst>
              <a:ext uri="{FF2B5EF4-FFF2-40B4-BE49-F238E27FC236}">
                <a16:creationId xmlns:a16="http://schemas.microsoft.com/office/drawing/2014/main" id="{23FE517D-84D3-4474-804F-DE6049B1856D}"/>
              </a:ext>
            </a:extLst>
          </p:cNvPr>
          <p:cNvPicPr>
            <a:picLocks noChangeAspect="1"/>
          </p:cNvPicPr>
          <p:nvPr/>
        </p:nvPicPr>
        <p:blipFill>
          <a:blip r:embed="rId14" cstate="print">
            <a:extLst>
              <a:ext uri="{BEBA8EAE-BF5A-486C-A8C5-ECC9F3942E4B}">
                <a14:imgProps xmlns:a14="http://schemas.microsoft.com/office/drawing/2010/main">
                  <a14:imgLayer r:embed="rId15">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2021731" y="1335322"/>
            <a:ext cx="242960" cy="227494"/>
          </a:xfrm>
          <a:prstGeom prst="rect">
            <a:avLst/>
          </a:prstGeom>
        </p:spPr>
      </p:pic>
      <p:sp>
        <p:nvSpPr>
          <p:cNvPr id="86" name="ZoneTexte 85">
            <a:extLst>
              <a:ext uri="{FF2B5EF4-FFF2-40B4-BE49-F238E27FC236}">
                <a16:creationId xmlns:a16="http://schemas.microsoft.com/office/drawing/2014/main" id="{54650390-EFB3-4DC0-8880-157BFA99BEEE}"/>
              </a:ext>
            </a:extLst>
          </p:cNvPr>
          <p:cNvSpPr txBox="1"/>
          <p:nvPr/>
        </p:nvSpPr>
        <p:spPr>
          <a:xfrm>
            <a:off x="6122615" y="4934479"/>
            <a:ext cx="3793759" cy="774636"/>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2000 € par logement / semaine, reste à charge de 800 à 1000 € pour les vacanciers après application des aide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rise en charge des services à la personne par l'AAH, APA, l'APCA</a:t>
            </a:r>
            <a:endParaRPr lang="fr-FR" sz="900">
              <a:solidFill>
                <a:srgbClr val="5F5F5F"/>
              </a:solidFill>
              <a:latin typeface="Tahoma"/>
            </a:endParaRPr>
          </a:p>
        </p:txBody>
      </p:sp>
      <p:pic>
        <p:nvPicPr>
          <p:cNvPr id="87" name="Graphique 86" descr="Pièces avec un remplissage uni">
            <a:extLst>
              <a:ext uri="{FF2B5EF4-FFF2-40B4-BE49-F238E27FC236}">
                <a16:creationId xmlns:a16="http://schemas.microsoft.com/office/drawing/2014/main" id="{E36EB7B4-4BA2-4FF6-ACD4-B3A837709EE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220693" y="4961372"/>
            <a:ext cx="457966" cy="457966"/>
          </a:xfrm>
          <a:prstGeom prst="rect">
            <a:avLst/>
          </a:prstGeom>
        </p:spPr>
      </p:pic>
      <p:pic>
        <p:nvPicPr>
          <p:cNvPr id="114" name="Graphique 113" descr="Dormir avec un remplissage uni">
            <a:extLst>
              <a:ext uri="{FF2B5EF4-FFF2-40B4-BE49-F238E27FC236}">
                <a16:creationId xmlns:a16="http://schemas.microsoft.com/office/drawing/2014/main" id="{A2C91F7B-29C7-459F-9C04-9AA688F496B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648462" y="2583744"/>
            <a:ext cx="565198" cy="565198"/>
          </a:xfrm>
          <a:prstGeom prst="rect">
            <a:avLst/>
          </a:prstGeom>
        </p:spPr>
      </p:pic>
      <p:pic>
        <p:nvPicPr>
          <p:cNvPr id="115" name="Graphique 114" descr="Trousse de premiers secours avec un remplissage uni">
            <a:extLst>
              <a:ext uri="{FF2B5EF4-FFF2-40B4-BE49-F238E27FC236}">
                <a16:creationId xmlns:a16="http://schemas.microsoft.com/office/drawing/2014/main" id="{88E6B775-C66C-4650-9FA7-9A9B2FDDCCF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683132" y="3767866"/>
            <a:ext cx="557136" cy="557136"/>
          </a:xfrm>
          <a:prstGeom prst="rect">
            <a:avLst/>
          </a:prstGeom>
        </p:spPr>
      </p:pic>
      <p:pic>
        <p:nvPicPr>
          <p:cNvPr id="118" name="Graphique 117" descr="Assiette couverte avec un remplissage uni">
            <a:extLst>
              <a:ext uri="{FF2B5EF4-FFF2-40B4-BE49-F238E27FC236}">
                <a16:creationId xmlns:a16="http://schemas.microsoft.com/office/drawing/2014/main" id="{2F2E741D-B22B-4F38-8E55-AC2069EEEAC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641740" y="5428411"/>
            <a:ext cx="565199" cy="565199"/>
          </a:xfrm>
          <a:prstGeom prst="rect">
            <a:avLst/>
          </a:prstGeom>
        </p:spPr>
      </p:pic>
      <p:sp>
        <p:nvSpPr>
          <p:cNvPr id="119" name="ZoneTexte 118">
            <a:extLst>
              <a:ext uri="{FF2B5EF4-FFF2-40B4-BE49-F238E27FC236}">
                <a16:creationId xmlns:a16="http://schemas.microsoft.com/office/drawing/2014/main" id="{14E32216-A80B-4DE1-9731-B9D15B47C6DA}"/>
              </a:ext>
            </a:extLst>
          </p:cNvPr>
          <p:cNvSpPr txBox="1"/>
          <p:nvPr/>
        </p:nvSpPr>
        <p:spPr>
          <a:xfrm>
            <a:off x="1254007" y="2505800"/>
            <a:ext cx="1376242" cy="446276"/>
          </a:xfrm>
          <a:prstGeom prst="rect">
            <a:avLst/>
          </a:prstGeom>
          <a:noFill/>
          <a:ln>
            <a:noFill/>
          </a:ln>
        </p:spPr>
        <p:txBody>
          <a:bodyPr wrap="square" lIns="108000" rIns="108000" rtlCol="0">
            <a:spAutoFit/>
          </a:bodyPr>
          <a:lstStyle/>
          <a:p>
            <a:pPr algn="ctr"/>
            <a:r>
              <a:rPr lang="fr-FR" sz="1100" b="1">
                <a:solidFill>
                  <a:srgbClr val="B0ADCC"/>
                </a:solidFill>
                <a:latin typeface="Tahoma"/>
              </a:rPr>
              <a:t>Hébergement</a:t>
            </a:r>
          </a:p>
          <a:p>
            <a:pPr marL="171450" indent="-171450" algn="ctr">
              <a:buFontTx/>
              <a:buChar char="-"/>
            </a:pPr>
            <a:endParaRPr lang="fr-FR" sz="1200">
              <a:solidFill>
                <a:srgbClr val="B0ADCC"/>
              </a:solidFill>
              <a:latin typeface="Tahoma"/>
            </a:endParaRPr>
          </a:p>
        </p:txBody>
      </p:sp>
      <p:sp>
        <p:nvSpPr>
          <p:cNvPr id="125" name="ZoneTexte 124">
            <a:extLst>
              <a:ext uri="{FF2B5EF4-FFF2-40B4-BE49-F238E27FC236}">
                <a16:creationId xmlns:a16="http://schemas.microsoft.com/office/drawing/2014/main" id="{0C5CADFA-5C9D-4C16-B598-96E0E8FF4769}"/>
              </a:ext>
            </a:extLst>
          </p:cNvPr>
          <p:cNvSpPr txBox="1"/>
          <p:nvPr/>
        </p:nvSpPr>
        <p:spPr>
          <a:xfrm>
            <a:off x="1450733" y="5080169"/>
            <a:ext cx="965590" cy="430887"/>
          </a:xfrm>
          <a:prstGeom prst="rect">
            <a:avLst/>
          </a:prstGeom>
          <a:noFill/>
          <a:ln>
            <a:noFill/>
          </a:ln>
        </p:spPr>
        <p:txBody>
          <a:bodyPr wrap="square" lIns="108000" rIns="108000" rtlCol="0">
            <a:spAutoFit/>
          </a:bodyPr>
          <a:lstStyle/>
          <a:p>
            <a:pPr algn="ctr"/>
            <a:r>
              <a:rPr lang="fr-FR" sz="1100" b="1">
                <a:solidFill>
                  <a:srgbClr val="B0ADCC"/>
                </a:solidFill>
                <a:latin typeface="Tahoma"/>
              </a:rPr>
              <a:t>Services </a:t>
            </a:r>
          </a:p>
          <a:p>
            <a:pPr algn="ctr"/>
            <a:r>
              <a:rPr lang="fr-FR" sz="1100" b="1">
                <a:solidFill>
                  <a:srgbClr val="B0ADCC"/>
                </a:solidFill>
                <a:latin typeface="Tahoma"/>
              </a:rPr>
              <a:t>hôteliers </a:t>
            </a:r>
          </a:p>
        </p:txBody>
      </p:sp>
      <p:sp>
        <p:nvSpPr>
          <p:cNvPr id="75" name="ZoneTexte 74">
            <a:extLst>
              <a:ext uri="{FF2B5EF4-FFF2-40B4-BE49-F238E27FC236}">
                <a16:creationId xmlns:a16="http://schemas.microsoft.com/office/drawing/2014/main" id="{B41C0DCA-80F1-4816-A457-1207C9D53DC4}"/>
              </a:ext>
            </a:extLst>
          </p:cNvPr>
          <p:cNvSpPr txBox="1"/>
          <p:nvPr/>
        </p:nvSpPr>
        <p:spPr>
          <a:xfrm>
            <a:off x="1074928" y="3430882"/>
            <a:ext cx="1743708" cy="615553"/>
          </a:xfrm>
          <a:prstGeom prst="rect">
            <a:avLst/>
          </a:prstGeom>
          <a:noFill/>
          <a:ln>
            <a:noFill/>
          </a:ln>
        </p:spPr>
        <p:txBody>
          <a:bodyPr wrap="square" lIns="108000" rIns="108000" rtlCol="0">
            <a:spAutoFit/>
          </a:bodyPr>
          <a:lstStyle/>
          <a:p>
            <a:pPr algn="ctr"/>
            <a:r>
              <a:rPr lang="fr-FR" sz="1100" b="1">
                <a:solidFill>
                  <a:srgbClr val="B0ADCC"/>
                </a:solidFill>
                <a:latin typeface="Tahoma"/>
              </a:rPr>
              <a:t>Accompagnement médico-social</a:t>
            </a:r>
          </a:p>
          <a:p>
            <a:pPr marL="171450" indent="-171450" algn="ctr">
              <a:buFontTx/>
              <a:buChar char="-"/>
            </a:pPr>
            <a:endParaRPr lang="fr-FR" sz="1200">
              <a:solidFill>
                <a:srgbClr val="B0ADCC"/>
              </a:solidFill>
              <a:latin typeface="Tahoma"/>
            </a:endParaRPr>
          </a:p>
        </p:txBody>
      </p:sp>
    </p:spTree>
    <p:extLst>
      <p:ext uri="{BB962C8B-B14F-4D97-AF65-F5344CB8AC3E}">
        <p14:creationId xmlns:p14="http://schemas.microsoft.com/office/powerpoint/2010/main" val="101927706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DDB96D-5870-433E-8224-8BA70AB31D5A}"/>
              </a:ext>
            </a:extLst>
          </p:cNvPr>
          <p:cNvSpPr>
            <a:spLocks noGrp="1"/>
          </p:cNvSpPr>
          <p:nvPr>
            <p:ph type="title"/>
          </p:nvPr>
        </p:nvSpPr>
        <p:spPr/>
        <p:txBody>
          <a:bodyPr/>
          <a:lstStyle/>
          <a:p>
            <a:r>
              <a:rPr lang="fr-FR"/>
              <a:t>Les bobos à la ferme</a:t>
            </a:r>
          </a:p>
        </p:txBody>
      </p:sp>
      <p:sp>
        <p:nvSpPr>
          <p:cNvPr id="3" name="Espace réservé du texte 2">
            <a:extLst>
              <a:ext uri="{FF2B5EF4-FFF2-40B4-BE49-F238E27FC236}">
                <a16:creationId xmlns:a16="http://schemas.microsoft.com/office/drawing/2014/main" id="{9C630387-01A6-4667-A171-E57EE95EAA8D}"/>
              </a:ext>
            </a:extLst>
          </p:cNvPr>
          <p:cNvSpPr>
            <a:spLocks noGrp="1"/>
          </p:cNvSpPr>
          <p:nvPr>
            <p:ph type="body" sz="quarter" idx="13"/>
          </p:nvPr>
        </p:nvSpPr>
        <p:spPr/>
        <p:txBody>
          <a:bodyPr/>
          <a:lstStyle/>
          <a:p>
            <a:r>
              <a:rPr lang="fr-FR"/>
              <a:t>fiches initiatives</a:t>
            </a:r>
          </a:p>
        </p:txBody>
      </p:sp>
      <p:grpSp>
        <p:nvGrpSpPr>
          <p:cNvPr id="89" name="Group 219">
            <a:extLst>
              <a:ext uri="{FF2B5EF4-FFF2-40B4-BE49-F238E27FC236}">
                <a16:creationId xmlns:a16="http://schemas.microsoft.com/office/drawing/2014/main" id="{23563D0E-A6E2-449B-BBEF-8098E393884C}"/>
              </a:ext>
            </a:extLst>
          </p:cNvPr>
          <p:cNvGrpSpPr>
            <a:grpSpLocks/>
          </p:cNvGrpSpPr>
          <p:nvPr/>
        </p:nvGrpSpPr>
        <p:grpSpPr bwMode="gray">
          <a:xfrm>
            <a:off x="1498106" y="972493"/>
            <a:ext cx="1015402" cy="933665"/>
            <a:chOff x="48" y="168"/>
            <a:chExt cx="3077" cy="3032"/>
          </a:xfrm>
          <a:solidFill>
            <a:schemeClr val="tx2"/>
          </a:solidFill>
          <a:effectLst>
            <a:outerShdw blurRad="127000" dist="50800" dir="2700000" algn="ctr" rotWithShape="0">
              <a:schemeClr val="tx1">
                <a:alpha val="40000"/>
              </a:schemeClr>
            </a:outerShdw>
          </a:effectLst>
        </p:grpSpPr>
        <p:sp>
          <p:nvSpPr>
            <p:cNvPr id="90" name="Nord-Pas-de-Calais" descr="© INSCALE GmbH, 05.05.2010&#10;http://www.presentationload.com/">
              <a:extLst>
                <a:ext uri="{FF2B5EF4-FFF2-40B4-BE49-F238E27FC236}">
                  <a16:creationId xmlns:a16="http://schemas.microsoft.com/office/drawing/2014/main" id="{AB720DBB-1E99-4155-8615-016531D8396C}"/>
                </a:ext>
              </a:extLst>
            </p:cNvPr>
            <p:cNvSpPr>
              <a:spLocks/>
            </p:cNvSpPr>
            <p:nvPr/>
          </p:nvSpPr>
          <p:spPr bwMode="gray">
            <a:xfrm>
              <a:off x="1600" y="168"/>
              <a:ext cx="608" cy="383"/>
            </a:xfrm>
            <a:custGeom>
              <a:avLst/>
              <a:gdLst/>
              <a:ahLst/>
              <a:cxnLst>
                <a:cxn ang="0">
                  <a:pos x="77" y="236"/>
                </a:cxn>
                <a:cxn ang="0">
                  <a:pos x="101" y="257"/>
                </a:cxn>
                <a:cxn ang="0">
                  <a:pos x="117" y="279"/>
                </a:cxn>
                <a:cxn ang="0">
                  <a:pos x="159" y="269"/>
                </a:cxn>
                <a:cxn ang="0">
                  <a:pos x="187" y="273"/>
                </a:cxn>
                <a:cxn ang="0">
                  <a:pos x="173" y="309"/>
                </a:cxn>
                <a:cxn ang="0">
                  <a:pos x="208" y="304"/>
                </a:cxn>
                <a:cxn ang="0">
                  <a:pos x="232" y="300"/>
                </a:cxn>
                <a:cxn ang="0">
                  <a:pos x="244" y="323"/>
                </a:cxn>
                <a:cxn ang="0">
                  <a:pos x="272" y="324"/>
                </a:cxn>
                <a:cxn ang="0">
                  <a:pos x="279" y="321"/>
                </a:cxn>
                <a:cxn ang="0">
                  <a:pos x="343" y="329"/>
                </a:cxn>
                <a:cxn ang="0">
                  <a:pos x="364" y="327"/>
                </a:cxn>
                <a:cxn ang="0">
                  <a:pos x="440" y="317"/>
                </a:cxn>
                <a:cxn ang="0">
                  <a:pos x="473" y="333"/>
                </a:cxn>
                <a:cxn ang="0">
                  <a:pos x="492" y="335"/>
                </a:cxn>
                <a:cxn ang="0">
                  <a:pos x="548" y="320"/>
                </a:cxn>
                <a:cxn ang="0">
                  <a:pos x="556" y="283"/>
                </a:cxn>
                <a:cxn ang="0">
                  <a:pos x="545" y="269"/>
                </a:cxn>
                <a:cxn ang="0">
                  <a:pos x="559" y="243"/>
                </a:cxn>
                <a:cxn ang="0">
                  <a:pos x="543" y="243"/>
                </a:cxn>
                <a:cxn ang="0">
                  <a:pos x="517" y="215"/>
                </a:cxn>
                <a:cxn ang="0">
                  <a:pos x="500" y="219"/>
                </a:cxn>
                <a:cxn ang="0">
                  <a:pos x="486" y="217"/>
                </a:cxn>
                <a:cxn ang="0">
                  <a:pos x="452" y="228"/>
                </a:cxn>
                <a:cxn ang="0">
                  <a:pos x="442" y="201"/>
                </a:cxn>
                <a:cxn ang="0">
                  <a:pos x="436" y="174"/>
                </a:cxn>
                <a:cxn ang="0">
                  <a:pos x="409" y="165"/>
                </a:cxn>
                <a:cxn ang="0">
                  <a:pos x="362" y="157"/>
                </a:cxn>
                <a:cxn ang="0">
                  <a:pos x="353" y="124"/>
                </a:cxn>
                <a:cxn ang="0">
                  <a:pos x="350" y="110"/>
                </a:cxn>
                <a:cxn ang="0">
                  <a:pos x="325" y="90"/>
                </a:cxn>
                <a:cxn ang="0">
                  <a:pos x="283" y="114"/>
                </a:cxn>
                <a:cxn ang="0">
                  <a:pos x="262" y="106"/>
                </a:cxn>
                <a:cxn ang="0">
                  <a:pos x="245" y="76"/>
                </a:cxn>
                <a:cxn ang="0">
                  <a:pos x="221" y="67"/>
                </a:cxn>
                <a:cxn ang="0">
                  <a:pos x="224" y="42"/>
                </a:cxn>
                <a:cxn ang="0">
                  <a:pos x="212" y="9"/>
                </a:cxn>
                <a:cxn ang="0">
                  <a:pos x="157" y="7"/>
                </a:cxn>
                <a:cxn ang="0">
                  <a:pos x="54" y="31"/>
                </a:cxn>
                <a:cxn ang="0">
                  <a:pos x="7" y="57"/>
                </a:cxn>
                <a:cxn ang="0">
                  <a:pos x="5" y="106"/>
                </a:cxn>
                <a:cxn ang="0">
                  <a:pos x="4" y="192"/>
                </a:cxn>
                <a:cxn ang="0">
                  <a:pos x="1" y="228"/>
                </a:cxn>
                <a:cxn ang="0">
                  <a:pos x="12" y="235"/>
                </a:cxn>
                <a:cxn ang="0">
                  <a:pos x="65" y="237"/>
                </a:cxn>
              </a:cxnLst>
              <a:rect l="0" t="0" r="r" b="b"/>
              <a:pathLst>
                <a:path w="564" h="355">
                  <a:moveTo>
                    <a:pt x="65" y="237"/>
                  </a:moveTo>
                  <a:cubicBezTo>
                    <a:pt x="77" y="236"/>
                    <a:pt x="77" y="236"/>
                    <a:pt x="77" y="236"/>
                  </a:cubicBezTo>
                  <a:cubicBezTo>
                    <a:pt x="79" y="247"/>
                    <a:pt x="79" y="247"/>
                    <a:pt x="79" y="247"/>
                  </a:cubicBezTo>
                  <a:cubicBezTo>
                    <a:pt x="101" y="257"/>
                    <a:pt x="101" y="257"/>
                    <a:pt x="101" y="257"/>
                  </a:cubicBezTo>
                  <a:cubicBezTo>
                    <a:pt x="109" y="275"/>
                    <a:pt x="109" y="275"/>
                    <a:pt x="109" y="275"/>
                  </a:cubicBezTo>
                  <a:cubicBezTo>
                    <a:pt x="117" y="279"/>
                    <a:pt x="117" y="279"/>
                    <a:pt x="117" y="279"/>
                  </a:cubicBezTo>
                  <a:cubicBezTo>
                    <a:pt x="143" y="265"/>
                    <a:pt x="143" y="265"/>
                    <a:pt x="143" y="265"/>
                  </a:cubicBezTo>
                  <a:cubicBezTo>
                    <a:pt x="159" y="269"/>
                    <a:pt x="159" y="269"/>
                    <a:pt x="159" y="269"/>
                  </a:cubicBezTo>
                  <a:cubicBezTo>
                    <a:pt x="180" y="263"/>
                    <a:pt x="180" y="263"/>
                    <a:pt x="180" y="263"/>
                  </a:cubicBezTo>
                  <a:cubicBezTo>
                    <a:pt x="187" y="273"/>
                    <a:pt x="187" y="273"/>
                    <a:pt x="187" y="273"/>
                  </a:cubicBezTo>
                  <a:cubicBezTo>
                    <a:pt x="187" y="273"/>
                    <a:pt x="163" y="293"/>
                    <a:pt x="163" y="304"/>
                  </a:cubicBezTo>
                  <a:cubicBezTo>
                    <a:pt x="163" y="315"/>
                    <a:pt x="173" y="309"/>
                    <a:pt x="173" y="309"/>
                  </a:cubicBezTo>
                  <a:cubicBezTo>
                    <a:pt x="173" y="309"/>
                    <a:pt x="193" y="289"/>
                    <a:pt x="193" y="300"/>
                  </a:cubicBezTo>
                  <a:cubicBezTo>
                    <a:pt x="193" y="300"/>
                    <a:pt x="208" y="297"/>
                    <a:pt x="208" y="304"/>
                  </a:cubicBezTo>
                  <a:cubicBezTo>
                    <a:pt x="208" y="311"/>
                    <a:pt x="227" y="313"/>
                    <a:pt x="227" y="313"/>
                  </a:cubicBezTo>
                  <a:cubicBezTo>
                    <a:pt x="232" y="300"/>
                    <a:pt x="232" y="300"/>
                    <a:pt x="232" y="300"/>
                  </a:cubicBezTo>
                  <a:cubicBezTo>
                    <a:pt x="248" y="303"/>
                    <a:pt x="248" y="303"/>
                    <a:pt x="248" y="303"/>
                  </a:cubicBezTo>
                  <a:cubicBezTo>
                    <a:pt x="244" y="323"/>
                    <a:pt x="244" y="323"/>
                    <a:pt x="244" y="323"/>
                  </a:cubicBezTo>
                  <a:cubicBezTo>
                    <a:pt x="263" y="313"/>
                    <a:pt x="263" y="313"/>
                    <a:pt x="263" y="313"/>
                  </a:cubicBezTo>
                  <a:cubicBezTo>
                    <a:pt x="272" y="324"/>
                    <a:pt x="272" y="324"/>
                    <a:pt x="272" y="324"/>
                  </a:cubicBezTo>
                  <a:cubicBezTo>
                    <a:pt x="265" y="332"/>
                    <a:pt x="265" y="332"/>
                    <a:pt x="265" y="332"/>
                  </a:cubicBezTo>
                  <a:cubicBezTo>
                    <a:pt x="279" y="321"/>
                    <a:pt x="279" y="321"/>
                    <a:pt x="279" y="321"/>
                  </a:cubicBezTo>
                  <a:cubicBezTo>
                    <a:pt x="313" y="321"/>
                    <a:pt x="313" y="321"/>
                    <a:pt x="313" y="321"/>
                  </a:cubicBezTo>
                  <a:cubicBezTo>
                    <a:pt x="313" y="321"/>
                    <a:pt x="320" y="341"/>
                    <a:pt x="343" y="329"/>
                  </a:cubicBezTo>
                  <a:cubicBezTo>
                    <a:pt x="348" y="331"/>
                    <a:pt x="348" y="335"/>
                    <a:pt x="348" y="335"/>
                  </a:cubicBezTo>
                  <a:cubicBezTo>
                    <a:pt x="348" y="335"/>
                    <a:pt x="359" y="339"/>
                    <a:pt x="364" y="327"/>
                  </a:cubicBezTo>
                  <a:cubicBezTo>
                    <a:pt x="364" y="327"/>
                    <a:pt x="400" y="337"/>
                    <a:pt x="404" y="319"/>
                  </a:cubicBezTo>
                  <a:cubicBezTo>
                    <a:pt x="403" y="323"/>
                    <a:pt x="413" y="339"/>
                    <a:pt x="440" y="317"/>
                  </a:cubicBezTo>
                  <a:cubicBezTo>
                    <a:pt x="473" y="327"/>
                    <a:pt x="473" y="327"/>
                    <a:pt x="473" y="327"/>
                  </a:cubicBezTo>
                  <a:cubicBezTo>
                    <a:pt x="473" y="333"/>
                    <a:pt x="473" y="333"/>
                    <a:pt x="473" y="333"/>
                  </a:cubicBezTo>
                  <a:cubicBezTo>
                    <a:pt x="492" y="321"/>
                    <a:pt x="492" y="321"/>
                    <a:pt x="492" y="321"/>
                  </a:cubicBezTo>
                  <a:cubicBezTo>
                    <a:pt x="492" y="335"/>
                    <a:pt x="492" y="335"/>
                    <a:pt x="492" y="335"/>
                  </a:cubicBezTo>
                  <a:cubicBezTo>
                    <a:pt x="492" y="335"/>
                    <a:pt x="522" y="355"/>
                    <a:pt x="554" y="333"/>
                  </a:cubicBezTo>
                  <a:cubicBezTo>
                    <a:pt x="551" y="330"/>
                    <a:pt x="549" y="325"/>
                    <a:pt x="548" y="320"/>
                  </a:cubicBezTo>
                  <a:cubicBezTo>
                    <a:pt x="547" y="313"/>
                    <a:pt x="558" y="305"/>
                    <a:pt x="561" y="303"/>
                  </a:cubicBezTo>
                  <a:cubicBezTo>
                    <a:pt x="564" y="301"/>
                    <a:pt x="556" y="283"/>
                    <a:pt x="556" y="283"/>
                  </a:cubicBezTo>
                  <a:cubicBezTo>
                    <a:pt x="556" y="283"/>
                    <a:pt x="553" y="283"/>
                    <a:pt x="547" y="283"/>
                  </a:cubicBezTo>
                  <a:cubicBezTo>
                    <a:pt x="541" y="283"/>
                    <a:pt x="545" y="269"/>
                    <a:pt x="545" y="269"/>
                  </a:cubicBezTo>
                  <a:cubicBezTo>
                    <a:pt x="547" y="260"/>
                    <a:pt x="547" y="260"/>
                    <a:pt x="547" y="260"/>
                  </a:cubicBezTo>
                  <a:cubicBezTo>
                    <a:pt x="547" y="260"/>
                    <a:pt x="558" y="246"/>
                    <a:pt x="559" y="243"/>
                  </a:cubicBezTo>
                  <a:cubicBezTo>
                    <a:pt x="560" y="240"/>
                    <a:pt x="554" y="236"/>
                    <a:pt x="554" y="236"/>
                  </a:cubicBezTo>
                  <a:cubicBezTo>
                    <a:pt x="543" y="243"/>
                    <a:pt x="543" y="243"/>
                    <a:pt x="543" y="243"/>
                  </a:cubicBezTo>
                  <a:cubicBezTo>
                    <a:pt x="542" y="233"/>
                    <a:pt x="542" y="233"/>
                    <a:pt x="542" y="233"/>
                  </a:cubicBezTo>
                  <a:cubicBezTo>
                    <a:pt x="517" y="215"/>
                    <a:pt x="517" y="215"/>
                    <a:pt x="517" y="215"/>
                  </a:cubicBezTo>
                  <a:cubicBezTo>
                    <a:pt x="514" y="219"/>
                    <a:pt x="514" y="219"/>
                    <a:pt x="514" y="219"/>
                  </a:cubicBezTo>
                  <a:cubicBezTo>
                    <a:pt x="500" y="219"/>
                    <a:pt x="500" y="219"/>
                    <a:pt x="500" y="219"/>
                  </a:cubicBezTo>
                  <a:cubicBezTo>
                    <a:pt x="493" y="225"/>
                    <a:pt x="493" y="225"/>
                    <a:pt x="493" y="225"/>
                  </a:cubicBezTo>
                  <a:cubicBezTo>
                    <a:pt x="486" y="217"/>
                    <a:pt x="486" y="217"/>
                    <a:pt x="486" y="217"/>
                  </a:cubicBezTo>
                  <a:cubicBezTo>
                    <a:pt x="460" y="216"/>
                    <a:pt x="460" y="216"/>
                    <a:pt x="460" y="216"/>
                  </a:cubicBezTo>
                  <a:cubicBezTo>
                    <a:pt x="452" y="228"/>
                    <a:pt x="452" y="228"/>
                    <a:pt x="452" y="228"/>
                  </a:cubicBezTo>
                  <a:cubicBezTo>
                    <a:pt x="443" y="216"/>
                    <a:pt x="443" y="216"/>
                    <a:pt x="443" y="216"/>
                  </a:cubicBezTo>
                  <a:cubicBezTo>
                    <a:pt x="442" y="201"/>
                    <a:pt x="442" y="201"/>
                    <a:pt x="442" y="201"/>
                  </a:cubicBezTo>
                  <a:cubicBezTo>
                    <a:pt x="449" y="195"/>
                    <a:pt x="449" y="195"/>
                    <a:pt x="449" y="195"/>
                  </a:cubicBezTo>
                  <a:cubicBezTo>
                    <a:pt x="436" y="174"/>
                    <a:pt x="436" y="174"/>
                    <a:pt x="436" y="174"/>
                  </a:cubicBezTo>
                  <a:cubicBezTo>
                    <a:pt x="410" y="172"/>
                    <a:pt x="410" y="172"/>
                    <a:pt x="410" y="172"/>
                  </a:cubicBezTo>
                  <a:cubicBezTo>
                    <a:pt x="409" y="165"/>
                    <a:pt x="409" y="165"/>
                    <a:pt x="409" y="165"/>
                  </a:cubicBezTo>
                  <a:cubicBezTo>
                    <a:pt x="409" y="165"/>
                    <a:pt x="390" y="174"/>
                    <a:pt x="383" y="174"/>
                  </a:cubicBezTo>
                  <a:cubicBezTo>
                    <a:pt x="376" y="174"/>
                    <a:pt x="362" y="157"/>
                    <a:pt x="362" y="157"/>
                  </a:cubicBezTo>
                  <a:cubicBezTo>
                    <a:pt x="362" y="141"/>
                    <a:pt x="362" y="141"/>
                    <a:pt x="362" y="141"/>
                  </a:cubicBezTo>
                  <a:cubicBezTo>
                    <a:pt x="353" y="124"/>
                    <a:pt x="353" y="124"/>
                    <a:pt x="353" y="124"/>
                  </a:cubicBezTo>
                  <a:cubicBezTo>
                    <a:pt x="353" y="124"/>
                    <a:pt x="360" y="119"/>
                    <a:pt x="359" y="116"/>
                  </a:cubicBezTo>
                  <a:cubicBezTo>
                    <a:pt x="358" y="113"/>
                    <a:pt x="350" y="110"/>
                    <a:pt x="350" y="110"/>
                  </a:cubicBezTo>
                  <a:cubicBezTo>
                    <a:pt x="335" y="85"/>
                    <a:pt x="335" y="85"/>
                    <a:pt x="335" y="85"/>
                  </a:cubicBezTo>
                  <a:cubicBezTo>
                    <a:pt x="325" y="90"/>
                    <a:pt x="325" y="90"/>
                    <a:pt x="325" y="90"/>
                  </a:cubicBezTo>
                  <a:cubicBezTo>
                    <a:pt x="325" y="90"/>
                    <a:pt x="291" y="99"/>
                    <a:pt x="291" y="106"/>
                  </a:cubicBezTo>
                  <a:cubicBezTo>
                    <a:pt x="291" y="113"/>
                    <a:pt x="283" y="114"/>
                    <a:pt x="283" y="114"/>
                  </a:cubicBezTo>
                  <a:cubicBezTo>
                    <a:pt x="273" y="106"/>
                    <a:pt x="273" y="106"/>
                    <a:pt x="273" y="106"/>
                  </a:cubicBezTo>
                  <a:cubicBezTo>
                    <a:pt x="262" y="106"/>
                    <a:pt x="262" y="106"/>
                    <a:pt x="262" y="106"/>
                  </a:cubicBezTo>
                  <a:cubicBezTo>
                    <a:pt x="262" y="106"/>
                    <a:pt x="253" y="99"/>
                    <a:pt x="253" y="95"/>
                  </a:cubicBezTo>
                  <a:cubicBezTo>
                    <a:pt x="253" y="91"/>
                    <a:pt x="245" y="76"/>
                    <a:pt x="245" y="76"/>
                  </a:cubicBezTo>
                  <a:cubicBezTo>
                    <a:pt x="231" y="77"/>
                    <a:pt x="231" y="77"/>
                    <a:pt x="231" y="77"/>
                  </a:cubicBezTo>
                  <a:cubicBezTo>
                    <a:pt x="221" y="67"/>
                    <a:pt x="221" y="67"/>
                    <a:pt x="221" y="67"/>
                  </a:cubicBezTo>
                  <a:cubicBezTo>
                    <a:pt x="223" y="56"/>
                    <a:pt x="223" y="56"/>
                    <a:pt x="223" y="56"/>
                  </a:cubicBezTo>
                  <a:cubicBezTo>
                    <a:pt x="223" y="56"/>
                    <a:pt x="221" y="42"/>
                    <a:pt x="224" y="42"/>
                  </a:cubicBezTo>
                  <a:cubicBezTo>
                    <a:pt x="227" y="42"/>
                    <a:pt x="221" y="27"/>
                    <a:pt x="221" y="27"/>
                  </a:cubicBezTo>
                  <a:cubicBezTo>
                    <a:pt x="221" y="27"/>
                    <a:pt x="212" y="15"/>
                    <a:pt x="212" y="9"/>
                  </a:cubicBezTo>
                  <a:cubicBezTo>
                    <a:pt x="212" y="3"/>
                    <a:pt x="207" y="0"/>
                    <a:pt x="207" y="0"/>
                  </a:cubicBezTo>
                  <a:cubicBezTo>
                    <a:pt x="207" y="0"/>
                    <a:pt x="174" y="6"/>
                    <a:pt x="157" y="7"/>
                  </a:cubicBezTo>
                  <a:cubicBezTo>
                    <a:pt x="140" y="8"/>
                    <a:pt x="143" y="8"/>
                    <a:pt x="115" y="17"/>
                  </a:cubicBezTo>
                  <a:cubicBezTo>
                    <a:pt x="87" y="26"/>
                    <a:pt x="75" y="27"/>
                    <a:pt x="54" y="31"/>
                  </a:cubicBezTo>
                  <a:cubicBezTo>
                    <a:pt x="33" y="35"/>
                    <a:pt x="26" y="54"/>
                    <a:pt x="26" y="54"/>
                  </a:cubicBezTo>
                  <a:cubicBezTo>
                    <a:pt x="7" y="57"/>
                    <a:pt x="7" y="57"/>
                    <a:pt x="7" y="57"/>
                  </a:cubicBezTo>
                  <a:cubicBezTo>
                    <a:pt x="7" y="57"/>
                    <a:pt x="16" y="74"/>
                    <a:pt x="15" y="87"/>
                  </a:cubicBezTo>
                  <a:cubicBezTo>
                    <a:pt x="14" y="100"/>
                    <a:pt x="5" y="100"/>
                    <a:pt x="5" y="106"/>
                  </a:cubicBezTo>
                  <a:cubicBezTo>
                    <a:pt x="5" y="112"/>
                    <a:pt x="14" y="157"/>
                    <a:pt x="14" y="157"/>
                  </a:cubicBezTo>
                  <a:cubicBezTo>
                    <a:pt x="4" y="192"/>
                    <a:pt x="4" y="192"/>
                    <a:pt x="4" y="192"/>
                  </a:cubicBezTo>
                  <a:cubicBezTo>
                    <a:pt x="4" y="192"/>
                    <a:pt x="7" y="201"/>
                    <a:pt x="12" y="203"/>
                  </a:cubicBezTo>
                  <a:cubicBezTo>
                    <a:pt x="4" y="203"/>
                    <a:pt x="0" y="217"/>
                    <a:pt x="1" y="228"/>
                  </a:cubicBezTo>
                  <a:cubicBezTo>
                    <a:pt x="2" y="239"/>
                    <a:pt x="9" y="232"/>
                    <a:pt x="9" y="232"/>
                  </a:cubicBezTo>
                  <a:cubicBezTo>
                    <a:pt x="9" y="232"/>
                    <a:pt x="10" y="233"/>
                    <a:pt x="12" y="235"/>
                  </a:cubicBezTo>
                  <a:cubicBezTo>
                    <a:pt x="21" y="231"/>
                    <a:pt x="35" y="224"/>
                    <a:pt x="39" y="224"/>
                  </a:cubicBezTo>
                  <a:cubicBezTo>
                    <a:pt x="44" y="224"/>
                    <a:pt x="65" y="237"/>
                    <a:pt x="65" y="23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1" name="Picardie" descr="© INSCALE GmbH, 05.05.2010&#10;http://www.presentationload.com/">
              <a:extLst>
                <a:ext uri="{FF2B5EF4-FFF2-40B4-BE49-F238E27FC236}">
                  <a16:creationId xmlns:a16="http://schemas.microsoft.com/office/drawing/2014/main" id="{2A78403A-7F28-4A1F-B641-DECB4BC24BE4}"/>
                </a:ext>
              </a:extLst>
            </p:cNvPr>
            <p:cNvSpPr>
              <a:spLocks/>
            </p:cNvSpPr>
            <p:nvPr/>
          </p:nvSpPr>
          <p:spPr bwMode="gray">
            <a:xfrm>
              <a:off x="1552" y="410"/>
              <a:ext cx="644" cy="519"/>
            </a:xfrm>
            <a:custGeom>
              <a:avLst/>
              <a:gdLst/>
              <a:ahLst/>
              <a:cxnLst>
                <a:cxn ang="0">
                  <a:pos x="17" y="99"/>
                </a:cxn>
                <a:cxn ang="0">
                  <a:pos x="85" y="189"/>
                </a:cxn>
                <a:cxn ang="0">
                  <a:pos x="79" y="213"/>
                </a:cxn>
                <a:cxn ang="0">
                  <a:pos x="79" y="264"/>
                </a:cxn>
                <a:cxn ang="0">
                  <a:pos x="83" y="275"/>
                </a:cxn>
                <a:cxn ang="0">
                  <a:pos x="84" y="355"/>
                </a:cxn>
                <a:cxn ang="0">
                  <a:pos x="76" y="379"/>
                </a:cxn>
                <a:cxn ang="0">
                  <a:pos x="144" y="371"/>
                </a:cxn>
                <a:cxn ang="0">
                  <a:pos x="160" y="373"/>
                </a:cxn>
                <a:cxn ang="0">
                  <a:pos x="173" y="376"/>
                </a:cxn>
                <a:cxn ang="0">
                  <a:pos x="196" y="375"/>
                </a:cxn>
                <a:cxn ang="0">
                  <a:pos x="196" y="375"/>
                </a:cxn>
                <a:cxn ang="0">
                  <a:pos x="232" y="403"/>
                </a:cxn>
                <a:cxn ang="0">
                  <a:pos x="251" y="409"/>
                </a:cxn>
                <a:cxn ang="0">
                  <a:pos x="280" y="412"/>
                </a:cxn>
                <a:cxn ang="0">
                  <a:pos x="311" y="413"/>
                </a:cxn>
                <a:cxn ang="0">
                  <a:pos x="356" y="397"/>
                </a:cxn>
                <a:cxn ang="0">
                  <a:pos x="392" y="451"/>
                </a:cxn>
                <a:cxn ang="0">
                  <a:pos x="407" y="457"/>
                </a:cxn>
                <a:cxn ang="0">
                  <a:pos x="421" y="476"/>
                </a:cxn>
                <a:cxn ang="0">
                  <a:pos x="451" y="461"/>
                </a:cxn>
                <a:cxn ang="0">
                  <a:pos x="480" y="424"/>
                </a:cxn>
                <a:cxn ang="0">
                  <a:pos x="463" y="415"/>
                </a:cxn>
                <a:cxn ang="0">
                  <a:pos x="465" y="391"/>
                </a:cxn>
                <a:cxn ang="0">
                  <a:pos x="473" y="364"/>
                </a:cxn>
                <a:cxn ang="0">
                  <a:pos x="473" y="333"/>
                </a:cxn>
                <a:cxn ang="0">
                  <a:pos x="517" y="309"/>
                </a:cxn>
                <a:cxn ang="0">
                  <a:pos x="552" y="316"/>
                </a:cxn>
                <a:cxn ang="0">
                  <a:pos x="560" y="260"/>
                </a:cxn>
                <a:cxn ang="0">
                  <a:pos x="564" y="229"/>
                </a:cxn>
                <a:cxn ang="0">
                  <a:pos x="593" y="187"/>
                </a:cxn>
                <a:cxn ang="0">
                  <a:pos x="592" y="143"/>
                </a:cxn>
                <a:cxn ang="0">
                  <a:pos x="536" y="111"/>
                </a:cxn>
                <a:cxn ang="0">
                  <a:pos x="517" y="109"/>
                </a:cxn>
                <a:cxn ang="0">
                  <a:pos x="484" y="93"/>
                </a:cxn>
                <a:cxn ang="0">
                  <a:pos x="408" y="103"/>
                </a:cxn>
                <a:cxn ang="0">
                  <a:pos x="387" y="105"/>
                </a:cxn>
                <a:cxn ang="0">
                  <a:pos x="323" y="97"/>
                </a:cxn>
                <a:cxn ang="0">
                  <a:pos x="316" y="100"/>
                </a:cxn>
                <a:cxn ang="0">
                  <a:pos x="288" y="99"/>
                </a:cxn>
                <a:cxn ang="0">
                  <a:pos x="276" y="76"/>
                </a:cxn>
                <a:cxn ang="0">
                  <a:pos x="252" y="80"/>
                </a:cxn>
                <a:cxn ang="0">
                  <a:pos x="217" y="85"/>
                </a:cxn>
                <a:cxn ang="0">
                  <a:pos x="231" y="49"/>
                </a:cxn>
                <a:cxn ang="0">
                  <a:pos x="203" y="45"/>
                </a:cxn>
                <a:cxn ang="0">
                  <a:pos x="161" y="55"/>
                </a:cxn>
                <a:cxn ang="0">
                  <a:pos x="145" y="33"/>
                </a:cxn>
                <a:cxn ang="0">
                  <a:pos x="121" y="12"/>
                </a:cxn>
                <a:cxn ang="0">
                  <a:pos x="83" y="0"/>
                </a:cxn>
                <a:cxn ang="0">
                  <a:pos x="63" y="30"/>
                </a:cxn>
                <a:cxn ang="0">
                  <a:pos x="25" y="60"/>
                </a:cxn>
                <a:cxn ang="0">
                  <a:pos x="5" y="92"/>
                </a:cxn>
              </a:cxnLst>
              <a:rect l="0" t="0" r="r" b="b"/>
              <a:pathLst>
                <a:path w="597" h="481">
                  <a:moveTo>
                    <a:pt x="17" y="95"/>
                  </a:moveTo>
                  <a:cubicBezTo>
                    <a:pt x="17" y="99"/>
                    <a:pt x="17" y="99"/>
                    <a:pt x="17" y="99"/>
                  </a:cubicBezTo>
                  <a:cubicBezTo>
                    <a:pt x="17" y="99"/>
                    <a:pt x="43" y="136"/>
                    <a:pt x="61" y="139"/>
                  </a:cubicBezTo>
                  <a:cubicBezTo>
                    <a:pt x="85" y="189"/>
                    <a:pt x="85" y="189"/>
                    <a:pt x="85" y="189"/>
                  </a:cubicBezTo>
                  <a:cubicBezTo>
                    <a:pt x="85" y="189"/>
                    <a:pt x="64" y="211"/>
                    <a:pt x="68" y="212"/>
                  </a:cubicBezTo>
                  <a:cubicBezTo>
                    <a:pt x="72" y="213"/>
                    <a:pt x="79" y="213"/>
                    <a:pt x="79" y="213"/>
                  </a:cubicBezTo>
                  <a:cubicBezTo>
                    <a:pt x="69" y="244"/>
                    <a:pt x="69" y="244"/>
                    <a:pt x="69" y="244"/>
                  </a:cubicBezTo>
                  <a:cubicBezTo>
                    <a:pt x="79" y="264"/>
                    <a:pt x="79" y="264"/>
                    <a:pt x="79" y="264"/>
                  </a:cubicBezTo>
                  <a:cubicBezTo>
                    <a:pt x="73" y="276"/>
                    <a:pt x="73" y="276"/>
                    <a:pt x="73" y="276"/>
                  </a:cubicBezTo>
                  <a:cubicBezTo>
                    <a:pt x="83" y="275"/>
                    <a:pt x="83" y="275"/>
                    <a:pt x="83" y="275"/>
                  </a:cubicBezTo>
                  <a:cubicBezTo>
                    <a:pt x="73" y="303"/>
                    <a:pt x="73" y="303"/>
                    <a:pt x="73" y="303"/>
                  </a:cubicBezTo>
                  <a:cubicBezTo>
                    <a:pt x="73" y="303"/>
                    <a:pt x="85" y="340"/>
                    <a:pt x="84" y="355"/>
                  </a:cubicBezTo>
                  <a:cubicBezTo>
                    <a:pt x="65" y="349"/>
                    <a:pt x="65" y="349"/>
                    <a:pt x="65" y="349"/>
                  </a:cubicBezTo>
                  <a:cubicBezTo>
                    <a:pt x="76" y="379"/>
                    <a:pt x="76" y="379"/>
                    <a:pt x="76" y="379"/>
                  </a:cubicBezTo>
                  <a:cubicBezTo>
                    <a:pt x="128" y="375"/>
                    <a:pt x="128" y="375"/>
                    <a:pt x="128" y="375"/>
                  </a:cubicBezTo>
                  <a:cubicBezTo>
                    <a:pt x="144" y="371"/>
                    <a:pt x="144" y="371"/>
                    <a:pt x="144" y="371"/>
                  </a:cubicBezTo>
                  <a:cubicBezTo>
                    <a:pt x="151" y="376"/>
                    <a:pt x="151" y="376"/>
                    <a:pt x="151" y="376"/>
                  </a:cubicBezTo>
                  <a:cubicBezTo>
                    <a:pt x="160" y="373"/>
                    <a:pt x="160" y="373"/>
                    <a:pt x="160" y="373"/>
                  </a:cubicBezTo>
                  <a:cubicBezTo>
                    <a:pt x="169" y="383"/>
                    <a:pt x="169" y="383"/>
                    <a:pt x="169" y="383"/>
                  </a:cubicBezTo>
                  <a:cubicBezTo>
                    <a:pt x="173" y="376"/>
                    <a:pt x="173" y="376"/>
                    <a:pt x="173" y="376"/>
                  </a:cubicBezTo>
                  <a:cubicBezTo>
                    <a:pt x="177" y="384"/>
                    <a:pt x="177" y="384"/>
                    <a:pt x="177" y="384"/>
                  </a:cubicBezTo>
                  <a:cubicBezTo>
                    <a:pt x="196" y="375"/>
                    <a:pt x="196" y="375"/>
                    <a:pt x="196" y="375"/>
                  </a:cubicBezTo>
                  <a:cubicBezTo>
                    <a:pt x="197" y="375"/>
                    <a:pt x="197" y="375"/>
                    <a:pt x="197" y="375"/>
                  </a:cubicBezTo>
                  <a:cubicBezTo>
                    <a:pt x="196" y="375"/>
                    <a:pt x="196" y="375"/>
                    <a:pt x="196" y="375"/>
                  </a:cubicBezTo>
                  <a:cubicBezTo>
                    <a:pt x="194" y="376"/>
                    <a:pt x="190" y="380"/>
                    <a:pt x="203" y="383"/>
                  </a:cubicBezTo>
                  <a:cubicBezTo>
                    <a:pt x="219" y="387"/>
                    <a:pt x="237" y="399"/>
                    <a:pt x="232" y="403"/>
                  </a:cubicBezTo>
                  <a:cubicBezTo>
                    <a:pt x="227" y="407"/>
                    <a:pt x="245" y="399"/>
                    <a:pt x="245" y="399"/>
                  </a:cubicBezTo>
                  <a:cubicBezTo>
                    <a:pt x="251" y="409"/>
                    <a:pt x="251" y="409"/>
                    <a:pt x="251" y="409"/>
                  </a:cubicBezTo>
                  <a:cubicBezTo>
                    <a:pt x="251" y="409"/>
                    <a:pt x="253" y="397"/>
                    <a:pt x="260" y="401"/>
                  </a:cubicBezTo>
                  <a:cubicBezTo>
                    <a:pt x="267" y="405"/>
                    <a:pt x="272" y="409"/>
                    <a:pt x="280" y="412"/>
                  </a:cubicBezTo>
                  <a:cubicBezTo>
                    <a:pt x="288" y="415"/>
                    <a:pt x="297" y="405"/>
                    <a:pt x="297" y="405"/>
                  </a:cubicBezTo>
                  <a:cubicBezTo>
                    <a:pt x="311" y="413"/>
                    <a:pt x="311" y="413"/>
                    <a:pt x="311" y="413"/>
                  </a:cubicBezTo>
                  <a:cubicBezTo>
                    <a:pt x="349" y="403"/>
                    <a:pt x="349" y="403"/>
                    <a:pt x="349" y="403"/>
                  </a:cubicBezTo>
                  <a:cubicBezTo>
                    <a:pt x="356" y="397"/>
                    <a:pt x="356" y="397"/>
                    <a:pt x="356" y="397"/>
                  </a:cubicBezTo>
                  <a:cubicBezTo>
                    <a:pt x="356" y="397"/>
                    <a:pt x="380" y="399"/>
                    <a:pt x="376" y="431"/>
                  </a:cubicBezTo>
                  <a:cubicBezTo>
                    <a:pt x="377" y="436"/>
                    <a:pt x="393" y="443"/>
                    <a:pt x="392" y="451"/>
                  </a:cubicBezTo>
                  <a:cubicBezTo>
                    <a:pt x="391" y="459"/>
                    <a:pt x="404" y="449"/>
                    <a:pt x="404" y="449"/>
                  </a:cubicBezTo>
                  <a:cubicBezTo>
                    <a:pt x="407" y="457"/>
                    <a:pt x="407" y="457"/>
                    <a:pt x="407" y="457"/>
                  </a:cubicBezTo>
                  <a:cubicBezTo>
                    <a:pt x="417" y="457"/>
                    <a:pt x="417" y="457"/>
                    <a:pt x="417" y="457"/>
                  </a:cubicBezTo>
                  <a:cubicBezTo>
                    <a:pt x="417" y="457"/>
                    <a:pt x="417" y="476"/>
                    <a:pt x="421" y="476"/>
                  </a:cubicBezTo>
                  <a:cubicBezTo>
                    <a:pt x="425" y="476"/>
                    <a:pt x="441" y="481"/>
                    <a:pt x="441" y="481"/>
                  </a:cubicBezTo>
                  <a:cubicBezTo>
                    <a:pt x="451" y="461"/>
                    <a:pt x="451" y="461"/>
                    <a:pt x="451" y="461"/>
                  </a:cubicBezTo>
                  <a:cubicBezTo>
                    <a:pt x="457" y="459"/>
                    <a:pt x="457" y="459"/>
                    <a:pt x="457" y="459"/>
                  </a:cubicBezTo>
                  <a:cubicBezTo>
                    <a:pt x="457" y="459"/>
                    <a:pt x="487" y="429"/>
                    <a:pt x="480" y="424"/>
                  </a:cubicBezTo>
                  <a:cubicBezTo>
                    <a:pt x="473" y="419"/>
                    <a:pt x="461" y="420"/>
                    <a:pt x="461" y="420"/>
                  </a:cubicBezTo>
                  <a:cubicBezTo>
                    <a:pt x="463" y="415"/>
                    <a:pt x="463" y="415"/>
                    <a:pt x="463" y="415"/>
                  </a:cubicBezTo>
                  <a:cubicBezTo>
                    <a:pt x="471" y="408"/>
                    <a:pt x="471" y="408"/>
                    <a:pt x="471" y="408"/>
                  </a:cubicBezTo>
                  <a:cubicBezTo>
                    <a:pt x="471" y="408"/>
                    <a:pt x="463" y="396"/>
                    <a:pt x="465" y="391"/>
                  </a:cubicBezTo>
                  <a:cubicBezTo>
                    <a:pt x="468" y="385"/>
                    <a:pt x="492" y="380"/>
                    <a:pt x="492" y="380"/>
                  </a:cubicBezTo>
                  <a:cubicBezTo>
                    <a:pt x="473" y="364"/>
                    <a:pt x="473" y="364"/>
                    <a:pt x="473" y="364"/>
                  </a:cubicBezTo>
                  <a:cubicBezTo>
                    <a:pt x="479" y="353"/>
                    <a:pt x="479" y="353"/>
                    <a:pt x="479" y="353"/>
                  </a:cubicBezTo>
                  <a:cubicBezTo>
                    <a:pt x="473" y="333"/>
                    <a:pt x="473" y="333"/>
                    <a:pt x="473" y="333"/>
                  </a:cubicBezTo>
                  <a:cubicBezTo>
                    <a:pt x="473" y="333"/>
                    <a:pt x="495" y="315"/>
                    <a:pt x="512" y="320"/>
                  </a:cubicBezTo>
                  <a:cubicBezTo>
                    <a:pt x="516" y="319"/>
                    <a:pt x="517" y="309"/>
                    <a:pt x="517" y="309"/>
                  </a:cubicBezTo>
                  <a:cubicBezTo>
                    <a:pt x="528" y="303"/>
                    <a:pt x="528" y="303"/>
                    <a:pt x="528" y="303"/>
                  </a:cubicBezTo>
                  <a:cubicBezTo>
                    <a:pt x="528" y="303"/>
                    <a:pt x="547" y="316"/>
                    <a:pt x="552" y="316"/>
                  </a:cubicBezTo>
                  <a:cubicBezTo>
                    <a:pt x="557" y="316"/>
                    <a:pt x="552" y="267"/>
                    <a:pt x="552" y="267"/>
                  </a:cubicBezTo>
                  <a:cubicBezTo>
                    <a:pt x="560" y="260"/>
                    <a:pt x="560" y="260"/>
                    <a:pt x="560" y="260"/>
                  </a:cubicBezTo>
                  <a:cubicBezTo>
                    <a:pt x="548" y="231"/>
                    <a:pt x="548" y="231"/>
                    <a:pt x="548" y="231"/>
                  </a:cubicBezTo>
                  <a:cubicBezTo>
                    <a:pt x="564" y="229"/>
                    <a:pt x="564" y="229"/>
                    <a:pt x="564" y="229"/>
                  </a:cubicBezTo>
                  <a:cubicBezTo>
                    <a:pt x="571" y="215"/>
                    <a:pt x="571" y="215"/>
                    <a:pt x="571" y="215"/>
                  </a:cubicBezTo>
                  <a:cubicBezTo>
                    <a:pt x="593" y="187"/>
                    <a:pt x="593" y="187"/>
                    <a:pt x="593" y="187"/>
                  </a:cubicBezTo>
                  <a:cubicBezTo>
                    <a:pt x="587" y="180"/>
                    <a:pt x="587" y="180"/>
                    <a:pt x="587" y="180"/>
                  </a:cubicBezTo>
                  <a:cubicBezTo>
                    <a:pt x="592" y="143"/>
                    <a:pt x="592" y="143"/>
                    <a:pt x="592" y="143"/>
                  </a:cubicBezTo>
                  <a:cubicBezTo>
                    <a:pt x="592" y="143"/>
                    <a:pt x="583" y="130"/>
                    <a:pt x="597" y="110"/>
                  </a:cubicBezTo>
                  <a:cubicBezTo>
                    <a:pt x="566" y="131"/>
                    <a:pt x="536" y="111"/>
                    <a:pt x="536" y="111"/>
                  </a:cubicBezTo>
                  <a:cubicBezTo>
                    <a:pt x="536" y="97"/>
                    <a:pt x="536" y="97"/>
                    <a:pt x="536" y="97"/>
                  </a:cubicBezTo>
                  <a:cubicBezTo>
                    <a:pt x="517" y="109"/>
                    <a:pt x="517" y="109"/>
                    <a:pt x="517" y="109"/>
                  </a:cubicBezTo>
                  <a:cubicBezTo>
                    <a:pt x="517" y="103"/>
                    <a:pt x="517" y="103"/>
                    <a:pt x="517" y="103"/>
                  </a:cubicBezTo>
                  <a:cubicBezTo>
                    <a:pt x="484" y="93"/>
                    <a:pt x="484" y="93"/>
                    <a:pt x="484" y="93"/>
                  </a:cubicBezTo>
                  <a:cubicBezTo>
                    <a:pt x="457" y="115"/>
                    <a:pt x="447" y="99"/>
                    <a:pt x="448" y="95"/>
                  </a:cubicBezTo>
                  <a:cubicBezTo>
                    <a:pt x="444" y="113"/>
                    <a:pt x="408" y="103"/>
                    <a:pt x="408" y="103"/>
                  </a:cubicBezTo>
                  <a:cubicBezTo>
                    <a:pt x="403" y="115"/>
                    <a:pt x="392" y="111"/>
                    <a:pt x="392" y="111"/>
                  </a:cubicBezTo>
                  <a:cubicBezTo>
                    <a:pt x="392" y="111"/>
                    <a:pt x="392" y="107"/>
                    <a:pt x="387" y="105"/>
                  </a:cubicBezTo>
                  <a:cubicBezTo>
                    <a:pt x="364" y="117"/>
                    <a:pt x="357" y="97"/>
                    <a:pt x="357" y="97"/>
                  </a:cubicBezTo>
                  <a:cubicBezTo>
                    <a:pt x="323" y="97"/>
                    <a:pt x="323" y="97"/>
                    <a:pt x="323" y="97"/>
                  </a:cubicBezTo>
                  <a:cubicBezTo>
                    <a:pt x="309" y="108"/>
                    <a:pt x="309" y="108"/>
                    <a:pt x="309" y="108"/>
                  </a:cubicBezTo>
                  <a:cubicBezTo>
                    <a:pt x="316" y="100"/>
                    <a:pt x="316" y="100"/>
                    <a:pt x="316" y="100"/>
                  </a:cubicBezTo>
                  <a:cubicBezTo>
                    <a:pt x="307" y="89"/>
                    <a:pt x="307" y="89"/>
                    <a:pt x="307" y="89"/>
                  </a:cubicBezTo>
                  <a:cubicBezTo>
                    <a:pt x="288" y="99"/>
                    <a:pt x="288" y="99"/>
                    <a:pt x="288" y="99"/>
                  </a:cubicBezTo>
                  <a:cubicBezTo>
                    <a:pt x="292" y="79"/>
                    <a:pt x="292" y="79"/>
                    <a:pt x="292" y="79"/>
                  </a:cubicBezTo>
                  <a:cubicBezTo>
                    <a:pt x="276" y="76"/>
                    <a:pt x="276" y="76"/>
                    <a:pt x="276" y="76"/>
                  </a:cubicBezTo>
                  <a:cubicBezTo>
                    <a:pt x="271" y="89"/>
                    <a:pt x="271" y="89"/>
                    <a:pt x="271" y="89"/>
                  </a:cubicBezTo>
                  <a:cubicBezTo>
                    <a:pt x="271" y="89"/>
                    <a:pt x="252" y="87"/>
                    <a:pt x="252" y="80"/>
                  </a:cubicBezTo>
                  <a:cubicBezTo>
                    <a:pt x="252" y="73"/>
                    <a:pt x="237" y="76"/>
                    <a:pt x="237" y="76"/>
                  </a:cubicBezTo>
                  <a:cubicBezTo>
                    <a:pt x="237" y="65"/>
                    <a:pt x="217" y="85"/>
                    <a:pt x="217" y="85"/>
                  </a:cubicBezTo>
                  <a:cubicBezTo>
                    <a:pt x="217" y="85"/>
                    <a:pt x="207" y="91"/>
                    <a:pt x="207" y="80"/>
                  </a:cubicBezTo>
                  <a:cubicBezTo>
                    <a:pt x="207" y="69"/>
                    <a:pt x="231" y="49"/>
                    <a:pt x="231" y="49"/>
                  </a:cubicBezTo>
                  <a:cubicBezTo>
                    <a:pt x="224" y="39"/>
                    <a:pt x="224" y="39"/>
                    <a:pt x="224" y="39"/>
                  </a:cubicBezTo>
                  <a:cubicBezTo>
                    <a:pt x="203" y="45"/>
                    <a:pt x="203" y="45"/>
                    <a:pt x="203" y="45"/>
                  </a:cubicBezTo>
                  <a:cubicBezTo>
                    <a:pt x="187" y="41"/>
                    <a:pt x="187" y="41"/>
                    <a:pt x="187" y="41"/>
                  </a:cubicBezTo>
                  <a:cubicBezTo>
                    <a:pt x="161" y="55"/>
                    <a:pt x="161" y="55"/>
                    <a:pt x="161" y="55"/>
                  </a:cubicBezTo>
                  <a:cubicBezTo>
                    <a:pt x="153" y="51"/>
                    <a:pt x="153" y="51"/>
                    <a:pt x="153" y="51"/>
                  </a:cubicBezTo>
                  <a:cubicBezTo>
                    <a:pt x="145" y="33"/>
                    <a:pt x="145" y="33"/>
                    <a:pt x="145" y="33"/>
                  </a:cubicBezTo>
                  <a:cubicBezTo>
                    <a:pt x="123" y="23"/>
                    <a:pt x="123" y="23"/>
                    <a:pt x="123" y="23"/>
                  </a:cubicBezTo>
                  <a:cubicBezTo>
                    <a:pt x="121" y="12"/>
                    <a:pt x="121" y="12"/>
                    <a:pt x="121" y="12"/>
                  </a:cubicBezTo>
                  <a:cubicBezTo>
                    <a:pt x="109" y="13"/>
                    <a:pt x="109" y="13"/>
                    <a:pt x="109" y="13"/>
                  </a:cubicBezTo>
                  <a:cubicBezTo>
                    <a:pt x="109" y="13"/>
                    <a:pt x="88" y="0"/>
                    <a:pt x="83" y="0"/>
                  </a:cubicBezTo>
                  <a:cubicBezTo>
                    <a:pt x="79" y="0"/>
                    <a:pt x="65" y="7"/>
                    <a:pt x="56" y="11"/>
                  </a:cubicBezTo>
                  <a:cubicBezTo>
                    <a:pt x="60" y="16"/>
                    <a:pt x="69" y="27"/>
                    <a:pt x="63" y="30"/>
                  </a:cubicBezTo>
                  <a:cubicBezTo>
                    <a:pt x="55" y="34"/>
                    <a:pt x="45" y="21"/>
                    <a:pt x="45" y="21"/>
                  </a:cubicBezTo>
                  <a:cubicBezTo>
                    <a:pt x="35" y="27"/>
                    <a:pt x="25" y="60"/>
                    <a:pt x="25" y="60"/>
                  </a:cubicBezTo>
                  <a:cubicBezTo>
                    <a:pt x="25" y="60"/>
                    <a:pt x="14" y="68"/>
                    <a:pt x="0" y="77"/>
                  </a:cubicBezTo>
                  <a:cubicBezTo>
                    <a:pt x="5" y="92"/>
                    <a:pt x="5" y="92"/>
                    <a:pt x="5" y="92"/>
                  </a:cubicBezTo>
                  <a:lnTo>
                    <a:pt x="17" y="9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2" name="Haute Normandie" descr="© INSCALE GmbH, 05.05.2010&#10;http://www.presentationload.com/">
              <a:extLst>
                <a:ext uri="{FF2B5EF4-FFF2-40B4-BE49-F238E27FC236}">
                  <a16:creationId xmlns:a16="http://schemas.microsoft.com/office/drawing/2014/main" id="{67DE9D41-AD0D-42D6-AE91-CBB98FF22C82}"/>
                </a:ext>
              </a:extLst>
            </p:cNvPr>
            <p:cNvSpPr>
              <a:spLocks/>
            </p:cNvSpPr>
            <p:nvPr/>
          </p:nvSpPr>
          <p:spPr bwMode="gray">
            <a:xfrm>
              <a:off x="1259" y="493"/>
              <a:ext cx="385" cy="503"/>
            </a:xfrm>
            <a:custGeom>
              <a:avLst/>
              <a:gdLst/>
              <a:ahLst/>
              <a:cxnLst>
                <a:cxn ang="0">
                  <a:pos x="355" y="198"/>
                </a:cxn>
                <a:cxn ang="0">
                  <a:pos x="345" y="199"/>
                </a:cxn>
                <a:cxn ang="0">
                  <a:pos x="351" y="187"/>
                </a:cxn>
                <a:cxn ang="0">
                  <a:pos x="341" y="167"/>
                </a:cxn>
                <a:cxn ang="0">
                  <a:pos x="351" y="136"/>
                </a:cxn>
                <a:cxn ang="0">
                  <a:pos x="340" y="135"/>
                </a:cxn>
                <a:cxn ang="0">
                  <a:pos x="357" y="112"/>
                </a:cxn>
                <a:cxn ang="0">
                  <a:pos x="333" y="62"/>
                </a:cxn>
                <a:cxn ang="0">
                  <a:pos x="289" y="22"/>
                </a:cxn>
                <a:cxn ang="0">
                  <a:pos x="289" y="18"/>
                </a:cxn>
                <a:cxn ang="0">
                  <a:pos x="277" y="15"/>
                </a:cxn>
                <a:cxn ang="0">
                  <a:pos x="272" y="0"/>
                </a:cxn>
                <a:cxn ang="0">
                  <a:pos x="220" y="29"/>
                </a:cxn>
                <a:cxn ang="0">
                  <a:pos x="155" y="47"/>
                </a:cxn>
                <a:cxn ang="0">
                  <a:pos x="108" y="50"/>
                </a:cxn>
                <a:cxn ang="0">
                  <a:pos x="30" y="93"/>
                </a:cxn>
                <a:cxn ang="0">
                  <a:pos x="0" y="150"/>
                </a:cxn>
                <a:cxn ang="0">
                  <a:pos x="10" y="167"/>
                </a:cxn>
                <a:cxn ang="0">
                  <a:pos x="39" y="178"/>
                </a:cxn>
                <a:cxn ang="0">
                  <a:pos x="52" y="263"/>
                </a:cxn>
                <a:cxn ang="0">
                  <a:pos x="53" y="271"/>
                </a:cxn>
                <a:cxn ang="0">
                  <a:pos x="67" y="288"/>
                </a:cxn>
                <a:cxn ang="0">
                  <a:pos x="67" y="303"/>
                </a:cxn>
                <a:cxn ang="0">
                  <a:pos x="72" y="311"/>
                </a:cxn>
                <a:cxn ang="0">
                  <a:pos x="71" y="331"/>
                </a:cxn>
                <a:cxn ang="0">
                  <a:pos x="63" y="332"/>
                </a:cxn>
                <a:cxn ang="0">
                  <a:pos x="72" y="344"/>
                </a:cxn>
                <a:cxn ang="0">
                  <a:pos x="65" y="379"/>
                </a:cxn>
                <a:cxn ang="0">
                  <a:pos x="72" y="388"/>
                </a:cxn>
                <a:cxn ang="0">
                  <a:pos x="105" y="390"/>
                </a:cxn>
                <a:cxn ang="0">
                  <a:pos x="112" y="410"/>
                </a:cxn>
                <a:cxn ang="0">
                  <a:pos x="136" y="448"/>
                </a:cxn>
                <a:cxn ang="0">
                  <a:pos x="139" y="459"/>
                </a:cxn>
                <a:cxn ang="0">
                  <a:pos x="167" y="444"/>
                </a:cxn>
                <a:cxn ang="0">
                  <a:pos x="201" y="434"/>
                </a:cxn>
                <a:cxn ang="0">
                  <a:pos x="211" y="438"/>
                </a:cxn>
                <a:cxn ang="0">
                  <a:pos x="212" y="427"/>
                </a:cxn>
                <a:cxn ang="0">
                  <a:pos x="263" y="431"/>
                </a:cxn>
                <a:cxn ang="0">
                  <a:pos x="268" y="408"/>
                </a:cxn>
                <a:cxn ang="0">
                  <a:pos x="288" y="395"/>
                </a:cxn>
                <a:cxn ang="0">
                  <a:pos x="288" y="383"/>
                </a:cxn>
                <a:cxn ang="0">
                  <a:pos x="297" y="379"/>
                </a:cxn>
                <a:cxn ang="0">
                  <a:pos x="284" y="343"/>
                </a:cxn>
                <a:cxn ang="0">
                  <a:pos x="297" y="338"/>
                </a:cxn>
                <a:cxn ang="0">
                  <a:pos x="295" y="331"/>
                </a:cxn>
                <a:cxn ang="0">
                  <a:pos x="323" y="328"/>
                </a:cxn>
                <a:cxn ang="0">
                  <a:pos x="340" y="281"/>
                </a:cxn>
                <a:cxn ang="0">
                  <a:pos x="337" y="272"/>
                </a:cxn>
                <a:cxn ang="0">
                  <a:pos x="354" y="277"/>
                </a:cxn>
                <a:cxn ang="0">
                  <a:pos x="356" y="278"/>
                </a:cxn>
                <a:cxn ang="0">
                  <a:pos x="356" y="277"/>
                </a:cxn>
                <a:cxn ang="0">
                  <a:pos x="345" y="226"/>
                </a:cxn>
                <a:cxn ang="0">
                  <a:pos x="355" y="198"/>
                </a:cxn>
              </a:cxnLst>
              <a:rect l="0" t="0" r="r" b="b"/>
              <a:pathLst>
                <a:path w="357" h="466">
                  <a:moveTo>
                    <a:pt x="355" y="198"/>
                  </a:moveTo>
                  <a:cubicBezTo>
                    <a:pt x="345" y="199"/>
                    <a:pt x="345" y="199"/>
                    <a:pt x="345" y="199"/>
                  </a:cubicBezTo>
                  <a:cubicBezTo>
                    <a:pt x="351" y="187"/>
                    <a:pt x="351" y="187"/>
                    <a:pt x="351" y="187"/>
                  </a:cubicBezTo>
                  <a:cubicBezTo>
                    <a:pt x="341" y="167"/>
                    <a:pt x="341" y="167"/>
                    <a:pt x="341" y="167"/>
                  </a:cubicBezTo>
                  <a:cubicBezTo>
                    <a:pt x="351" y="136"/>
                    <a:pt x="351" y="136"/>
                    <a:pt x="351" y="136"/>
                  </a:cubicBezTo>
                  <a:cubicBezTo>
                    <a:pt x="351" y="136"/>
                    <a:pt x="344" y="136"/>
                    <a:pt x="340" y="135"/>
                  </a:cubicBezTo>
                  <a:cubicBezTo>
                    <a:pt x="336" y="134"/>
                    <a:pt x="357" y="112"/>
                    <a:pt x="357" y="112"/>
                  </a:cubicBezTo>
                  <a:cubicBezTo>
                    <a:pt x="333" y="62"/>
                    <a:pt x="333" y="62"/>
                    <a:pt x="333" y="62"/>
                  </a:cubicBezTo>
                  <a:cubicBezTo>
                    <a:pt x="315" y="59"/>
                    <a:pt x="289" y="22"/>
                    <a:pt x="289" y="22"/>
                  </a:cubicBezTo>
                  <a:cubicBezTo>
                    <a:pt x="289" y="18"/>
                    <a:pt x="289" y="18"/>
                    <a:pt x="289" y="18"/>
                  </a:cubicBezTo>
                  <a:cubicBezTo>
                    <a:pt x="277" y="15"/>
                    <a:pt x="277" y="15"/>
                    <a:pt x="277" y="15"/>
                  </a:cubicBezTo>
                  <a:cubicBezTo>
                    <a:pt x="272" y="0"/>
                    <a:pt x="272" y="0"/>
                    <a:pt x="272" y="0"/>
                  </a:cubicBezTo>
                  <a:cubicBezTo>
                    <a:pt x="255" y="11"/>
                    <a:pt x="233" y="25"/>
                    <a:pt x="220" y="29"/>
                  </a:cubicBezTo>
                  <a:cubicBezTo>
                    <a:pt x="196" y="38"/>
                    <a:pt x="155" y="47"/>
                    <a:pt x="155" y="47"/>
                  </a:cubicBezTo>
                  <a:cubicBezTo>
                    <a:pt x="155" y="47"/>
                    <a:pt x="110" y="54"/>
                    <a:pt x="108" y="50"/>
                  </a:cubicBezTo>
                  <a:cubicBezTo>
                    <a:pt x="81" y="78"/>
                    <a:pt x="30" y="93"/>
                    <a:pt x="30" y="93"/>
                  </a:cubicBezTo>
                  <a:cubicBezTo>
                    <a:pt x="0" y="150"/>
                    <a:pt x="0" y="150"/>
                    <a:pt x="0" y="150"/>
                  </a:cubicBezTo>
                  <a:cubicBezTo>
                    <a:pt x="10" y="167"/>
                    <a:pt x="10" y="167"/>
                    <a:pt x="10" y="167"/>
                  </a:cubicBezTo>
                  <a:cubicBezTo>
                    <a:pt x="10" y="167"/>
                    <a:pt x="44" y="176"/>
                    <a:pt x="39" y="178"/>
                  </a:cubicBezTo>
                  <a:cubicBezTo>
                    <a:pt x="52" y="263"/>
                    <a:pt x="52" y="263"/>
                    <a:pt x="52" y="263"/>
                  </a:cubicBezTo>
                  <a:cubicBezTo>
                    <a:pt x="52" y="263"/>
                    <a:pt x="84" y="260"/>
                    <a:pt x="53" y="271"/>
                  </a:cubicBezTo>
                  <a:cubicBezTo>
                    <a:pt x="51" y="278"/>
                    <a:pt x="67" y="288"/>
                    <a:pt x="67" y="288"/>
                  </a:cubicBezTo>
                  <a:cubicBezTo>
                    <a:pt x="67" y="303"/>
                    <a:pt x="67" y="303"/>
                    <a:pt x="67" y="303"/>
                  </a:cubicBezTo>
                  <a:cubicBezTo>
                    <a:pt x="72" y="311"/>
                    <a:pt x="72" y="311"/>
                    <a:pt x="72" y="311"/>
                  </a:cubicBezTo>
                  <a:cubicBezTo>
                    <a:pt x="71" y="331"/>
                    <a:pt x="71" y="331"/>
                    <a:pt x="71" y="331"/>
                  </a:cubicBezTo>
                  <a:cubicBezTo>
                    <a:pt x="63" y="332"/>
                    <a:pt x="63" y="332"/>
                    <a:pt x="63" y="332"/>
                  </a:cubicBezTo>
                  <a:cubicBezTo>
                    <a:pt x="72" y="344"/>
                    <a:pt x="72" y="344"/>
                    <a:pt x="72" y="344"/>
                  </a:cubicBezTo>
                  <a:cubicBezTo>
                    <a:pt x="72" y="344"/>
                    <a:pt x="72" y="374"/>
                    <a:pt x="65" y="379"/>
                  </a:cubicBezTo>
                  <a:cubicBezTo>
                    <a:pt x="59" y="384"/>
                    <a:pt x="72" y="388"/>
                    <a:pt x="72" y="388"/>
                  </a:cubicBezTo>
                  <a:cubicBezTo>
                    <a:pt x="105" y="390"/>
                    <a:pt x="105" y="390"/>
                    <a:pt x="105" y="390"/>
                  </a:cubicBezTo>
                  <a:cubicBezTo>
                    <a:pt x="112" y="410"/>
                    <a:pt x="112" y="410"/>
                    <a:pt x="112" y="410"/>
                  </a:cubicBezTo>
                  <a:cubicBezTo>
                    <a:pt x="112" y="410"/>
                    <a:pt x="157" y="434"/>
                    <a:pt x="136" y="448"/>
                  </a:cubicBezTo>
                  <a:cubicBezTo>
                    <a:pt x="132" y="448"/>
                    <a:pt x="139" y="459"/>
                    <a:pt x="139" y="459"/>
                  </a:cubicBezTo>
                  <a:cubicBezTo>
                    <a:pt x="139" y="459"/>
                    <a:pt x="159" y="466"/>
                    <a:pt x="167" y="444"/>
                  </a:cubicBezTo>
                  <a:cubicBezTo>
                    <a:pt x="171" y="444"/>
                    <a:pt x="179" y="456"/>
                    <a:pt x="201" y="434"/>
                  </a:cubicBezTo>
                  <a:cubicBezTo>
                    <a:pt x="203" y="438"/>
                    <a:pt x="211" y="438"/>
                    <a:pt x="211" y="438"/>
                  </a:cubicBezTo>
                  <a:cubicBezTo>
                    <a:pt x="212" y="427"/>
                    <a:pt x="212" y="427"/>
                    <a:pt x="212" y="427"/>
                  </a:cubicBezTo>
                  <a:cubicBezTo>
                    <a:pt x="212" y="427"/>
                    <a:pt x="256" y="442"/>
                    <a:pt x="263" y="431"/>
                  </a:cubicBezTo>
                  <a:cubicBezTo>
                    <a:pt x="269" y="420"/>
                    <a:pt x="268" y="408"/>
                    <a:pt x="268" y="408"/>
                  </a:cubicBezTo>
                  <a:cubicBezTo>
                    <a:pt x="268" y="408"/>
                    <a:pt x="287" y="400"/>
                    <a:pt x="288" y="395"/>
                  </a:cubicBezTo>
                  <a:cubicBezTo>
                    <a:pt x="289" y="390"/>
                    <a:pt x="288" y="383"/>
                    <a:pt x="288" y="383"/>
                  </a:cubicBezTo>
                  <a:cubicBezTo>
                    <a:pt x="297" y="379"/>
                    <a:pt x="297" y="379"/>
                    <a:pt x="297" y="379"/>
                  </a:cubicBezTo>
                  <a:cubicBezTo>
                    <a:pt x="284" y="343"/>
                    <a:pt x="284" y="343"/>
                    <a:pt x="284" y="343"/>
                  </a:cubicBezTo>
                  <a:cubicBezTo>
                    <a:pt x="284" y="343"/>
                    <a:pt x="301" y="338"/>
                    <a:pt x="297" y="338"/>
                  </a:cubicBezTo>
                  <a:cubicBezTo>
                    <a:pt x="293" y="338"/>
                    <a:pt x="295" y="331"/>
                    <a:pt x="295" y="331"/>
                  </a:cubicBezTo>
                  <a:cubicBezTo>
                    <a:pt x="323" y="328"/>
                    <a:pt x="323" y="328"/>
                    <a:pt x="323" y="328"/>
                  </a:cubicBezTo>
                  <a:cubicBezTo>
                    <a:pt x="340" y="281"/>
                    <a:pt x="340" y="281"/>
                    <a:pt x="340" y="281"/>
                  </a:cubicBezTo>
                  <a:cubicBezTo>
                    <a:pt x="337" y="272"/>
                    <a:pt x="337" y="272"/>
                    <a:pt x="337" y="272"/>
                  </a:cubicBezTo>
                  <a:cubicBezTo>
                    <a:pt x="354" y="277"/>
                    <a:pt x="354" y="277"/>
                    <a:pt x="354" y="277"/>
                  </a:cubicBezTo>
                  <a:cubicBezTo>
                    <a:pt x="356" y="278"/>
                    <a:pt x="356" y="278"/>
                    <a:pt x="356" y="278"/>
                  </a:cubicBezTo>
                  <a:cubicBezTo>
                    <a:pt x="356" y="278"/>
                    <a:pt x="356" y="277"/>
                    <a:pt x="356" y="277"/>
                  </a:cubicBezTo>
                  <a:cubicBezTo>
                    <a:pt x="357" y="262"/>
                    <a:pt x="345" y="226"/>
                    <a:pt x="345" y="226"/>
                  </a:cubicBezTo>
                  <a:lnTo>
                    <a:pt x="355" y="19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3" name="Ile-de-France" descr="© INSCALE GmbH, 05.05.2010&#10;http://www.presentationload.com/">
              <a:extLst>
                <a:ext uri="{FF2B5EF4-FFF2-40B4-BE49-F238E27FC236}">
                  <a16:creationId xmlns:a16="http://schemas.microsoft.com/office/drawing/2014/main" id="{AC31993E-D426-4B7A-9900-2091A79541F4}"/>
                </a:ext>
              </a:extLst>
            </p:cNvPr>
            <p:cNvSpPr>
              <a:spLocks/>
            </p:cNvSpPr>
            <p:nvPr/>
          </p:nvSpPr>
          <p:spPr bwMode="gray">
            <a:xfrm>
              <a:off x="1565" y="796"/>
              <a:ext cx="483" cy="386"/>
            </a:xfrm>
            <a:custGeom>
              <a:avLst/>
              <a:gdLst/>
              <a:ahLst/>
              <a:cxnLst>
                <a:cxn ang="0">
                  <a:pos x="31" y="127"/>
                </a:cxn>
                <a:cxn ang="0">
                  <a:pos x="36" y="158"/>
                </a:cxn>
                <a:cxn ang="0">
                  <a:pos x="35" y="177"/>
                </a:cxn>
                <a:cxn ang="0">
                  <a:pos x="48" y="199"/>
                </a:cxn>
                <a:cxn ang="0">
                  <a:pos x="56" y="214"/>
                </a:cxn>
                <a:cxn ang="0">
                  <a:pos x="71" y="246"/>
                </a:cxn>
                <a:cxn ang="0">
                  <a:pos x="103" y="267"/>
                </a:cxn>
                <a:cxn ang="0">
                  <a:pos x="111" y="303"/>
                </a:cxn>
                <a:cxn ang="0">
                  <a:pos x="153" y="301"/>
                </a:cxn>
                <a:cxn ang="0">
                  <a:pos x="167" y="290"/>
                </a:cxn>
                <a:cxn ang="0">
                  <a:pos x="183" y="293"/>
                </a:cxn>
                <a:cxn ang="0">
                  <a:pos x="201" y="297"/>
                </a:cxn>
                <a:cxn ang="0">
                  <a:pos x="229" y="338"/>
                </a:cxn>
                <a:cxn ang="0">
                  <a:pos x="273" y="354"/>
                </a:cxn>
                <a:cxn ang="0">
                  <a:pos x="285" y="346"/>
                </a:cxn>
                <a:cxn ang="0">
                  <a:pos x="316" y="345"/>
                </a:cxn>
                <a:cxn ang="0">
                  <a:pos x="333" y="297"/>
                </a:cxn>
                <a:cxn ang="0">
                  <a:pos x="400" y="277"/>
                </a:cxn>
                <a:cxn ang="0">
                  <a:pos x="411" y="243"/>
                </a:cxn>
                <a:cxn ang="0">
                  <a:pos x="413" y="225"/>
                </a:cxn>
                <a:cxn ang="0">
                  <a:pos x="424" y="210"/>
                </a:cxn>
                <a:cxn ang="0">
                  <a:pos x="437" y="199"/>
                </a:cxn>
                <a:cxn ang="0">
                  <a:pos x="440" y="191"/>
                </a:cxn>
                <a:cxn ang="0">
                  <a:pos x="425" y="158"/>
                </a:cxn>
                <a:cxn ang="0">
                  <a:pos x="411" y="147"/>
                </a:cxn>
                <a:cxn ang="0">
                  <a:pos x="412" y="137"/>
                </a:cxn>
                <a:cxn ang="0">
                  <a:pos x="428" y="123"/>
                </a:cxn>
                <a:cxn ang="0">
                  <a:pos x="405" y="99"/>
                </a:cxn>
                <a:cxn ang="0">
                  <a:pos x="392" y="91"/>
                </a:cxn>
                <a:cxn ang="0">
                  <a:pos x="364" y="73"/>
                </a:cxn>
                <a:cxn ang="0">
                  <a:pos x="337" y="45"/>
                </a:cxn>
                <a:cxn ang="0">
                  <a:pos x="285" y="47"/>
                </a:cxn>
                <a:cxn ang="0">
                  <a:pos x="248" y="43"/>
                </a:cxn>
                <a:cxn ang="0">
                  <a:pos x="233" y="41"/>
                </a:cxn>
                <a:cxn ang="0">
                  <a:pos x="191" y="25"/>
                </a:cxn>
                <a:cxn ang="0">
                  <a:pos x="165" y="26"/>
                </a:cxn>
                <a:cxn ang="0">
                  <a:pos x="157" y="25"/>
                </a:cxn>
                <a:cxn ang="0">
                  <a:pos x="139" y="18"/>
                </a:cxn>
                <a:cxn ang="0">
                  <a:pos x="116" y="17"/>
                </a:cxn>
                <a:cxn ang="0">
                  <a:pos x="56" y="0"/>
                </a:cxn>
                <a:cxn ang="0">
                  <a:pos x="11" y="50"/>
                </a:cxn>
                <a:cxn ang="0">
                  <a:pos x="0" y="62"/>
                </a:cxn>
                <a:cxn ang="0">
                  <a:pos x="12" y="99"/>
                </a:cxn>
                <a:cxn ang="0">
                  <a:pos x="23" y="122"/>
                </a:cxn>
              </a:cxnLst>
              <a:rect l="0" t="0" r="r" b="b"/>
              <a:pathLst>
                <a:path w="448" h="357">
                  <a:moveTo>
                    <a:pt x="23" y="122"/>
                  </a:moveTo>
                  <a:cubicBezTo>
                    <a:pt x="31" y="127"/>
                    <a:pt x="31" y="127"/>
                    <a:pt x="31" y="127"/>
                  </a:cubicBezTo>
                  <a:cubicBezTo>
                    <a:pt x="29" y="151"/>
                    <a:pt x="29" y="151"/>
                    <a:pt x="29" y="151"/>
                  </a:cubicBezTo>
                  <a:cubicBezTo>
                    <a:pt x="36" y="158"/>
                    <a:pt x="36" y="158"/>
                    <a:pt x="36" y="158"/>
                  </a:cubicBezTo>
                  <a:cubicBezTo>
                    <a:pt x="25" y="173"/>
                    <a:pt x="25" y="173"/>
                    <a:pt x="25" y="173"/>
                  </a:cubicBezTo>
                  <a:cubicBezTo>
                    <a:pt x="35" y="177"/>
                    <a:pt x="35" y="177"/>
                    <a:pt x="35" y="177"/>
                  </a:cubicBezTo>
                  <a:cubicBezTo>
                    <a:pt x="33" y="187"/>
                    <a:pt x="33" y="187"/>
                    <a:pt x="33" y="187"/>
                  </a:cubicBezTo>
                  <a:cubicBezTo>
                    <a:pt x="48" y="199"/>
                    <a:pt x="48" y="199"/>
                    <a:pt x="48" y="199"/>
                  </a:cubicBezTo>
                  <a:cubicBezTo>
                    <a:pt x="57" y="202"/>
                    <a:pt x="57" y="202"/>
                    <a:pt x="57" y="202"/>
                  </a:cubicBezTo>
                  <a:cubicBezTo>
                    <a:pt x="56" y="214"/>
                    <a:pt x="56" y="214"/>
                    <a:pt x="56" y="214"/>
                  </a:cubicBezTo>
                  <a:cubicBezTo>
                    <a:pt x="69" y="221"/>
                    <a:pt x="69" y="221"/>
                    <a:pt x="69" y="221"/>
                  </a:cubicBezTo>
                  <a:cubicBezTo>
                    <a:pt x="71" y="246"/>
                    <a:pt x="71" y="246"/>
                    <a:pt x="71" y="246"/>
                  </a:cubicBezTo>
                  <a:cubicBezTo>
                    <a:pt x="71" y="246"/>
                    <a:pt x="95" y="261"/>
                    <a:pt x="97" y="253"/>
                  </a:cubicBezTo>
                  <a:cubicBezTo>
                    <a:pt x="101" y="254"/>
                    <a:pt x="103" y="267"/>
                    <a:pt x="103" y="267"/>
                  </a:cubicBezTo>
                  <a:cubicBezTo>
                    <a:pt x="113" y="269"/>
                    <a:pt x="113" y="269"/>
                    <a:pt x="113" y="269"/>
                  </a:cubicBezTo>
                  <a:cubicBezTo>
                    <a:pt x="113" y="269"/>
                    <a:pt x="101" y="295"/>
                    <a:pt x="111" y="303"/>
                  </a:cubicBezTo>
                  <a:cubicBezTo>
                    <a:pt x="120" y="311"/>
                    <a:pt x="127" y="301"/>
                    <a:pt x="135" y="301"/>
                  </a:cubicBezTo>
                  <a:cubicBezTo>
                    <a:pt x="143" y="301"/>
                    <a:pt x="153" y="301"/>
                    <a:pt x="153" y="301"/>
                  </a:cubicBezTo>
                  <a:cubicBezTo>
                    <a:pt x="160" y="287"/>
                    <a:pt x="160" y="287"/>
                    <a:pt x="160" y="287"/>
                  </a:cubicBezTo>
                  <a:cubicBezTo>
                    <a:pt x="167" y="290"/>
                    <a:pt x="167" y="290"/>
                    <a:pt x="167" y="290"/>
                  </a:cubicBezTo>
                  <a:cubicBezTo>
                    <a:pt x="169" y="301"/>
                    <a:pt x="169" y="301"/>
                    <a:pt x="169" y="301"/>
                  </a:cubicBezTo>
                  <a:cubicBezTo>
                    <a:pt x="183" y="293"/>
                    <a:pt x="183" y="293"/>
                    <a:pt x="183" y="293"/>
                  </a:cubicBezTo>
                  <a:cubicBezTo>
                    <a:pt x="199" y="298"/>
                    <a:pt x="199" y="298"/>
                    <a:pt x="199" y="298"/>
                  </a:cubicBezTo>
                  <a:cubicBezTo>
                    <a:pt x="201" y="297"/>
                    <a:pt x="201" y="297"/>
                    <a:pt x="201" y="297"/>
                  </a:cubicBezTo>
                  <a:cubicBezTo>
                    <a:pt x="205" y="313"/>
                    <a:pt x="205" y="313"/>
                    <a:pt x="205" y="313"/>
                  </a:cubicBezTo>
                  <a:cubicBezTo>
                    <a:pt x="205" y="313"/>
                    <a:pt x="232" y="319"/>
                    <a:pt x="229" y="338"/>
                  </a:cubicBezTo>
                  <a:cubicBezTo>
                    <a:pt x="228" y="349"/>
                    <a:pt x="222" y="352"/>
                    <a:pt x="218" y="353"/>
                  </a:cubicBezTo>
                  <a:cubicBezTo>
                    <a:pt x="273" y="354"/>
                    <a:pt x="273" y="354"/>
                    <a:pt x="273" y="354"/>
                  </a:cubicBezTo>
                  <a:cubicBezTo>
                    <a:pt x="273" y="346"/>
                    <a:pt x="273" y="346"/>
                    <a:pt x="273" y="346"/>
                  </a:cubicBezTo>
                  <a:cubicBezTo>
                    <a:pt x="285" y="346"/>
                    <a:pt x="285" y="346"/>
                    <a:pt x="285" y="346"/>
                  </a:cubicBezTo>
                  <a:cubicBezTo>
                    <a:pt x="285" y="357"/>
                    <a:pt x="285" y="357"/>
                    <a:pt x="285" y="357"/>
                  </a:cubicBezTo>
                  <a:cubicBezTo>
                    <a:pt x="285" y="357"/>
                    <a:pt x="308" y="353"/>
                    <a:pt x="316" y="345"/>
                  </a:cubicBezTo>
                  <a:cubicBezTo>
                    <a:pt x="324" y="337"/>
                    <a:pt x="339" y="313"/>
                    <a:pt x="339" y="313"/>
                  </a:cubicBezTo>
                  <a:cubicBezTo>
                    <a:pt x="333" y="297"/>
                    <a:pt x="333" y="297"/>
                    <a:pt x="333" y="297"/>
                  </a:cubicBezTo>
                  <a:cubicBezTo>
                    <a:pt x="341" y="277"/>
                    <a:pt x="341" y="277"/>
                    <a:pt x="341" y="277"/>
                  </a:cubicBezTo>
                  <a:cubicBezTo>
                    <a:pt x="400" y="277"/>
                    <a:pt x="400" y="277"/>
                    <a:pt x="400" y="277"/>
                  </a:cubicBezTo>
                  <a:cubicBezTo>
                    <a:pt x="415" y="269"/>
                    <a:pt x="415" y="269"/>
                    <a:pt x="415" y="269"/>
                  </a:cubicBezTo>
                  <a:cubicBezTo>
                    <a:pt x="411" y="243"/>
                    <a:pt x="411" y="243"/>
                    <a:pt x="411" y="243"/>
                  </a:cubicBezTo>
                  <a:cubicBezTo>
                    <a:pt x="420" y="234"/>
                    <a:pt x="420" y="234"/>
                    <a:pt x="420" y="234"/>
                  </a:cubicBezTo>
                  <a:cubicBezTo>
                    <a:pt x="413" y="225"/>
                    <a:pt x="413" y="225"/>
                    <a:pt x="413" y="225"/>
                  </a:cubicBezTo>
                  <a:cubicBezTo>
                    <a:pt x="428" y="222"/>
                    <a:pt x="428" y="222"/>
                    <a:pt x="428" y="222"/>
                  </a:cubicBezTo>
                  <a:cubicBezTo>
                    <a:pt x="424" y="210"/>
                    <a:pt x="424" y="210"/>
                    <a:pt x="424" y="210"/>
                  </a:cubicBezTo>
                  <a:cubicBezTo>
                    <a:pt x="436" y="210"/>
                    <a:pt x="436" y="210"/>
                    <a:pt x="436" y="210"/>
                  </a:cubicBezTo>
                  <a:cubicBezTo>
                    <a:pt x="437" y="199"/>
                    <a:pt x="437" y="199"/>
                    <a:pt x="437" y="199"/>
                  </a:cubicBezTo>
                  <a:cubicBezTo>
                    <a:pt x="448" y="201"/>
                    <a:pt x="448" y="201"/>
                    <a:pt x="448" y="201"/>
                  </a:cubicBezTo>
                  <a:cubicBezTo>
                    <a:pt x="440" y="191"/>
                    <a:pt x="440" y="191"/>
                    <a:pt x="440" y="191"/>
                  </a:cubicBezTo>
                  <a:cubicBezTo>
                    <a:pt x="424" y="190"/>
                    <a:pt x="424" y="190"/>
                    <a:pt x="424" y="190"/>
                  </a:cubicBezTo>
                  <a:cubicBezTo>
                    <a:pt x="425" y="158"/>
                    <a:pt x="425" y="158"/>
                    <a:pt x="425" y="158"/>
                  </a:cubicBezTo>
                  <a:cubicBezTo>
                    <a:pt x="411" y="157"/>
                    <a:pt x="411" y="157"/>
                    <a:pt x="411" y="157"/>
                  </a:cubicBezTo>
                  <a:cubicBezTo>
                    <a:pt x="411" y="147"/>
                    <a:pt x="411" y="147"/>
                    <a:pt x="411" y="147"/>
                  </a:cubicBezTo>
                  <a:cubicBezTo>
                    <a:pt x="419" y="146"/>
                    <a:pt x="419" y="146"/>
                    <a:pt x="419" y="146"/>
                  </a:cubicBezTo>
                  <a:cubicBezTo>
                    <a:pt x="412" y="137"/>
                    <a:pt x="412" y="137"/>
                    <a:pt x="412" y="137"/>
                  </a:cubicBezTo>
                  <a:cubicBezTo>
                    <a:pt x="428" y="130"/>
                    <a:pt x="428" y="130"/>
                    <a:pt x="428" y="130"/>
                  </a:cubicBezTo>
                  <a:cubicBezTo>
                    <a:pt x="428" y="123"/>
                    <a:pt x="428" y="123"/>
                    <a:pt x="428" y="123"/>
                  </a:cubicBezTo>
                  <a:cubicBezTo>
                    <a:pt x="424" y="122"/>
                    <a:pt x="413" y="118"/>
                    <a:pt x="409" y="118"/>
                  </a:cubicBezTo>
                  <a:cubicBezTo>
                    <a:pt x="405" y="118"/>
                    <a:pt x="405" y="99"/>
                    <a:pt x="405" y="99"/>
                  </a:cubicBezTo>
                  <a:cubicBezTo>
                    <a:pt x="395" y="99"/>
                    <a:pt x="395" y="99"/>
                    <a:pt x="395" y="99"/>
                  </a:cubicBezTo>
                  <a:cubicBezTo>
                    <a:pt x="392" y="91"/>
                    <a:pt x="392" y="91"/>
                    <a:pt x="392" y="91"/>
                  </a:cubicBezTo>
                  <a:cubicBezTo>
                    <a:pt x="392" y="91"/>
                    <a:pt x="379" y="101"/>
                    <a:pt x="380" y="93"/>
                  </a:cubicBezTo>
                  <a:cubicBezTo>
                    <a:pt x="381" y="85"/>
                    <a:pt x="365" y="78"/>
                    <a:pt x="364" y="73"/>
                  </a:cubicBezTo>
                  <a:cubicBezTo>
                    <a:pt x="368" y="41"/>
                    <a:pt x="344" y="39"/>
                    <a:pt x="344" y="39"/>
                  </a:cubicBezTo>
                  <a:cubicBezTo>
                    <a:pt x="337" y="45"/>
                    <a:pt x="337" y="45"/>
                    <a:pt x="337" y="45"/>
                  </a:cubicBezTo>
                  <a:cubicBezTo>
                    <a:pt x="299" y="55"/>
                    <a:pt x="299" y="55"/>
                    <a:pt x="299" y="55"/>
                  </a:cubicBezTo>
                  <a:cubicBezTo>
                    <a:pt x="285" y="47"/>
                    <a:pt x="285" y="47"/>
                    <a:pt x="285" y="47"/>
                  </a:cubicBezTo>
                  <a:cubicBezTo>
                    <a:pt x="285" y="47"/>
                    <a:pt x="276" y="57"/>
                    <a:pt x="268" y="54"/>
                  </a:cubicBezTo>
                  <a:cubicBezTo>
                    <a:pt x="260" y="51"/>
                    <a:pt x="255" y="47"/>
                    <a:pt x="248" y="43"/>
                  </a:cubicBezTo>
                  <a:cubicBezTo>
                    <a:pt x="241" y="39"/>
                    <a:pt x="239" y="51"/>
                    <a:pt x="239" y="51"/>
                  </a:cubicBezTo>
                  <a:cubicBezTo>
                    <a:pt x="233" y="41"/>
                    <a:pt x="233" y="41"/>
                    <a:pt x="233" y="41"/>
                  </a:cubicBezTo>
                  <a:cubicBezTo>
                    <a:pt x="233" y="41"/>
                    <a:pt x="215" y="49"/>
                    <a:pt x="220" y="45"/>
                  </a:cubicBezTo>
                  <a:cubicBezTo>
                    <a:pt x="225" y="41"/>
                    <a:pt x="207" y="29"/>
                    <a:pt x="191" y="25"/>
                  </a:cubicBezTo>
                  <a:cubicBezTo>
                    <a:pt x="178" y="22"/>
                    <a:pt x="182" y="18"/>
                    <a:pt x="184" y="17"/>
                  </a:cubicBezTo>
                  <a:cubicBezTo>
                    <a:pt x="165" y="26"/>
                    <a:pt x="165" y="26"/>
                    <a:pt x="165" y="26"/>
                  </a:cubicBezTo>
                  <a:cubicBezTo>
                    <a:pt x="161" y="18"/>
                    <a:pt x="161" y="18"/>
                    <a:pt x="161" y="18"/>
                  </a:cubicBezTo>
                  <a:cubicBezTo>
                    <a:pt x="157" y="25"/>
                    <a:pt x="157" y="25"/>
                    <a:pt x="157" y="25"/>
                  </a:cubicBezTo>
                  <a:cubicBezTo>
                    <a:pt x="148" y="15"/>
                    <a:pt x="148" y="15"/>
                    <a:pt x="148" y="15"/>
                  </a:cubicBezTo>
                  <a:cubicBezTo>
                    <a:pt x="139" y="18"/>
                    <a:pt x="139" y="18"/>
                    <a:pt x="139" y="18"/>
                  </a:cubicBezTo>
                  <a:cubicBezTo>
                    <a:pt x="132" y="13"/>
                    <a:pt x="132" y="13"/>
                    <a:pt x="132" y="13"/>
                  </a:cubicBezTo>
                  <a:cubicBezTo>
                    <a:pt x="116" y="17"/>
                    <a:pt x="116" y="17"/>
                    <a:pt x="116" y="17"/>
                  </a:cubicBezTo>
                  <a:cubicBezTo>
                    <a:pt x="64" y="21"/>
                    <a:pt x="64" y="21"/>
                    <a:pt x="64" y="21"/>
                  </a:cubicBezTo>
                  <a:cubicBezTo>
                    <a:pt x="56" y="0"/>
                    <a:pt x="56" y="0"/>
                    <a:pt x="56" y="0"/>
                  </a:cubicBezTo>
                  <a:cubicBezTo>
                    <a:pt x="39" y="47"/>
                    <a:pt x="39" y="47"/>
                    <a:pt x="39" y="47"/>
                  </a:cubicBezTo>
                  <a:cubicBezTo>
                    <a:pt x="11" y="50"/>
                    <a:pt x="11" y="50"/>
                    <a:pt x="11" y="50"/>
                  </a:cubicBezTo>
                  <a:cubicBezTo>
                    <a:pt x="11" y="50"/>
                    <a:pt x="9" y="57"/>
                    <a:pt x="13" y="57"/>
                  </a:cubicBezTo>
                  <a:cubicBezTo>
                    <a:pt x="17" y="57"/>
                    <a:pt x="0" y="62"/>
                    <a:pt x="0" y="62"/>
                  </a:cubicBezTo>
                  <a:cubicBezTo>
                    <a:pt x="13" y="98"/>
                    <a:pt x="13" y="98"/>
                    <a:pt x="13" y="98"/>
                  </a:cubicBezTo>
                  <a:cubicBezTo>
                    <a:pt x="12" y="99"/>
                    <a:pt x="12" y="99"/>
                    <a:pt x="12" y="99"/>
                  </a:cubicBezTo>
                  <a:cubicBezTo>
                    <a:pt x="27" y="113"/>
                    <a:pt x="27" y="113"/>
                    <a:pt x="27" y="113"/>
                  </a:cubicBezTo>
                  <a:lnTo>
                    <a:pt x="23" y="12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4" name="Champagne-Ardenne" descr="© INSCALE GmbH, 05.05.2010&#10;http://www.presentationload.com/">
              <a:extLst>
                <a:ext uri="{FF2B5EF4-FFF2-40B4-BE49-F238E27FC236}">
                  <a16:creationId xmlns:a16="http://schemas.microsoft.com/office/drawing/2014/main" id="{42702F3F-420E-4857-A133-B4AD3E556CC4}"/>
                </a:ext>
              </a:extLst>
            </p:cNvPr>
            <p:cNvSpPr>
              <a:spLocks/>
            </p:cNvSpPr>
            <p:nvPr/>
          </p:nvSpPr>
          <p:spPr bwMode="gray">
            <a:xfrm>
              <a:off x="2008" y="466"/>
              <a:ext cx="578" cy="893"/>
            </a:xfrm>
            <a:custGeom>
              <a:avLst/>
              <a:gdLst/>
              <a:ahLst/>
              <a:cxnLst>
                <a:cxn ang="0">
                  <a:pos x="514" y="699"/>
                </a:cxn>
                <a:cxn ang="0">
                  <a:pos x="493" y="668"/>
                </a:cxn>
                <a:cxn ang="0">
                  <a:pos x="497" y="623"/>
                </a:cxn>
                <a:cxn ang="0">
                  <a:pos x="465" y="599"/>
                </a:cxn>
                <a:cxn ang="0">
                  <a:pos x="432" y="580"/>
                </a:cxn>
                <a:cxn ang="0">
                  <a:pos x="429" y="563"/>
                </a:cxn>
                <a:cxn ang="0">
                  <a:pos x="381" y="521"/>
                </a:cxn>
                <a:cxn ang="0">
                  <a:pos x="341" y="497"/>
                </a:cxn>
                <a:cxn ang="0">
                  <a:pos x="322" y="425"/>
                </a:cxn>
                <a:cxn ang="0">
                  <a:pos x="333" y="363"/>
                </a:cxn>
                <a:cxn ang="0">
                  <a:pos x="324" y="299"/>
                </a:cxn>
                <a:cxn ang="0">
                  <a:pos x="354" y="240"/>
                </a:cxn>
                <a:cxn ang="0">
                  <a:pos x="365" y="192"/>
                </a:cxn>
                <a:cxn ang="0">
                  <a:pos x="394" y="184"/>
                </a:cxn>
                <a:cxn ang="0">
                  <a:pos x="416" y="161"/>
                </a:cxn>
                <a:cxn ang="0">
                  <a:pos x="351" y="115"/>
                </a:cxn>
                <a:cxn ang="0">
                  <a:pos x="321" y="99"/>
                </a:cxn>
                <a:cxn ang="0">
                  <a:pos x="301" y="55"/>
                </a:cxn>
                <a:cxn ang="0">
                  <a:pos x="320" y="8"/>
                </a:cxn>
                <a:cxn ang="0">
                  <a:pos x="282" y="21"/>
                </a:cxn>
                <a:cxn ang="0">
                  <a:pos x="230" y="63"/>
                </a:cxn>
                <a:cxn ang="0">
                  <a:pos x="175" y="57"/>
                </a:cxn>
                <a:cxn ang="0">
                  <a:pos x="164" y="128"/>
                </a:cxn>
                <a:cxn ang="0">
                  <a:pos x="141" y="177"/>
                </a:cxn>
                <a:cxn ang="0">
                  <a:pos x="129" y="215"/>
                </a:cxn>
                <a:cxn ang="0">
                  <a:pos x="94" y="257"/>
                </a:cxn>
                <a:cxn ang="0">
                  <a:pos x="56" y="301"/>
                </a:cxn>
                <a:cxn ang="0">
                  <a:pos x="42" y="339"/>
                </a:cxn>
                <a:cxn ang="0">
                  <a:pos x="38" y="368"/>
                </a:cxn>
                <a:cxn ang="0">
                  <a:pos x="28" y="409"/>
                </a:cxn>
                <a:cxn ang="0">
                  <a:pos x="17" y="436"/>
                </a:cxn>
                <a:cxn ang="0">
                  <a:pos x="0" y="453"/>
                </a:cxn>
                <a:cxn ang="0">
                  <a:pos x="13" y="496"/>
                </a:cxn>
                <a:cxn ang="0">
                  <a:pos x="26" y="505"/>
                </a:cxn>
                <a:cxn ang="0">
                  <a:pos x="17" y="528"/>
                </a:cxn>
                <a:cxn ang="0">
                  <a:pos x="0" y="549"/>
                </a:cxn>
                <a:cxn ang="0">
                  <a:pos x="14" y="583"/>
                </a:cxn>
                <a:cxn ang="0">
                  <a:pos x="44" y="644"/>
                </a:cxn>
                <a:cxn ang="0">
                  <a:pos x="68" y="653"/>
                </a:cxn>
                <a:cxn ang="0">
                  <a:pos x="76" y="656"/>
                </a:cxn>
                <a:cxn ang="0">
                  <a:pos x="108" y="720"/>
                </a:cxn>
                <a:cxn ang="0">
                  <a:pos x="156" y="723"/>
                </a:cxn>
                <a:cxn ang="0">
                  <a:pos x="173" y="707"/>
                </a:cxn>
                <a:cxn ang="0">
                  <a:pos x="197" y="723"/>
                </a:cxn>
                <a:cxn ang="0">
                  <a:pos x="301" y="691"/>
                </a:cxn>
                <a:cxn ang="0">
                  <a:pos x="318" y="713"/>
                </a:cxn>
                <a:cxn ang="0">
                  <a:pos x="325" y="719"/>
                </a:cxn>
                <a:cxn ang="0">
                  <a:pos x="332" y="767"/>
                </a:cxn>
                <a:cxn ang="0">
                  <a:pos x="353" y="787"/>
                </a:cxn>
                <a:cxn ang="0">
                  <a:pos x="388" y="807"/>
                </a:cxn>
                <a:cxn ang="0">
                  <a:pos x="421" y="816"/>
                </a:cxn>
                <a:cxn ang="0">
                  <a:pos x="468" y="792"/>
                </a:cxn>
                <a:cxn ang="0">
                  <a:pos x="500" y="788"/>
                </a:cxn>
                <a:cxn ang="0">
                  <a:pos x="497" y="747"/>
                </a:cxn>
                <a:cxn ang="0">
                  <a:pos x="525" y="735"/>
                </a:cxn>
                <a:cxn ang="0">
                  <a:pos x="530" y="697"/>
                </a:cxn>
              </a:cxnLst>
              <a:rect l="0" t="0" r="r" b="b"/>
              <a:pathLst>
                <a:path w="536" h="828">
                  <a:moveTo>
                    <a:pt x="530" y="697"/>
                  </a:moveTo>
                  <a:cubicBezTo>
                    <a:pt x="517" y="701"/>
                    <a:pt x="517" y="701"/>
                    <a:pt x="517" y="701"/>
                  </a:cubicBezTo>
                  <a:cubicBezTo>
                    <a:pt x="514" y="699"/>
                    <a:pt x="514" y="699"/>
                    <a:pt x="514" y="699"/>
                  </a:cubicBezTo>
                  <a:cubicBezTo>
                    <a:pt x="514" y="701"/>
                    <a:pt x="514" y="701"/>
                    <a:pt x="514" y="701"/>
                  </a:cubicBezTo>
                  <a:cubicBezTo>
                    <a:pt x="513" y="681"/>
                    <a:pt x="513" y="681"/>
                    <a:pt x="513" y="681"/>
                  </a:cubicBezTo>
                  <a:cubicBezTo>
                    <a:pt x="493" y="668"/>
                    <a:pt x="493" y="668"/>
                    <a:pt x="493" y="668"/>
                  </a:cubicBezTo>
                  <a:cubicBezTo>
                    <a:pt x="476" y="664"/>
                    <a:pt x="476" y="664"/>
                    <a:pt x="476" y="664"/>
                  </a:cubicBezTo>
                  <a:cubicBezTo>
                    <a:pt x="486" y="652"/>
                    <a:pt x="486" y="652"/>
                    <a:pt x="486" y="652"/>
                  </a:cubicBezTo>
                  <a:cubicBezTo>
                    <a:pt x="486" y="652"/>
                    <a:pt x="486" y="628"/>
                    <a:pt x="497" y="623"/>
                  </a:cubicBezTo>
                  <a:cubicBezTo>
                    <a:pt x="490" y="612"/>
                    <a:pt x="490" y="612"/>
                    <a:pt x="490" y="612"/>
                  </a:cubicBezTo>
                  <a:cubicBezTo>
                    <a:pt x="481" y="611"/>
                    <a:pt x="481" y="611"/>
                    <a:pt x="481" y="611"/>
                  </a:cubicBezTo>
                  <a:cubicBezTo>
                    <a:pt x="481" y="611"/>
                    <a:pt x="481" y="588"/>
                    <a:pt x="465" y="599"/>
                  </a:cubicBezTo>
                  <a:cubicBezTo>
                    <a:pt x="452" y="576"/>
                    <a:pt x="452" y="576"/>
                    <a:pt x="452" y="576"/>
                  </a:cubicBezTo>
                  <a:cubicBezTo>
                    <a:pt x="452" y="576"/>
                    <a:pt x="442" y="573"/>
                    <a:pt x="436" y="577"/>
                  </a:cubicBezTo>
                  <a:cubicBezTo>
                    <a:pt x="435" y="579"/>
                    <a:pt x="434" y="581"/>
                    <a:pt x="432" y="580"/>
                  </a:cubicBezTo>
                  <a:cubicBezTo>
                    <a:pt x="433" y="579"/>
                    <a:pt x="434" y="578"/>
                    <a:pt x="436" y="577"/>
                  </a:cubicBezTo>
                  <a:cubicBezTo>
                    <a:pt x="436" y="574"/>
                    <a:pt x="434" y="571"/>
                    <a:pt x="434" y="571"/>
                  </a:cubicBezTo>
                  <a:cubicBezTo>
                    <a:pt x="429" y="563"/>
                    <a:pt x="429" y="563"/>
                    <a:pt x="429" y="563"/>
                  </a:cubicBezTo>
                  <a:cubicBezTo>
                    <a:pt x="441" y="557"/>
                    <a:pt x="441" y="557"/>
                    <a:pt x="441" y="557"/>
                  </a:cubicBezTo>
                  <a:cubicBezTo>
                    <a:pt x="441" y="557"/>
                    <a:pt x="400" y="521"/>
                    <a:pt x="383" y="521"/>
                  </a:cubicBezTo>
                  <a:cubicBezTo>
                    <a:pt x="383" y="522"/>
                    <a:pt x="382" y="522"/>
                    <a:pt x="381" y="521"/>
                  </a:cubicBezTo>
                  <a:cubicBezTo>
                    <a:pt x="382" y="521"/>
                    <a:pt x="382" y="521"/>
                    <a:pt x="383" y="521"/>
                  </a:cubicBezTo>
                  <a:cubicBezTo>
                    <a:pt x="384" y="518"/>
                    <a:pt x="349" y="491"/>
                    <a:pt x="349" y="491"/>
                  </a:cubicBezTo>
                  <a:cubicBezTo>
                    <a:pt x="341" y="497"/>
                    <a:pt x="341" y="497"/>
                    <a:pt x="341" y="497"/>
                  </a:cubicBezTo>
                  <a:cubicBezTo>
                    <a:pt x="342" y="457"/>
                    <a:pt x="342" y="457"/>
                    <a:pt x="342" y="457"/>
                  </a:cubicBezTo>
                  <a:cubicBezTo>
                    <a:pt x="316" y="439"/>
                    <a:pt x="316" y="439"/>
                    <a:pt x="316" y="439"/>
                  </a:cubicBezTo>
                  <a:cubicBezTo>
                    <a:pt x="322" y="425"/>
                    <a:pt x="322" y="425"/>
                    <a:pt x="322" y="425"/>
                  </a:cubicBezTo>
                  <a:cubicBezTo>
                    <a:pt x="320" y="404"/>
                    <a:pt x="320" y="404"/>
                    <a:pt x="320" y="404"/>
                  </a:cubicBezTo>
                  <a:cubicBezTo>
                    <a:pt x="320" y="404"/>
                    <a:pt x="344" y="395"/>
                    <a:pt x="342" y="385"/>
                  </a:cubicBezTo>
                  <a:cubicBezTo>
                    <a:pt x="341" y="376"/>
                    <a:pt x="344" y="357"/>
                    <a:pt x="333" y="363"/>
                  </a:cubicBezTo>
                  <a:cubicBezTo>
                    <a:pt x="336" y="359"/>
                    <a:pt x="320" y="313"/>
                    <a:pt x="320" y="313"/>
                  </a:cubicBezTo>
                  <a:cubicBezTo>
                    <a:pt x="330" y="305"/>
                    <a:pt x="330" y="305"/>
                    <a:pt x="330" y="305"/>
                  </a:cubicBezTo>
                  <a:cubicBezTo>
                    <a:pt x="324" y="299"/>
                    <a:pt x="324" y="299"/>
                    <a:pt x="324" y="299"/>
                  </a:cubicBezTo>
                  <a:cubicBezTo>
                    <a:pt x="341" y="287"/>
                    <a:pt x="341" y="287"/>
                    <a:pt x="341" y="287"/>
                  </a:cubicBezTo>
                  <a:cubicBezTo>
                    <a:pt x="341" y="287"/>
                    <a:pt x="333" y="275"/>
                    <a:pt x="337" y="269"/>
                  </a:cubicBezTo>
                  <a:cubicBezTo>
                    <a:pt x="341" y="264"/>
                    <a:pt x="354" y="240"/>
                    <a:pt x="354" y="240"/>
                  </a:cubicBezTo>
                  <a:cubicBezTo>
                    <a:pt x="354" y="240"/>
                    <a:pt x="354" y="225"/>
                    <a:pt x="342" y="211"/>
                  </a:cubicBezTo>
                  <a:cubicBezTo>
                    <a:pt x="346" y="213"/>
                    <a:pt x="348" y="187"/>
                    <a:pt x="348" y="187"/>
                  </a:cubicBezTo>
                  <a:cubicBezTo>
                    <a:pt x="365" y="192"/>
                    <a:pt x="365" y="192"/>
                    <a:pt x="365" y="192"/>
                  </a:cubicBezTo>
                  <a:cubicBezTo>
                    <a:pt x="374" y="192"/>
                    <a:pt x="374" y="192"/>
                    <a:pt x="374" y="192"/>
                  </a:cubicBezTo>
                  <a:cubicBezTo>
                    <a:pt x="386" y="199"/>
                    <a:pt x="386" y="199"/>
                    <a:pt x="386" y="199"/>
                  </a:cubicBezTo>
                  <a:cubicBezTo>
                    <a:pt x="394" y="184"/>
                    <a:pt x="394" y="184"/>
                    <a:pt x="394" y="184"/>
                  </a:cubicBezTo>
                  <a:cubicBezTo>
                    <a:pt x="408" y="183"/>
                    <a:pt x="408" y="183"/>
                    <a:pt x="408" y="183"/>
                  </a:cubicBezTo>
                  <a:cubicBezTo>
                    <a:pt x="420" y="162"/>
                    <a:pt x="420" y="162"/>
                    <a:pt x="420" y="162"/>
                  </a:cubicBezTo>
                  <a:cubicBezTo>
                    <a:pt x="417" y="162"/>
                    <a:pt x="416" y="161"/>
                    <a:pt x="416" y="161"/>
                  </a:cubicBezTo>
                  <a:cubicBezTo>
                    <a:pt x="420" y="146"/>
                    <a:pt x="412" y="145"/>
                    <a:pt x="412" y="145"/>
                  </a:cubicBezTo>
                  <a:cubicBezTo>
                    <a:pt x="412" y="145"/>
                    <a:pt x="402" y="139"/>
                    <a:pt x="385" y="140"/>
                  </a:cubicBezTo>
                  <a:cubicBezTo>
                    <a:pt x="369" y="118"/>
                    <a:pt x="358" y="115"/>
                    <a:pt x="351" y="115"/>
                  </a:cubicBezTo>
                  <a:cubicBezTo>
                    <a:pt x="346" y="106"/>
                    <a:pt x="344" y="108"/>
                    <a:pt x="334" y="109"/>
                  </a:cubicBezTo>
                  <a:cubicBezTo>
                    <a:pt x="325" y="118"/>
                    <a:pt x="316" y="104"/>
                    <a:pt x="316" y="104"/>
                  </a:cubicBezTo>
                  <a:cubicBezTo>
                    <a:pt x="321" y="99"/>
                    <a:pt x="321" y="99"/>
                    <a:pt x="321" y="99"/>
                  </a:cubicBezTo>
                  <a:cubicBezTo>
                    <a:pt x="321" y="99"/>
                    <a:pt x="319" y="96"/>
                    <a:pt x="315" y="89"/>
                  </a:cubicBezTo>
                  <a:cubicBezTo>
                    <a:pt x="322" y="83"/>
                    <a:pt x="321" y="72"/>
                    <a:pt x="321" y="72"/>
                  </a:cubicBezTo>
                  <a:cubicBezTo>
                    <a:pt x="321" y="72"/>
                    <a:pt x="296" y="57"/>
                    <a:pt x="301" y="55"/>
                  </a:cubicBezTo>
                  <a:cubicBezTo>
                    <a:pt x="306" y="53"/>
                    <a:pt x="311" y="35"/>
                    <a:pt x="311" y="35"/>
                  </a:cubicBezTo>
                  <a:cubicBezTo>
                    <a:pt x="308" y="25"/>
                    <a:pt x="308" y="25"/>
                    <a:pt x="308" y="25"/>
                  </a:cubicBezTo>
                  <a:cubicBezTo>
                    <a:pt x="308" y="25"/>
                    <a:pt x="319" y="13"/>
                    <a:pt x="320" y="8"/>
                  </a:cubicBezTo>
                  <a:cubicBezTo>
                    <a:pt x="321" y="3"/>
                    <a:pt x="311" y="0"/>
                    <a:pt x="303" y="0"/>
                  </a:cubicBezTo>
                  <a:cubicBezTo>
                    <a:pt x="295" y="0"/>
                    <a:pt x="289" y="17"/>
                    <a:pt x="289" y="17"/>
                  </a:cubicBezTo>
                  <a:cubicBezTo>
                    <a:pt x="289" y="17"/>
                    <a:pt x="286" y="17"/>
                    <a:pt x="282" y="21"/>
                  </a:cubicBezTo>
                  <a:cubicBezTo>
                    <a:pt x="278" y="25"/>
                    <a:pt x="280" y="45"/>
                    <a:pt x="279" y="49"/>
                  </a:cubicBezTo>
                  <a:cubicBezTo>
                    <a:pt x="278" y="53"/>
                    <a:pt x="263" y="50"/>
                    <a:pt x="254" y="49"/>
                  </a:cubicBezTo>
                  <a:cubicBezTo>
                    <a:pt x="249" y="63"/>
                    <a:pt x="236" y="63"/>
                    <a:pt x="230" y="63"/>
                  </a:cubicBezTo>
                  <a:cubicBezTo>
                    <a:pt x="224" y="63"/>
                    <a:pt x="207" y="56"/>
                    <a:pt x="199" y="55"/>
                  </a:cubicBezTo>
                  <a:cubicBezTo>
                    <a:pt x="191" y="54"/>
                    <a:pt x="187" y="59"/>
                    <a:pt x="181" y="60"/>
                  </a:cubicBezTo>
                  <a:cubicBezTo>
                    <a:pt x="179" y="61"/>
                    <a:pt x="176" y="59"/>
                    <a:pt x="175" y="57"/>
                  </a:cubicBezTo>
                  <a:cubicBezTo>
                    <a:pt x="174" y="57"/>
                    <a:pt x="174" y="58"/>
                    <a:pt x="174" y="58"/>
                  </a:cubicBezTo>
                  <a:cubicBezTo>
                    <a:pt x="160" y="78"/>
                    <a:pt x="169" y="91"/>
                    <a:pt x="169" y="91"/>
                  </a:cubicBezTo>
                  <a:cubicBezTo>
                    <a:pt x="164" y="128"/>
                    <a:pt x="164" y="128"/>
                    <a:pt x="164" y="128"/>
                  </a:cubicBezTo>
                  <a:cubicBezTo>
                    <a:pt x="170" y="135"/>
                    <a:pt x="170" y="135"/>
                    <a:pt x="170" y="135"/>
                  </a:cubicBezTo>
                  <a:cubicBezTo>
                    <a:pt x="148" y="163"/>
                    <a:pt x="148" y="163"/>
                    <a:pt x="148" y="163"/>
                  </a:cubicBezTo>
                  <a:cubicBezTo>
                    <a:pt x="141" y="177"/>
                    <a:pt x="141" y="177"/>
                    <a:pt x="141" y="177"/>
                  </a:cubicBezTo>
                  <a:cubicBezTo>
                    <a:pt x="125" y="179"/>
                    <a:pt x="125" y="179"/>
                    <a:pt x="125" y="179"/>
                  </a:cubicBezTo>
                  <a:cubicBezTo>
                    <a:pt x="137" y="208"/>
                    <a:pt x="137" y="208"/>
                    <a:pt x="137" y="208"/>
                  </a:cubicBezTo>
                  <a:cubicBezTo>
                    <a:pt x="129" y="215"/>
                    <a:pt x="129" y="215"/>
                    <a:pt x="129" y="215"/>
                  </a:cubicBezTo>
                  <a:cubicBezTo>
                    <a:pt x="129" y="215"/>
                    <a:pt x="134" y="264"/>
                    <a:pt x="129" y="264"/>
                  </a:cubicBezTo>
                  <a:cubicBezTo>
                    <a:pt x="124" y="264"/>
                    <a:pt x="105" y="251"/>
                    <a:pt x="105" y="251"/>
                  </a:cubicBezTo>
                  <a:cubicBezTo>
                    <a:pt x="94" y="257"/>
                    <a:pt x="94" y="257"/>
                    <a:pt x="94" y="257"/>
                  </a:cubicBezTo>
                  <a:cubicBezTo>
                    <a:pt x="94" y="257"/>
                    <a:pt x="93" y="267"/>
                    <a:pt x="89" y="268"/>
                  </a:cubicBezTo>
                  <a:cubicBezTo>
                    <a:pt x="72" y="263"/>
                    <a:pt x="50" y="281"/>
                    <a:pt x="50" y="281"/>
                  </a:cubicBezTo>
                  <a:cubicBezTo>
                    <a:pt x="56" y="301"/>
                    <a:pt x="56" y="301"/>
                    <a:pt x="56" y="301"/>
                  </a:cubicBezTo>
                  <a:cubicBezTo>
                    <a:pt x="50" y="312"/>
                    <a:pt x="50" y="312"/>
                    <a:pt x="50" y="312"/>
                  </a:cubicBezTo>
                  <a:cubicBezTo>
                    <a:pt x="69" y="328"/>
                    <a:pt x="69" y="328"/>
                    <a:pt x="69" y="328"/>
                  </a:cubicBezTo>
                  <a:cubicBezTo>
                    <a:pt x="69" y="328"/>
                    <a:pt x="45" y="333"/>
                    <a:pt x="42" y="339"/>
                  </a:cubicBezTo>
                  <a:cubicBezTo>
                    <a:pt x="40" y="344"/>
                    <a:pt x="48" y="356"/>
                    <a:pt x="48" y="356"/>
                  </a:cubicBezTo>
                  <a:cubicBezTo>
                    <a:pt x="40" y="363"/>
                    <a:pt x="40" y="363"/>
                    <a:pt x="40" y="363"/>
                  </a:cubicBezTo>
                  <a:cubicBezTo>
                    <a:pt x="38" y="368"/>
                    <a:pt x="38" y="368"/>
                    <a:pt x="38" y="368"/>
                  </a:cubicBezTo>
                  <a:cubicBezTo>
                    <a:pt x="38" y="368"/>
                    <a:pt x="50" y="367"/>
                    <a:pt x="57" y="372"/>
                  </a:cubicBezTo>
                  <a:cubicBezTo>
                    <a:pt x="64" y="377"/>
                    <a:pt x="34" y="407"/>
                    <a:pt x="34" y="407"/>
                  </a:cubicBezTo>
                  <a:cubicBezTo>
                    <a:pt x="28" y="409"/>
                    <a:pt x="28" y="409"/>
                    <a:pt x="28" y="409"/>
                  </a:cubicBezTo>
                  <a:cubicBezTo>
                    <a:pt x="18" y="429"/>
                    <a:pt x="18" y="429"/>
                    <a:pt x="18" y="429"/>
                  </a:cubicBezTo>
                  <a:cubicBezTo>
                    <a:pt x="18" y="429"/>
                    <a:pt x="18" y="429"/>
                    <a:pt x="17" y="429"/>
                  </a:cubicBezTo>
                  <a:cubicBezTo>
                    <a:pt x="17" y="436"/>
                    <a:pt x="17" y="436"/>
                    <a:pt x="17" y="436"/>
                  </a:cubicBezTo>
                  <a:cubicBezTo>
                    <a:pt x="1" y="443"/>
                    <a:pt x="1" y="443"/>
                    <a:pt x="1" y="443"/>
                  </a:cubicBezTo>
                  <a:cubicBezTo>
                    <a:pt x="8" y="452"/>
                    <a:pt x="8" y="452"/>
                    <a:pt x="8" y="452"/>
                  </a:cubicBezTo>
                  <a:cubicBezTo>
                    <a:pt x="0" y="453"/>
                    <a:pt x="0" y="453"/>
                    <a:pt x="0" y="453"/>
                  </a:cubicBezTo>
                  <a:cubicBezTo>
                    <a:pt x="0" y="463"/>
                    <a:pt x="0" y="463"/>
                    <a:pt x="0" y="463"/>
                  </a:cubicBezTo>
                  <a:cubicBezTo>
                    <a:pt x="14" y="464"/>
                    <a:pt x="14" y="464"/>
                    <a:pt x="14" y="464"/>
                  </a:cubicBezTo>
                  <a:cubicBezTo>
                    <a:pt x="13" y="496"/>
                    <a:pt x="13" y="496"/>
                    <a:pt x="13" y="496"/>
                  </a:cubicBezTo>
                  <a:cubicBezTo>
                    <a:pt x="29" y="497"/>
                    <a:pt x="29" y="497"/>
                    <a:pt x="29" y="497"/>
                  </a:cubicBezTo>
                  <a:cubicBezTo>
                    <a:pt x="37" y="507"/>
                    <a:pt x="37" y="507"/>
                    <a:pt x="37" y="507"/>
                  </a:cubicBezTo>
                  <a:cubicBezTo>
                    <a:pt x="26" y="505"/>
                    <a:pt x="26" y="505"/>
                    <a:pt x="26" y="505"/>
                  </a:cubicBezTo>
                  <a:cubicBezTo>
                    <a:pt x="25" y="516"/>
                    <a:pt x="25" y="516"/>
                    <a:pt x="25" y="516"/>
                  </a:cubicBezTo>
                  <a:cubicBezTo>
                    <a:pt x="13" y="516"/>
                    <a:pt x="13" y="516"/>
                    <a:pt x="13" y="516"/>
                  </a:cubicBezTo>
                  <a:cubicBezTo>
                    <a:pt x="17" y="528"/>
                    <a:pt x="17" y="528"/>
                    <a:pt x="17" y="528"/>
                  </a:cubicBezTo>
                  <a:cubicBezTo>
                    <a:pt x="2" y="531"/>
                    <a:pt x="2" y="531"/>
                    <a:pt x="2" y="531"/>
                  </a:cubicBezTo>
                  <a:cubicBezTo>
                    <a:pt x="9" y="540"/>
                    <a:pt x="9" y="540"/>
                    <a:pt x="9" y="540"/>
                  </a:cubicBezTo>
                  <a:cubicBezTo>
                    <a:pt x="0" y="549"/>
                    <a:pt x="0" y="549"/>
                    <a:pt x="0" y="549"/>
                  </a:cubicBezTo>
                  <a:cubicBezTo>
                    <a:pt x="4" y="575"/>
                    <a:pt x="4" y="575"/>
                    <a:pt x="4" y="575"/>
                  </a:cubicBezTo>
                  <a:cubicBezTo>
                    <a:pt x="8" y="585"/>
                    <a:pt x="8" y="585"/>
                    <a:pt x="8" y="585"/>
                  </a:cubicBezTo>
                  <a:cubicBezTo>
                    <a:pt x="14" y="583"/>
                    <a:pt x="14" y="583"/>
                    <a:pt x="14" y="583"/>
                  </a:cubicBezTo>
                  <a:cubicBezTo>
                    <a:pt x="14" y="583"/>
                    <a:pt x="41" y="593"/>
                    <a:pt x="41" y="608"/>
                  </a:cubicBezTo>
                  <a:cubicBezTo>
                    <a:pt x="45" y="613"/>
                    <a:pt x="45" y="613"/>
                    <a:pt x="45" y="613"/>
                  </a:cubicBezTo>
                  <a:cubicBezTo>
                    <a:pt x="45" y="613"/>
                    <a:pt x="53" y="635"/>
                    <a:pt x="44" y="644"/>
                  </a:cubicBezTo>
                  <a:cubicBezTo>
                    <a:pt x="53" y="641"/>
                    <a:pt x="53" y="641"/>
                    <a:pt x="53" y="641"/>
                  </a:cubicBezTo>
                  <a:cubicBezTo>
                    <a:pt x="62" y="656"/>
                    <a:pt x="62" y="656"/>
                    <a:pt x="62" y="656"/>
                  </a:cubicBezTo>
                  <a:cubicBezTo>
                    <a:pt x="68" y="653"/>
                    <a:pt x="68" y="653"/>
                    <a:pt x="68" y="653"/>
                  </a:cubicBezTo>
                  <a:cubicBezTo>
                    <a:pt x="68" y="644"/>
                    <a:pt x="68" y="644"/>
                    <a:pt x="68" y="644"/>
                  </a:cubicBezTo>
                  <a:cubicBezTo>
                    <a:pt x="76" y="645"/>
                    <a:pt x="76" y="645"/>
                    <a:pt x="76" y="645"/>
                  </a:cubicBezTo>
                  <a:cubicBezTo>
                    <a:pt x="76" y="656"/>
                    <a:pt x="76" y="656"/>
                    <a:pt x="76" y="656"/>
                  </a:cubicBezTo>
                  <a:cubicBezTo>
                    <a:pt x="76" y="656"/>
                    <a:pt x="85" y="664"/>
                    <a:pt x="94" y="684"/>
                  </a:cubicBezTo>
                  <a:cubicBezTo>
                    <a:pt x="104" y="704"/>
                    <a:pt x="102" y="708"/>
                    <a:pt x="112" y="700"/>
                  </a:cubicBezTo>
                  <a:cubicBezTo>
                    <a:pt x="112" y="703"/>
                    <a:pt x="108" y="720"/>
                    <a:pt x="108" y="720"/>
                  </a:cubicBezTo>
                  <a:cubicBezTo>
                    <a:pt x="142" y="721"/>
                    <a:pt x="142" y="721"/>
                    <a:pt x="142" y="721"/>
                  </a:cubicBezTo>
                  <a:cubicBezTo>
                    <a:pt x="144" y="716"/>
                    <a:pt x="144" y="716"/>
                    <a:pt x="144" y="716"/>
                  </a:cubicBezTo>
                  <a:cubicBezTo>
                    <a:pt x="156" y="723"/>
                    <a:pt x="156" y="723"/>
                    <a:pt x="156" y="723"/>
                  </a:cubicBezTo>
                  <a:cubicBezTo>
                    <a:pt x="169" y="712"/>
                    <a:pt x="169" y="712"/>
                    <a:pt x="169" y="712"/>
                  </a:cubicBezTo>
                  <a:cubicBezTo>
                    <a:pt x="176" y="716"/>
                    <a:pt x="176" y="716"/>
                    <a:pt x="176" y="716"/>
                  </a:cubicBezTo>
                  <a:cubicBezTo>
                    <a:pt x="173" y="707"/>
                    <a:pt x="173" y="707"/>
                    <a:pt x="173" y="707"/>
                  </a:cubicBezTo>
                  <a:cubicBezTo>
                    <a:pt x="182" y="707"/>
                    <a:pt x="182" y="707"/>
                    <a:pt x="182" y="707"/>
                  </a:cubicBezTo>
                  <a:cubicBezTo>
                    <a:pt x="188" y="720"/>
                    <a:pt x="188" y="720"/>
                    <a:pt x="188" y="720"/>
                  </a:cubicBezTo>
                  <a:cubicBezTo>
                    <a:pt x="197" y="723"/>
                    <a:pt x="197" y="723"/>
                    <a:pt x="197" y="723"/>
                  </a:cubicBezTo>
                  <a:cubicBezTo>
                    <a:pt x="197" y="711"/>
                    <a:pt x="197" y="711"/>
                    <a:pt x="197" y="711"/>
                  </a:cubicBezTo>
                  <a:cubicBezTo>
                    <a:pt x="252" y="709"/>
                    <a:pt x="252" y="709"/>
                    <a:pt x="252" y="709"/>
                  </a:cubicBezTo>
                  <a:cubicBezTo>
                    <a:pt x="252" y="709"/>
                    <a:pt x="220" y="675"/>
                    <a:pt x="301" y="691"/>
                  </a:cubicBezTo>
                  <a:cubicBezTo>
                    <a:pt x="300" y="708"/>
                    <a:pt x="300" y="708"/>
                    <a:pt x="300" y="708"/>
                  </a:cubicBezTo>
                  <a:cubicBezTo>
                    <a:pt x="313" y="708"/>
                    <a:pt x="313" y="708"/>
                    <a:pt x="313" y="708"/>
                  </a:cubicBezTo>
                  <a:cubicBezTo>
                    <a:pt x="318" y="713"/>
                    <a:pt x="318" y="713"/>
                    <a:pt x="318" y="713"/>
                  </a:cubicBezTo>
                  <a:cubicBezTo>
                    <a:pt x="312" y="721"/>
                    <a:pt x="312" y="721"/>
                    <a:pt x="312" y="721"/>
                  </a:cubicBezTo>
                  <a:cubicBezTo>
                    <a:pt x="318" y="725"/>
                    <a:pt x="318" y="725"/>
                    <a:pt x="318" y="725"/>
                  </a:cubicBezTo>
                  <a:cubicBezTo>
                    <a:pt x="325" y="719"/>
                    <a:pt x="325" y="719"/>
                    <a:pt x="325" y="719"/>
                  </a:cubicBezTo>
                  <a:cubicBezTo>
                    <a:pt x="325" y="719"/>
                    <a:pt x="336" y="740"/>
                    <a:pt x="342" y="748"/>
                  </a:cubicBezTo>
                  <a:cubicBezTo>
                    <a:pt x="332" y="766"/>
                    <a:pt x="332" y="766"/>
                    <a:pt x="332" y="766"/>
                  </a:cubicBezTo>
                  <a:cubicBezTo>
                    <a:pt x="332" y="767"/>
                    <a:pt x="332" y="767"/>
                    <a:pt x="332" y="767"/>
                  </a:cubicBezTo>
                  <a:cubicBezTo>
                    <a:pt x="341" y="769"/>
                    <a:pt x="341" y="769"/>
                    <a:pt x="341" y="769"/>
                  </a:cubicBezTo>
                  <a:cubicBezTo>
                    <a:pt x="341" y="792"/>
                    <a:pt x="341" y="792"/>
                    <a:pt x="341" y="792"/>
                  </a:cubicBezTo>
                  <a:cubicBezTo>
                    <a:pt x="353" y="787"/>
                    <a:pt x="353" y="787"/>
                    <a:pt x="353" y="787"/>
                  </a:cubicBezTo>
                  <a:cubicBezTo>
                    <a:pt x="353" y="787"/>
                    <a:pt x="365" y="801"/>
                    <a:pt x="374" y="801"/>
                  </a:cubicBezTo>
                  <a:cubicBezTo>
                    <a:pt x="384" y="801"/>
                    <a:pt x="388" y="797"/>
                    <a:pt x="388" y="797"/>
                  </a:cubicBezTo>
                  <a:cubicBezTo>
                    <a:pt x="388" y="807"/>
                    <a:pt x="388" y="807"/>
                    <a:pt x="388" y="807"/>
                  </a:cubicBezTo>
                  <a:cubicBezTo>
                    <a:pt x="404" y="815"/>
                    <a:pt x="404" y="815"/>
                    <a:pt x="404" y="815"/>
                  </a:cubicBezTo>
                  <a:cubicBezTo>
                    <a:pt x="404" y="828"/>
                    <a:pt x="404" y="828"/>
                    <a:pt x="404" y="828"/>
                  </a:cubicBezTo>
                  <a:cubicBezTo>
                    <a:pt x="421" y="816"/>
                    <a:pt x="421" y="816"/>
                    <a:pt x="421" y="816"/>
                  </a:cubicBezTo>
                  <a:cubicBezTo>
                    <a:pt x="421" y="816"/>
                    <a:pt x="426" y="819"/>
                    <a:pt x="430" y="819"/>
                  </a:cubicBezTo>
                  <a:cubicBezTo>
                    <a:pt x="434" y="819"/>
                    <a:pt x="438" y="791"/>
                    <a:pt x="438" y="791"/>
                  </a:cubicBezTo>
                  <a:cubicBezTo>
                    <a:pt x="468" y="792"/>
                    <a:pt x="468" y="792"/>
                    <a:pt x="468" y="792"/>
                  </a:cubicBezTo>
                  <a:cubicBezTo>
                    <a:pt x="469" y="785"/>
                    <a:pt x="469" y="785"/>
                    <a:pt x="469" y="785"/>
                  </a:cubicBezTo>
                  <a:cubicBezTo>
                    <a:pt x="481" y="793"/>
                    <a:pt x="481" y="793"/>
                    <a:pt x="481" y="793"/>
                  </a:cubicBezTo>
                  <a:cubicBezTo>
                    <a:pt x="500" y="788"/>
                    <a:pt x="500" y="788"/>
                    <a:pt x="500" y="788"/>
                  </a:cubicBezTo>
                  <a:cubicBezTo>
                    <a:pt x="502" y="757"/>
                    <a:pt x="502" y="757"/>
                    <a:pt x="502" y="757"/>
                  </a:cubicBezTo>
                  <a:cubicBezTo>
                    <a:pt x="492" y="757"/>
                    <a:pt x="492" y="757"/>
                    <a:pt x="492" y="757"/>
                  </a:cubicBezTo>
                  <a:cubicBezTo>
                    <a:pt x="497" y="747"/>
                    <a:pt x="497" y="747"/>
                    <a:pt x="497" y="747"/>
                  </a:cubicBezTo>
                  <a:cubicBezTo>
                    <a:pt x="505" y="748"/>
                    <a:pt x="505" y="748"/>
                    <a:pt x="505" y="748"/>
                  </a:cubicBezTo>
                  <a:cubicBezTo>
                    <a:pt x="512" y="733"/>
                    <a:pt x="512" y="733"/>
                    <a:pt x="512" y="733"/>
                  </a:cubicBezTo>
                  <a:cubicBezTo>
                    <a:pt x="525" y="735"/>
                    <a:pt x="525" y="735"/>
                    <a:pt x="525" y="735"/>
                  </a:cubicBezTo>
                  <a:cubicBezTo>
                    <a:pt x="528" y="720"/>
                    <a:pt x="528" y="720"/>
                    <a:pt x="528" y="720"/>
                  </a:cubicBezTo>
                  <a:cubicBezTo>
                    <a:pt x="536" y="715"/>
                    <a:pt x="536" y="715"/>
                    <a:pt x="536" y="715"/>
                  </a:cubicBezTo>
                  <a:lnTo>
                    <a:pt x="530" y="697"/>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5" name="Lorraine" descr="© INSCALE GmbH, 05.05.2010&#10;http://www.presentationload.com/">
              <a:extLst>
                <a:ext uri="{FF2B5EF4-FFF2-40B4-BE49-F238E27FC236}">
                  <a16:creationId xmlns:a16="http://schemas.microsoft.com/office/drawing/2014/main" id="{2ACB0F13-E462-48F4-A8B6-FD41570E9DC6}"/>
                </a:ext>
              </a:extLst>
            </p:cNvPr>
            <p:cNvSpPr>
              <a:spLocks/>
            </p:cNvSpPr>
            <p:nvPr/>
          </p:nvSpPr>
          <p:spPr bwMode="gray">
            <a:xfrm>
              <a:off x="2349" y="641"/>
              <a:ext cx="619" cy="618"/>
            </a:xfrm>
            <a:custGeom>
              <a:avLst/>
              <a:gdLst/>
              <a:ahLst/>
              <a:cxnLst>
                <a:cxn ang="0">
                  <a:pos x="552" y="140"/>
                </a:cxn>
                <a:cxn ang="0">
                  <a:pos x="524" y="152"/>
                </a:cxn>
                <a:cxn ang="0">
                  <a:pos x="482" y="143"/>
                </a:cxn>
                <a:cxn ang="0">
                  <a:pos x="464" y="142"/>
                </a:cxn>
                <a:cxn ang="0">
                  <a:pos x="429" y="124"/>
                </a:cxn>
                <a:cxn ang="0">
                  <a:pos x="423" y="143"/>
                </a:cxn>
                <a:cxn ang="0">
                  <a:pos x="395" y="131"/>
                </a:cxn>
                <a:cxn ang="0">
                  <a:pos x="388" y="114"/>
                </a:cxn>
                <a:cxn ang="0">
                  <a:pos x="365" y="84"/>
                </a:cxn>
                <a:cxn ang="0">
                  <a:pos x="368" y="71"/>
                </a:cxn>
                <a:cxn ang="0">
                  <a:pos x="333" y="43"/>
                </a:cxn>
                <a:cxn ang="0">
                  <a:pos x="281" y="38"/>
                </a:cxn>
                <a:cxn ang="0">
                  <a:pos x="233" y="36"/>
                </a:cxn>
                <a:cxn ang="0">
                  <a:pos x="191" y="20"/>
                </a:cxn>
                <a:cxn ang="0">
                  <a:pos x="165" y="33"/>
                </a:cxn>
                <a:cxn ang="0">
                  <a:pos x="128" y="21"/>
                </a:cxn>
                <a:cxn ang="0">
                  <a:pos x="92" y="21"/>
                </a:cxn>
                <a:cxn ang="0">
                  <a:pos x="70" y="37"/>
                </a:cxn>
                <a:cxn ang="0">
                  <a:pos x="49" y="30"/>
                </a:cxn>
                <a:cxn ang="0">
                  <a:pos x="26" y="49"/>
                </a:cxn>
                <a:cxn ang="0">
                  <a:pos x="21" y="107"/>
                </a:cxn>
                <a:cxn ang="0">
                  <a:pos x="8" y="137"/>
                </a:cxn>
                <a:cxn ang="0">
                  <a:pos x="4" y="151"/>
                </a:cxn>
                <a:cxn ang="0">
                  <a:pos x="26" y="223"/>
                </a:cxn>
                <a:cxn ang="0">
                  <a:pos x="6" y="263"/>
                </a:cxn>
                <a:cxn ang="0">
                  <a:pos x="26" y="295"/>
                </a:cxn>
                <a:cxn ang="0">
                  <a:pos x="33" y="329"/>
                </a:cxn>
                <a:cxn ang="0">
                  <a:pos x="125" y="395"/>
                </a:cxn>
                <a:cxn ang="0">
                  <a:pos x="118" y="409"/>
                </a:cxn>
                <a:cxn ang="0">
                  <a:pos x="136" y="414"/>
                </a:cxn>
                <a:cxn ang="0">
                  <a:pos x="165" y="449"/>
                </a:cxn>
                <a:cxn ang="0">
                  <a:pos x="181" y="461"/>
                </a:cxn>
                <a:cxn ang="0">
                  <a:pos x="160" y="502"/>
                </a:cxn>
                <a:cxn ang="0">
                  <a:pos x="197" y="519"/>
                </a:cxn>
                <a:cxn ang="0">
                  <a:pos x="201" y="539"/>
                </a:cxn>
                <a:cxn ang="0">
                  <a:pos x="217" y="544"/>
                </a:cxn>
                <a:cxn ang="0">
                  <a:pos x="234" y="534"/>
                </a:cxn>
                <a:cxn ang="0">
                  <a:pos x="244" y="537"/>
                </a:cxn>
                <a:cxn ang="0">
                  <a:pos x="274" y="517"/>
                </a:cxn>
                <a:cxn ang="0">
                  <a:pos x="286" y="534"/>
                </a:cxn>
                <a:cxn ang="0">
                  <a:pos x="337" y="537"/>
                </a:cxn>
                <a:cxn ang="0">
                  <a:pos x="372" y="537"/>
                </a:cxn>
                <a:cxn ang="0">
                  <a:pos x="414" y="562"/>
                </a:cxn>
                <a:cxn ang="0">
                  <a:pos x="442" y="559"/>
                </a:cxn>
                <a:cxn ang="0">
                  <a:pos x="441" y="545"/>
                </a:cxn>
                <a:cxn ang="0">
                  <a:pos x="472" y="470"/>
                </a:cxn>
                <a:cxn ang="0">
                  <a:pos x="490" y="411"/>
                </a:cxn>
                <a:cxn ang="0">
                  <a:pos x="469" y="399"/>
                </a:cxn>
                <a:cxn ang="0">
                  <a:pos x="458" y="343"/>
                </a:cxn>
                <a:cxn ang="0">
                  <a:pos x="508" y="299"/>
                </a:cxn>
                <a:cxn ang="0">
                  <a:pos x="477" y="242"/>
                </a:cxn>
                <a:cxn ang="0">
                  <a:pos x="449" y="243"/>
                </a:cxn>
                <a:cxn ang="0">
                  <a:pos x="429" y="223"/>
                </a:cxn>
                <a:cxn ang="0">
                  <a:pos x="450" y="166"/>
                </a:cxn>
                <a:cxn ang="0">
                  <a:pos x="465" y="189"/>
                </a:cxn>
                <a:cxn ang="0">
                  <a:pos x="533" y="197"/>
                </a:cxn>
                <a:cxn ang="0">
                  <a:pos x="563" y="150"/>
                </a:cxn>
              </a:cxnLst>
              <a:rect l="0" t="0" r="r" b="b"/>
              <a:pathLst>
                <a:path w="574" h="573">
                  <a:moveTo>
                    <a:pt x="563" y="150"/>
                  </a:moveTo>
                  <a:cubicBezTo>
                    <a:pt x="569" y="145"/>
                    <a:pt x="561" y="142"/>
                    <a:pt x="552" y="140"/>
                  </a:cubicBezTo>
                  <a:cubicBezTo>
                    <a:pt x="542" y="130"/>
                    <a:pt x="536" y="147"/>
                    <a:pt x="536" y="147"/>
                  </a:cubicBezTo>
                  <a:cubicBezTo>
                    <a:pt x="524" y="152"/>
                    <a:pt x="524" y="152"/>
                    <a:pt x="524" y="152"/>
                  </a:cubicBezTo>
                  <a:cubicBezTo>
                    <a:pt x="489" y="154"/>
                    <a:pt x="489" y="154"/>
                    <a:pt x="489" y="154"/>
                  </a:cubicBezTo>
                  <a:cubicBezTo>
                    <a:pt x="482" y="143"/>
                    <a:pt x="482" y="143"/>
                    <a:pt x="482" y="143"/>
                  </a:cubicBezTo>
                  <a:cubicBezTo>
                    <a:pt x="471" y="154"/>
                    <a:pt x="471" y="154"/>
                    <a:pt x="471" y="154"/>
                  </a:cubicBezTo>
                  <a:cubicBezTo>
                    <a:pt x="464" y="142"/>
                    <a:pt x="464" y="142"/>
                    <a:pt x="464" y="142"/>
                  </a:cubicBezTo>
                  <a:cubicBezTo>
                    <a:pt x="464" y="122"/>
                    <a:pt x="438" y="126"/>
                    <a:pt x="438" y="126"/>
                  </a:cubicBezTo>
                  <a:cubicBezTo>
                    <a:pt x="429" y="124"/>
                    <a:pt x="429" y="124"/>
                    <a:pt x="429" y="124"/>
                  </a:cubicBezTo>
                  <a:cubicBezTo>
                    <a:pt x="431" y="135"/>
                    <a:pt x="431" y="135"/>
                    <a:pt x="431" y="135"/>
                  </a:cubicBezTo>
                  <a:cubicBezTo>
                    <a:pt x="423" y="143"/>
                    <a:pt x="423" y="143"/>
                    <a:pt x="423" y="143"/>
                  </a:cubicBezTo>
                  <a:cubicBezTo>
                    <a:pt x="419" y="140"/>
                    <a:pt x="419" y="140"/>
                    <a:pt x="419" y="140"/>
                  </a:cubicBezTo>
                  <a:cubicBezTo>
                    <a:pt x="397" y="145"/>
                    <a:pt x="395" y="131"/>
                    <a:pt x="395" y="131"/>
                  </a:cubicBezTo>
                  <a:cubicBezTo>
                    <a:pt x="403" y="125"/>
                    <a:pt x="397" y="121"/>
                    <a:pt x="397" y="121"/>
                  </a:cubicBezTo>
                  <a:cubicBezTo>
                    <a:pt x="392" y="126"/>
                    <a:pt x="388" y="114"/>
                    <a:pt x="388" y="114"/>
                  </a:cubicBezTo>
                  <a:cubicBezTo>
                    <a:pt x="389" y="107"/>
                    <a:pt x="377" y="99"/>
                    <a:pt x="370" y="96"/>
                  </a:cubicBezTo>
                  <a:cubicBezTo>
                    <a:pt x="370" y="88"/>
                    <a:pt x="365" y="84"/>
                    <a:pt x="365" y="84"/>
                  </a:cubicBezTo>
                  <a:cubicBezTo>
                    <a:pt x="371" y="79"/>
                    <a:pt x="371" y="79"/>
                    <a:pt x="371" y="79"/>
                  </a:cubicBezTo>
                  <a:cubicBezTo>
                    <a:pt x="368" y="71"/>
                    <a:pt x="368" y="71"/>
                    <a:pt x="368" y="71"/>
                  </a:cubicBezTo>
                  <a:cubicBezTo>
                    <a:pt x="361" y="71"/>
                    <a:pt x="358" y="59"/>
                    <a:pt x="358" y="59"/>
                  </a:cubicBezTo>
                  <a:cubicBezTo>
                    <a:pt x="333" y="43"/>
                    <a:pt x="333" y="43"/>
                    <a:pt x="333" y="43"/>
                  </a:cubicBezTo>
                  <a:cubicBezTo>
                    <a:pt x="317" y="61"/>
                    <a:pt x="297" y="38"/>
                    <a:pt x="297" y="38"/>
                  </a:cubicBezTo>
                  <a:cubicBezTo>
                    <a:pt x="297" y="38"/>
                    <a:pt x="297" y="38"/>
                    <a:pt x="281" y="38"/>
                  </a:cubicBezTo>
                  <a:cubicBezTo>
                    <a:pt x="272" y="54"/>
                    <a:pt x="245" y="52"/>
                    <a:pt x="243" y="48"/>
                  </a:cubicBezTo>
                  <a:cubicBezTo>
                    <a:pt x="241" y="44"/>
                    <a:pt x="233" y="36"/>
                    <a:pt x="233" y="36"/>
                  </a:cubicBezTo>
                  <a:cubicBezTo>
                    <a:pt x="233" y="36"/>
                    <a:pt x="223" y="33"/>
                    <a:pt x="212" y="31"/>
                  </a:cubicBezTo>
                  <a:cubicBezTo>
                    <a:pt x="206" y="20"/>
                    <a:pt x="191" y="20"/>
                    <a:pt x="191" y="20"/>
                  </a:cubicBezTo>
                  <a:cubicBezTo>
                    <a:pt x="175" y="19"/>
                    <a:pt x="175" y="19"/>
                    <a:pt x="175" y="19"/>
                  </a:cubicBezTo>
                  <a:cubicBezTo>
                    <a:pt x="165" y="33"/>
                    <a:pt x="165" y="33"/>
                    <a:pt x="165" y="33"/>
                  </a:cubicBezTo>
                  <a:cubicBezTo>
                    <a:pt x="165" y="33"/>
                    <a:pt x="162" y="29"/>
                    <a:pt x="145" y="30"/>
                  </a:cubicBezTo>
                  <a:cubicBezTo>
                    <a:pt x="126" y="45"/>
                    <a:pt x="129" y="24"/>
                    <a:pt x="128" y="21"/>
                  </a:cubicBezTo>
                  <a:cubicBezTo>
                    <a:pt x="128" y="5"/>
                    <a:pt x="111" y="1"/>
                    <a:pt x="104" y="0"/>
                  </a:cubicBezTo>
                  <a:cubicBezTo>
                    <a:pt x="92" y="21"/>
                    <a:pt x="92" y="21"/>
                    <a:pt x="92" y="21"/>
                  </a:cubicBezTo>
                  <a:cubicBezTo>
                    <a:pt x="78" y="22"/>
                    <a:pt x="78" y="22"/>
                    <a:pt x="78" y="22"/>
                  </a:cubicBezTo>
                  <a:cubicBezTo>
                    <a:pt x="70" y="37"/>
                    <a:pt x="70" y="37"/>
                    <a:pt x="70" y="37"/>
                  </a:cubicBezTo>
                  <a:cubicBezTo>
                    <a:pt x="58" y="30"/>
                    <a:pt x="58" y="30"/>
                    <a:pt x="58" y="30"/>
                  </a:cubicBezTo>
                  <a:cubicBezTo>
                    <a:pt x="49" y="30"/>
                    <a:pt x="49" y="30"/>
                    <a:pt x="49" y="30"/>
                  </a:cubicBezTo>
                  <a:cubicBezTo>
                    <a:pt x="32" y="25"/>
                    <a:pt x="32" y="25"/>
                    <a:pt x="32" y="25"/>
                  </a:cubicBezTo>
                  <a:cubicBezTo>
                    <a:pt x="32" y="25"/>
                    <a:pt x="30" y="51"/>
                    <a:pt x="26" y="49"/>
                  </a:cubicBezTo>
                  <a:cubicBezTo>
                    <a:pt x="38" y="63"/>
                    <a:pt x="38" y="78"/>
                    <a:pt x="38" y="78"/>
                  </a:cubicBezTo>
                  <a:cubicBezTo>
                    <a:pt x="38" y="78"/>
                    <a:pt x="25" y="102"/>
                    <a:pt x="21" y="107"/>
                  </a:cubicBezTo>
                  <a:cubicBezTo>
                    <a:pt x="17" y="113"/>
                    <a:pt x="25" y="125"/>
                    <a:pt x="25" y="125"/>
                  </a:cubicBezTo>
                  <a:cubicBezTo>
                    <a:pt x="8" y="137"/>
                    <a:pt x="8" y="137"/>
                    <a:pt x="8" y="137"/>
                  </a:cubicBezTo>
                  <a:cubicBezTo>
                    <a:pt x="14" y="143"/>
                    <a:pt x="14" y="143"/>
                    <a:pt x="14" y="143"/>
                  </a:cubicBezTo>
                  <a:cubicBezTo>
                    <a:pt x="4" y="151"/>
                    <a:pt x="4" y="151"/>
                    <a:pt x="4" y="151"/>
                  </a:cubicBezTo>
                  <a:cubicBezTo>
                    <a:pt x="4" y="151"/>
                    <a:pt x="20" y="197"/>
                    <a:pt x="17" y="201"/>
                  </a:cubicBezTo>
                  <a:cubicBezTo>
                    <a:pt x="28" y="195"/>
                    <a:pt x="25" y="214"/>
                    <a:pt x="26" y="223"/>
                  </a:cubicBezTo>
                  <a:cubicBezTo>
                    <a:pt x="28" y="233"/>
                    <a:pt x="4" y="242"/>
                    <a:pt x="4" y="242"/>
                  </a:cubicBezTo>
                  <a:cubicBezTo>
                    <a:pt x="6" y="263"/>
                    <a:pt x="6" y="263"/>
                    <a:pt x="6" y="263"/>
                  </a:cubicBezTo>
                  <a:cubicBezTo>
                    <a:pt x="0" y="277"/>
                    <a:pt x="0" y="277"/>
                    <a:pt x="0" y="277"/>
                  </a:cubicBezTo>
                  <a:cubicBezTo>
                    <a:pt x="26" y="295"/>
                    <a:pt x="26" y="295"/>
                    <a:pt x="26" y="295"/>
                  </a:cubicBezTo>
                  <a:cubicBezTo>
                    <a:pt x="25" y="335"/>
                    <a:pt x="25" y="335"/>
                    <a:pt x="25" y="335"/>
                  </a:cubicBezTo>
                  <a:cubicBezTo>
                    <a:pt x="33" y="329"/>
                    <a:pt x="33" y="329"/>
                    <a:pt x="33" y="329"/>
                  </a:cubicBezTo>
                  <a:cubicBezTo>
                    <a:pt x="33" y="329"/>
                    <a:pt x="68" y="356"/>
                    <a:pt x="67" y="359"/>
                  </a:cubicBezTo>
                  <a:cubicBezTo>
                    <a:pt x="84" y="359"/>
                    <a:pt x="125" y="395"/>
                    <a:pt x="125" y="395"/>
                  </a:cubicBezTo>
                  <a:cubicBezTo>
                    <a:pt x="113" y="401"/>
                    <a:pt x="113" y="401"/>
                    <a:pt x="113" y="401"/>
                  </a:cubicBezTo>
                  <a:cubicBezTo>
                    <a:pt x="118" y="409"/>
                    <a:pt x="118" y="409"/>
                    <a:pt x="118" y="409"/>
                  </a:cubicBezTo>
                  <a:cubicBezTo>
                    <a:pt x="118" y="409"/>
                    <a:pt x="120" y="412"/>
                    <a:pt x="120" y="415"/>
                  </a:cubicBezTo>
                  <a:cubicBezTo>
                    <a:pt x="126" y="411"/>
                    <a:pt x="136" y="414"/>
                    <a:pt x="136" y="414"/>
                  </a:cubicBezTo>
                  <a:cubicBezTo>
                    <a:pt x="149" y="437"/>
                    <a:pt x="149" y="437"/>
                    <a:pt x="149" y="437"/>
                  </a:cubicBezTo>
                  <a:cubicBezTo>
                    <a:pt x="165" y="426"/>
                    <a:pt x="165" y="449"/>
                    <a:pt x="165" y="449"/>
                  </a:cubicBezTo>
                  <a:cubicBezTo>
                    <a:pt x="174" y="450"/>
                    <a:pt x="174" y="450"/>
                    <a:pt x="174" y="450"/>
                  </a:cubicBezTo>
                  <a:cubicBezTo>
                    <a:pt x="181" y="461"/>
                    <a:pt x="181" y="461"/>
                    <a:pt x="181" y="461"/>
                  </a:cubicBezTo>
                  <a:cubicBezTo>
                    <a:pt x="170" y="466"/>
                    <a:pt x="170" y="490"/>
                    <a:pt x="170" y="490"/>
                  </a:cubicBezTo>
                  <a:cubicBezTo>
                    <a:pt x="160" y="502"/>
                    <a:pt x="160" y="502"/>
                    <a:pt x="160" y="502"/>
                  </a:cubicBezTo>
                  <a:cubicBezTo>
                    <a:pt x="177" y="506"/>
                    <a:pt x="177" y="506"/>
                    <a:pt x="177" y="506"/>
                  </a:cubicBezTo>
                  <a:cubicBezTo>
                    <a:pt x="197" y="519"/>
                    <a:pt x="197" y="519"/>
                    <a:pt x="197" y="519"/>
                  </a:cubicBezTo>
                  <a:cubicBezTo>
                    <a:pt x="198" y="537"/>
                    <a:pt x="198" y="537"/>
                    <a:pt x="198" y="537"/>
                  </a:cubicBezTo>
                  <a:cubicBezTo>
                    <a:pt x="201" y="539"/>
                    <a:pt x="201" y="539"/>
                    <a:pt x="201" y="539"/>
                  </a:cubicBezTo>
                  <a:cubicBezTo>
                    <a:pt x="214" y="547"/>
                    <a:pt x="214" y="547"/>
                    <a:pt x="214" y="547"/>
                  </a:cubicBezTo>
                  <a:cubicBezTo>
                    <a:pt x="217" y="544"/>
                    <a:pt x="217" y="544"/>
                    <a:pt x="217" y="544"/>
                  </a:cubicBezTo>
                  <a:cubicBezTo>
                    <a:pt x="224" y="533"/>
                    <a:pt x="224" y="533"/>
                    <a:pt x="224" y="533"/>
                  </a:cubicBezTo>
                  <a:cubicBezTo>
                    <a:pt x="234" y="534"/>
                    <a:pt x="234" y="534"/>
                    <a:pt x="234" y="534"/>
                  </a:cubicBezTo>
                  <a:cubicBezTo>
                    <a:pt x="230" y="543"/>
                    <a:pt x="230" y="543"/>
                    <a:pt x="230" y="543"/>
                  </a:cubicBezTo>
                  <a:cubicBezTo>
                    <a:pt x="244" y="537"/>
                    <a:pt x="244" y="537"/>
                    <a:pt x="244" y="537"/>
                  </a:cubicBezTo>
                  <a:cubicBezTo>
                    <a:pt x="249" y="523"/>
                    <a:pt x="249" y="523"/>
                    <a:pt x="249" y="523"/>
                  </a:cubicBezTo>
                  <a:cubicBezTo>
                    <a:pt x="274" y="517"/>
                    <a:pt x="274" y="517"/>
                    <a:pt x="274" y="517"/>
                  </a:cubicBezTo>
                  <a:cubicBezTo>
                    <a:pt x="273" y="533"/>
                    <a:pt x="273" y="533"/>
                    <a:pt x="273" y="533"/>
                  </a:cubicBezTo>
                  <a:cubicBezTo>
                    <a:pt x="286" y="534"/>
                    <a:pt x="286" y="534"/>
                    <a:pt x="286" y="534"/>
                  </a:cubicBezTo>
                  <a:cubicBezTo>
                    <a:pt x="285" y="543"/>
                    <a:pt x="285" y="543"/>
                    <a:pt x="285" y="543"/>
                  </a:cubicBezTo>
                  <a:cubicBezTo>
                    <a:pt x="285" y="543"/>
                    <a:pt x="333" y="526"/>
                    <a:pt x="337" y="537"/>
                  </a:cubicBezTo>
                  <a:cubicBezTo>
                    <a:pt x="341" y="547"/>
                    <a:pt x="346" y="554"/>
                    <a:pt x="346" y="554"/>
                  </a:cubicBezTo>
                  <a:cubicBezTo>
                    <a:pt x="372" y="537"/>
                    <a:pt x="372" y="537"/>
                    <a:pt x="372" y="537"/>
                  </a:cubicBezTo>
                  <a:cubicBezTo>
                    <a:pt x="381" y="549"/>
                    <a:pt x="381" y="549"/>
                    <a:pt x="381" y="549"/>
                  </a:cubicBezTo>
                  <a:cubicBezTo>
                    <a:pt x="414" y="562"/>
                    <a:pt x="414" y="562"/>
                    <a:pt x="414" y="562"/>
                  </a:cubicBezTo>
                  <a:cubicBezTo>
                    <a:pt x="414" y="562"/>
                    <a:pt x="422" y="573"/>
                    <a:pt x="428" y="570"/>
                  </a:cubicBezTo>
                  <a:cubicBezTo>
                    <a:pt x="433" y="567"/>
                    <a:pt x="442" y="559"/>
                    <a:pt x="442" y="559"/>
                  </a:cubicBezTo>
                  <a:cubicBezTo>
                    <a:pt x="437" y="550"/>
                    <a:pt x="437" y="550"/>
                    <a:pt x="437" y="550"/>
                  </a:cubicBezTo>
                  <a:cubicBezTo>
                    <a:pt x="441" y="545"/>
                    <a:pt x="441" y="545"/>
                    <a:pt x="441" y="545"/>
                  </a:cubicBezTo>
                  <a:cubicBezTo>
                    <a:pt x="442" y="514"/>
                    <a:pt x="442" y="514"/>
                    <a:pt x="442" y="514"/>
                  </a:cubicBezTo>
                  <a:cubicBezTo>
                    <a:pt x="442" y="514"/>
                    <a:pt x="460" y="511"/>
                    <a:pt x="472" y="470"/>
                  </a:cubicBezTo>
                  <a:cubicBezTo>
                    <a:pt x="476" y="470"/>
                    <a:pt x="469" y="466"/>
                    <a:pt x="469" y="466"/>
                  </a:cubicBezTo>
                  <a:cubicBezTo>
                    <a:pt x="490" y="411"/>
                    <a:pt x="490" y="411"/>
                    <a:pt x="490" y="411"/>
                  </a:cubicBezTo>
                  <a:cubicBezTo>
                    <a:pt x="489" y="402"/>
                    <a:pt x="489" y="402"/>
                    <a:pt x="489" y="402"/>
                  </a:cubicBezTo>
                  <a:cubicBezTo>
                    <a:pt x="489" y="402"/>
                    <a:pt x="469" y="411"/>
                    <a:pt x="469" y="399"/>
                  </a:cubicBezTo>
                  <a:cubicBezTo>
                    <a:pt x="469" y="387"/>
                    <a:pt x="472" y="349"/>
                    <a:pt x="472" y="349"/>
                  </a:cubicBezTo>
                  <a:cubicBezTo>
                    <a:pt x="458" y="343"/>
                    <a:pt x="458" y="343"/>
                    <a:pt x="458" y="343"/>
                  </a:cubicBezTo>
                  <a:cubicBezTo>
                    <a:pt x="480" y="338"/>
                    <a:pt x="480" y="338"/>
                    <a:pt x="480" y="338"/>
                  </a:cubicBezTo>
                  <a:cubicBezTo>
                    <a:pt x="480" y="338"/>
                    <a:pt x="505" y="337"/>
                    <a:pt x="508" y="299"/>
                  </a:cubicBezTo>
                  <a:cubicBezTo>
                    <a:pt x="506" y="304"/>
                    <a:pt x="487" y="294"/>
                    <a:pt x="505" y="262"/>
                  </a:cubicBezTo>
                  <a:cubicBezTo>
                    <a:pt x="502" y="260"/>
                    <a:pt x="483" y="244"/>
                    <a:pt x="477" y="242"/>
                  </a:cubicBezTo>
                  <a:cubicBezTo>
                    <a:pt x="470" y="239"/>
                    <a:pt x="457" y="258"/>
                    <a:pt x="457" y="258"/>
                  </a:cubicBezTo>
                  <a:cubicBezTo>
                    <a:pt x="449" y="243"/>
                    <a:pt x="449" y="243"/>
                    <a:pt x="449" y="243"/>
                  </a:cubicBezTo>
                  <a:cubicBezTo>
                    <a:pt x="457" y="233"/>
                    <a:pt x="457" y="233"/>
                    <a:pt x="457" y="233"/>
                  </a:cubicBezTo>
                  <a:cubicBezTo>
                    <a:pt x="429" y="223"/>
                    <a:pt x="429" y="223"/>
                    <a:pt x="429" y="223"/>
                  </a:cubicBezTo>
                  <a:cubicBezTo>
                    <a:pt x="429" y="223"/>
                    <a:pt x="434" y="203"/>
                    <a:pt x="444" y="205"/>
                  </a:cubicBezTo>
                  <a:cubicBezTo>
                    <a:pt x="450" y="166"/>
                    <a:pt x="450" y="166"/>
                    <a:pt x="450" y="166"/>
                  </a:cubicBezTo>
                  <a:cubicBezTo>
                    <a:pt x="456" y="167"/>
                    <a:pt x="456" y="167"/>
                    <a:pt x="456" y="167"/>
                  </a:cubicBezTo>
                  <a:cubicBezTo>
                    <a:pt x="465" y="189"/>
                    <a:pt x="465" y="189"/>
                    <a:pt x="465" y="189"/>
                  </a:cubicBezTo>
                  <a:cubicBezTo>
                    <a:pt x="493" y="193"/>
                    <a:pt x="493" y="193"/>
                    <a:pt x="493" y="193"/>
                  </a:cubicBezTo>
                  <a:cubicBezTo>
                    <a:pt x="493" y="193"/>
                    <a:pt x="498" y="217"/>
                    <a:pt x="533" y="197"/>
                  </a:cubicBezTo>
                  <a:cubicBezTo>
                    <a:pt x="533" y="197"/>
                    <a:pt x="553" y="229"/>
                    <a:pt x="574" y="164"/>
                  </a:cubicBezTo>
                  <a:lnTo>
                    <a:pt x="563" y="15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6" name="Alsace" descr="© INSCALE GmbH, 05.05.2010&#10;http://www.presentationload.com/">
              <a:extLst>
                <a:ext uri="{FF2B5EF4-FFF2-40B4-BE49-F238E27FC236}">
                  <a16:creationId xmlns:a16="http://schemas.microsoft.com/office/drawing/2014/main" id="{F0F39AF0-5E77-4803-A309-B0A4DD2EAFF8}"/>
                </a:ext>
              </a:extLst>
            </p:cNvPr>
            <p:cNvSpPr>
              <a:spLocks/>
            </p:cNvSpPr>
            <p:nvPr/>
          </p:nvSpPr>
          <p:spPr bwMode="gray">
            <a:xfrm>
              <a:off x="2808" y="818"/>
              <a:ext cx="317" cy="567"/>
            </a:xfrm>
            <a:custGeom>
              <a:avLst/>
              <a:gdLst/>
              <a:ahLst/>
              <a:cxnLst>
                <a:cxn ang="0">
                  <a:pos x="271" y="35"/>
                </a:cxn>
                <a:cxn ang="0">
                  <a:pos x="250" y="20"/>
                </a:cxn>
                <a:cxn ang="0">
                  <a:pos x="242" y="22"/>
                </a:cxn>
                <a:cxn ang="0">
                  <a:pos x="225" y="13"/>
                </a:cxn>
                <a:cxn ang="0">
                  <a:pos x="206" y="12"/>
                </a:cxn>
                <a:cxn ang="0">
                  <a:pos x="172" y="14"/>
                </a:cxn>
                <a:cxn ang="0">
                  <a:pos x="164" y="2"/>
                </a:cxn>
                <a:cxn ang="0">
                  <a:pos x="152" y="4"/>
                </a:cxn>
                <a:cxn ang="0">
                  <a:pos x="148" y="0"/>
                </a:cxn>
                <a:cxn ang="0">
                  <a:pos x="107" y="33"/>
                </a:cxn>
                <a:cxn ang="0">
                  <a:pos x="67" y="29"/>
                </a:cxn>
                <a:cxn ang="0">
                  <a:pos x="39" y="25"/>
                </a:cxn>
                <a:cxn ang="0">
                  <a:pos x="30" y="3"/>
                </a:cxn>
                <a:cxn ang="0">
                  <a:pos x="24" y="2"/>
                </a:cxn>
                <a:cxn ang="0">
                  <a:pos x="18" y="41"/>
                </a:cxn>
                <a:cxn ang="0">
                  <a:pos x="3" y="59"/>
                </a:cxn>
                <a:cxn ang="0">
                  <a:pos x="31" y="69"/>
                </a:cxn>
                <a:cxn ang="0">
                  <a:pos x="23" y="79"/>
                </a:cxn>
                <a:cxn ang="0">
                  <a:pos x="31" y="94"/>
                </a:cxn>
                <a:cxn ang="0">
                  <a:pos x="51" y="78"/>
                </a:cxn>
                <a:cxn ang="0">
                  <a:pos x="79" y="98"/>
                </a:cxn>
                <a:cxn ang="0">
                  <a:pos x="82" y="135"/>
                </a:cxn>
                <a:cxn ang="0">
                  <a:pos x="54" y="174"/>
                </a:cxn>
                <a:cxn ang="0">
                  <a:pos x="32" y="179"/>
                </a:cxn>
                <a:cxn ang="0">
                  <a:pos x="46" y="185"/>
                </a:cxn>
                <a:cxn ang="0">
                  <a:pos x="43" y="235"/>
                </a:cxn>
                <a:cxn ang="0">
                  <a:pos x="63" y="238"/>
                </a:cxn>
                <a:cxn ang="0">
                  <a:pos x="64" y="247"/>
                </a:cxn>
                <a:cxn ang="0">
                  <a:pos x="43" y="302"/>
                </a:cxn>
                <a:cxn ang="0">
                  <a:pos x="46" y="306"/>
                </a:cxn>
                <a:cxn ang="0">
                  <a:pos x="16" y="350"/>
                </a:cxn>
                <a:cxn ang="0">
                  <a:pos x="15" y="381"/>
                </a:cxn>
                <a:cxn ang="0">
                  <a:pos x="11" y="386"/>
                </a:cxn>
                <a:cxn ang="0">
                  <a:pos x="16" y="395"/>
                </a:cxn>
                <a:cxn ang="0">
                  <a:pos x="2" y="406"/>
                </a:cxn>
                <a:cxn ang="0">
                  <a:pos x="0" y="406"/>
                </a:cxn>
                <a:cxn ang="0">
                  <a:pos x="4" y="417"/>
                </a:cxn>
                <a:cxn ang="0">
                  <a:pos x="43" y="471"/>
                </a:cxn>
                <a:cxn ang="0">
                  <a:pos x="66" y="496"/>
                </a:cxn>
                <a:cxn ang="0">
                  <a:pos x="90" y="499"/>
                </a:cxn>
                <a:cxn ang="0">
                  <a:pos x="113" y="510"/>
                </a:cxn>
                <a:cxn ang="0">
                  <a:pos x="143" y="491"/>
                </a:cxn>
                <a:cxn ang="0">
                  <a:pos x="152" y="503"/>
                </a:cxn>
                <a:cxn ang="0">
                  <a:pos x="161" y="493"/>
                </a:cxn>
                <a:cxn ang="0">
                  <a:pos x="174" y="463"/>
                </a:cxn>
                <a:cxn ang="0">
                  <a:pos x="165" y="419"/>
                </a:cxn>
                <a:cxn ang="0">
                  <a:pos x="167" y="386"/>
                </a:cxn>
                <a:cxn ang="0">
                  <a:pos x="176" y="349"/>
                </a:cxn>
                <a:cxn ang="0">
                  <a:pos x="176" y="336"/>
                </a:cxn>
                <a:cxn ang="0">
                  <a:pos x="185" y="262"/>
                </a:cxn>
                <a:cxn ang="0">
                  <a:pos x="199" y="229"/>
                </a:cxn>
                <a:cxn ang="0">
                  <a:pos x="209" y="177"/>
                </a:cxn>
                <a:cxn ang="0">
                  <a:pos x="218" y="138"/>
                </a:cxn>
                <a:cxn ang="0">
                  <a:pos x="245" y="104"/>
                </a:cxn>
                <a:cxn ang="0">
                  <a:pos x="261" y="93"/>
                </a:cxn>
                <a:cxn ang="0">
                  <a:pos x="279" y="58"/>
                </a:cxn>
                <a:cxn ang="0">
                  <a:pos x="294" y="35"/>
                </a:cxn>
                <a:cxn ang="0">
                  <a:pos x="271" y="35"/>
                </a:cxn>
              </a:cxnLst>
              <a:rect l="0" t="0" r="r" b="b"/>
              <a:pathLst>
                <a:path w="294" h="526">
                  <a:moveTo>
                    <a:pt x="271" y="35"/>
                  </a:moveTo>
                  <a:cubicBezTo>
                    <a:pt x="250" y="20"/>
                    <a:pt x="250" y="20"/>
                    <a:pt x="250" y="20"/>
                  </a:cubicBezTo>
                  <a:cubicBezTo>
                    <a:pt x="242" y="22"/>
                    <a:pt x="242" y="22"/>
                    <a:pt x="242" y="22"/>
                  </a:cubicBezTo>
                  <a:cubicBezTo>
                    <a:pt x="233" y="7"/>
                    <a:pt x="232" y="15"/>
                    <a:pt x="225" y="13"/>
                  </a:cubicBezTo>
                  <a:cubicBezTo>
                    <a:pt x="215" y="25"/>
                    <a:pt x="206" y="12"/>
                    <a:pt x="206" y="12"/>
                  </a:cubicBezTo>
                  <a:cubicBezTo>
                    <a:pt x="172" y="14"/>
                    <a:pt x="172" y="14"/>
                    <a:pt x="172" y="14"/>
                  </a:cubicBezTo>
                  <a:cubicBezTo>
                    <a:pt x="164" y="2"/>
                    <a:pt x="164" y="2"/>
                    <a:pt x="164" y="2"/>
                  </a:cubicBezTo>
                  <a:cubicBezTo>
                    <a:pt x="152" y="4"/>
                    <a:pt x="152" y="4"/>
                    <a:pt x="152" y="4"/>
                  </a:cubicBezTo>
                  <a:cubicBezTo>
                    <a:pt x="148" y="0"/>
                    <a:pt x="148" y="0"/>
                    <a:pt x="148" y="0"/>
                  </a:cubicBezTo>
                  <a:cubicBezTo>
                    <a:pt x="127" y="65"/>
                    <a:pt x="107" y="33"/>
                    <a:pt x="107" y="33"/>
                  </a:cubicBezTo>
                  <a:cubicBezTo>
                    <a:pt x="72" y="53"/>
                    <a:pt x="67" y="29"/>
                    <a:pt x="67" y="29"/>
                  </a:cubicBezTo>
                  <a:cubicBezTo>
                    <a:pt x="39" y="25"/>
                    <a:pt x="39" y="25"/>
                    <a:pt x="39" y="25"/>
                  </a:cubicBezTo>
                  <a:cubicBezTo>
                    <a:pt x="30" y="3"/>
                    <a:pt x="30" y="3"/>
                    <a:pt x="30" y="3"/>
                  </a:cubicBezTo>
                  <a:cubicBezTo>
                    <a:pt x="24" y="2"/>
                    <a:pt x="24" y="2"/>
                    <a:pt x="24" y="2"/>
                  </a:cubicBezTo>
                  <a:cubicBezTo>
                    <a:pt x="18" y="41"/>
                    <a:pt x="18" y="41"/>
                    <a:pt x="18" y="41"/>
                  </a:cubicBezTo>
                  <a:cubicBezTo>
                    <a:pt x="8" y="39"/>
                    <a:pt x="3" y="59"/>
                    <a:pt x="3" y="59"/>
                  </a:cubicBezTo>
                  <a:cubicBezTo>
                    <a:pt x="31" y="69"/>
                    <a:pt x="31" y="69"/>
                    <a:pt x="31" y="69"/>
                  </a:cubicBezTo>
                  <a:cubicBezTo>
                    <a:pt x="23" y="79"/>
                    <a:pt x="23" y="79"/>
                    <a:pt x="23" y="79"/>
                  </a:cubicBezTo>
                  <a:cubicBezTo>
                    <a:pt x="31" y="94"/>
                    <a:pt x="31" y="94"/>
                    <a:pt x="31" y="94"/>
                  </a:cubicBezTo>
                  <a:cubicBezTo>
                    <a:pt x="31" y="94"/>
                    <a:pt x="44" y="75"/>
                    <a:pt x="51" y="78"/>
                  </a:cubicBezTo>
                  <a:cubicBezTo>
                    <a:pt x="57" y="80"/>
                    <a:pt x="76" y="96"/>
                    <a:pt x="79" y="98"/>
                  </a:cubicBezTo>
                  <a:cubicBezTo>
                    <a:pt x="61" y="130"/>
                    <a:pt x="80" y="140"/>
                    <a:pt x="82" y="135"/>
                  </a:cubicBezTo>
                  <a:cubicBezTo>
                    <a:pt x="79" y="173"/>
                    <a:pt x="54" y="174"/>
                    <a:pt x="54" y="174"/>
                  </a:cubicBezTo>
                  <a:cubicBezTo>
                    <a:pt x="32" y="179"/>
                    <a:pt x="32" y="179"/>
                    <a:pt x="32" y="179"/>
                  </a:cubicBezTo>
                  <a:cubicBezTo>
                    <a:pt x="46" y="185"/>
                    <a:pt x="46" y="185"/>
                    <a:pt x="46" y="185"/>
                  </a:cubicBezTo>
                  <a:cubicBezTo>
                    <a:pt x="46" y="185"/>
                    <a:pt x="43" y="223"/>
                    <a:pt x="43" y="235"/>
                  </a:cubicBezTo>
                  <a:cubicBezTo>
                    <a:pt x="43" y="247"/>
                    <a:pt x="63" y="238"/>
                    <a:pt x="63" y="238"/>
                  </a:cubicBezTo>
                  <a:cubicBezTo>
                    <a:pt x="64" y="247"/>
                    <a:pt x="64" y="247"/>
                    <a:pt x="64" y="247"/>
                  </a:cubicBezTo>
                  <a:cubicBezTo>
                    <a:pt x="43" y="302"/>
                    <a:pt x="43" y="302"/>
                    <a:pt x="43" y="302"/>
                  </a:cubicBezTo>
                  <a:cubicBezTo>
                    <a:pt x="43" y="302"/>
                    <a:pt x="50" y="306"/>
                    <a:pt x="46" y="306"/>
                  </a:cubicBezTo>
                  <a:cubicBezTo>
                    <a:pt x="34" y="347"/>
                    <a:pt x="16" y="350"/>
                    <a:pt x="16" y="350"/>
                  </a:cubicBezTo>
                  <a:cubicBezTo>
                    <a:pt x="15" y="381"/>
                    <a:pt x="15" y="381"/>
                    <a:pt x="15" y="381"/>
                  </a:cubicBezTo>
                  <a:cubicBezTo>
                    <a:pt x="11" y="386"/>
                    <a:pt x="11" y="386"/>
                    <a:pt x="11" y="386"/>
                  </a:cubicBezTo>
                  <a:cubicBezTo>
                    <a:pt x="16" y="395"/>
                    <a:pt x="16" y="395"/>
                    <a:pt x="16" y="395"/>
                  </a:cubicBezTo>
                  <a:cubicBezTo>
                    <a:pt x="16" y="395"/>
                    <a:pt x="7" y="403"/>
                    <a:pt x="2" y="406"/>
                  </a:cubicBezTo>
                  <a:cubicBezTo>
                    <a:pt x="1" y="406"/>
                    <a:pt x="1" y="406"/>
                    <a:pt x="0" y="406"/>
                  </a:cubicBezTo>
                  <a:cubicBezTo>
                    <a:pt x="4" y="417"/>
                    <a:pt x="4" y="417"/>
                    <a:pt x="4" y="417"/>
                  </a:cubicBezTo>
                  <a:cubicBezTo>
                    <a:pt x="4" y="417"/>
                    <a:pt x="52" y="414"/>
                    <a:pt x="43" y="471"/>
                  </a:cubicBezTo>
                  <a:cubicBezTo>
                    <a:pt x="45" y="477"/>
                    <a:pt x="61" y="476"/>
                    <a:pt x="66" y="496"/>
                  </a:cubicBezTo>
                  <a:cubicBezTo>
                    <a:pt x="76" y="498"/>
                    <a:pt x="87" y="500"/>
                    <a:pt x="90" y="499"/>
                  </a:cubicBezTo>
                  <a:cubicBezTo>
                    <a:pt x="92" y="526"/>
                    <a:pt x="116" y="512"/>
                    <a:pt x="113" y="510"/>
                  </a:cubicBezTo>
                  <a:cubicBezTo>
                    <a:pt x="153" y="521"/>
                    <a:pt x="143" y="491"/>
                    <a:pt x="143" y="491"/>
                  </a:cubicBezTo>
                  <a:cubicBezTo>
                    <a:pt x="152" y="503"/>
                    <a:pt x="152" y="503"/>
                    <a:pt x="152" y="503"/>
                  </a:cubicBezTo>
                  <a:cubicBezTo>
                    <a:pt x="152" y="503"/>
                    <a:pt x="152" y="503"/>
                    <a:pt x="161" y="493"/>
                  </a:cubicBezTo>
                  <a:cubicBezTo>
                    <a:pt x="158" y="468"/>
                    <a:pt x="174" y="468"/>
                    <a:pt x="174" y="463"/>
                  </a:cubicBezTo>
                  <a:cubicBezTo>
                    <a:pt x="154" y="435"/>
                    <a:pt x="165" y="419"/>
                    <a:pt x="165" y="419"/>
                  </a:cubicBezTo>
                  <a:cubicBezTo>
                    <a:pt x="165" y="419"/>
                    <a:pt x="159" y="406"/>
                    <a:pt x="167" y="386"/>
                  </a:cubicBezTo>
                  <a:cubicBezTo>
                    <a:pt x="166" y="363"/>
                    <a:pt x="176" y="349"/>
                    <a:pt x="176" y="349"/>
                  </a:cubicBezTo>
                  <a:cubicBezTo>
                    <a:pt x="176" y="336"/>
                    <a:pt x="176" y="336"/>
                    <a:pt x="176" y="336"/>
                  </a:cubicBezTo>
                  <a:cubicBezTo>
                    <a:pt x="144" y="322"/>
                    <a:pt x="179" y="281"/>
                    <a:pt x="185" y="262"/>
                  </a:cubicBezTo>
                  <a:cubicBezTo>
                    <a:pt x="180" y="238"/>
                    <a:pt x="199" y="232"/>
                    <a:pt x="199" y="229"/>
                  </a:cubicBezTo>
                  <a:cubicBezTo>
                    <a:pt x="191" y="200"/>
                    <a:pt x="207" y="183"/>
                    <a:pt x="209" y="177"/>
                  </a:cubicBezTo>
                  <a:cubicBezTo>
                    <a:pt x="200" y="156"/>
                    <a:pt x="215" y="141"/>
                    <a:pt x="218" y="138"/>
                  </a:cubicBezTo>
                  <a:cubicBezTo>
                    <a:pt x="247" y="113"/>
                    <a:pt x="245" y="104"/>
                    <a:pt x="245" y="104"/>
                  </a:cubicBezTo>
                  <a:cubicBezTo>
                    <a:pt x="251" y="104"/>
                    <a:pt x="261" y="93"/>
                    <a:pt x="261" y="93"/>
                  </a:cubicBezTo>
                  <a:cubicBezTo>
                    <a:pt x="270" y="94"/>
                    <a:pt x="279" y="58"/>
                    <a:pt x="279" y="58"/>
                  </a:cubicBezTo>
                  <a:cubicBezTo>
                    <a:pt x="294" y="35"/>
                    <a:pt x="294" y="35"/>
                    <a:pt x="294" y="35"/>
                  </a:cubicBezTo>
                  <a:lnTo>
                    <a:pt x="271" y="3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7" name="Franche-Comté" descr="© INSCALE GmbH, 05.05.2010&#10;http://www.presentationload.com/">
              <a:extLst>
                <a:ext uri="{FF2B5EF4-FFF2-40B4-BE49-F238E27FC236}">
                  <a16:creationId xmlns:a16="http://schemas.microsoft.com/office/drawing/2014/main" id="{1F490D34-6D95-4776-8198-C2E5920D6864}"/>
                </a:ext>
              </a:extLst>
            </p:cNvPr>
            <p:cNvSpPr>
              <a:spLocks/>
            </p:cNvSpPr>
            <p:nvPr/>
          </p:nvSpPr>
          <p:spPr bwMode="gray">
            <a:xfrm>
              <a:off x="2452" y="1199"/>
              <a:ext cx="435" cy="623"/>
            </a:xfrm>
            <a:custGeom>
              <a:avLst/>
              <a:gdLst/>
              <a:ahLst/>
              <a:cxnLst>
                <a:cxn ang="0">
                  <a:pos x="40" y="136"/>
                </a:cxn>
                <a:cxn ang="0">
                  <a:pos x="17" y="186"/>
                </a:cxn>
                <a:cxn ang="0">
                  <a:pos x="30" y="212"/>
                </a:cxn>
                <a:cxn ang="0">
                  <a:pos x="46" y="228"/>
                </a:cxn>
                <a:cxn ang="0">
                  <a:pos x="13" y="312"/>
                </a:cxn>
                <a:cxn ang="0">
                  <a:pos x="12" y="326"/>
                </a:cxn>
                <a:cxn ang="0">
                  <a:pos x="14" y="353"/>
                </a:cxn>
                <a:cxn ang="0">
                  <a:pos x="46" y="380"/>
                </a:cxn>
                <a:cxn ang="0">
                  <a:pos x="25" y="402"/>
                </a:cxn>
                <a:cxn ang="0">
                  <a:pos x="36" y="418"/>
                </a:cxn>
                <a:cxn ang="0">
                  <a:pos x="37" y="465"/>
                </a:cxn>
                <a:cxn ang="0">
                  <a:pos x="40" y="498"/>
                </a:cxn>
                <a:cxn ang="0">
                  <a:pos x="18" y="524"/>
                </a:cxn>
                <a:cxn ang="0">
                  <a:pos x="32" y="542"/>
                </a:cxn>
                <a:cxn ang="0">
                  <a:pos x="53" y="566"/>
                </a:cxn>
                <a:cxn ang="0">
                  <a:pos x="109" y="548"/>
                </a:cxn>
                <a:cxn ang="0">
                  <a:pos x="145" y="562"/>
                </a:cxn>
                <a:cxn ang="0">
                  <a:pos x="200" y="497"/>
                </a:cxn>
                <a:cxn ang="0">
                  <a:pos x="201" y="425"/>
                </a:cxn>
                <a:cxn ang="0">
                  <a:pos x="257" y="358"/>
                </a:cxn>
                <a:cxn ang="0">
                  <a:pos x="272" y="305"/>
                </a:cxn>
                <a:cxn ang="0">
                  <a:pos x="312" y="288"/>
                </a:cxn>
                <a:cxn ang="0">
                  <a:pos x="370" y="218"/>
                </a:cxn>
                <a:cxn ang="0">
                  <a:pos x="373" y="202"/>
                </a:cxn>
                <a:cxn ang="0">
                  <a:pos x="386" y="180"/>
                </a:cxn>
                <a:cxn ang="0">
                  <a:pos x="364" y="161"/>
                </a:cxn>
                <a:cxn ang="0">
                  <a:pos x="378" y="139"/>
                </a:cxn>
                <a:cxn ang="0">
                  <a:pos x="373" y="118"/>
                </a:cxn>
                <a:cxn ang="0">
                  <a:pos x="330" y="53"/>
                </a:cxn>
                <a:cxn ang="0">
                  <a:pos x="285" y="32"/>
                </a:cxn>
                <a:cxn ang="0">
                  <a:pos x="250" y="37"/>
                </a:cxn>
                <a:cxn ang="0">
                  <a:pos x="189" y="26"/>
                </a:cxn>
                <a:cxn ang="0">
                  <a:pos x="177" y="16"/>
                </a:cxn>
                <a:cxn ang="0">
                  <a:pos x="153" y="6"/>
                </a:cxn>
                <a:cxn ang="0">
                  <a:pos x="134" y="26"/>
                </a:cxn>
                <a:cxn ang="0">
                  <a:pos x="128" y="16"/>
                </a:cxn>
                <a:cxn ang="0">
                  <a:pos x="124" y="36"/>
                </a:cxn>
                <a:cxn ang="0">
                  <a:pos x="113" y="56"/>
                </a:cxn>
                <a:cxn ang="0">
                  <a:pos x="93" y="69"/>
                </a:cxn>
                <a:cxn ang="0">
                  <a:pos x="80" y="78"/>
                </a:cxn>
                <a:cxn ang="0">
                  <a:pos x="88" y="109"/>
                </a:cxn>
                <a:cxn ang="0">
                  <a:pos x="57" y="106"/>
                </a:cxn>
                <a:cxn ang="0">
                  <a:pos x="26" y="112"/>
                </a:cxn>
                <a:cxn ang="0">
                  <a:pos x="24" y="140"/>
                </a:cxn>
              </a:cxnLst>
              <a:rect l="0" t="0" r="r" b="b"/>
              <a:pathLst>
                <a:path w="403" h="577">
                  <a:moveTo>
                    <a:pt x="32" y="132"/>
                  </a:moveTo>
                  <a:cubicBezTo>
                    <a:pt x="40" y="136"/>
                    <a:pt x="40" y="136"/>
                    <a:pt x="40" y="136"/>
                  </a:cubicBezTo>
                  <a:cubicBezTo>
                    <a:pt x="40" y="136"/>
                    <a:pt x="45" y="176"/>
                    <a:pt x="29" y="176"/>
                  </a:cubicBezTo>
                  <a:cubicBezTo>
                    <a:pt x="13" y="176"/>
                    <a:pt x="25" y="186"/>
                    <a:pt x="17" y="186"/>
                  </a:cubicBezTo>
                  <a:cubicBezTo>
                    <a:pt x="9" y="186"/>
                    <a:pt x="30" y="190"/>
                    <a:pt x="30" y="190"/>
                  </a:cubicBezTo>
                  <a:cubicBezTo>
                    <a:pt x="30" y="212"/>
                    <a:pt x="30" y="212"/>
                    <a:pt x="30" y="212"/>
                  </a:cubicBezTo>
                  <a:cubicBezTo>
                    <a:pt x="49" y="208"/>
                    <a:pt x="49" y="208"/>
                    <a:pt x="49" y="208"/>
                  </a:cubicBezTo>
                  <a:cubicBezTo>
                    <a:pt x="46" y="228"/>
                    <a:pt x="46" y="228"/>
                    <a:pt x="46" y="228"/>
                  </a:cubicBezTo>
                  <a:cubicBezTo>
                    <a:pt x="54" y="236"/>
                    <a:pt x="54" y="236"/>
                    <a:pt x="54" y="236"/>
                  </a:cubicBezTo>
                  <a:cubicBezTo>
                    <a:pt x="54" y="236"/>
                    <a:pt x="34" y="301"/>
                    <a:pt x="13" y="312"/>
                  </a:cubicBezTo>
                  <a:cubicBezTo>
                    <a:pt x="10" y="316"/>
                    <a:pt x="5" y="325"/>
                    <a:pt x="5" y="325"/>
                  </a:cubicBezTo>
                  <a:cubicBezTo>
                    <a:pt x="12" y="326"/>
                    <a:pt x="12" y="326"/>
                    <a:pt x="12" y="326"/>
                  </a:cubicBezTo>
                  <a:cubicBezTo>
                    <a:pt x="12" y="326"/>
                    <a:pt x="0" y="340"/>
                    <a:pt x="0" y="352"/>
                  </a:cubicBezTo>
                  <a:cubicBezTo>
                    <a:pt x="14" y="353"/>
                    <a:pt x="14" y="353"/>
                    <a:pt x="14" y="353"/>
                  </a:cubicBezTo>
                  <a:cubicBezTo>
                    <a:pt x="18" y="364"/>
                    <a:pt x="18" y="364"/>
                    <a:pt x="18" y="364"/>
                  </a:cubicBezTo>
                  <a:cubicBezTo>
                    <a:pt x="18" y="364"/>
                    <a:pt x="30" y="368"/>
                    <a:pt x="46" y="380"/>
                  </a:cubicBezTo>
                  <a:cubicBezTo>
                    <a:pt x="13" y="392"/>
                    <a:pt x="13" y="392"/>
                    <a:pt x="13" y="392"/>
                  </a:cubicBezTo>
                  <a:cubicBezTo>
                    <a:pt x="25" y="402"/>
                    <a:pt x="25" y="402"/>
                    <a:pt x="25" y="402"/>
                  </a:cubicBezTo>
                  <a:cubicBezTo>
                    <a:pt x="25" y="422"/>
                    <a:pt x="25" y="422"/>
                    <a:pt x="25" y="422"/>
                  </a:cubicBezTo>
                  <a:cubicBezTo>
                    <a:pt x="36" y="418"/>
                    <a:pt x="36" y="418"/>
                    <a:pt x="36" y="418"/>
                  </a:cubicBezTo>
                  <a:cubicBezTo>
                    <a:pt x="36" y="418"/>
                    <a:pt x="28" y="436"/>
                    <a:pt x="45" y="445"/>
                  </a:cubicBezTo>
                  <a:cubicBezTo>
                    <a:pt x="40" y="445"/>
                    <a:pt x="37" y="465"/>
                    <a:pt x="37" y="465"/>
                  </a:cubicBezTo>
                  <a:cubicBezTo>
                    <a:pt x="37" y="465"/>
                    <a:pt x="16" y="484"/>
                    <a:pt x="41" y="490"/>
                  </a:cubicBezTo>
                  <a:cubicBezTo>
                    <a:pt x="44" y="492"/>
                    <a:pt x="40" y="498"/>
                    <a:pt x="40" y="498"/>
                  </a:cubicBezTo>
                  <a:cubicBezTo>
                    <a:pt x="21" y="504"/>
                    <a:pt x="21" y="504"/>
                    <a:pt x="21" y="504"/>
                  </a:cubicBezTo>
                  <a:cubicBezTo>
                    <a:pt x="18" y="524"/>
                    <a:pt x="18" y="524"/>
                    <a:pt x="18" y="524"/>
                  </a:cubicBezTo>
                  <a:cubicBezTo>
                    <a:pt x="32" y="529"/>
                    <a:pt x="32" y="529"/>
                    <a:pt x="32" y="529"/>
                  </a:cubicBezTo>
                  <a:cubicBezTo>
                    <a:pt x="32" y="542"/>
                    <a:pt x="32" y="542"/>
                    <a:pt x="32" y="542"/>
                  </a:cubicBezTo>
                  <a:cubicBezTo>
                    <a:pt x="56" y="553"/>
                    <a:pt x="56" y="553"/>
                    <a:pt x="56" y="553"/>
                  </a:cubicBezTo>
                  <a:cubicBezTo>
                    <a:pt x="53" y="566"/>
                    <a:pt x="53" y="566"/>
                    <a:pt x="53" y="566"/>
                  </a:cubicBezTo>
                  <a:cubicBezTo>
                    <a:pt x="53" y="566"/>
                    <a:pt x="76" y="577"/>
                    <a:pt x="93" y="538"/>
                  </a:cubicBezTo>
                  <a:cubicBezTo>
                    <a:pt x="89" y="545"/>
                    <a:pt x="109" y="548"/>
                    <a:pt x="109" y="548"/>
                  </a:cubicBezTo>
                  <a:cubicBezTo>
                    <a:pt x="113" y="564"/>
                    <a:pt x="113" y="564"/>
                    <a:pt x="113" y="564"/>
                  </a:cubicBezTo>
                  <a:cubicBezTo>
                    <a:pt x="145" y="562"/>
                    <a:pt x="145" y="562"/>
                    <a:pt x="145" y="562"/>
                  </a:cubicBezTo>
                  <a:cubicBezTo>
                    <a:pt x="202" y="503"/>
                    <a:pt x="202" y="503"/>
                    <a:pt x="202" y="503"/>
                  </a:cubicBezTo>
                  <a:cubicBezTo>
                    <a:pt x="201" y="500"/>
                    <a:pt x="200" y="497"/>
                    <a:pt x="200" y="497"/>
                  </a:cubicBezTo>
                  <a:cubicBezTo>
                    <a:pt x="166" y="487"/>
                    <a:pt x="201" y="445"/>
                    <a:pt x="201" y="445"/>
                  </a:cubicBezTo>
                  <a:cubicBezTo>
                    <a:pt x="188" y="434"/>
                    <a:pt x="201" y="425"/>
                    <a:pt x="201" y="425"/>
                  </a:cubicBezTo>
                  <a:cubicBezTo>
                    <a:pt x="201" y="425"/>
                    <a:pt x="253" y="379"/>
                    <a:pt x="253" y="376"/>
                  </a:cubicBezTo>
                  <a:cubicBezTo>
                    <a:pt x="261" y="375"/>
                    <a:pt x="271" y="367"/>
                    <a:pt x="257" y="358"/>
                  </a:cubicBezTo>
                  <a:cubicBezTo>
                    <a:pt x="276" y="339"/>
                    <a:pt x="259" y="323"/>
                    <a:pt x="259" y="323"/>
                  </a:cubicBezTo>
                  <a:cubicBezTo>
                    <a:pt x="272" y="305"/>
                    <a:pt x="272" y="305"/>
                    <a:pt x="272" y="305"/>
                  </a:cubicBezTo>
                  <a:cubicBezTo>
                    <a:pt x="302" y="298"/>
                    <a:pt x="302" y="298"/>
                    <a:pt x="302" y="298"/>
                  </a:cubicBezTo>
                  <a:cubicBezTo>
                    <a:pt x="312" y="288"/>
                    <a:pt x="312" y="288"/>
                    <a:pt x="312" y="288"/>
                  </a:cubicBezTo>
                  <a:cubicBezTo>
                    <a:pt x="315" y="277"/>
                    <a:pt x="315" y="277"/>
                    <a:pt x="315" y="277"/>
                  </a:cubicBezTo>
                  <a:cubicBezTo>
                    <a:pt x="315" y="277"/>
                    <a:pt x="368" y="222"/>
                    <a:pt x="370" y="218"/>
                  </a:cubicBezTo>
                  <a:cubicBezTo>
                    <a:pt x="365" y="210"/>
                    <a:pt x="376" y="203"/>
                    <a:pt x="375" y="202"/>
                  </a:cubicBezTo>
                  <a:cubicBezTo>
                    <a:pt x="374" y="202"/>
                    <a:pt x="374" y="202"/>
                    <a:pt x="373" y="202"/>
                  </a:cubicBezTo>
                  <a:cubicBezTo>
                    <a:pt x="374" y="202"/>
                    <a:pt x="374" y="202"/>
                    <a:pt x="375" y="202"/>
                  </a:cubicBezTo>
                  <a:cubicBezTo>
                    <a:pt x="403" y="203"/>
                    <a:pt x="386" y="180"/>
                    <a:pt x="386" y="180"/>
                  </a:cubicBezTo>
                  <a:cubicBezTo>
                    <a:pt x="354" y="184"/>
                    <a:pt x="354" y="184"/>
                    <a:pt x="354" y="184"/>
                  </a:cubicBezTo>
                  <a:cubicBezTo>
                    <a:pt x="364" y="161"/>
                    <a:pt x="364" y="161"/>
                    <a:pt x="364" y="161"/>
                  </a:cubicBezTo>
                  <a:cubicBezTo>
                    <a:pt x="380" y="152"/>
                    <a:pt x="380" y="152"/>
                    <a:pt x="380" y="152"/>
                  </a:cubicBezTo>
                  <a:cubicBezTo>
                    <a:pt x="378" y="139"/>
                    <a:pt x="378" y="139"/>
                    <a:pt x="378" y="139"/>
                  </a:cubicBezTo>
                  <a:cubicBezTo>
                    <a:pt x="378" y="139"/>
                    <a:pt x="387" y="141"/>
                    <a:pt x="396" y="143"/>
                  </a:cubicBezTo>
                  <a:cubicBezTo>
                    <a:pt x="391" y="123"/>
                    <a:pt x="375" y="124"/>
                    <a:pt x="373" y="118"/>
                  </a:cubicBezTo>
                  <a:cubicBezTo>
                    <a:pt x="382" y="61"/>
                    <a:pt x="334" y="64"/>
                    <a:pt x="334" y="64"/>
                  </a:cubicBezTo>
                  <a:cubicBezTo>
                    <a:pt x="330" y="53"/>
                    <a:pt x="330" y="53"/>
                    <a:pt x="330" y="53"/>
                  </a:cubicBezTo>
                  <a:cubicBezTo>
                    <a:pt x="325" y="54"/>
                    <a:pt x="318" y="45"/>
                    <a:pt x="318" y="45"/>
                  </a:cubicBezTo>
                  <a:cubicBezTo>
                    <a:pt x="285" y="32"/>
                    <a:pt x="285" y="32"/>
                    <a:pt x="285" y="32"/>
                  </a:cubicBezTo>
                  <a:cubicBezTo>
                    <a:pt x="276" y="20"/>
                    <a:pt x="276" y="20"/>
                    <a:pt x="276" y="20"/>
                  </a:cubicBezTo>
                  <a:cubicBezTo>
                    <a:pt x="250" y="37"/>
                    <a:pt x="250" y="37"/>
                    <a:pt x="250" y="37"/>
                  </a:cubicBezTo>
                  <a:cubicBezTo>
                    <a:pt x="250" y="37"/>
                    <a:pt x="245" y="30"/>
                    <a:pt x="241" y="20"/>
                  </a:cubicBezTo>
                  <a:cubicBezTo>
                    <a:pt x="237" y="9"/>
                    <a:pt x="189" y="26"/>
                    <a:pt x="189" y="26"/>
                  </a:cubicBezTo>
                  <a:cubicBezTo>
                    <a:pt x="190" y="17"/>
                    <a:pt x="190" y="17"/>
                    <a:pt x="190" y="17"/>
                  </a:cubicBezTo>
                  <a:cubicBezTo>
                    <a:pt x="177" y="16"/>
                    <a:pt x="177" y="16"/>
                    <a:pt x="177" y="16"/>
                  </a:cubicBezTo>
                  <a:cubicBezTo>
                    <a:pt x="178" y="0"/>
                    <a:pt x="178" y="0"/>
                    <a:pt x="178" y="0"/>
                  </a:cubicBezTo>
                  <a:cubicBezTo>
                    <a:pt x="153" y="6"/>
                    <a:pt x="153" y="6"/>
                    <a:pt x="153" y="6"/>
                  </a:cubicBezTo>
                  <a:cubicBezTo>
                    <a:pt x="148" y="20"/>
                    <a:pt x="148" y="20"/>
                    <a:pt x="148" y="20"/>
                  </a:cubicBezTo>
                  <a:cubicBezTo>
                    <a:pt x="134" y="26"/>
                    <a:pt x="134" y="26"/>
                    <a:pt x="134" y="26"/>
                  </a:cubicBezTo>
                  <a:cubicBezTo>
                    <a:pt x="138" y="17"/>
                    <a:pt x="138" y="17"/>
                    <a:pt x="138" y="17"/>
                  </a:cubicBezTo>
                  <a:cubicBezTo>
                    <a:pt x="128" y="16"/>
                    <a:pt x="128" y="16"/>
                    <a:pt x="128" y="16"/>
                  </a:cubicBezTo>
                  <a:cubicBezTo>
                    <a:pt x="121" y="27"/>
                    <a:pt x="121" y="27"/>
                    <a:pt x="121" y="27"/>
                  </a:cubicBezTo>
                  <a:cubicBezTo>
                    <a:pt x="124" y="36"/>
                    <a:pt x="124" y="36"/>
                    <a:pt x="124" y="36"/>
                  </a:cubicBezTo>
                  <a:cubicBezTo>
                    <a:pt x="116" y="41"/>
                    <a:pt x="116" y="41"/>
                    <a:pt x="116" y="41"/>
                  </a:cubicBezTo>
                  <a:cubicBezTo>
                    <a:pt x="113" y="56"/>
                    <a:pt x="113" y="56"/>
                    <a:pt x="113" y="56"/>
                  </a:cubicBezTo>
                  <a:cubicBezTo>
                    <a:pt x="100" y="54"/>
                    <a:pt x="100" y="54"/>
                    <a:pt x="100" y="54"/>
                  </a:cubicBezTo>
                  <a:cubicBezTo>
                    <a:pt x="93" y="69"/>
                    <a:pt x="93" y="69"/>
                    <a:pt x="93" y="69"/>
                  </a:cubicBezTo>
                  <a:cubicBezTo>
                    <a:pt x="85" y="68"/>
                    <a:pt x="85" y="68"/>
                    <a:pt x="85" y="68"/>
                  </a:cubicBezTo>
                  <a:cubicBezTo>
                    <a:pt x="80" y="78"/>
                    <a:pt x="80" y="78"/>
                    <a:pt x="80" y="78"/>
                  </a:cubicBezTo>
                  <a:cubicBezTo>
                    <a:pt x="90" y="78"/>
                    <a:pt x="90" y="78"/>
                    <a:pt x="90" y="78"/>
                  </a:cubicBezTo>
                  <a:cubicBezTo>
                    <a:pt x="88" y="109"/>
                    <a:pt x="88" y="109"/>
                    <a:pt x="88" y="109"/>
                  </a:cubicBezTo>
                  <a:cubicBezTo>
                    <a:pt x="69" y="114"/>
                    <a:pt x="69" y="114"/>
                    <a:pt x="69" y="114"/>
                  </a:cubicBezTo>
                  <a:cubicBezTo>
                    <a:pt x="57" y="106"/>
                    <a:pt x="57" y="106"/>
                    <a:pt x="57" y="106"/>
                  </a:cubicBezTo>
                  <a:cubicBezTo>
                    <a:pt x="56" y="113"/>
                    <a:pt x="56" y="113"/>
                    <a:pt x="56" y="113"/>
                  </a:cubicBezTo>
                  <a:cubicBezTo>
                    <a:pt x="26" y="112"/>
                    <a:pt x="26" y="112"/>
                    <a:pt x="26" y="112"/>
                  </a:cubicBezTo>
                  <a:cubicBezTo>
                    <a:pt x="26" y="112"/>
                    <a:pt x="24" y="129"/>
                    <a:pt x="21" y="136"/>
                  </a:cubicBezTo>
                  <a:cubicBezTo>
                    <a:pt x="24" y="140"/>
                    <a:pt x="24" y="140"/>
                    <a:pt x="24" y="140"/>
                  </a:cubicBezTo>
                  <a:lnTo>
                    <a:pt x="32" y="13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8" name="Bourgogne" descr="© INSCALE GmbH, 05.05.2010&#10;http://www.presentationload.com/">
              <a:extLst>
                <a:ext uri="{FF2B5EF4-FFF2-40B4-BE49-F238E27FC236}">
                  <a16:creationId xmlns:a16="http://schemas.microsoft.com/office/drawing/2014/main" id="{67CEE325-8000-4C18-B665-933A28B6F9A2}"/>
                </a:ext>
              </a:extLst>
            </p:cNvPr>
            <p:cNvSpPr>
              <a:spLocks/>
            </p:cNvSpPr>
            <p:nvPr/>
          </p:nvSpPr>
          <p:spPr bwMode="gray">
            <a:xfrm>
              <a:off x="1885" y="1086"/>
              <a:ext cx="625" cy="772"/>
            </a:xfrm>
            <a:custGeom>
              <a:avLst/>
              <a:gdLst/>
              <a:ahLst/>
              <a:cxnLst>
                <a:cxn ang="0">
                  <a:pos x="43" y="156"/>
                </a:cxn>
                <a:cxn ang="0">
                  <a:pos x="36" y="170"/>
                </a:cxn>
                <a:cxn ang="0">
                  <a:pos x="0" y="220"/>
                </a:cxn>
                <a:cxn ang="0">
                  <a:pos x="19" y="253"/>
                </a:cxn>
                <a:cxn ang="0">
                  <a:pos x="20" y="309"/>
                </a:cxn>
                <a:cxn ang="0">
                  <a:pos x="40" y="429"/>
                </a:cxn>
                <a:cxn ang="0">
                  <a:pos x="43" y="512"/>
                </a:cxn>
                <a:cxn ang="0">
                  <a:pos x="111" y="545"/>
                </a:cxn>
                <a:cxn ang="0">
                  <a:pos x="138" y="558"/>
                </a:cxn>
                <a:cxn ang="0">
                  <a:pos x="164" y="521"/>
                </a:cxn>
                <a:cxn ang="0">
                  <a:pos x="219" y="597"/>
                </a:cxn>
                <a:cxn ang="0">
                  <a:pos x="255" y="658"/>
                </a:cxn>
                <a:cxn ang="0">
                  <a:pos x="235" y="669"/>
                </a:cxn>
                <a:cxn ang="0">
                  <a:pos x="256" y="710"/>
                </a:cxn>
                <a:cxn ang="0">
                  <a:pos x="304" y="703"/>
                </a:cxn>
                <a:cxn ang="0">
                  <a:pos x="319" y="714"/>
                </a:cxn>
                <a:cxn ang="0">
                  <a:pos x="346" y="666"/>
                </a:cxn>
                <a:cxn ang="0">
                  <a:pos x="382" y="666"/>
                </a:cxn>
                <a:cxn ang="0">
                  <a:pos x="411" y="678"/>
                </a:cxn>
                <a:cxn ang="0">
                  <a:pos x="431" y="704"/>
                </a:cxn>
                <a:cxn ang="0">
                  <a:pos x="520" y="594"/>
                </a:cxn>
                <a:cxn ang="0">
                  <a:pos x="547" y="608"/>
                </a:cxn>
                <a:cxn ang="0">
                  <a:pos x="563" y="569"/>
                </a:cxn>
                <a:cxn ang="0">
                  <a:pos x="551" y="526"/>
                </a:cxn>
                <a:cxn ang="0">
                  <a:pos x="572" y="484"/>
                </a:cxn>
                <a:cxn ang="0">
                  <a:pos x="526" y="456"/>
                </a:cxn>
                <a:cxn ang="0">
                  <a:pos x="539" y="416"/>
                </a:cxn>
                <a:cxn ang="0">
                  <a:pos x="575" y="312"/>
                </a:cxn>
                <a:cxn ang="0">
                  <a:pos x="543" y="290"/>
                </a:cxn>
                <a:cxn ang="0">
                  <a:pos x="558" y="236"/>
                </a:cxn>
                <a:cxn ang="0">
                  <a:pos x="544" y="244"/>
                </a:cxn>
                <a:cxn ang="0">
                  <a:pos x="518" y="240"/>
                </a:cxn>
                <a:cxn ang="0">
                  <a:pos x="488" y="226"/>
                </a:cxn>
                <a:cxn ang="0">
                  <a:pos x="455" y="194"/>
                </a:cxn>
                <a:cxn ang="0">
                  <a:pos x="456" y="173"/>
                </a:cxn>
                <a:cxn ang="0">
                  <a:pos x="426" y="146"/>
                </a:cxn>
                <a:cxn ang="0">
                  <a:pos x="414" y="133"/>
                </a:cxn>
                <a:cxn ang="0">
                  <a:pos x="311" y="136"/>
                </a:cxn>
                <a:cxn ang="0">
                  <a:pos x="296" y="132"/>
                </a:cxn>
                <a:cxn ang="0">
                  <a:pos x="283" y="137"/>
                </a:cxn>
                <a:cxn ang="0">
                  <a:pos x="256" y="146"/>
                </a:cxn>
                <a:cxn ang="0">
                  <a:pos x="208" y="109"/>
                </a:cxn>
                <a:cxn ang="0">
                  <a:pos x="182" y="69"/>
                </a:cxn>
                <a:cxn ang="0">
                  <a:pos x="167" y="66"/>
                </a:cxn>
                <a:cxn ang="0">
                  <a:pos x="155" y="33"/>
                </a:cxn>
                <a:cxn ang="0">
                  <a:pos x="118" y="0"/>
                </a:cxn>
                <a:cxn ang="0">
                  <a:pos x="36" y="28"/>
                </a:cxn>
                <a:cxn ang="0">
                  <a:pos x="39" y="84"/>
                </a:cxn>
              </a:cxnLst>
              <a:rect l="0" t="0" r="r" b="b"/>
              <a:pathLst>
                <a:path w="580" h="715">
                  <a:moveTo>
                    <a:pt x="58" y="114"/>
                  </a:moveTo>
                  <a:cubicBezTo>
                    <a:pt x="59" y="133"/>
                    <a:pt x="59" y="133"/>
                    <a:pt x="59" y="133"/>
                  </a:cubicBezTo>
                  <a:cubicBezTo>
                    <a:pt x="43" y="156"/>
                    <a:pt x="43" y="156"/>
                    <a:pt x="43" y="156"/>
                  </a:cubicBezTo>
                  <a:cubicBezTo>
                    <a:pt x="34" y="157"/>
                    <a:pt x="34" y="157"/>
                    <a:pt x="34" y="157"/>
                  </a:cubicBezTo>
                  <a:cubicBezTo>
                    <a:pt x="31" y="170"/>
                    <a:pt x="31" y="170"/>
                    <a:pt x="31" y="170"/>
                  </a:cubicBezTo>
                  <a:cubicBezTo>
                    <a:pt x="36" y="170"/>
                    <a:pt x="36" y="170"/>
                    <a:pt x="36" y="170"/>
                  </a:cubicBezTo>
                  <a:cubicBezTo>
                    <a:pt x="36" y="194"/>
                    <a:pt x="36" y="194"/>
                    <a:pt x="36" y="194"/>
                  </a:cubicBezTo>
                  <a:cubicBezTo>
                    <a:pt x="2" y="204"/>
                    <a:pt x="2" y="204"/>
                    <a:pt x="2" y="204"/>
                  </a:cubicBezTo>
                  <a:cubicBezTo>
                    <a:pt x="0" y="220"/>
                    <a:pt x="0" y="220"/>
                    <a:pt x="0" y="220"/>
                  </a:cubicBezTo>
                  <a:cubicBezTo>
                    <a:pt x="10" y="218"/>
                    <a:pt x="10" y="218"/>
                    <a:pt x="10" y="218"/>
                  </a:cubicBezTo>
                  <a:cubicBezTo>
                    <a:pt x="23" y="240"/>
                    <a:pt x="23" y="240"/>
                    <a:pt x="23" y="240"/>
                  </a:cubicBezTo>
                  <a:cubicBezTo>
                    <a:pt x="19" y="253"/>
                    <a:pt x="19" y="253"/>
                    <a:pt x="19" y="253"/>
                  </a:cubicBezTo>
                  <a:cubicBezTo>
                    <a:pt x="27" y="265"/>
                    <a:pt x="27" y="265"/>
                    <a:pt x="27" y="265"/>
                  </a:cubicBezTo>
                  <a:cubicBezTo>
                    <a:pt x="4" y="270"/>
                    <a:pt x="4" y="270"/>
                    <a:pt x="4" y="270"/>
                  </a:cubicBezTo>
                  <a:cubicBezTo>
                    <a:pt x="20" y="309"/>
                    <a:pt x="20" y="309"/>
                    <a:pt x="20" y="309"/>
                  </a:cubicBezTo>
                  <a:cubicBezTo>
                    <a:pt x="6" y="344"/>
                    <a:pt x="6" y="344"/>
                    <a:pt x="6" y="344"/>
                  </a:cubicBezTo>
                  <a:cubicBezTo>
                    <a:pt x="31" y="365"/>
                    <a:pt x="31" y="365"/>
                    <a:pt x="31" y="365"/>
                  </a:cubicBezTo>
                  <a:cubicBezTo>
                    <a:pt x="31" y="365"/>
                    <a:pt x="40" y="385"/>
                    <a:pt x="40" y="429"/>
                  </a:cubicBezTo>
                  <a:cubicBezTo>
                    <a:pt x="50" y="437"/>
                    <a:pt x="50" y="437"/>
                    <a:pt x="50" y="437"/>
                  </a:cubicBezTo>
                  <a:cubicBezTo>
                    <a:pt x="50" y="437"/>
                    <a:pt x="51" y="469"/>
                    <a:pt x="46" y="474"/>
                  </a:cubicBezTo>
                  <a:cubicBezTo>
                    <a:pt x="40" y="480"/>
                    <a:pt x="56" y="497"/>
                    <a:pt x="43" y="512"/>
                  </a:cubicBezTo>
                  <a:cubicBezTo>
                    <a:pt x="47" y="514"/>
                    <a:pt x="67" y="546"/>
                    <a:pt x="76" y="548"/>
                  </a:cubicBezTo>
                  <a:cubicBezTo>
                    <a:pt x="86" y="549"/>
                    <a:pt x="91" y="538"/>
                    <a:pt x="95" y="538"/>
                  </a:cubicBezTo>
                  <a:cubicBezTo>
                    <a:pt x="99" y="538"/>
                    <a:pt x="107" y="545"/>
                    <a:pt x="111" y="545"/>
                  </a:cubicBezTo>
                  <a:cubicBezTo>
                    <a:pt x="115" y="545"/>
                    <a:pt x="126" y="537"/>
                    <a:pt x="126" y="537"/>
                  </a:cubicBezTo>
                  <a:cubicBezTo>
                    <a:pt x="138" y="544"/>
                    <a:pt x="138" y="544"/>
                    <a:pt x="138" y="544"/>
                  </a:cubicBezTo>
                  <a:cubicBezTo>
                    <a:pt x="138" y="558"/>
                    <a:pt x="138" y="558"/>
                    <a:pt x="138" y="558"/>
                  </a:cubicBezTo>
                  <a:cubicBezTo>
                    <a:pt x="150" y="544"/>
                    <a:pt x="150" y="544"/>
                    <a:pt x="150" y="544"/>
                  </a:cubicBezTo>
                  <a:cubicBezTo>
                    <a:pt x="159" y="545"/>
                    <a:pt x="159" y="545"/>
                    <a:pt x="159" y="545"/>
                  </a:cubicBezTo>
                  <a:cubicBezTo>
                    <a:pt x="159" y="545"/>
                    <a:pt x="160" y="517"/>
                    <a:pt x="164" y="521"/>
                  </a:cubicBezTo>
                  <a:cubicBezTo>
                    <a:pt x="168" y="525"/>
                    <a:pt x="198" y="576"/>
                    <a:pt x="198" y="576"/>
                  </a:cubicBezTo>
                  <a:cubicBezTo>
                    <a:pt x="202" y="594"/>
                    <a:pt x="202" y="594"/>
                    <a:pt x="202" y="594"/>
                  </a:cubicBezTo>
                  <a:cubicBezTo>
                    <a:pt x="219" y="597"/>
                    <a:pt x="219" y="597"/>
                    <a:pt x="219" y="597"/>
                  </a:cubicBezTo>
                  <a:cubicBezTo>
                    <a:pt x="230" y="610"/>
                    <a:pt x="230" y="610"/>
                    <a:pt x="230" y="610"/>
                  </a:cubicBezTo>
                  <a:cubicBezTo>
                    <a:pt x="230" y="610"/>
                    <a:pt x="258" y="600"/>
                    <a:pt x="256" y="614"/>
                  </a:cubicBezTo>
                  <a:cubicBezTo>
                    <a:pt x="255" y="629"/>
                    <a:pt x="255" y="658"/>
                    <a:pt x="255" y="658"/>
                  </a:cubicBezTo>
                  <a:cubicBezTo>
                    <a:pt x="248" y="658"/>
                    <a:pt x="248" y="658"/>
                    <a:pt x="248" y="658"/>
                  </a:cubicBezTo>
                  <a:cubicBezTo>
                    <a:pt x="243" y="672"/>
                    <a:pt x="243" y="672"/>
                    <a:pt x="243" y="672"/>
                  </a:cubicBezTo>
                  <a:cubicBezTo>
                    <a:pt x="235" y="669"/>
                    <a:pt x="235" y="669"/>
                    <a:pt x="235" y="669"/>
                  </a:cubicBezTo>
                  <a:cubicBezTo>
                    <a:pt x="236" y="697"/>
                    <a:pt x="236" y="697"/>
                    <a:pt x="236" y="697"/>
                  </a:cubicBezTo>
                  <a:cubicBezTo>
                    <a:pt x="250" y="697"/>
                    <a:pt x="250" y="697"/>
                    <a:pt x="250" y="697"/>
                  </a:cubicBezTo>
                  <a:cubicBezTo>
                    <a:pt x="256" y="710"/>
                    <a:pt x="256" y="710"/>
                    <a:pt x="256" y="710"/>
                  </a:cubicBezTo>
                  <a:cubicBezTo>
                    <a:pt x="280" y="704"/>
                    <a:pt x="280" y="704"/>
                    <a:pt x="280" y="704"/>
                  </a:cubicBezTo>
                  <a:cubicBezTo>
                    <a:pt x="280" y="704"/>
                    <a:pt x="280" y="705"/>
                    <a:pt x="295" y="706"/>
                  </a:cubicBezTo>
                  <a:cubicBezTo>
                    <a:pt x="305" y="707"/>
                    <a:pt x="305" y="705"/>
                    <a:pt x="304" y="703"/>
                  </a:cubicBezTo>
                  <a:cubicBezTo>
                    <a:pt x="303" y="702"/>
                    <a:pt x="303" y="701"/>
                    <a:pt x="303" y="701"/>
                  </a:cubicBezTo>
                  <a:cubicBezTo>
                    <a:pt x="303" y="701"/>
                    <a:pt x="304" y="702"/>
                    <a:pt x="304" y="703"/>
                  </a:cubicBezTo>
                  <a:cubicBezTo>
                    <a:pt x="307" y="707"/>
                    <a:pt x="314" y="715"/>
                    <a:pt x="319" y="714"/>
                  </a:cubicBezTo>
                  <a:cubicBezTo>
                    <a:pt x="326" y="713"/>
                    <a:pt x="320" y="706"/>
                    <a:pt x="326" y="706"/>
                  </a:cubicBezTo>
                  <a:cubicBezTo>
                    <a:pt x="331" y="706"/>
                    <a:pt x="342" y="705"/>
                    <a:pt x="342" y="705"/>
                  </a:cubicBezTo>
                  <a:cubicBezTo>
                    <a:pt x="346" y="666"/>
                    <a:pt x="346" y="666"/>
                    <a:pt x="346" y="666"/>
                  </a:cubicBezTo>
                  <a:cubicBezTo>
                    <a:pt x="358" y="665"/>
                    <a:pt x="358" y="665"/>
                    <a:pt x="358" y="665"/>
                  </a:cubicBezTo>
                  <a:cubicBezTo>
                    <a:pt x="367" y="678"/>
                    <a:pt x="367" y="678"/>
                    <a:pt x="367" y="678"/>
                  </a:cubicBezTo>
                  <a:cubicBezTo>
                    <a:pt x="382" y="666"/>
                    <a:pt x="382" y="666"/>
                    <a:pt x="382" y="666"/>
                  </a:cubicBezTo>
                  <a:cubicBezTo>
                    <a:pt x="382" y="666"/>
                    <a:pt x="382" y="676"/>
                    <a:pt x="387" y="676"/>
                  </a:cubicBezTo>
                  <a:cubicBezTo>
                    <a:pt x="392" y="676"/>
                    <a:pt x="391" y="660"/>
                    <a:pt x="402" y="664"/>
                  </a:cubicBezTo>
                  <a:cubicBezTo>
                    <a:pt x="412" y="668"/>
                    <a:pt x="411" y="678"/>
                    <a:pt x="411" y="678"/>
                  </a:cubicBezTo>
                  <a:cubicBezTo>
                    <a:pt x="419" y="686"/>
                    <a:pt x="419" y="686"/>
                    <a:pt x="419" y="686"/>
                  </a:cubicBezTo>
                  <a:cubicBezTo>
                    <a:pt x="420" y="702"/>
                    <a:pt x="420" y="702"/>
                    <a:pt x="420" y="702"/>
                  </a:cubicBezTo>
                  <a:cubicBezTo>
                    <a:pt x="431" y="704"/>
                    <a:pt x="431" y="704"/>
                    <a:pt x="431" y="704"/>
                  </a:cubicBezTo>
                  <a:cubicBezTo>
                    <a:pt x="459" y="596"/>
                    <a:pt x="459" y="596"/>
                    <a:pt x="459" y="596"/>
                  </a:cubicBezTo>
                  <a:cubicBezTo>
                    <a:pt x="459" y="596"/>
                    <a:pt x="476" y="602"/>
                    <a:pt x="490" y="602"/>
                  </a:cubicBezTo>
                  <a:cubicBezTo>
                    <a:pt x="503" y="602"/>
                    <a:pt x="518" y="589"/>
                    <a:pt x="520" y="594"/>
                  </a:cubicBezTo>
                  <a:cubicBezTo>
                    <a:pt x="523" y="600"/>
                    <a:pt x="524" y="612"/>
                    <a:pt x="528" y="612"/>
                  </a:cubicBezTo>
                  <a:cubicBezTo>
                    <a:pt x="530" y="612"/>
                    <a:pt x="538" y="613"/>
                    <a:pt x="546" y="614"/>
                  </a:cubicBezTo>
                  <a:cubicBezTo>
                    <a:pt x="547" y="608"/>
                    <a:pt x="547" y="608"/>
                    <a:pt x="547" y="608"/>
                  </a:cubicBezTo>
                  <a:cubicBezTo>
                    <a:pt x="566" y="602"/>
                    <a:pt x="566" y="602"/>
                    <a:pt x="566" y="602"/>
                  </a:cubicBezTo>
                  <a:cubicBezTo>
                    <a:pt x="566" y="602"/>
                    <a:pt x="570" y="596"/>
                    <a:pt x="567" y="594"/>
                  </a:cubicBezTo>
                  <a:cubicBezTo>
                    <a:pt x="542" y="588"/>
                    <a:pt x="563" y="569"/>
                    <a:pt x="563" y="569"/>
                  </a:cubicBezTo>
                  <a:cubicBezTo>
                    <a:pt x="563" y="569"/>
                    <a:pt x="566" y="549"/>
                    <a:pt x="571" y="549"/>
                  </a:cubicBezTo>
                  <a:cubicBezTo>
                    <a:pt x="554" y="540"/>
                    <a:pt x="562" y="522"/>
                    <a:pt x="562" y="522"/>
                  </a:cubicBezTo>
                  <a:cubicBezTo>
                    <a:pt x="551" y="526"/>
                    <a:pt x="551" y="526"/>
                    <a:pt x="551" y="526"/>
                  </a:cubicBezTo>
                  <a:cubicBezTo>
                    <a:pt x="551" y="506"/>
                    <a:pt x="551" y="506"/>
                    <a:pt x="551" y="506"/>
                  </a:cubicBezTo>
                  <a:cubicBezTo>
                    <a:pt x="539" y="496"/>
                    <a:pt x="539" y="496"/>
                    <a:pt x="539" y="496"/>
                  </a:cubicBezTo>
                  <a:cubicBezTo>
                    <a:pt x="572" y="484"/>
                    <a:pt x="572" y="484"/>
                    <a:pt x="572" y="484"/>
                  </a:cubicBezTo>
                  <a:cubicBezTo>
                    <a:pt x="556" y="472"/>
                    <a:pt x="544" y="468"/>
                    <a:pt x="544" y="468"/>
                  </a:cubicBezTo>
                  <a:cubicBezTo>
                    <a:pt x="540" y="457"/>
                    <a:pt x="540" y="457"/>
                    <a:pt x="540" y="457"/>
                  </a:cubicBezTo>
                  <a:cubicBezTo>
                    <a:pt x="526" y="456"/>
                    <a:pt x="526" y="456"/>
                    <a:pt x="526" y="456"/>
                  </a:cubicBezTo>
                  <a:cubicBezTo>
                    <a:pt x="526" y="444"/>
                    <a:pt x="538" y="430"/>
                    <a:pt x="538" y="430"/>
                  </a:cubicBezTo>
                  <a:cubicBezTo>
                    <a:pt x="531" y="429"/>
                    <a:pt x="531" y="429"/>
                    <a:pt x="531" y="429"/>
                  </a:cubicBezTo>
                  <a:cubicBezTo>
                    <a:pt x="531" y="429"/>
                    <a:pt x="536" y="420"/>
                    <a:pt x="539" y="416"/>
                  </a:cubicBezTo>
                  <a:cubicBezTo>
                    <a:pt x="560" y="405"/>
                    <a:pt x="580" y="340"/>
                    <a:pt x="580" y="340"/>
                  </a:cubicBezTo>
                  <a:cubicBezTo>
                    <a:pt x="572" y="332"/>
                    <a:pt x="572" y="332"/>
                    <a:pt x="572" y="332"/>
                  </a:cubicBezTo>
                  <a:cubicBezTo>
                    <a:pt x="575" y="312"/>
                    <a:pt x="575" y="312"/>
                    <a:pt x="575" y="312"/>
                  </a:cubicBezTo>
                  <a:cubicBezTo>
                    <a:pt x="556" y="316"/>
                    <a:pt x="556" y="316"/>
                    <a:pt x="556" y="316"/>
                  </a:cubicBezTo>
                  <a:cubicBezTo>
                    <a:pt x="556" y="294"/>
                    <a:pt x="556" y="294"/>
                    <a:pt x="556" y="294"/>
                  </a:cubicBezTo>
                  <a:cubicBezTo>
                    <a:pt x="556" y="294"/>
                    <a:pt x="535" y="290"/>
                    <a:pt x="543" y="290"/>
                  </a:cubicBezTo>
                  <a:cubicBezTo>
                    <a:pt x="551" y="290"/>
                    <a:pt x="539" y="280"/>
                    <a:pt x="555" y="280"/>
                  </a:cubicBezTo>
                  <a:cubicBezTo>
                    <a:pt x="571" y="280"/>
                    <a:pt x="566" y="240"/>
                    <a:pt x="566" y="240"/>
                  </a:cubicBezTo>
                  <a:cubicBezTo>
                    <a:pt x="558" y="236"/>
                    <a:pt x="558" y="236"/>
                    <a:pt x="558" y="236"/>
                  </a:cubicBezTo>
                  <a:cubicBezTo>
                    <a:pt x="550" y="244"/>
                    <a:pt x="550" y="244"/>
                    <a:pt x="550" y="244"/>
                  </a:cubicBezTo>
                  <a:cubicBezTo>
                    <a:pt x="547" y="240"/>
                    <a:pt x="547" y="240"/>
                    <a:pt x="547" y="240"/>
                  </a:cubicBezTo>
                  <a:cubicBezTo>
                    <a:pt x="546" y="242"/>
                    <a:pt x="545" y="244"/>
                    <a:pt x="544" y="244"/>
                  </a:cubicBezTo>
                  <a:cubicBezTo>
                    <a:pt x="540" y="244"/>
                    <a:pt x="535" y="241"/>
                    <a:pt x="535" y="241"/>
                  </a:cubicBezTo>
                  <a:cubicBezTo>
                    <a:pt x="518" y="253"/>
                    <a:pt x="518" y="253"/>
                    <a:pt x="518" y="253"/>
                  </a:cubicBezTo>
                  <a:cubicBezTo>
                    <a:pt x="518" y="240"/>
                    <a:pt x="518" y="240"/>
                    <a:pt x="518" y="240"/>
                  </a:cubicBezTo>
                  <a:cubicBezTo>
                    <a:pt x="502" y="232"/>
                    <a:pt x="502" y="232"/>
                    <a:pt x="502" y="232"/>
                  </a:cubicBezTo>
                  <a:cubicBezTo>
                    <a:pt x="502" y="222"/>
                    <a:pt x="502" y="222"/>
                    <a:pt x="502" y="222"/>
                  </a:cubicBezTo>
                  <a:cubicBezTo>
                    <a:pt x="502" y="222"/>
                    <a:pt x="498" y="226"/>
                    <a:pt x="488" y="226"/>
                  </a:cubicBezTo>
                  <a:cubicBezTo>
                    <a:pt x="479" y="226"/>
                    <a:pt x="467" y="212"/>
                    <a:pt x="467" y="212"/>
                  </a:cubicBezTo>
                  <a:cubicBezTo>
                    <a:pt x="455" y="217"/>
                    <a:pt x="455" y="217"/>
                    <a:pt x="455" y="217"/>
                  </a:cubicBezTo>
                  <a:cubicBezTo>
                    <a:pt x="455" y="194"/>
                    <a:pt x="455" y="194"/>
                    <a:pt x="455" y="194"/>
                  </a:cubicBezTo>
                  <a:cubicBezTo>
                    <a:pt x="446" y="192"/>
                    <a:pt x="446" y="192"/>
                    <a:pt x="446" y="192"/>
                  </a:cubicBezTo>
                  <a:cubicBezTo>
                    <a:pt x="446" y="191"/>
                    <a:pt x="446" y="191"/>
                    <a:pt x="446" y="191"/>
                  </a:cubicBezTo>
                  <a:cubicBezTo>
                    <a:pt x="456" y="173"/>
                    <a:pt x="456" y="173"/>
                    <a:pt x="456" y="173"/>
                  </a:cubicBezTo>
                  <a:cubicBezTo>
                    <a:pt x="450" y="165"/>
                    <a:pt x="439" y="144"/>
                    <a:pt x="439" y="144"/>
                  </a:cubicBezTo>
                  <a:cubicBezTo>
                    <a:pt x="432" y="150"/>
                    <a:pt x="432" y="150"/>
                    <a:pt x="432" y="150"/>
                  </a:cubicBezTo>
                  <a:cubicBezTo>
                    <a:pt x="426" y="146"/>
                    <a:pt x="426" y="146"/>
                    <a:pt x="426" y="146"/>
                  </a:cubicBezTo>
                  <a:cubicBezTo>
                    <a:pt x="432" y="138"/>
                    <a:pt x="432" y="138"/>
                    <a:pt x="432" y="138"/>
                  </a:cubicBezTo>
                  <a:cubicBezTo>
                    <a:pt x="427" y="133"/>
                    <a:pt x="427" y="133"/>
                    <a:pt x="427" y="133"/>
                  </a:cubicBezTo>
                  <a:cubicBezTo>
                    <a:pt x="414" y="133"/>
                    <a:pt x="414" y="133"/>
                    <a:pt x="414" y="133"/>
                  </a:cubicBezTo>
                  <a:cubicBezTo>
                    <a:pt x="414" y="133"/>
                    <a:pt x="414" y="133"/>
                    <a:pt x="415" y="116"/>
                  </a:cubicBezTo>
                  <a:cubicBezTo>
                    <a:pt x="334" y="100"/>
                    <a:pt x="366" y="134"/>
                    <a:pt x="366" y="134"/>
                  </a:cubicBezTo>
                  <a:cubicBezTo>
                    <a:pt x="311" y="136"/>
                    <a:pt x="311" y="136"/>
                    <a:pt x="311" y="136"/>
                  </a:cubicBezTo>
                  <a:cubicBezTo>
                    <a:pt x="311" y="148"/>
                    <a:pt x="311" y="148"/>
                    <a:pt x="311" y="148"/>
                  </a:cubicBezTo>
                  <a:cubicBezTo>
                    <a:pt x="302" y="145"/>
                    <a:pt x="302" y="145"/>
                    <a:pt x="302" y="145"/>
                  </a:cubicBezTo>
                  <a:cubicBezTo>
                    <a:pt x="296" y="132"/>
                    <a:pt x="296" y="132"/>
                    <a:pt x="296" y="132"/>
                  </a:cubicBezTo>
                  <a:cubicBezTo>
                    <a:pt x="287" y="132"/>
                    <a:pt x="287" y="132"/>
                    <a:pt x="287" y="132"/>
                  </a:cubicBezTo>
                  <a:cubicBezTo>
                    <a:pt x="290" y="141"/>
                    <a:pt x="290" y="141"/>
                    <a:pt x="290" y="141"/>
                  </a:cubicBezTo>
                  <a:cubicBezTo>
                    <a:pt x="283" y="137"/>
                    <a:pt x="283" y="137"/>
                    <a:pt x="283" y="137"/>
                  </a:cubicBezTo>
                  <a:cubicBezTo>
                    <a:pt x="270" y="148"/>
                    <a:pt x="270" y="148"/>
                    <a:pt x="270" y="148"/>
                  </a:cubicBezTo>
                  <a:cubicBezTo>
                    <a:pt x="258" y="141"/>
                    <a:pt x="258" y="141"/>
                    <a:pt x="258" y="141"/>
                  </a:cubicBezTo>
                  <a:cubicBezTo>
                    <a:pt x="256" y="146"/>
                    <a:pt x="256" y="146"/>
                    <a:pt x="256" y="146"/>
                  </a:cubicBezTo>
                  <a:cubicBezTo>
                    <a:pt x="222" y="145"/>
                    <a:pt x="222" y="145"/>
                    <a:pt x="222" y="145"/>
                  </a:cubicBezTo>
                  <a:cubicBezTo>
                    <a:pt x="222" y="145"/>
                    <a:pt x="226" y="128"/>
                    <a:pt x="226" y="125"/>
                  </a:cubicBezTo>
                  <a:cubicBezTo>
                    <a:pt x="216" y="133"/>
                    <a:pt x="218" y="129"/>
                    <a:pt x="208" y="109"/>
                  </a:cubicBezTo>
                  <a:cubicBezTo>
                    <a:pt x="199" y="89"/>
                    <a:pt x="190" y="81"/>
                    <a:pt x="190" y="81"/>
                  </a:cubicBezTo>
                  <a:cubicBezTo>
                    <a:pt x="190" y="70"/>
                    <a:pt x="190" y="70"/>
                    <a:pt x="190" y="70"/>
                  </a:cubicBezTo>
                  <a:cubicBezTo>
                    <a:pt x="182" y="69"/>
                    <a:pt x="182" y="69"/>
                    <a:pt x="182" y="69"/>
                  </a:cubicBezTo>
                  <a:cubicBezTo>
                    <a:pt x="182" y="78"/>
                    <a:pt x="182" y="78"/>
                    <a:pt x="182" y="78"/>
                  </a:cubicBezTo>
                  <a:cubicBezTo>
                    <a:pt x="176" y="81"/>
                    <a:pt x="176" y="81"/>
                    <a:pt x="176" y="81"/>
                  </a:cubicBezTo>
                  <a:cubicBezTo>
                    <a:pt x="167" y="66"/>
                    <a:pt x="167" y="66"/>
                    <a:pt x="167" y="66"/>
                  </a:cubicBezTo>
                  <a:cubicBezTo>
                    <a:pt x="158" y="69"/>
                    <a:pt x="158" y="69"/>
                    <a:pt x="158" y="69"/>
                  </a:cubicBezTo>
                  <a:cubicBezTo>
                    <a:pt x="167" y="60"/>
                    <a:pt x="159" y="38"/>
                    <a:pt x="159" y="38"/>
                  </a:cubicBezTo>
                  <a:cubicBezTo>
                    <a:pt x="155" y="33"/>
                    <a:pt x="155" y="33"/>
                    <a:pt x="155" y="33"/>
                  </a:cubicBezTo>
                  <a:cubicBezTo>
                    <a:pt x="155" y="18"/>
                    <a:pt x="128" y="8"/>
                    <a:pt x="128" y="8"/>
                  </a:cubicBezTo>
                  <a:cubicBezTo>
                    <a:pt x="122" y="10"/>
                    <a:pt x="122" y="10"/>
                    <a:pt x="122" y="10"/>
                  </a:cubicBezTo>
                  <a:cubicBezTo>
                    <a:pt x="118" y="0"/>
                    <a:pt x="118" y="0"/>
                    <a:pt x="118" y="0"/>
                  </a:cubicBezTo>
                  <a:cubicBezTo>
                    <a:pt x="103" y="8"/>
                    <a:pt x="103" y="8"/>
                    <a:pt x="103" y="8"/>
                  </a:cubicBezTo>
                  <a:cubicBezTo>
                    <a:pt x="44" y="8"/>
                    <a:pt x="44" y="8"/>
                    <a:pt x="44" y="8"/>
                  </a:cubicBezTo>
                  <a:cubicBezTo>
                    <a:pt x="36" y="28"/>
                    <a:pt x="36" y="28"/>
                    <a:pt x="36" y="28"/>
                  </a:cubicBezTo>
                  <a:cubicBezTo>
                    <a:pt x="42" y="44"/>
                    <a:pt x="42" y="44"/>
                    <a:pt x="42" y="44"/>
                  </a:cubicBezTo>
                  <a:cubicBezTo>
                    <a:pt x="42" y="44"/>
                    <a:pt x="28" y="66"/>
                    <a:pt x="20" y="75"/>
                  </a:cubicBezTo>
                  <a:cubicBezTo>
                    <a:pt x="39" y="84"/>
                    <a:pt x="39" y="84"/>
                    <a:pt x="39" y="84"/>
                  </a:cubicBezTo>
                  <a:cubicBezTo>
                    <a:pt x="39" y="84"/>
                    <a:pt x="28" y="104"/>
                    <a:pt x="58" y="114"/>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9" name="Centre" descr="© INSCALE GmbH, 05.05.2010&#10;http://www.presentationload.com/">
              <a:extLst>
                <a:ext uri="{FF2B5EF4-FFF2-40B4-BE49-F238E27FC236}">
                  <a16:creationId xmlns:a16="http://schemas.microsoft.com/office/drawing/2014/main" id="{2F93616E-9714-40DC-8DC4-1824DBEBEE72}"/>
                </a:ext>
              </a:extLst>
            </p:cNvPr>
            <p:cNvSpPr>
              <a:spLocks/>
            </p:cNvSpPr>
            <p:nvPr/>
          </p:nvSpPr>
          <p:spPr bwMode="gray">
            <a:xfrm>
              <a:off x="1233" y="903"/>
              <a:ext cx="716" cy="887"/>
            </a:xfrm>
            <a:custGeom>
              <a:avLst/>
              <a:gdLst/>
              <a:ahLst/>
              <a:cxnLst>
                <a:cxn ang="0">
                  <a:pos x="209" y="158"/>
                </a:cxn>
                <a:cxn ang="0">
                  <a:pos x="173" y="227"/>
                </a:cxn>
                <a:cxn ang="0">
                  <a:pos x="193" y="251"/>
                </a:cxn>
                <a:cxn ang="0">
                  <a:pos x="168" y="275"/>
                </a:cxn>
                <a:cxn ang="0">
                  <a:pos x="179" y="314"/>
                </a:cxn>
                <a:cxn ang="0">
                  <a:pos x="144" y="367"/>
                </a:cxn>
                <a:cxn ang="0">
                  <a:pos x="79" y="406"/>
                </a:cxn>
                <a:cxn ang="0">
                  <a:pos x="43" y="418"/>
                </a:cxn>
                <a:cxn ang="0">
                  <a:pos x="29" y="494"/>
                </a:cxn>
                <a:cxn ang="0">
                  <a:pos x="29" y="594"/>
                </a:cxn>
                <a:cxn ang="0">
                  <a:pos x="56" y="598"/>
                </a:cxn>
                <a:cxn ang="0">
                  <a:pos x="79" y="632"/>
                </a:cxn>
                <a:cxn ang="0">
                  <a:pos x="108" y="611"/>
                </a:cxn>
                <a:cxn ang="0">
                  <a:pos x="185" y="712"/>
                </a:cxn>
                <a:cxn ang="0">
                  <a:pos x="233" y="788"/>
                </a:cxn>
                <a:cxn ang="0">
                  <a:pos x="251" y="820"/>
                </a:cxn>
                <a:cxn ang="0">
                  <a:pos x="287" y="811"/>
                </a:cxn>
                <a:cxn ang="0">
                  <a:pos x="320" y="814"/>
                </a:cxn>
                <a:cxn ang="0">
                  <a:pos x="353" y="806"/>
                </a:cxn>
                <a:cxn ang="0">
                  <a:pos x="404" y="802"/>
                </a:cxn>
                <a:cxn ang="0">
                  <a:pos x="539" y="771"/>
                </a:cxn>
                <a:cxn ang="0">
                  <a:pos x="559" y="719"/>
                </a:cxn>
                <a:cxn ang="0">
                  <a:pos x="650" y="684"/>
                </a:cxn>
                <a:cxn ang="0">
                  <a:pos x="655" y="607"/>
                </a:cxn>
                <a:cxn ang="0">
                  <a:pos x="611" y="514"/>
                </a:cxn>
                <a:cxn ang="0">
                  <a:pos x="632" y="435"/>
                </a:cxn>
                <a:cxn ang="0">
                  <a:pos x="615" y="388"/>
                </a:cxn>
                <a:cxn ang="0">
                  <a:pos x="641" y="364"/>
                </a:cxn>
                <a:cxn ang="0">
                  <a:pos x="639" y="327"/>
                </a:cxn>
                <a:cxn ang="0">
                  <a:pos x="663" y="284"/>
                </a:cxn>
                <a:cxn ang="0">
                  <a:pos x="624" y="246"/>
                </a:cxn>
                <a:cxn ang="0">
                  <a:pos x="581" y="247"/>
                </a:cxn>
                <a:cxn ang="0">
                  <a:pos x="520" y="254"/>
                </a:cxn>
                <a:cxn ang="0">
                  <a:pos x="513" y="214"/>
                </a:cxn>
                <a:cxn ang="0">
                  <a:pos x="491" y="194"/>
                </a:cxn>
                <a:cxn ang="0">
                  <a:pos x="468" y="188"/>
                </a:cxn>
                <a:cxn ang="0">
                  <a:pos x="419" y="204"/>
                </a:cxn>
                <a:cxn ang="0">
                  <a:pos x="405" y="154"/>
                </a:cxn>
                <a:cxn ang="0">
                  <a:pos x="364" y="115"/>
                </a:cxn>
                <a:cxn ang="0">
                  <a:pos x="341" y="88"/>
                </a:cxn>
                <a:cxn ang="0">
                  <a:pos x="344" y="59"/>
                </a:cxn>
                <a:cxn ang="0">
                  <a:pos x="331" y="23"/>
                </a:cxn>
                <a:cxn ang="0">
                  <a:pos x="312" y="3"/>
                </a:cxn>
                <a:cxn ang="0">
                  <a:pos x="287" y="51"/>
                </a:cxn>
                <a:cxn ang="0">
                  <a:pos x="225" y="54"/>
                </a:cxn>
                <a:cxn ang="0">
                  <a:pos x="177" y="98"/>
                </a:cxn>
              </a:cxnLst>
              <a:rect l="0" t="0" r="r" b="b"/>
              <a:pathLst>
                <a:path w="664" h="822">
                  <a:moveTo>
                    <a:pt x="205" y="131"/>
                  </a:moveTo>
                  <a:cubicBezTo>
                    <a:pt x="205" y="136"/>
                    <a:pt x="201" y="144"/>
                    <a:pt x="201" y="144"/>
                  </a:cubicBezTo>
                  <a:cubicBezTo>
                    <a:pt x="209" y="158"/>
                    <a:pt x="209" y="158"/>
                    <a:pt x="209" y="158"/>
                  </a:cubicBezTo>
                  <a:cubicBezTo>
                    <a:pt x="197" y="172"/>
                    <a:pt x="197" y="172"/>
                    <a:pt x="197" y="172"/>
                  </a:cubicBezTo>
                  <a:cubicBezTo>
                    <a:pt x="197" y="172"/>
                    <a:pt x="171" y="179"/>
                    <a:pt x="168" y="190"/>
                  </a:cubicBezTo>
                  <a:cubicBezTo>
                    <a:pt x="165" y="200"/>
                    <a:pt x="173" y="227"/>
                    <a:pt x="173" y="227"/>
                  </a:cubicBezTo>
                  <a:cubicBezTo>
                    <a:pt x="173" y="235"/>
                    <a:pt x="173" y="235"/>
                    <a:pt x="173" y="235"/>
                  </a:cubicBezTo>
                  <a:cubicBezTo>
                    <a:pt x="193" y="242"/>
                    <a:pt x="193" y="242"/>
                    <a:pt x="193" y="242"/>
                  </a:cubicBezTo>
                  <a:cubicBezTo>
                    <a:pt x="193" y="251"/>
                    <a:pt x="193" y="251"/>
                    <a:pt x="193" y="251"/>
                  </a:cubicBezTo>
                  <a:cubicBezTo>
                    <a:pt x="179" y="252"/>
                    <a:pt x="179" y="252"/>
                    <a:pt x="179" y="252"/>
                  </a:cubicBezTo>
                  <a:cubicBezTo>
                    <a:pt x="179" y="270"/>
                    <a:pt x="179" y="270"/>
                    <a:pt x="179" y="270"/>
                  </a:cubicBezTo>
                  <a:cubicBezTo>
                    <a:pt x="168" y="275"/>
                    <a:pt x="168" y="275"/>
                    <a:pt x="168" y="275"/>
                  </a:cubicBezTo>
                  <a:cubicBezTo>
                    <a:pt x="176" y="287"/>
                    <a:pt x="176" y="287"/>
                    <a:pt x="176" y="287"/>
                  </a:cubicBezTo>
                  <a:cubicBezTo>
                    <a:pt x="172" y="300"/>
                    <a:pt x="172" y="300"/>
                    <a:pt x="172" y="300"/>
                  </a:cubicBezTo>
                  <a:cubicBezTo>
                    <a:pt x="179" y="314"/>
                    <a:pt x="179" y="314"/>
                    <a:pt x="179" y="314"/>
                  </a:cubicBezTo>
                  <a:cubicBezTo>
                    <a:pt x="171" y="324"/>
                    <a:pt x="171" y="324"/>
                    <a:pt x="171" y="324"/>
                  </a:cubicBezTo>
                  <a:cubicBezTo>
                    <a:pt x="171" y="324"/>
                    <a:pt x="161" y="328"/>
                    <a:pt x="161" y="343"/>
                  </a:cubicBezTo>
                  <a:cubicBezTo>
                    <a:pt x="157" y="347"/>
                    <a:pt x="144" y="367"/>
                    <a:pt x="144" y="367"/>
                  </a:cubicBezTo>
                  <a:cubicBezTo>
                    <a:pt x="144" y="367"/>
                    <a:pt x="112" y="388"/>
                    <a:pt x="128" y="394"/>
                  </a:cubicBezTo>
                  <a:cubicBezTo>
                    <a:pt x="124" y="395"/>
                    <a:pt x="95" y="402"/>
                    <a:pt x="95" y="402"/>
                  </a:cubicBezTo>
                  <a:cubicBezTo>
                    <a:pt x="95" y="402"/>
                    <a:pt x="96" y="424"/>
                    <a:pt x="79" y="406"/>
                  </a:cubicBezTo>
                  <a:cubicBezTo>
                    <a:pt x="80" y="408"/>
                    <a:pt x="69" y="415"/>
                    <a:pt x="69" y="415"/>
                  </a:cubicBezTo>
                  <a:cubicBezTo>
                    <a:pt x="80" y="430"/>
                    <a:pt x="80" y="430"/>
                    <a:pt x="80" y="430"/>
                  </a:cubicBezTo>
                  <a:cubicBezTo>
                    <a:pt x="43" y="418"/>
                    <a:pt x="43" y="418"/>
                    <a:pt x="43" y="418"/>
                  </a:cubicBezTo>
                  <a:cubicBezTo>
                    <a:pt x="43" y="418"/>
                    <a:pt x="32" y="446"/>
                    <a:pt x="39" y="454"/>
                  </a:cubicBezTo>
                  <a:cubicBezTo>
                    <a:pt x="35" y="464"/>
                    <a:pt x="23" y="482"/>
                    <a:pt x="23" y="482"/>
                  </a:cubicBezTo>
                  <a:cubicBezTo>
                    <a:pt x="29" y="494"/>
                    <a:pt x="29" y="494"/>
                    <a:pt x="29" y="494"/>
                  </a:cubicBezTo>
                  <a:cubicBezTo>
                    <a:pt x="29" y="494"/>
                    <a:pt x="0" y="528"/>
                    <a:pt x="3" y="556"/>
                  </a:cubicBezTo>
                  <a:cubicBezTo>
                    <a:pt x="5" y="584"/>
                    <a:pt x="29" y="580"/>
                    <a:pt x="29" y="580"/>
                  </a:cubicBezTo>
                  <a:cubicBezTo>
                    <a:pt x="29" y="594"/>
                    <a:pt x="29" y="594"/>
                    <a:pt x="29" y="594"/>
                  </a:cubicBezTo>
                  <a:cubicBezTo>
                    <a:pt x="43" y="587"/>
                    <a:pt x="43" y="587"/>
                    <a:pt x="43" y="587"/>
                  </a:cubicBezTo>
                  <a:cubicBezTo>
                    <a:pt x="47" y="594"/>
                    <a:pt x="47" y="594"/>
                    <a:pt x="47" y="594"/>
                  </a:cubicBezTo>
                  <a:cubicBezTo>
                    <a:pt x="56" y="598"/>
                    <a:pt x="56" y="598"/>
                    <a:pt x="56" y="598"/>
                  </a:cubicBezTo>
                  <a:cubicBezTo>
                    <a:pt x="56" y="598"/>
                    <a:pt x="44" y="624"/>
                    <a:pt x="56" y="628"/>
                  </a:cubicBezTo>
                  <a:cubicBezTo>
                    <a:pt x="68" y="632"/>
                    <a:pt x="67" y="626"/>
                    <a:pt x="67" y="626"/>
                  </a:cubicBezTo>
                  <a:cubicBezTo>
                    <a:pt x="79" y="632"/>
                    <a:pt x="79" y="632"/>
                    <a:pt x="79" y="632"/>
                  </a:cubicBezTo>
                  <a:cubicBezTo>
                    <a:pt x="93" y="624"/>
                    <a:pt x="93" y="624"/>
                    <a:pt x="93" y="624"/>
                  </a:cubicBezTo>
                  <a:cubicBezTo>
                    <a:pt x="116" y="624"/>
                    <a:pt x="116" y="624"/>
                    <a:pt x="116" y="624"/>
                  </a:cubicBezTo>
                  <a:cubicBezTo>
                    <a:pt x="108" y="611"/>
                    <a:pt x="108" y="611"/>
                    <a:pt x="108" y="611"/>
                  </a:cubicBezTo>
                  <a:cubicBezTo>
                    <a:pt x="140" y="622"/>
                    <a:pt x="140" y="622"/>
                    <a:pt x="140" y="622"/>
                  </a:cubicBezTo>
                  <a:cubicBezTo>
                    <a:pt x="140" y="622"/>
                    <a:pt x="143" y="654"/>
                    <a:pt x="160" y="670"/>
                  </a:cubicBezTo>
                  <a:cubicBezTo>
                    <a:pt x="177" y="686"/>
                    <a:pt x="153" y="679"/>
                    <a:pt x="185" y="712"/>
                  </a:cubicBezTo>
                  <a:cubicBezTo>
                    <a:pt x="184" y="726"/>
                    <a:pt x="179" y="755"/>
                    <a:pt x="207" y="756"/>
                  </a:cubicBezTo>
                  <a:cubicBezTo>
                    <a:pt x="211" y="758"/>
                    <a:pt x="208" y="767"/>
                    <a:pt x="208" y="767"/>
                  </a:cubicBezTo>
                  <a:cubicBezTo>
                    <a:pt x="208" y="767"/>
                    <a:pt x="227" y="746"/>
                    <a:pt x="233" y="788"/>
                  </a:cubicBezTo>
                  <a:cubicBezTo>
                    <a:pt x="237" y="795"/>
                    <a:pt x="248" y="800"/>
                    <a:pt x="248" y="800"/>
                  </a:cubicBezTo>
                  <a:cubicBezTo>
                    <a:pt x="244" y="811"/>
                    <a:pt x="244" y="811"/>
                    <a:pt x="244" y="811"/>
                  </a:cubicBezTo>
                  <a:cubicBezTo>
                    <a:pt x="251" y="820"/>
                    <a:pt x="251" y="820"/>
                    <a:pt x="251" y="820"/>
                  </a:cubicBezTo>
                  <a:cubicBezTo>
                    <a:pt x="269" y="818"/>
                    <a:pt x="269" y="818"/>
                    <a:pt x="269" y="818"/>
                  </a:cubicBezTo>
                  <a:cubicBezTo>
                    <a:pt x="269" y="811"/>
                    <a:pt x="269" y="811"/>
                    <a:pt x="269" y="811"/>
                  </a:cubicBezTo>
                  <a:cubicBezTo>
                    <a:pt x="287" y="811"/>
                    <a:pt x="287" y="811"/>
                    <a:pt x="287" y="811"/>
                  </a:cubicBezTo>
                  <a:cubicBezTo>
                    <a:pt x="292" y="822"/>
                    <a:pt x="292" y="822"/>
                    <a:pt x="292" y="822"/>
                  </a:cubicBezTo>
                  <a:cubicBezTo>
                    <a:pt x="319" y="802"/>
                    <a:pt x="319" y="802"/>
                    <a:pt x="319" y="802"/>
                  </a:cubicBezTo>
                  <a:cubicBezTo>
                    <a:pt x="320" y="814"/>
                    <a:pt x="320" y="814"/>
                    <a:pt x="320" y="814"/>
                  </a:cubicBezTo>
                  <a:cubicBezTo>
                    <a:pt x="337" y="803"/>
                    <a:pt x="337" y="803"/>
                    <a:pt x="337" y="803"/>
                  </a:cubicBezTo>
                  <a:cubicBezTo>
                    <a:pt x="340" y="811"/>
                    <a:pt x="340" y="811"/>
                    <a:pt x="340" y="811"/>
                  </a:cubicBezTo>
                  <a:cubicBezTo>
                    <a:pt x="353" y="806"/>
                    <a:pt x="353" y="806"/>
                    <a:pt x="353" y="806"/>
                  </a:cubicBezTo>
                  <a:cubicBezTo>
                    <a:pt x="363" y="812"/>
                    <a:pt x="363" y="812"/>
                    <a:pt x="363" y="812"/>
                  </a:cubicBezTo>
                  <a:cubicBezTo>
                    <a:pt x="368" y="794"/>
                    <a:pt x="368" y="794"/>
                    <a:pt x="368" y="794"/>
                  </a:cubicBezTo>
                  <a:cubicBezTo>
                    <a:pt x="368" y="794"/>
                    <a:pt x="392" y="804"/>
                    <a:pt x="404" y="802"/>
                  </a:cubicBezTo>
                  <a:cubicBezTo>
                    <a:pt x="416" y="799"/>
                    <a:pt x="411" y="790"/>
                    <a:pt x="436" y="803"/>
                  </a:cubicBezTo>
                  <a:cubicBezTo>
                    <a:pt x="441" y="812"/>
                    <a:pt x="483" y="802"/>
                    <a:pt x="483" y="802"/>
                  </a:cubicBezTo>
                  <a:cubicBezTo>
                    <a:pt x="483" y="802"/>
                    <a:pt x="505" y="759"/>
                    <a:pt x="539" y="771"/>
                  </a:cubicBezTo>
                  <a:cubicBezTo>
                    <a:pt x="555" y="760"/>
                    <a:pt x="555" y="760"/>
                    <a:pt x="555" y="760"/>
                  </a:cubicBezTo>
                  <a:cubicBezTo>
                    <a:pt x="555" y="760"/>
                    <a:pt x="545" y="738"/>
                    <a:pt x="552" y="732"/>
                  </a:cubicBezTo>
                  <a:cubicBezTo>
                    <a:pt x="559" y="727"/>
                    <a:pt x="559" y="719"/>
                    <a:pt x="559" y="719"/>
                  </a:cubicBezTo>
                  <a:cubicBezTo>
                    <a:pt x="559" y="719"/>
                    <a:pt x="577" y="700"/>
                    <a:pt x="581" y="700"/>
                  </a:cubicBezTo>
                  <a:cubicBezTo>
                    <a:pt x="585" y="700"/>
                    <a:pt x="600" y="722"/>
                    <a:pt x="608" y="706"/>
                  </a:cubicBezTo>
                  <a:cubicBezTo>
                    <a:pt x="615" y="691"/>
                    <a:pt x="625" y="683"/>
                    <a:pt x="650" y="684"/>
                  </a:cubicBezTo>
                  <a:cubicBezTo>
                    <a:pt x="649" y="683"/>
                    <a:pt x="649" y="682"/>
                    <a:pt x="648" y="682"/>
                  </a:cubicBezTo>
                  <a:cubicBezTo>
                    <a:pt x="661" y="667"/>
                    <a:pt x="645" y="650"/>
                    <a:pt x="651" y="644"/>
                  </a:cubicBezTo>
                  <a:cubicBezTo>
                    <a:pt x="656" y="639"/>
                    <a:pt x="655" y="607"/>
                    <a:pt x="655" y="607"/>
                  </a:cubicBezTo>
                  <a:cubicBezTo>
                    <a:pt x="645" y="599"/>
                    <a:pt x="645" y="599"/>
                    <a:pt x="645" y="599"/>
                  </a:cubicBezTo>
                  <a:cubicBezTo>
                    <a:pt x="645" y="555"/>
                    <a:pt x="636" y="535"/>
                    <a:pt x="636" y="535"/>
                  </a:cubicBezTo>
                  <a:cubicBezTo>
                    <a:pt x="611" y="514"/>
                    <a:pt x="611" y="514"/>
                    <a:pt x="611" y="514"/>
                  </a:cubicBezTo>
                  <a:cubicBezTo>
                    <a:pt x="625" y="479"/>
                    <a:pt x="625" y="479"/>
                    <a:pt x="625" y="479"/>
                  </a:cubicBezTo>
                  <a:cubicBezTo>
                    <a:pt x="609" y="440"/>
                    <a:pt x="609" y="440"/>
                    <a:pt x="609" y="440"/>
                  </a:cubicBezTo>
                  <a:cubicBezTo>
                    <a:pt x="632" y="435"/>
                    <a:pt x="632" y="435"/>
                    <a:pt x="632" y="435"/>
                  </a:cubicBezTo>
                  <a:cubicBezTo>
                    <a:pt x="624" y="423"/>
                    <a:pt x="624" y="423"/>
                    <a:pt x="624" y="423"/>
                  </a:cubicBezTo>
                  <a:cubicBezTo>
                    <a:pt x="628" y="410"/>
                    <a:pt x="628" y="410"/>
                    <a:pt x="628" y="410"/>
                  </a:cubicBezTo>
                  <a:cubicBezTo>
                    <a:pt x="615" y="388"/>
                    <a:pt x="615" y="388"/>
                    <a:pt x="615" y="388"/>
                  </a:cubicBezTo>
                  <a:cubicBezTo>
                    <a:pt x="605" y="390"/>
                    <a:pt x="605" y="390"/>
                    <a:pt x="605" y="390"/>
                  </a:cubicBezTo>
                  <a:cubicBezTo>
                    <a:pt x="607" y="374"/>
                    <a:pt x="607" y="374"/>
                    <a:pt x="607" y="374"/>
                  </a:cubicBezTo>
                  <a:cubicBezTo>
                    <a:pt x="641" y="364"/>
                    <a:pt x="641" y="364"/>
                    <a:pt x="641" y="364"/>
                  </a:cubicBezTo>
                  <a:cubicBezTo>
                    <a:pt x="641" y="340"/>
                    <a:pt x="641" y="340"/>
                    <a:pt x="641" y="340"/>
                  </a:cubicBezTo>
                  <a:cubicBezTo>
                    <a:pt x="636" y="340"/>
                    <a:pt x="636" y="340"/>
                    <a:pt x="636" y="340"/>
                  </a:cubicBezTo>
                  <a:cubicBezTo>
                    <a:pt x="639" y="327"/>
                    <a:pt x="639" y="327"/>
                    <a:pt x="639" y="327"/>
                  </a:cubicBezTo>
                  <a:cubicBezTo>
                    <a:pt x="648" y="326"/>
                    <a:pt x="648" y="326"/>
                    <a:pt x="648" y="326"/>
                  </a:cubicBezTo>
                  <a:cubicBezTo>
                    <a:pt x="664" y="303"/>
                    <a:pt x="664" y="303"/>
                    <a:pt x="664" y="303"/>
                  </a:cubicBezTo>
                  <a:cubicBezTo>
                    <a:pt x="663" y="284"/>
                    <a:pt x="663" y="284"/>
                    <a:pt x="663" y="284"/>
                  </a:cubicBezTo>
                  <a:cubicBezTo>
                    <a:pt x="633" y="274"/>
                    <a:pt x="644" y="254"/>
                    <a:pt x="644" y="254"/>
                  </a:cubicBezTo>
                  <a:cubicBezTo>
                    <a:pt x="625" y="245"/>
                    <a:pt x="625" y="245"/>
                    <a:pt x="625" y="245"/>
                  </a:cubicBezTo>
                  <a:cubicBezTo>
                    <a:pt x="625" y="245"/>
                    <a:pt x="624" y="246"/>
                    <a:pt x="624" y="246"/>
                  </a:cubicBezTo>
                  <a:cubicBezTo>
                    <a:pt x="616" y="254"/>
                    <a:pt x="593" y="258"/>
                    <a:pt x="593" y="258"/>
                  </a:cubicBezTo>
                  <a:cubicBezTo>
                    <a:pt x="593" y="247"/>
                    <a:pt x="593" y="247"/>
                    <a:pt x="593" y="247"/>
                  </a:cubicBezTo>
                  <a:cubicBezTo>
                    <a:pt x="581" y="247"/>
                    <a:pt x="581" y="247"/>
                    <a:pt x="581" y="247"/>
                  </a:cubicBezTo>
                  <a:cubicBezTo>
                    <a:pt x="581" y="255"/>
                    <a:pt x="581" y="255"/>
                    <a:pt x="581" y="255"/>
                  </a:cubicBezTo>
                  <a:cubicBezTo>
                    <a:pt x="526" y="254"/>
                    <a:pt x="526" y="254"/>
                    <a:pt x="526" y="254"/>
                  </a:cubicBezTo>
                  <a:cubicBezTo>
                    <a:pt x="523" y="254"/>
                    <a:pt x="520" y="254"/>
                    <a:pt x="520" y="254"/>
                  </a:cubicBezTo>
                  <a:cubicBezTo>
                    <a:pt x="526" y="254"/>
                    <a:pt x="526" y="254"/>
                    <a:pt x="526" y="254"/>
                  </a:cubicBezTo>
                  <a:cubicBezTo>
                    <a:pt x="530" y="253"/>
                    <a:pt x="536" y="250"/>
                    <a:pt x="537" y="239"/>
                  </a:cubicBezTo>
                  <a:cubicBezTo>
                    <a:pt x="540" y="220"/>
                    <a:pt x="513" y="214"/>
                    <a:pt x="513" y="214"/>
                  </a:cubicBezTo>
                  <a:cubicBezTo>
                    <a:pt x="509" y="198"/>
                    <a:pt x="509" y="198"/>
                    <a:pt x="509" y="198"/>
                  </a:cubicBezTo>
                  <a:cubicBezTo>
                    <a:pt x="507" y="199"/>
                    <a:pt x="507" y="199"/>
                    <a:pt x="507" y="199"/>
                  </a:cubicBezTo>
                  <a:cubicBezTo>
                    <a:pt x="491" y="194"/>
                    <a:pt x="491" y="194"/>
                    <a:pt x="491" y="194"/>
                  </a:cubicBezTo>
                  <a:cubicBezTo>
                    <a:pt x="477" y="202"/>
                    <a:pt x="477" y="202"/>
                    <a:pt x="477" y="202"/>
                  </a:cubicBezTo>
                  <a:cubicBezTo>
                    <a:pt x="475" y="191"/>
                    <a:pt x="475" y="191"/>
                    <a:pt x="475" y="191"/>
                  </a:cubicBezTo>
                  <a:cubicBezTo>
                    <a:pt x="468" y="188"/>
                    <a:pt x="468" y="188"/>
                    <a:pt x="468" y="188"/>
                  </a:cubicBezTo>
                  <a:cubicBezTo>
                    <a:pt x="461" y="202"/>
                    <a:pt x="461" y="202"/>
                    <a:pt x="461" y="202"/>
                  </a:cubicBezTo>
                  <a:cubicBezTo>
                    <a:pt x="461" y="202"/>
                    <a:pt x="451" y="202"/>
                    <a:pt x="443" y="202"/>
                  </a:cubicBezTo>
                  <a:cubicBezTo>
                    <a:pt x="435" y="202"/>
                    <a:pt x="428" y="212"/>
                    <a:pt x="419" y="204"/>
                  </a:cubicBezTo>
                  <a:cubicBezTo>
                    <a:pt x="409" y="196"/>
                    <a:pt x="421" y="170"/>
                    <a:pt x="421" y="170"/>
                  </a:cubicBezTo>
                  <a:cubicBezTo>
                    <a:pt x="411" y="168"/>
                    <a:pt x="411" y="168"/>
                    <a:pt x="411" y="168"/>
                  </a:cubicBezTo>
                  <a:cubicBezTo>
                    <a:pt x="411" y="168"/>
                    <a:pt x="409" y="155"/>
                    <a:pt x="405" y="154"/>
                  </a:cubicBezTo>
                  <a:cubicBezTo>
                    <a:pt x="403" y="162"/>
                    <a:pt x="379" y="147"/>
                    <a:pt x="379" y="147"/>
                  </a:cubicBezTo>
                  <a:cubicBezTo>
                    <a:pt x="377" y="122"/>
                    <a:pt x="377" y="122"/>
                    <a:pt x="377" y="122"/>
                  </a:cubicBezTo>
                  <a:cubicBezTo>
                    <a:pt x="364" y="115"/>
                    <a:pt x="364" y="115"/>
                    <a:pt x="364" y="115"/>
                  </a:cubicBezTo>
                  <a:cubicBezTo>
                    <a:pt x="365" y="103"/>
                    <a:pt x="365" y="103"/>
                    <a:pt x="365" y="103"/>
                  </a:cubicBezTo>
                  <a:cubicBezTo>
                    <a:pt x="356" y="100"/>
                    <a:pt x="356" y="100"/>
                    <a:pt x="356" y="100"/>
                  </a:cubicBezTo>
                  <a:cubicBezTo>
                    <a:pt x="341" y="88"/>
                    <a:pt x="341" y="88"/>
                    <a:pt x="341" y="88"/>
                  </a:cubicBezTo>
                  <a:cubicBezTo>
                    <a:pt x="343" y="78"/>
                    <a:pt x="343" y="78"/>
                    <a:pt x="343" y="78"/>
                  </a:cubicBezTo>
                  <a:cubicBezTo>
                    <a:pt x="333" y="74"/>
                    <a:pt x="333" y="74"/>
                    <a:pt x="333" y="74"/>
                  </a:cubicBezTo>
                  <a:cubicBezTo>
                    <a:pt x="344" y="59"/>
                    <a:pt x="344" y="59"/>
                    <a:pt x="344" y="59"/>
                  </a:cubicBezTo>
                  <a:cubicBezTo>
                    <a:pt x="337" y="52"/>
                    <a:pt x="337" y="52"/>
                    <a:pt x="337" y="52"/>
                  </a:cubicBezTo>
                  <a:cubicBezTo>
                    <a:pt x="339" y="28"/>
                    <a:pt x="339" y="28"/>
                    <a:pt x="339" y="28"/>
                  </a:cubicBezTo>
                  <a:cubicBezTo>
                    <a:pt x="331" y="23"/>
                    <a:pt x="331" y="23"/>
                    <a:pt x="331" y="23"/>
                  </a:cubicBezTo>
                  <a:cubicBezTo>
                    <a:pt x="335" y="14"/>
                    <a:pt x="335" y="14"/>
                    <a:pt x="335" y="14"/>
                  </a:cubicBezTo>
                  <a:cubicBezTo>
                    <a:pt x="320" y="0"/>
                    <a:pt x="320" y="0"/>
                    <a:pt x="320" y="0"/>
                  </a:cubicBezTo>
                  <a:cubicBezTo>
                    <a:pt x="312" y="3"/>
                    <a:pt x="312" y="3"/>
                    <a:pt x="312" y="3"/>
                  </a:cubicBezTo>
                  <a:cubicBezTo>
                    <a:pt x="312" y="3"/>
                    <a:pt x="313" y="10"/>
                    <a:pt x="312" y="15"/>
                  </a:cubicBezTo>
                  <a:cubicBezTo>
                    <a:pt x="311" y="20"/>
                    <a:pt x="292" y="28"/>
                    <a:pt x="292" y="28"/>
                  </a:cubicBezTo>
                  <a:cubicBezTo>
                    <a:pt x="292" y="28"/>
                    <a:pt x="293" y="40"/>
                    <a:pt x="287" y="51"/>
                  </a:cubicBezTo>
                  <a:cubicBezTo>
                    <a:pt x="280" y="62"/>
                    <a:pt x="236" y="47"/>
                    <a:pt x="236" y="47"/>
                  </a:cubicBezTo>
                  <a:cubicBezTo>
                    <a:pt x="235" y="58"/>
                    <a:pt x="235" y="58"/>
                    <a:pt x="235" y="58"/>
                  </a:cubicBezTo>
                  <a:cubicBezTo>
                    <a:pt x="235" y="58"/>
                    <a:pt x="227" y="58"/>
                    <a:pt x="225" y="54"/>
                  </a:cubicBezTo>
                  <a:cubicBezTo>
                    <a:pt x="203" y="76"/>
                    <a:pt x="195" y="64"/>
                    <a:pt x="191" y="64"/>
                  </a:cubicBezTo>
                  <a:cubicBezTo>
                    <a:pt x="187" y="74"/>
                    <a:pt x="182" y="78"/>
                    <a:pt x="176" y="79"/>
                  </a:cubicBezTo>
                  <a:cubicBezTo>
                    <a:pt x="177" y="98"/>
                    <a:pt x="177" y="98"/>
                    <a:pt x="177" y="98"/>
                  </a:cubicBezTo>
                  <a:cubicBezTo>
                    <a:pt x="177" y="98"/>
                    <a:pt x="205" y="126"/>
                    <a:pt x="205" y="13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0" name="Basse Normandie" descr="© INSCALE GmbH, 05.05.2010&#10;http://www.presentationload.com/">
              <a:extLst>
                <a:ext uri="{FF2B5EF4-FFF2-40B4-BE49-F238E27FC236}">
                  <a16:creationId xmlns:a16="http://schemas.microsoft.com/office/drawing/2014/main" id="{96C755B5-878D-43B1-9DB9-C3827DF7190E}"/>
                </a:ext>
              </a:extLst>
            </p:cNvPr>
            <p:cNvSpPr>
              <a:spLocks/>
            </p:cNvSpPr>
            <p:nvPr/>
          </p:nvSpPr>
          <p:spPr bwMode="gray">
            <a:xfrm>
              <a:off x="801" y="585"/>
              <a:ext cx="657" cy="573"/>
            </a:xfrm>
            <a:custGeom>
              <a:avLst/>
              <a:gdLst/>
              <a:ahLst/>
              <a:cxnLst>
                <a:cxn ang="0">
                  <a:pos x="197" y="413"/>
                </a:cxn>
                <a:cxn ang="0">
                  <a:pos x="245" y="437"/>
                </a:cxn>
                <a:cxn ang="0">
                  <a:pos x="265" y="435"/>
                </a:cxn>
                <a:cxn ang="0">
                  <a:pos x="315" y="422"/>
                </a:cxn>
                <a:cxn ang="0">
                  <a:pos x="336" y="415"/>
                </a:cxn>
                <a:cxn ang="0">
                  <a:pos x="348" y="405"/>
                </a:cxn>
                <a:cxn ang="0">
                  <a:pos x="373" y="439"/>
                </a:cxn>
                <a:cxn ang="0">
                  <a:pos x="395" y="465"/>
                </a:cxn>
                <a:cxn ang="0">
                  <a:pos x="485" y="481"/>
                </a:cxn>
                <a:cxn ang="0">
                  <a:pos x="512" y="513"/>
                </a:cxn>
                <a:cxn ang="0">
                  <a:pos x="561" y="531"/>
                </a:cxn>
                <a:cxn ang="0">
                  <a:pos x="573" y="522"/>
                </a:cxn>
                <a:cxn ang="0">
                  <a:pos x="597" y="467"/>
                </a:cxn>
                <a:cxn ang="0">
                  <a:pos x="601" y="439"/>
                </a:cxn>
                <a:cxn ang="0">
                  <a:pos x="577" y="393"/>
                </a:cxn>
                <a:cxn ang="0">
                  <a:pos x="563" y="374"/>
                </a:cxn>
                <a:cxn ang="0">
                  <a:pos x="536" y="325"/>
                </a:cxn>
                <a:cxn ang="0">
                  <a:pos x="496" y="303"/>
                </a:cxn>
                <a:cxn ang="0">
                  <a:pos x="496" y="259"/>
                </a:cxn>
                <a:cxn ang="0">
                  <a:pos x="495" y="246"/>
                </a:cxn>
                <a:cxn ang="0">
                  <a:pos x="491" y="218"/>
                </a:cxn>
                <a:cxn ang="0">
                  <a:pos x="477" y="186"/>
                </a:cxn>
                <a:cxn ang="0">
                  <a:pos x="463" y="93"/>
                </a:cxn>
                <a:cxn ang="0">
                  <a:pos x="357" y="137"/>
                </a:cxn>
                <a:cxn ang="0">
                  <a:pos x="239" y="114"/>
                </a:cxn>
                <a:cxn ang="0">
                  <a:pos x="168" y="123"/>
                </a:cxn>
                <a:cxn ang="0">
                  <a:pos x="157" y="102"/>
                </a:cxn>
                <a:cxn ang="0">
                  <a:pos x="130" y="51"/>
                </a:cxn>
                <a:cxn ang="0">
                  <a:pos x="140" y="11"/>
                </a:cxn>
                <a:cxn ang="0">
                  <a:pos x="91" y="21"/>
                </a:cxn>
                <a:cxn ang="0">
                  <a:pos x="1" y="0"/>
                </a:cxn>
                <a:cxn ang="0">
                  <a:pos x="16" y="23"/>
                </a:cxn>
                <a:cxn ang="0">
                  <a:pos x="22" y="85"/>
                </a:cxn>
                <a:cxn ang="0">
                  <a:pos x="66" y="158"/>
                </a:cxn>
                <a:cxn ang="0">
                  <a:pos x="73" y="216"/>
                </a:cxn>
                <a:cxn ang="0">
                  <a:pos x="78" y="239"/>
                </a:cxn>
                <a:cxn ang="0">
                  <a:pos x="69" y="294"/>
                </a:cxn>
                <a:cxn ang="0">
                  <a:pos x="83" y="331"/>
                </a:cxn>
                <a:cxn ang="0">
                  <a:pos x="58" y="332"/>
                </a:cxn>
                <a:cxn ang="0">
                  <a:pos x="136" y="402"/>
                </a:cxn>
              </a:cxnLst>
              <a:rect l="0" t="0" r="r" b="b"/>
              <a:pathLst>
                <a:path w="609" h="531">
                  <a:moveTo>
                    <a:pt x="136" y="402"/>
                  </a:moveTo>
                  <a:cubicBezTo>
                    <a:pt x="173" y="418"/>
                    <a:pt x="187" y="426"/>
                    <a:pt x="197" y="413"/>
                  </a:cubicBezTo>
                  <a:cubicBezTo>
                    <a:pt x="207" y="418"/>
                    <a:pt x="220" y="422"/>
                    <a:pt x="220" y="422"/>
                  </a:cubicBezTo>
                  <a:cubicBezTo>
                    <a:pt x="220" y="422"/>
                    <a:pt x="245" y="446"/>
                    <a:pt x="245" y="437"/>
                  </a:cubicBezTo>
                  <a:cubicBezTo>
                    <a:pt x="245" y="427"/>
                    <a:pt x="261" y="426"/>
                    <a:pt x="261" y="426"/>
                  </a:cubicBezTo>
                  <a:cubicBezTo>
                    <a:pt x="265" y="435"/>
                    <a:pt x="265" y="435"/>
                    <a:pt x="265" y="435"/>
                  </a:cubicBezTo>
                  <a:cubicBezTo>
                    <a:pt x="265" y="435"/>
                    <a:pt x="288" y="435"/>
                    <a:pt x="293" y="421"/>
                  </a:cubicBezTo>
                  <a:cubicBezTo>
                    <a:pt x="300" y="421"/>
                    <a:pt x="315" y="422"/>
                    <a:pt x="315" y="422"/>
                  </a:cubicBezTo>
                  <a:cubicBezTo>
                    <a:pt x="321" y="427"/>
                    <a:pt x="321" y="427"/>
                    <a:pt x="321" y="427"/>
                  </a:cubicBezTo>
                  <a:cubicBezTo>
                    <a:pt x="336" y="415"/>
                    <a:pt x="336" y="415"/>
                    <a:pt x="336" y="415"/>
                  </a:cubicBezTo>
                  <a:cubicBezTo>
                    <a:pt x="336" y="415"/>
                    <a:pt x="344" y="426"/>
                    <a:pt x="348" y="418"/>
                  </a:cubicBezTo>
                  <a:cubicBezTo>
                    <a:pt x="352" y="410"/>
                    <a:pt x="344" y="405"/>
                    <a:pt x="348" y="405"/>
                  </a:cubicBezTo>
                  <a:cubicBezTo>
                    <a:pt x="352" y="405"/>
                    <a:pt x="375" y="414"/>
                    <a:pt x="375" y="414"/>
                  </a:cubicBezTo>
                  <a:cubicBezTo>
                    <a:pt x="375" y="414"/>
                    <a:pt x="361" y="439"/>
                    <a:pt x="373" y="439"/>
                  </a:cubicBezTo>
                  <a:cubicBezTo>
                    <a:pt x="385" y="439"/>
                    <a:pt x="391" y="438"/>
                    <a:pt x="391" y="438"/>
                  </a:cubicBezTo>
                  <a:cubicBezTo>
                    <a:pt x="395" y="465"/>
                    <a:pt x="395" y="465"/>
                    <a:pt x="395" y="465"/>
                  </a:cubicBezTo>
                  <a:cubicBezTo>
                    <a:pt x="415" y="465"/>
                    <a:pt x="415" y="465"/>
                    <a:pt x="415" y="465"/>
                  </a:cubicBezTo>
                  <a:cubicBezTo>
                    <a:pt x="415" y="465"/>
                    <a:pt x="477" y="390"/>
                    <a:pt x="485" y="481"/>
                  </a:cubicBezTo>
                  <a:cubicBezTo>
                    <a:pt x="492" y="486"/>
                    <a:pt x="505" y="493"/>
                    <a:pt x="505" y="493"/>
                  </a:cubicBezTo>
                  <a:cubicBezTo>
                    <a:pt x="512" y="513"/>
                    <a:pt x="512" y="513"/>
                    <a:pt x="512" y="513"/>
                  </a:cubicBezTo>
                  <a:cubicBezTo>
                    <a:pt x="537" y="507"/>
                    <a:pt x="537" y="507"/>
                    <a:pt x="537" y="507"/>
                  </a:cubicBezTo>
                  <a:cubicBezTo>
                    <a:pt x="561" y="531"/>
                    <a:pt x="561" y="531"/>
                    <a:pt x="561" y="531"/>
                  </a:cubicBezTo>
                  <a:cubicBezTo>
                    <a:pt x="573" y="529"/>
                    <a:pt x="573" y="529"/>
                    <a:pt x="573" y="529"/>
                  </a:cubicBezTo>
                  <a:cubicBezTo>
                    <a:pt x="573" y="522"/>
                    <a:pt x="573" y="522"/>
                    <a:pt x="573" y="522"/>
                  </a:cubicBezTo>
                  <a:cubicBezTo>
                    <a:pt x="573" y="522"/>
                    <a:pt x="565" y="495"/>
                    <a:pt x="568" y="485"/>
                  </a:cubicBezTo>
                  <a:cubicBezTo>
                    <a:pt x="571" y="474"/>
                    <a:pt x="597" y="467"/>
                    <a:pt x="597" y="467"/>
                  </a:cubicBezTo>
                  <a:cubicBezTo>
                    <a:pt x="609" y="453"/>
                    <a:pt x="609" y="453"/>
                    <a:pt x="609" y="453"/>
                  </a:cubicBezTo>
                  <a:cubicBezTo>
                    <a:pt x="601" y="439"/>
                    <a:pt x="601" y="439"/>
                    <a:pt x="601" y="439"/>
                  </a:cubicBezTo>
                  <a:cubicBezTo>
                    <a:pt x="601" y="439"/>
                    <a:pt x="605" y="431"/>
                    <a:pt x="605" y="426"/>
                  </a:cubicBezTo>
                  <a:cubicBezTo>
                    <a:pt x="605" y="421"/>
                    <a:pt x="577" y="393"/>
                    <a:pt x="577" y="393"/>
                  </a:cubicBezTo>
                  <a:cubicBezTo>
                    <a:pt x="576" y="374"/>
                    <a:pt x="576" y="374"/>
                    <a:pt x="576" y="374"/>
                  </a:cubicBezTo>
                  <a:cubicBezTo>
                    <a:pt x="569" y="376"/>
                    <a:pt x="563" y="374"/>
                    <a:pt x="563" y="374"/>
                  </a:cubicBezTo>
                  <a:cubicBezTo>
                    <a:pt x="563" y="374"/>
                    <a:pt x="556" y="363"/>
                    <a:pt x="560" y="363"/>
                  </a:cubicBezTo>
                  <a:cubicBezTo>
                    <a:pt x="581" y="349"/>
                    <a:pt x="536" y="325"/>
                    <a:pt x="536" y="325"/>
                  </a:cubicBezTo>
                  <a:cubicBezTo>
                    <a:pt x="529" y="305"/>
                    <a:pt x="529" y="305"/>
                    <a:pt x="529" y="305"/>
                  </a:cubicBezTo>
                  <a:cubicBezTo>
                    <a:pt x="496" y="303"/>
                    <a:pt x="496" y="303"/>
                    <a:pt x="496" y="303"/>
                  </a:cubicBezTo>
                  <a:cubicBezTo>
                    <a:pt x="496" y="303"/>
                    <a:pt x="483" y="299"/>
                    <a:pt x="489" y="294"/>
                  </a:cubicBezTo>
                  <a:cubicBezTo>
                    <a:pt x="496" y="289"/>
                    <a:pt x="496" y="259"/>
                    <a:pt x="496" y="259"/>
                  </a:cubicBezTo>
                  <a:cubicBezTo>
                    <a:pt x="487" y="247"/>
                    <a:pt x="487" y="247"/>
                    <a:pt x="487" y="247"/>
                  </a:cubicBezTo>
                  <a:cubicBezTo>
                    <a:pt x="495" y="246"/>
                    <a:pt x="495" y="246"/>
                    <a:pt x="495" y="246"/>
                  </a:cubicBezTo>
                  <a:cubicBezTo>
                    <a:pt x="496" y="226"/>
                    <a:pt x="496" y="226"/>
                    <a:pt x="496" y="226"/>
                  </a:cubicBezTo>
                  <a:cubicBezTo>
                    <a:pt x="491" y="218"/>
                    <a:pt x="491" y="218"/>
                    <a:pt x="491" y="218"/>
                  </a:cubicBezTo>
                  <a:cubicBezTo>
                    <a:pt x="491" y="203"/>
                    <a:pt x="491" y="203"/>
                    <a:pt x="491" y="203"/>
                  </a:cubicBezTo>
                  <a:cubicBezTo>
                    <a:pt x="491" y="203"/>
                    <a:pt x="475" y="193"/>
                    <a:pt x="477" y="186"/>
                  </a:cubicBezTo>
                  <a:cubicBezTo>
                    <a:pt x="508" y="175"/>
                    <a:pt x="476" y="178"/>
                    <a:pt x="476" y="178"/>
                  </a:cubicBezTo>
                  <a:cubicBezTo>
                    <a:pt x="463" y="93"/>
                    <a:pt x="463" y="93"/>
                    <a:pt x="463" y="93"/>
                  </a:cubicBezTo>
                  <a:cubicBezTo>
                    <a:pt x="458" y="95"/>
                    <a:pt x="436" y="105"/>
                    <a:pt x="435" y="102"/>
                  </a:cubicBezTo>
                  <a:cubicBezTo>
                    <a:pt x="418" y="138"/>
                    <a:pt x="357" y="137"/>
                    <a:pt x="357" y="137"/>
                  </a:cubicBezTo>
                  <a:cubicBezTo>
                    <a:pt x="325" y="122"/>
                    <a:pt x="325" y="122"/>
                    <a:pt x="325" y="122"/>
                  </a:cubicBezTo>
                  <a:cubicBezTo>
                    <a:pt x="325" y="122"/>
                    <a:pt x="286" y="117"/>
                    <a:pt x="239" y="114"/>
                  </a:cubicBezTo>
                  <a:cubicBezTo>
                    <a:pt x="194" y="93"/>
                    <a:pt x="170" y="107"/>
                    <a:pt x="170" y="107"/>
                  </a:cubicBezTo>
                  <a:cubicBezTo>
                    <a:pt x="168" y="123"/>
                    <a:pt x="168" y="123"/>
                    <a:pt x="168" y="123"/>
                  </a:cubicBezTo>
                  <a:cubicBezTo>
                    <a:pt x="160" y="116"/>
                    <a:pt x="160" y="116"/>
                    <a:pt x="160" y="116"/>
                  </a:cubicBezTo>
                  <a:cubicBezTo>
                    <a:pt x="160" y="116"/>
                    <a:pt x="150" y="108"/>
                    <a:pt x="157" y="102"/>
                  </a:cubicBezTo>
                  <a:cubicBezTo>
                    <a:pt x="164" y="96"/>
                    <a:pt x="152" y="88"/>
                    <a:pt x="152" y="88"/>
                  </a:cubicBezTo>
                  <a:cubicBezTo>
                    <a:pt x="130" y="51"/>
                    <a:pt x="130" y="51"/>
                    <a:pt x="130" y="51"/>
                  </a:cubicBezTo>
                  <a:cubicBezTo>
                    <a:pt x="150" y="35"/>
                    <a:pt x="150" y="35"/>
                    <a:pt x="150" y="35"/>
                  </a:cubicBezTo>
                  <a:cubicBezTo>
                    <a:pt x="140" y="11"/>
                    <a:pt x="140" y="11"/>
                    <a:pt x="140" y="11"/>
                  </a:cubicBezTo>
                  <a:cubicBezTo>
                    <a:pt x="104" y="7"/>
                    <a:pt x="104" y="7"/>
                    <a:pt x="104" y="7"/>
                  </a:cubicBezTo>
                  <a:cubicBezTo>
                    <a:pt x="91" y="21"/>
                    <a:pt x="91" y="21"/>
                    <a:pt x="91" y="21"/>
                  </a:cubicBezTo>
                  <a:cubicBezTo>
                    <a:pt x="91" y="21"/>
                    <a:pt x="82" y="30"/>
                    <a:pt x="59" y="24"/>
                  </a:cubicBezTo>
                  <a:cubicBezTo>
                    <a:pt x="36" y="18"/>
                    <a:pt x="1" y="0"/>
                    <a:pt x="1" y="0"/>
                  </a:cubicBezTo>
                  <a:cubicBezTo>
                    <a:pt x="0" y="16"/>
                    <a:pt x="0" y="16"/>
                    <a:pt x="0" y="16"/>
                  </a:cubicBezTo>
                  <a:cubicBezTo>
                    <a:pt x="0" y="16"/>
                    <a:pt x="4" y="16"/>
                    <a:pt x="16" y="23"/>
                  </a:cubicBezTo>
                  <a:cubicBezTo>
                    <a:pt x="28" y="30"/>
                    <a:pt x="12" y="63"/>
                    <a:pt x="12" y="63"/>
                  </a:cubicBezTo>
                  <a:cubicBezTo>
                    <a:pt x="12" y="63"/>
                    <a:pt x="21" y="81"/>
                    <a:pt x="22" y="85"/>
                  </a:cubicBezTo>
                  <a:cubicBezTo>
                    <a:pt x="22" y="112"/>
                    <a:pt x="34" y="108"/>
                    <a:pt x="34" y="108"/>
                  </a:cubicBezTo>
                  <a:cubicBezTo>
                    <a:pt x="66" y="158"/>
                    <a:pt x="66" y="158"/>
                    <a:pt x="66" y="158"/>
                  </a:cubicBezTo>
                  <a:cubicBezTo>
                    <a:pt x="65" y="214"/>
                    <a:pt x="65" y="214"/>
                    <a:pt x="65" y="214"/>
                  </a:cubicBezTo>
                  <a:cubicBezTo>
                    <a:pt x="73" y="216"/>
                    <a:pt x="73" y="216"/>
                    <a:pt x="73" y="216"/>
                  </a:cubicBezTo>
                  <a:cubicBezTo>
                    <a:pt x="69" y="232"/>
                    <a:pt x="69" y="232"/>
                    <a:pt x="69" y="232"/>
                  </a:cubicBezTo>
                  <a:cubicBezTo>
                    <a:pt x="78" y="239"/>
                    <a:pt x="78" y="239"/>
                    <a:pt x="78" y="239"/>
                  </a:cubicBezTo>
                  <a:cubicBezTo>
                    <a:pt x="70" y="245"/>
                    <a:pt x="70" y="245"/>
                    <a:pt x="70" y="245"/>
                  </a:cubicBezTo>
                  <a:cubicBezTo>
                    <a:pt x="70" y="245"/>
                    <a:pt x="66" y="280"/>
                    <a:pt x="69" y="294"/>
                  </a:cubicBezTo>
                  <a:cubicBezTo>
                    <a:pt x="71" y="315"/>
                    <a:pt x="108" y="326"/>
                    <a:pt x="108" y="326"/>
                  </a:cubicBezTo>
                  <a:cubicBezTo>
                    <a:pt x="83" y="331"/>
                    <a:pt x="83" y="331"/>
                    <a:pt x="83" y="331"/>
                  </a:cubicBezTo>
                  <a:cubicBezTo>
                    <a:pt x="83" y="331"/>
                    <a:pt x="75" y="328"/>
                    <a:pt x="68" y="329"/>
                  </a:cubicBezTo>
                  <a:cubicBezTo>
                    <a:pt x="66" y="330"/>
                    <a:pt x="62" y="331"/>
                    <a:pt x="58" y="332"/>
                  </a:cubicBezTo>
                  <a:cubicBezTo>
                    <a:pt x="77" y="377"/>
                    <a:pt x="77" y="377"/>
                    <a:pt x="77" y="377"/>
                  </a:cubicBezTo>
                  <a:cubicBezTo>
                    <a:pt x="77" y="377"/>
                    <a:pt x="87" y="470"/>
                    <a:pt x="136" y="402"/>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1" name="Bretagne" descr="© INSCALE GmbH, 05.05.2010&#10;http://www.presentationload.com/">
              <a:extLst>
                <a:ext uri="{FF2B5EF4-FFF2-40B4-BE49-F238E27FC236}">
                  <a16:creationId xmlns:a16="http://schemas.microsoft.com/office/drawing/2014/main" id="{F823883D-B803-4C7E-982B-A6EA279E0036}"/>
                </a:ext>
              </a:extLst>
            </p:cNvPr>
            <p:cNvSpPr>
              <a:spLocks noEditPoints="1"/>
            </p:cNvSpPr>
            <p:nvPr/>
          </p:nvSpPr>
          <p:spPr bwMode="gray">
            <a:xfrm>
              <a:off x="48" y="857"/>
              <a:ext cx="953" cy="536"/>
            </a:xfrm>
            <a:custGeom>
              <a:avLst/>
              <a:gdLst/>
              <a:ahLst/>
              <a:cxnLst>
                <a:cxn ang="0">
                  <a:pos x="459" y="18"/>
                </a:cxn>
                <a:cxn ang="0">
                  <a:pos x="5" y="133"/>
                </a:cxn>
                <a:cxn ang="0">
                  <a:pos x="355" y="388"/>
                </a:cxn>
                <a:cxn ang="0">
                  <a:pos x="355" y="388"/>
                </a:cxn>
                <a:cxn ang="0">
                  <a:pos x="394" y="465"/>
                </a:cxn>
                <a:cxn ang="0">
                  <a:pos x="422" y="494"/>
                </a:cxn>
                <a:cxn ang="0">
                  <a:pos x="413" y="479"/>
                </a:cxn>
                <a:cxn ang="0">
                  <a:pos x="448" y="462"/>
                </a:cxn>
                <a:cxn ang="0">
                  <a:pos x="467" y="479"/>
                </a:cxn>
                <a:cxn ang="0">
                  <a:pos x="55" y="259"/>
                </a:cxn>
                <a:cxn ang="0">
                  <a:pos x="36" y="144"/>
                </a:cxn>
                <a:cxn ang="0">
                  <a:pos x="56" y="163"/>
                </a:cxn>
                <a:cxn ang="0">
                  <a:pos x="246" y="42"/>
                </a:cxn>
                <a:cxn ang="0">
                  <a:pos x="874" y="165"/>
                </a:cxn>
                <a:cxn ang="0">
                  <a:pos x="757" y="79"/>
                </a:cxn>
                <a:cxn ang="0">
                  <a:pos x="705" y="58"/>
                </a:cxn>
                <a:cxn ang="0">
                  <a:pos x="628" y="92"/>
                </a:cxn>
                <a:cxn ang="0">
                  <a:pos x="606" y="63"/>
                </a:cxn>
                <a:cxn ang="0">
                  <a:pos x="570" y="80"/>
                </a:cxn>
                <a:cxn ang="0">
                  <a:pos x="526" y="116"/>
                </a:cxn>
                <a:cxn ang="0">
                  <a:pos x="496" y="71"/>
                </a:cxn>
                <a:cxn ang="0">
                  <a:pos x="458" y="31"/>
                </a:cxn>
                <a:cxn ang="0">
                  <a:pos x="446" y="0"/>
                </a:cxn>
                <a:cxn ang="0">
                  <a:pos x="401" y="13"/>
                </a:cxn>
                <a:cxn ang="0">
                  <a:pos x="347" y="22"/>
                </a:cxn>
                <a:cxn ang="0">
                  <a:pos x="333" y="59"/>
                </a:cxn>
                <a:cxn ang="0">
                  <a:pos x="268" y="58"/>
                </a:cxn>
                <a:cxn ang="0">
                  <a:pos x="237" y="58"/>
                </a:cxn>
                <a:cxn ang="0">
                  <a:pos x="186" y="70"/>
                </a:cxn>
                <a:cxn ang="0">
                  <a:pos x="147" y="76"/>
                </a:cxn>
                <a:cxn ang="0">
                  <a:pos x="115" y="80"/>
                </a:cxn>
                <a:cxn ang="0">
                  <a:pos x="84" y="106"/>
                </a:cxn>
                <a:cxn ang="0">
                  <a:pos x="79" y="148"/>
                </a:cxn>
                <a:cxn ang="0">
                  <a:pos x="98" y="154"/>
                </a:cxn>
                <a:cxn ang="0">
                  <a:pos x="156" y="145"/>
                </a:cxn>
                <a:cxn ang="0">
                  <a:pos x="172" y="160"/>
                </a:cxn>
                <a:cxn ang="0">
                  <a:pos x="155" y="185"/>
                </a:cxn>
                <a:cxn ang="0">
                  <a:pos x="122" y="172"/>
                </a:cxn>
                <a:cxn ang="0">
                  <a:pos x="125" y="211"/>
                </a:cxn>
                <a:cxn ang="0">
                  <a:pos x="171" y="237"/>
                </a:cxn>
                <a:cxn ang="0">
                  <a:pos x="156" y="329"/>
                </a:cxn>
                <a:cxn ang="0">
                  <a:pos x="235" y="316"/>
                </a:cxn>
                <a:cxn ang="0">
                  <a:pos x="294" y="333"/>
                </a:cxn>
                <a:cxn ang="0">
                  <a:pos x="384" y="364"/>
                </a:cxn>
                <a:cxn ang="0">
                  <a:pos x="414" y="432"/>
                </a:cxn>
                <a:cxn ang="0">
                  <a:pos x="425" y="403"/>
                </a:cxn>
                <a:cxn ang="0">
                  <a:pos x="460" y="391"/>
                </a:cxn>
                <a:cxn ang="0">
                  <a:pos x="522" y="390"/>
                </a:cxn>
                <a:cxn ang="0">
                  <a:pos x="462" y="407"/>
                </a:cxn>
                <a:cxn ang="0">
                  <a:pos x="513" y="428"/>
                </a:cxn>
                <a:cxn ang="0">
                  <a:pos x="555" y="424"/>
                </a:cxn>
                <a:cxn ang="0">
                  <a:pos x="566" y="454"/>
                </a:cxn>
                <a:cxn ang="0">
                  <a:pos x="554" y="487"/>
                </a:cxn>
                <a:cxn ang="0">
                  <a:pos x="595" y="481"/>
                </a:cxn>
                <a:cxn ang="0">
                  <a:pos x="666" y="409"/>
                </a:cxn>
                <a:cxn ang="0">
                  <a:pos x="752" y="389"/>
                </a:cxn>
                <a:cxn ang="0">
                  <a:pos x="796" y="377"/>
                </a:cxn>
                <a:cxn ang="0">
                  <a:pos x="838" y="366"/>
                </a:cxn>
                <a:cxn ang="0">
                  <a:pos x="879" y="220"/>
                </a:cxn>
              </a:cxnLst>
              <a:rect l="0" t="0" r="r" b="b"/>
              <a:pathLst>
                <a:path w="884" h="496">
                  <a:moveTo>
                    <a:pt x="459" y="18"/>
                  </a:moveTo>
                  <a:cubicBezTo>
                    <a:pt x="460" y="17"/>
                    <a:pt x="460" y="17"/>
                    <a:pt x="460" y="15"/>
                  </a:cubicBezTo>
                  <a:cubicBezTo>
                    <a:pt x="460" y="12"/>
                    <a:pt x="459" y="14"/>
                    <a:pt x="459" y="18"/>
                  </a:cubicBezTo>
                  <a:close/>
                  <a:moveTo>
                    <a:pt x="17" y="117"/>
                  </a:moveTo>
                  <a:cubicBezTo>
                    <a:pt x="11" y="117"/>
                    <a:pt x="0" y="125"/>
                    <a:pt x="0" y="125"/>
                  </a:cubicBezTo>
                  <a:cubicBezTo>
                    <a:pt x="5" y="133"/>
                    <a:pt x="5" y="133"/>
                    <a:pt x="5" y="133"/>
                  </a:cubicBezTo>
                  <a:cubicBezTo>
                    <a:pt x="21" y="123"/>
                    <a:pt x="21" y="123"/>
                    <a:pt x="21" y="123"/>
                  </a:cubicBezTo>
                  <a:cubicBezTo>
                    <a:pt x="21" y="123"/>
                    <a:pt x="23" y="117"/>
                    <a:pt x="17" y="117"/>
                  </a:cubicBezTo>
                  <a:close/>
                  <a:moveTo>
                    <a:pt x="355" y="388"/>
                  </a:moveTo>
                  <a:cubicBezTo>
                    <a:pt x="346" y="382"/>
                    <a:pt x="339" y="378"/>
                    <a:pt x="339" y="378"/>
                  </a:cubicBezTo>
                  <a:cubicBezTo>
                    <a:pt x="339" y="378"/>
                    <a:pt x="333" y="390"/>
                    <a:pt x="344" y="389"/>
                  </a:cubicBezTo>
                  <a:cubicBezTo>
                    <a:pt x="355" y="388"/>
                    <a:pt x="364" y="394"/>
                    <a:pt x="355" y="388"/>
                  </a:cubicBezTo>
                  <a:close/>
                  <a:moveTo>
                    <a:pt x="413" y="479"/>
                  </a:moveTo>
                  <a:cubicBezTo>
                    <a:pt x="409" y="469"/>
                    <a:pt x="409" y="469"/>
                    <a:pt x="409" y="469"/>
                  </a:cubicBezTo>
                  <a:cubicBezTo>
                    <a:pt x="394" y="465"/>
                    <a:pt x="394" y="465"/>
                    <a:pt x="394" y="465"/>
                  </a:cubicBezTo>
                  <a:cubicBezTo>
                    <a:pt x="384" y="466"/>
                    <a:pt x="393" y="490"/>
                    <a:pt x="393" y="490"/>
                  </a:cubicBezTo>
                  <a:cubicBezTo>
                    <a:pt x="413" y="490"/>
                    <a:pt x="413" y="490"/>
                    <a:pt x="413" y="490"/>
                  </a:cubicBezTo>
                  <a:cubicBezTo>
                    <a:pt x="422" y="494"/>
                    <a:pt x="422" y="494"/>
                    <a:pt x="422" y="494"/>
                  </a:cubicBezTo>
                  <a:cubicBezTo>
                    <a:pt x="427" y="485"/>
                    <a:pt x="427" y="485"/>
                    <a:pt x="427" y="485"/>
                  </a:cubicBezTo>
                  <a:cubicBezTo>
                    <a:pt x="425" y="480"/>
                    <a:pt x="425" y="480"/>
                    <a:pt x="425" y="480"/>
                  </a:cubicBezTo>
                  <a:lnTo>
                    <a:pt x="413" y="479"/>
                  </a:lnTo>
                  <a:close/>
                  <a:moveTo>
                    <a:pt x="448" y="462"/>
                  </a:moveTo>
                  <a:cubicBezTo>
                    <a:pt x="448" y="462"/>
                    <a:pt x="454" y="467"/>
                    <a:pt x="454" y="465"/>
                  </a:cubicBezTo>
                  <a:cubicBezTo>
                    <a:pt x="454" y="462"/>
                    <a:pt x="454" y="462"/>
                    <a:pt x="448" y="462"/>
                  </a:cubicBezTo>
                  <a:close/>
                  <a:moveTo>
                    <a:pt x="467" y="479"/>
                  </a:moveTo>
                  <a:cubicBezTo>
                    <a:pt x="467" y="479"/>
                    <a:pt x="473" y="479"/>
                    <a:pt x="473" y="476"/>
                  </a:cubicBezTo>
                  <a:cubicBezTo>
                    <a:pt x="473" y="473"/>
                    <a:pt x="467" y="479"/>
                    <a:pt x="467" y="479"/>
                  </a:cubicBezTo>
                  <a:close/>
                  <a:moveTo>
                    <a:pt x="55" y="259"/>
                  </a:moveTo>
                  <a:cubicBezTo>
                    <a:pt x="58" y="258"/>
                    <a:pt x="53" y="251"/>
                    <a:pt x="53" y="251"/>
                  </a:cubicBezTo>
                  <a:cubicBezTo>
                    <a:pt x="53" y="251"/>
                    <a:pt x="52" y="260"/>
                    <a:pt x="55" y="259"/>
                  </a:cubicBezTo>
                  <a:close/>
                  <a:moveTo>
                    <a:pt x="36" y="144"/>
                  </a:moveTo>
                  <a:cubicBezTo>
                    <a:pt x="41" y="150"/>
                    <a:pt x="40" y="142"/>
                    <a:pt x="40" y="142"/>
                  </a:cubicBezTo>
                  <a:cubicBezTo>
                    <a:pt x="40" y="142"/>
                    <a:pt x="31" y="139"/>
                    <a:pt x="36" y="144"/>
                  </a:cubicBezTo>
                  <a:close/>
                  <a:moveTo>
                    <a:pt x="56" y="163"/>
                  </a:moveTo>
                  <a:cubicBezTo>
                    <a:pt x="56" y="163"/>
                    <a:pt x="64" y="161"/>
                    <a:pt x="59" y="156"/>
                  </a:cubicBezTo>
                  <a:cubicBezTo>
                    <a:pt x="54" y="152"/>
                    <a:pt x="56" y="163"/>
                    <a:pt x="56" y="163"/>
                  </a:cubicBezTo>
                  <a:close/>
                  <a:moveTo>
                    <a:pt x="247" y="36"/>
                  </a:moveTo>
                  <a:cubicBezTo>
                    <a:pt x="242" y="39"/>
                    <a:pt x="242" y="39"/>
                    <a:pt x="242" y="39"/>
                  </a:cubicBezTo>
                  <a:cubicBezTo>
                    <a:pt x="246" y="42"/>
                    <a:pt x="246" y="42"/>
                    <a:pt x="246" y="42"/>
                  </a:cubicBezTo>
                  <a:lnTo>
                    <a:pt x="247" y="36"/>
                  </a:lnTo>
                  <a:close/>
                  <a:moveTo>
                    <a:pt x="872" y="188"/>
                  </a:moveTo>
                  <a:cubicBezTo>
                    <a:pt x="874" y="165"/>
                    <a:pt x="874" y="165"/>
                    <a:pt x="874" y="165"/>
                  </a:cubicBezTo>
                  <a:cubicBezTo>
                    <a:pt x="865" y="163"/>
                    <a:pt x="853" y="157"/>
                    <a:pt x="835" y="149"/>
                  </a:cubicBezTo>
                  <a:cubicBezTo>
                    <a:pt x="786" y="217"/>
                    <a:pt x="776" y="124"/>
                    <a:pt x="776" y="124"/>
                  </a:cubicBezTo>
                  <a:cubicBezTo>
                    <a:pt x="757" y="79"/>
                    <a:pt x="757" y="79"/>
                    <a:pt x="757" y="79"/>
                  </a:cubicBezTo>
                  <a:cubicBezTo>
                    <a:pt x="750" y="81"/>
                    <a:pt x="742" y="83"/>
                    <a:pt x="742" y="83"/>
                  </a:cubicBezTo>
                  <a:cubicBezTo>
                    <a:pt x="742" y="83"/>
                    <a:pt x="722" y="85"/>
                    <a:pt x="710" y="84"/>
                  </a:cubicBezTo>
                  <a:cubicBezTo>
                    <a:pt x="698" y="83"/>
                    <a:pt x="705" y="58"/>
                    <a:pt x="705" y="58"/>
                  </a:cubicBezTo>
                  <a:cubicBezTo>
                    <a:pt x="692" y="58"/>
                    <a:pt x="664" y="78"/>
                    <a:pt x="664" y="78"/>
                  </a:cubicBezTo>
                  <a:cubicBezTo>
                    <a:pt x="647" y="76"/>
                    <a:pt x="647" y="76"/>
                    <a:pt x="647" y="76"/>
                  </a:cubicBezTo>
                  <a:cubicBezTo>
                    <a:pt x="647" y="76"/>
                    <a:pt x="636" y="91"/>
                    <a:pt x="628" y="92"/>
                  </a:cubicBezTo>
                  <a:cubicBezTo>
                    <a:pt x="620" y="93"/>
                    <a:pt x="616" y="75"/>
                    <a:pt x="616" y="75"/>
                  </a:cubicBezTo>
                  <a:cubicBezTo>
                    <a:pt x="601" y="80"/>
                    <a:pt x="601" y="80"/>
                    <a:pt x="601" y="80"/>
                  </a:cubicBezTo>
                  <a:cubicBezTo>
                    <a:pt x="601" y="80"/>
                    <a:pt x="609" y="67"/>
                    <a:pt x="606" y="63"/>
                  </a:cubicBezTo>
                  <a:cubicBezTo>
                    <a:pt x="603" y="59"/>
                    <a:pt x="584" y="75"/>
                    <a:pt x="584" y="75"/>
                  </a:cubicBezTo>
                  <a:cubicBezTo>
                    <a:pt x="571" y="72"/>
                    <a:pt x="571" y="72"/>
                    <a:pt x="571" y="72"/>
                  </a:cubicBezTo>
                  <a:cubicBezTo>
                    <a:pt x="570" y="80"/>
                    <a:pt x="570" y="80"/>
                    <a:pt x="570" y="80"/>
                  </a:cubicBezTo>
                  <a:cubicBezTo>
                    <a:pt x="533" y="109"/>
                    <a:pt x="533" y="109"/>
                    <a:pt x="533" y="109"/>
                  </a:cubicBezTo>
                  <a:cubicBezTo>
                    <a:pt x="529" y="106"/>
                    <a:pt x="529" y="106"/>
                    <a:pt x="529" y="106"/>
                  </a:cubicBezTo>
                  <a:cubicBezTo>
                    <a:pt x="526" y="116"/>
                    <a:pt x="526" y="116"/>
                    <a:pt x="526" y="116"/>
                  </a:cubicBezTo>
                  <a:cubicBezTo>
                    <a:pt x="516" y="96"/>
                    <a:pt x="516" y="96"/>
                    <a:pt x="516" y="96"/>
                  </a:cubicBezTo>
                  <a:cubicBezTo>
                    <a:pt x="499" y="88"/>
                    <a:pt x="499" y="88"/>
                    <a:pt x="499" y="88"/>
                  </a:cubicBezTo>
                  <a:cubicBezTo>
                    <a:pt x="496" y="71"/>
                    <a:pt x="496" y="71"/>
                    <a:pt x="496" y="71"/>
                  </a:cubicBezTo>
                  <a:cubicBezTo>
                    <a:pt x="473" y="49"/>
                    <a:pt x="473" y="49"/>
                    <a:pt x="473" y="49"/>
                  </a:cubicBezTo>
                  <a:cubicBezTo>
                    <a:pt x="473" y="36"/>
                    <a:pt x="473" y="36"/>
                    <a:pt x="473" y="36"/>
                  </a:cubicBezTo>
                  <a:cubicBezTo>
                    <a:pt x="473" y="36"/>
                    <a:pt x="459" y="35"/>
                    <a:pt x="458" y="31"/>
                  </a:cubicBezTo>
                  <a:cubicBezTo>
                    <a:pt x="457" y="29"/>
                    <a:pt x="458" y="22"/>
                    <a:pt x="459" y="18"/>
                  </a:cubicBezTo>
                  <a:cubicBezTo>
                    <a:pt x="455" y="21"/>
                    <a:pt x="444" y="18"/>
                    <a:pt x="444" y="18"/>
                  </a:cubicBezTo>
                  <a:cubicBezTo>
                    <a:pt x="446" y="0"/>
                    <a:pt x="446" y="0"/>
                    <a:pt x="446" y="0"/>
                  </a:cubicBezTo>
                  <a:cubicBezTo>
                    <a:pt x="426" y="10"/>
                    <a:pt x="426" y="10"/>
                    <a:pt x="426" y="10"/>
                  </a:cubicBezTo>
                  <a:cubicBezTo>
                    <a:pt x="415" y="4"/>
                    <a:pt x="415" y="4"/>
                    <a:pt x="415" y="4"/>
                  </a:cubicBezTo>
                  <a:cubicBezTo>
                    <a:pt x="415" y="4"/>
                    <a:pt x="411" y="10"/>
                    <a:pt x="401" y="13"/>
                  </a:cubicBezTo>
                  <a:cubicBezTo>
                    <a:pt x="387" y="15"/>
                    <a:pt x="372" y="26"/>
                    <a:pt x="372" y="26"/>
                  </a:cubicBezTo>
                  <a:cubicBezTo>
                    <a:pt x="371" y="19"/>
                    <a:pt x="356" y="12"/>
                    <a:pt x="351" y="12"/>
                  </a:cubicBezTo>
                  <a:cubicBezTo>
                    <a:pt x="346" y="12"/>
                    <a:pt x="347" y="22"/>
                    <a:pt x="347" y="22"/>
                  </a:cubicBezTo>
                  <a:cubicBezTo>
                    <a:pt x="341" y="25"/>
                    <a:pt x="341" y="25"/>
                    <a:pt x="341" y="25"/>
                  </a:cubicBezTo>
                  <a:cubicBezTo>
                    <a:pt x="347" y="40"/>
                    <a:pt x="347" y="40"/>
                    <a:pt x="347" y="40"/>
                  </a:cubicBezTo>
                  <a:cubicBezTo>
                    <a:pt x="347" y="40"/>
                    <a:pt x="336" y="60"/>
                    <a:pt x="333" y="59"/>
                  </a:cubicBezTo>
                  <a:cubicBezTo>
                    <a:pt x="300" y="51"/>
                    <a:pt x="285" y="50"/>
                    <a:pt x="282" y="56"/>
                  </a:cubicBezTo>
                  <a:cubicBezTo>
                    <a:pt x="279" y="62"/>
                    <a:pt x="280" y="72"/>
                    <a:pt x="277" y="72"/>
                  </a:cubicBezTo>
                  <a:cubicBezTo>
                    <a:pt x="274" y="72"/>
                    <a:pt x="268" y="58"/>
                    <a:pt x="268" y="58"/>
                  </a:cubicBezTo>
                  <a:cubicBezTo>
                    <a:pt x="258" y="63"/>
                    <a:pt x="258" y="63"/>
                    <a:pt x="258" y="63"/>
                  </a:cubicBezTo>
                  <a:cubicBezTo>
                    <a:pt x="258" y="63"/>
                    <a:pt x="251" y="44"/>
                    <a:pt x="245" y="47"/>
                  </a:cubicBezTo>
                  <a:cubicBezTo>
                    <a:pt x="239" y="50"/>
                    <a:pt x="237" y="58"/>
                    <a:pt x="237" y="58"/>
                  </a:cubicBezTo>
                  <a:cubicBezTo>
                    <a:pt x="237" y="58"/>
                    <a:pt x="226" y="55"/>
                    <a:pt x="217" y="54"/>
                  </a:cubicBezTo>
                  <a:cubicBezTo>
                    <a:pt x="208" y="53"/>
                    <a:pt x="200" y="64"/>
                    <a:pt x="200" y="64"/>
                  </a:cubicBezTo>
                  <a:cubicBezTo>
                    <a:pt x="186" y="70"/>
                    <a:pt x="186" y="70"/>
                    <a:pt x="186" y="70"/>
                  </a:cubicBezTo>
                  <a:cubicBezTo>
                    <a:pt x="173" y="60"/>
                    <a:pt x="173" y="60"/>
                    <a:pt x="173" y="60"/>
                  </a:cubicBezTo>
                  <a:cubicBezTo>
                    <a:pt x="173" y="60"/>
                    <a:pt x="168" y="65"/>
                    <a:pt x="161" y="69"/>
                  </a:cubicBezTo>
                  <a:cubicBezTo>
                    <a:pt x="154" y="73"/>
                    <a:pt x="147" y="76"/>
                    <a:pt x="147" y="76"/>
                  </a:cubicBezTo>
                  <a:cubicBezTo>
                    <a:pt x="147" y="76"/>
                    <a:pt x="131" y="70"/>
                    <a:pt x="126" y="70"/>
                  </a:cubicBezTo>
                  <a:cubicBezTo>
                    <a:pt x="121" y="70"/>
                    <a:pt x="134" y="84"/>
                    <a:pt x="134" y="84"/>
                  </a:cubicBezTo>
                  <a:cubicBezTo>
                    <a:pt x="115" y="80"/>
                    <a:pt x="115" y="80"/>
                    <a:pt x="115" y="80"/>
                  </a:cubicBezTo>
                  <a:cubicBezTo>
                    <a:pt x="115" y="85"/>
                    <a:pt x="115" y="85"/>
                    <a:pt x="115" y="85"/>
                  </a:cubicBezTo>
                  <a:cubicBezTo>
                    <a:pt x="105" y="87"/>
                    <a:pt x="105" y="87"/>
                    <a:pt x="105" y="87"/>
                  </a:cubicBezTo>
                  <a:cubicBezTo>
                    <a:pt x="105" y="87"/>
                    <a:pt x="96" y="98"/>
                    <a:pt x="84" y="106"/>
                  </a:cubicBezTo>
                  <a:cubicBezTo>
                    <a:pt x="72" y="114"/>
                    <a:pt x="86" y="121"/>
                    <a:pt x="86" y="121"/>
                  </a:cubicBezTo>
                  <a:cubicBezTo>
                    <a:pt x="86" y="121"/>
                    <a:pt x="76" y="131"/>
                    <a:pt x="75" y="139"/>
                  </a:cubicBezTo>
                  <a:cubicBezTo>
                    <a:pt x="74" y="147"/>
                    <a:pt x="79" y="148"/>
                    <a:pt x="79" y="148"/>
                  </a:cubicBezTo>
                  <a:cubicBezTo>
                    <a:pt x="79" y="148"/>
                    <a:pt x="74" y="150"/>
                    <a:pt x="75" y="160"/>
                  </a:cubicBezTo>
                  <a:cubicBezTo>
                    <a:pt x="76" y="170"/>
                    <a:pt x="86" y="164"/>
                    <a:pt x="86" y="164"/>
                  </a:cubicBezTo>
                  <a:cubicBezTo>
                    <a:pt x="98" y="154"/>
                    <a:pt x="98" y="154"/>
                    <a:pt x="98" y="154"/>
                  </a:cubicBezTo>
                  <a:cubicBezTo>
                    <a:pt x="107" y="157"/>
                    <a:pt x="107" y="157"/>
                    <a:pt x="107" y="157"/>
                  </a:cubicBezTo>
                  <a:cubicBezTo>
                    <a:pt x="107" y="157"/>
                    <a:pt x="112" y="161"/>
                    <a:pt x="122" y="156"/>
                  </a:cubicBezTo>
                  <a:cubicBezTo>
                    <a:pt x="132" y="151"/>
                    <a:pt x="156" y="145"/>
                    <a:pt x="156" y="145"/>
                  </a:cubicBezTo>
                  <a:cubicBezTo>
                    <a:pt x="145" y="163"/>
                    <a:pt x="145" y="163"/>
                    <a:pt x="145" y="163"/>
                  </a:cubicBezTo>
                  <a:cubicBezTo>
                    <a:pt x="157" y="168"/>
                    <a:pt x="157" y="168"/>
                    <a:pt x="157" y="168"/>
                  </a:cubicBezTo>
                  <a:cubicBezTo>
                    <a:pt x="172" y="160"/>
                    <a:pt x="172" y="160"/>
                    <a:pt x="172" y="160"/>
                  </a:cubicBezTo>
                  <a:cubicBezTo>
                    <a:pt x="174" y="166"/>
                    <a:pt x="186" y="174"/>
                    <a:pt x="183" y="174"/>
                  </a:cubicBezTo>
                  <a:cubicBezTo>
                    <a:pt x="180" y="174"/>
                    <a:pt x="166" y="183"/>
                    <a:pt x="166" y="183"/>
                  </a:cubicBezTo>
                  <a:cubicBezTo>
                    <a:pt x="155" y="185"/>
                    <a:pt x="155" y="185"/>
                    <a:pt x="155" y="185"/>
                  </a:cubicBezTo>
                  <a:cubicBezTo>
                    <a:pt x="145" y="173"/>
                    <a:pt x="145" y="173"/>
                    <a:pt x="145" y="173"/>
                  </a:cubicBezTo>
                  <a:cubicBezTo>
                    <a:pt x="137" y="178"/>
                    <a:pt x="137" y="178"/>
                    <a:pt x="137" y="178"/>
                  </a:cubicBezTo>
                  <a:cubicBezTo>
                    <a:pt x="122" y="172"/>
                    <a:pt x="122" y="172"/>
                    <a:pt x="122" y="172"/>
                  </a:cubicBezTo>
                  <a:cubicBezTo>
                    <a:pt x="109" y="181"/>
                    <a:pt x="109" y="181"/>
                    <a:pt x="109" y="181"/>
                  </a:cubicBezTo>
                  <a:cubicBezTo>
                    <a:pt x="120" y="189"/>
                    <a:pt x="120" y="189"/>
                    <a:pt x="120" y="189"/>
                  </a:cubicBezTo>
                  <a:cubicBezTo>
                    <a:pt x="120" y="189"/>
                    <a:pt x="124" y="208"/>
                    <a:pt x="125" y="211"/>
                  </a:cubicBezTo>
                  <a:cubicBezTo>
                    <a:pt x="126" y="214"/>
                    <a:pt x="130" y="192"/>
                    <a:pt x="141" y="191"/>
                  </a:cubicBezTo>
                  <a:cubicBezTo>
                    <a:pt x="152" y="190"/>
                    <a:pt x="135" y="190"/>
                    <a:pt x="164" y="204"/>
                  </a:cubicBezTo>
                  <a:cubicBezTo>
                    <a:pt x="193" y="218"/>
                    <a:pt x="171" y="237"/>
                    <a:pt x="171" y="237"/>
                  </a:cubicBezTo>
                  <a:cubicBezTo>
                    <a:pt x="144" y="227"/>
                    <a:pt x="79" y="254"/>
                    <a:pt x="79" y="254"/>
                  </a:cubicBezTo>
                  <a:cubicBezTo>
                    <a:pt x="139" y="267"/>
                    <a:pt x="141" y="276"/>
                    <a:pt x="153" y="293"/>
                  </a:cubicBezTo>
                  <a:cubicBezTo>
                    <a:pt x="165" y="310"/>
                    <a:pt x="156" y="329"/>
                    <a:pt x="156" y="329"/>
                  </a:cubicBezTo>
                  <a:cubicBezTo>
                    <a:pt x="197" y="333"/>
                    <a:pt x="197" y="333"/>
                    <a:pt x="197" y="333"/>
                  </a:cubicBezTo>
                  <a:cubicBezTo>
                    <a:pt x="197" y="333"/>
                    <a:pt x="207" y="310"/>
                    <a:pt x="214" y="310"/>
                  </a:cubicBezTo>
                  <a:cubicBezTo>
                    <a:pt x="221" y="310"/>
                    <a:pt x="231" y="316"/>
                    <a:pt x="235" y="316"/>
                  </a:cubicBezTo>
                  <a:cubicBezTo>
                    <a:pt x="239" y="316"/>
                    <a:pt x="249" y="301"/>
                    <a:pt x="249" y="301"/>
                  </a:cubicBezTo>
                  <a:cubicBezTo>
                    <a:pt x="268" y="334"/>
                    <a:pt x="268" y="334"/>
                    <a:pt x="268" y="334"/>
                  </a:cubicBezTo>
                  <a:cubicBezTo>
                    <a:pt x="294" y="333"/>
                    <a:pt x="294" y="333"/>
                    <a:pt x="294" y="333"/>
                  </a:cubicBezTo>
                  <a:cubicBezTo>
                    <a:pt x="296" y="338"/>
                    <a:pt x="335" y="344"/>
                    <a:pt x="335" y="344"/>
                  </a:cubicBezTo>
                  <a:cubicBezTo>
                    <a:pt x="335" y="344"/>
                    <a:pt x="355" y="365"/>
                    <a:pt x="358" y="365"/>
                  </a:cubicBezTo>
                  <a:cubicBezTo>
                    <a:pt x="361" y="365"/>
                    <a:pt x="384" y="364"/>
                    <a:pt x="384" y="364"/>
                  </a:cubicBezTo>
                  <a:cubicBezTo>
                    <a:pt x="414" y="401"/>
                    <a:pt x="414" y="401"/>
                    <a:pt x="414" y="401"/>
                  </a:cubicBezTo>
                  <a:cubicBezTo>
                    <a:pt x="410" y="421"/>
                    <a:pt x="410" y="421"/>
                    <a:pt x="410" y="421"/>
                  </a:cubicBezTo>
                  <a:cubicBezTo>
                    <a:pt x="414" y="432"/>
                    <a:pt x="414" y="432"/>
                    <a:pt x="414" y="432"/>
                  </a:cubicBezTo>
                  <a:cubicBezTo>
                    <a:pt x="414" y="432"/>
                    <a:pt x="426" y="438"/>
                    <a:pt x="422" y="432"/>
                  </a:cubicBezTo>
                  <a:cubicBezTo>
                    <a:pt x="418" y="426"/>
                    <a:pt x="421" y="398"/>
                    <a:pt x="421" y="398"/>
                  </a:cubicBezTo>
                  <a:cubicBezTo>
                    <a:pt x="425" y="403"/>
                    <a:pt x="425" y="403"/>
                    <a:pt x="425" y="403"/>
                  </a:cubicBezTo>
                  <a:cubicBezTo>
                    <a:pt x="442" y="399"/>
                    <a:pt x="442" y="399"/>
                    <a:pt x="442" y="399"/>
                  </a:cubicBezTo>
                  <a:cubicBezTo>
                    <a:pt x="452" y="403"/>
                    <a:pt x="452" y="403"/>
                    <a:pt x="452" y="403"/>
                  </a:cubicBezTo>
                  <a:cubicBezTo>
                    <a:pt x="460" y="391"/>
                    <a:pt x="460" y="391"/>
                    <a:pt x="460" y="391"/>
                  </a:cubicBezTo>
                  <a:cubicBezTo>
                    <a:pt x="466" y="399"/>
                    <a:pt x="466" y="399"/>
                    <a:pt x="466" y="399"/>
                  </a:cubicBezTo>
                  <a:cubicBezTo>
                    <a:pt x="481" y="388"/>
                    <a:pt x="481" y="388"/>
                    <a:pt x="481" y="388"/>
                  </a:cubicBezTo>
                  <a:cubicBezTo>
                    <a:pt x="481" y="388"/>
                    <a:pt x="518" y="389"/>
                    <a:pt x="522" y="390"/>
                  </a:cubicBezTo>
                  <a:cubicBezTo>
                    <a:pt x="517" y="392"/>
                    <a:pt x="502" y="416"/>
                    <a:pt x="502" y="416"/>
                  </a:cubicBezTo>
                  <a:cubicBezTo>
                    <a:pt x="502" y="416"/>
                    <a:pt x="503" y="411"/>
                    <a:pt x="495" y="411"/>
                  </a:cubicBezTo>
                  <a:cubicBezTo>
                    <a:pt x="487" y="411"/>
                    <a:pt x="462" y="407"/>
                    <a:pt x="462" y="407"/>
                  </a:cubicBezTo>
                  <a:cubicBezTo>
                    <a:pt x="487" y="429"/>
                    <a:pt x="487" y="429"/>
                    <a:pt x="487" y="429"/>
                  </a:cubicBezTo>
                  <a:cubicBezTo>
                    <a:pt x="505" y="422"/>
                    <a:pt x="505" y="422"/>
                    <a:pt x="505" y="422"/>
                  </a:cubicBezTo>
                  <a:cubicBezTo>
                    <a:pt x="513" y="428"/>
                    <a:pt x="513" y="428"/>
                    <a:pt x="513" y="428"/>
                  </a:cubicBezTo>
                  <a:cubicBezTo>
                    <a:pt x="517" y="419"/>
                    <a:pt x="517" y="419"/>
                    <a:pt x="517" y="419"/>
                  </a:cubicBezTo>
                  <a:cubicBezTo>
                    <a:pt x="538" y="427"/>
                    <a:pt x="538" y="427"/>
                    <a:pt x="538" y="427"/>
                  </a:cubicBezTo>
                  <a:cubicBezTo>
                    <a:pt x="538" y="427"/>
                    <a:pt x="548" y="420"/>
                    <a:pt x="555" y="424"/>
                  </a:cubicBezTo>
                  <a:cubicBezTo>
                    <a:pt x="562" y="428"/>
                    <a:pt x="557" y="444"/>
                    <a:pt x="557" y="444"/>
                  </a:cubicBezTo>
                  <a:cubicBezTo>
                    <a:pt x="563" y="444"/>
                    <a:pt x="563" y="444"/>
                    <a:pt x="563" y="444"/>
                  </a:cubicBezTo>
                  <a:cubicBezTo>
                    <a:pt x="566" y="454"/>
                    <a:pt x="566" y="454"/>
                    <a:pt x="566" y="454"/>
                  </a:cubicBezTo>
                  <a:cubicBezTo>
                    <a:pt x="555" y="452"/>
                    <a:pt x="555" y="452"/>
                    <a:pt x="555" y="452"/>
                  </a:cubicBezTo>
                  <a:cubicBezTo>
                    <a:pt x="545" y="463"/>
                    <a:pt x="545" y="463"/>
                    <a:pt x="545" y="463"/>
                  </a:cubicBezTo>
                  <a:cubicBezTo>
                    <a:pt x="554" y="487"/>
                    <a:pt x="554" y="487"/>
                    <a:pt x="554" y="487"/>
                  </a:cubicBezTo>
                  <a:cubicBezTo>
                    <a:pt x="567" y="476"/>
                    <a:pt x="567" y="476"/>
                    <a:pt x="567" y="476"/>
                  </a:cubicBezTo>
                  <a:cubicBezTo>
                    <a:pt x="575" y="481"/>
                    <a:pt x="575" y="481"/>
                    <a:pt x="575" y="481"/>
                  </a:cubicBezTo>
                  <a:cubicBezTo>
                    <a:pt x="595" y="481"/>
                    <a:pt x="595" y="481"/>
                    <a:pt x="595" y="481"/>
                  </a:cubicBezTo>
                  <a:cubicBezTo>
                    <a:pt x="596" y="469"/>
                    <a:pt x="596" y="469"/>
                    <a:pt x="596" y="469"/>
                  </a:cubicBezTo>
                  <a:cubicBezTo>
                    <a:pt x="596" y="469"/>
                    <a:pt x="635" y="496"/>
                    <a:pt x="642" y="436"/>
                  </a:cubicBezTo>
                  <a:cubicBezTo>
                    <a:pt x="666" y="409"/>
                    <a:pt x="666" y="409"/>
                    <a:pt x="666" y="409"/>
                  </a:cubicBezTo>
                  <a:cubicBezTo>
                    <a:pt x="674" y="418"/>
                    <a:pt x="674" y="418"/>
                    <a:pt x="674" y="418"/>
                  </a:cubicBezTo>
                  <a:cubicBezTo>
                    <a:pt x="674" y="418"/>
                    <a:pt x="706" y="416"/>
                    <a:pt x="734" y="410"/>
                  </a:cubicBezTo>
                  <a:cubicBezTo>
                    <a:pt x="752" y="389"/>
                    <a:pt x="752" y="389"/>
                    <a:pt x="752" y="389"/>
                  </a:cubicBezTo>
                  <a:cubicBezTo>
                    <a:pt x="778" y="385"/>
                    <a:pt x="778" y="385"/>
                    <a:pt x="778" y="385"/>
                  </a:cubicBezTo>
                  <a:cubicBezTo>
                    <a:pt x="780" y="370"/>
                    <a:pt x="780" y="370"/>
                    <a:pt x="780" y="370"/>
                  </a:cubicBezTo>
                  <a:cubicBezTo>
                    <a:pt x="796" y="377"/>
                    <a:pt x="796" y="377"/>
                    <a:pt x="796" y="377"/>
                  </a:cubicBezTo>
                  <a:cubicBezTo>
                    <a:pt x="799" y="386"/>
                    <a:pt x="799" y="386"/>
                    <a:pt x="799" y="386"/>
                  </a:cubicBezTo>
                  <a:cubicBezTo>
                    <a:pt x="830" y="392"/>
                    <a:pt x="830" y="392"/>
                    <a:pt x="830" y="392"/>
                  </a:cubicBezTo>
                  <a:cubicBezTo>
                    <a:pt x="830" y="392"/>
                    <a:pt x="832" y="378"/>
                    <a:pt x="838" y="366"/>
                  </a:cubicBezTo>
                  <a:cubicBezTo>
                    <a:pt x="843" y="354"/>
                    <a:pt x="848" y="328"/>
                    <a:pt x="870" y="328"/>
                  </a:cubicBezTo>
                  <a:cubicBezTo>
                    <a:pt x="884" y="316"/>
                    <a:pt x="875" y="334"/>
                    <a:pt x="867" y="242"/>
                  </a:cubicBezTo>
                  <a:cubicBezTo>
                    <a:pt x="875" y="214"/>
                    <a:pt x="879" y="220"/>
                    <a:pt x="879" y="220"/>
                  </a:cubicBezTo>
                  <a:lnTo>
                    <a:pt x="872" y="18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2" name="Pays-de-la-Loire" descr="© INSCALE GmbH, 05.05.2010&#10;http://www.presentationload.com/">
              <a:extLst>
                <a:ext uri="{FF2B5EF4-FFF2-40B4-BE49-F238E27FC236}">
                  <a16:creationId xmlns:a16="http://schemas.microsoft.com/office/drawing/2014/main" id="{85508898-E58C-4F8D-BC43-AB4DB22941C3}"/>
                </a:ext>
              </a:extLst>
            </p:cNvPr>
            <p:cNvSpPr>
              <a:spLocks noEditPoints="1"/>
            </p:cNvSpPr>
            <p:nvPr/>
          </p:nvSpPr>
          <p:spPr bwMode="gray">
            <a:xfrm>
              <a:off x="644" y="1006"/>
              <a:ext cx="797" cy="790"/>
            </a:xfrm>
            <a:custGeom>
              <a:avLst/>
              <a:gdLst/>
              <a:ahLst/>
              <a:cxnLst>
                <a:cxn ang="0">
                  <a:pos x="16" y="534"/>
                </a:cxn>
                <a:cxn ang="0">
                  <a:pos x="51" y="448"/>
                </a:cxn>
                <a:cxn ang="0">
                  <a:pos x="219" y="694"/>
                </a:cxn>
                <a:cxn ang="0">
                  <a:pos x="191" y="687"/>
                </a:cxn>
                <a:cxn ang="0">
                  <a:pos x="211" y="706"/>
                </a:cxn>
                <a:cxn ang="0">
                  <a:pos x="222" y="703"/>
                </a:cxn>
                <a:cxn ang="0">
                  <a:pos x="707" y="141"/>
                </a:cxn>
                <a:cxn ang="0">
                  <a:pos x="651" y="103"/>
                </a:cxn>
                <a:cxn ang="0">
                  <a:pos x="541" y="75"/>
                </a:cxn>
                <a:cxn ang="0">
                  <a:pos x="521" y="24"/>
                </a:cxn>
                <a:cxn ang="0">
                  <a:pos x="482" y="25"/>
                </a:cxn>
                <a:cxn ang="0">
                  <a:pos x="439" y="31"/>
                </a:cxn>
                <a:cxn ang="0">
                  <a:pos x="391" y="47"/>
                </a:cxn>
                <a:cxn ang="0">
                  <a:pos x="321" y="28"/>
                </a:cxn>
                <a:cxn ang="0">
                  <a:pos x="314" y="105"/>
                </a:cxn>
                <a:cxn ang="0">
                  <a:pos x="277" y="255"/>
                </a:cxn>
                <a:cxn ang="0">
                  <a:pos x="227" y="233"/>
                </a:cxn>
                <a:cxn ang="0">
                  <a:pos x="181" y="273"/>
                </a:cxn>
                <a:cxn ang="0">
                  <a:pos x="89" y="299"/>
                </a:cxn>
                <a:cxn ang="0">
                  <a:pos x="22" y="344"/>
                </a:cxn>
                <a:cxn ang="0">
                  <a:pos x="3" y="354"/>
                </a:cxn>
                <a:cxn ang="0">
                  <a:pos x="24" y="359"/>
                </a:cxn>
                <a:cxn ang="0">
                  <a:pos x="105" y="349"/>
                </a:cxn>
                <a:cxn ang="0">
                  <a:pos x="67" y="376"/>
                </a:cxn>
                <a:cxn ang="0">
                  <a:pos x="52" y="399"/>
                </a:cxn>
                <a:cxn ang="0">
                  <a:pos x="104" y="444"/>
                </a:cxn>
                <a:cxn ang="0">
                  <a:pos x="72" y="483"/>
                </a:cxn>
                <a:cxn ang="0">
                  <a:pos x="55" y="465"/>
                </a:cxn>
                <a:cxn ang="0">
                  <a:pos x="72" y="511"/>
                </a:cxn>
                <a:cxn ang="0">
                  <a:pos x="135" y="611"/>
                </a:cxn>
                <a:cxn ang="0">
                  <a:pos x="210" y="658"/>
                </a:cxn>
                <a:cxn ang="0">
                  <a:pos x="251" y="669"/>
                </a:cxn>
                <a:cxn ang="0">
                  <a:pos x="287" y="680"/>
                </a:cxn>
                <a:cxn ang="0">
                  <a:pos x="289" y="723"/>
                </a:cxn>
                <a:cxn ang="0">
                  <a:pos x="337" y="729"/>
                </a:cxn>
                <a:cxn ang="0">
                  <a:pos x="385" y="728"/>
                </a:cxn>
                <a:cxn ang="0">
                  <a:pos x="389" y="707"/>
                </a:cxn>
                <a:cxn ang="0">
                  <a:pos x="394" y="664"/>
                </a:cxn>
                <a:cxn ang="0">
                  <a:pos x="386" y="605"/>
                </a:cxn>
                <a:cxn ang="0">
                  <a:pos x="353" y="548"/>
                </a:cxn>
                <a:cxn ang="0">
                  <a:pos x="378" y="511"/>
                </a:cxn>
                <a:cxn ang="0">
                  <a:pos x="434" y="488"/>
                </a:cxn>
                <a:cxn ang="0">
                  <a:pos x="502" y="480"/>
                </a:cxn>
                <a:cxn ang="0">
                  <a:pos x="514" y="483"/>
                </a:cxn>
                <a:cxn ang="0">
                  <a:pos x="549" y="461"/>
                </a:cxn>
                <a:cxn ang="0">
                  <a:pos x="585" y="359"/>
                </a:cxn>
                <a:cxn ang="0">
                  <a:pos x="615" y="320"/>
                </a:cxn>
                <a:cxn ang="0">
                  <a:pos x="674" y="299"/>
                </a:cxn>
                <a:cxn ang="0">
                  <a:pos x="717" y="229"/>
                </a:cxn>
                <a:cxn ang="0">
                  <a:pos x="722" y="192"/>
                </a:cxn>
                <a:cxn ang="0">
                  <a:pos x="725" y="157"/>
                </a:cxn>
                <a:cxn ang="0">
                  <a:pos x="719" y="140"/>
                </a:cxn>
              </a:cxnLst>
              <a:rect l="0" t="0" r="r" b="b"/>
              <a:pathLst>
                <a:path w="739" h="732">
                  <a:moveTo>
                    <a:pt x="16" y="534"/>
                  </a:moveTo>
                  <a:cubicBezTo>
                    <a:pt x="10" y="548"/>
                    <a:pt x="22" y="548"/>
                    <a:pt x="37" y="548"/>
                  </a:cubicBezTo>
                  <a:cubicBezTo>
                    <a:pt x="32" y="535"/>
                    <a:pt x="16" y="534"/>
                    <a:pt x="16" y="534"/>
                  </a:cubicBezTo>
                  <a:close/>
                  <a:moveTo>
                    <a:pt x="38" y="440"/>
                  </a:moveTo>
                  <a:cubicBezTo>
                    <a:pt x="36" y="461"/>
                    <a:pt x="44" y="460"/>
                    <a:pt x="47" y="462"/>
                  </a:cubicBezTo>
                  <a:cubicBezTo>
                    <a:pt x="50" y="464"/>
                    <a:pt x="51" y="458"/>
                    <a:pt x="51" y="448"/>
                  </a:cubicBezTo>
                  <a:cubicBezTo>
                    <a:pt x="51" y="438"/>
                    <a:pt x="38" y="440"/>
                    <a:pt x="38" y="440"/>
                  </a:cubicBezTo>
                  <a:close/>
                  <a:moveTo>
                    <a:pt x="222" y="703"/>
                  </a:moveTo>
                  <a:cubicBezTo>
                    <a:pt x="219" y="694"/>
                    <a:pt x="219" y="694"/>
                    <a:pt x="219" y="694"/>
                  </a:cubicBezTo>
                  <a:cubicBezTo>
                    <a:pt x="201" y="701"/>
                    <a:pt x="201" y="701"/>
                    <a:pt x="201" y="701"/>
                  </a:cubicBezTo>
                  <a:cubicBezTo>
                    <a:pt x="203" y="686"/>
                    <a:pt x="203" y="686"/>
                    <a:pt x="203" y="686"/>
                  </a:cubicBezTo>
                  <a:cubicBezTo>
                    <a:pt x="191" y="687"/>
                    <a:pt x="191" y="687"/>
                    <a:pt x="191" y="687"/>
                  </a:cubicBezTo>
                  <a:cubicBezTo>
                    <a:pt x="190" y="693"/>
                    <a:pt x="190" y="693"/>
                    <a:pt x="190" y="693"/>
                  </a:cubicBezTo>
                  <a:cubicBezTo>
                    <a:pt x="200" y="708"/>
                    <a:pt x="200" y="708"/>
                    <a:pt x="200" y="708"/>
                  </a:cubicBezTo>
                  <a:cubicBezTo>
                    <a:pt x="211" y="706"/>
                    <a:pt x="211" y="706"/>
                    <a:pt x="211" y="706"/>
                  </a:cubicBezTo>
                  <a:cubicBezTo>
                    <a:pt x="230" y="714"/>
                    <a:pt x="230" y="714"/>
                    <a:pt x="230" y="714"/>
                  </a:cubicBezTo>
                  <a:cubicBezTo>
                    <a:pt x="238" y="725"/>
                    <a:pt x="246" y="718"/>
                    <a:pt x="250" y="719"/>
                  </a:cubicBezTo>
                  <a:cubicBezTo>
                    <a:pt x="241" y="705"/>
                    <a:pt x="222" y="703"/>
                    <a:pt x="222" y="703"/>
                  </a:cubicBezTo>
                  <a:close/>
                  <a:moveTo>
                    <a:pt x="719" y="140"/>
                  </a:moveTo>
                  <a:cubicBezTo>
                    <a:pt x="719" y="139"/>
                    <a:pt x="719" y="139"/>
                    <a:pt x="719" y="139"/>
                  </a:cubicBezTo>
                  <a:cubicBezTo>
                    <a:pt x="707" y="141"/>
                    <a:pt x="707" y="141"/>
                    <a:pt x="707" y="141"/>
                  </a:cubicBezTo>
                  <a:cubicBezTo>
                    <a:pt x="683" y="117"/>
                    <a:pt x="683" y="117"/>
                    <a:pt x="683" y="117"/>
                  </a:cubicBezTo>
                  <a:cubicBezTo>
                    <a:pt x="658" y="123"/>
                    <a:pt x="658" y="123"/>
                    <a:pt x="658" y="123"/>
                  </a:cubicBezTo>
                  <a:cubicBezTo>
                    <a:pt x="651" y="103"/>
                    <a:pt x="651" y="103"/>
                    <a:pt x="651" y="103"/>
                  </a:cubicBezTo>
                  <a:cubicBezTo>
                    <a:pt x="651" y="103"/>
                    <a:pt x="638" y="96"/>
                    <a:pt x="631" y="91"/>
                  </a:cubicBezTo>
                  <a:cubicBezTo>
                    <a:pt x="623" y="0"/>
                    <a:pt x="561" y="75"/>
                    <a:pt x="561" y="75"/>
                  </a:cubicBezTo>
                  <a:cubicBezTo>
                    <a:pt x="541" y="75"/>
                    <a:pt x="541" y="75"/>
                    <a:pt x="541" y="75"/>
                  </a:cubicBezTo>
                  <a:cubicBezTo>
                    <a:pt x="537" y="48"/>
                    <a:pt x="537" y="48"/>
                    <a:pt x="537" y="48"/>
                  </a:cubicBezTo>
                  <a:cubicBezTo>
                    <a:pt x="537" y="48"/>
                    <a:pt x="531" y="49"/>
                    <a:pt x="519" y="49"/>
                  </a:cubicBezTo>
                  <a:cubicBezTo>
                    <a:pt x="507" y="49"/>
                    <a:pt x="521" y="24"/>
                    <a:pt x="521" y="24"/>
                  </a:cubicBezTo>
                  <a:cubicBezTo>
                    <a:pt x="521" y="24"/>
                    <a:pt x="498" y="15"/>
                    <a:pt x="494" y="15"/>
                  </a:cubicBezTo>
                  <a:cubicBezTo>
                    <a:pt x="490" y="15"/>
                    <a:pt x="498" y="20"/>
                    <a:pt x="494" y="28"/>
                  </a:cubicBezTo>
                  <a:cubicBezTo>
                    <a:pt x="490" y="36"/>
                    <a:pt x="482" y="25"/>
                    <a:pt x="482" y="25"/>
                  </a:cubicBezTo>
                  <a:cubicBezTo>
                    <a:pt x="467" y="37"/>
                    <a:pt x="467" y="37"/>
                    <a:pt x="467" y="37"/>
                  </a:cubicBezTo>
                  <a:cubicBezTo>
                    <a:pt x="461" y="32"/>
                    <a:pt x="461" y="32"/>
                    <a:pt x="461" y="32"/>
                  </a:cubicBezTo>
                  <a:cubicBezTo>
                    <a:pt x="461" y="32"/>
                    <a:pt x="446" y="31"/>
                    <a:pt x="439" y="31"/>
                  </a:cubicBezTo>
                  <a:cubicBezTo>
                    <a:pt x="434" y="45"/>
                    <a:pt x="411" y="45"/>
                    <a:pt x="411" y="45"/>
                  </a:cubicBezTo>
                  <a:cubicBezTo>
                    <a:pt x="407" y="36"/>
                    <a:pt x="407" y="36"/>
                    <a:pt x="407" y="36"/>
                  </a:cubicBezTo>
                  <a:cubicBezTo>
                    <a:pt x="407" y="36"/>
                    <a:pt x="391" y="37"/>
                    <a:pt x="391" y="47"/>
                  </a:cubicBezTo>
                  <a:cubicBezTo>
                    <a:pt x="391" y="56"/>
                    <a:pt x="366" y="32"/>
                    <a:pt x="366" y="32"/>
                  </a:cubicBezTo>
                  <a:cubicBezTo>
                    <a:pt x="366" y="32"/>
                    <a:pt x="353" y="28"/>
                    <a:pt x="343" y="23"/>
                  </a:cubicBezTo>
                  <a:cubicBezTo>
                    <a:pt x="338" y="30"/>
                    <a:pt x="331" y="31"/>
                    <a:pt x="321" y="28"/>
                  </a:cubicBezTo>
                  <a:cubicBezTo>
                    <a:pt x="319" y="51"/>
                    <a:pt x="319" y="51"/>
                    <a:pt x="319" y="51"/>
                  </a:cubicBezTo>
                  <a:cubicBezTo>
                    <a:pt x="326" y="83"/>
                    <a:pt x="326" y="83"/>
                    <a:pt x="326" y="83"/>
                  </a:cubicBezTo>
                  <a:cubicBezTo>
                    <a:pt x="326" y="83"/>
                    <a:pt x="322" y="77"/>
                    <a:pt x="314" y="105"/>
                  </a:cubicBezTo>
                  <a:cubicBezTo>
                    <a:pt x="322" y="197"/>
                    <a:pt x="331" y="179"/>
                    <a:pt x="317" y="191"/>
                  </a:cubicBezTo>
                  <a:cubicBezTo>
                    <a:pt x="295" y="191"/>
                    <a:pt x="290" y="217"/>
                    <a:pt x="285" y="229"/>
                  </a:cubicBezTo>
                  <a:cubicBezTo>
                    <a:pt x="279" y="241"/>
                    <a:pt x="277" y="255"/>
                    <a:pt x="277" y="255"/>
                  </a:cubicBezTo>
                  <a:cubicBezTo>
                    <a:pt x="246" y="249"/>
                    <a:pt x="246" y="249"/>
                    <a:pt x="246" y="249"/>
                  </a:cubicBezTo>
                  <a:cubicBezTo>
                    <a:pt x="243" y="240"/>
                    <a:pt x="243" y="240"/>
                    <a:pt x="243" y="240"/>
                  </a:cubicBezTo>
                  <a:cubicBezTo>
                    <a:pt x="227" y="233"/>
                    <a:pt x="227" y="233"/>
                    <a:pt x="227" y="233"/>
                  </a:cubicBezTo>
                  <a:cubicBezTo>
                    <a:pt x="225" y="248"/>
                    <a:pt x="225" y="248"/>
                    <a:pt x="225" y="248"/>
                  </a:cubicBezTo>
                  <a:cubicBezTo>
                    <a:pt x="199" y="252"/>
                    <a:pt x="199" y="252"/>
                    <a:pt x="199" y="252"/>
                  </a:cubicBezTo>
                  <a:cubicBezTo>
                    <a:pt x="199" y="252"/>
                    <a:pt x="199" y="252"/>
                    <a:pt x="181" y="273"/>
                  </a:cubicBezTo>
                  <a:cubicBezTo>
                    <a:pt x="153" y="279"/>
                    <a:pt x="121" y="281"/>
                    <a:pt x="121" y="281"/>
                  </a:cubicBezTo>
                  <a:cubicBezTo>
                    <a:pt x="113" y="272"/>
                    <a:pt x="113" y="272"/>
                    <a:pt x="113" y="272"/>
                  </a:cubicBezTo>
                  <a:cubicBezTo>
                    <a:pt x="113" y="272"/>
                    <a:pt x="113" y="272"/>
                    <a:pt x="89" y="299"/>
                  </a:cubicBezTo>
                  <a:cubicBezTo>
                    <a:pt x="82" y="359"/>
                    <a:pt x="43" y="332"/>
                    <a:pt x="43" y="332"/>
                  </a:cubicBezTo>
                  <a:cubicBezTo>
                    <a:pt x="42" y="344"/>
                    <a:pt x="42" y="344"/>
                    <a:pt x="42" y="344"/>
                  </a:cubicBezTo>
                  <a:cubicBezTo>
                    <a:pt x="22" y="344"/>
                    <a:pt x="22" y="344"/>
                    <a:pt x="22" y="344"/>
                  </a:cubicBezTo>
                  <a:cubicBezTo>
                    <a:pt x="14" y="339"/>
                    <a:pt x="14" y="339"/>
                    <a:pt x="14" y="339"/>
                  </a:cubicBezTo>
                  <a:cubicBezTo>
                    <a:pt x="1" y="350"/>
                    <a:pt x="1" y="350"/>
                    <a:pt x="1" y="350"/>
                  </a:cubicBezTo>
                  <a:cubicBezTo>
                    <a:pt x="3" y="354"/>
                    <a:pt x="3" y="354"/>
                    <a:pt x="3" y="354"/>
                  </a:cubicBezTo>
                  <a:cubicBezTo>
                    <a:pt x="0" y="355"/>
                    <a:pt x="0" y="355"/>
                    <a:pt x="0" y="355"/>
                  </a:cubicBezTo>
                  <a:cubicBezTo>
                    <a:pt x="2" y="357"/>
                    <a:pt x="4" y="360"/>
                    <a:pt x="7" y="364"/>
                  </a:cubicBezTo>
                  <a:cubicBezTo>
                    <a:pt x="14" y="363"/>
                    <a:pt x="24" y="359"/>
                    <a:pt x="24" y="359"/>
                  </a:cubicBezTo>
                  <a:cubicBezTo>
                    <a:pt x="24" y="359"/>
                    <a:pt x="39" y="374"/>
                    <a:pt x="45" y="374"/>
                  </a:cubicBezTo>
                  <a:cubicBezTo>
                    <a:pt x="51" y="374"/>
                    <a:pt x="70" y="351"/>
                    <a:pt x="70" y="351"/>
                  </a:cubicBezTo>
                  <a:cubicBezTo>
                    <a:pt x="70" y="351"/>
                    <a:pt x="103" y="344"/>
                    <a:pt x="105" y="349"/>
                  </a:cubicBezTo>
                  <a:cubicBezTo>
                    <a:pt x="107" y="354"/>
                    <a:pt x="96" y="361"/>
                    <a:pt x="96" y="361"/>
                  </a:cubicBezTo>
                  <a:cubicBezTo>
                    <a:pt x="72" y="363"/>
                    <a:pt x="72" y="363"/>
                    <a:pt x="72" y="363"/>
                  </a:cubicBezTo>
                  <a:cubicBezTo>
                    <a:pt x="67" y="376"/>
                    <a:pt x="67" y="376"/>
                    <a:pt x="67" y="376"/>
                  </a:cubicBezTo>
                  <a:cubicBezTo>
                    <a:pt x="71" y="385"/>
                    <a:pt x="71" y="385"/>
                    <a:pt x="71" y="385"/>
                  </a:cubicBezTo>
                  <a:cubicBezTo>
                    <a:pt x="65" y="399"/>
                    <a:pt x="65" y="399"/>
                    <a:pt x="65" y="399"/>
                  </a:cubicBezTo>
                  <a:cubicBezTo>
                    <a:pt x="52" y="399"/>
                    <a:pt x="52" y="399"/>
                    <a:pt x="52" y="399"/>
                  </a:cubicBezTo>
                  <a:cubicBezTo>
                    <a:pt x="52" y="408"/>
                    <a:pt x="52" y="408"/>
                    <a:pt x="52" y="408"/>
                  </a:cubicBezTo>
                  <a:cubicBezTo>
                    <a:pt x="91" y="415"/>
                    <a:pt x="91" y="415"/>
                    <a:pt x="91" y="415"/>
                  </a:cubicBezTo>
                  <a:cubicBezTo>
                    <a:pt x="104" y="444"/>
                    <a:pt x="104" y="444"/>
                    <a:pt x="104" y="444"/>
                  </a:cubicBezTo>
                  <a:cubicBezTo>
                    <a:pt x="95" y="445"/>
                    <a:pt x="95" y="445"/>
                    <a:pt x="95" y="445"/>
                  </a:cubicBezTo>
                  <a:cubicBezTo>
                    <a:pt x="92" y="462"/>
                    <a:pt x="92" y="462"/>
                    <a:pt x="92" y="462"/>
                  </a:cubicBezTo>
                  <a:cubicBezTo>
                    <a:pt x="72" y="483"/>
                    <a:pt x="72" y="483"/>
                    <a:pt x="72" y="483"/>
                  </a:cubicBezTo>
                  <a:cubicBezTo>
                    <a:pt x="69" y="468"/>
                    <a:pt x="69" y="468"/>
                    <a:pt x="69" y="468"/>
                  </a:cubicBezTo>
                  <a:cubicBezTo>
                    <a:pt x="55" y="458"/>
                    <a:pt x="55" y="458"/>
                    <a:pt x="55" y="458"/>
                  </a:cubicBezTo>
                  <a:cubicBezTo>
                    <a:pt x="55" y="465"/>
                    <a:pt x="55" y="465"/>
                    <a:pt x="55" y="465"/>
                  </a:cubicBezTo>
                  <a:cubicBezTo>
                    <a:pt x="55" y="465"/>
                    <a:pt x="62" y="463"/>
                    <a:pt x="63" y="469"/>
                  </a:cubicBezTo>
                  <a:cubicBezTo>
                    <a:pt x="64" y="475"/>
                    <a:pt x="68" y="489"/>
                    <a:pt x="68" y="489"/>
                  </a:cubicBezTo>
                  <a:cubicBezTo>
                    <a:pt x="68" y="489"/>
                    <a:pt x="73" y="508"/>
                    <a:pt x="72" y="511"/>
                  </a:cubicBezTo>
                  <a:cubicBezTo>
                    <a:pt x="91" y="521"/>
                    <a:pt x="103" y="549"/>
                    <a:pt x="103" y="549"/>
                  </a:cubicBezTo>
                  <a:cubicBezTo>
                    <a:pt x="111" y="549"/>
                    <a:pt x="111" y="549"/>
                    <a:pt x="111" y="549"/>
                  </a:cubicBezTo>
                  <a:cubicBezTo>
                    <a:pt x="126" y="569"/>
                    <a:pt x="135" y="611"/>
                    <a:pt x="135" y="611"/>
                  </a:cubicBezTo>
                  <a:cubicBezTo>
                    <a:pt x="135" y="611"/>
                    <a:pt x="135" y="603"/>
                    <a:pt x="149" y="617"/>
                  </a:cubicBezTo>
                  <a:cubicBezTo>
                    <a:pt x="163" y="631"/>
                    <a:pt x="200" y="642"/>
                    <a:pt x="200" y="642"/>
                  </a:cubicBezTo>
                  <a:cubicBezTo>
                    <a:pt x="210" y="658"/>
                    <a:pt x="210" y="658"/>
                    <a:pt x="210" y="658"/>
                  </a:cubicBezTo>
                  <a:cubicBezTo>
                    <a:pt x="210" y="658"/>
                    <a:pt x="229" y="658"/>
                    <a:pt x="235" y="660"/>
                  </a:cubicBezTo>
                  <a:cubicBezTo>
                    <a:pt x="241" y="662"/>
                    <a:pt x="248" y="678"/>
                    <a:pt x="248" y="678"/>
                  </a:cubicBezTo>
                  <a:cubicBezTo>
                    <a:pt x="251" y="669"/>
                    <a:pt x="251" y="669"/>
                    <a:pt x="251" y="669"/>
                  </a:cubicBezTo>
                  <a:cubicBezTo>
                    <a:pt x="265" y="682"/>
                    <a:pt x="265" y="682"/>
                    <a:pt x="265" y="682"/>
                  </a:cubicBezTo>
                  <a:cubicBezTo>
                    <a:pt x="274" y="666"/>
                    <a:pt x="274" y="666"/>
                    <a:pt x="274" y="666"/>
                  </a:cubicBezTo>
                  <a:cubicBezTo>
                    <a:pt x="274" y="666"/>
                    <a:pt x="284" y="675"/>
                    <a:pt x="287" y="680"/>
                  </a:cubicBezTo>
                  <a:cubicBezTo>
                    <a:pt x="290" y="685"/>
                    <a:pt x="262" y="717"/>
                    <a:pt x="262" y="717"/>
                  </a:cubicBezTo>
                  <a:cubicBezTo>
                    <a:pt x="267" y="720"/>
                    <a:pt x="271" y="724"/>
                    <a:pt x="275" y="728"/>
                  </a:cubicBezTo>
                  <a:cubicBezTo>
                    <a:pt x="289" y="723"/>
                    <a:pt x="289" y="723"/>
                    <a:pt x="289" y="723"/>
                  </a:cubicBezTo>
                  <a:cubicBezTo>
                    <a:pt x="322" y="712"/>
                    <a:pt x="322" y="712"/>
                    <a:pt x="322" y="712"/>
                  </a:cubicBezTo>
                  <a:cubicBezTo>
                    <a:pt x="322" y="728"/>
                    <a:pt x="322" y="728"/>
                    <a:pt x="322" y="728"/>
                  </a:cubicBezTo>
                  <a:cubicBezTo>
                    <a:pt x="337" y="729"/>
                    <a:pt x="337" y="729"/>
                    <a:pt x="337" y="729"/>
                  </a:cubicBezTo>
                  <a:cubicBezTo>
                    <a:pt x="346" y="723"/>
                    <a:pt x="346" y="723"/>
                    <a:pt x="346" y="723"/>
                  </a:cubicBezTo>
                  <a:cubicBezTo>
                    <a:pt x="361" y="732"/>
                    <a:pt x="361" y="732"/>
                    <a:pt x="361" y="732"/>
                  </a:cubicBezTo>
                  <a:cubicBezTo>
                    <a:pt x="361" y="732"/>
                    <a:pt x="378" y="728"/>
                    <a:pt x="385" y="728"/>
                  </a:cubicBezTo>
                  <a:cubicBezTo>
                    <a:pt x="391" y="728"/>
                    <a:pt x="391" y="717"/>
                    <a:pt x="391" y="717"/>
                  </a:cubicBezTo>
                  <a:cubicBezTo>
                    <a:pt x="391" y="717"/>
                    <a:pt x="421" y="719"/>
                    <a:pt x="398" y="699"/>
                  </a:cubicBezTo>
                  <a:cubicBezTo>
                    <a:pt x="389" y="707"/>
                    <a:pt x="389" y="707"/>
                    <a:pt x="389" y="707"/>
                  </a:cubicBezTo>
                  <a:cubicBezTo>
                    <a:pt x="393" y="684"/>
                    <a:pt x="393" y="684"/>
                    <a:pt x="393" y="684"/>
                  </a:cubicBezTo>
                  <a:cubicBezTo>
                    <a:pt x="383" y="664"/>
                    <a:pt x="383" y="664"/>
                    <a:pt x="383" y="664"/>
                  </a:cubicBezTo>
                  <a:cubicBezTo>
                    <a:pt x="394" y="664"/>
                    <a:pt x="394" y="664"/>
                    <a:pt x="394" y="664"/>
                  </a:cubicBezTo>
                  <a:cubicBezTo>
                    <a:pt x="394" y="627"/>
                    <a:pt x="394" y="627"/>
                    <a:pt x="394" y="627"/>
                  </a:cubicBezTo>
                  <a:cubicBezTo>
                    <a:pt x="383" y="627"/>
                    <a:pt x="383" y="627"/>
                    <a:pt x="383" y="627"/>
                  </a:cubicBezTo>
                  <a:cubicBezTo>
                    <a:pt x="386" y="605"/>
                    <a:pt x="386" y="605"/>
                    <a:pt x="386" y="605"/>
                  </a:cubicBezTo>
                  <a:cubicBezTo>
                    <a:pt x="371" y="585"/>
                    <a:pt x="371" y="585"/>
                    <a:pt x="371" y="585"/>
                  </a:cubicBezTo>
                  <a:cubicBezTo>
                    <a:pt x="378" y="573"/>
                    <a:pt x="378" y="573"/>
                    <a:pt x="378" y="573"/>
                  </a:cubicBezTo>
                  <a:cubicBezTo>
                    <a:pt x="353" y="548"/>
                    <a:pt x="353" y="548"/>
                    <a:pt x="353" y="548"/>
                  </a:cubicBezTo>
                  <a:cubicBezTo>
                    <a:pt x="357" y="537"/>
                    <a:pt x="357" y="537"/>
                    <a:pt x="357" y="537"/>
                  </a:cubicBezTo>
                  <a:cubicBezTo>
                    <a:pt x="357" y="537"/>
                    <a:pt x="337" y="532"/>
                    <a:pt x="339" y="523"/>
                  </a:cubicBezTo>
                  <a:cubicBezTo>
                    <a:pt x="342" y="513"/>
                    <a:pt x="371" y="503"/>
                    <a:pt x="378" y="511"/>
                  </a:cubicBezTo>
                  <a:cubicBezTo>
                    <a:pt x="385" y="519"/>
                    <a:pt x="413" y="501"/>
                    <a:pt x="413" y="501"/>
                  </a:cubicBezTo>
                  <a:cubicBezTo>
                    <a:pt x="415" y="485"/>
                    <a:pt x="415" y="485"/>
                    <a:pt x="415" y="485"/>
                  </a:cubicBezTo>
                  <a:cubicBezTo>
                    <a:pt x="434" y="488"/>
                    <a:pt x="434" y="488"/>
                    <a:pt x="434" y="488"/>
                  </a:cubicBezTo>
                  <a:cubicBezTo>
                    <a:pt x="433" y="496"/>
                    <a:pt x="433" y="496"/>
                    <a:pt x="433" y="496"/>
                  </a:cubicBezTo>
                  <a:cubicBezTo>
                    <a:pt x="459" y="481"/>
                    <a:pt x="459" y="481"/>
                    <a:pt x="459" y="481"/>
                  </a:cubicBezTo>
                  <a:cubicBezTo>
                    <a:pt x="502" y="480"/>
                    <a:pt x="502" y="480"/>
                    <a:pt x="502" y="480"/>
                  </a:cubicBezTo>
                  <a:cubicBezTo>
                    <a:pt x="499" y="492"/>
                    <a:pt x="499" y="492"/>
                    <a:pt x="499" y="492"/>
                  </a:cubicBezTo>
                  <a:cubicBezTo>
                    <a:pt x="509" y="492"/>
                    <a:pt x="509" y="492"/>
                    <a:pt x="509" y="492"/>
                  </a:cubicBezTo>
                  <a:cubicBezTo>
                    <a:pt x="514" y="483"/>
                    <a:pt x="514" y="483"/>
                    <a:pt x="514" y="483"/>
                  </a:cubicBezTo>
                  <a:cubicBezTo>
                    <a:pt x="519" y="484"/>
                    <a:pt x="519" y="484"/>
                    <a:pt x="519" y="484"/>
                  </a:cubicBezTo>
                  <a:cubicBezTo>
                    <a:pt x="519" y="484"/>
                    <a:pt x="518" y="464"/>
                    <a:pt x="549" y="464"/>
                  </a:cubicBezTo>
                  <a:cubicBezTo>
                    <a:pt x="549" y="463"/>
                    <a:pt x="549" y="462"/>
                    <a:pt x="549" y="461"/>
                  </a:cubicBezTo>
                  <a:cubicBezTo>
                    <a:pt x="546" y="433"/>
                    <a:pt x="575" y="399"/>
                    <a:pt x="575" y="399"/>
                  </a:cubicBezTo>
                  <a:cubicBezTo>
                    <a:pt x="569" y="387"/>
                    <a:pt x="569" y="387"/>
                    <a:pt x="569" y="387"/>
                  </a:cubicBezTo>
                  <a:cubicBezTo>
                    <a:pt x="569" y="387"/>
                    <a:pt x="581" y="369"/>
                    <a:pt x="585" y="359"/>
                  </a:cubicBezTo>
                  <a:cubicBezTo>
                    <a:pt x="578" y="351"/>
                    <a:pt x="589" y="323"/>
                    <a:pt x="589" y="323"/>
                  </a:cubicBezTo>
                  <a:cubicBezTo>
                    <a:pt x="626" y="335"/>
                    <a:pt x="626" y="335"/>
                    <a:pt x="626" y="335"/>
                  </a:cubicBezTo>
                  <a:cubicBezTo>
                    <a:pt x="615" y="320"/>
                    <a:pt x="615" y="320"/>
                    <a:pt x="615" y="320"/>
                  </a:cubicBezTo>
                  <a:cubicBezTo>
                    <a:pt x="615" y="320"/>
                    <a:pt x="626" y="313"/>
                    <a:pt x="625" y="311"/>
                  </a:cubicBezTo>
                  <a:cubicBezTo>
                    <a:pt x="642" y="329"/>
                    <a:pt x="641" y="307"/>
                    <a:pt x="641" y="307"/>
                  </a:cubicBezTo>
                  <a:cubicBezTo>
                    <a:pt x="641" y="307"/>
                    <a:pt x="670" y="300"/>
                    <a:pt x="674" y="299"/>
                  </a:cubicBezTo>
                  <a:cubicBezTo>
                    <a:pt x="658" y="293"/>
                    <a:pt x="690" y="272"/>
                    <a:pt x="690" y="272"/>
                  </a:cubicBezTo>
                  <a:cubicBezTo>
                    <a:pt x="690" y="272"/>
                    <a:pt x="703" y="252"/>
                    <a:pt x="707" y="248"/>
                  </a:cubicBezTo>
                  <a:cubicBezTo>
                    <a:pt x="707" y="233"/>
                    <a:pt x="717" y="229"/>
                    <a:pt x="717" y="229"/>
                  </a:cubicBezTo>
                  <a:cubicBezTo>
                    <a:pt x="725" y="219"/>
                    <a:pt x="725" y="219"/>
                    <a:pt x="725" y="219"/>
                  </a:cubicBezTo>
                  <a:cubicBezTo>
                    <a:pt x="718" y="205"/>
                    <a:pt x="718" y="205"/>
                    <a:pt x="718" y="205"/>
                  </a:cubicBezTo>
                  <a:cubicBezTo>
                    <a:pt x="722" y="192"/>
                    <a:pt x="722" y="192"/>
                    <a:pt x="722" y="192"/>
                  </a:cubicBezTo>
                  <a:cubicBezTo>
                    <a:pt x="714" y="180"/>
                    <a:pt x="714" y="180"/>
                    <a:pt x="714" y="180"/>
                  </a:cubicBezTo>
                  <a:cubicBezTo>
                    <a:pt x="725" y="175"/>
                    <a:pt x="725" y="175"/>
                    <a:pt x="725" y="175"/>
                  </a:cubicBezTo>
                  <a:cubicBezTo>
                    <a:pt x="725" y="157"/>
                    <a:pt x="725" y="157"/>
                    <a:pt x="725" y="157"/>
                  </a:cubicBezTo>
                  <a:cubicBezTo>
                    <a:pt x="739" y="156"/>
                    <a:pt x="739" y="156"/>
                    <a:pt x="739" y="156"/>
                  </a:cubicBezTo>
                  <a:cubicBezTo>
                    <a:pt x="739" y="147"/>
                    <a:pt x="739" y="147"/>
                    <a:pt x="739" y="147"/>
                  </a:cubicBezTo>
                  <a:lnTo>
                    <a:pt x="719" y="14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3" name="POitou-Charentes" descr="© INSCALE GmbH, 05.05.2010&#10;http://www.presentationload.com/">
              <a:extLst>
                <a:ext uri="{FF2B5EF4-FFF2-40B4-BE49-F238E27FC236}">
                  <a16:creationId xmlns:a16="http://schemas.microsoft.com/office/drawing/2014/main" id="{3AE2A17A-E1A4-415C-BCBD-27B07359DE41}"/>
                </a:ext>
              </a:extLst>
            </p:cNvPr>
            <p:cNvSpPr>
              <a:spLocks noEditPoints="1"/>
            </p:cNvSpPr>
            <p:nvPr/>
          </p:nvSpPr>
          <p:spPr bwMode="gray">
            <a:xfrm>
              <a:off x="881" y="1507"/>
              <a:ext cx="619" cy="717"/>
            </a:xfrm>
            <a:custGeom>
              <a:avLst/>
              <a:gdLst/>
              <a:ahLst/>
              <a:cxnLst>
                <a:cxn ang="0">
                  <a:pos x="39" y="333"/>
                </a:cxn>
                <a:cxn ang="0">
                  <a:pos x="19" y="308"/>
                </a:cxn>
                <a:cxn ang="0">
                  <a:pos x="6" y="327"/>
                </a:cxn>
                <a:cxn ang="0">
                  <a:pos x="32" y="355"/>
                </a:cxn>
                <a:cxn ang="0">
                  <a:pos x="46" y="345"/>
                </a:cxn>
                <a:cxn ang="0">
                  <a:pos x="559" y="229"/>
                </a:cxn>
                <a:cxn ang="0">
                  <a:pos x="533" y="197"/>
                </a:cxn>
                <a:cxn ang="0">
                  <a:pos x="486" y="111"/>
                </a:cxn>
                <a:cxn ang="0">
                  <a:pos x="434" y="52"/>
                </a:cxn>
                <a:cxn ang="0">
                  <a:pos x="419" y="65"/>
                </a:cxn>
                <a:cxn ang="0">
                  <a:pos x="393" y="67"/>
                </a:cxn>
                <a:cxn ang="0">
                  <a:pos x="382" y="39"/>
                </a:cxn>
                <a:cxn ang="0">
                  <a:pos x="369" y="28"/>
                </a:cxn>
                <a:cxn ang="0">
                  <a:pos x="355" y="21"/>
                </a:cxn>
                <a:cxn ang="0">
                  <a:pos x="299" y="20"/>
                </a:cxn>
                <a:cxn ang="0">
                  <a:pos x="289" y="28"/>
                </a:cxn>
                <a:cxn ang="0">
                  <a:pos x="282" y="16"/>
                </a:cxn>
                <a:cxn ang="0">
                  <a:pos x="213" y="32"/>
                </a:cxn>
                <a:cxn ang="0">
                  <a:pos x="195" y="21"/>
                </a:cxn>
                <a:cxn ang="0">
                  <a:pos x="158" y="47"/>
                </a:cxn>
                <a:cxn ang="0">
                  <a:pos x="137" y="73"/>
                </a:cxn>
                <a:cxn ang="0">
                  <a:pos x="158" y="109"/>
                </a:cxn>
                <a:cxn ang="0">
                  <a:pos x="166" y="141"/>
                </a:cxn>
                <a:cxn ang="0">
                  <a:pos x="174" y="163"/>
                </a:cxn>
                <a:cxn ang="0">
                  <a:pos x="163" y="200"/>
                </a:cxn>
                <a:cxn ang="0">
                  <a:pos x="169" y="243"/>
                </a:cxn>
                <a:cxn ang="0">
                  <a:pos x="171" y="253"/>
                </a:cxn>
                <a:cxn ang="0">
                  <a:pos x="141" y="268"/>
                </a:cxn>
                <a:cxn ang="0">
                  <a:pos x="117" y="265"/>
                </a:cxn>
                <a:cxn ang="0">
                  <a:pos x="102" y="248"/>
                </a:cxn>
                <a:cxn ang="0">
                  <a:pos x="55" y="264"/>
                </a:cxn>
                <a:cxn ang="0">
                  <a:pos x="64" y="309"/>
                </a:cxn>
                <a:cxn ang="0">
                  <a:pos x="69" y="324"/>
                </a:cxn>
                <a:cxn ang="0">
                  <a:pos x="63" y="352"/>
                </a:cxn>
                <a:cxn ang="0">
                  <a:pos x="58" y="367"/>
                </a:cxn>
                <a:cxn ang="0">
                  <a:pos x="44" y="372"/>
                </a:cxn>
                <a:cxn ang="0">
                  <a:pos x="37" y="406"/>
                </a:cxn>
                <a:cxn ang="0">
                  <a:pos x="80" y="427"/>
                </a:cxn>
                <a:cxn ang="0">
                  <a:pos x="103" y="454"/>
                </a:cxn>
                <a:cxn ang="0">
                  <a:pos x="147" y="539"/>
                </a:cxn>
                <a:cxn ang="0">
                  <a:pos x="152" y="564"/>
                </a:cxn>
                <a:cxn ang="0">
                  <a:pos x="151" y="581"/>
                </a:cxn>
                <a:cxn ang="0">
                  <a:pos x="171" y="593"/>
                </a:cxn>
                <a:cxn ang="0">
                  <a:pos x="210" y="643"/>
                </a:cxn>
                <a:cxn ang="0">
                  <a:pos x="293" y="652"/>
                </a:cxn>
                <a:cxn ang="0">
                  <a:pos x="327" y="625"/>
                </a:cxn>
                <a:cxn ang="0">
                  <a:pos x="357" y="597"/>
                </a:cxn>
                <a:cxn ang="0">
                  <a:pos x="405" y="524"/>
                </a:cxn>
                <a:cxn ang="0">
                  <a:pos x="411" y="495"/>
                </a:cxn>
                <a:cxn ang="0">
                  <a:pos x="461" y="451"/>
                </a:cxn>
                <a:cxn ang="0">
                  <a:pos x="481" y="439"/>
                </a:cxn>
                <a:cxn ang="0">
                  <a:pos x="487" y="395"/>
                </a:cxn>
                <a:cxn ang="0">
                  <a:pos x="513" y="391"/>
                </a:cxn>
                <a:cxn ang="0">
                  <a:pos x="490" y="332"/>
                </a:cxn>
                <a:cxn ang="0">
                  <a:pos x="494" y="301"/>
                </a:cxn>
                <a:cxn ang="0">
                  <a:pos x="529" y="287"/>
                </a:cxn>
                <a:cxn ang="0">
                  <a:pos x="555" y="263"/>
                </a:cxn>
                <a:cxn ang="0">
                  <a:pos x="570" y="252"/>
                </a:cxn>
              </a:cxnLst>
              <a:rect l="0" t="0" r="r" b="b"/>
              <a:pathLst>
                <a:path w="574" h="665">
                  <a:moveTo>
                    <a:pt x="46" y="345"/>
                  </a:moveTo>
                  <a:cubicBezTo>
                    <a:pt x="39" y="333"/>
                    <a:pt x="39" y="333"/>
                    <a:pt x="39" y="333"/>
                  </a:cubicBezTo>
                  <a:cubicBezTo>
                    <a:pt x="38" y="311"/>
                    <a:pt x="38" y="311"/>
                    <a:pt x="38" y="311"/>
                  </a:cubicBezTo>
                  <a:cubicBezTo>
                    <a:pt x="19" y="308"/>
                    <a:pt x="19" y="308"/>
                    <a:pt x="19" y="308"/>
                  </a:cubicBezTo>
                  <a:cubicBezTo>
                    <a:pt x="4" y="289"/>
                    <a:pt x="4" y="289"/>
                    <a:pt x="4" y="289"/>
                  </a:cubicBezTo>
                  <a:cubicBezTo>
                    <a:pt x="0" y="293"/>
                    <a:pt x="6" y="327"/>
                    <a:pt x="6" y="327"/>
                  </a:cubicBezTo>
                  <a:cubicBezTo>
                    <a:pt x="19" y="337"/>
                    <a:pt x="19" y="337"/>
                    <a:pt x="19" y="337"/>
                  </a:cubicBezTo>
                  <a:cubicBezTo>
                    <a:pt x="32" y="355"/>
                    <a:pt x="32" y="355"/>
                    <a:pt x="32" y="355"/>
                  </a:cubicBezTo>
                  <a:cubicBezTo>
                    <a:pt x="36" y="368"/>
                    <a:pt x="36" y="368"/>
                    <a:pt x="36" y="368"/>
                  </a:cubicBezTo>
                  <a:lnTo>
                    <a:pt x="46" y="345"/>
                  </a:lnTo>
                  <a:close/>
                  <a:moveTo>
                    <a:pt x="574" y="241"/>
                  </a:moveTo>
                  <a:cubicBezTo>
                    <a:pt x="574" y="241"/>
                    <a:pt x="563" y="236"/>
                    <a:pt x="559" y="229"/>
                  </a:cubicBezTo>
                  <a:cubicBezTo>
                    <a:pt x="553" y="187"/>
                    <a:pt x="534" y="208"/>
                    <a:pt x="534" y="208"/>
                  </a:cubicBezTo>
                  <a:cubicBezTo>
                    <a:pt x="534" y="208"/>
                    <a:pt x="537" y="199"/>
                    <a:pt x="533" y="197"/>
                  </a:cubicBezTo>
                  <a:cubicBezTo>
                    <a:pt x="505" y="196"/>
                    <a:pt x="510" y="167"/>
                    <a:pt x="511" y="153"/>
                  </a:cubicBezTo>
                  <a:cubicBezTo>
                    <a:pt x="479" y="120"/>
                    <a:pt x="503" y="127"/>
                    <a:pt x="486" y="111"/>
                  </a:cubicBezTo>
                  <a:cubicBezTo>
                    <a:pt x="469" y="95"/>
                    <a:pt x="466" y="63"/>
                    <a:pt x="466" y="63"/>
                  </a:cubicBezTo>
                  <a:cubicBezTo>
                    <a:pt x="434" y="52"/>
                    <a:pt x="434" y="52"/>
                    <a:pt x="434" y="52"/>
                  </a:cubicBezTo>
                  <a:cubicBezTo>
                    <a:pt x="442" y="65"/>
                    <a:pt x="442" y="65"/>
                    <a:pt x="442" y="65"/>
                  </a:cubicBezTo>
                  <a:cubicBezTo>
                    <a:pt x="419" y="65"/>
                    <a:pt x="419" y="65"/>
                    <a:pt x="419" y="65"/>
                  </a:cubicBezTo>
                  <a:cubicBezTo>
                    <a:pt x="405" y="73"/>
                    <a:pt x="405" y="73"/>
                    <a:pt x="405" y="73"/>
                  </a:cubicBezTo>
                  <a:cubicBezTo>
                    <a:pt x="393" y="67"/>
                    <a:pt x="393" y="67"/>
                    <a:pt x="393" y="67"/>
                  </a:cubicBezTo>
                  <a:cubicBezTo>
                    <a:pt x="393" y="67"/>
                    <a:pt x="394" y="73"/>
                    <a:pt x="382" y="69"/>
                  </a:cubicBezTo>
                  <a:cubicBezTo>
                    <a:pt x="370" y="65"/>
                    <a:pt x="382" y="39"/>
                    <a:pt x="382" y="39"/>
                  </a:cubicBezTo>
                  <a:cubicBezTo>
                    <a:pt x="373" y="35"/>
                    <a:pt x="373" y="35"/>
                    <a:pt x="373" y="35"/>
                  </a:cubicBezTo>
                  <a:cubicBezTo>
                    <a:pt x="369" y="28"/>
                    <a:pt x="369" y="28"/>
                    <a:pt x="369" y="28"/>
                  </a:cubicBezTo>
                  <a:cubicBezTo>
                    <a:pt x="355" y="35"/>
                    <a:pt x="355" y="35"/>
                    <a:pt x="355" y="35"/>
                  </a:cubicBezTo>
                  <a:cubicBezTo>
                    <a:pt x="355" y="21"/>
                    <a:pt x="355" y="21"/>
                    <a:pt x="355" y="21"/>
                  </a:cubicBezTo>
                  <a:cubicBezTo>
                    <a:pt x="355" y="21"/>
                    <a:pt x="333" y="25"/>
                    <a:pt x="329" y="0"/>
                  </a:cubicBezTo>
                  <a:cubicBezTo>
                    <a:pt x="298" y="0"/>
                    <a:pt x="299" y="20"/>
                    <a:pt x="299" y="20"/>
                  </a:cubicBezTo>
                  <a:cubicBezTo>
                    <a:pt x="294" y="19"/>
                    <a:pt x="294" y="19"/>
                    <a:pt x="294" y="19"/>
                  </a:cubicBezTo>
                  <a:cubicBezTo>
                    <a:pt x="289" y="28"/>
                    <a:pt x="289" y="28"/>
                    <a:pt x="289" y="28"/>
                  </a:cubicBezTo>
                  <a:cubicBezTo>
                    <a:pt x="279" y="28"/>
                    <a:pt x="279" y="28"/>
                    <a:pt x="279" y="28"/>
                  </a:cubicBezTo>
                  <a:cubicBezTo>
                    <a:pt x="282" y="16"/>
                    <a:pt x="282" y="16"/>
                    <a:pt x="282" y="16"/>
                  </a:cubicBezTo>
                  <a:cubicBezTo>
                    <a:pt x="239" y="17"/>
                    <a:pt x="239" y="17"/>
                    <a:pt x="239" y="17"/>
                  </a:cubicBezTo>
                  <a:cubicBezTo>
                    <a:pt x="213" y="32"/>
                    <a:pt x="213" y="32"/>
                    <a:pt x="213" y="32"/>
                  </a:cubicBezTo>
                  <a:cubicBezTo>
                    <a:pt x="214" y="24"/>
                    <a:pt x="214" y="24"/>
                    <a:pt x="214" y="24"/>
                  </a:cubicBezTo>
                  <a:cubicBezTo>
                    <a:pt x="195" y="21"/>
                    <a:pt x="195" y="21"/>
                    <a:pt x="195" y="21"/>
                  </a:cubicBezTo>
                  <a:cubicBezTo>
                    <a:pt x="193" y="37"/>
                    <a:pt x="193" y="37"/>
                    <a:pt x="193" y="37"/>
                  </a:cubicBezTo>
                  <a:cubicBezTo>
                    <a:pt x="193" y="37"/>
                    <a:pt x="165" y="55"/>
                    <a:pt x="158" y="47"/>
                  </a:cubicBezTo>
                  <a:cubicBezTo>
                    <a:pt x="151" y="39"/>
                    <a:pt x="122" y="49"/>
                    <a:pt x="119" y="59"/>
                  </a:cubicBezTo>
                  <a:cubicBezTo>
                    <a:pt x="117" y="68"/>
                    <a:pt x="137" y="73"/>
                    <a:pt x="137" y="73"/>
                  </a:cubicBezTo>
                  <a:cubicBezTo>
                    <a:pt x="133" y="84"/>
                    <a:pt x="133" y="84"/>
                    <a:pt x="133" y="84"/>
                  </a:cubicBezTo>
                  <a:cubicBezTo>
                    <a:pt x="158" y="109"/>
                    <a:pt x="158" y="109"/>
                    <a:pt x="158" y="109"/>
                  </a:cubicBezTo>
                  <a:cubicBezTo>
                    <a:pt x="151" y="121"/>
                    <a:pt x="151" y="121"/>
                    <a:pt x="151" y="121"/>
                  </a:cubicBezTo>
                  <a:cubicBezTo>
                    <a:pt x="166" y="141"/>
                    <a:pt x="166" y="141"/>
                    <a:pt x="166" y="141"/>
                  </a:cubicBezTo>
                  <a:cubicBezTo>
                    <a:pt x="163" y="163"/>
                    <a:pt x="163" y="163"/>
                    <a:pt x="163" y="163"/>
                  </a:cubicBezTo>
                  <a:cubicBezTo>
                    <a:pt x="174" y="163"/>
                    <a:pt x="174" y="163"/>
                    <a:pt x="174" y="163"/>
                  </a:cubicBezTo>
                  <a:cubicBezTo>
                    <a:pt x="174" y="200"/>
                    <a:pt x="174" y="200"/>
                    <a:pt x="174" y="200"/>
                  </a:cubicBezTo>
                  <a:cubicBezTo>
                    <a:pt x="163" y="200"/>
                    <a:pt x="163" y="200"/>
                    <a:pt x="163" y="200"/>
                  </a:cubicBezTo>
                  <a:cubicBezTo>
                    <a:pt x="173" y="220"/>
                    <a:pt x="173" y="220"/>
                    <a:pt x="173" y="220"/>
                  </a:cubicBezTo>
                  <a:cubicBezTo>
                    <a:pt x="169" y="243"/>
                    <a:pt x="169" y="243"/>
                    <a:pt x="169" y="243"/>
                  </a:cubicBezTo>
                  <a:cubicBezTo>
                    <a:pt x="178" y="235"/>
                    <a:pt x="178" y="235"/>
                    <a:pt x="178" y="235"/>
                  </a:cubicBezTo>
                  <a:cubicBezTo>
                    <a:pt x="201" y="255"/>
                    <a:pt x="171" y="253"/>
                    <a:pt x="171" y="253"/>
                  </a:cubicBezTo>
                  <a:cubicBezTo>
                    <a:pt x="171" y="253"/>
                    <a:pt x="171" y="264"/>
                    <a:pt x="165" y="264"/>
                  </a:cubicBezTo>
                  <a:cubicBezTo>
                    <a:pt x="158" y="264"/>
                    <a:pt x="141" y="268"/>
                    <a:pt x="141" y="268"/>
                  </a:cubicBezTo>
                  <a:cubicBezTo>
                    <a:pt x="126" y="259"/>
                    <a:pt x="126" y="259"/>
                    <a:pt x="126" y="259"/>
                  </a:cubicBezTo>
                  <a:cubicBezTo>
                    <a:pt x="117" y="265"/>
                    <a:pt x="117" y="265"/>
                    <a:pt x="117" y="265"/>
                  </a:cubicBezTo>
                  <a:cubicBezTo>
                    <a:pt x="102" y="264"/>
                    <a:pt x="102" y="264"/>
                    <a:pt x="102" y="264"/>
                  </a:cubicBezTo>
                  <a:cubicBezTo>
                    <a:pt x="102" y="248"/>
                    <a:pt x="102" y="248"/>
                    <a:pt x="102" y="248"/>
                  </a:cubicBezTo>
                  <a:cubicBezTo>
                    <a:pt x="69" y="259"/>
                    <a:pt x="69" y="259"/>
                    <a:pt x="69" y="259"/>
                  </a:cubicBezTo>
                  <a:cubicBezTo>
                    <a:pt x="55" y="264"/>
                    <a:pt x="55" y="264"/>
                    <a:pt x="55" y="264"/>
                  </a:cubicBezTo>
                  <a:cubicBezTo>
                    <a:pt x="71" y="282"/>
                    <a:pt x="78" y="307"/>
                    <a:pt x="78" y="307"/>
                  </a:cubicBezTo>
                  <a:cubicBezTo>
                    <a:pt x="64" y="309"/>
                    <a:pt x="64" y="309"/>
                    <a:pt x="64" y="309"/>
                  </a:cubicBezTo>
                  <a:cubicBezTo>
                    <a:pt x="69" y="320"/>
                    <a:pt x="69" y="320"/>
                    <a:pt x="69" y="320"/>
                  </a:cubicBezTo>
                  <a:cubicBezTo>
                    <a:pt x="69" y="324"/>
                    <a:pt x="69" y="324"/>
                    <a:pt x="69" y="324"/>
                  </a:cubicBezTo>
                  <a:cubicBezTo>
                    <a:pt x="71" y="335"/>
                    <a:pt x="71" y="335"/>
                    <a:pt x="71" y="335"/>
                  </a:cubicBezTo>
                  <a:cubicBezTo>
                    <a:pt x="63" y="352"/>
                    <a:pt x="63" y="352"/>
                    <a:pt x="63" y="352"/>
                  </a:cubicBezTo>
                  <a:cubicBezTo>
                    <a:pt x="52" y="352"/>
                    <a:pt x="52" y="352"/>
                    <a:pt x="52" y="352"/>
                  </a:cubicBezTo>
                  <a:cubicBezTo>
                    <a:pt x="58" y="367"/>
                    <a:pt x="58" y="367"/>
                    <a:pt x="58" y="367"/>
                  </a:cubicBezTo>
                  <a:cubicBezTo>
                    <a:pt x="67" y="382"/>
                    <a:pt x="67" y="382"/>
                    <a:pt x="67" y="382"/>
                  </a:cubicBezTo>
                  <a:cubicBezTo>
                    <a:pt x="67" y="382"/>
                    <a:pt x="51" y="372"/>
                    <a:pt x="44" y="372"/>
                  </a:cubicBezTo>
                  <a:cubicBezTo>
                    <a:pt x="37" y="372"/>
                    <a:pt x="35" y="378"/>
                    <a:pt x="33" y="389"/>
                  </a:cubicBezTo>
                  <a:cubicBezTo>
                    <a:pt x="31" y="400"/>
                    <a:pt x="37" y="406"/>
                    <a:pt x="37" y="406"/>
                  </a:cubicBezTo>
                  <a:cubicBezTo>
                    <a:pt x="70" y="427"/>
                    <a:pt x="70" y="427"/>
                    <a:pt x="70" y="427"/>
                  </a:cubicBezTo>
                  <a:cubicBezTo>
                    <a:pt x="80" y="427"/>
                    <a:pt x="80" y="427"/>
                    <a:pt x="80" y="427"/>
                  </a:cubicBezTo>
                  <a:cubicBezTo>
                    <a:pt x="93" y="454"/>
                    <a:pt x="93" y="454"/>
                    <a:pt x="93" y="454"/>
                  </a:cubicBezTo>
                  <a:cubicBezTo>
                    <a:pt x="103" y="454"/>
                    <a:pt x="103" y="454"/>
                    <a:pt x="103" y="454"/>
                  </a:cubicBezTo>
                  <a:cubicBezTo>
                    <a:pt x="103" y="454"/>
                    <a:pt x="104" y="457"/>
                    <a:pt x="114" y="462"/>
                  </a:cubicBezTo>
                  <a:cubicBezTo>
                    <a:pt x="124" y="467"/>
                    <a:pt x="147" y="539"/>
                    <a:pt x="147" y="539"/>
                  </a:cubicBezTo>
                  <a:cubicBezTo>
                    <a:pt x="145" y="553"/>
                    <a:pt x="145" y="553"/>
                    <a:pt x="145" y="553"/>
                  </a:cubicBezTo>
                  <a:cubicBezTo>
                    <a:pt x="152" y="564"/>
                    <a:pt x="152" y="564"/>
                    <a:pt x="152" y="564"/>
                  </a:cubicBezTo>
                  <a:cubicBezTo>
                    <a:pt x="148" y="576"/>
                    <a:pt x="148" y="576"/>
                    <a:pt x="148" y="576"/>
                  </a:cubicBezTo>
                  <a:cubicBezTo>
                    <a:pt x="148" y="576"/>
                    <a:pt x="149" y="578"/>
                    <a:pt x="151" y="581"/>
                  </a:cubicBezTo>
                  <a:cubicBezTo>
                    <a:pt x="165" y="580"/>
                    <a:pt x="165" y="580"/>
                    <a:pt x="165" y="580"/>
                  </a:cubicBezTo>
                  <a:cubicBezTo>
                    <a:pt x="171" y="593"/>
                    <a:pt x="171" y="593"/>
                    <a:pt x="171" y="593"/>
                  </a:cubicBezTo>
                  <a:cubicBezTo>
                    <a:pt x="171" y="593"/>
                    <a:pt x="211" y="604"/>
                    <a:pt x="205" y="619"/>
                  </a:cubicBezTo>
                  <a:cubicBezTo>
                    <a:pt x="210" y="637"/>
                    <a:pt x="210" y="643"/>
                    <a:pt x="210" y="643"/>
                  </a:cubicBezTo>
                  <a:cubicBezTo>
                    <a:pt x="210" y="643"/>
                    <a:pt x="218" y="628"/>
                    <a:pt x="235" y="645"/>
                  </a:cubicBezTo>
                  <a:cubicBezTo>
                    <a:pt x="253" y="663"/>
                    <a:pt x="286" y="665"/>
                    <a:pt x="293" y="652"/>
                  </a:cubicBezTo>
                  <a:cubicBezTo>
                    <a:pt x="299" y="639"/>
                    <a:pt x="315" y="616"/>
                    <a:pt x="315" y="616"/>
                  </a:cubicBezTo>
                  <a:cubicBezTo>
                    <a:pt x="315" y="616"/>
                    <a:pt x="323" y="625"/>
                    <a:pt x="327" y="625"/>
                  </a:cubicBezTo>
                  <a:cubicBezTo>
                    <a:pt x="331" y="625"/>
                    <a:pt x="350" y="597"/>
                    <a:pt x="350" y="597"/>
                  </a:cubicBezTo>
                  <a:cubicBezTo>
                    <a:pt x="357" y="597"/>
                    <a:pt x="357" y="597"/>
                    <a:pt x="357" y="597"/>
                  </a:cubicBezTo>
                  <a:cubicBezTo>
                    <a:pt x="357" y="597"/>
                    <a:pt x="345" y="544"/>
                    <a:pt x="397" y="537"/>
                  </a:cubicBezTo>
                  <a:cubicBezTo>
                    <a:pt x="401" y="523"/>
                    <a:pt x="405" y="524"/>
                    <a:pt x="405" y="524"/>
                  </a:cubicBezTo>
                  <a:cubicBezTo>
                    <a:pt x="417" y="523"/>
                    <a:pt x="417" y="523"/>
                    <a:pt x="417" y="523"/>
                  </a:cubicBezTo>
                  <a:cubicBezTo>
                    <a:pt x="417" y="523"/>
                    <a:pt x="407" y="495"/>
                    <a:pt x="411" y="495"/>
                  </a:cubicBezTo>
                  <a:cubicBezTo>
                    <a:pt x="415" y="495"/>
                    <a:pt x="426" y="493"/>
                    <a:pt x="426" y="493"/>
                  </a:cubicBezTo>
                  <a:cubicBezTo>
                    <a:pt x="461" y="451"/>
                    <a:pt x="461" y="451"/>
                    <a:pt x="461" y="451"/>
                  </a:cubicBezTo>
                  <a:cubicBezTo>
                    <a:pt x="461" y="443"/>
                    <a:pt x="461" y="443"/>
                    <a:pt x="461" y="443"/>
                  </a:cubicBezTo>
                  <a:cubicBezTo>
                    <a:pt x="481" y="439"/>
                    <a:pt x="481" y="439"/>
                    <a:pt x="481" y="439"/>
                  </a:cubicBezTo>
                  <a:cubicBezTo>
                    <a:pt x="489" y="413"/>
                    <a:pt x="489" y="413"/>
                    <a:pt x="489" y="413"/>
                  </a:cubicBezTo>
                  <a:cubicBezTo>
                    <a:pt x="489" y="413"/>
                    <a:pt x="483" y="393"/>
                    <a:pt x="487" y="395"/>
                  </a:cubicBezTo>
                  <a:cubicBezTo>
                    <a:pt x="491" y="396"/>
                    <a:pt x="501" y="399"/>
                    <a:pt x="501" y="399"/>
                  </a:cubicBezTo>
                  <a:cubicBezTo>
                    <a:pt x="513" y="391"/>
                    <a:pt x="513" y="391"/>
                    <a:pt x="513" y="391"/>
                  </a:cubicBezTo>
                  <a:cubicBezTo>
                    <a:pt x="506" y="371"/>
                    <a:pt x="506" y="371"/>
                    <a:pt x="506" y="371"/>
                  </a:cubicBezTo>
                  <a:cubicBezTo>
                    <a:pt x="506" y="371"/>
                    <a:pt x="478" y="372"/>
                    <a:pt x="490" y="332"/>
                  </a:cubicBezTo>
                  <a:cubicBezTo>
                    <a:pt x="482" y="311"/>
                    <a:pt x="482" y="311"/>
                    <a:pt x="482" y="311"/>
                  </a:cubicBezTo>
                  <a:cubicBezTo>
                    <a:pt x="494" y="301"/>
                    <a:pt x="494" y="301"/>
                    <a:pt x="494" y="301"/>
                  </a:cubicBezTo>
                  <a:cubicBezTo>
                    <a:pt x="510" y="285"/>
                    <a:pt x="510" y="285"/>
                    <a:pt x="510" y="285"/>
                  </a:cubicBezTo>
                  <a:cubicBezTo>
                    <a:pt x="529" y="287"/>
                    <a:pt x="529" y="287"/>
                    <a:pt x="529" y="287"/>
                  </a:cubicBezTo>
                  <a:cubicBezTo>
                    <a:pt x="541" y="261"/>
                    <a:pt x="541" y="261"/>
                    <a:pt x="541" y="261"/>
                  </a:cubicBezTo>
                  <a:cubicBezTo>
                    <a:pt x="555" y="263"/>
                    <a:pt x="555" y="263"/>
                    <a:pt x="555" y="263"/>
                  </a:cubicBezTo>
                  <a:cubicBezTo>
                    <a:pt x="573" y="256"/>
                    <a:pt x="573" y="256"/>
                    <a:pt x="573" y="256"/>
                  </a:cubicBezTo>
                  <a:cubicBezTo>
                    <a:pt x="570" y="252"/>
                    <a:pt x="570" y="252"/>
                    <a:pt x="570" y="252"/>
                  </a:cubicBezTo>
                  <a:lnTo>
                    <a:pt x="574" y="241"/>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4" name="Limousin" descr="© INSCALE GmbH, 05.05.2010&#10;http://www.presentationload.com/">
              <a:extLst>
                <a:ext uri="{FF2B5EF4-FFF2-40B4-BE49-F238E27FC236}">
                  <a16:creationId xmlns:a16="http://schemas.microsoft.com/office/drawing/2014/main" id="{4FA2DC5F-8B28-45E5-99F2-EB35462EE5EB}"/>
                </a:ext>
              </a:extLst>
            </p:cNvPr>
            <p:cNvSpPr>
              <a:spLocks/>
            </p:cNvSpPr>
            <p:nvPr/>
          </p:nvSpPr>
          <p:spPr bwMode="gray">
            <a:xfrm>
              <a:off x="1360" y="1756"/>
              <a:ext cx="473" cy="536"/>
            </a:xfrm>
            <a:custGeom>
              <a:avLst/>
              <a:gdLst/>
              <a:ahLst/>
              <a:cxnLst>
                <a:cxn ang="0">
                  <a:pos x="50" y="266"/>
                </a:cxn>
                <a:cxn ang="0">
                  <a:pos x="97" y="293"/>
                </a:cxn>
                <a:cxn ang="0">
                  <a:pos x="110" y="314"/>
                </a:cxn>
                <a:cxn ang="0">
                  <a:pos x="135" y="337"/>
                </a:cxn>
                <a:cxn ang="0">
                  <a:pos x="133" y="369"/>
                </a:cxn>
                <a:cxn ang="0">
                  <a:pos x="141" y="386"/>
                </a:cxn>
                <a:cxn ang="0">
                  <a:pos x="142" y="404"/>
                </a:cxn>
                <a:cxn ang="0">
                  <a:pos x="169" y="426"/>
                </a:cxn>
                <a:cxn ang="0">
                  <a:pos x="175" y="461"/>
                </a:cxn>
                <a:cxn ang="0">
                  <a:pos x="258" y="493"/>
                </a:cxn>
                <a:cxn ang="0">
                  <a:pos x="286" y="481"/>
                </a:cxn>
                <a:cxn ang="0">
                  <a:pos x="319" y="474"/>
                </a:cxn>
                <a:cxn ang="0">
                  <a:pos x="343" y="440"/>
                </a:cxn>
                <a:cxn ang="0">
                  <a:pos x="350" y="412"/>
                </a:cxn>
                <a:cxn ang="0">
                  <a:pos x="363" y="374"/>
                </a:cxn>
                <a:cxn ang="0">
                  <a:pos x="385" y="365"/>
                </a:cxn>
                <a:cxn ang="0">
                  <a:pos x="402" y="348"/>
                </a:cxn>
                <a:cxn ang="0">
                  <a:pos x="410" y="330"/>
                </a:cxn>
                <a:cxn ang="0">
                  <a:pos x="419" y="265"/>
                </a:cxn>
                <a:cxn ang="0">
                  <a:pos x="403" y="193"/>
                </a:cxn>
                <a:cxn ang="0">
                  <a:pos x="438" y="161"/>
                </a:cxn>
                <a:cxn ang="0">
                  <a:pos x="430" y="105"/>
                </a:cxn>
                <a:cxn ang="0">
                  <a:pos x="397" y="54"/>
                </a:cxn>
                <a:cxn ang="0">
                  <a:pos x="375" y="28"/>
                </a:cxn>
                <a:cxn ang="0">
                  <a:pos x="365" y="11"/>
                </a:cxn>
                <a:cxn ang="0">
                  <a:pos x="318" y="13"/>
                </a:cxn>
                <a:cxn ang="0">
                  <a:pos x="250" y="4"/>
                </a:cxn>
                <a:cxn ang="0">
                  <a:pos x="235" y="16"/>
                </a:cxn>
                <a:cxn ang="0">
                  <a:pos x="219" y="13"/>
                </a:cxn>
                <a:cxn ang="0">
                  <a:pos x="201" y="12"/>
                </a:cxn>
                <a:cxn ang="0">
                  <a:pos x="169" y="21"/>
                </a:cxn>
                <a:cxn ang="0">
                  <a:pos x="151" y="28"/>
                </a:cxn>
                <a:cxn ang="0">
                  <a:pos x="129" y="25"/>
                </a:cxn>
                <a:cxn ang="0">
                  <a:pos x="97" y="30"/>
                </a:cxn>
                <a:cxn ang="0">
                  <a:pos x="66" y="54"/>
                </a:cxn>
                <a:cxn ang="0">
                  <a:pos x="38" y="80"/>
                </a:cxn>
                <a:cxn ang="0">
                  <a:pos x="62" y="140"/>
                </a:cxn>
                <a:cxn ang="0">
                  <a:pos x="57" y="168"/>
                </a:cxn>
                <a:cxn ang="0">
                  <a:pos x="45" y="182"/>
                </a:cxn>
                <a:cxn ang="0">
                  <a:pos x="17" y="212"/>
                </a:cxn>
                <a:cxn ang="0">
                  <a:pos x="0" y="240"/>
                </a:cxn>
                <a:cxn ang="0">
                  <a:pos x="31" y="277"/>
                </a:cxn>
              </a:cxnLst>
              <a:rect l="0" t="0" r="r" b="b"/>
              <a:pathLst>
                <a:path w="439" h="497">
                  <a:moveTo>
                    <a:pt x="31" y="277"/>
                  </a:moveTo>
                  <a:cubicBezTo>
                    <a:pt x="38" y="281"/>
                    <a:pt x="50" y="266"/>
                    <a:pt x="50" y="266"/>
                  </a:cubicBezTo>
                  <a:cubicBezTo>
                    <a:pt x="85" y="270"/>
                    <a:pt x="85" y="270"/>
                    <a:pt x="85" y="270"/>
                  </a:cubicBezTo>
                  <a:cubicBezTo>
                    <a:pt x="85" y="270"/>
                    <a:pt x="90" y="293"/>
                    <a:pt x="97" y="293"/>
                  </a:cubicBezTo>
                  <a:cubicBezTo>
                    <a:pt x="103" y="293"/>
                    <a:pt x="115" y="294"/>
                    <a:pt x="115" y="294"/>
                  </a:cubicBezTo>
                  <a:cubicBezTo>
                    <a:pt x="110" y="314"/>
                    <a:pt x="110" y="314"/>
                    <a:pt x="110" y="314"/>
                  </a:cubicBezTo>
                  <a:cubicBezTo>
                    <a:pt x="142" y="336"/>
                    <a:pt x="142" y="336"/>
                    <a:pt x="142" y="336"/>
                  </a:cubicBezTo>
                  <a:cubicBezTo>
                    <a:pt x="135" y="337"/>
                    <a:pt x="135" y="337"/>
                    <a:pt x="135" y="337"/>
                  </a:cubicBezTo>
                  <a:cubicBezTo>
                    <a:pt x="135" y="337"/>
                    <a:pt x="149" y="341"/>
                    <a:pt x="149" y="348"/>
                  </a:cubicBezTo>
                  <a:cubicBezTo>
                    <a:pt x="149" y="354"/>
                    <a:pt x="133" y="369"/>
                    <a:pt x="133" y="369"/>
                  </a:cubicBezTo>
                  <a:cubicBezTo>
                    <a:pt x="133" y="380"/>
                    <a:pt x="133" y="380"/>
                    <a:pt x="133" y="380"/>
                  </a:cubicBezTo>
                  <a:cubicBezTo>
                    <a:pt x="141" y="386"/>
                    <a:pt x="141" y="386"/>
                    <a:pt x="141" y="386"/>
                  </a:cubicBezTo>
                  <a:cubicBezTo>
                    <a:pt x="134" y="402"/>
                    <a:pt x="134" y="402"/>
                    <a:pt x="134" y="402"/>
                  </a:cubicBezTo>
                  <a:cubicBezTo>
                    <a:pt x="142" y="404"/>
                    <a:pt x="142" y="404"/>
                    <a:pt x="142" y="404"/>
                  </a:cubicBezTo>
                  <a:cubicBezTo>
                    <a:pt x="138" y="414"/>
                    <a:pt x="138" y="414"/>
                    <a:pt x="138" y="414"/>
                  </a:cubicBezTo>
                  <a:cubicBezTo>
                    <a:pt x="169" y="426"/>
                    <a:pt x="169" y="426"/>
                    <a:pt x="169" y="426"/>
                  </a:cubicBezTo>
                  <a:cubicBezTo>
                    <a:pt x="163" y="436"/>
                    <a:pt x="163" y="436"/>
                    <a:pt x="163" y="436"/>
                  </a:cubicBezTo>
                  <a:cubicBezTo>
                    <a:pt x="175" y="461"/>
                    <a:pt x="175" y="461"/>
                    <a:pt x="175" y="461"/>
                  </a:cubicBezTo>
                  <a:cubicBezTo>
                    <a:pt x="186" y="454"/>
                    <a:pt x="218" y="458"/>
                    <a:pt x="218" y="458"/>
                  </a:cubicBezTo>
                  <a:cubicBezTo>
                    <a:pt x="218" y="458"/>
                    <a:pt x="247" y="489"/>
                    <a:pt x="258" y="493"/>
                  </a:cubicBezTo>
                  <a:cubicBezTo>
                    <a:pt x="269" y="497"/>
                    <a:pt x="283" y="474"/>
                    <a:pt x="283" y="474"/>
                  </a:cubicBezTo>
                  <a:cubicBezTo>
                    <a:pt x="286" y="481"/>
                    <a:pt x="286" y="481"/>
                    <a:pt x="286" y="481"/>
                  </a:cubicBezTo>
                  <a:cubicBezTo>
                    <a:pt x="298" y="476"/>
                    <a:pt x="298" y="476"/>
                    <a:pt x="298" y="476"/>
                  </a:cubicBezTo>
                  <a:cubicBezTo>
                    <a:pt x="319" y="474"/>
                    <a:pt x="319" y="474"/>
                    <a:pt x="319" y="474"/>
                  </a:cubicBezTo>
                  <a:cubicBezTo>
                    <a:pt x="319" y="474"/>
                    <a:pt x="323" y="468"/>
                    <a:pt x="331" y="466"/>
                  </a:cubicBezTo>
                  <a:cubicBezTo>
                    <a:pt x="319" y="444"/>
                    <a:pt x="343" y="440"/>
                    <a:pt x="343" y="440"/>
                  </a:cubicBezTo>
                  <a:cubicBezTo>
                    <a:pt x="342" y="421"/>
                    <a:pt x="342" y="421"/>
                    <a:pt x="342" y="421"/>
                  </a:cubicBezTo>
                  <a:cubicBezTo>
                    <a:pt x="350" y="412"/>
                    <a:pt x="350" y="412"/>
                    <a:pt x="350" y="412"/>
                  </a:cubicBezTo>
                  <a:cubicBezTo>
                    <a:pt x="346" y="401"/>
                    <a:pt x="346" y="401"/>
                    <a:pt x="346" y="401"/>
                  </a:cubicBezTo>
                  <a:cubicBezTo>
                    <a:pt x="363" y="374"/>
                    <a:pt x="363" y="374"/>
                    <a:pt x="363" y="374"/>
                  </a:cubicBezTo>
                  <a:cubicBezTo>
                    <a:pt x="371" y="366"/>
                    <a:pt x="371" y="366"/>
                    <a:pt x="371" y="366"/>
                  </a:cubicBezTo>
                  <a:cubicBezTo>
                    <a:pt x="385" y="365"/>
                    <a:pt x="385" y="365"/>
                    <a:pt x="385" y="365"/>
                  </a:cubicBezTo>
                  <a:cubicBezTo>
                    <a:pt x="385" y="365"/>
                    <a:pt x="378" y="336"/>
                    <a:pt x="385" y="334"/>
                  </a:cubicBezTo>
                  <a:cubicBezTo>
                    <a:pt x="391" y="333"/>
                    <a:pt x="402" y="348"/>
                    <a:pt x="402" y="348"/>
                  </a:cubicBezTo>
                  <a:cubicBezTo>
                    <a:pt x="421" y="342"/>
                    <a:pt x="421" y="342"/>
                    <a:pt x="421" y="342"/>
                  </a:cubicBezTo>
                  <a:cubicBezTo>
                    <a:pt x="410" y="330"/>
                    <a:pt x="410" y="330"/>
                    <a:pt x="410" y="330"/>
                  </a:cubicBezTo>
                  <a:cubicBezTo>
                    <a:pt x="410" y="330"/>
                    <a:pt x="415" y="325"/>
                    <a:pt x="418" y="293"/>
                  </a:cubicBezTo>
                  <a:cubicBezTo>
                    <a:pt x="399" y="269"/>
                    <a:pt x="419" y="265"/>
                    <a:pt x="419" y="265"/>
                  </a:cubicBezTo>
                  <a:cubicBezTo>
                    <a:pt x="419" y="265"/>
                    <a:pt x="426" y="258"/>
                    <a:pt x="403" y="226"/>
                  </a:cubicBezTo>
                  <a:cubicBezTo>
                    <a:pt x="381" y="194"/>
                    <a:pt x="403" y="193"/>
                    <a:pt x="403" y="193"/>
                  </a:cubicBezTo>
                  <a:cubicBezTo>
                    <a:pt x="403" y="193"/>
                    <a:pt x="414" y="208"/>
                    <a:pt x="419" y="185"/>
                  </a:cubicBezTo>
                  <a:cubicBezTo>
                    <a:pt x="425" y="162"/>
                    <a:pt x="438" y="161"/>
                    <a:pt x="438" y="161"/>
                  </a:cubicBezTo>
                  <a:cubicBezTo>
                    <a:pt x="438" y="161"/>
                    <a:pt x="437" y="145"/>
                    <a:pt x="439" y="141"/>
                  </a:cubicBezTo>
                  <a:cubicBezTo>
                    <a:pt x="410" y="118"/>
                    <a:pt x="430" y="105"/>
                    <a:pt x="430" y="105"/>
                  </a:cubicBezTo>
                  <a:cubicBezTo>
                    <a:pt x="411" y="56"/>
                    <a:pt x="411" y="56"/>
                    <a:pt x="411" y="56"/>
                  </a:cubicBezTo>
                  <a:cubicBezTo>
                    <a:pt x="397" y="54"/>
                    <a:pt x="397" y="54"/>
                    <a:pt x="397" y="54"/>
                  </a:cubicBezTo>
                  <a:cubicBezTo>
                    <a:pt x="397" y="54"/>
                    <a:pt x="395" y="45"/>
                    <a:pt x="393" y="44"/>
                  </a:cubicBezTo>
                  <a:cubicBezTo>
                    <a:pt x="354" y="56"/>
                    <a:pt x="375" y="28"/>
                    <a:pt x="375" y="28"/>
                  </a:cubicBezTo>
                  <a:cubicBezTo>
                    <a:pt x="369" y="28"/>
                    <a:pt x="369" y="28"/>
                    <a:pt x="369" y="28"/>
                  </a:cubicBezTo>
                  <a:cubicBezTo>
                    <a:pt x="365" y="11"/>
                    <a:pt x="365" y="11"/>
                    <a:pt x="365" y="11"/>
                  </a:cubicBezTo>
                  <a:cubicBezTo>
                    <a:pt x="365" y="11"/>
                    <a:pt x="365" y="12"/>
                    <a:pt x="365" y="12"/>
                  </a:cubicBezTo>
                  <a:cubicBezTo>
                    <a:pt x="365" y="12"/>
                    <a:pt x="323" y="22"/>
                    <a:pt x="318" y="13"/>
                  </a:cubicBezTo>
                  <a:cubicBezTo>
                    <a:pt x="293" y="0"/>
                    <a:pt x="298" y="9"/>
                    <a:pt x="286" y="12"/>
                  </a:cubicBezTo>
                  <a:cubicBezTo>
                    <a:pt x="274" y="14"/>
                    <a:pt x="250" y="4"/>
                    <a:pt x="250" y="4"/>
                  </a:cubicBezTo>
                  <a:cubicBezTo>
                    <a:pt x="245" y="22"/>
                    <a:pt x="245" y="22"/>
                    <a:pt x="245" y="22"/>
                  </a:cubicBezTo>
                  <a:cubicBezTo>
                    <a:pt x="235" y="16"/>
                    <a:pt x="235" y="16"/>
                    <a:pt x="235" y="16"/>
                  </a:cubicBezTo>
                  <a:cubicBezTo>
                    <a:pt x="222" y="21"/>
                    <a:pt x="222" y="21"/>
                    <a:pt x="222" y="21"/>
                  </a:cubicBezTo>
                  <a:cubicBezTo>
                    <a:pt x="219" y="13"/>
                    <a:pt x="219" y="13"/>
                    <a:pt x="219" y="13"/>
                  </a:cubicBezTo>
                  <a:cubicBezTo>
                    <a:pt x="202" y="24"/>
                    <a:pt x="202" y="24"/>
                    <a:pt x="202" y="24"/>
                  </a:cubicBezTo>
                  <a:cubicBezTo>
                    <a:pt x="201" y="12"/>
                    <a:pt x="201" y="12"/>
                    <a:pt x="201" y="12"/>
                  </a:cubicBezTo>
                  <a:cubicBezTo>
                    <a:pt x="174" y="32"/>
                    <a:pt x="174" y="32"/>
                    <a:pt x="174" y="32"/>
                  </a:cubicBezTo>
                  <a:cubicBezTo>
                    <a:pt x="169" y="21"/>
                    <a:pt x="169" y="21"/>
                    <a:pt x="169" y="21"/>
                  </a:cubicBezTo>
                  <a:cubicBezTo>
                    <a:pt x="151" y="21"/>
                    <a:pt x="151" y="21"/>
                    <a:pt x="151" y="21"/>
                  </a:cubicBezTo>
                  <a:cubicBezTo>
                    <a:pt x="151" y="28"/>
                    <a:pt x="151" y="28"/>
                    <a:pt x="151" y="28"/>
                  </a:cubicBezTo>
                  <a:cubicBezTo>
                    <a:pt x="133" y="30"/>
                    <a:pt x="133" y="30"/>
                    <a:pt x="133" y="30"/>
                  </a:cubicBezTo>
                  <a:cubicBezTo>
                    <a:pt x="129" y="25"/>
                    <a:pt x="129" y="25"/>
                    <a:pt x="129" y="25"/>
                  </a:cubicBezTo>
                  <a:cubicBezTo>
                    <a:pt x="111" y="32"/>
                    <a:pt x="111" y="32"/>
                    <a:pt x="111" y="32"/>
                  </a:cubicBezTo>
                  <a:cubicBezTo>
                    <a:pt x="97" y="30"/>
                    <a:pt x="97" y="30"/>
                    <a:pt x="97" y="30"/>
                  </a:cubicBezTo>
                  <a:cubicBezTo>
                    <a:pt x="85" y="56"/>
                    <a:pt x="85" y="56"/>
                    <a:pt x="85" y="56"/>
                  </a:cubicBezTo>
                  <a:cubicBezTo>
                    <a:pt x="66" y="54"/>
                    <a:pt x="66" y="54"/>
                    <a:pt x="66" y="54"/>
                  </a:cubicBezTo>
                  <a:cubicBezTo>
                    <a:pt x="50" y="70"/>
                    <a:pt x="50" y="70"/>
                    <a:pt x="50" y="70"/>
                  </a:cubicBezTo>
                  <a:cubicBezTo>
                    <a:pt x="38" y="80"/>
                    <a:pt x="38" y="80"/>
                    <a:pt x="38" y="80"/>
                  </a:cubicBezTo>
                  <a:cubicBezTo>
                    <a:pt x="46" y="101"/>
                    <a:pt x="46" y="101"/>
                    <a:pt x="46" y="101"/>
                  </a:cubicBezTo>
                  <a:cubicBezTo>
                    <a:pt x="34" y="141"/>
                    <a:pt x="62" y="140"/>
                    <a:pt x="62" y="140"/>
                  </a:cubicBezTo>
                  <a:cubicBezTo>
                    <a:pt x="69" y="160"/>
                    <a:pt x="69" y="160"/>
                    <a:pt x="69" y="160"/>
                  </a:cubicBezTo>
                  <a:cubicBezTo>
                    <a:pt x="57" y="168"/>
                    <a:pt x="57" y="168"/>
                    <a:pt x="57" y="168"/>
                  </a:cubicBezTo>
                  <a:cubicBezTo>
                    <a:pt x="57" y="168"/>
                    <a:pt x="47" y="165"/>
                    <a:pt x="43" y="164"/>
                  </a:cubicBezTo>
                  <a:cubicBezTo>
                    <a:pt x="39" y="162"/>
                    <a:pt x="45" y="182"/>
                    <a:pt x="45" y="182"/>
                  </a:cubicBezTo>
                  <a:cubicBezTo>
                    <a:pt x="37" y="208"/>
                    <a:pt x="37" y="208"/>
                    <a:pt x="37" y="208"/>
                  </a:cubicBezTo>
                  <a:cubicBezTo>
                    <a:pt x="17" y="212"/>
                    <a:pt x="17" y="212"/>
                    <a:pt x="17" y="212"/>
                  </a:cubicBezTo>
                  <a:cubicBezTo>
                    <a:pt x="17" y="220"/>
                    <a:pt x="17" y="220"/>
                    <a:pt x="17" y="220"/>
                  </a:cubicBezTo>
                  <a:cubicBezTo>
                    <a:pt x="0" y="240"/>
                    <a:pt x="0" y="240"/>
                    <a:pt x="0" y="240"/>
                  </a:cubicBezTo>
                  <a:cubicBezTo>
                    <a:pt x="18" y="243"/>
                    <a:pt x="31" y="249"/>
                    <a:pt x="31" y="249"/>
                  </a:cubicBezTo>
                  <a:cubicBezTo>
                    <a:pt x="31" y="249"/>
                    <a:pt x="25" y="273"/>
                    <a:pt x="31" y="2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5" name="Auvergne" descr="© INSCALE GmbH, 05.05.2010&#10;http://www.presentationload.com/">
              <a:extLst>
                <a:ext uri="{FF2B5EF4-FFF2-40B4-BE49-F238E27FC236}">
                  <a16:creationId xmlns:a16="http://schemas.microsoft.com/office/drawing/2014/main" id="{9BD5E988-15D3-4B08-876C-E8948F7A9579}"/>
                </a:ext>
              </a:extLst>
            </p:cNvPr>
            <p:cNvSpPr>
              <a:spLocks/>
            </p:cNvSpPr>
            <p:nvPr/>
          </p:nvSpPr>
          <p:spPr bwMode="gray">
            <a:xfrm>
              <a:off x="1704" y="1640"/>
              <a:ext cx="593" cy="753"/>
            </a:xfrm>
            <a:custGeom>
              <a:avLst/>
              <a:gdLst/>
              <a:ahLst/>
              <a:cxnLst>
                <a:cxn ang="0">
                  <a:pos x="15" y="669"/>
                </a:cxn>
                <a:cxn ang="0">
                  <a:pos x="31" y="697"/>
                </a:cxn>
                <a:cxn ang="0">
                  <a:pos x="60" y="689"/>
                </a:cxn>
                <a:cxn ang="0">
                  <a:pos x="111" y="665"/>
                </a:cxn>
                <a:cxn ang="0">
                  <a:pos x="122" y="617"/>
                </a:cxn>
                <a:cxn ang="0">
                  <a:pos x="186" y="636"/>
                </a:cxn>
                <a:cxn ang="0">
                  <a:pos x="218" y="663"/>
                </a:cxn>
                <a:cxn ang="0">
                  <a:pos x="231" y="607"/>
                </a:cxn>
                <a:cxn ang="0">
                  <a:pos x="266" y="611"/>
                </a:cxn>
                <a:cxn ang="0">
                  <a:pos x="266" y="603"/>
                </a:cxn>
                <a:cxn ang="0">
                  <a:pos x="318" y="635"/>
                </a:cxn>
                <a:cxn ang="0">
                  <a:pos x="378" y="629"/>
                </a:cxn>
                <a:cxn ang="0">
                  <a:pos x="424" y="628"/>
                </a:cxn>
                <a:cxn ang="0">
                  <a:pos x="472" y="612"/>
                </a:cxn>
                <a:cxn ang="0">
                  <a:pos x="504" y="560"/>
                </a:cxn>
                <a:cxn ang="0">
                  <a:pos x="522" y="535"/>
                </a:cxn>
                <a:cxn ang="0">
                  <a:pos x="536" y="517"/>
                </a:cxn>
                <a:cxn ang="0">
                  <a:pos x="507" y="467"/>
                </a:cxn>
                <a:cxn ang="0">
                  <a:pos x="450" y="463"/>
                </a:cxn>
                <a:cxn ang="0">
                  <a:pos x="430" y="449"/>
                </a:cxn>
                <a:cxn ang="0">
                  <a:pos x="408" y="445"/>
                </a:cxn>
                <a:cxn ang="0">
                  <a:pos x="364" y="320"/>
                </a:cxn>
                <a:cxn ang="0">
                  <a:pos x="362" y="273"/>
                </a:cxn>
                <a:cxn ang="0">
                  <a:pos x="386" y="217"/>
                </a:cxn>
                <a:cxn ang="0">
                  <a:pos x="378" y="176"/>
                </a:cxn>
                <a:cxn ang="0">
                  <a:pos x="411" y="159"/>
                </a:cxn>
                <a:cxn ang="0">
                  <a:pos x="424" y="101"/>
                </a:cxn>
                <a:cxn ang="0">
                  <a:pos x="370" y="81"/>
                </a:cxn>
                <a:cxn ang="0">
                  <a:pos x="327" y="32"/>
                </a:cxn>
                <a:cxn ang="0">
                  <a:pos x="306" y="31"/>
                </a:cxn>
                <a:cxn ang="0">
                  <a:pos x="263" y="25"/>
                </a:cxn>
                <a:cxn ang="0">
                  <a:pos x="171" y="23"/>
                </a:cxn>
                <a:cxn ang="0">
                  <a:pos x="115" y="49"/>
                </a:cxn>
                <a:cxn ang="0">
                  <a:pos x="46" y="118"/>
                </a:cxn>
                <a:cxn ang="0">
                  <a:pos x="74" y="151"/>
                </a:cxn>
                <a:cxn ang="0">
                  <a:pos x="111" y="212"/>
                </a:cxn>
                <a:cxn ang="0">
                  <a:pos x="100" y="292"/>
                </a:cxn>
                <a:cxn ang="0">
                  <a:pos x="100" y="372"/>
                </a:cxn>
                <a:cxn ang="0">
                  <a:pos x="102" y="449"/>
                </a:cxn>
                <a:cxn ang="0">
                  <a:pos x="66" y="472"/>
                </a:cxn>
                <a:cxn ang="0">
                  <a:pos x="27" y="508"/>
                </a:cxn>
                <a:cxn ang="0">
                  <a:pos x="24" y="547"/>
                </a:cxn>
                <a:cxn ang="0">
                  <a:pos x="4" y="608"/>
                </a:cxn>
              </a:cxnLst>
              <a:rect l="0" t="0" r="r" b="b"/>
              <a:pathLst>
                <a:path w="550" h="697">
                  <a:moveTo>
                    <a:pt x="4" y="608"/>
                  </a:moveTo>
                  <a:cubicBezTo>
                    <a:pt x="20" y="635"/>
                    <a:pt x="20" y="635"/>
                    <a:pt x="20" y="635"/>
                  </a:cubicBezTo>
                  <a:cubicBezTo>
                    <a:pt x="15" y="669"/>
                    <a:pt x="15" y="669"/>
                    <a:pt x="15" y="669"/>
                  </a:cubicBezTo>
                  <a:cubicBezTo>
                    <a:pt x="24" y="675"/>
                    <a:pt x="24" y="675"/>
                    <a:pt x="24" y="675"/>
                  </a:cubicBezTo>
                  <a:cubicBezTo>
                    <a:pt x="26" y="691"/>
                    <a:pt x="26" y="691"/>
                    <a:pt x="26" y="691"/>
                  </a:cubicBezTo>
                  <a:cubicBezTo>
                    <a:pt x="31" y="697"/>
                    <a:pt x="31" y="697"/>
                    <a:pt x="31" y="697"/>
                  </a:cubicBezTo>
                  <a:cubicBezTo>
                    <a:pt x="30" y="685"/>
                    <a:pt x="30" y="685"/>
                    <a:pt x="30" y="685"/>
                  </a:cubicBezTo>
                  <a:cubicBezTo>
                    <a:pt x="59" y="684"/>
                    <a:pt x="59" y="684"/>
                    <a:pt x="59" y="684"/>
                  </a:cubicBezTo>
                  <a:cubicBezTo>
                    <a:pt x="60" y="689"/>
                    <a:pt x="60" y="689"/>
                    <a:pt x="60" y="689"/>
                  </a:cubicBezTo>
                  <a:cubicBezTo>
                    <a:pt x="94" y="687"/>
                    <a:pt x="94" y="687"/>
                    <a:pt x="94" y="687"/>
                  </a:cubicBezTo>
                  <a:cubicBezTo>
                    <a:pt x="98" y="675"/>
                    <a:pt x="98" y="675"/>
                    <a:pt x="98" y="675"/>
                  </a:cubicBezTo>
                  <a:cubicBezTo>
                    <a:pt x="111" y="665"/>
                    <a:pt x="111" y="665"/>
                    <a:pt x="111" y="665"/>
                  </a:cubicBezTo>
                  <a:cubicBezTo>
                    <a:pt x="112" y="645"/>
                    <a:pt x="112" y="645"/>
                    <a:pt x="112" y="645"/>
                  </a:cubicBezTo>
                  <a:cubicBezTo>
                    <a:pt x="120" y="639"/>
                    <a:pt x="120" y="639"/>
                    <a:pt x="120" y="639"/>
                  </a:cubicBezTo>
                  <a:cubicBezTo>
                    <a:pt x="122" y="617"/>
                    <a:pt x="122" y="617"/>
                    <a:pt x="122" y="617"/>
                  </a:cubicBezTo>
                  <a:cubicBezTo>
                    <a:pt x="122" y="617"/>
                    <a:pt x="122" y="624"/>
                    <a:pt x="131" y="616"/>
                  </a:cubicBezTo>
                  <a:cubicBezTo>
                    <a:pt x="157" y="579"/>
                    <a:pt x="163" y="607"/>
                    <a:pt x="161" y="614"/>
                  </a:cubicBezTo>
                  <a:cubicBezTo>
                    <a:pt x="172" y="606"/>
                    <a:pt x="186" y="636"/>
                    <a:pt x="186" y="636"/>
                  </a:cubicBezTo>
                  <a:cubicBezTo>
                    <a:pt x="195" y="647"/>
                    <a:pt x="195" y="647"/>
                    <a:pt x="195" y="647"/>
                  </a:cubicBezTo>
                  <a:cubicBezTo>
                    <a:pt x="204" y="687"/>
                    <a:pt x="204" y="687"/>
                    <a:pt x="204" y="687"/>
                  </a:cubicBezTo>
                  <a:cubicBezTo>
                    <a:pt x="218" y="663"/>
                    <a:pt x="218" y="663"/>
                    <a:pt x="218" y="663"/>
                  </a:cubicBezTo>
                  <a:cubicBezTo>
                    <a:pt x="224" y="636"/>
                    <a:pt x="224" y="636"/>
                    <a:pt x="224" y="636"/>
                  </a:cubicBezTo>
                  <a:cubicBezTo>
                    <a:pt x="232" y="627"/>
                    <a:pt x="232" y="627"/>
                    <a:pt x="232" y="627"/>
                  </a:cubicBezTo>
                  <a:cubicBezTo>
                    <a:pt x="231" y="607"/>
                    <a:pt x="231" y="607"/>
                    <a:pt x="231" y="607"/>
                  </a:cubicBezTo>
                  <a:cubicBezTo>
                    <a:pt x="240" y="603"/>
                    <a:pt x="240" y="603"/>
                    <a:pt x="240" y="603"/>
                  </a:cubicBezTo>
                  <a:cubicBezTo>
                    <a:pt x="248" y="616"/>
                    <a:pt x="248" y="616"/>
                    <a:pt x="248" y="616"/>
                  </a:cubicBezTo>
                  <a:cubicBezTo>
                    <a:pt x="266" y="611"/>
                    <a:pt x="266" y="611"/>
                    <a:pt x="266" y="611"/>
                  </a:cubicBezTo>
                  <a:cubicBezTo>
                    <a:pt x="266" y="603"/>
                    <a:pt x="266" y="603"/>
                    <a:pt x="266" y="603"/>
                  </a:cubicBezTo>
                  <a:cubicBezTo>
                    <a:pt x="263" y="603"/>
                    <a:pt x="267" y="593"/>
                    <a:pt x="267" y="593"/>
                  </a:cubicBezTo>
                  <a:cubicBezTo>
                    <a:pt x="266" y="603"/>
                    <a:pt x="266" y="603"/>
                    <a:pt x="266" y="603"/>
                  </a:cubicBezTo>
                  <a:cubicBezTo>
                    <a:pt x="267" y="603"/>
                    <a:pt x="269" y="602"/>
                    <a:pt x="271" y="600"/>
                  </a:cubicBezTo>
                  <a:cubicBezTo>
                    <a:pt x="282" y="591"/>
                    <a:pt x="300" y="584"/>
                    <a:pt x="300" y="584"/>
                  </a:cubicBezTo>
                  <a:cubicBezTo>
                    <a:pt x="318" y="635"/>
                    <a:pt x="318" y="635"/>
                    <a:pt x="318" y="635"/>
                  </a:cubicBezTo>
                  <a:cubicBezTo>
                    <a:pt x="318" y="635"/>
                    <a:pt x="318" y="635"/>
                    <a:pt x="342" y="627"/>
                  </a:cubicBezTo>
                  <a:cubicBezTo>
                    <a:pt x="346" y="600"/>
                    <a:pt x="356" y="624"/>
                    <a:pt x="356" y="624"/>
                  </a:cubicBezTo>
                  <a:cubicBezTo>
                    <a:pt x="378" y="629"/>
                    <a:pt x="378" y="629"/>
                    <a:pt x="378" y="629"/>
                  </a:cubicBezTo>
                  <a:cubicBezTo>
                    <a:pt x="399" y="655"/>
                    <a:pt x="399" y="655"/>
                    <a:pt x="399" y="655"/>
                  </a:cubicBezTo>
                  <a:cubicBezTo>
                    <a:pt x="424" y="644"/>
                    <a:pt x="424" y="644"/>
                    <a:pt x="424" y="644"/>
                  </a:cubicBezTo>
                  <a:cubicBezTo>
                    <a:pt x="424" y="628"/>
                    <a:pt x="424" y="628"/>
                    <a:pt x="424" y="628"/>
                  </a:cubicBezTo>
                  <a:cubicBezTo>
                    <a:pt x="443" y="619"/>
                    <a:pt x="443" y="619"/>
                    <a:pt x="443" y="619"/>
                  </a:cubicBezTo>
                  <a:cubicBezTo>
                    <a:pt x="444" y="613"/>
                    <a:pt x="444" y="613"/>
                    <a:pt x="444" y="613"/>
                  </a:cubicBezTo>
                  <a:cubicBezTo>
                    <a:pt x="472" y="612"/>
                    <a:pt x="472" y="612"/>
                    <a:pt x="472" y="612"/>
                  </a:cubicBezTo>
                  <a:cubicBezTo>
                    <a:pt x="484" y="584"/>
                    <a:pt x="484" y="584"/>
                    <a:pt x="484" y="584"/>
                  </a:cubicBezTo>
                  <a:cubicBezTo>
                    <a:pt x="504" y="580"/>
                    <a:pt x="504" y="580"/>
                    <a:pt x="504" y="580"/>
                  </a:cubicBezTo>
                  <a:cubicBezTo>
                    <a:pt x="504" y="560"/>
                    <a:pt x="504" y="560"/>
                    <a:pt x="504" y="560"/>
                  </a:cubicBezTo>
                  <a:cubicBezTo>
                    <a:pt x="519" y="560"/>
                    <a:pt x="519" y="560"/>
                    <a:pt x="519" y="560"/>
                  </a:cubicBezTo>
                  <a:cubicBezTo>
                    <a:pt x="519" y="560"/>
                    <a:pt x="512" y="548"/>
                    <a:pt x="512" y="544"/>
                  </a:cubicBezTo>
                  <a:cubicBezTo>
                    <a:pt x="512" y="540"/>
                    <a:pt x="522" y="535"/>
                    <a:pt x="522" y="535"/>
                  </a:cubicBezTo>
                  <a:cubicBezTo>
                    <a:pt x="519" y="523"/>
                    <a:pt x="519" y="523"/>
                    <a:pt x="519" y="523"/>
                  </a:cubicBezTo>
                  <a:cubicBezTo>
                    <a:pt x="533" y="534"/>
                    <a:pt x="533" y="534"/>
                    <a:pt x="533" y="534"/>
                  </a:cubicBezTo>
                  <a:cubicBezTo>
                    <a:pt x="532" y="533"/>
                    <a:pt x="532" y="529"/>
                    <a:pt x="536" y="517"/>
                  </a:cubicBezTo>
                  <a:cubicBezTo>
                    <a:pt x="550" y="468"/>
                    <a:pt x="519" y="489"/>
                    <a:pt x="519" y="489"/>
                  </a:cubicBezTo>
                  <a:cubicBezTo>
                    <a:pt x="512" y="471"/>
                    <a:pt x="512" y="471"/>
                    <a:pt x="512" y="471"/>
                  </a:cubicBezTo>
                  <a:cubicBezTo>
                    <a:pt x="507" y="467"/>
                    <a:pt x="507" y="467"/>
                    <a:pt x="507" y="467"/>
                  </a:cubicBezTo>
                  <a:cubicBezTo>
                    <a:pt x="520" y="456"/>
                    <a:pt x="495" y="459"/>
                    <a:pt x="488" y="449"/>
                  </a:cubicBezTo>
                  <a:cubicBezTo>
                    <a:pt x="482" y="440"/>
                    <a:pt x="452" y="455"/>
                    <a:pt x="452" y="455"/>
                  </a:cubicBezTo>
                  <a:cubicBezTo>
                    <a:pt x="450" y="463"/>
                    <a:pt x="450" y="463"/>
                    <a:pt x="450" y="463"/>
                  </a:cubicBezTo>
                  <a:cubicBezTo>
                    <a:pt x="444" y="456"/>
                    <a:pt x="444" y="456"/>
                    <a:pt x="444" y="456"/>
                  </a:cubicBezTo>
                  <a:cubicBezTo>
                    <a:pt x="434" y="461"/>
                    <a:pt x="434" y="461"/>
                    <a:pt x="434" y="461"/>
                  </a:cubicBezTo>
                  <a:cubicBezTo>
                    <a:pt x="430" y="449"/>
                    <a:pt x="430" y="449"/>
                    <a:pt x="430" y="449"/>
                  </a:cubicBezTo>
                  <a:cubicBezTo>
                    <a:pt x="418" y="449"/>
                    <a:pt x="418" y="449"/>
                    <a:pt x="418" y="449"/>
                  </a:cubicBezTo>
                  <a:cubicBezTo>
                    <a:pt x="412" y="468"/>
                    <a:pt x="412" y="468"/>
                    <a:pt x="412" y="468"/>
                  </a:cubicBezTo>
                  <a:cubicBezTo>
                    <a:pt x="408" y="445"/>
                    <a:pt x="408" y="445"/>
                    <a:pt x="408" y="445"/>
                  </a:cubicBezTo>
                  <a:cubicBezTo>
                    <a:pt x="408" y="445"/>
                    <a:pt x="422" y="439"/>
                    <a:pt x="424" y="432"/>
                  </a:cubicBezTo>
                  <a:cubicBezTo>
                    <a:pt x="436" y="412"/>
                    <a:pt x="396" y="376"/>
                    <a:pt x="391" y="376"/>
                  </a:cubicBezTo>
                  <a:cubicBezTo>
                    <a:pt x="387" y="356"/>
                    <a:pt x="364" y="320"/>
                    <a:pt x="364" y="320"/>
                  </a:cubicBezTo>
                  <a:cubicBezTo>
                    <a:pt x="366" y="292"/>
                    <a:pt x="366" y="292"/>
                    <a:pt x="366" y="292"/>
                  </a:cubicBezTo>
                  <a:cubicBezTo>
                    <a:pt x="374" y="289"/>
                    <a:pt x="374" y="289"/>
                    <a:pt x="374" y="289"/>
                  </a:cubicBezTo>
                  <a:cubicBezTo>
                    <a:pt x="362" y="273"/>
                    <a:pt x="362" y="273"/>
                    <a:pt x="362" y="273"/>
                  </a:cubicBezTo>
                  <a:cubicBezTo>
                    <a:pt x="362" y="261"/>
                    <a:pt x="362" y="261"/>
                    <a:pt x="362" y="261"/>
                  </a:cubicBezTo>
                  <a:cubicBezTo>
                    <a:pt x="387" y="252"/>
                    <a:pt x="387" y="252"/>
                    <a:pt x="387" y="252"/>
                  </a:cubicBezTo>
                  <a:cubicBezTo>
                    <a:pt x="386" y="217"/>
                    <a:pt x="386" y="217"/>
                    <a:pt x="386" y="217"/>
                  </a:cubicBezTo>
                  <a:cubicBezTo>
                    <a:pt x="379" y="204"/>
                    <a:pt x="379" y="204"/>
                    <a:pt x="379" y="204"/>
                  </a:cubicBezTo>
                  <a:cubicBezTo>
                    <a:pt x="383" y="189"/>
                    <a:pt x="383" y="189"/>
                    <a:pt x="383" y="189"/>
                  </a:cubicBezTo>
                  <a:cubicBezTo>
                    <a:pt x="378" y="176"/>
                    <a:pt x="378" y="176"/>
                    <a:pt x="378" y="176"/>
                  </a:cubicBezTo>
                  <a:cubicBezTo>
                    <a:pt x="403" y="165"/>
                    <a:pt x="403" y="165"/>
                    <a:pt x="403" y="165"/>
                  </a:cubicBezTo>
                  <a:cubicBezTo>
                    <a:pt x="403" y="156"/>
                    <a:pt x="403" y="156"/>
                    <a:pt x="403" y="156"/>
                  </a:cubicBezTo>
                  <a:cubicBezTo>
                    <a:pt x="411" y="159"/>
                    <a:pt x="411" y="159"/>
                    <a:pt x="411" y="159"/>
                  </a:cubicBezTo>
                  <a:cubicBezTo>
                    <a:pt x="416" y="145"/>
                    <a:pt x="416" y="145"/>
                    <a:pt x="416" y="145"/>
                  </a:cubicBezTo>
                  <a:cubicBezTo>
                    <a:pt x="423" y="145"/>
                    <a:pt x="423" y="145"/>
                    <a:pt x="423" y="145"/>
                  </a:cubicBezTo>
                  <a:cubicBezTo>
                    <a:pt x="423" y="145"/>
                    <a:pt x="423" y="116"/>
                    <a:pt x="424" y="101"/>
                  </a:cubicBezTo>
                  <a:cubicBezTo>
                    <a:pt x="426" y="87"/>
                    <a:pt x="398" y="97"/>
                    <a:pt x="398" y="97"/>
                  </a:cubicBezTo>
                  <a:cubicBezTo>
                    <a:pt x="387" y="84"/>
                    <a:pt x="387" y="84"/>
                    <a:pt x="387" y="84"/>
                  </a:cubicBezTo>
                  <a:cubicBezTo>
                    <a:pt x="370" y="81"/>
                    <a:pt x="370" y="81"/>
                    <a:pt x="370" y="81"/>
                  </a:cubicBezTo>
                  <a:cubicBezTo>
                    <a:pt x="366" y="63"/>
                    <a:pt x="366" y="63"/>
                    <a:pt x="366" y="63"/>
                  </a:cubicBezTo>
                  <a:cubicBezTo>
                    <a:pt x="366" y="63"/>
                    <a:pt x="336" y="12"/>
                    <a:pt x="332" y="8"/>
                  </a:cubicBezTo>
                  <a:cubicBezTo>
                    <a:pt x="328" y="4"/>
                    <a:pt x="327" y="32"/>
                    <a:pt x="327" y="32"/>
                  </a:cubicBezTo>
                  <a:cubicBezTo>
                    <a:pt x="318" y="31"/>
                    <a:pt x="318" y="31"/>
                    <a:pt x="318" y="31"/>
                  </a:cubicBezTo>
                  <a:cubicBezTo>
                    <a:pt x="306" y="45"/>
                    <a:pt x="306" y="45"/>
                    <a:pt x="306" y="45"/>
                  </a:cubicBezTo>
                  <a:cubicBezTo>
                    <a:pt x="306" y="31"/>
                    <a:pt x="306" y="31"/>
                    <a:pt x="306" y="31"/>
                  </a:cubicBezTo>
                  <a:cubicBezTo>
                    <a:pt x="294" y="24"/>
                    <a:pt x="294" y="24"/>
                    <a:pt x="294" y="24"/>
                  </a:cubicBezTo>
                  <a:cubicBezTo>
                    <a:pt x="294" y="24"/>
                    <a:pt x="283" y="32"/>
                    <a:pt x="279" y="32"/>
                  </a:cubicBezTo>
                  <a:cubicBezTo>
                    <a:pt x="275" y="32"/>
                    <a:pt x="267" y="25"/>
                    <a:pt x="263" y="25"/>
                  </a:cubicBezTo>
                  <a:cubicBezTo>
                    <a:pt x="259" y="25"/>
                    <a:pt x="254" y="36"/>
                    <a:pt x="244" y="35"/>
                  </a:cubicBezTo>
                  <a:cubicBezTo>
                    <a:pt x="236" y="34"/>
                    <a:pt x="220" y="9"/>
                    <a:pt x="213" y="1"/>
                  </a:cubicBezTo>
                  <a:cubicBezTo>
                    <a:pt x="188" y="0"/>
                    <a:pt x="178" y="8"/>
                    <a:pt x="171" y="23"/>
                  </a:cubicBezTo>
                  <a:cubicBezTo>
                    <a:pt x="163" y="39"/>
                    <a:pt x="148" y="17"/>
                    <a:pt x="144" y="17"/>
                  </a:cubicBezTo>
                  <a:cubicBezTo>
                    <a:pt x="140" y="17"/>
                    <a:pt x="122" y="36"/>
                    <a:pt x="122" y="36"/>
                  </a:cubicBezTo>
                  <a:cubicBezTo>
                    <a:pt x="122" y="36"/>
                    <a:pt x="122" y="44"/>
                    <a:pt x="115" y="49"/>
                  </a:cubicBezTo>
                  <a:cubicBezTo>
                    <a:pt x="108" y="55"/>
                    <a:pt x="118" y="77"/>
                    <a:pt x="118" y="77"/>
                  </a:cubicBezTo>
                  <a:cubicBezTo>
                    <a:pt x="118" y="77"/>
                    <a:pt x="118" y="77"/>
                    <a:pt x="102" y="88"/>
                  </a:cubicBezTo>
                  <a:cubicBezTo>
                    <a:pt x="72" y="77"/>
                    <a:pt x="50" y="111"/>
                    <a:pt x="46" y="118"/>
                  </a:cubicBezTo>
                  <a:cubicBezTo>
                    <a:pt x="50" y="135"/>
                    <a:pt x="50" y="135"/>
                    <a:pt x="50" y="135"/>
                  </a:cubicBezTo>
                  <a:cubicBezTo>
                    <a:pt x="56" y="135"/>
                    <a:pt x="56" y="135"/>
                    <a:pt x="56" y="135"/>
                  </a:cubicBezTo>
                  <a:cubicBezTo>
                    <a:pt x="56" y="135"/>
                    <a:pt x="35" y="163"/>
                    <a:pt x="74" y="151"/>
                  </a:cubicBezTo>
                  <a:cubicBezTo>
                    <a:pt x="76" y="152"/>
                    <a:pt x="78" y="161"/>
                    <a:pt x="78" y="161"/>
                  </a:cubicBezTo>
                  <a:cubicBezTo>
                    <a:pt x="92" y="163"/>
                    <a:pt x="92" y="163"/>
                    <a:pt x="92" y="163"/>
                  </a:cubicBezTo>
                  <a:cubicBezTo>
                    <a:pt x="111" y="212"/>
                    <a:pt x="111" y="212"/>
                    <a:pt x="111" y="212"/>
                  </a:cubicBezTo>
                  <a:cubicBezTo>
                    <a:pt x="111" y="212"/>
                    <a:pt x="91" y="225"/>
                    <a:pt x="120" y="248"/>
                  </a:cubicBezTo>
                  <a:cubicBezTo>
                    <a:pt x="118" y="252"/>
                    <a:pt x="119" y="268"/>
                    <a:pt x="119" y="268"/>
                  </a:cubicBezTo>
                  <a:cubicBezTo>
                    <a:pt x="119" y="268"/>
                    <a:pt x="106" y="269"/>
                    <a:pt x="100" y="292"/>
                  </a:cubicBezTo>
                  <a:cubicBezTo>
                    <a:pt x="95" y="315"/>
                    <a:pt x="84" y="300"/>
                    <a:pt x="84" y="300"/>
                  </a:cubicBezTo>
                  <a:cubicBezTo>
                    <a:pt x="84" y="300"/>
                    <a:pt x="62" y="301"/>
                    <a:pt x="84" y="333"/>
                  </a:cubicBezTo>
                  <a:cubicBezTo>
                    <a:pt x="107" y="365"/>
                    <a:pt x="100" y="372"/>
                    <a:pt x="100" y="372"/>
                  </a:cubicBezTo>
                  <a:cubicBezTo>
                    <a:pt x="100" y="372"/>
                    <a:pt x="80" y="376"/>
                    <a:pt x="99" y="400"/>
                  </a:cubicBezTo>
                  <a:cubicBezTo>
                    <a:pt x="96" y="432"/>
                    <a:pt x="91" y="437"/>
                    <a:pt x="91" y="437"/>
                  </a:cubicBezTo>
                  <a:cubicBezTo>
                    <a:pt x="102" y="449"/>
                    <a:pt x="102" y="449"/>
                    <a:pt x="102" y="449"/>
                  </a:cubicBezTo>
                  <a:cubicBezTo>
                    <a:pt x="83" y="455"/>
                    <a:pt x="83" y="455"/>
                    <a:pt x="83" y="455"/>
                  </a:cubicBezTo>
                  <a:cubicBezTo>
                    <a:pt x="83" y="455"/>
                    <a:pt x="72" y="440"/>
                    <a:pt x="66" y="441"/>
                  </a:cubicBezTo>
                  <a:cubicBezTo>
                    <a:pt x="59" y="443"/>
                    <a:pt x="66" y="472"/>
                    <a:pt x="66" y="472"/>
                  </a:cubicBezTo>
                  <a:cubicBezTo>
                    <a:pt x="52" y="473"/>
                    <a:pt x="52" y="473"/>
                    <a:pt x="52" y="473"/>
                  </a:cubicBezTo>
                  <a:cubicBezTo>
                    <a:pt x="44" y="481"/>
                    <a:pt x="44" y="481"/>
                    <a:pt x="44" y="481"/>
                  </a:cubicBezTo>
                  <a:cubicBezTo>
                    <a:pt x="27" y="508"/>
                    <a:pt x="27" y="508"/>
                    <a:pt x="27" y="508"/>
                  </a:cubicBezTo>
                  <a:cubicBezTo>
                    <a:pt x="31" y="519"/>
                    <a:pt x="31" y="519"/>
                    <a:pt x="31" y="519"/>
                  </a:cubicBezTo>
                  <a:cubicBezTo>
                    <a:pt x="23" y="528"/>
                    <a:pt x="23" y="528"/>
                    <a:pt x="23" y="528"/>
                  </a:cubicBezTo>
                  <a:cubicBezTo>
                    <a:pt x="24" y="547"/>
                    <a:pt x="24" y="547"/>
                    <a:pt x="24" y="547"/>
                  </a:cubicBezTo>
                  <a:cubicBezTo>
                    <a:pt x="24" y="547"/>
                    <a:pt x="0" y="551"/>
                    <a:pt x="12" y="573"/>
                  </a:cubicBezTo>
                  <a:cubicBezTo>
                    <a:pt x="8" y="574"/>
                    <a:pt x="5" y="576"/>
                    <a:pt x="3" y="578"/>
                  </a:cubicBezTo>
                  <a:cubicBezTo>
                    <a:pt x="6" y="591"/>
                    <a:pt x="4" y="608"/>
                    <a:pt x="4" y="608"/>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6" name="Provence" descr="© INSCALE GmbH, 05.05.2010&#10;http://www.presentationload.com/">
              <a:extLst>
                <a:ext uri="{FF2B5EF4-FFF2-40B4-BE49-F238E27FC236}">
                  <a16:creationId xmlns:a16="http://schemas.microsoft.com/office/drawing/2014/main" id="{9A4171FE-BD58-4F57-89AE-DD2732B8B4B6}"/>
                </a:ext>
              </a:extLst>
            </p:cNvPr>
            <p:cNvSpPr>
              <a:spLocks/>
            </p:cNvSpPr>
            <p:nvPr/>
          </p:nvSpPr>
          <p:spPr bwMode="gray">
            <a:xfrm>
              <a:off x="2233" y="2198"/>
              <a:ext cx="838" cy="739"/>
            </a:xfrm>
            <a:custGeom>
              <a:avLst/>
              <a:gdLst/>
              <a:ahLst/>
              <a:cxnLst>
                <a:cxn ang="0">
                  <a:pos x="68" y="539"/>
                </a:cxn>
                <a:cxn ang="0">
                  <a:pos x="78" y="572"/>
                </a:cxn>
                <a:cxn ang="0">
                  <a:pos x="129" y="586"/>
                </a:cxn>
                <a:cxn ang="0">
                  <a:pos x="134" y="565"/>
                </a:cxn>
                <a:cxn ang="0">
                  <a:pos x="161" y="554"/>
                </a:cxn>
                <a:cxn ang="0">
                  <a:pos x="214" y="585"/>
                </a:cxn>
                <a:cxn ang="0">
                  <a:pos x="251" y="596"/>
                </a:cxn>
                <a:cxn ang="0">
                  <a:pos x="255" y="612"/>
                </a:cxn>
                <a:cxn ang="0">
                  <a:pos x="295" y="632"/>
                </a:cxn>
                <a:cxn ang="0">
                  <a:pos x="332" y="649"/>
                </a:cxn>
                <a:cxn ang="0">
                  <a:pos x="364" y="684"/>
                </a:cxn>
                <a:cxn ang="0">
                  <a:pos x="407" y="679"/>
                </a:cxn>
                <a:cxn ang="0">
                  <a:pos x="426" y="679"/>
                </a:cxn>
                <a:cxn ang="0">
                  <a:pos x="465" y="665"/>
                </a:cxn>
                <a:cxn ang="0">
                  <a:pos x="526" y="641"/>
                </a:cxn>
                <a:cxn ang="0">
                  <a:pos x="549" y="634"/>
                </a:cxn>
                <a:cxn ang="0">
                  <a:pos x="532" y="604"/>
                </a:cxn>
                <a:cxn ang="0">
                  <a:pos x="569" y="558"/>
                </a:cxn>
                <a:cxn ang="0">
                  <a:pos x="631" y="523"/>
                </a:cxn>
                <a:cxn ang="0">
                  <a:pos x="667" y="477"/>
                </a:cxn>
                <a:cxn ang="0">
                  <a:pos x="691" y="466"/>
                </a:cxn>
                <a:cxn ang="0">
                  <a:pos x="715" y="460"/>
                </a:cxn>
                <a:cxn ang="0">
                  <a:pos x="723" y="445"/>
                </a:cxn>
                <a:cxn ang="0">
                  <a:pos x="727" y="410"/>
                </a:cxn>
                <a:cxn ang="0">
                  <a:pos x="749" y="384"/>
                </a:cxn>
                <a:cxn ang="0">
                  <a:pos x="764" y="325"/>
                </a:cxn>
                <a:cxn ang="0">
                  <a:pos x="758" y="308"/>
                </a:cxn>
                <a:cxn ang="0">
                  <a:pos x="725" y="323"/>
                </a:cxn>
                <a:cxn ang="0">
                  <a:pos x="630" y="285"/>
                </a:cxn>
                <a:cxn ang="0">
                  <a:pos x="612" y="282"/>
                </a:cxn>
                <a:cxn ang="0">
                  <a:pos x="589" y="238"/>
                </a:cxn>
                <a:cxn ang="0">
                  <a:pos x="579" y="182"/>
                </a:cxn>
                <a:cxn ang="0">
                  <a:pos x="609" y="133"/>
                </a:cxn>
                <a:cxn ang="0">
                  <a:pos x="614" y="82"/>
                </a:cxn>
                <a:cxn ang="0">
                  <a:pos x="548" y="49"/>
                </a:cxn>
                <a:cxn ang="0">
                  <a:pos x="534" y="16"/>
                </a:cxn>
                <a:cxn ang="0">
                  <a:pos x="528" y="2"/>
                </a:cxn>
                <a:cxn ang="0">
                  <a:pos x="501" y="14"/>
                </a:cxn>
                <a:cxn ang="0">
                  <a:pos x="476" y="0"/>
                </a:cxn>
                <a:cxn ang="0">
                  <a:pos x="449" y="11"/>
                </a:cxn>
                <a:cxn ang="0">
                  <a:pos x="468" y="40"/>
                </a:cxn>
                <a:cxn ang="0">
                  <a:pos x="413" y="94"/>
                </a:cxn>
                <a:cxn ang="0">
                  <a:pos x="361" y="116"/>
                </a:cxn>
                <a:cxn ang="0">
                  <a:pos x="321" y="162"/>
                </a:cxn>
                <a:cxn ang="0">
                  <a:pos x="325" y="198"/>
                </a:cxn>
                <a:cxn ang="0">
                  <a:pos x="281" y="206"/>
                </a:cxn>
                <a:cxn ang="0">
                  <a:pos x="286" y="230"/>
                </a:cxn>
                <a:cxn ang="0">
                  <a:pos x="286" y="256"/>
                </a:cxn>
                <a:cxn ang="0">
                  <a:pos x="334" y="278"/>
                </a:cxn>
                <a:cxn ang="0">
                  <a:pos x="322" y="311"/>
                </a:cxn>
                <a:cxn ang="0">
                  <a:pos x="288" y="326"/>
                </a:cxn>
                <a:cxn ang="0">
                  <a:pos x="265" y="314"/>
                </a:cxn>
                <a:cxn ang="0">
                  <a:pos x="237" y="295"/>
                </a:cxn>
                <a:cxn ang="0">
                  <a:pos x="213" y="294"/>
                </a:cxn>
                <a:cxn ang="0">
                  <a:pos x="201" y="276"/>
                </a:cxn>
                <a:cxn ang="0">
                  <a:pos x="136" y="296"/>
                </a:cxn>
                <a:cxn ang="0">
                  <a:pos x="100" y="283"/>
                </a:cxn>
                <a:cxn ang="0">
                  <a:pos x="104" y="303"/>
                </a:cxn>
                <a:cxn ang="0">
                  <a:pos x="114" y="343"/>
                </a:cxn>
                <a:cxn ang="0">
                  <a:pos x="145" y="371"/>
                </a:cxn>
                <a:cxn ang="0">
                  <a:pos x="94" y="472"/>
                </a:cxn>
                <a:cxn ang="0">
                  <a:pos x="54" y="490"/>
                </a:cxn>
                <a:cxn ang="0">
                  <a:pos x="0" y="540"/>
                </a:cxn>
              </a:cxnLst>
              <a:rect l="0" t="0" r="r" b="b"/>
              <a:pathLst>
                <a:path w="778" h="684">
                  <a:moveTo>
                    <a:pt x="2" y="541"/>
                  </a:moveTo>
                  <a:cubicBezTo>
                    <a:pt x="3" y="544"/>
                    <a:pt x="54" y="539"/>
                    <a:pt x="68" y="539"/>
                  </a:cubicBezTo>
                  <a:cubicBezTo>
                    <a:pt x="82" y="539"/>
                    <a:pt x="80" y="555"/>
                    <a:pt x="80" y="555"/>
                  </a:cubicBezTo>
                  <a:cubicBezTo>
                    <a:pt x="57" y="564"/>
                    <a:pt x="80" y="563"/>
                    <a:pt x="78" y="572"/>
                  </a:cubicBezTo>
                  <a:cubicBezTo>
                    <a:pt x="76" y="581"/>
                    <a:pt x="119" y="577"/>
                    <a:pt x="119" y="577"/>
                  </a:cubicBezTo>
                  <a:cubicBezTo>
                    <a:pt x="119" y="577"/>
                    <a:pt x="127" y="583"/>
                    <a:pt x="129" y="586"/>
                  </a:cubicBezTo>
                  <a:cubicBezTo>
                    <a:pt x="131" y="589"/>
                    <a:pt x="138" y="577"/>
                    <a:pt x="144" y="575"/>
                  </a:cubicBezTo>
                  <a:cubicBezTo>
                    <a:pt x="150" y="573"/>
                    <a:pt x="138" y="576"/>
                    <a:pt x="134" y="565"/>
                  </a:cubicBezTo>
                  <a:cubicBezTo>
                    <a:pt x="130" y="554"/>
                    <a:pt x="139" y="558"/>
                    <a:pt x="139" y="554"/>
                  </a:cubicBezTo>
                  <a:cubicBezTo>
                    <a:pt x="139" y="550"/>
                    <a:pt x="151" y="554"/>
                    <a:pt x="161" y="554"/>
                  </a:cubicBezTo>
                  <a:cubicBezTo>
                    <a:pt x="171" y="554"/>
                    <a:pt x="177" y="583"/>
                    <a:pt x="177" y="583"/>
                  </a:cubicBezTo>
                  <a:cubicBezTo>
                    <a:pt x="214" y="585"/>
                    <a:pt x="214" y="585"/>
                    <a:pt x="214" y="585"/>
                  </a:cubicBezTo>
                  <a:cubicBezTo>
                    <a:pt x="214" y="585"/>
                    <a:pt x="233" y="578"/>
                    <a:pt x="240" y="569"/>
                  </a:cubicBezTo>
                  <a:cubicBezTo>
                    <a:pt x="247" y="560"/>
                    <a:pt x="251" y="596"/>
                    <a:pt x="251" y="596"/>
                  </a:cubicBezTo>
                  <a:cubicBezTo>
                    <a:pt x="251" y="596"/>
                    <a:pt x="248" y="600"/>
                    <a:pt x="245" y="600"/>
                  </a:cubicBezTo>
                  <a:cubicBezTo>
                    <a:pt x="242" y="600"/>
                    <a:pt x="252" y="608"/>
                    <a:pt x="255" y="612"/>
                  </a:cubicBezTo>
                  <a:cubicBezTo>
                    <a:pt x="258" y="616"/>
                    <a:pt x="248" y="623"/>
                    <a:pt x="248" y="623"/>
                  </a:cubicBezTo>
                  <a:cubicBezTo>
                    <a:pt x="248" y="623"/>
                    <a:pt x="291" y="631"/>
                    <a:pt x="295" y="632"/>
                  </a:cubicBezTo>
                  <a:cubicBezTo>
                    <a:pt x="305" y="651"/>
                    <a:pt x="316" y="636"/>
                    <a:pt x="322" y="637"/>
                  </a:cubicBezTo>
                  <a:cubicBezTo>
                    <a:pt x="328" y="638"/>
                    <a:pt x="320" y="648"/>
                    <a:pt x="332" y="649"/>
                  </a:cubicBezTo>
                  <a:cubicBezTo>
                    <a:pt x="344" y="650"/>
                    <a:pt x="354" y="671"/>
                    <a:pt x="348" y="676"/>
                  </a:cubicBezTo>
                  <a:cubicBezTo>
                    <a:pt x="342" y="681"/>
                    <a:pt x="356" y="680"/>
                    <a:pt x="364" y="684"/>
                  </a:cubicBezTo>
                  <a:cubicBezTo>
                    <a:pt x="372" y="671"/>
                    <a:pt x="393" y="669"/>
                    <a:pt x="399" y="666"/>
                  </a:cubicBezTo>
                  <a:cubicBezTo>
                    <a:pt x="405" y="663"/>
                    <a:pt x="404" y="681"/>
                    <a:pt x="407" y="679"/>
                  </a:cubicBezTo>
                  <a:cubicBezTo>
                    <a:pt x="410" y="677"/>
                    <a:pt x="418" y="669"/>
                    <a:pt x="424" y="674"/>
                  </a:cubicBezTo>
                  <a:cubicBezTo>
                    <a:pt x="426" y="676"/>
                    <a:pt x="426" y="678"/>
                    <a:pt x="426" y="679"/>
                  </a:cubicBezTo>
                  <a:cubicBezTo>
                    <a:pt x="427" y="679"/>
                    <a:pt x="437" y="672"/>
                    <a:pt x="443" y="663"/>
                  </a:cubicBezTo>
                  <a:cubicBezTo>
                    <a:pt x="449" y="654"/>
                    <a:pt x="443" y="663"/>
                    <a:pt x="465" y="665"/>
                  </a:cubicBezTo>
                  <a:cubicBezTo>
                    <a:pt x="472" y="679"/>
                    <a:pt x="481" y="671"/>
                    <a:pt x="481" y="671"/>
                  </a:cubicBezTo>
                  <a:cubicBezTo>
                    <a:pt x="469" y="660"/>
                    <a:pt x="520" y="642"/>
                    <a:pt x="526" y="641"/>
                  </a:cubicBezTo>
                  <a:cubicBezTo>
                    <a:pt x="532" y="640"/>
                    <a:pt x="538" y="646"/>
                    <a:pt x="538" y="646"/>
                  </a:cubicBezTo>
                  <a:cubicBezTo>
                    <a:pt x="538" y="646"/>
                    <a:pt x="547" y="639"/>
                    <a:pt x="549" y="634"/>
                  </a:cubicBezTo>
                  <a:cubicBezTo>
                    <a:pt x="551" y="629"/>
                    <a:pt x="551" y="618"/>
                    <a:pt x="548" y="610"/>
                  </a:cubicBezTo>
                  <a:cubicBezTo>
                    <a:pt x="518" y="622"/>
                    <a:pt x="535" y="604"/>
                    <a:pt x="532" y="604"/>
                  </a:cubicBezTo>
                  <a:cubicBezTo>
                    <a:pt x="529" y="604"/>
                    <a:pt x="552" y="584"/>
                    <a:pt x="560" y="578"/>
                  </a:cubicBezTo>
                  <a:cubicBezTo>
                    <a:pt x="559" y="561"/>
                    <a:pt x="569" y="558"/>
                    <a:pt x="569" y="558"/>
                  </a:cubicBezTo>
                  <a:cubicBezTo>
                    <a:pt x="581" y="586"/>
                    <a:pt x="609" y="532"/>
                    <a:pt x="609" y="532"/>
                  </a:cubicBezTo>
                  <a:cubicBezTo>
                    <a:pt x="603" y="509"/>
                    <a:pt x="629" y="516"/>
                    <a:pt x="631" y="523"/>
                  </a:cubicBezTo>
                  <a:cubicBezTo>
                    <a:pt x="630" y="511"/>
                    <a:pt x="644" y="515"/>
                    <a:pt x="648" y="508"/>
                  </a:cubicBezTo>
                  <a:cubicBezTo>
                    <a:pt x="647" y="480"/>
                    <a:pt x="667" y="477"/>
                    <a:pt x="667" y="477"/>
                  </a:cubicBezTo>
                  <a:cubicBezTo>
                    <a:pt x="675" y="465"/>
                    <a:pt x="675" y="465"/>
                    <a:pt x="675" y="465"/>
                  </a:cubicBezTo>
                  <a:cubicBezTo>
                    <a:pt x="691" y="466"/>
                    <a:pt x="691" y="466"/>
                    <a:pt x="691" y="466"/>
                  </a:cubicBezTo>
                  <a:cubicBezTo>
                    <a:pt x="696" y="456"/>
                    <a:pt x="696" y="456"/>
                    <a:pt x="696" y="456"/>
                  </a:cubicBezTo>
                  <a:cubicBezTo>
                    <a:pt x="715" y="460"/>
                    <a:pt x="715" y="460"/>
                    <a:pt x="715" y="460"/>
                  </a:cubicBezTo>
                  <a:cubicBezTo>
                    <a:pt x="713" y="442"/>
                    <a:pt x="713" y="442"/>
                    <a:pt x="713" y="442"/>
                  </a:cubicBezTo>
                  <a:cubicBezTo>
                    <a:pt x="723" y="445"/>
                    <a:pt x="723" y="445"/>
                    <a:pt x="723" y="445"/>
                  </a:cubicBezTo>
                  <a:cubicBezTo>
                    <a:pt x="736" y="435"/>
                    <a:pt x="736" y="435"/>
                    <a:pt x="736" y="435"/>
                  </a:cubicBezTo>
                  <a:cubicBezTo>
                    <a:pt x="727" y="410"/>
                    <a:pt x="727" y="410"/>
                    <a:pt x="727" y="410"/>
                  </a:cubicBezTo>
                  <a:cubicBezTo>
                    <a:pt x="746" y="398"/>
                    <a:pt x="746" y="398"/>
                    <a:pt x="746" y="398"/>
                  </a:cubicBezTo>
                  <a:cubicBezTo>
                    <a:pt x="749" y="384"/>
                    <a:pt x="749" y="384"/>
                    <a:pt x="749" y="384"/>
                  </a:cubicBezTo>
                  <a:cubicBezTo>
                    <a:pt x="763" y="390"/>
                    <a:pt x="778" y="338"/>
                    <a:pt x="778" y="338"/>
                  </a:cubicBezTo>
                  <a:cubicBezTo>
                    <a:pt x="764" y="325"/>
                    <a:pt x="764" y="325"/>
                    <a:pt x="764" y="325"/>
                  </a:cubicBezTo>
                  <a:cubicBezTo>
                    <a:pt x="768" y="311"/>
                    <a:pt x="768" y="311"/>
                    <a:pt x="768" y="311"/>
                  </a:cubicBezTo>
                  <a:cubicBezTo>
                    <a:pt x="758" y="308"/>
                    <a:pt x="758" y="308"/>
                    <a:pt x="758" y="308"/>
                  </a:cubicBezTo>
                  <a:cubicBezTo>
                    <a:pt x="751" y="316"/>
                    <a:pt x="751" y="316"/>
                    <a:pt x="751" y="316"/>
                  </a:cubicBezTo>
                  <a:cubicBezTo>
                    <a:pt x="751" y="316"/>
                    <a:pt x="730" y="316"/>
                    <a:pt x="725" y="323"/>
                  </a:cubicBezTo>
                  <a:cubicBezTo>
                    <a:pt x="717" y="339"/>
                    <a:pt x="690" y="316"/>
                    <a:pt x="690" y="316"/>
                  </a:cubicBezTo>
                  <a:cubicBezTo>
                    <a:pt x="630" y="285"/>
                    <a:pt x="630" y="285"/>
                    <a:pt x="630" y="285"/>
                  </a:cubicBezTo>
                  <a:cubicBezTo>
                    <a:pt x="623" y="288"/>
                    <a:pt x="623" y="288"/>
                    <a:pt x="623" y="288"/>
                  </a:cubicBezTo>
                  <a:cubicBezTo>
                    <a:pt x="612" y="282"/>
                    <a:pt x="612" y="282"/>
                    <a:pt x="612" y="282"/>
                  </a:cubicBezTo>
                  <a:cubicBezTo>
                    <a:pt x="613" y="271"/>
                    <a:pt x="613" y="271"/>
                    <a:pt x="613" y="271"/>
                  </a:cubicBezTo>
                  <a:cubicBezTo>
                    <a:pt x="589" y="238"/>
                    <a:pt x="589" y="238"/>
                    <a:pt x="589" y="238"/>
                  </a:cubicBezTo>
                  <a:cubicBezTo>
                    <a:pt x="598" y="219"/>
                    <a:pt x="598" y="219"/>
                    <a:pt x="598" y="219"/>
                  </a:cubicBezTo>
                  <a:cubicBezTo>
                    <a:pt x="579" y="182"/>
                    <a:pt x="579" y="182"/>
                    <a:pt x="579" y="182"/>
                  </a:cubicBezTo>
                  <a:cubicBezTo>
                    <a:pt x="579" y="182"/>
                    <a:pt x="601" y="155"/>
                    <a:pt x="604" y="152"/>
                  </a:cubicBezTo>
                  <a:cubicBezTo>
                    <a:pt x="598" y="134"/>
                    <a:pt x="611" y="136"/>
                    <a:pt x="609" y="133"/>
                  </a:cubicBezTo>
                  <a:cubicBezTo>
                    <a:pt x="622" y="140"/>
                    <a:pt x="620" y="121"/>
                    <a:pt x="624" y="123"/>
                  </a:cubicBezTo>
                  <a:cubicBezTo>
                    <a:pt x="611" y="113"/>
                    <a:pt x="614" y="82"/>
                    <a:pt x="614" y="82"/>
                  </a:cubicBezTo>
                  <a:cubicBezTo>
                    <a:pt x="577" y="74"/>
                    <a:pt x="577" y="74"/>
                    <a:pt x="577" y="74"/>
                  </a:cubicBezTo>
                  <a:cubicBezTo>
                    <a:pt x="548" y="49"/>
                    <a:pt x="548" y="49"/>
                    <a:pt x="548" y="49"/>
                  </a:cubicBezTo>
                  <a:cubicBezTo>
                    <a:pt x="550" y="19"/>
                    <a:pt x="550" y="19"/>
                    <a:pt x="550" y="19"/>
                  </a:cubicBezTo>
                  <a:cubicBezTo>
                    <a:pt x="534" y="16"/>
                    <a:pt x="534" y="16"/>
                    <a:pt x="534" y="16"/>
                  </a:cubicBezTo>
                  <a:cubicBezTo>
                    <a:pt x="532" y="7"/>
                    <a:pt x="532" y="7"/>
                    <a:pt x="532" y="7"/>
                  </a:cubicBezTo>
                  <a:cubicBezTo>
                    <a:pt x="530" y="6"/>
                    <a:pt x="529" y="4"/>
                    <a:pt x="528" y="2"/>
                  </a:cubicBezTo>
                  <a:cubicBezTo>
                    <a:pt x="504" y="6"/>
                    <a:pt x="504" y="6"/>
                    <a:pt x="504" y="6"/>
                  </a:cubicBezTo>
                  <a:cubicBezTo>
                    <a:pt x="501" y="14"/>
                    <a:pt x="501" y="14"/>
                    <a:pt x="501" y="14"/>
                  </a:cubicBezTo>
                  <a:cubicBezTo>
                    <a:pt x="477" y="14"/>
                    <a:pt x="477" y="14"/>
                    <a:pt x="477" y="14"/>
                  </a:cubicBezTo>
                  <a:cubicBezTo>
                    <a:pt x="476" y="0"/>
                    <a:pt x="476" y="0"/>
                    <a:pt x="476" y="0"/>
                  </a:cubicBezTo>
                  <a:cubicBezTo>
                    <a:pt x="446" y="3"/>
                    <a:pt x="446" y="3"/>
                    <a:pt x="446" y="3"/>
                  </a:cubicBezTo>
                  <a:cubicBezTo>
                    <a:pt x="449" y="11"/>
                    <a:pt x="449" y="11"/>
                    <a:pt x="449" y="11"/>
                  </a:cubicBezTo>
                  <a:cubicBezTo>
                    <a:pt x="449" y="11"/>
                    <a:pt x="444" y="24"/>
                    <a:pt x="444" y="35"/>
                  </a:cubicBezTo>
                  <a:cubicBezTo>
                    <a:pt x="444" y="46"/>
                    <a:pt x="468" y="40"/>
                    <a:pt x="468" y="40"/>
                  </a:cubicBezTo>
                  <a:cubicBezTo>
                    <a:pt x="468" y="40"/>
                    <a:pt x="469" y="59"/>
                    <a:pt x="476" y="82"/>
                  </a:cubicBezTo>
                  <a:cubicBezTo>
                    <a:pt x="410" y="80"/>
                    <a:pt x="420" y="100"/>
                    <a:pt x="413" y="94"/>
                  </a:cubicBezTo>
                  <a:cubicBezTo>
                    <a:pt x="406" y="87"/>
                    <a:pt x="397" y="110"/>
                    <a:pt x="397" y="110"/>
                  </a:cubicBezTo>
                  <a:cubicBezTo>
                    <a:pt x="397" y="110"/>
                    <a:pt x="373" y="116"/>
                    <a:pt x="361" y="116"/>
                  </a:cubicBezTo>
                  <a:cubicBezTo>
                    <a:pt x="349" y="116"/>
                    <a:pt x="354" y="128"/>
                    <a:pt x="358" y="138"/>
                  </a:cubicBezTo>
                  <a:cubicBezTo>
                    <a:pt x="362" y="147"/>
                    <a:pt x="321" y="162"/>
                    <a:pt x="321" y="162"/>
                  </a:cubicBezTo>
                  <a:cubicBezTo>
                    <a:pt x="308" y="188"/>
                    <a:pt x="308" y="188"/>
                    <a:pt x="308" y="188"/>
                  </a:cubicBezTo>
                  <a:cubicBezTo>
                    <a:pt x="325" y="198"/>
                    <a:pt x="325" y="198"/>
                    <a:pt x="325" y="198"/>
                  </a:cubicBezTo>
                  <a:cubicBezTo>
                    <a:pt x="310" y="210"/>
                    <a:pt x="310" y="210"/>
                    <a:pt x="310" y="210"/>
                  </a:cubicBezTo>
                  <a:cubicBezTo>
                    <a:pt x="281" y="206"/>
                    <a:pt x="281" y="206"/>
                    <a:pt x="281" y="206"/>
                  </a:cubicBezTo>
                  <a:cubicBezTo>
                    <a:pt x="278" y="218"/>
                    <a:pt x="278" y="218"/>
                    <a:pt x="278" y="218"/>
                  </a:cubicBezTo>
                  <a:cubicBezTo>
                    <a:pt x="286" y="230"/>
                    <a:pt x="286" y="230"/>
                    <a:pt x="286" y="230"/>
                  </a:cubicBezTo>
                  <a:cubicBezTo>
                    <a:pt x="270" y="231"/>
                    <a:pt x="270" y="231"/>
                    <a:pt x="270" y="231"/>
                  </a:cubicBezTo>
                  <a:cubicBezTo>
                    <a:pt x="286" y="256"/>
                    <a:pt x="286" y="256"/>
                    <a:pt x="286" y="256"/>
                  </a:cubicBezTo>
                  <a:cubicBezTo>
                    <a:pt x="317" y="258"/>
                    <a:pt x="317" y="258"/>
                    <a:pt x="317" y="258"/>
                  </a:cubicBezTo>
                  <a:cubicBezTo>
                    <a:pt x="334" y="278"/>
                    <a:pt x="334" y="278"/>
                    <a:pt x="334" y="278"/>
                  </a:cubicBezTo>
                  <a:cubicBezTo>
                    <a:pt x="334" y="300"/>
                    <a:pt x="334" y="300"/>
                    <a:pt x="334" y="300"/>
                  </a:cubicBezTo>
                  <a:cubicBezTo>
                    <a:pt x="334" y="300"/>
                    <a:pt x="320" y="314"/>
                    <a:pt x="322" y="311"/>
                  </a:cubicBezTo>
                  <a:cubicBezTo>
                    <a:pt x="298" y="303"/>
                    <a:pt x="308" y="314"/>
                    <a:pt x="308" y="314"/>
                  </a:cubicBezTo>
                  <a:cubicBezTo>
                    <a:pt x="288" y="326"/>
                    <a:pt x="288" y="326"/>
                    <a:pt x="288" y="326"/>
                  </a:cubicBezTo>
                  <a:cubicBezTo>
                    <a:pt x="278" y="319"/>
                    <a:pt x="278" y="319"/>
                    <a:pt x="278" y="319"/>
                  </a:cubicBezTo>
                  <a:cubicBezTo>
                    <a:pt x="278" y="319"/>
                    <a:pt x="265" y="323"/>
                    <a:pt x="265" y="314"/>
                  </a:cubicBezTo>
                  <a:cubicBezTo>
                    <a:pt x="265" y="304"/>
                    <a:pt x="258" y="300"/>
                    <a:pt x="258" y="300"/>
                  </a:cubicBezTo>
                  <a:cubicBezTo>
                    <a:pt x="237" y="295"/>
                    <a:pt x="237" y="295"/>
                    <a:pt x="237" y="295"/>
                  </a:cubicBezTo>
                  <a:cubicBezTo>
                    <a:pt x="238" y="302"/>
                    <a:pt x="238" y="302"/>
                    <a:pt x="238" y="302"/>
                  </a:cubicBezTo>
                  <a:cubicBezTo>
                    <a:pt x="213" y="294"/>
                    <a:pt x="213" y="294"/>
                    <a:pt x="213" y="294"/>
                  </a:cubicBezTo>
                  <a:cubicBezTo>
                    <a:pt x="213" y="270"/>
                    <a:pt x="213" y="270"/>
                    <a:pt x="213" y="270"/>
                  </a:cubicBezTo>
                  <a:cubicBezTo>
                    <a:pt x="201" y="276"/>
                    <a:pt x="201" y="276"/>
                    <a:pt x="201" y="276"/>
                  </a:cubicBezTo>
                  <a:cubicBezTo>
                    <a:pt x="190" y="272"/>
                    <a:pt x="190" y="272"/>
                    <a:pt x="190" y="272"/>
                  </a:cubicBezTo>
                  <a:cubicBezTo>
                    <a:pt x="136" y="296"/>
                    <a:pt x="136" y="296"/>
                    <a:pt x="136" y="296"/>
                  </a:cubicBezTo>
                  <a:cubicBezTo>
                    <a:pt x="134" y="260"/>
                    <a:pt x="100" y="268"/>
                    <a:pt x="100" y="268"/>
                  </a:cubicBezTo>
                  <a:cubicBezTo>
                    <a:pt x="100" y="283"/>
                    <a:pt x="100" y="283"/>
                    <a:pt x="100" y="283"/>
                  </a:cubicBezTo>
                  <a:cubicBezTo>
                    <a:pt x="95" y="281"/>
                    <a:pt x="95" y="281"/>
                    <a:pt x="95" y="281"/>
                  </a:cubicBezTo>
                  <a:cubicBezTo>
                    <a:pt x="104" y="303"/>
                    <a:pt x="104" y="303"/>
                    <a:pt x="104" y="303"/>
                  </a:cubicBezTo>
                  <a:cubicBezTo>
                    <a:pt x="114" y="304"/>
                    <a:pt x="114" y="304"/>
                    <a:pt x="114" y="304"/>
                  </a:cubicBezTo>
                  <a:cubicBezTo>
                    <a:pt x="114" y="343"/>
                    <a:pt x="114" y="343"/>
                    <a:pt x="114" y="343"/>
                  </a:cubicBezTo>
                  <a:cubicBezTo>
                    <a:pt x="125" y="339"/>
                    <a:pt x="125" y="339"/>
                    <a:pt x="125" y="339"/>
                  </a:cubicBezTo>
                  <a:cubicBezTo>
                    <a:pt x="145" y="371"/>
                    <a:pt x="145" y="371"/>
                    <a:pt x="145" y="371"/>
                  </a:cubicBezTo>
                  <a:cubicBezTo>
                    <a:pt x="102" y="415"/>
                    <a:pt x="102" y="415"/>
                    <a:pt x="102" y="415"/>
                  </a:cubicBezTo>
                  <a:cubicBezTo>
                    <a:pt x="94" y="472"/>
                    <a:pt x="94" y="472"/>
                    <a:pt x="94" y="472"/>
                  </a:cubicBezTo>
                  <a:cubicBezTo>
                    <a:pt x="69" y="466"/>
                    <a:pt x="69" y="466"/>
                    <a:pt x="69" y="466"/>
                  </a:cubicBezTo>
                  <a:cubicBezTo>
                    <a:pt x="54" y="490"/>
                    <a:pt x="54" y="490"/>
                    <a:pt x="54" y="490"/>
                  </a:cubicBezTo>
                  <a:cubicBezTo>
                    <a:pt x="58" y="500"/>
                    <a:pt x="58" y="500"/>
                    <a:pt x="58" y="500"/>
                  </a:cubicBezTo>
                  <a:cubicBezTo>
                    <a:pt x="0" y="540"/>
                    <a:pt x="0" y="540"/>
                    <a:pt x="0" y="540"/>
                  </a:cubicBezTo>
                  <a:cubicBezTo>
                    <a:pt x="1" y="541"/>
                    <a:pt x="2" y="541"/>
                    <a:pt x="2" y="54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7" name="Languedoc-Roussillon" descr="© INSCALE GmbH, 05.05.2010&#10;http://www.presentationload.com/">
              <a:extLst>
                <a:ext uri="{FF2B5EF4-FFF2-40B4-BE49-F238E27FC236}">
                  <a16:creationId xmlns:a16="http://schemas.microsoft.com/office/drawing/2014/main" id="{50A5143E-E69F-488B-AEDD-AD9B91FA6B95}"/>
                </a:ext>
              </a:extLst>
            </p:cNvPr>
            <p:cNvSpPr>
              <a:spLocks/>
            </p:cNvSpPr>
            <p:nvPr/>
          </p:nvSpPr>
          <p:spPr bwMode="gray">
            <a:xfrm>
              <a:off x="1594" y="2270"/>
              <a:ext cx="795" cy="930"/>
            </a:xfrm>
            <a:custGeom>
              <a:avLst/>
              <a:gdLst/>
              <a:ahLst/>
              <a:cxnLst>
                <a:cxn ang="0">
                  <a:pos x="20" y="800"/>
                </a:cxn>
                <a:cxn ang="0">
                  <a:pos x="61" y="817"/>
                </a:cxn>
                <a:cxn ang="0">
                  <a:pos x="99" y="847"/>
                </a:cxn>
                <a:cxn ang="0">
                  <a:pos x="151" y="830"/>
                </a:cxn>
                <a:cxn ang="0">
                  <a:pos x="230" y="858"/>
                </a:cxn>
                <a:cxn ang="0">
                  <a:pos x="248" y="831"/>
                </a:cxn>
                <a:cxn ang="0">
                  <a:pos x="282" y="817"/>
                </a:cxn>
                <a:cxn ang="0">
                  <a:pos x="318" y="812"/>
                </a:cxn>
                <a:cxn ang="0">
                  <a:pos x="347" y="824"/>
                </a:cxn>
                <a:cxn ang="0">
                  <a:pos x="335" y="788"/>
                </a:cxn>
                <a:cxn ang="0">
                  <a:pos x="322" y="658"/>
                </a:cxn>
                <a:cxn ang="0">
                  <a:pos x="319" y="622"/>
                </a:cxn>
                <a:cxn ang="0">
                  <a:pos x="466" y="488"/>
                </a:cxn>
                <a:cxn ang="0">
                  <a:pos x="564" y="442"/>
                </a:cxn>
                <a:cxn ang="0">
                  <a:pos x="650" y="433"/>
                </a:cxn>
                <a:cxn ang="0">
                  <a:pos x="661" y="399"/>
                </a:cxn>
                <a:cxn ang="0">
                  <a:pos x="694" y="348"/>
                </a:cxn>
                <a:cxn ang="0">
                  <a:pos x="717" y="272"/>
                </a:cxn>
                <a:cxn ang="0">
                  <a:pos x="706" y="237"/>
                </a:cxn>
                <a:cxn ang="0">
                  <a:pos x="687" y="214"/>
                </a:cxn>
                <a:cxn ang="0">
                  <a:pos x="641" y="209"/>
                </a:cxn>
                <a:cxn ang="0">
                  <a:pos x="634" y="195"/>
                </a:cxn>
                <a:cxn ang="0">
                  <a:pos x="600" y="225"/>
                </a:cxn>
                <a:cxn ang="0">
                  <a:pos x="549" y="208"/>
                </a:cxn>
                <a:cxn ang="0">
                  <a:pos x="536" y="159"/>
                </a:cxn>
                <a:cxn ang="0">
                  <a:pos x="518" y="121"/>
                </a:cxn>
                <a:cxn ang="0">
                  <a:pos x="501" y="71"/>
                </a:cxn>
                <a:cxn ang="0">
                  <a:pos x="458" y="40"/>
                </a:cxn>
                <a:cxn ang="0">
                  <a:pos x="420" y="51"/>
                </a:cxn>
                <a:cxn ang="0">
                  <a:pos x="373" y="16"/>
                </a:cxn>
                <a:cxn ang="0">
                  <a:pos x="368" y="27"/>
                </a:cxn>
                <a:cxn ang="0">
                  <a:pos x="342" y="19"/>
                </a:cxn>
                <a:cxn ang="0">
                  <a:pos x="334" y="43"/>
                </a:cxn>
                <a:cxn ang="0">
                  <a:pos x="320" y="79"/>
                </a:cxn>
                <a:cxn ang="0">
                  <a:pos x="308" y="108"/>
                </a:cxn>
                <a:cxn ang="0">
                  <a:pos x="325" y="155"/>
                </a:cxn>
                <a:cxn ang="0">
                  <a:pos x="348" y="208"/>
                </a:cxn>
                <a:cxn ang="0">
                  <a:pos x="361" y="232"/>
                </a:cxn>
                <a:cxn ang="0">
                  <a:pos x="393" y="256"/>
                </a:cxn>
                <a:cxn ang="0">
                  <a:pos x="393" y="285"/>
                </a:cxn>
                <a:cxn ang="0">
                  <a:pos x="418" y="303"/>
                </a:cxn>
                <a:cxn ang="0">
                  <a:pos x="394" y="345"/>
                </a:cxn>
                <a:cxn ang="0">
                  <a:pos x="373" y="364"/>
                </a:cxn>
                <a:cxn ang="0">
                  <a:pos x="328" y="405"/>
                </a:cxn>
                <a:cxn ang="0">
                  <a:pos x="253" y="427"/>
                </a:cxn>
                <a:cxn ang="0">
                  <a:pos x="198" y="492"/>
                </a:cxn>
                <a:cxn ang="0">
                  <a:pos x="130" y="509"/>
                </a:cxn>
                <a:cxn ang="0">
                  <a:pos x="96" y="496"/>
                </a:cxn>
                <a:cxn ang="0">
                  <a:pos x="62" y="508"/>
                </a:cxn>
                <a:cxn ang="0">
                  <a:pos x="37" y="520"/>
                </a:cxn>
                <a:cxn ang="0">
                  <a:pos x="14" y="572"/>
                </a:cxn>
                <a:cxn ang="0">
                  <a:pos x="68" y="612"/>
                </a:cxn>
                <a:cxn ang="0">
                  <a:pos x="64" y="651"/>
                </a:cxn>
                <a:cxn ang="0">
                  <a:pos x="77" y="669"/>
                </a:cxn>
                <a:cxn ang="0">
                  <a:pos x="53" y="693"/>
                </a:cxn>
                <a:cxn ang="0">
                  <a:pos x="101" y="713"/>
                </a:cxn>
                <a:cxn ang="0">
                  <a:pos x="76" y="743"/>
                </a:cxn>
                <a:cxn ang="0">
                  <a:pos x="57" y="760"/>
                </a:cxn>
                <a:cxn ang="0">
                  <a:pos x="26" y="768"/>
                </a:cxn>
                <a:cxn ang="0">
                  <a:pos x="25" y="777"/>
                </a:cxn>
              </a:cxnLst>
              <a:rect l="0" t="0" r="r" b="b"/>
              <a:pathLst>
                <a:path w="737" h="861">
                  <a:moveTo>
                    <a:pt x="25" y="777"/>
                  </a:moveTo>
                  <a:cubicBezTo>
                    <a:pt x="20" y="781"/>
                    <a:pt x="20" y="800"/>
                    <a:pt x="20" y="800"/>
                  </a:cubicBezTo>
                  <a:cubicBezTo>
                    <a:pt x="20" y="800"/>
                    <a:pt x="41" y="808"/>
                    <a:pt x="43" y="805"/>
                  </a:cubicBezTo>
                  <a:cubicBezTo>
                    <a:pt x="47" y="818"/>
                    <a:pt x="61" y="817"/>
                    <a:pt x="61" y="817"/>
                  </a:cubicBezTo>
                  <a:cubicBezTo>
                    <a:pt x="79" y="848"/>
                    <a:pt x="79" y="848"/>
                    <a:pt x="79" y="848"/>
                  </a:cubicBezTo>
                  <a:cubicBezTo>
                    <a:pt x="99" y="847"/>
                    <a:pt x="99" y="847"/>
                    <a:pt x="99" y="847"/>
                  </a:cubicBezTo>
                  <a:cubicBezTo>
                    <a:pt x="119" y="828"/>
                    <a:pt x="119" y="828"/>
                    <a:pt x="119" y="828"/>
                  </a:cubicBezTo>
                  <a:cubicBezTo>
                    <a:pt x="151" y="830"/>
                    <a:pt x="151" y="830"/>
                    <a:pt x="151" y="830"/>
                  </a:cubicBezTo>
                  <a:cubicBezTo>
                    <a:pt x="151" y="830"/>
                    <a:pt x="194" y="861"/>
                    <a:pt x="205" y="857"/>
                  </a:cubicBezTo>
                  <a:cubicBezTo>
                    <a:pt x="216" y="853"/>
                    <a:pt x="230" y="858"/>
                    <a:pt x="230" y="858"/>
                  </a:cubicBezTo>
                  <a:cubicBezTo>
                    <a:pt x="234" y="844"/>
                    <a:pt x="234" y="844"/>
                    <a:pt x="234" y="844"/>
                  </a:cubicBezTo>
                  <a:cubicBezTo>
                    <a:pt x="248" y="831"/>
                    <a:pt x="248" y="831"/>
                    <a:pt x="248" y="831"/>
                  </a:cubicBezTo>
                  <a:cubicBezTo>
                    <a:pt x="265" y="830"/>
                    <a:pt x="265" y="830"/>
                    <a:pt x="265" y="830"/>
                  </a:cubicBezTo>
                  <a:cubicBezTo>
                    <a:pt x="282" y="817"/>
                    <a:pt x="282" y="817"/>
                    <a:pt x="282" y="817"/>
                  </a:cubicBezTo>
                  <a:cubicBezTo>
                    <a:pt x="313" y="812"/>
                    <a:pt x="313" y="812"/>
                    <a:pt x="313" y="812"/>
                  </a:cubicBezTo>
                  <a:cubicBezTo>
                    <a:pt x="318" y="812"/>
                    <a:pt x="318" y="812"/>
                    <a:pt x="318" y="812"/>
                  </a:cubicBezTo>
                  <a:cubicBezTo>
                    <a:pt x="328" y="830"/>
                    <a:pt x="328" y="830"/>
                    <a:pt x="328" y="830"/>
                  </a:cubicBezTo>
                  <a:cubicBezTo>
                    <a:pt x="347" y="824"/>
                    <a:pt x="347" y="824"/>
                    <a:pt x="347" y="824"/>
                  </a:cubicBezTo>
                  <a:cubicBezTo>
                    <a:pt x="352" y="815"/>
                    <a:pt x="340" y="807"/>
                    <a:pt x="340" y="807"/>
                  </a:cubicBezTo>
                  <a:cubicBezTo>
                    <a:pt x="335" y="788"/>
                    <a:pt x="335" y="788"/>
                    <a:pt x="335" y="788"/>
                  </a:cubicBezTo>
                  <a:cubicBezTo>
                    <a:pt x="318" y="785"/>
                    <a:pt x="318" y="785"/>
                    <a:pt x="318" y="785"/>
                  </a:cubicBezTo>
                  <a:cubicBezTo>
                    <a:pt x="322" y="658"/>
                    <a:pt x="322" y="658"/>
                    <a:pt x="322" y="658"/>
                  </a:cubicBezTo>
                  <a:cubicBezTo>
                    <a:pt x="312" y="643"/>
                    <a:pt x="312" y="643"/>
                    <a:pt x="312" y="643"/>
                  </a:cubicBezTo>
                  <a:cubicBezTo>
                    <a:pt x="312" y="643"/>
                    <a:pt x="319" y="627"/>
                    <a:pt x="319" y="622"/>
                  </a:cubicBezTo>
                  <a:cubicBezTo>
                    <a:pt x="380" y="492"/>
                    <a:pt x="416" y="533"/>
                    <a:pt x="416" y="533"/>
                  </a:cubicBezTo>
                  <a:cubicBezTo>
                    <a:pt x="416" y="533"/>
                    <a:pt x="445" y="505"/>
                    <a:pt x="466" y="488"/>
                  </a:cubicBezTo>
                  <a:cubicBezTo>
                    <a:pt x="487" y="471"/>
                    <a:pt x="490" y="472"/>
                    <a:pt x="496" y="458"/>
                  </a:cubicBezTo>
                  <a:cubicBezTo>
                    <a:pt x="559" y="418"/>
                    <a:pt x="561" y="439"/>
                    <a:pt x="564" y="442"/>
                  </a:cubicBezTo>
                  <a:cubicBezTo>
                    <a:pt x="546" y="458"/>
                    <a:pt x="582" y="469"/>
                    <a:pt x="592" y="473"/>
                  </a:cubicBezTo>
                  <a:cubicBezTo>
                    <a:pt x="650" y="433"/>
                    <a:pt x="650" y="433"/>
                    <a:pt x="650" y="433"/>
                  </a:cubicBezTo>
                  <a:cubicBezTo>
                    <a:pt x="646" y="423"/>
                    <a:pt x="646" y="423"/>
                    <a:pt x="646" y="423"/>
                  </a:cubicBezTo>
                  <a:cubicBezTo>
                    <a:pt x="661" y="399"/>
                    <a:pt x="661" y="399"/>
                    <a:pt x="661" y="399"/>
                  </a:cubicBezTo>
                  <a:cubicBezTo>
                    <a:pt x="686" y="405"/>
                    <a:pt x="686" y="405"/>
                    <a:pt x="686" y="405"/>
                  </a:cubicBezTo>
                  <a:cubicBezTo>
                    <a:pt x="694" y="348"/>
                    <a:pt x="694" y="348"/>
                    <a:pt x="694" y="348"/>
                  </a:cubicBezTo>
                  <a:cubicBezTo>
                    <a:pt x="737" y="304"/>
                    <a:pt x="737" y="304"/>
                    <a:pt x="737" y="304"/>
                  </a:cubicBezTo>
                  <a:cubicBezTo>
                    <a:pt x="717" y="272"/>
                    <a:pt x="717" y="272"/>
                    <a:pt x="717" y="272"/>
                  </a:cubicBezTo>
                  <a:cubicBezTo>
                    <a:pt x="706" y="276"/>
                    <a:pt x="706" y="276"/>
                    <a:pt x="706" y="276"/>
                  </a:cubicBezTo>
                  <a:cubicBezTo>
                    <a:pt x="706" y="237"/>
                    <a:pt x="706" y="237"/>
                    <a:pt x="706" y="237"/>
                  </a:cubicBezTo>
                  <a:cubicBezTo>
                    <a:pt x="696" y="236"/>
                    <a:pt x="696" y="236"/>
                    <a:pt x="696" y="236"/>
                  </a:cubicBezTo>
                  <a:cubicBezTo>
                    <a:pt x="687" y="214"/>
                    <a:pt x="687" y="214"/>
                    <a:pt x="687" y="214"/>
                  </a:cubicBezTo>
                  <a:cubicBezTo>
                    <a:pt x="649" y="197"/>
                    <a:pt x="649" y="197"/>
                    <a:pt x="649" y="197"/>
                  </a:cubicBezTo>
                  <a:cubicBezTo>
                    <a:pt x="641" y="209"/>
                    <a:pt x="641" y="209"/>
                    <a:pt x="641" y="209"/>
                  </a:cubicBezTo>
                  <a:cubicBezTo>
                    <a:pt x="634" y="209"/>
                    <a:pt x="634" y="209"/>
                    <a:pt x="634" y="209"/>
                  </a:cubicBezTo>
                  <a:cubicBezTo>
                    <a:pt x="634" y="195"/>
                    <a:pt x="634" y="195"/>
                    <a:pt x="634" y="195"/>
                  </a:cubicBezTo>
                  <a:cubicBezTo>
                    <a:pt x="620" y="195"/>
                    <a:pt x="620" y="195"/>
                    <a:pt x="620" y="195"/>
                  </a:cubicBezTo>
                  <a:cubicBezTo>
                    <a:pt x="600" y="225"/>
                    <a:pt x="600" y="225"/>
                    <a:pt x="600" y="225"/>
                  </a:cubicBezTo>
                  <a:cubicBezTo>
                    <a:pt x="568" y="197"/>
                    <a:pt x="568" y="197"/>
                    <a:pt x="568" y="197"/>
                  </a:cubicBezTo>
                  <a:cubicBezTo>
                    <a:pt x="549" y="208"/>
                    <a:pt x="549" y="208"/>
                    <a:pt x="549" y="208"/>
                  </a:cubicBezTo>
                  <a:cubicBezTo>
                    <a:pt x="556" y="177"/>
                    <a:pt x="556" y="177"/>
                    <a:pt x="556" y="177"/>
                  </a:cubicBezTo>
                  <a:cubicBezTo>
                    <a:pt x="536" y="159"/>
                    <a:pt x="536" y="159"/>
                    <a:pt x="536" y="159"/>
                  </a:cubicBezTo>
                  <a:cubicBezTo>
                    <a:pt x="532" y="128"/>
                    <a:pt x="532" y="128"/>
                    <a:pt x="532" y="128"/>
                  </a:cubicBezTo>
                  <a:cubicBezTo>
                    <a:pt x="518" y="121"/>
                    <a:pt x="518" y="121"/>
                    <a:pt x="518" y="121"/>
                  </a:cubicBezTo>
                  <a:cubicBezTo>
                    <a:pt x="505" y="69"/>
                    <a:pt x="505" y="69"/>
                    <a:pt x="505" y="69"/>
                  </a:cubicBezTo>
                  <a:cubicBezTo>
                    <a:pt x="501" y="71"/>
                    <a:pt x="501" y="71"/>
                    <a:pt x="501" y="71"/>
                  </a:cubicBezTo>
                  <a:cubicBezTo>
                    <a:pt x="480" y="45"/>
                    <a:pt x="480" y="45"/>
                    <a:pt x="480" y="45"/>
                  </a:cubicBezTo>
                  <a:cubicBezTo>
                    <a:pt x="458" y="40"/>
                    <a:pt x="458" y="40"/>
                    <a:pt x="458" y="40"/>
                  </a:cubicBezTo>
                  <a:cubicBezTo>
                    <a:pt x="458" y="40"/>
                    <a:pt x="448" y="16"/>
                    <a:pt x="444" y="43"/>
                  </a:cubicBezTo>
                  <a:cubicBezTo>
                    <a:pt x="420" y="51"/>
                    <a:pt x="420" y="51"/>
                    <a:pt x="420" y="51"/>
                  </a:cubicBezTo>
                  <a:cubicBezTo>
                    <a:pt x="402" y="0"/>
                    <a:pt x="402" y="0"/>
                    <a:pt x="402" y="0"/>
                  </a:cubicBezTo>
                  <a:cubicBezTo>
                    <a:pt x="402" y="0"/>
                    <a:pt x="384" y="7"/>
                    <a:pt x="373" y="16"/>
                  </a:cubicBezTo>
                  <a:cubicBezTo>
                    <a:pt x="371" y="18"/>
                    <a:pt x="369" y="19"/>
                    <a:pt x="368" y="19"/>
                  </a:cubicBezTo>
                  <a:cubicBezTo>
                    <a:pt x="368" y="27"/>
                    <a:pt x="368" y="27"/>
                    <a:pt x="368" y="27"/>
                  </a:cubicBezTo>
                  <a:cubicBezTo>
                    <a:pt x="350" y="32"/>
                    <a:pt x="350" y="32"/>
                    <a:pt x="350" y="32"/>
                  </a:cubicBezTo>
                  <a:cubicBezTo>
                    <a:pt x="342" y="19"/>
                    <a:pt x="342" y="19"/>
                    <a:pt x="342" y="19"/>
                  </a:cubicBezTo>
                  <a:cubicBezTo>
                    <a:pt x="333" y="23"/>
                    <a:pt x="333" y="23"/>
                    <a:pt x="333" y="23"/>
                  </a:cubicBezTo>
                  <a:cubicBezTo>
                    <a:pt x="334" y="43"/>
                    <a:pt x="334" y="43"/>
                    <a:pt x="334" y="43"/>
                  </a:cubicBezTo>
                  <a:cubicBezTo>
                    <a:pt x="326" y="52"/>
                    <a:pt x="326" y="52"/>
                    <a:pt x="326" y="52"/>
                  </a:cubicBezTo>
                  <a:cubicBezTo>
                    <a:pt x="320" y="79"/>
                    <a:pt x="320" y="79"/>
                    <a:pt x="320" y="79"/>
                  </a:cubicBezTo>
                  <a:cubicBezTo>
                    <a:pt x="308" y="99"/>
                    <a:pt x="308" y="99"/>
                    <a:pt x="308" y="99"/>
                  </a:cubicBezTo>
                  <a:cubicBezTo>
                    <a:pt x="308" y="108"/>
                    <a:pt x="308" y="108"/>
                    <a:pt x="308" y="108"/>
                  </a:cubicBezTo>
                  <a:cubicBezTo>
                    <a:pt x="329" y="123"/>
                    <a:pt x="329" y="123"/>
                    <a:pt x="329" y="123"/>
                  </a:cubicBezTo>
                  <a:cubicBezTo>
                    <a:pt x="325" y="155"/>
                    <a:pt x="325" y="155"/>
                    <a:pt x="325" y="155"/>
                  </a:cubicBezTo>
                  <a:cubicBezTo>
                    <a:pt x="346" y="168"/>
                    <a:pt x="346" y="168"/>
                    <a:pt x="346" y="168"/>
                  </a:cubicBezTo>
                  <a:cubicBezTo>
                    <a:pt x="348" y="208"/>
                    <a:pt x="348" y="208"/>
                    <a:pt x="348" y="208"/>
                  </a:cubicBezTo>
                  <a:cubicBezTo>
                    <a:pt x="338" y="224"/>
                    <a:pt x="338" y="224"/>
                    <a:pt x="338" y="224"/>
                  </a:cubicBezTo>
                  <a:cubicBezTo>
                    <a:pt x="361" y="232"/>
                    <a:pt x="361" y="232"/>
                    <a:pt x="361" y="232"/>
                  </a:cubicBezTo>
                  <a:cubicBezTo>
                    <a:pt x="357" y="244"/>
                    <a:pt x="357" y="244"/>
                    <a:pt x="357" y="244"/>
                  </a:cubicBezTo>
                  <a:cubicBezTo>
                    <a:pt x="357" y="244"/>
                    <a:pt x="398" y="251"/>
                    <a:pt x="393" y="256"/>
                  </a:cubicBezTo>
                  <a:cubicBezTo>
                    <a:pt x="388" y="261"/>
                    <a:pt x="373" y="279"/>
                    <a:pt x="373" y="279"/>
                  </a:cubicBezTo>
                  <a:cubicBezTo>
                    <a:pt x="393" y="285"/>
                    <a:pt x="393" y="285"/>
                    <a:pt x="393" y="285"/>
                  </a:cubicBezTo>
                  <a:cubicBezTo>
                    <a:pt x="405" y="295"/>
                    <a:pt x="405" y="295"/>
                    <a:pt x="405" y="295"/>
                  </a:cubicBezTo>
                  <a:cubicBezTo>
                    <a:pt x="418" y="303"/>
                    <a:pt x="418" y="303"/>
                    <a:pt x="418" y="303"/>
                  </a:cubicBezTo>
                  <a:cubicBezTo>
                    <a:pt x="397" y="328"/>
                    <a:pt x="397" y="328"/>
                    <a:pt x="397" y="328"/>
                  </a:cubicBezTo>
                  <a:cubicBezTo>
                    <a:pt x="394" y="345"/>
                    <a:pt x="394" y="345"/>
                    <a:pt x="394" y="345"/>
                  </a:cubicBezTo>
                  <a:cubicBezTo>
                    <a:pt x="373" y="347"/>
                    <a:pt x="373" y="347"/>
                    <a:pt x="373" y="347"/>
                  </a:cubicBezTo>
                  <a:cubicBezTo>
                    <a:pt x="373" y="364"/>
                    <a:pt x="373" y="364"/>
                    <a:pt x="373" y="364"/>
                  </a:cubicBezTo>
                  <a:cubicBezTo>
                    <a:pt x="329" y="365"/>
                    <a:pt x="329" y="365"/>
                    <a:pt x="329" y="365"/>
                  </a:cubicBezTo>
                  <a:cubicBezTo>
                    <a:pt x="328" y="405"/>
                    <a:pt x="328" y="405"/>
                    <a:pt x="328" y="405"/>
                  </a:cubicBezTo>
                  <a:cubicBezTo>
                    <a:pt x="328" y="405"/>
                    <a:pt x="306" y="399"/>
                    <a:pt x="297" y="417"/>
                  </a:cubicBezTo>
                  <a:cubicBezTo>
                    <a:pt x="276" y="427"/>
                    <a:pt x="253" y="427"/>
                    <a:pt x="253" y="427"/>
                  </a:cubicBezTo>
                  <a:cubicBezTo>
                    <a:pt x="253" y="427"/>
                    <a:pt x="202" y="425"/>
                    <a:pt x="241" y="464"/>
                  </a:cubicBezTo>
                  <a:cubicBezTo>
                    <a:pt x="232" y="469"/>
                    <a:pt x="232" y="497"/>
                    <a:pt x="198" y="492"/>
                  </a:cubicBezTo>
                  <a:cubicBezTo>
                    <a:pt x="165" y="487"/>
                    <a:pt x="173" y="499"/>
                    <a:pt x="173" y="499"/>
                  </a:cubicBezTo>
                  <a:cubicBezTo>
                    <a:pt x="173" y="499"/>
                    <a:pt x="130" y="476"/>
                    <a:pt x="130" y="509"/>
                  </a:cubicBezTo>
                  <a:cubicBezTo>
                    <a:pt x="130" y="509"/>
                    <a:pt x="108" y="504"/>
                    <a:pt x="102" y="505"/>
                  </a:cubicBezTo>
                  <a:cubicBezTo>
                    <a:pt x="97" y="507"/>
                    <a:pt x="96" y="496"/>
                    <a:pt x="96" y="496"/>
                  </a:cubicBezTo>
                  <a:cubicBezTo>
                    <a:pt x="68" y="495"/>
                    <a:pt x="68" y="495"/>
                    <a:pt x="68" y="495"/>
                  </a:cubicBezTo>
                  <a:cubicBezTo>
                    <a:pt x="62" y="508"/>
                    <a:pt x="62" y="508"/>
                    <a:pt x="62" y="508"/>
                  </a:cubicBezTo>
                  <a:cubicBezTo>
                    <a:pt x="49" y="487"/>
                    <a:pt x="49" y="487"/>
                    <a:pt x="49" y="487"/>
                  </a:cubicBezTo>
                  <a:cubicBezTo>
                    <a:pt x="49" y="487"/>
                    <a:pt x="37" y="495"/>
                    <a:pt x="37" y="520"/>
                  </a:cubicBezTo>
                  <a:cubicBezTo>
                    <a:pt x="34" y="525"/>
                    <a:pt x="0" y="531"/>
                    <a:pt x="18" y="553"/>
                  </a:cubicBezTo>
                  <a:cubicBezTo>
                    <a:pt x="12" y="553"/>
                    <a:pt x="14" y="572"/>
                    <a:pt x="14" y="572"/>
                  </a:cubicBezTo>
                  <a:cubicBezTo>
                    <a:pt x="64" y="591"/>
                    <a:pt x="64" y="591"/>
                    <a:pt x="64" y="591"/>
                  </a:cubicBezTo>
                  <a:cubicBezTo>
                    <a:pt x="64" y="591"/>
                    <a:pt x="73" y="607"/>
                    <a:pt x="68" y="612"/>
                  </a:cubicBezTo>
                  <a:cubicBezTo>
                    <a:pt x="62" y="617"/>
                    <a:pt x="78" y="644"/>
                    <a:pt x="78" y="644"/>
                  </a:cubicBezTo>
                  <a:cubicBezTo>
                    <a:pt x="64" y="651"/>
                    <a:pt x="64" y="651"/>
                    <a:pt x="64" y="651"/>
                  </a:cubicBezTo>
                  <a:cubicBezTo>
                    <a:pt x="80" y="655"/>
                    <a:pt x="80" y="655"/>
                    <a:pt x="80" y="655"/>
                  </a:cubicBezTo>
                  <a:cubicBezTo>
                    <a:pt x="80" y="655"/>
                    <a:pt x="77" y="665"/>
                    <a:pt x="77" y="669"/>
                  </a:cubicBezTo>
                  <a:cubicBezTo>
                    <a:pt x="77" y="673"/>
                    <a:pt x="54" y="679"/>
                    <a:pt x="54" y="679"/>
                  </a:cubicBezTo>
                  <a:cubicBezTo>
                    <a:pt x="53" y="693"/>
                    <a:pt x="53" y="693"/>
                    <a:pt x="53" y="693"/>
                  </a:cubicBezTo>
                  <a:cubicBezTo>
                    <a:pt x="62" y="697"/>
                    <a:pt x="62" y="697"/>
                    <a:pt x="62" y="697"/>
                  </a:cubicBezTo>
                  <a:cubicBezTo>
                    <a:pt x="62" y="697"/>
                    <a:pt x="48" y="717"/>
                    <a:pt x="101" y="713"/>
                  </a:cubicBezTo>
                  <a:cubicBezTo>
                    <a:pt x="122" y="735"/>
                    <a:pt x="120" y="741"/>
                    <a:pt x="120" y="741"/>
                  </a:cubicBezTo>
                  <a:cubicBezTo>
                    <a:pt x="76" y="743"/>
                    <a:pt x="76" y="743"/>
                    <a:pt x="76" y="743"/>
                  </a:cubicBezTo>
                  <a:cubicBezTo>
                    <a:pt x="78" y="755"/>
                    <a:pt x="78" y="755"/>
                    <a:pt x="78" y="755"/>
                  </a:cubicBezTo>
                  <a:cubicBezTo>
                    <a:pt x="57" y="760"/>
                    <a:pt x="57" y="760"/>
                    <a:pt x="57" y="760"/>
                  </a:cubicBezTo>
                  <a:cubicBezTo>
                    <a:pt x="50" y="769"/>
                    <a:pt x="50" y="769"/>
                    <a:pt x="50" y="769"/>
                  </a:cubicBezTo>
                  <a:cubicBezTo>
                    <a:pt x="26" y="768"/>
                    <a:pt x="26" y="768"/>
                    <a:pt x="26" y="768"/>
                  </a:cubicBezTo>
                  <a:cubicBezTo>
                    <a:pt x="25" y="771"/>
                    <a:pt x="25" y="771"/>
                    <a:pt x="25" y="771"/>
                  </a:cubicBezTo>
                  <a:cubicBezTo>
                    <a:pt x="26" y="774"/>
                    <a:pt x="26" y="776"/>
                    <a:pt x="25" y="7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8" name="Midi-Pyrénnées" descr="© INSCALE GmbH, 05.05.2010&#10;http://www.presentationload.com/">
              <a:extLst>
                <a:ext uri="{FF2B5EF4-FFF2-40B4-BE49-F238E27FC236}">
                  <a16:creationId xmlns:a16="http://schemas.microsoft.com/office/drawing/2014/main" id="{A2F3FD82-C7EE-4A6F-8CF6-1DEA7DAD94F2}"/>
                </a:ext>
              </a:extLst>
            </p:cNvPr>
            <p:cNvSpPr>
              <a:spLocks/>
            </p:cNvSpPr>
            <p:nvPr/>
          </p:nvSpPr>
          <p:spPr bwMode="gray">
            <a:xfrm>
              <a:off x="1092" y="2246"/>
              <a:ext cx="953" cy="857"/>
            </a:xfrm>
            <a:custGeom>
              <a:avLst/>
              <a:gdLst/>
              <a:ahLst/>
              <a:cxnLst>
                <a:cxn ang="0">
                  <a:pos x="839" y="302"/>
                </a:cxn>
                <a:cxn ang="0">
                  <a:pos x="827" y="255"/>
                </a:cxn>
                <a:cxn ang="0">
                  <a:pos x="812" y="191"/>
                </a:cxn>
                <a:cxn ang="0">
                  <a:pos x="774" y="131"/>
                </a:cxn>
                <a:cxn ang="0">
                  <a:pos x="763" y="86"/>
                </a:cxn>
                <a:cxn ang="0">
                  <a:pos x="727" y="55"/>
                </a:cxn>
                <a:cxn ang="0">
                  <a:pos x="690" y="56"/>
                </a:cxn>
                <a:cxn ang="0">
                  <a:pos x="679" y="104"/>
                </a:cxn>
                <a:cxn ang="0">
                  <a:pos x="628" y="128"/>
                </a:cxn>
                <a:cxn ang="0">
                  <a:pos x="599" y="136"/>
                </a:cxn>
                <a:cxn ang="0">
                  <a:pos x="583" y="108"/>
                </a:cxn>
                <a:cxn ang="0">
                  <a:pos x="571" y="17"/>
                </a:cxn>
                <a:cxn ang="0">
                  <a:pos x="535" y="27"/>
                </a:cxn>
                <a:cxn ang="0">
                  <a:pos x="467" y="4"/>
                </a:cxn>
                <a:cxn ang="0">
                  <a:pos x="420" y="8"/>
                </a:cxn>
                <a:cxn ang="0">
                  <a:pos x="424" y="54"/>
                </a:cxn>
                <a:cxn ang="0">
                  <a:pos x="390" y="75"/>
                </a:cxn>
                <a:cxn ang="0">
                  <a:pos x="363" y="118"/>
                </a:cxn>
                <a:cxn ang="0">
                  <a:pos x="327" y="190"/>
                </a:cxn>
                <a:cxn ang="0">
                  <a:pos x="291" y="234"/>
                </a:cxn>
                <a:cxn ang="0">
                  <a:pos x="296" y="287"/>
                </a:cxn>
                <a:cxn ang="0">
                  <a:pos x="227" y="306"/>
                </a:cxn>
                <a:cxn ang="0">
                  <a:pos x="140" y="319"/>
                </a:cxn>
                <a:cxn ang="0">
                  <a:pos x="104" y="343"/>
                </a:cxn>
                <a:cxn ang="0">
                  <a:pos x="83" y="335"/>
                </a:cxn>
                <a:cxn ang="0">
                  <a:pos x="42" y="390"/>
                </a:cxn>
                <a:cxn ang="0">
                  <a:pos x="30" y="423"/>
                </a:cxn>
                <a:cxn ang="0">
                  <a:pos x="34" y="458"/>
                </a:cxn>
                <a:cxn ang="0">
                  <a:pos x="72" y="498"/>
                </a:cxn>
                <a:cxn ang="0">
                  <a:pos x="90" y="538"/>
                </a:cxn>
                <a:cxn ang="0">
                  <a:pos x="67" y="578"/>
                </a:cxn>
                <a:cxn ang="0">
                  <a:pos x="38" y="614"/>
                </a:cxn>
                <a:cxn ang="0">
                  <a:pos x="0" y="699"/>
                </a:cxn>
                <a:cxn ang="0">
                  <a:pos x="53" y="712"/>
                </a:cxn>
                <a:cxn ang="0">
                  <a:pos x="129" y="735"/>
                </a:cxn>
                <a:cxn ang="0">
                  <a:pos x="245" y="753"/>
                </a:cxn>
                <a:cxn ang="0">
                  <a:pos x="321" y="721"/>
                </a:cxn>
                <a:cxn ang="0">
                  <a:pos x="467" y="782"/>
                </a:cxn>
                <a:cxn ang="0">
                  <a:pos x="492" y="791"/>
                </a:cxn>
                <a:cxn ang="0">
                  <a:pos x="544" y="778"/>
                </a:cxn>
                <a:cxn ang="0">
                  <a:pos x="567" y="736"/>
                </a:cxn>
                <a:cxn ang="0">
                  <a:pos x="520" y="702"/>
                </a:cxn>
                <a:cxn ang="0">
                  <a:pos x="530" y="674"/>
                </a:cxn>
                <a:cxn ang="0">
                  <a:pos x="530" y="614"/>
                </a:cxn>
                <a:cxn ang="0">
                  <a:pos x="503" y="543"/>
                </a:cxn>
                <a:cxn ang="0">
                  <a:pos x="534" y="518"/>
                </a:cxn>
                <a:cxn ang="0">
                  <a:pos x="596" y="532"/>
                </a:cxn>
                <a:cxn ang="0">
                  <a:pos x="707" y="487"/>
                </a:cxn>
                <a:cxn ang="0">
                  <a:pos x="794" y="428"/>
                </a:cxn>
                <a:cxn ang="0">
                  <a:pos x="839" y="370"/>
                </a:cxn>
                <a:cxn ang="0">
                  <a:pos x="884" y="326"/>
                </a:cxn>
              </a:cxnLst>
              <a:rect l="0" t="0" r="r" b="b"/>
              <a:pathLst>
                <a:path w="884" h="794">
                  <a:moveTo>
                    <a:pt x="871" y="318"/>
                  </a:moveTo>
                  <a:cubicBezTo>
                    <a:pt x="859" y="308"/>
                    <a:pt x="859" y="308"/>
                    <a:pt x="859" y="308"/>
                  </a:cubicBezTo>
                  <a:cubicBezTo>
                    <a:pt x="839" y="302"/>
                    <a:pt x="839" y="302"/>
                    <a:pt x="839" y="302"/>
                  </a:cubicBezTo>
                  <a:cubicBezTo>
                    <a:pt x="839" y="302"/>
                    <a:pt x="854" y="284"/>
                    <a:pt x="859" y="279"/>
                  </a:cubicBezTo>
                  <a:cubicBezTo>
                    <a:pt x="864" y="274"/>
                    <a:pt x="823" y="267"/>
                    <a:pt x="823" y="267"/>
                  </a:cubicBezTo>
                  <a:cubicBezTo>
                    <a:pt x="827" y="255"/>
                    <a:pt x="827" y="255"/>
                    <a:pt x="827" y="255"/>
                  </a:cubicBezTo>
                  <a:cubicBezTo>
                    <a:pt x="804" y="247"/>
                    <a:pt x="804" y="247"/>
                    <a:pt x="804" y="247"/>
                  </a:cubicBezTo>
                  <a:cubicBezTo>
                    <a:pt x="814" y="231"/>
                    <a:pt x="814" y="231"/>
                    <a:pt x="814" y="231"/>
                  </a:cubicBezTo>
                  <a:cubicBezTo>
                    <a:pt x="812" y="191"/>
                    <a:pt x="812" y="191"/>
                    <a:pt x="812" y="191"/>
                  </a:cubicBezTo>
                  <a:cubicBezTo>
                    <a:pt x="791" y="178"/>
                    <a:pt x="791" y="178"/>
                    <a:pt x="791" y="178"/>
                  </a:cubicBezTo>
                  <a:cubicBezTo>
                    <a:pt x="795" y="146"/>
                    <a:pt x="795" y="146"/>
                    <a:pt x="795" y="146"/>
                  </a:cubicBezTo>
                  <a:cubicBezTo>
                    <a:pt x="774" y="131"/>
                    <a:pt x="774" y="131"/>
                    <a:pt x="774" y="131"/>
                  </a:cubicBezTo>
                  <a:cubicBezTo>
                    <a:pt x="774" y="122"/>
                    <a:pt x="774" y="122"/>
                    <a:pt x="774" y="122"/>
                  </a:cubicBezTo>
                  <a:cubicBezTo>
                    <a:pt x="772" y="126"/>
                    <a:pt x="772" y="126"/>
                    <a:pt x="772" y="126"/>
                  </a:cubicBezTo>
                  <a:cubicBezTo>
                    <a:pt x="763" y="86"/>
                    <a:pt x="763" y="86"/>
                    <a:pt x="763" y="86"/>
                  </a:cubicBezTo>
                  <a:cubicBezTo>
                    <a:pt x="754" y="75"/>
                    <a:pt x="754" y="75"/>
                    <a:pt x="754" y="75"/>
                  </a:cubicBezTo>
                  <a:cubicBezTo>
                    <a:pt x="754" y="75"/>
                    <a:pt x="740" y="45"/>
                    <a:pt x="729" y="53"/>
                  </a:cubicBezTo>
                  <a:cubicBezTo>
                    <a:pt x="729" y="55"/>
                    <a:pt x="728" y="56"/>
                    <a:pt x="727" y="55"/>
                  </a:cubicBezTo>
                  <a:cubicBezTo>
                    <a:pt x="728" y="54"/>
                    <a:pt x="728" y="54"/>
                    <a:pt x="729" y="53"/>
                  </a:cubicBezTo>
                  <a:cubicBezTo>
                    <a:pt x="731" y="46"/>
                    <a:pt x="725" y="18"/>
                    <a:pt x="699" y="55"/>
                  </a:cubicBezTo>
                  <a:cubicBezTo>
                    <a:pt x="690" y="63"/>
                    <a:pt x="690" y="56"/>
                    <a:pt x="690" y="56"/>
                  </a:cubicBezTo>
                  <a:cubicBezTo>
                    <a:pt x="688" y="78"/>
                    <a:pt x="688" y="78"/>
                    <a:pt x="688" y="78"/>
                  </a:cubicBezTo>
                  <a:cubicBezTo>
                    <a:pt x="680" y="84"/>
                    <a:pt x="680" y="84"/>
                    <a:pt x="680" y="84"/>
                  </a:cubicBezTo>
                  <a:cubicBezTo>
                    <a:pt x="679" y="104"/>
                    <a:pt x="679" y="104"/>
                    <a:pt x="679" y="104"/>
                  </a:cubicBezTo>
                  <a:cubicBezTo>
                    <a:pt x="666" y="114"/>
                    <a:pt x="666" y="114"/>
                    <a:pt x="666" y="114"/>
                  </a:cubicBezTo>
                  <a:cubicBezTo>
                    <a:pt x="662" y="126"/>
                    <a:pt x="662" y="126"/>
                    <a:pt x="662" y="126"/>
                  </a:cubicBezTo>
                  <a:cubicBezTo>
                    <a:pt x="628" y="128"/>
                    <a:pt x="628" y="128"/>
                    <a:pt x="628" y="128"/>
                  </a:cubicBezTo>
                  <a:cubicBezTo>
                    <a:pt x="627" y="123"/>
                    <a:pt x="627" y="123"/>
                    <a:pt x="627" y="123"/>
                  </a:cubicBezTo>
                  <a:cubicBezTo>
                    <a:pt x="598" y="124"/>
                    <a:pt x="598" y="124"/>
                    <a:pt x="598" y="124"/>
                  </a:cubicBezTo>
                  <a:cubicBezTo>
                    <a:pt x="599" y="136"/>
                    <a:pt x="599" y="136"/>
                    <a:pt x="599" y="136"/>
                  </a:cubicBezTo>
                  <a:cubicBezTo>
                    <a:pt x="594" y="130"/>
                    <a:pt x="594" y="130"/>
                    <a:pt x="594" y="130"/>
                  </a:cubicBezTo>
                  <a:cubicBezTo>
                    <a:pt x="592" y="114"/>
                    <a:pt x="592" y="114"/>
                    <a:pt x="592" y="114"/>
                  </a:cubicBezTo>
                  <a:cubicBezTo>
                    <a:pt x="583" y="108"/>
                    <a:pt x="583" y="108"/>
                    <a:pt x="583" y="108"/>
                  </a:cubicBezTo>
                  <a:cubicBezTo>
                    <a:pt x="588" y="74"/>
                    <a:pt x="588" y="74"/>
                    <a:pt x="588" y="74"/>
                  </a:cubicBezTo>
                  <a:cubicBezTo>
                    <a:pt x="572" y="47"/>
                    <a:pt x="572" y="47"/>
                    <a:pt x="572" y="47"/>
                  </a:cubicBezTo>
                  <a:cubicBezTo>
                    <a:pt x="572" y="47"/>
                    <a:pt x="574" y="30"/>
                    <a:pt x="571" y="17"/>
                  </a:cubicBezTo>
                  <a:cubicBezTo>
                    <a:pt x="569" y="19"/>
                    <a:pt x="568" y="20"/>
                    <a:pt x="568" y="20"/>
                  </a:cubicBezTo>
                  <a:cubicBezTo>
                    <a:pt x="547" y="22"/>
                    <a:pt x="547" y="22"/>
                    <a:pt x="547" y="22"/>
                  </a:cubicBezTo>
                  <a:cubicBezTo>
                    <a:pt x="535" y="27"/>
                    <a:pt x="535" y="27"/>
                    <a:pt x="535" y="27"/>
                  </a:cubicBezTo>
                  <a:cubicBezTo>
                    <a:pt x="532" y="20"/>
                    <a:pt x="532" y="20"/>
                    <a:pt x="532" y="20"/>
                  </a:cubicBezTo>
                  <a:cubicBezTo>
                    <a:pt x="532" y="20"/>
                    <a:pt x="518" y="43"/>
                    <a:pt x="507" y="39"/>
                  </a:cubicBezTo>
                  <a:cubicBezTo>
                    <a:pt x="496" y="35"/>
                    <a:pt x="467" y="4"/>
                    <a:pt x="467" y="4"/>
                  </a:cubicBezTo>
                  <a:cubicBezTo>
                    <a:pt x="467" y="4"/>
                    <a:pt x="435" y="0"/>
                    <a:pt x="424" y="7"/>
                  </a:cubicBezTo>
                  <a:cubicBezTo>
                    <a:pt x="423" y="4"/>
                    <a:pt x="423" y="4"/>
                    <a:pt x="423" y="4"/>
                  </a:cubicBezTo>
                  <a:cubicBezTo>
                    <a:pt x="420" y="8"/>
                    <a:pt x="420" y="8"/>
                    <a:pt x="420" y="8"/>
                  </a:cubicBezTo>
                  <a:cubicBezTo>
                    <a:pt x="426" y="39"/>
                    <a:pt x="426" y="39"/>
                    <a:pt x="426" y="39"/>
                  </a:cubicBezTo>
                  <a:cubicBezTo>
                    <a:pt x="419" y="44"/>
                    <a:pt x="419" y="44"/>
                    <a:pt x="419" y="44"/>
                  </a:cubicBezTo>
                  <a:cubicBezTo>
                    <a:pt x="424" y="54"/>
                    <a:pt x="424" y="54"/>
                    <a:pt x="424" y="54"/>
                  </a:cubicBezTo>
                  <a:cubicBezTo>
                    <a:pt x="407" y="60"/>
                    <a:pt x="407" y="60"/>
                    <a:pt x="407" y="60"/>
                  </a:cubicBezTo>
                  <a:cubicBezTo>
                    <a:pt x="406" y="74"/>
                    <a:pt x="406" y="74"/>
                    <a:pt x="406" y="74"/>
                  </a:cubicBezTo>
                  <a:cubicBezTo>
                    <a:pt x="390" y="75"/>
                    <a:pt x="390" y="75"/>
                    <a:pt x="390" y="75"/>
                  </a:cubicBezTo>
                  <a:cubicBezTo>
                    <a:pt x="398" y="92"/>
                    <a:pt x="398" y="92"/>
                    <a:pt x="398" y="92"/>
                  </a:cubicBezTo>
                  <a:cubicBezTo>
                    <a:pt x="384" y="112"/>
                    <a:pt x="384" y="112"/>
                    <a:pt x="384" y="112"/>
                  </a:cubicBezTo>
                  <a:cubicBezTo>
                    <a:pt x="363" y="118"/>
                    <a:pt x="363" y="118"/>
                    <a:pt x="363" y="118"/>
                  </a:cubicBezTo>
                  <a:cubicBezTo>
                    <a:pt x="344" y="147"/>
                    <a:pt x="344" y="147"/>
                    <a:pt x="344" y="147"/>
                  </a:cubicBezTo>
                  <a:cubicBezTo>
                    <a:pt x="316" y="156"/>
                    <a:pt x="316" y="156"/>
                    <a:pt x="316" y="156"/>
                  </a:cubicBezTo>
                  <a:cubicBezTo>
                    <a:pt x="316" y="156"/>
                    <a:pt x="327" y="186"/>
                    <a:pt x="327" y="190"/>
                  </a:cubicBezTo>
                  <a:cubicBezTo>
                    <a:pt x="327" y="194"/>
                    <a:pt x="334" y="198"/>
                    <a:pt x="334" y="198"/>
                  </a:cubicBezTo>
                  <a:cubicBezTo>
                    <a:pt x="334" y="198"/>
                    <a:pt x="331" y="223"/>
                    <a:pt x="312" y="216"/>
                  </a:cubicBezTo>
                  <a:cubicBezTo>
                    <a:pt x="294" y="210"/>
                    <a:pt x="291" y="234"/>
                    <a:pt x="291" y="234"/>
                  </a:cubicBezTo>
                  <a:cubicBezTo>
                    <a:pt x="308" y="246"/>
                    <a:pt x="308" y="246"/>
                    <a:pt x="308" y="246"/>
                  </a:cubicBezTo>
                  <a:cubicBezTo>
                    <a:pt x="291" y="270"/>
                    <a:pt x="291" y="270"/>
                    <a:pt x="291" y="270"/>
                  </a:cubicBezTo>
                  <a:cubicBezTo>
                    <a:pt x="296" y="287"/>
                    <a:pt x="296" y="287"/>
                    <a:pt x="296" y="287"/>
                  </a:cubicBezTo>
                  <a:cubicBezTo>
                    <a:pt x="274" y="286"/>
                    <a:pt x="274" y="286"/>
                    <a:pt x="274" y="286"/>
                  </a:cubicBezTo>
                  <a:cubicBezTo>
                    <a:pt x="274" y="286"/>
                    <a:pt x="262" y="322"/>
                    <a:pt x="247" y="322"/>
                  </a:cubicBezTo>
                  <a:cubicBezTo>
                    <a:pt x="232" y="322"/>
                    <a:pt x="227" y="306"/>
                    <a:pt x="227" y="306"/>
                  </a:cubicBezTo>
                  <a:cubicBezTo>
                    <a:pt x="214" y="311"/>
                    <a:pt x="214" y="311"/>
                    <a:pt x="214" y="311"/>
                  </a:cubicBezTo>
                  <a:cubicBezTo>
                    <a:pt x="214" y="311"/>
                    <a:pt x="183" y="326"/>
                    <a:pt x="168" y="327"/>
                  </a:cubicBezTo>
                  <a:cubicBezTo>
                    <a:pt x="154" y="328"/>
                    <a:pt x="140" y="319"/>
                    <a:pt x="140" y="319"/>
                  </a:cubicBezTo>
                  <a:cubicBezTo>
                    <a:pt x="127" y="328"/>
                    <a:pt x="127" y="328"/>
                    <a:pt x="127" y="328"/>
                  </a:cubicBezTo>
                  <a:cubicBezTo>
                    <a:pt x="118" y="326"/>
                    <a:pt x="118" y="326"/>
                    <a:pt x="118" y="326"/>
                  </a:cubicBezTo>
                  <a:cubicBezTo>
                    <a:pt x="118" y="326"/>
                    <a:pt x="103" y="338"/>
                    <a:pt x="104" y="343"/>
                  </a:cubicBezTo>
                  <a:cubicBezTo>
                    <a:pt x="106" y="348"/>
                    <a:pt x="112" y="362"/>
                    <a:pt x="104" y="359"/>
                  </a:cubicBezTo>
                  <a:cubicBezTo>
                    <a:pt x="96" y="356"/>
                    <a:pt x="91" y="348"/>
                    <a:pt x="88" y="342"/>
                  </a:cubicBezTo>
                  <a:cubicBezTo>
                    <a:pt x="86" y="335"/>
                    <a:pt x="83" y="335"/>
                    <a:pt x="83" y="335"/>
                  </a:cubicBezTo>
                  <a:cubicBezTo>
                    <a:pt x="83" y="335"/>
                    <a:pt x="74" y="344"/>
                    <a:pt x="67" y="344"/>
                  </a:cubicBezTo>
                  <a:cubicBezTo>
                    <a:pt x="60" y="344"/>
                    <a:pt x="38" y="358"/>
                    <a:pt x="38" y="358"/>
                  </a:cubicBezTo>
                  <a:cubicBezTo>
                    <a:pt x="42" y="390"/>
                    <a:pt x="42" y="390"/>
                    <a:pt x="42" y="390"/>
                  </a:cubicBezTo>
                  <a:cubicBezTo>
                    <a:pt x="38" y="387"/>
                    <a:pt x="38" y="387"/>
                    <a:pt x="38" y="387"/>
                  </a:cubicBezTo>
                  <a:cubicBezTo>
                    <a:pt x="43" y="408"/>
                    <a:pt x="43" y="408"/>
                    <a:pt x="43" y="408"/>
                  </a:cubicBezTo>
                  <a:cubicBezTo>
                    <a:pt x="30" y="423"/>
                    <a:pt x="30" y="423"/>
                    <a:pt x="30" y="423"/>
                  </a:cubicBezTo>
                  <a:cubicBezTo>
                    <a:pt x="31" y="442"/>
                    <a:pt x="31" y="442"/>
                    <a:pt x="31" y="442"/>
                  </a:cubicBezTo>
                  <a:cubicBezTo>
                    <a:pt x="22" y="446"/>
                    <a:pt x="22" y="446"/>
                    <a:pt x="22" y="446"/>
                  </a:cubicBezTo>
                  <a:cubicBezTo>
                    <a:pt x="34" y="458"/>
                    <a:pt x="34" y="458"/>
                    <a:pt x="34" y="458"/>
                  </a:cubicBezTo>
                  <a:cubicBezTo>
                    <a:pt x="34" y="458"/>
                    <a:pt x="72" y="471"/>
                    <a:pt x="76" y="480"/>
                  </a:cubicBezTo>
                  <a:cubicBezTo>
                    <a:pt x="80" y="490"/>
                    <a:pt x="83" y="494"/>
                    <a:pt x="83" y="494"/>
                  </a:cubicBezTo>
                  <a:cubicBezTo>
                    <a:pt x="72" y="498"/>
                    <a:pt x="72" y="498"/>
                    <a:pt x="72" y="498"/>
                  </a:cubicBezTo>
                  <a:cubicBezTo>
                    <a:pt x="72" y="514"/>
                    <a:pt x="72" y="514"/>
                    <a:pt x="72" y="514"/>
                  </a:cubicBezTo>
                  <a:cubicBezTo>
                    <a:pt x="88" y="508"/>
                    <a:pt x="88" y="508"/>
                    <a:pt x="88" y="508"/>
                  </a:cubicBezTo>
                  <a:cubicBezTo>
                    <a:pt x="90" y="538"/>
                    <a:pt x="90" y="538"/>
                    <a:pt x="90" y="538"/>
                  </a:cubicBezTo>
                  <a:cubicBezTo>
                    <a:pt x="78" y="543"/>
                    <a:pt x="78" y="543"/>
                    <a:pt x="78" y="543"/>
                  </a:cubicBezTo>
                  <a:cubicBezTo>
                    <a:pt x="78" y="543"/>
                    <a:pt x="72" y="555"/>
                    <a:pt x="79" y="563"/>
                  </a:cubicBezTo>
                  <a:cubicBezTo>
                    <a:pt x="79" y="568"/>
                    <a:pt x="67" y="578"/>
                    <a:pt x="67" y="578"/>
                  </a:cubicBezTo>
                  <a:cubicBezTo>
                    <a:pt x="67" y="588"/>
                    <a:pt x="67" y="588"/>
                    <a:pt x="67" y="588"/>
                  </a:cubicBezTo>
                  <a:cubicBezTo>
                    <a:pt x="58" y="588"/>
                    <a:pt x="58" y="588"/>
                    <a:pt x="58" y="588"/>
                  </a:cubicBezTo>
                  <a:cubicBezTo>
                    <a:pt x="38" y="614"/>
                    <a:pt x="38" y="614"/>
                    <a:pt x="38" y="614"/>
                  </a:cubicBezTo>
                  <a:cubicBezTo>
                    <a:pt x="38" y="632"/>
                    <a:pt x="38" y="632"/>
                    <a:pt x="38" y="632"/>
                  </a:cubicBezTo>
                  <a:cubicBezTo>
                    <a:pt x="22" y="634"/>
                    <a:pt x="22" y="634"/>
                    <a:pt x="22" y="634"/>
                  </a:cubicBezTo>
                  <a:cubicBezTo>
                    <a:pt x="0" y="699"/>
                    <a:pt x="0" y="699"/>
                    <a:pt x="0" y="699"/>
                  </a:cubicBezTo>
                  <a:cubicBezTo>
                    <a:pt x="0" y="699"/>
                    <a:pt x="1" y="701"/>
                    <a:pt x="1" y="705"/>
                  </a:cubicBezTo>
                  <a:cubicBezTo>
                    <a:pt x="24" y="689"/>
                    <a:pt x="48" y="712"/>
                    <a:pt x="48" y="712"/>
                  </a:cubicBezTo>
                  <a:cubicBezTo>
                    <a:pt x="53" y="712"/>
                    <a:pt x="53" y="712"/>
                    <a:pt x="53" y="712"/>
                  </a:cubicBezTo>
                  <a:cubicBezTo>
                    <a:pt x="79" y="748"/>
                    <a:pt x="79" y="748"/>
                    <a:pt x="79" y="748"/>
                  </a:cubicBezTo>
                  <a:cubicBezTo>
                    <a:pt x="119" y="746"/>
                    <a:pt x="119" y="746"/>
                    <a:pt x="119" y="746"/>
                  </a:cubicBezTo>
                  <a:cubicBezTo>
                    <a:pt x="129" y="735"/>
                    <a:pt x="129" y="735"/>
                    <a:pt x="129" y="735"/>
                  </a:cubicBezTo>
                  <a:cubicBezTo>
                    <a:pt x="129" y="735"/>
                    <a:pt x="153" y="752"/>
                    <a:pt x="162" y="757"/>
                  </a:cubicBezTo>
                  <a:cubicBezTo>
                    <a:pt x="170" y="733"/>
                    <a:pt x="192" y="748"/>
                    <a:pt x="192" y="748"/>
                  </a:cubicBezTo>
                  <a:cubicBezTo>
                    <a:pt x="192" y="748"/>
                    <a:pt x="239" y="752"/>
                    <a:pt x="245" y="753"/>
                  </a:cubicBezTo>
                  <a:cubicBezTo>
                    <a:pt x="251" y="754"/>
                    <a:pt x="245" y="741"/>
                    <a:pt x="245" y="741"/>
                  </a:cubicBezTo>
                  <a:cubicBezTo>
                    <a:pt x="234" y="718"/>
                    <a:pt x="253" y="691"/>
                    <a:pt x="253" y="691"/>
                  </a:cubicBezTo>
                  <a:cubicBezTo>
                    <a:pt x="253" y="691"/>
                    <a:pt x="302" y="721"/>
                    <a:pt x="321" y="721"/>
                  </a:cubicBezTo>
                  <a:cubicBezTo>
                    <a:pt x="340" y="721"/>
                    <a:pt x="364" y="744"/>
                    <a:pt x="364" y="744"/>
                  </a:cubicBezTo>
                  <a:cubicBezTo>
                    <a:pt x="398" y="728"/>
                    <a:pt x="420" y="779"/>
                    <a:pt x="421" y="782"/>
                  </a:cubicBezTo>
                  <a:cubicBezTo>
                    <a:pt x="442" y="756"/>
                    <a:pt x="467" y="782"/>
                    <a:pt x="467" y="782"/>
                  </a:cubicBezTo>
                  <a:cubicBezTo>
                    <a:pt x="479" y="774"/>
                    <a:pt x="479" y="774"/>
                    <a:pt x="479" y="774"/>
                  </a:cubicBezTo>
                  <a:cubicBezTo>
                    <a:pt x="479" y="774"/>
                    <a:pt x="488" y="786"/>
                    <a:pt x="491" y="794"/>
                  </a:cubicBezTo>
                  <a:cubicBezTo>
                    <a:pt x="492" y="791"/>
                    <a:pt x="492" y="791"/>
                    <a:pt x="492" y="791"/>
                  </a:cubicBezTo>
                  <a:cubicBezTo>
                    <a:pt x="516" y="792"/>
                    <a:pt x="516" y="792"/>
                    <a:pt x="516" y="792"/>
                  </a:cubicBezTo>
                  <a:cubicBezTo>
                    <a:pt x="523" y="783"/>
                    <a:pt x="523" y="783"/>
                    <a:pt x="523" y="783"/>
                  </a:cubicBezTo>
                  <a:cubicBezTo>
                    <a:pt x="544" y="778"/>
                    <a:pt x="544" y="778"/>
                    <a:pt x="544" y="778"/>
                  </a:cubicBezTo>
                  <a:cubicBezTo>
                    <a:pt x="542" y="766"/>
                    <a:pt x="542" y="766"/>
                    <a:pt x="542" y="766"/>
                  </a:cubicBezTo>
                  <a:cubicBezTo>
                    <a:pt x="586" y="764"/>
                    <a:pt x="586" y="764"/>
                    <a:pt x="586" y="764"/>
                  </a:cubicBezTo>
                  <a:cubicBezTo>
                    <a:pt x="586" y="764"/>
                    <a:pt x="588" y="758"/>
                    <a:pt x="567" y="736"/>
                  </a:cubicBezTo>
                  <a:cubicBezTo>
                    <a:pt x="514" y="740"/>
                    <a:pt x="528" y="720"/>
                    <a:pt x="528" y="720"/>
                  </a:cubicBezTo>
                  <a:cubicBezTo>
                    <a:pt x="519" y="716"/>
                    <a:pt x="519" y="716"/>
                    <a:pt x="519" y="716"/>
                  </a:cubicBezTo>
                  <a:cubicBezTo>
                    <a:pt x="520" y="702"/>
                    <a:pt x="520" y="702"/>
                    <a:pt x="520" y="702"/>
                  </a:cubicBezTo>
                  <a:cubicBezTo>
                    <a:pt x="520" y="702"/>
                    <a:pt x="543" y="696"/>
                    <a:pt x="543" y="692"/>
                  </a:cubicBezTo>
                  <a:cubicBezTo>
                    <a:pt x="543" y="688"/>
                    <a:pt x="546" y="678"/>
                    <a:pt x="546" y="678"/>
                  </a:cubicBezTo>
                  <a:cubicBezTo>
                    <a:pt x="530" y="674"/>
                    <a:pt x="530" y="674"/>
                    <a:pt x="530" y="674"/>
                  </a:cubicBezTo>
                  <a:cubicBezTo>
                    <a:pt x="544" y="667"/>
                    <a:pt x="544" y="667"/>
                    <a:pt x="544" y="667"/>
                  </a:cubicBezTo>
                  <a:cubicBezTo>
                    <a:pt x="544" y="667"/>
                    <a:pt x="528" y="640"/>
                    <a:pt x="534" y="635"/>
                  </a:cubicBezTo>
                  <a:cubicBezTo>
                    <a:pt x="539" y="630"/>
                    <a:pt x="530" y="614"/>
                    <a:pt x="530" y="614"/>
                  </a:cubicBezTo>
                  <a:cubicBezTo>
                    <a:pt x="480" y="595"/>
                    <a:pt x="480" y="595"/>
                    <a:pt x="480" y="595"/>
                  </a:cubicBezTo>
                  <a:cubicBezTo>
                    <a:pt x="480" y="595"/>
                    <a:pt x="478" y="576"/>
                    <a:pt x="484" y="576"/>
                  </a:cubicBezTo>
                  <a:cubicBezTo>
                    <a:pt x="466" y="554"/>
                    <a:pt x="500" y="548"/>
                    <a:pt x="503" y="543"/>
                  </a:cubicBezTo>
                  <a:cubicBezTo>
                    <a:pt x="503" y="518"/>
                    <a:pt x="515" y="510"/>
                    <a:pt x="515" y="510"/>
                  </a:cubicBezTo>
                  <a:cubicBezTo>
                    <a:pt x="528" y="531"/>
                    <a:pt x="528" y="531"/>
                    <a:pt x="528" y="531"/>
                  </a:cubicBezTo>
                  <a:cubicBezTo>
                    <a:pt x="534" y="518"/>
                    <a:pt x="534" y="518"/>
                    <a:pt x="534" y="518"/>
                  </a:cubicBezTo>
                  <a:cubicBezTo>
                    <a:pt x="562" y="519"/>
                    <a:pt x="562" y="519"/>
                    <a:pt x="562" y="519"/>
                  </a:cubicBezTo>
                  <a:cubicBezTo>
                    <a:pt x="562" y="519"/>
                    <a:pt x="563" y="530"/>
                    <a:pt x="568" y="528"/>
                  </a:cubicBezTo>
                  <a:cubicBezTo>
                    <a:pt x="574" y="527"/>
                    <a:pt x="596" y="532"/>
                    <a:pt x="596" y="532"/>
                  </a:cubicBezTo>
                  <a:cubicBezTo>
                    <a:pt x="596" y="499"/>
                    <a:pt x="639" y="522"/>
                    <a:pt x="639" y="522"/>
                  </a:cubicBezTo>
                  <a:cubicBezTo>
                    <a:pt x="639" y="522"/>
                    <a:pt x="631" y="510"/>
                    <a:pt x="664" y="515"/>
                  </a:cubicBezTo>
                  <a:cubicBezTo>
                    <a:pt x="698" y="520"/>
                    <a:pt x="698" y="492"/>
                    <a:pt x="707" y="487"/>
                  </a:cubicBezTo>
                  <a:cubicBezTo>
                    <a:pt x="668" y="448"/>
                    <a:pt x="719" y="450"/>
                    <a:pt x="719" y="450"/>
                  </a:cubicBezTo>
                  <a:cubicBezTo>
                    <a:pt x="719" y="450"/>
                    <a:pt x="742" y="450"/>
                    <a:pt x="763" y="440"/>
                  </a:cubicBezTo>
                  <a:cubicBezTo>
                    <a:pt x="772" y="422"/>
                    <a:pt x="794" y="428"/>
                    <a:pt x="794" y="428"/>
                  </a:cubicBezTo>
                  <a:cubicBezTo>
                    <a:pt x="795" y="388"/>
                    <a:pt x="795" y="388"/>
                    <a:pt x="795" y="388"/>
                  </a:cubicBezTo>
                  <a:cubicBezTo>
                    <a:pt x="839" y="387"/>
                    <a:pt x="839" y="387"/>
                    <a:pt x="839" y="387"/>
                  </a:cubicBezTo>
                  <a:cubicBezTo>
                    <a:pt x="839" y="370"/>
                    <a:pt x="839" y="370"/>
                    <a:pt x="839" y="370"/>
                  </a:cubicBezTo>
                  <a:cubicBezTo>
                    <a:pt x="860" y="368"/>
                    <a:pt x="860" y="368"/>
                    <a:pt x="860" y="368"/>
                  </a:cubicBezTo>
                  <a:cubicBezTo>
                    <a:pt x="863" y="351"/>
                    <a:pt x="863" y="351"/>
                    <a:pt x="863" y="351"/>
                  </a:cubicBezTo>
                  <a:cubicBezTo>
                    <a:pt x="884" y="326"/>
                    <a:pt x="884" y="326"/>
                    <a:pt x="884" y="326"/>
                  </a:cubicBezTo>
                  <a:lnTo>
                    <a:pt x="871" y="31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9" name="Aquitaine" descr="© INSCALE GmbH, 05.05.2010&#10;http://www.presentationload.com/">
              <a:extLst>
                <a:ext uri="{FF2B5EF4-FFF2-40B4-BE49-F238E27FC236}">
                  <a16:creationId xmlns:a16="http://schemas.microsoft.com/office/drawing/2014/main" id="{97CDBFD3-5115-4B18-AE8A-FC35BD36554B}"/>
                </a:ext>
              </a:extLst>
            </p:cNvPr>
            <p:cNvSpPr>
              <a:spLocks/>
            </p:cNvSpPr>
            <p:nvPr/>
          </p:nvSpPr>
          <p:spPr bwMode="gray">
            <a:xfrm>
              <a:off x="758" y="1992"/>
              <a:ext cx="793" cy="1021"/>
            </a:xfrm>
            <a:custGeom>
              <a:avLst/>
              <a:gdLst/>
              <a:ahLst/>
              <a:cxnLst>
                <a:cxn ang="0">
                  <a:pos x="347" y="849"/>
                </a:cxn>
                <a:cxn ang="0">
                  <a:pos x="376" y="813"/>
                </a:cxn>
                <a:cxn ang="0">
                  <a:pos x="399" y="773"/>
                </a:cxn>
                <a:cxn ang="0">
                  <a:pos x="381" y="733"/>
                </a:cxn>
                <a:cxn ang="0">
                  <a:pos x="343" y="693"/>
                </a:cxn>
                <a:cxn ang="0">
                  <a:pos x="339" y="658"/>
                </a:cxn>
                <a:cxn ang="0">
                  <a:pos x="351" y="625"/>
                </a:cxn>
                <a:cxn ang="0">
                  <a:pos x="392" y="570"/>
                </a:cxn>
                <a:cxn ang="0">
                  <a:pos x="413" y="578"/>
                </a:cxn>
                <a:cxn ang="0">
                  <a:pos x="449" y="554"/>
                </a:cxn>
                <a:cxn ang="0">
                  <a:pos x="536" y="541"/>
                </a:cxn>
                <a:cxn ang="0">
                  <a:pos x="605" y="522"/>
                </a:cxn>
                <a:cxn ang="0">
                  <a:pos x="600" y="469"/>
                </a:cxn>
                <a:cxn ang="0">
                  <a:pos x="636" y="425"/>
                </a:cxn>
                <a:cxn ang="0">
                  <a:pos x="672" y="353"/>
                </a:cxn>
                <a:cxn ang="0">
                  <a:pos x="699" y="310"/>
                </a:cxn>
                <a:cxn ang="0">
                  <a:pos x="733" y="289"/>
                </a:cxn>
                <a:cxn ang="0">
                  <a:pos x="729" y="243"/>
                </a:cxn>
                <a:cxn ang="0">
                  <a:pos x="727" y="207"/>
                </a:cxn>
                <a:cxn ang="0">
                  <a:pos x="692" y="183"/>
                </a:cxn>
                <a:cxn ang="0">
                  <a:pos x="691" y="150"/>
                </a:cxn>
                <a:cxn ang="0">
                  <a:pos x="700" y="117"/>
                </a:cxn>
                <a:cxn ang="0">
                  <a:pos x="655" y="74"/>
                </a:cxn>
                <a:cxn ang="0">
                  <a:pos x="589" y="58"/>
                </a:cxn>
                <a:cxn ang="0">
                  <a:pos x="540" y="43"/>
                </a:cxn>
                <a:cxn ang="0">
                  <a:pos x="519" y="74"/>
                </a:cxn>
                <a:cxn ang="0">
                  <a:pos x="464" y="147"/>
                </a:cxn>
                <a:cxn ang="0">
                  <a:pos x="407" y="202"/>
                </a:cxn>
                <a:cxn ang="0">
                  <a:pos x="319" y="169"/>
                </a:cxn>
                <a:cxn ang="0">
                  <a:pos x="265" y="131"/>
                </a:cxn>
                <a:cxn ang="0">
                  <a:pos x="279" y="178"/>
                </a:cxn>
                <a:cxn ang="0">
                  <a:pos x="239" y="76"/>
                </a:cxn>
                <a:cxn ang="0">
                  <a:pos x="185" y="0"/>
                </a:cxn>
                <a:cxn ang="0">
                  <a:pos x="133" y="309"/>
                </a:cxn>
                <a:cxn ang="0">
                  <a:pos x="147" y="302"/>
                </a:cxn>
                <a:cxn ang="0">
                  <a:pos x="23" y="730"/>
                </a:cxn>
                <a:cxn ang="0">
                  <a:pos x="34" y="764"/>
                </a:cxn>
                <a:cxn ang="0">
                  <a:pos x="86" y="787"/>
                </a:cxn>
                <a:cxn ang="0">
                  <a:pos x="110" y="831"/>
                </a:cxn>
                <a:cxn ang="0">
                  <a:pos x="142" y="869"/>
                </a:cxn>
                <a:cxn ang="0">
                  <a:pos x="228" y="882"/>
                </a:cxn>
                <a:cxn ang="0">
                  <a:pos x="293" y="943"/>
                </a:cxn>
                <a:cxn ang="0">
                  <a:pos x="309" y="934"/>
                </a:cxn>
              </a:cxnLst>
              <a:rect l="0" t="0" r="r" b="b"/>
              <a:pathLst>
                <a:path w="735" h="946">
                  <a:moveTo>
                    <a:pt x="331" y="869"/>
                  </a:moveTo>
                  <a:cubicBezTo>
                    <a:pt x="347" y="867"/>
                    <a:pt x="347" y="867"/>
                    <a:pt x="347" y="867"/>
                  </a:cubicBezTo>
                  <a:cubicBezTo>
                    <a:pt x="347" y="849"/>
                    <a:pt x="347" y="849"/>
                    <a:pt x="347" y="849"/>
                  </a:cubicBezTo>
                  <a:cubicBezTo>
                    <a:pt x="367" y="823"/>
                    <a:pt x="367" y="823"/>
                    <a:pt x="367" y="823"/>
                  </a:cubicBezTo>
                  <a:cubicBezTo>
                    <a:pt x="376" y="823"/>
                    <a:pt x="376" y="823"/>
                    <a:pt x="376" y="823"/>
                  </a:cubicBezTo>
                  <a:cubicBezTo>
                    <a:pt x="376" y="813"/>
                    <a:pt x="376" y="813"/>
                    <a:pt x="376" y="813"/>
                  </a:cubicBezTo>
                  <a:cubicBezTo>
                    <a:pt x="376" y="813"/>
                    <a:pt x="388" y="803"/>
                    <a:pt x="388" y="798"/>
                  </a:cubicBezTo>
                  <a:cubicBezTo>
                    <a:pt x="381" y="790"/>
                    <a:pt x="387" y="778"/>
                    <a:pt x="387" y="778"/>
                  </a:cubicBezTo>
                  <a:cubicBezTo>
                    <a:pt x="399" y="773"/>
                    <a:pt x="399" y="773"/>
                    <a:pt x="399" y="773"/>
                  </a:cubicBezTo>
                  <a:cubicBezTo>
                    <a:pt x="397" y="743"/>
                    <a:pt x="397" y="743"/>
                    <a:pt x="397" y="743"/>
                  </a:cubicBezTo>
                  <a:cubicBezTo>
                    <a:pt x="381" y="749"/>
                    <a:pt x="381" y="749"/>
                    <a:pt x="381" y="749"/>
                  </a:cubicBezTo>
                  <a:cubicBezTo>
                    <a:pt x="381" y="733"/>
                    <a:pt x="381" y="733"/>
                    <a:pt x="381" y="733"/>
                  </a:cubicBezTo>
                  <a:cubicBezTo>
                    <a:pt x="392" y="729"/>
                    <a:pt x="392" y="729"/>
                    <a:pt x="392" y="729"/>
                  </a:cubicBezTo>
                  <a:cubicBezTo>
                    <a:pt x="392" y="729"/>
                    <a:pt x="389" y="725"/>
                    <a:pt x="385" y="715"/>
                  </a:cubicBezTo>
                  <a:cubicBezTo>
                    <a:pt x="381" y="706"/>
                    <a:pt x="343" y="693"/>
                    <a:pt x="343" y="693"/>
                  </a:cubicBezTo>
                  <a:cubicBezTo>
                    <a:pt x="331" y="681"/>
                    <a:pt x="331" y="681"/>
                    <a:pt x="331" y="681"/>
                  </a:cubicBezTo>
                  <a:cubicBezTo>
                    <a:pt x="340" y="677"/>
                    <a:pt x="340" y="677"/>
                    <a:pt x="340" y="677"/>
                  </a:cubicBezTo>
                  <a:cubicBezTo>
                    <a:pt x="339" y="658"/>
                    <a:pt x="339" y="658"/>
                    <a:pt x="339" y="658"/>
                  </a:cubicBezTo>
                  <a:cubicBezTo>
                    <a:pt x="352" y="643"/>
                    <a:pt x="352" y="643"/>
                    <a:pt x="352" y="643"/>
                  </a:cubicBezTo>
                  <a:cubicBezTo>
                    <a:pt x="347" y="622"/>
                    <a:pt x="347" y="622"/>
                    <a:pt x="347" y="622"/>
                  </a:cubicBezTo>
                  <a:cubicBezTo>
                    <a:pt x="351" y="625"/>
                    <a:pt x="351" y="625"/>
                    <a:pt x="351" y="625"/>
                  </a:cubicBezTo>
                  <a:cubicBezTo>
                    <a:pt x="347" y="593"/>
                    <a:pt x="347" y="593"/>
                    <a:pt x="347" y="593"/>
                  </a:cubicBezTo>
                  <a:cubicBezTo>
                    <a:pt x="347" y="593"/>
                    <a:pt x="369" y="579"/>
                    <a:pt x="376" y="579"/>
                  </a:cubicBezTo>
                  <a:cubicBezTo>
                    <a:pt x="383" y="579"/>
                    <a:pt x="392" y="570"/>
                    <a:pt x="392" y="570"/>
                  </a:cubicBezTo>
                  <a:cubicBezTo>
                    <a:pt x="392" y="570"/>
                    <a:pt x="395" y="570"/>
                    <a:pt x="397" y="577"/>
                  </a:cubicBezTo>
                  <a:cubicBezTo>
                    <a:pt x="400" y="583"/>
                    <a:pt x="405" y="591"/>
                    <a:pt x="413" y="594"/>
                  </a:cubicBezTo>
                  <a:cubicBezTo>
                    <a:pt x="421" y="597"/>
                    <a:pt x="415" y="583"/>
                    <a:pt x="413" y="578"/>
                  </a:cubicBezTo>
                  <a:cubicBezTo>
                    <a:pt x="412" y="573"/>
                    <a:pt x="427" y="561"/>
                    <a:pt x="427" y="561"/>
                  </a:cubicBezTo>
                  <a:cubicBezTo>
                    <a:pt x="436" y="563"/>
                    <a:pt x="436" y="563"/>
                    <a:pt x="436" y="563"/>
                  </a:cubicBezTo>
                  <a:cubicBezTo>
                    <a:pt x="449" y="554"/>
                    <a:pt x="449" y="554"/>
                    <a:pt x="449" y="554"/>
                  </a:cubicBezTo>
                  <a:cubicBezTo>
                    <a:pt x="449" y="554"/>
                    <a:pt x="463" y="563"/>
                    <a:pt x="477" y="562"/>
                  </a:cubicBezTo>
                  <a:cubicBezTo>
                    <a:pt x="492" y="561"/>
                    <a:pt x="523" y="546"/>
                    <a:pt x="523" y="546"/>
                  </a:cubicBezTo>
                  <a:cubicBezTo>
                    <a:pt x="536" y="541"/>
                    <a:pt x="536" y="541"/>
                    <a:pt x="536" y="541"/>
                  </a:cubicBezTo>
                  <a:cubicBezTo>
                    <a:pt x="536" y="541"/>
                    <a:pt x="541" y="557"/>
                    <a:pt x="556" y="557"/>
                  </a:cubicBezTo>
                  <a:cubicBezTo>
                    <a:pt x="571" y="557"/>
                    <a:pt x="583" y="521"/>
                    <a:pt x="583" y="521"/>
                  </a:cubicBezTo>
                  <a:cubicBezTo>
                    <a:pt x="605" y="522"/>
                    <a:pt x="605" y="522"/>
                    <a:pt x="605" y="522"/>
                  </a:cubicBezTo>
                  <a:cubicBezTo>
                    <a:pt x="600" y="505"/>
                    <a:pt x="600" y="505"/>
                    <a:pt x="600" y="505"/>
                  </a:cubicBezTo>
                  <a:cubicBezTo>
                    <a:pt x="617" y="481"/>
                    <a:pt x="617" y="481"/>
                    <a:pt x="617" y="481"/>
                  </a:cubicBezTo>
                  <a:cubicBezTo>
                    <a:pt x="600" y="469"/>
                    <a:pt x="600" y="469"/>
                    <a:pt x="600" y="469"/>
                  </a:cubicBezTo>
                  <a:cubicBezTo>
                    <a:pt x="600" y="469"/>
                    <a:pt x="603" y="445"/>
                    <a:pt x="621" y="451"/>
                  </a:cubicBezTo>
                  <a:cubicBezTo>
                    <a:pt x="640" y="458"/>
                    <a:pt x="643" y="433"/>
                    <a:pt x="643" y="433"/>
                  </a:cubicBezTo>
                  <a:cubicBezTo>
                    <a:pt x="643" y="433"/>
                    <a:pt x="636" y="429"/>
                    <a:pt x="636" y="425"/>
                  </a:cubicBezTo>
                  <a:cubicBezTo>
                    <a:pt x="636" y="421"/>
                    <a:pt x="625" y="391"/>
                    <a:pt x="625" y="391"/>
                  </a:cubicBezTo>
                  <a:cubicBezTo>
                    <a:pt x="653" y="382"/>
                    <a:pt x="653" y="382"/>
                    <a:pt x="653" y="382"/>
                  </a:cubicBezTo>
                  <a:cubicBezTo>
                    <a:pt x="672" y="353"/>
                    <a:pt x="672" y="353"/>
                    <a:pt x="672" y="353"/>
                  </a:cubicBezTo>
                  <a:cubicBezTo>
                    <a:pt x="693" y="347"/>
                    <a:pt x="693" y="347"/>
                    <a:pt x="693" y="347"/>
                  </a:cubicBezTo>
                  <a:cubicBezTo>
                    <a:pt x="707" y="327"/>
                    <a:pt x="707" y="327"/>
                    <a:pt x="707" y="327"/>
                  </a:cubicBezTo>
                  <a:cubicBezTo>
                    <a:pt x="699" y="310"/>
                    <a:pt x="699" y="310"/>
                    <a:pt x="699" y="310"/>
                  </a:cubicBezTo>
                  <a:cubicBezTo>
                    <a:pt x="715" y="309"/>
                    <a:pt x="715" y="309"/>
                    <a:pt x="715" y="309"/>
                  </a:cubicBezTo>
                  <a:cubicBezTo>
                    <a:pt x="716" y="295"/>
                    <a:pt x="716" y="295"/>
                    <a:pt x="716" y="295"/>
                  </a:cubicBezTo>
                  <a:cubicBezTo>
                    <a:pt x="733" y="289"/>
                    <a:pt x="733" y="289"/>
                    <a:pt x="733" y="289"/>
                  </a:cubicBezTo>
                  <a:cubicBezTo>
                    <a:pt x="728" y="279"/>
                    <a:pt x="728" y="279"/>
                    <a:pt x="728" y="279"/>
                  </a:cubicBezTo>
                  <a:cubicBezTo>
                    <a:pt x="735" y="274"/>
                    <a:pt x="735" y="274"/>
                    <a:pt x="735" y="274"/>
                  </a:cubicBezTo>
                  <a:cubicBezTo>
                    <a:pt x="729" y="243"/>
                    <a:pt x="729" y="243"/>
                    <a:pt x="729" y="243"/>
                  </a:cubicBezTo>
                  <a:cubicBezTo>
                    <a:pt x="732" y="239"/>
                    <a:pt x="732" y="239"/>
                    <a:pt x="732" y="239"/>
                  </a:cubicBezTo>
                  <a:cubicBezTo>
                    <a:pt x="721" y="217"/>
                    <a:pt x="721" y="217"/>
                    <a:pt x="721" y="217"/>
                  </a:cubicBezTo>
                  <a:cubicBezTo>
                    <a:pt x="727" y="207"/>
                    <a:pt x="727" y="207"/>
                    <a:pt x="727" y="207"/>
                  </a:cubicBezTo>
                  <a:cubicBezTo>
                    <a:pt x="696" y="195"/>
                    <a:pt x="696" y="195"/>
                    <a:pt x="696" y="195"/>
                  </a:cubicBezTo>
                  <a:cubicBezTo>
                    <a:pt x="700" y="185"/>
                    <a:pt x="700" y="185"/>
                    <a:pt x="700" y="185"/>
                  </a:cubicBezTo>
                  <a:cubicBezTo>
                    <a:pt x="692" y="183"/>
                    <a:pt x="692" y="183"/>
                    <a:pt x="692" y="183"/>
                  </a:cubicBezTo>
                  <a:cubicBezTo>
                    <a:pt x="699" y="167"/>
                    <a:pt x="699" y="167"/>
                    <a:pt x="699" y="167"/>
                  </a:cubicBezTo>
                  <a:cubicBezTo>
                    <a:pt x="691" y="161"/>
                    <a:pt x="691" y="161"/>
                    <a:pt x="691" y="161"/>
                  </a:cubicBezTo>
                  <a:cubicBezTo>
                    <a:pt x="691" y="150"/>
                    <a:pt x="691" y="150"/>
                    <a:pt x="691" y="150"/>
                  </a:cubicBezTo>
                  <a:cubicBezTo>
                    <a:pt x="691" y="150"/>
                    <a:pt x="707" y="135"/>
                    <a:pt x="707" y="129"/>
                  </a:cubicBezTo>
                  <a:cubicBezTo>
                    <a:pt x="707" y="122"/>
                    <a:pt x="693" y="118"/>
                    <a:pt x="693" y="118"/>
                  </a:cubicBezTo>
                  <a:cubicBezTo>
                    <a:pt x="700" y="117"/>
                    <a:pt x="700" y="117"/>
                    <a:pt x="700" y="117"/>
                  </a:cubicBezTo>
                  <a:cubicBezTo>
                    <a:pt x="668" y="95"/>
                    <a:pt x="668" y="95"/>
                    <a:pt x="668" y="95"/>
                  </a:cubicBezTo>
                  <a:cubicBezTo>
                    <a:pt x="673" y="75"/>
                    <a:pt x="673" y="75"/>
                    <a:pt x="673" y="75"/>
                  </a:cubicBezTo>
                  <a:cubicBezTo>
                    <a:pt x="673" y="75"/>
                    <a:pt x="661" y="74"/>
                    <a:pt x="655" y="74"/>
                  </a:cubicBezTo>
                  <a:cubicBezTo>
                    <a:pt x="648" y="74"/>
                    <a:pt x="643" y="51"/>
                    <a:pt x="643" y="51"/>
                  </a:cubicBezTo>
                  <a:cubicBezTo>
                    <a:pt x="608" y="47"/>
                    <a:pt x="608" y="47"/>
                    <a:pt x="608" y="47"/>
                  </a:cubicBezTo>
                  <a:cubicBezTo>
                    <a:pt x="608" y="47"/>
                    <a:pt x="596" y="62"/>
                    <a:pt x="589" y="58"/>
                  </a:cubicBezTo>
                  <a:cubicBezTo>
                    <a:pt x="583" y="54"/>
                    <a:pt x="589" y="30"/>
                    <a:pt x="589" y="30"/>
                  </a:cubicBezTo>
                  <a:cubicBezTo>
                    <a:pt x="589" y="30"/>
                    <a:pt x="576" y="24"/>
                    <a:pt x="558" y="21"/>
                  </a:cubicBezTo>
                  <a:cubicBezTo>
                    <a:pt x="540" y="43"/>
                    <a:pt x="540" y="43"/>
                    <a:pt x="540" y="43"/>
                  </a:cubicBezTo>
                  <a:cubicBezTo>
                    <a:pt x="540" y="43"/>
                    <a:pt x="529" y="45"/>
                    <a:pt x="525" y="45"/>
                  </a:cubicBezTo>
                  <a:cubicBezTo>
                    <a:pt x="521" y="45"/>
                    <a:pt x="531" y="73"/>
                    <a:pt x="531" y="73"/>
                  </a:cubicBezTo>
                  <a:cubicBezTo>
                    <a:pt x="519" y="74"/>
                    <a:pt x="519" y="74"/>
                    <a:pt x="519" y="74"/>
                  </a:cubicBezTo>
                  <a:cubicBezTo>
                    <a:pt x="519" y="74"/>
                    <a:pt x="515" y="73"/>
                    <a:pt x="511" y="87"/>
                  </a:cubicBezTo>
                  <a:cubicBezTo>
                    <a:pt x="459" y="94"/>
                    <a:pt x="471" y="147"/>
                    <a:pt x="471" y="147"/>
                  </a:cubicBezTo>
                  <a:cubicBezTo>
                    <a:pt x="464" y="147"/>
                    <a:pt x="464" y="147"/>
                    <a:pt x="464" y="147"/>
                  </a:cubicBezTo>
                  <a:cubicBezTo>
                    <a:pt x="464" y="147"/>
                    <a:pt x="445" y="175"/>
                    <a:pt x="441" y="175"/>
                  </a:cubicBezTo>
                  <a:cubicBezTo>
                    <a:pt x="437" y="175"/>
                    <a:pt x="429" y="166"/>
                    <a:pt x="429" y="166"/>
                  </a:cubicBezTo>
                  <a:cubicBezTo>
                    <a:pt x="429" y="166"/>
                    <a:pt x="413" y="189"/>
                    <a:pt x="407" y="202"/>
                  </a:cubicBezTo>
                  <a:cubicBezTo>
                    <a:pt x="400" y="215"/>
                    <a:pt x="367" y="213"/>
                    <a:pt x="349" y="195"/>
                  </a:cubicBezTo>
                  <a:cubicBezTo>
                    <a:pt x="332" y="178"/>
                    <a:pt x="324" y="193"/>
                    <a:pt x="324" y="193"/>
                  </a:cubicBezTo>
                  <a:cubicBezTo>
                    <a:pt x="324" y="193"/>
                    <a:pt x="324" y="187"/>
                    <a:pt x="319" y="169"/>
                  </a:cubicBezTo>
                  <a:cubicBezTo>
                    <a:pt x="325" y="154"/>
                    <a:pt x="285" y="143"/>
                    <a:pt x="285" y="143"/>
                  </a:cubicBezTo>
                  <a:cubicBezTo>
                    <a:pt x="279" y="130"/>
                    <a:pt x="279" y="130"/>
                    <a:pt x="279" y="130"/>
                  </a:cubicBezTo>
                  <a:cubicBezTo>
                    <a:pt x="265" y="131"/>
                    <a:pt x="265" y="131"/>
                    <a:pt x="265" y="131"/>
                  </a:cubicBezTo>
                  <a:cubicBezTo>
                    <a:pt x="267" y="136"/>
                    <a:pt x="270" y="143"/>
                    <a:pt x="272" y="153"/>
                  </a:cubicBezTo>
                  <a:cubicBezTo>
                    <a:pt x="276" y="171"/>
                    <a:pt x="290" y="171"/>
                    <a:pt x="290" y="171"/>
                  </a:cubicBezTo>
                  <a:cubicBezTo>
                    <a:pt x="279" y="178"/>
                    <a:pt x="279" y="178"/>
                    <a:pt x="279" y="178"/>
                  </a:cubicBezTo>
                  <a:cubicBezTo>
                    <a:pt x="279" y="178"/>
                    <a:pt x="262" y="147"/>
                    <a:pt x="258" y="143"/>
                  </a:cubicBezTo>
                  <a:cubicBezTo>
                    <a:pt x="254" y="140"/>
                    <a:pt x="250" y="104"/>
                    <a:pt x="242" y="83"/>
                  </a:cubicBezTo>
                  <a:cubicBezTo>
                    <a:pt x="239" y="76"/>
                    <a:pt x="239" y="76"/>
                    <a:pt x="239" y="76"/>
                  </a:cubicBezTo>
                  <a:cubicBezTo>
                    <a:pt x="239" y="75"/>
                    <a:pt x="239" y="75"/>
                    <a:pt x="239" y="75"/>
                  </a:cubicBezTo>
                  <a:cubicBezTo>
                    <a:pt x="229" y="55"/>
                    <a:pt x="184" y="19"/>
                    <a:pt x="184" y="19"/>
                  </a:cubicBezTo>
                  <a:cubicBezTo>
                    <a:pt x="185" y="0"/>
                    <a:pt x="185" y="0"/>
                    <a:pt x="185" y="0"/>
                  </a:cubicBezTo>
                  <a:cubicBezTo>
                    <a:pt x="162" y="28"/>
                    <a:pt x="162" y="28"/>
                    <a:pt x="162" y="28"/>
                  </a:cubicBezTo>
                  <a:cubicBezTo>
                    <a:pt x="162" y="28"/>
                    <a:pt x="164" y="82"/>
                    <a:pt x="159" y="107"/>
                  </a:cubicBezTo>
                  <a:cubicBezTo>
                    <a:pt x="155" y="130"/>
                    <a:pt x="136" y="279"/>
                    <a:pt x="133" y="309"/>
                  </a:cubicBezTo>
                  <a:cubicBezTo>
                    <a:pt x="136" y="291"/>
                    <a:pt x="155" y="262"/>
                    <a:pt x="155" y="262"/>
                  </a:cubicBezTo>
                  <a:cubicBezTo>
                    <a:pt x="155" y="262"/>
                    <a:pt x="187" y="292"/>
                    <a:pt x="180" y="304"/>
                  </a:cubicBezTo>
                  <a:cubicBezTo>
                    <a:pt x="173" y="316"/>
                    <a:pt x="147" y="302"/>
                    <a:pt x="147" y="302"/>
                  </a:cubicBezTo>
                  <a:cubicBezTo>
                    <a:pt x="145" y="322"/>
                    <a:pt x="131" y="339"/>
                    <a:pt x="131" y="339"/>
                  </a:cubicBezTo>
                  <a:cubicBezTo>
                    <a:pt x="131" y="339"/>
                    <a:pt x="115" y="435"/>
                    <a:pt x="93" y="567"/>
                  </a:cubicBezTo>
                  <a:cubicBezTo>
                    <a:pt x="71" y="699"/>
                    <a:pt x="23" y="730"/>
                    <a:pt x="23" y="730"/>
                  </a:cubicBezTo>
                  <a:cubicBezTo>
                    <a:pt x="0" y="733"/>
                    <a:pt x="0" y="733"/>
                    <a:pt x="0" y="733"/>
                  </a:cubicBezTo>
                  <a:cubicBezTo>
                    <a:pt x="13" y="763"/>
                    <a:pt x="13" y="763"/>
                    <a:pt x="13" y="763"/>
                  </a:cubicBezTo>
                  <a:cubicBezTo>
                    <a:pt x="34" y="764"/>
                    <a:pt x="34" y="764"/>
                    <a:pt x="34" y="764"/>
                  </a:cubicBezTo>
                  <a:cubicBezTo>
                    <a:pt x="34" y="764"/>
                    <a:pt x="37" y="773"/>
                    <a:pt x="42" y="779"/>
                  </a:cubicBezTo>
                  <a:cubicBezTo>
                    <a:pt x="47" y="785"/>
                    <a:pt x="48" y="774"/>
                    <a:pt x="56" y="771"/>
                  </a:cubicBezTo>
                  <a:cubicBezTo>
                    <a:pt x="64" y="768"/>
                    <a:pt x="74" y="776"/>
                    <a:pt x="86" y="787"/>
                  </a:cubicBezTo>
                  <a:cubicBezTo>
                    <a:pt x="98" y="798"/>
                    <a:pt x="71" y="830"/>
                    <a:pt x="69" y="843"/>
                  </a:cubicBezTo>
                  <a:cubicBezTo>
                    <a:pt x="67" y="856"/>
                    <a:pt x="92" y="859"/>
                    <a:pt x="92" y="859"/>
                  </a:cubicBezTo>
                  <a:cubicBezTo>
                    <a:pt x="92" y="859"/>
                    <a:pt x="100" y="831"/>
                    <a:pt x="110" y="831"/>
                  </a:cubicBezTo>
                  <a:cubicBezTo>
                    <a:pt x="120" y="831"/>
                    <a:pt x="107" y="846"/>
                    <a:pt x="107" y="846"/>
                  </a:cubicBezTo>
                  <a:cubicBezTo>
                    <a:pt x="136" y="857"/>
                    <a:pt x="136" y="857"/>
                    <a:pt x="136" y="857"/>
                  </a:cubicBezTo>
                  <a:cubicBezTo>
                    <a:pt x="142" y="869"/>
                    <a:pt x="142" y="869"/>
                    <a:pt x="142" y="869"/>
                  </a:cubicBezTo>
                  <a:cubicBezTo>
                    <a:pt x="149" y="864"/>
                    <a:pt x="149" y="864"/>
                    <a:pt x="149" y="864"/>
                  </a:cubicBezTo>
                  <a:cubicBezTo>
                    <a:pt x="182" y="884"/>
                    <a:pt x="182" y="884"/>
                    <a:pt x="182" y="884"/>
                  </a:cubicBezTo>
                  <a:cubicBezTo>
                    <a:pt x="228" y="882"/>
                    <a:pt x="228" y="882"/>
                    <a:pt x="228" y="882"/>
                  </a:cubicBezTo>
                  <a:cubicBezTo>
                    <a:pt x="228" y="882"/>
                    <a:pt x="230" y="909"/>
                    <a:pt x="239" y="912"/>
                  </a:cubicBezTo>
                  <a:cubicBezTo>
                    <a:pt x="248" y="915"/>
                    <a:pt x="277" y="946"/>
                    <a:pt x="277" y="946"/>
                  </a:cubicBezTo>
                  <a:cubicBezTo>
                    <a:pt x="293" y="936"/>
                    <a:pt x="293" y="943"/>
                    <a:pt x="293" y="943"/>
                  </a:cubicBezTo>
                  <a:cubicBezTo>
                    <a:pt x="293" y="943"/>
                    <a:pt x="309" y="946"/>
                    <a:pt x="306" y="942"/>
                  </a:cubicBezTo>
                  <a:cubicBezTo>
                    <a:pt x="307" y="941"/>
                    <a:pt x="308" y="940"/>
                    <a:pt x="310" y="940"/>
                  </a:cubicBezTo>
                  <a:cubicBezTo>
                    <a:pt x="310" y="936"/>
                    <a:pt x="309" y="934"/>
                    <a:pt x="309" y="934"/>
                  </a:cubicBezTo>
                  <a:lnTo>
                    <a:pt x="331" y="869"/>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10" name="Rhône-Alpes" descr="© INSCALE GmbH, 05.05.2010&#10;http://www.presentationload.com/">
              <a:extLst>
                <a:ext uri="{FF2B5EF4-FFF2-40B4-BE49-F238E27FC236}">
                  <a16:creationId xmlns:a16="http://schemas.microsoft.com/office/drawing/2014/main" id="{C96232F3-AA0D-4686-B8F3-177F16EC3D67}"/>
                </a:ext>
              </a:extLst>
            </p:cNvPr>
            <p:cNvSpPr>
              <a:spLocks/>
            </p:cNvSpPr>
            <p:nvPr/>
          </p:nvSpPr>
          <p:spPr bwMode="gray">
            <a:xfrm>
              <a:off x="2094" y="1710"/>
              <a:ext cx="833" cy="840"/>
            </a:xfrm>
            <a:custGeom>
              <a:avLst/>
              <a:gdLst/>
              <a:ahLst/>
              <a:cxnLst>
                <a:cxn ang="0">
                  <a:pos x="92" y="696"/>
                </a:cxn>
                <a:cxn ang="0">
                  <a:pos x="136" y="744"/>
                </a:cxn>
                <a:cxn ang="0">
                  <a:pos x="170" y="728"/>
                </a:cxn>
                <a:cxn ang="0">
                  <a:pos x="228" y="735"/>
                </a:cxn>
                <a:cxn ang="0">
                  <a:pos x="318" y="724"/>
                </a:cxn>
                <a:cxn ang="0">
                  <a:pos x="341" y="746"/>
                </a:cxn>
                <a:cxn ang="0">
                  <a:pos x="386" y="752"/>
                </a:cxn>
                <a:cxn ang="0">
                  <a:pos x="416" y="778"/>
                </a:cxn>
                <a:cxn ang="0">
                  <a:pos x="462" y="752"/>
                </a:cxn>
                <a:cxn ang="0">
                  <a:pos x="414" y="708"/>
                </a:cxn>
                <a:cxn ang="0">
                  <a:pos x="406" y="670"/>
                </a:cxn>
                <a:cxn ang="0">
                  <a:pos x="453" y="650"/>
                </a:cxn>
                <a:cxn ang="0">
                  <a:pos x="486" y="590"/>
                </a:cxn>
                <a:cxn ang="0">
                  <a:pos x="541" y="546"/>
                </a:cxn>
                <a:cxn ang="0">
                  <a:pos x="572" y="487"/>
                </a:cxn>
                <a:cxn ang="0">
                  <a:pos x="604" y="452"/>
                </a:cxn>
                <a:cxn ang="0">
                  <a:pos x="632" y="458"/>
                </a:cxn>
                <a:cxn ang="0">
                  <a:pos x="685" y="426"/>
                </a:cxn>
                <a:cxn ang="0">
                  <a:pos x="772" y="342"/>
                </a:cxn>
                <a:cxn ang="0">
                  <a:pos x="686" y="232"/>
                </a:cxn>
                <a:cxn ang="0">
                  <a:pos x="706" y="121"/>
                </a:cxn>
                <a:cxn ang="0">
                  <a:pos x="684" y="108"/>
                </a:cxn>
                <a:cxn ang="0">
                  <a:pos x="670" y="33"/>
                </a:cxn>
                <a:cxn ang="0">
                  <a:pos x="611" y="0"/>
                </a:cxn>
                <a:cxn ang="0">
                  <a:pos x="560" y="31"/>
                </a:cxn>
                <a:cxn ang="0">
                  <a:pos x="569" y="68"/>
                </a:cxn>
                <a:cxn ang="0">
                  <a:pos x="517" y="99"/>
                </a:cxn>
                <a:cxn ang="0">
                  <a:pos x="512" y="67"/>
                </a:cxn>
                <a:cxn ang="0">
                  <a:pos x="534" y="29"/>
                </a:cxn>
                <a:cxn ang="0">
                  <a:pos x="441" y="74"/>
                </a:cxn>
                <a:cxn ang="0">
                  <a:pos x="388" y="79"/>
                </a:cxn>
                <a:cxn ang="0">
                  <a:pos x="350" y="50"/>
                </a:cxn>
                <a:cxn ang="0">
                  <a:pos x="326" y="16"/>
                </a:cxn>
                <a:cxn ang="0">
                  <a:pos x="237" y="126"/>
                </a:cxn>
                <a:cxn ang="0">
                  <a:pos x="217" y="100"/>
                </a:cxn>
                <a:cxn ang="0">
                  <a:pos x="188" y="88"/>
                </a:cxn>
                <a:cxn ang="0">
                  <a:pos x="152" y="88"/>
                </a:cxn>
                <a:cxn ang="0">
                  <a:pos x="125" y="136"/>
                </a:cxn>
                <a:cxn ang="0">
                  <a:pos x="86" y="126"/>
                </a:cxn>
                <a:cxn ang="0">
                  <a:pos x="42" y="119"/>
                </a:cxn>
                <a:cxn ang="0">
                  <a:pos x="21" y="124"/>
                </a:cxn>
                <a:cxn ang="0">
                  <a:pos x="25" y="187"/>
                </a:cxn>
                <a:cxn ang="0">
                  <a:pos x="12" y="224"/>
                </a:cxn>
                <a:cxn ang="0">
                  <a:pos x="29" y="311"/>
                </a:cxn>
                <a:cxn ang="0">
                  <a:pos x="50" y="403"/>
                </a:cxn>
                <a:cxn ang="0">
                  <a:pos x="72" y="396"/>
                </a:cxn>
                <a:cxn ang="0">
                  <a:pos x="90" y="390"/>
                </a:cxn>
                <a:cxn ang="0">
                  <a:pos x="150" y="406"/>
                </a:cxn>
                <a:cxn ang="0">
                  <a:pos x="171" y="469"/>
                </a:cxn>
                <a:cxn ang="0">
                  <a:pos x="157" y="458"/>
                </a:cxn>
                <a:cxn ang="0">
                  <a:pos x="157" y="495"/>
                </a:cxn>
                <a:cxn ang="0">
                  <a:pos x="122" y="519"/>
                </a:cxn>
                <a:cxn ang="0">
                  <a:pos x="81" y="554"/>
                </a:cxn>
                <a:cxn ang="0">
                  <a:pos x="41" y="588"/>
                </a:cxn>
              </a:cxnLst>
              <a:rect l="0" t="0" r="r" b="b"/>
              <a:pathLst>
                <a:path w="772" h="778">
                  <a:moveTo>
                    <a:pt x="68" y="647"/>
                  </a:moveTo>
                  <a:cubicBezTo>
                    <a:pt x="72" y="678"/>
                    <a:pt x="72" y="678"/>
                    <a:pt x="72" y="678"/>
                  </a:cubicBezTo>
                  <a:cubicBezTo>
                    <a:pt x="92" y="696"/>
                    <a:pt x="92" y="696"/>
                    <a:pt x="92" y="696"/>
                  </a:cubicBezTo>
                  <a:cubicBezTo>
                    <a:pt x="85" y="727"/>
                    <a:pt x="85" y="727"/>
                    <a:pt x="85" y="727"/>
                  </a:cubicBezTo>
                  <a:cubicBezTo>
                    <a:pt x="104" y="716"/>
                    <a:pt x="104" y="716"/>
                    <a:pt x="104" y="716"/>
                  </a:cubicBezTo>
                  <a:cubicBezTo>
                    <a:pt x="136" y="744"/>
                    <a:pt x="136" y="744"/>
                    <a:pt x="136" y="744"/>
                  </a:cubicBezTo>
                  <a:cubicBezTo>
                    <a:pt x="156" y="714"/>
                    <a:pt x="156" y="714"/>
                    <a:pt x="156" y="714"/>
                  </a:cubicBezTo>
                  <a:cubicBezTo>
                    <a:pt x="170" y="714"/>
                    <a:pt x="170" y="714"/>
                    <a:pt x="170" y="714"/>
                  </a:cubicBezTo>
                  <a:cubicBezTo>
                    <a:pt x="170" y="728"/>
                    <a:pt x="170" y="728"/>
                    <a:pt x="170" y="728"/>
                  </a:cubicBezTo>
                  <a:cubicBezTo>
                    <a:pt x="177" y="728"/>
                    <a:pt x="177" y="728"/>
                    <a:pt x="177" y="728"/>
                  </a:cubicBezTo>
                  <a:cubicBezTo>
                    <a:pt x="185" y="716"/>
                    <a:pt x="185" y="716"/>
                    <a:pt x="185" y="716"/>
                  </a:cubicBezTo>
                  <a:cubicBezTo>
                    <a:pt x="228" y="735"/>
                    <a:pt x="228" y="735"/>
                    <a:pt x="228" y="735"/>
                  </a:cubicBezTo>
                  <a:cubicBezTo>
                    <a:pt x="228" y="720"/>
                    <a:pt x="228" y="720"/>
                    <a:pt x="228" y="720"/>
                  </a:cubicBezTo>
                  <a:cubicBezTo>
                    <a:pt x="228" y="720"/>
                    <a:pt x="262" y="712"/>
                    <a:pt x="264" y="748"/>
                  </a:cubicBezTo>
                  <a:cubicBezTo>
                    <a:pt x="318" y="724"/>
                    <a:pt x="318" y="724"/>
                    <a:pt x="318" y="724"/>
                  </a:cubicBezTo>
                  <a:cubicBezTo>
                    <a:pt x="329" y="728"/>
                    <a:pt x="329" y="728"/>
                    <a:pt x="329" y="728"/>
                  </a:cubicBezTo>
                  <a:cubicBezTo>
                    <a:pt x="341" y="722"/>
                    <a:pt x="341" y="722"/>
                    <a:pt x="341" y="722"/>
                  </a:cubicBezTo>
                  <a:cubicBezTo>
                    <a:pt x="341" y="746"/>
                    <a:pt x="341" y="746"/>
                    <a:pt x="341" y="746"/>
                  </a:cubicBezTo>
                  <a:cubicBezTo>
                    <a:pt x="366" y="754"/>
                    <a:pt x="366" y="754"/>
                    <a:pt x="366" y="754"/>
                  </a:cubicBezTo>
                  <a:cubicBezTo>
                    <a:pt x="365" y="747"/>
                    <a:pt x="365" y="747"/>
                    <a:pt x="365" y="747"/>
                  </a:cubicBezTo>
                  <a:cubicBezTo>
                    <a:pt x="386" y="752"/>
                    <a:pt x="386" y="752"/>
                    <a:pt x="386" y="752"/>
                  </a:cubicBezTo>
                  <a:cubicBezTo>
                    <a:pt x="386" y="752"/>
                    <a:pt x="393" y="756"/>
                    <a:pt x="393" y="766"/>
                  </a:cubicBezTo>
                  <a:cubicBezTo>
                    <a:pt x="393" y="775"/>
                    <a:pt x="406" y="771"/>
                    <a:pt x="406" y="771"/>
                  </a:cubicBezTo>
                  <a:cubicBezTo>
                    <a:pt x="416" y="778"/>
                    <a:pt x="416" y="778"/>
                    <a:pt x="416" y="778"/>
                  </a:cubicBezTo>
                  <a:cubicBezTo>
                    <a:pt x="436" y="766"/>
                    <a:pt x="436" y="766"/>
                    <a:pt x="436" y="766"/>
                  </a:cubicBezTo>
                  <a:cubicBezTo>
                    <a:pt x="436" y="766"/>
                    <a:pt x="426" y="755"/>
                    <a:pt x="450" y="763"/>
                  </a:cubicBezTo>
                  <a:cubicBezTo>
                    <a:pt x="448" y="766"/>
                    <a:pt x="462" y="752"/>
                    <a:pt x="462" y="752"/>
                  </a:cubicBezTo>
                  <a:cubicBezTo>
                    <a:pt x="462" y="730"/>
                    <a:pt x="462" y="730"/>
                    <a:pt x="462" y="730"/>
                  </a:cubicBezTo>
                  <a:cubicBezTo>
                    <a:pt x="445" y="710"/>
                    <a:pt x="445" y="710"/>
                    <a:pt x="445" y="710"/>
                  </a:cubicBezTo>
                  <a:cubicBezTo>
                    <a:pt x="414" y="708"/>
                    <a:pt x="414" y="708"/>
                    <a:pt x="414" y="708"/>
                  </a:cubicBezTo>
                  <a:cubicBezTo>
                    <a:pt x="398" y="683"/>
                    <a:pt x="398" y="683"/>
                    <a:pt x="398" y="683"/>
                  </a:cubicBezTo>
                  <a:cubicBezTo>
                    <a:pt x="414" y="682"/>
                    <a:pt x="414" y="682"/>
                    <a:pt x="414" y="682"/>
                  </a:cubicBezTo>
                  <a:cubicBezTo>
                    <a:pt x="406" y="670"/>
                    <a:pt x="406" y="670"/>
                    <a:pt x="406" y="670"/>
                  </a:cubicBezTo>
                  <a:cubicBezTo>
                    <a:pt x="409" y="658"/>
                    <a:pt x="409" y="658"/>
                    <a:pt x="409" y="658"/>
                  </a:cubicBezTo>
                  <a:cubicBezTo>
                    <a:pt x="438" y="662"/>
                    <a:pt x="438" y="662"/>
                    <a:pt x="438" y="662"/>
                  </a:cubicBezTo>
                  <a:cubicBezTo>
                    <a:pt x="453" y="650"/>
                    <a:pt x="453" y="650"/>
                    <a:pt x="453" y="650"/>
                  </a:cubicBezTo>
                  <a:cubicBezTo>
                    <a:pt x="436" y="640"/>
                    <a:pt x="436" y="640"/>
                    <a:pt x="436" y="640"/>
                  </a:cubicBezTo>
                  <a:cubicBezTo>
                    <a:pt x="449" y="614"/>
                    <a:pt x="449" y="614"/>
                    <a:pt x="449" y="614"/>
                  </a:cubicBezTo>
                  <a:cubicBezTo>
                    <a:pt x="449" y="614"/>
                    <a:pt x="490" y="599"/>
                    <a:pt x="486" y="590"/>
                  </a:cubicBezTo>
                  <a:cubicBezTo>
                    <a:pt x="482" y="580"/>
                    <a:pt x="477" y="568"/>
                    <a:pt x="489" y="568"/>
                  </a:cubicBezTo>
                  <a:cubicBezTo>
                    <a:pt x="501" y="568"/>
                    <a:pt x="525" y="562"/>
                    <a:pt x="525" y="562"/>
                  </a:cubicBezTo>
                  <a:cubicBezTo>
                    <a:pt x="525" y="562"/>
                    <a:pt x="534" y="539"/>
                    <a:pt x="541" y="546"/>
                  </a:cubicBezTo>
                  <a:cubicBezTo>
                    <a:pt x="548" y="552"/>
                    <a:pt x="538" y="532"/>
                    <a:pt x="604" y="534"/>
                  </a:cubicBezTo>
                  <a:cubicBezTo>
                    <a:pt x="597" y="511"/>
                    <a:pt x="596" y="492"/>
                    <a:pt x="596" y="492"/>
                  </a:cubicBezTo>
                  <a:cubicBezTo>
                    <a:pt x="596" y="492"/>
                    <a:pt x="572" y="498"/>
                    <a:pt x="572" y="487"/>
                  </a:cubicBezTo>
                  <a:cubicBezTo>
                    <a:pt x="572" y="476"/>
                    <a:pt x="577" y="463"/>
                    <a:pt x="577" y="463"/>
                  </a:cubicBezTo>
                  <a:cubicBezTo>
                    <a:pt x="574" y="455"/>
                    <a:pt x="574" y="455"/>
                    <a:pt x="574" y="455"/>
                  </a:cubicBezTo>
                  <a:cubicBezTo>
                    <a:pt x="604" y="452"/>
                    <a:pt x="604" y="452"/>
                    <a:pt x="604" y="452"/>
                  </a:cubicBezTo>
                  <a:cubicBezTo>
                    <a:pt x="605" y="466"/>
                    <a:pt x="605" y="466"/>
                    <a:pt x="605" y="466"/>
                  </a:cubicBezTo>
                  <a:cubicBezTo>
                    <a:pt x="629" y="466"/>
                    <a:pt x="629" y="466"/>
                    <a:pt x="629" y="466"/>
                  </a:cubicBezTo>
                  <a:cubicBezTo>
                    <a:pt x="632" y="458"/>
                    <a:pt x="632" y="458"/>
                    <a:pt x="632" y="458"/>
                  </a:cubicBezTo>
                  <a:cubicBezTo>
                    <a:pt x="656" y="454"/>
                    <a:pt x="656" y="454"/>
                    <a:pt x="656" y="454"/>
                  </a:cubicBezTo>
                  <a:cubicBezTo>
                    <a:pt x="648" y="442"/>
                    <a:pt x="660" y="431"/>
                    <a:pt x="660" y="431"/>
                  </a:cubicBezTo>
                  <a:cubicBezTo>
                    <a:pt x="670" y="445"/>
                    <a:pt x="685" y="426"/>
                    <a:pt x="685" y="426"/>
                  </a:cubicBezTo>
                  <a:cubicBezTo>
                    <a:pt x="704" y="448"/>
                    <a:pt x="725" y="407"/>
                    <a:pt x="725" y="407"/>
                  </a:cubicBezTo>
                  <a:cubicBezTo>
                    <a:pt x="725" y="407"/>
                    <a:pt x="757" y="400"/>
                    <a:pt x="758" y="394"/>
                  </a:cubicBezTo>
                  <a:cubicBezTo>
                    <a:pt x="755" y="371"/>
                    <a:pt x="772" y="342"/>
                    <a:pt x="772" y="342"/>
                  </a:cubicBezTo>
                  <a:cubicBezTo>
                    <a:pt x="764" y="342"/>
                    <a:pt x="744" y="317"/>
                    <a:pt x="741" y="313"/>
                  </a:cubicBezTo>
                  <a:cubicBezTo>
                    <a:pt x="705" y="284"/>
                    <a:pt x="737" y="269"/>
                    <a:pt x="733" y="267"/>
                  </a:cubicBezTo>
                  <a:cubicBezTo>
                    <a:pt x="704" y="274"/>
                    <a:pt x="688" y="235"/>
                    <a:pt x="686" y="232"/>
                  </a:cubicBezTo>
                  <a:cubicBezTo>
                    <a:pt x="678" y="230"/>
                    <a:pt x="684" y="206"/>
                    <a:pt x="684" y="200"/>
                  </a:cubicBezTo>
                  <a:cubicBezTo>
                    <a:pt x="698" y="224"/>
                    <a:pt x="737" y="172"/>
                    <a:pt x="737" y="172"/>
                  </a:cubicBezTo>
                  <a:cubicBezTo>
                    <a:pt x="706" y="121"/>
                    <a:pt x="706" y="121"/>
                    <a:pt x="706" y="121"/>
                  </a:cubicBezTo>
                  <a:cubicBezTo>
                    <a:pt x="701" y="129"/>
                    <a:pt x="701" y="129"/>
                    <a:pt x="701" y="129"/>
                  </a:cubicBezTo>
                  <a:cubicBezTo>
                    <a:pt x="698" y="120"/>
                    <a:pt x="698" y="120"/>
                    <a:pt x="698" y="120"/>
                  </a:cubicBezTo>
                  <a:cubicBezTo>
                    <a:pt x="706" y="98"/>
                    <a:pt x="684" y="108"/>
                    <a:pt x="684" y="108"/>
                  </a:cubicBezTo>
                  <a:cubicBezTo>
                    <a:pt x="675" y="97"/>
                    <a:pt x="675" y="97"/>
                    <a:pt x="675" y="97"/>
                  </a:cubicBezTo>
                  <a:cubicBezTo>
                    <a:pt x="691" y="55"/>
                    <a:pt x="691" y="55"/>
                    <a:pt x="691" y="55"/>
                  </a:cubicBezTo>
                  <a:cubicBezTo>
                    <a:pt x="670" y="33"/>
                    <a:pt x="670" y="33"/>
                    <a:pt x="670" y="33"/>
                  </a:cubicBezTo>
                  <a:cubicBezTo>
                    <a:pt x="680" y="10"/>
                    <a:pt x="680" y="10"/>
                    <a:pt x="680" y="10"/>
                  </a:cubicBezTo>
                  <a:cubicBezTo>
                    <a:pt x="674" y="3"/>
                    <a:pt x="674" y="3"/>
                    <a:pt x="674" y="3"/>
                  </a:cubicBezTo>
                  <a:cubicBezTo>
                    <a:pt x="611" y="0"/>
                    <a:pt x="611" y="0"/>
                    <a:pt x="611" y="0"/>
                  </a:cubicBezTo>
                  <a:cubicBezTo>
                    <a:pt x="593" y="12"/>
                    <a:pt x="593" y="12"/>
                    <a:pt x="593" y="12"/>
                  </a:cubicBezTo>
                  <a:cubicBezTo>
                    <a:pt x="577" y="12"/>
                    <a:pt x="577" y="12"/>
                    <a:pt x="577" y="12"/>
                  </a:cubicBezTo>
                  <a:cubicBezTo>
                    <a:pt x="577" y="12"/>
                    <a:pt x="570" y="21"/>
                    <a:pt x="560" y="31"/>
                  </a:cubicBezTo>
                  <a:cubicBezTo>
                    <a:pt x="550" y="30"/>
                    <a:pt x="553" y="57"/>
                    <a:pt x="553" y="57"/>
                  </a:cubicBezTo>
                  <a:cubicBezTo>
                    <a:pt x="559" y="63"/>
                    <a:pt x="559" y="63"/>
                    <a:pt x="559" y="63"/>
                  </a:cubicBezTo>
                  <a:cubicBezTo>
                    <a:pt x="559" y="63"/>
                    <a:pt x="564" y="60"/>
                    <a:pt x="569" y="68"/>
                  </a:cubicBezTo>
                  <a:cubicBezTo>
                    <a:pt x="574" y="76"/>
                    <a:pt x="558" y="76"/>
                    <a:pt x="558" y="76"/>
                  </a:cubicBezTo>
                  <a:cubicBezTo>
                    <a:pt x="527" y="100"/>
                    <a:pt x="527" y="100"/>
                    <a:pt x="527" y="100"/>
                  </a:cubicBezTo>
                  <a:cubicBezTo>
                    <a:pt x="521" y="93"/>
                    <a:pt x="517" y="99"/>
                    <a:pt x="517" y="99"/>
                  </a:cubicBezTo>
                  <a:cubicBezTo>
                    <a:pt x="499" y="98"/>
                    <a:pt x="499" y="98"/>
                    <a:pt x="499" y="98"/>
                  </a:cubicBezTo>
                  <a:cubicBezTo>
                    <a:pt x="497" y="82"/>
                    <a:pt x="497" y="82"/>
                    <a:pt x="497" y="82"/>
                  </a:cubicBezTo>
                  <a:cubicBezTo>
                    <a:pt x="512" y="67"/>
                    <a:pt x="512" y="67"/>
                    <a:pt x="512" y="67"/>
                  </a:cubicBezTo>
                  <a:cubicBezTo>
                    <a:pt x="525" y="66"/>
                    <a:pt x="525" y="66"/>
                    <a:pt x="525" y="66"/>
                  </a:cubicBezTo>
                  <a:cubicBezTo>
                    <a:pt x="525" y="48"/>
                    <a:pt x="525" y="48"/>
                    <a:pt x="525" y="48"/>
                  </a:cubicBezTo>
                  <a:cubicBezTo>
                    <a:pt x="534" y="41"/>
                    <a:pt x="535" y="34"/>
                    <a:pt x="534" y="29"/>
                  </a:cubicBezTo>
                  <a:cubicBezTo>
                    <a:pt x="477" y="88"/>
                    <a:pt x="477" y="88"/>
                    <a:pt x="477" y="88"/>
                  </a:cubicBezTo>
                  <a:cubicBezTo>
                    <a:pt x="445" y="90"/>
                    <a:pt x="445" y="90"/>
                    <a:pt x="445" y="90"/>
                  </a:cubicBezTo>
                  <a:cubicBezTo>
                    <a:pt x="441" y="74"/>
                    <a:pt x="441" y="74"/>
                    <a:pt x="441" y="74"/>
                  </a:cubicBezTo>
                  <a:cubicBezTo>
                    <a:pt x="441" y="74"/>
                    <a:pt x="421" y="71"/>
                    <a:pt x="425" y="64"/>
                  </a:cubicBezTo>
                  <a:cubicBezTo>
                    <a:pt x="408" y="103"/>
                    <a:pt x="385" y="92"/>
                    <a:pt x="385" y="92"/>
                  </a:cubicBezTo>
                  <a:cubicBezTo>
                    <a:pt x="388" y="79"/>
                    <a:pt x="388" y="79"/>
                    <a:pt x="388" y="79"/>
                  </a:cubicBezTo>
                  <a:cubicBezTo>
                    <a:pt x="364" y="68"/>
                    <a:pt x="364" y="68"/>
                    <a:pt x="364" y="68"/>
                  </a:cubicBezTo>
                  <a:cubicBezTo>
                    <a:pt x="364" y="55"/>
                    <a:pt x="364" y="55"/>
                    <a:pt x="364" y="55"/>
                  </a:cubicBezTo>
                  <a:cubicBezTo>
                    <a:pt x="350" y="50"/>
                    <a:pt x="350" y="50"/>
                    <a:pt x="350" y="50"/>
                  </a:cubicBezTo>
                  <a:cubicBezTo>
                    <a:pt x="352" y="36"/>
                    <a:pt x="352" y="36"/>
                    <a:pt x="352" y="36"/>
                  </a:cubicBezTo>
                  <a:cubicBezTo>
                    <a:pt x="344" y="35"/>
                    <a:pt x="336" y="34"/>
                    <a:pt x="334" y="34"/>
                  </a:cubicBezTo>
                  <a:cubicBezTo>
                    <a:pt x="330" y="34"/>
                    <a:pt x="329" y="22"/>
                    <a:pt x="326" y="16"/>
                  </a:cubicBezTo>
                  <a:cubicBezTo>
                    <a:pt x="324" y="11"/>
                    <a:pt x="309" y="24"/>
                    <a:pt x="296" y="24"/>
                  </a:cubicBezTo>
                  <a:cubicBezTo>
                    <a:pt x="282" y="24"/>
                    <a:pt x="265" y="18"/>
                    <a:pt x="265" y="18"/>
                  </a:cubicBezTo>
                  <a:cubicBezTo>
                    <a:pt x="237" y="126"/>
                    <a:pt x="237" y="126"/>
                    <a:pt x="237" y="126"/>
                  </a:cubicBezTo>
                  <a:cubicBezTo>
                    <a:pt x="226" y="124"/>
                    <a:pt x="226" y="124"/>
                    <a:pt x="226" y="124"/>
                  </a:cubicBezTo>
                  <a:cubicBezTo>
                    <a:pt x="225" y="108"/>
                    <a:pt x="225" y="108"/>
                    <a:pt x="225" y="108"/>
                  </a:cubicBezTo>
                  <a:cubicBezTo>
                    <a:pt x="217" y="100"/>
                    <a:pt x="217" y="100"/>
                    <a:pt x="217" y="100"/>
                  </a:cubicBezTo>
                  <a:cubicBezTo>
                    <a:pt x="217" y="100"/>
                    <a:pt x="218" y="90"/>
                    <a:pt x="208" y="86"/>
                  </a:cubicBezTo>
                  <a:cubicBezTo>
                    <a:pt x="197" y="82"/>
                    <a:pt x="198" y="98"/>
                    <a:pt x="193" y="98"/>
                  </a:cubicBezTo>
                  <a:cubicBezTo>
                    <a:pt x="188" y="98"/>
                    <a:pt x="188" y="88"/>
                    <a:pt x="188" y="88"/>
                  </a:cubicBezTo>
                  <a:cubicBezTo>
                    <a:pt x="173" y="100"/>
                    <a:pt x="173" y="100"/>
                    <a:pt x="173" y="100"/>
                  </a:cubicBezTo>
                  <a:cubicBezTo>
                    <a:pt x="164" y="87"/>
                    <a:pt x="164" y="87"/>
                    <a:pt x="164" y="87"/>
                  </a:cubicBezTo>
                  <a:cubicBezTo>
                    <a:pt x="152" y="88"/>
                    <a:pt x="152" y="88"/>
                    <a:pt x="152" y="88"/>
                  </a:cubicBezTo>
                  <a:cubicBezTo>
                    <a:pt x="148" y="127"/>
                    <a:pt x="148" y="127"/>
                    <a:pt x="148" y="127"/>
                  </a:cubicBezTo>
                  <a:cubicBezTo>
                    <a:pt x="148" y="127"/>
                    <a:pt x="137" y="128"/>
                    <a:pt x="132" y="128"/>
                  </a:cubicBezTo>
                  <a:cubicBezTo>
                    <a:pt x="126" y="128"/>
                    <a:pt x="132" y="135"/>
                    <a:pt x="125" y="136"/>
                  </a:cubicBezTo>
                  <a:cubicBezTo>
                    <a:pt x="120" y="137"/>
                    <a:pt x="113" y="129"/>
                    <a:pt x="110" y="125"/>
                  </a:cubicBezTo>
                  <a:cubicBezTo>
                    <a:pt x="111" y="127"/>
                    <a:pt x="111" y="129"/>
                    <a:pt x="101" y="128"/>
                  </a:cubicBezTo>
                  <a:cubicBezTo>
                    <a:pt x="86" y="127"/>
                    <a:pt x="86" y="126"/>
                    <a:pt x="86" y="126"/>
                  </a:cubicBezTo>
                  <a:cubicBezTo>
                    <a:pt x="62" y="132"/>
                    <a:pt x="62" y="132"/>
                    <a:pt x="62" y="132"/>
                  </a:cubicBezTo>
                  <a:cubicBezTo>
                    <a:pt x="56" y="119"/>
                    <a:pt x="56" y="119"/>
                    <a:pt x="56" y="119"/>
                  </a:cubicBezTo>
                  <a:cubicBezTo>
                    <a:pt x="42" y="119"/>
                    <a:pt x="42" y="119"/>
                    <a:pt x="42" y="119"/>
                  </a:cubicBezTo>
                  <a:cubicBezTo>
                    <a:pt x="41" y="100"/>
                    <a:pt x="41" y="100"/>
                    <a:pt x="41" y="100"/>
                  </a:cubicBezTo>
                  <a:cubicBezTo>
                    <a:pt x="16" y="111"/>
                    <a:pt x="16" y="111"/>
                    <a:pt x="16" y="111"/>
                  </a:cubicBezTo>
                  <a:cubicBezTo>
                    <a:pt x="21" y="124"/>
                    <a:pt x="21" y="124"/>
                    <a:pt x="21" y="124"/>
                  </a:cubicBezTo>
                  <a:cubicBezTo>
                    <a:pt x="17" y="139"/>
                    <a:pt x="17" y="139"/>
                    <a:pt x="17" y="139"/>
                  </a:cubicBezTo>
                  <a:cubicBezTo>
                    <a:pt x="24" y="152"/>
                    <a:pt x="24" y="152"/>
                    <a:pt x="24" y="152"/>
                  </a:cubicBezTo>
                  <a:cubicBezTo>
                    <a:pt x="25" y="187"/>
                    <a:pt x="25" y="187"/>
                    <a:pt x="25" y="187"/>
                  </a:cubicBezTo>
                  <a:cubicBezTo>
                    <a:pt x="0" y="196"/>
                    <a:pt x="0" y="196"/>
                    <a:pt x="0" y="196"/>
                  </a:cubicBezTo>
                  <a:cubicBezTo>
                    <a:pt x="0" y="208"/>
                    <a:pt x="0" y="208"/>
                    <a:pt x="0" y="208"/>
                  </a:cubicBezTo>
                  <a:cubicBezTo>
                    <a:pt x="12" y="224"/>
                    <a:pt x="12" y="224"/>
                    <a:pt x="12" y="224"/>
                  </a:cubicBezTo>
                  <a:cubicBezTo>
                    <a:pt x="4" y="227"/>
                    <a:pt x="4" y="227"/>
                    <a:pt x="4" y="227"/>
                  </a:cubicBezTo>
                  <a:cubicBezTo>
                    <a:pt x="2" y="255"/>
                    <a:pt x="2" y="255"/>
                    <a:pt x="2" y="255"/>
                  </a:cubicBezTo>
                  <a:cubicBezTo>
                    <a:pt x="2" y="255"/>
                    <a:pt x="25" y="291"/>
                    <a:pt x="29" y="311"/>
                  </a:cubicBezTo>
                  <a:cubicBezTo>
                    <a:pt x="34" y="311"/>
                    <a:pt x="74" y="347"/>
                    <a:pt x="62" y="367"/>
                  </a:cubicBezTo>
                  <a:cubicBezTo>
                    <a:pt x="60" y="374"/>
                    <a:pt x="46" y="380"/>
                    <a:pt x="46" y="380"/>
                  </a:cubicBezTo>
                  <a:cubicBezTo>
                    <a:pt x="50" y="403"/>
                    <a:pt x="50" y="403"/>
                    <a:pt x="50" y="403"/>
                  </a:cubicBezTo>
                  <a:cubicBezTo>
                    <a:pt x="56" y="384"/>
                    <a:pt x="56" y="384"/>
                    <a:pt x="56" y="384"/>
                  </a:cubicBezTo>
                  <a:cubicBezTo>
                    <a:pt x="68" y="384"/>
                    <a:pt x="68" y="384"/>
                    <a:pt x="68" y="384"/>
                  </a:cubicBezTo>
                  <a:cubicBezTo>
                    <a:pt x="72" y="396"/>
                    <a:pt x="72" y="396"/>
                    <a:pt x="72" y="396"/>
                  </a:cubicBezTo>
                  <a:cubicBezTo>
                    <a:pt x="82" y="391"/>
                    <a:pt x="82" y="391"/>
                    <a:pt x="82" y="391"/>
                  </a:cubicBezTo>
                  <a:cubicBezTo>
                    <a:pt x="88" y="398"/>
                    <a:pt x="88" y="398"/>
                    <a:pt x="88" y="398"/>
                  </a:cubicBezTo>
                  <a:cubicBezTo>
                    <a:pt x="90" y="390"/>
                    <a:pt x="90" y="390"/>
                    <a:pt x="90" y="390"/>
                  </a:cubicBezTo>
                  <a:cubicBezTo>
                    <a:pt x="90" y="390"/>
                    <a:pt x="120" y="375"/>
                    <a:pt x="126" y="384"/>
                  </a:cubicBezTo>
                  <a:cubicBezTo>
                    <a:pt x="133" y="394"/>
                    <a:pt x="158" y="391"/>
                    <a:pt x="145" y="402"/>
                  </a:cubicBezTo>
                  <a:cubicBezTo>
                    <a:pt x="150" y="406"/>
                    <a:pt x="150" y="406"/>
                    <a:pt x="150" y="406"/>
                  </a:cubicBezTo>
                  <a:cubicBezTo>
                    <a:pt x="157" y="424"/>
                    <a:pt x="157" y="424"/>
                    <a:pt x="157" y="424"/>
                  </a:cubicBezTo>
                  <a:cubicBezTo>
                    <a:pt x="157" y="424"/>
                    <a:pt x="188" y="403"/>
                    <a:pt x="174" y="452"/>
                  </a:cubicBezTo>
                  <a:cubicBezTo>
                    <a:pt x="170" y="464"/>
                    <a:pt x="170" y="468"/>
                    <a:pt x="171" y="469"/>
                  </a:cubicBezTo>
                  <a:cubicBezTo>
                    <a:pt x="172" y="470"/>
                    <a:pt x="172" y="470"/>
                    <a:pt x="172" y="470"/>
                  </a:cubicBezTo>
                  <a:cubicBezTo>
                    <a:pt x="172" y="470"/>
                    <a:pt x="171" y="470"/>
                    <a:pt x="171" y="469"/>
                  </a:cubicBezTo>
                  <a:cubicBezTo>
                    <a:pt x="157" y="458"/>
                    <a:pt x="157" y="458"/>
                    <a:pt x="157" y="458"/>
                  </a:cubicBezTo>
                  <a:cubicBezTo>
                    <a:pt x="160" y="470"/>
                    <a:pt x="160" y="470"/>
                    <a:pt x="160" y="470"/>
                  </a:cubicBezTo>
                  <a:cubicBezTo>
                    <a:pt x="160" y="470"/>
                    <a:pt x="150" y="475"/>
                    <a:pt x="150" y="479"/>
                  </a:cubicBezTo>
                  <a:cubicBezTo>
                    <a:pt x="150" y="483"/>
                    <a:pt x="157" y="495"/>
                    <a:pt x="157" y="495"/>
                  </a:cubicBezTo>
                  <a:cubicBezTo>
                    <a:pt x="142" y="495"/>
                    <a:pt x="142" y="495"/>
                    <a:pt x="142" y="495"/>
                  </a:cubicBezTo>
                  <a:cubicBezTo>
                    <a:pt x="142" y="515"/>
                    <a:pt x="142" y="515"/>
                    <a:pt x="142" y="515"/>
                  </a:cubicBezTo>
                  <a:cubicBezTo>
                    <a:pt x="122" y="519"/>
                    <a:pt x="122" y="519"/>
                    <a:pt x="122" y="519"/>
                  </a:cubicBezTo>
                  <a:cubicBezTo>
                    <a:pt x="110" y="547"/>
                    <a:pt x="110" y="547"/>
                    <a:pt x="110" y="547"/>
                  </a:cubicBezTo>
                  <a:cubicBezTo>
                    <a:pt x="82" y="548"/>
                    <a:pt x="82" y="548"/>
                    <a:pt x="82" y="548"/>
                  </a:cubicBezTo>
                  <a:cubicBezTo>
                    <a:pt x="81" y="554"/>
                    <a:pt x="81" y="554"/>
                    <a:pt x="81" y="554"/>
                  </a:cubicBezTo>
                  <a:cubicBezTo>
                    <a:pt x="62" y="563"/>
                    <a:pt x="62" y="563"/>
                    <a:pt x="62" y="563"/>
                  </a:cubicBezTo>
                  <a:cubicBezTo>
                    <a:pt x="62" y="579"/>
                    <a:pt x="62" y="579"/>
                    <a:pt x="62" y="579"/>
                  </a:cubicBezTo>
                  <a:cubicBezTo>
                    <a:pt x="41" y="588"/>
                    <a:pt x="41" y="588"/>
                    <a:pt x="41" y="588"/>
                  </a:cubicBezTo>
                  <a:cubicBezTo>
                    <a:pt x="54" y="640"/>
                    <a:pt x="54" y="640"/>
                    <a:pt x="54" y="640"/>
                  </a:cubicBezTo>
                  <a:lnTo>
                    <a:pt x="68" y="647"/>
                  </a:lnTo>
                  <a:close/>
                </a:path>
              </a:pathLst>
            </a:custGeom>
            <a:solidFill>
              <a:srgbClr val="F4F3F0"/>
            </a:solid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grpSp>
      <p:pic>
        <p:nvPicPr>
          <p:cNvPr id="59" name="Graphique 58" descr="Utilisateur">
            <a:extLst>
              <a:ext uri="{FF2B5EF4-FFF2-40B4-BE49-F238E27FC236}">
                <a16:creationId xmlns:a16="http://schemas.microsoft.com/office/drawing/2014/main" id="{BCF539CA-033C-4E53-AA11-C9F1D57FD99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62600" y="918286"/>
            <a:ext cx="343642" cy="343642"/>
          </a:xfrm>
          <a:prstGeom prst="rect">
            <a:avLst/>
          </a:prstGeom>
        </p:spPr>
      </p:pic>
      <p:pic>
        <p:nvPicPr>
          <p:cNvPr id="60" name="Graphique 59" descr="Enfants">
            <a:extLst>
              <a:ext uri="{FF2B5EF4-FFF2-40B4-BE49-F238E27FC236}">
                <a16:creationId xmlns:a16="http://schemas.microsoft.com/office/drawing/2014/main" id="{D039143E-4976-4C18-9C94-0BA53EE64FF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82720" y="929748"/>
            <a:ext cx="357605" cy="357605"/>
          </a:xfrm>
          <a:prstGeom prst="rect">
            <a:avLst/>
          </a:prstGeom>
        </p:spPr>
      </p:pic>
      <p:pic>
        <p:nvPicPr>
          <p:cNvPr id="61" name="Graphique 60" descr="Hôpital">
            <a:extLst>
              <a:ext uri="{FF2B5EF4-FFF2-40B4-BE49-F238E27FC236}">
                <a16:creationId xmlns:a16="http://schemas.microsoft.com/office/drawing/2014/main" id="{5A6293E0-A850-432A-AEC2-55244F91F50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01315" y="898323"/>
            <a:ext cx="377667" cy="377667"/>
          </a:xfrm>
          <a:prstGeom prst="rect">
            <a:avLst/>
          </a:prstGeom>
        </p:spPr>
      </p:pic>
      <p:sp>
        <p:nvSpPr>
          <p:cNvPr id="71" name="ZoneTexte 70">
            <a:extLst>
              <a:ext uri="{FF2B5EF4-FFF2-40B4-BE49-F238E27FC236}">
                <a16:creationId xmlns:a16="http://schemas.microsoft.com/office/drawing/2014/main" id="{95275340-2C5E-4AB7-8968-428537133200}"/>
              </a:ext>
            </a:extLst>
          </p:cNvPr>
          <p:cNvSpPr txBox="1"/>
          <p:nvPr/>
        </p:nvSpPr>
        <p:spPr>
          <a:xfrm>
            <a:off x="3506076" y="959276"/>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ublic cible</a:t>
            </a:r>
          </a:p>
          <a:p>
            <a:pPr marL="171450" indent="-171450">
              <a:buFontTx/>
              <a:buChar char="-"/>
            </a:pPr>
            <a:endParaRPr lang="fr-FR" sz="1200">
              <a:solidFill>
                <a:srgbClr val="5F5F5F"/>
              </a:solidFill>
              <a:latin typeface="Tahoma"/>
            </a:endParaRPr>
          </a:p>
        </p:txBody>
      </p:sp>
      <p:sp>
        <p:nvSpPr>
          <p:cNvPr id="72" name="Rectangle 71">
            <a:extLst>
              <a:ext uri="{FF2B5EF4-FFF2-40B4-BE49-F238E27FC236}">
                <a16:creationId xmlns:a16="http://schemas.microsoft.com/office/drawing/2014/main" id="{CF33C1E5-DDE1-4156-A8BA-4E287E034C81}"/>
              </a:ext>
            </a:extLst>
          </p:cNvPr>
          <p:cNvSpPr/>
          <p:nvPr/>
        </p:nvSpPr>
        <p:spPr>
          <a:xfrm>
            <a:off x="3041222" y="920243"/>
            <a:ext cx="2566378"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3" name="Rectangle 72">
            <a:extLst>
              <a:ext uri="{FF2B5EF4-FFF2-40B4-BE49-F238E27FC236}">
                <a16:creationId xmlns:a16="http://schemas.microsoft.com/office/drawing/2014/main" id="{E85DFD2B-8AE0-4AEF-971A-2B7DB41E3803}"/>
              </a:ext>
            </a:extLst>
          </p:cNvPr>
          <p:cNvSpPr/>
          <p:nvPr/>
        </p:nvSpPr>
        <p:spPr>
          <a:xfrm>
            <a:off x="8329059" y="918287"/>
            <a:ext cx="2630482" cy="1028237"/>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4" name="ZoneTexte 73">
            <a:extLst>
              <a:ext uri="{FF2B5EF4-FFF2-40B4-BE49-F238E27FC236}">
                <a16:creationId xmlns:a16="http://schemas.microsoft.com/office/drawing/2014/main" id="{77576367-5766-4A85-8CC6-3A325240D7B8}"/>
              </a:ext>
            </a:extLst>
          </p:cNvPr>
          <p:cNvSpPr txBox="1"/>
          <p:nvPr/>
        </p:nvSpPr>
        <p:spPr>
          <a:xfrm>
            <a:off x="8699428" y="963457"/>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ortage / gestion du projet </a:t>
            </a:r>
          </a:p>
          <a:p>
            <a:pPr marL="171450" indent="-171450">
              <a:buFontTx/>
              <a:buChar char="-"/>
            </a:pPr>
            <a:endParaRPr lang="fr-FR" sz="1200">
              <a:solidFill>
                <a:srgbClr val="5F5F5F"/>
              </a:solidFill>
              <a:latin typeface="Tahoma"/>
            </a:endParaRPr>
          </a:p>
        </p:txBody>
      </p:sp>
      <p:sp>
        <p:nvSpPr>
          <p:cNvPr id="76" name="Rectangle 75">
            <a:extLst>
              <a:ext uri="{FF2B5EF4-FFF2-40B4-BE49-F238E27FC236}">
                <a16:creationId xmlns:a16="http://schemas.microsoft.com/office/drawing/2014/main" id="{DEA056E4-366B-4B6E-AD2A-2A7DACC2777B}"/>
              </a:ext>
            </a:extLst>
          </p:cNvPr>
          <p:cNvSpPr/>
          <p:nvPr/>
        </p:nvSpPr>
        <p:spPr>
          <a:xfrm>
            <a:off x="5657842" y="920242"/>
            <a:ext cx="2630482" cy="1026282"/>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7" name="ZoneTexte 76">
            <a:extLst>
              <a:ext uri="{FF2B5EF4-FFF2-40B4-BE49-F238E27FC236}">
                <a16:creationId xmlns:a16="http://schemas.microsoft.com/office/drawing/2014/main" id="{9B3B4E4E-968C-4AC1-A916-2CB2CBC81062}"/>
              </a:ext>
            </a:extLst>
          </p:cNvPr>
          <p:cNvSpPr txBox="1"/>
          <p:nvPr/>
        </p:nvSpPr>
        <p:spPr>
          <a:xfrm>
            <a:off x="6045885" y="987123"/>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Typologie de structure</a:t>
            </a:r>
          </a:p>
          <a:p>
            <a:pPr marL="171450" indent="-171450">
              <a:buFontTx/>
              <a:buChar char="-"/>
            </a:pPr>
            <a:endParaRPr lang="fr-FR" sz="1200">
              <a:solidFill>
                <a:srgbClr val="5F5F5F"/>
              </a:solidFill>
              <a:latin typeface="Tahoma"/>
            </a:endParaRPr>
          </a:p>
        </p:txBody>
      </p:sp>
      <p:sp>
        <p:nvSpPr>
          <p:cNvPr id="78" name="ZoneTexte 77">
            <a:extLst>
              <a:ext uri="{FF2B5EF4-FFF2-40B4-BE49-F238E27FC236}">
                <a16:creationId xmlns:a16="http://schemas.microsoft.com/office/drawing/2014/main" id="{96B574C6-E211-4064-9944-5448EE32BE54}"/>
              </a:ext>
            </a:extLst>
          </p:cNvPr>
          <p:cNvSpPr txBox="1"/>
          <p:nvPr/>
        </p:nvSpPr>
        <p:spPr>
          <a:xfrm>
            <a:off x="2992778" y="1229168"/>
            <a:ext cx="2660644" cy="738664"/>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pPr>
            <a:r>
              <a:rPr lang="fr-FR" sz="1050">
                <a:solidFill>
                  <a:srgbClr val="5F5F5F"/>
                </a:solidFill>
                <a:latin typeface="Tahoma"/>
              </a:rPr>
              <a:t>Parents et aidants familiaux qui accompagnent un enfant malade ou en situation de handicap</a:t>
            </a:r>
          </a:p>
          <a:p>
            <a:pPr marL="171450" indent="-171450">
              <a:buClr>
                <a:srgbClr val="503078"/>
              </a:buClr>
              <a:buFont typeface="Tahoma" panose="020B0604030504040204" pitchFamily="34" charset="0"/>
              <a:buChar char="⁄"/>
            </a:pPr>
            <a:r>
              <a:rPr lang="fr-FR" sz="1050">
                <a:solidFill>
                  <a:srgbClr val="5F5F5F"/>
                </a:solidFill>
                <a:latin typeface="Tahoma"/>
              </a:rPr>
              <a:t>Public individuel ou ESMS</a:t>
            </a:r>
          </a:p>
        </p:txBody>
      </p:sp>
      <p:sp>
        <p:nvSpPr>
          <p:cNvPr id="79" name="ZoneTexte 78">
            <a:extLst>
              <a:ext uri="{FF2B5EF4-FFF2-40B4-BE49-F238E27FC236}">
                <a16:creationId xmlns:a16="http://schemas.microsoft.com/office/drawing/2014/main" id="{201EC015-8921-47D5-8EEB-4F8E037742E5}"/>
              </a:ext>
            </a:extLst>
          </p:cNvPr>
          <p:cNvSpPr txBox="1"/>
          <p:nvPr/>
        </p:nvSpPr>
        <p:spPr>
          <a:xfrm>
            <a:off x="5633852" y="1228238"/>
            <a:ext cx="2734774" cy="595356"/>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Etablissement de tourisme social (labellisé Tourisme &amp; Handicaps sur les 4 familles de déficiences)</a:t>
            </a:r>
          </a:p>
        </p:txBody>
      </p:sp>
      <p:sp>
        <p:nvSpPr>
          <p:cNvPr id="80" name="ZoneTexte 79">
            <a:extLst>
              <a:ext uri="{FF2B5EF4-FFF2-40B4-BE49-F238E27FC236}">
                <a16:creationId xmlns:a16="http://schemas.microsoft.com/office/drawing/2014/main" id="{D486C829-4B6E-4981-9B49-72041AC2853F}"/>
              </a:ext>
            </a:extLst>
          </p:cNvPr>
          <p:cNvSpPr txBox="1"/>
          <p:nvPr/>
        </p:nvSpPr>
        <p:spPr>
          <a:xfrm>
            <a:off x="8270852" y="1233161"/>
            <a:ext cx="2770132" cy="595356"/>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Association Le Laboratoire de Répit, fondée par un couple de parents aidants d’un enfant en situation de handicap</a:t>
            </a:r>
          </a:p>
        </p:txBody>
      </p:sp>
      <p:sp>
        <p:nvSpPr>
          <p:cNvPr id="31" name="ZoneTexte 30">
            <a:extLst>
              <a:ext uri="{FF2B5EF4-FFF2-40B4-BE49-F238E27FC236}">
                <a16:creationId xmlns:a16="http://schemas.microsoft.com/office/drawing/2014/main" id="{C39631CE-B746-44D2-AD28-BE401BB99C89}"/>
              </a:ext>
            </a:extLst>
          </p:cNvPr>
          <p:cNvSpPr txBox="1"/>
          <p:nvPr/>
        </p:nvSpPr>
        <p:spPr>
          <a:xfrm>
            <a:off x="2624667" y="2508138"/>
            <a:ext cx="3376602" cy="1120566"/>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6" name="ZoneTexte 115">
            <a:extLst>
              <a:ext uri="{FF2B5EF4-FFF2-40B4-BE49-F238E27FC236}">
                <a16:creationId xmlns:a16="http://schemas.microsoft.com/office/drawing/2014/main" id="{5841F24B-1AD4-488A-A365-BF5647BD2308}"/>
              </a:ext>
            </a:extLst>
          </p:cNvPr>
          <p:cNvSpPr txBox="1"/>
          <p:nvPr/>
        </p:nvSpPr>
        <p:spPr>
          <a:xfrm>
            <a:off x="2634653" y="4743753"/>
            <a:ext cx="3366617" cy="1700660"/>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7" name="ZoneTexte 116">
            <a:extLst>
              <a:ext uri="{FF2B5EF4-FFF2-40B4-BE49-F238E27FC236}">
                <a16:creationId xmlns:a16="http://schemas.microsoft.com/office/drawing/2014/main" id="{EF317FFF-EA6E-44C5-B24E-8AE03952F5E8}"/>
              </a:ext>
            </a:extLst>
          </p:cNvPr>
          <p:cNvSpPr txBox="1"/>
          <p:nvPr/>
        </p:nvSpPr>
        <p:spPr>
          <a:xfrm>
            <a:off x="2624667" y="3687486"/>
            <a:ext cx="3376602" cy="995517"/>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20" name="Rectangle 119">
            <a:extLst>
              <a:ext uri="{FF2B5EF4-FFF2-40B4-BE49-F238E27FC236}">
                <a16:creationId xmlns:a16="http://schemas.microsoft.com/office/drawing/2014/main" id="{5A8580EE-0AD3-4053-A66F-58A5DE5D3476}"/>
              </a:ext>
            </a:extLst>
          </p:cNvPr>
          <p:cNvSpPr/>
          <p:nvPr/>
        </p:nvSpPr>
        <p:spPr>
          <a:xfrm>
            <a:off x="1254009" y="2059375"/>
            <a:ext cx="4825165" cy="4434773"/>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21" name="ZoneTexte 120">
            <a:extLst>
              <a:ext uri="{FF2B5EF4-FFF2-40B4-BE49-F238E27FC236}">
                <a16:creationId xmlns:a16="http://schemas.microsoft.com/office/drawing/2014/main" id="{E5F58253-D1BD-4954-81FE-7B8DBC05FC92}"/>
              </a:ext>
            </a:extLst>
          </p:cNvPr>
          <p:cNvSpPr txBox="1"/>
          <p:nvPr/>
        </p:nvSpPr>
        <p:spPr>
          <a:xfrm>
            <a:off x="1254009" y="2080425"/>
            <a:ext cx="4815764" cy="307777"/>
          </a:xfrm>
          <a:prstGeom prst="rect">
            <a:avLst/>
          </a:prstGeom>
          <a:solidFill>
            <a:srgbClr val="B0ADCC"/>
          </a:solidFill>
          <a:ln>
            <a:noFill/>
          </a:ln>
        </p:spPr>
        <p:txBody>
          <a:bodyPr wrap="square" lIns="108000" rIns="108000" rtlCol="0">
            <a:spAutoFit/>
          </a:bodyPr>
          <a:lstStyle/>
          <a:p>
            <a:pPr algn="ctr"/>
            <a:r>
              <a:rPr lang="fr-FR" sz="1400" b="1">
                <a:solidFill>
                  <a:srgbClr val="FFFFFF"/>
                </a:solidFill>
                <a:latin typeface="Tahoma"/>
              </a:rPr>
              <a:t>Modèle opérationnel </a:t>
            </a:r>
          </a:p>
        </p:txBody>
      </p:sp>
      <p:sp>
        <p:nvSpPr>
          <p:cNvPr id="122" name="Rectangle 121">
            <a:extLst>
              <a:ext uri="{FF2B5EF4-FFF2-40B4-BE49-F238E27FC236}">
                <a16:creationId xmlns:a16="http://schemas.microsoft.com/office/drawing/2014/main" id="{EEE3ADDF-8F40-48B9-AE5E-299C1C497490}"/>
              </a:ext>
            </a:extLst>
          </p:cNvPr>
          <p:cNvSpPr/>
          <p:nvPr/>
        </p:nvSpPr>
        <p:spPr>
          <a:xfrm>
            <a:off x="6122614" y="2059375"/>
            <a:ext cx="4824000" cy="4434773"/>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23" name="ZoneTexte 122">
            <a:extLst>
              <a:ext uri="{FF2B5EF4-FFF2-40B4-BE49-F238E27FC236}">
                <a16:creationId xmlns:a16="http://schemas.microsoft.com/office/drawing/2014/main" id="{A32D682C-0E70-4C6A-98EA-32C315F12098}"/>
              </a:ext>
            </a:extLst>
          </p:cNvPr>
          <p:cNvSpPr txBox="1"/>
          <p:nvPr/>
        </p:nvSpPr>
        <p:spPr>
          <a:xfrm>
            <a:off x="6135540" y="2080426"/>
            <a:ext cx="4824000" cy="307777"/>
          </a:xfrm>
          <a:prstGeom prst="rect">
            <a:avLst/>
          </a:prstGeom>
          <a:solidFill>
            <a:srgbClr val="B24669"/>
          </a:solidFill>
          <a:ln>
            <a:noFill/>
          </a:ln>
        </p:spPr>
        <p:txBody>
          <a:bodyPr wrap="square" lIns="108000" rIns="108000" rtlCol="0">
            <a:spAutoFit/>
          </a:bodyPr>
          <a:lstStyle/>
          <a:p>
            <a:pPr algn="ctr"/>
            <a:r>
              <a:rPr lang="fr-FR" sz="1400" b="1">
                <a:solidFill>
                  <a:srgbClr val="FFFFFF"/>
                </a:solidFill>
                <a:latin typeface="Tahoma"/>
              </a:rPr>
              <a:t>Modèle économique </a:t>
            </a:r>
          </a:p>
        </p:txBody>
      </p:sp>
      <p:sp>
        <p:nvSpPr>
          <p:cNvPr id="124" name="ZoneTexte 123">
            <a:extLst>
              <a:ext uri="{FF2B5EF4-FFF2-40B4-BE49-F238E27FC236}">
                <a16:creationId xmlns:a16="http://schemas.microsoft.com/office/drawing/2014/main" id="{A49BC405-C11B-485E-BB12-6EA8FA6FC408}"/>
              </a:ext>
            </a:extLst>
          </p:cNvPr>
          <p:cNvSpPr txBox="1"/>
          <p:nvPr/>
        </p:nvSpPr>
        <p:spPr>
          <a:xfrm>
            <a:off x="2627339" y="2491963"/>
            <a:ext cx="3197058" cy="1142429"/>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3 gîtes labellisés « Tourisme et handicap », pour une capacité d’accueil de 15 personnes au total</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Ouverture d’un nouveau gîte prévue en septembre 2022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Ouverture de deux chambres d’hôtes ainsi qu’un pôle parents aidants prévue en 2023.</a:t>
            </a:r>
          </a:p>
        </p:txBody>
      </p:sp>
      <p:sp>
        <p:nvSpPr>
          <p:cNvPr id="126" name="ZoneTexte 125">
            <a:extLst>
              <a:ext uri="{FF2B5EF4-FFF2-40B4-BE49-F238E27FC236}">
                <a16:creationId xmlns:a16="http://schemas.microsoft.com/office/drawing/2014/main" id="{B49F6C26-2A8B-4C21-A64B-9E4007B97392}"/>
              </a:ext>
            </a:extLst>
          </p:cNvPr>
          <p:cNvSpPr txBox="1"/>
          <p:nvPr/>
        </p:nvSpPr>
        <p:spPr>
          <a:xfrm>
            <a:off x="2616666" y="4781843"/>
            <a:ext cx="3366617" cy="1510222"/>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as de restauration – possibilité de livraison par traiteur (frais complémentaire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Salle sensorielle (1 séance offerte sur réservation), salle polyvalente (frais complémentaire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ossibilité d’accompagnement pour l’organisation du séjour (activités, planning)</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ossibilité de relayage (en partenariat avec l’association Bulle d’Air portée par la MSA)</a:t>
            </a:r>
          </a:p>
        </p:txBody>
      </p:sp>
      <p:sp>
        <p:nvSpPr>
          <p:cNvPr id="128" name="ZoneTexte 127">
            <a:extLst>
              <a:ext uri="{FF2B5EF4-FFF2-40B4-BE49-F238E27FC236}">
                <a16:creationId xmlns:a16="http://schemas.microsoft.com/office/drawing/2014/main" id="{D0B66643-80F9-42D8-8F09-B693AF7FBBCB}"/>
              </a:ext>
            </a:extLst>
          </p:cNvPr>
          <p:cNvSpPr txBox="1"/>
          <p:nvPr/>
        </p:nvSpPr>
        <p:spPr>
          <a:xfrm>
            <a:off x="2651886" y="3696834"/>
            <a:ext cx="3376359" cy="977768"/>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ucune place d'AT / d'HT : établissement non reconnu comme étant médico-social</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ossibilité de location de matériel médical sur ordonnance (lit médicalisé, lève–personne,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artenariat avec un réseau de soins libéraux</a:t>
            </a:r>
          </a:p>
        </p:txBody>
      </p:sp>
      <p:sp>
        <p:nvSpPr>
          <p:cNvPr id="129" name="ZoneTexte 128">
            <a:extLst>
              <a:ext uri="{FF2B5EF4-FFF2-40B4-BE49-F238E27FC236}">
                <a16:creationId xmlns:a16="http://schemas.microsoft.com/office/drawing/2014/main" id="{B5C29EF3-8432-4FB1-A08C-C8DFD0F770E0}"/>
              </a:ext>
            </a:extLst>
          </p:cNvPr>
          <p:cNvSpPr txBox="1"/>
          <p:nvPr/>
        </p:nvSpPr>
        <p:spPr>
          <a:xfrm>
            <a:off x="6183558" y="2508140"/>
            <a:ext cx="3751654" cy="370536"/>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130" name="ZoneTexte 129">
            <a:extLst>
              <a:ext uri="{FF2B5EF4-FFF2-40B4-BE49-F238E27FC236}">
                <a16:creationId xmlns:a16="http://schemas.microsoft.com/office/drawing/2014/main" id="{C51512ED-D218-4E3C-8049-02770EADD196}"/>
              </a:ext>
            </a:extLst>
          </p:cNvPr>
          <p:cNvSpPr txBox="1"/>
          <p:nvPr/>
        </p:nvSpPr>
        <p:spPr>
          <a:xfrm>
            <a:off x="6183558" y="2933692"/>
            <a:ext cx="3751654" cy="1345561"/>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pic>
        <p:nvPicPr>
          <p:cNvPr id="35" name="Graphique 34" descr="Logement avec un remplissage uni">
            <a:extLst>
              <a:ext uri="{FF2B5EF4-FFF2-40B4-BE49-F238E27FC236}">
                <a16:creationId xmlns:a16="http://schemas.microsoft.com/office/drawing/2014/main" id="{71FC271C-D2ED-4AF0-8123-6C7A28C751C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19351" y="2591112"/>
            <a:ext cx="447721" cy="447721"/>
          </a:xfrm>
          <a:prstGeom prst="rect">
            <a:avLst/>
          </a:prstGeom>
        </p:spPr>
      </p:pic>
      <p:sp>
        <p:nvSpPr>
          <p:cNvPr id="131" name="ZoneTexte 130">
            <a:extLst>
              <a:ext uri="{FF2B5EF4-FFF2-40B4-BE49-F238E27FC236}">
                <a16:creationId xmlns:a16="http://schemas.microsoft.com/office/drawing/2014/main" id="{1C14C040-B2C5-440C-B7E3-1882123D0301}"/>
              </a:ext>
            </a:extLst>
          </p:cNvPr>
          <p:cNvSpPr txBox="1"/>
          <p:nvPr/>
        </p:nvSpPr>
        <p:spPr>
          <a:xfrm>
            <a:off x="9796442" y="2423330"/>
            <a:ext cx="1244543" cy="446276"/>
          </a:xfrm>
          <a:prstGeom prst="rect">
            <a:avLst/>
          </a:prstGeom>
          <a:noFill/>
          <a:ln>
            <a:noFill/>
          </a:ln>
        </p:spPr>
        <p:txBody>
          <a:bodyPr wrap="square" lIns="108000" rIns="108000" rtlCol="0">
            <a:spAutoFit/>
          </a:bodyPr>
          <a:lstStyle/>
          <a:p>
            <a:pPr algn="ctr"/>
            <a:r>
              <a:rPr lang="fr-FR" sz="1100" b="1">
                <a:solidFill>
                  <a:srgbClr val="B24669"/>
                </a:solidFill>
                <a:latin typeface="Tahoma"/>
              </a:rPr>
              <a:t>Immobilier</a:t>
            </a:r>
          </a:p>
          <a:p>
            <a:pPr marL="171450" indent="-171450" algn="ctr">
              <a:buFontTx/>
              <a:buChar char="-"/>
            </a:pPr>
            <a:endParaRPr lang="fr-FR" sz="1200">
              <a:solidFill>
                <a:srgbClr val="B24669"/>
              </a:solidFill>
              <a:latin typeface="Tahoma"/>
            </a:endParaRPr>
          </a:p>
        </p:txBody>
      </p:sp>
      <p:sp>
        <p:nvSpPr>
          <p:cNvPr id="133" name="ZoneTexte 132">
            <a:extLst>
              <a:ext uri="{FF2B5EF4-FFF2-40B4-BE49-F238E27FC236}">
                <a16:creationId xmlns:a16="http://schemas.microsoft.com/office/drawing/2014/main" id="{B210A790-ECF0-4619-A27B-B52AFCD222D8}"/>
              </a:ext>
            </a:extLst>
          </p:cNvPr>
          <p:cNvSpPr txBox="1"/>
          <p:nvPr/>
        </p:nvSpPr>
        <p:spPr>
          <a:xfrm>
            <a:off x="6146429" y="2493061"/>
            <a:ext cx="3769944" cy="246221"/>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defRPr/>
            </a:pPr>
            <a:r>
              <a:rPr lang="fr-FR" sz="1000">
                <a:solidFill>
                  <a:srgbClr val="5F5F5F"/>
                </a:solidFill>
                <a:latin typeface="Tahoma"/>
              </a:rPr>
              <a:t>Acquisition d’un corps de ferme et réhabilitation </a:t>
            </a:r>
          </a:p>
        </p:txBody>
      </p:sp>
      <p:sp>
        <p:nvSpPr>
          <p:cNvPr id="134" name="ZoneTexte 133">
            <a:extLst>
              <a:ext uri="{FF2B5EF4-FFF2-40B4-BE49-F238E27FC236}">
                <a16:creationId xmlns:a16="http://schemas.microsoft.com/office/drawing/2014/main" id="{12CB5D0E-D3B7-4457-B3F8-7B85794AC4B0}"/>
              </a:ext>
            </a:extLst>
          </p:cNvPr>
          <p:cNvSpPr txBox="1"/>
          <p:nvPr/>
        </p:nvSpPr>
        <p:spPr>
          <a:xfrm>
            <a:off x="9948430" y="3173065"/>
            <a:ext cx="998185"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Frais de </a:t>
            </a:r>
            <a:r>
              <a:rPr lang="fr-FR" sz="1100" b="1" err="1">
                <a:solidFill>
                  <a:srgbClr val="B24669"/>
                </a:solidFill>
                <a:latin typeface="Tahoma"/>
              </a:rPr>
              <a:t>fonct</a:t>
            </a:r>
            <a:r>
              <a:rPr lang="fr-FR" sz="1100" b="1">
                <a:solidFill>
                  <a:srgbClr val="B24669"/>
                </a:solidFill>
                <a:latin typeface="Tahoma"/>
              </a:rPr>
              <a:t>.</a:t>
            </a:r>
          </a:p>
        </p:txBody>
      </p:sp>
      <p:sp>
        <p:nvSpPr>
          <p:cNvPr id="135" name="ZoneTexte 134">
            <a:extLst>
              <a:ext uri="{FF2B5EF4-FFF2-40B4-BE49-F238E27FC236}">
                <a16:creationId xmlns:a16="http://schemas.microsoft.com/office/drawing/2014/main" id="{3DA739DB-3B5D-4A54-A299-C5AE798A7F11}"/>
              </a:ext>
            </a:extLst>
          </p:cNvPr>
          <p:cNvSpPr txBox="1"/>
          <p:nvPr/>
        </p:nvSpPr>
        <p:spPr>
          <a:xfrm>
            <a:off x="6135540" y="2909093"/>
            <a:ext cx="3792740" cy="1169551"/>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defRPr/>
            </a:pPr>
            <a:r>
              <a:rPr lang="fr-FR" sz="1000">
                <a:solidFill>
                  <a:srgbClr val="5F5F5F"/>
                </a:solidFill>
                <a:latin typeface="Tahoma"/>
              </a:rPr>
              <a:t>Subvention départementale du CD62</a:t>
            </a:r>
            <a:r>
              <a:rPr lang="fr-FR" sz="1000" baseline="30000">
                <a:solidFill>
                  <a:srgbClr val="5F5F5F"/>
                </a:solidFill>
                <a:latin typeface="Tahoma"/>
              </a:rPr>
              <a:t> 1</a:t>
            </a:r>
            <a:r>
              <a:rPr lang="fr-FR" sz="1000">
                <a:solidFill>
                  <a:srgbClr val="5F5F5F"/>
                </a:solidFill>
                <a:latin typeface="Tahoma"/>
              </a:rPr>
              <a:t> (30K€) + Conseil Régional </a:t>
            </a:r>
          </a:p>
          <a:p>
            <a:pPr marL="171450" indent="-171450">
              <a:buClr>
                <a:srgbClr val="503078"/>
              </a:buClr>
              <a:buFont typeface="Tahoma" panose="020B0604030504040204" pitchFamily="34" charset="0"/>
              <a:buChar char="⁄"/>
              <a:defRPr/>
            </a:pPr>
            <a:r>
              <a:rPr lang="fr-FR" sz="1000">
                <a:solidFill>
                  <a:srgbClr val="5F5F5F"/>
                </a:solidFill>
                <a:latin typeface="Tahoma"/>
              </a:rPr>
              <a:t>30K€ de la fondation Indosuez en avril 2022 </a:t>
            </a:r>
          </a:p>
          <a:p>
            <a:pPr marL="171450" indent="-171450">
              <a:buClr>
                <a:srgbClr val="503078"/>
              </a:buClr>
              <a:buFont typeface="Tahoma" panose="020B0604030504040204" pitchFamily="34" charset="0"/>
              <a:buChar char="⁄"/>
              <a:defRPr/>
            </a:pPr>
            <a:r>
              <a:rPr lang="fr-FR" sz="1000">
                <a:solidFill>
                  <a:srgbClr val="5F5F5F"/>
                </a:solidFill>
                <a:latin typeface="Tahoma"/>
              </a:rPr>
              <a:t>Crowdfunding</a:t>
            </a:r>
          </a:p>
          <a:p>
            <a:pPr marL="171450" indent="-171450">
              <a:buClr>
                <a:srgbClr val="503078"/>
              </a:buClr>
              <a:buFont typeface="Tahoma" panose="020B0604030504040204" pitchFamily="34" charset="0"/>
              <a:buChar char="⁄"/>
              <a:defRPr/>
            </a:pPr>
            <a:r>
              <a:rPr lang="fr-FR" sz="1000">
                <a:solidFill>
                  <a:srgbClr val="5F5F5F"/>
                </a:solidFill>
                <a:latin typeface="Tahoma"/>
              </a:rPr>
              <a:t>De nombreux partenariats (Malakoff Humanis, AG2R la Mondiale, MSA et la MGEN, le service de répit à domicile Bulle d’air, le CD62, le CR des HDF, la MSA, APF Handicap</a:t>
            </a:r>
            <a:r>
              <a:rPr lang="fr-FR" sz="1000" baseline="30000">
                <a:solidFill>
                  <a:srgbClr val="5F5F5F"/>
                </a:solidFill>
                <a:latin typeface="Tahoma"/>
              </a:rPr>
              <a:t> 2</a:t>
            </a:r>
            <a:r>
              <a:rPr lang="fr-FR" sz="1000">
                <a:solidFill>
                  <a:srgbClr val="5F5F5F"/>
                </a:solidFill>
                <a:latin typeface="Tahoma"/>
              </a:rPr>
              <a:t>)</a:t>
            </a:r>
          </a:p>
        </p:txBody>
      </p:sp>
      <p:sp>
        <p:nvSpPr>
          <p:cNvPr id="136" name="ZoneTexte 135">
            <a:extLst>
              <a:ext uri="{FF2B5EF4-FFF2-40B4-BE49-F238E27FC236}">
                <a16:creationId xmlns:a16="http://schemas.microsoft.com/office/drawing/2014/main" id="{FEA48678-D157-4E80-9C77-987BDFAE3851}"/>
              </a:ext>
            </a:extLst>
          </p:cNvPr>
          <p:cNvSpPr txBox="1"/>
          <p:nvPr/>
        </p:nvSpPr>
        <p:spPr>
          <a:xfrm>
            <a:off x="6179705" y="4334267"/>
            <a:ext cx="3768724" cy="1728928"/>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39" name="Rectangle 138">
            <a:extLst>
              <a:ext uri="{FF2B5EF4-FFF2-40B4-BE49-F238E27FC236}">
                <a16:creationId xmlns:a16="http://schemas.microsoft.com/office/drawing/2014/main" id="{23DA1D13-F6FC-42CC-8CBC-A6643FFAA543}"/>
              </a:ext>
            </a:extLst>
          </p:cNvPr>
          <p:cNvSpPr/>
          <p:nvPr/>
        </p:nvSpPr>
        <p:spPr>
          <a:xfrm>
            <a:off x="1254009" y="923574"/>
            <a:ext cx="1728514"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40" name="ZoneTexte 139">
            <a:extLst>
              <a:ext uri="{FF2B5EF4-FFF2-40B4-BE49-F238E27FC236}">
                <a16:creationId xmlns:a16="http://schemas.microsoft.com/office/drawing/2014/main" id="{807D6A60-04F3-43BD-94C2-76626F2816C8}"/>
              </a:ext>
            </a:extLst>
          </p:cNvPr>
          <p:cNvSpPr txBox="1"/>
          <p:nvPr/>
        </p:nvSpPr>
        <p:spPr>
          <a:xfrm>
            <a:off x="9885997" y="4540503"/>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rifs / reste à charge</a:t>
            </a:r>
          </a:p>
        </p:txBody>
      </p:sp>
      <p:pic>
        <p:nvPicPr>
          <p:cNvPr id="41" name="Graphique 40" descr="Clé avec un remplissage uni">
            <a:extLst>
              <a:ext uri="{FF2B5EF4-FFF2-40B4-BE49-F238E27FC236}">
                <a16:creationId xmlns:a16="http://schemas.microsoft.com/office/drawing/2014/main" id="{1FC8698B-AB58-44D0-8399-B572FCCD65E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50546" y="6014161"/>
            <a:ext cx="436000" cy="436000"/>
          </a:xfrm>
          <a:prstGeom prst="rect">
            <a:avLst/>
          </a:prstGeom>
        </p:spPr>
      </p:pic>
      <p:sp>
        <p:nvSpPr>
          <p:cNvPr id="141" name="ZoneTexte 140">
            <a:extLst>
              <a:ext uri="{FF2B5EF4-FFF2-40B4-BE49-F238E27FC236}">
                <a16:creationId xmlns:a16="http://schemas.microsoft.com/office/drawing/2014/main" id="{F5949C22-DA6A-4317-99B2-B19975E52561}"/>
              </a:ext>
            </a:extLst>
          </p:cNvPr>
          <p:cNvSpPr txBox="1"/>
          <p:nvPr/>
        </p:nvSpPr>
        <p:spPr>
          <a:xfrm>
            <a:off x="9909908" y="5679030"/>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ux d’occupation</a:t>
            </a:r>
          </a:p>
        </p:txBody>
      </p:sp>
      <p:sp>
        <p:nvSpPr>
          <p:cNvPr id="142" name="ZoneTexte 141">
            <a:extLst>
              <a:ext uri="{FF2B5EF4-FFF2-40B4-BE49-F238E27FC236}">
                <a16:creationId xmlns:a16="http://schemas.microsoft.com/office/drawing/2014/main" id="{8F48A671-85C8-478F-BBC5-AA8E0839A27E}"/>
              </a:ext>
            </a:extLst>
          </p:cNvPr>
          <p:cNvSpPr txBox="1"/>
          <p:nvPr/>
        </p:nvSpPr>
        <p:spPr>
          <a:xfrm>
            <a:off x="6173316" y="6109917"/>
            <a:ext cx="3770784" cy="312693"/>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43" name="ZoneTexte 142">
            <a:extLst>
              <a:ext uri="{FF2B5EF4-FFF2-40B4-BE49-F238E27FC236}">
                <a16:creationId xmlns:a16="http://schemas.microsoft.com/office/drawing/2014/main" id="{7C801268-29AF-4A45-808B-18ADBF5B32BE}"/>
              </a:ext>
            </a:extLst>
          </p:cNvPr>
          <p:cNvSpPr txBox="1"/>
          <p:nvPr/>
        </p:nvSpPr>
        <p:spPr>
          <a:xfrm>
            <a:off x="6160390" y="6146202"/>
            <a:ext cx="3650756" cy="242182"/>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Occupation : 277 nuitées soit 80% en 2021</a:t>
            </a:r>
          </a:p>
        </p:txBody>
      </p:sp>
      <p:pic>
        <p:nvPicPr>
          <p:cNvPr id="146" name="Graphique 145" descr="Tirelire avec un remplissage uni">
            <a:extLst>
              <a:ext uri="{FF2B5EF4-FFF2-40B4-BE49-F238E27FC236}">
                <a16:creationId xmlns:a16="http://schemas.microsoft.com/office/drawing/2014/main" id="{AC1ADC52-5381-42E2-AC24-383BB036C6C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219350" y="3628704"/>
            <a:ext cx="514426" cy="514426"/>
          </a:xfrm>
          <a:prstGeom prst="rect">
            <a:avLst/>
          </a:prstGeom>
        </p:spPr>
      </p:pic>
      <p:sp>
        <p:nvSpPr>
          <p:cNvPr id="81" name="ZoneTexte 80">
            <a:extLst>
              <a:ext uri="{FF2B5EF4-FFF2-40B4-BE49-F238E27FC236}">
                <a16:creationId xmlns:a16="http://schemas.microsoft.com/office/drawing/2014/main" id="{B6B02541-4955-4889-BA74-FB46F4880E07}"/>
              </a:ext>
            </a:extLst>
          </p:cNvPr>
          <p:cNvSpPr txBox="1"/>
          <p:nvPr/>
        </p:nvSpPr>
        <p:spPr>
          <a:xfrm>
            <a:off x="1241741" y="926310"/>
            <a:ext cx="1669594" cy="861774"/>
          </a:xfrm>
          <a:prstGeom prst="rect">
            <a:avLst/>
          </a:prstGeom>
          <a:noFill/>
        </p:spPr>
        <p:txBody>
          <a:bodyPr wrap="square" lIns="108000" rIns="108000" rtlCol="0">
            <a:spAutoFit/>
          </a:bodyPr>
          <a:lstStyle/>
          <a:p>
            <a:endParaRPr lang="fr-FR" sz="1000">
              <a:solidFill>
                <a:srgbClr val="5F5F5F"/>
              </a:solidFill>
              <a:latin typeface="Tahoma"/>
            </a:endParaRPr>
          </a:p>
          <a:p>
            <a:pPr algn="ctr"/>
            <a:r>
              <a:rPr lang="fr-FR" sz="1000" b="1">
                <a:solidFill>
                  <a:srgbClr val="503078"/>
                </a:solidFill>
                <a:latin typeface="Tahoma"/>
              </a:rPr>
              <a:t>Les bobos à la ferme</a:t>
            </a:r>
          </a:p>
          <a:p>
            <a:pPr algn="ctr"/>
            <a:r>
              <a:rPr lang="fr-FR" sz="1000">
                <a:solidFill>
                  <a:srgbClr val="5F5F5F"/>
                </a:solidFill>
                <a:latin typeface="Tahoma"/>
              </a:rPr>
              <a:t>Madeleine-sous-Montreuil (62)</a:t>
            </a:r>
          </a:p>
          <a:p>
            <a:endParaRPr lang="fr-FR" sz="1000">
              <a:solidFill>
                <a:srgbClr val="5F5F5F"/>
              </a:solidFill>
              <a:latin typeface="Tahoma"/>
            </a:endParaRPr>
          </a:p>
        </p:txBody>
      </p:sp>
      <p:pic>
        <p:nvPicPr>
          <p:cNvPr id="82" name="Location-White-Background">
            <a:extLst>
              <a:ext uri="{FF2B5EF4-FFF2-40B4-BE49-F238E27FC236}">
                <a16:creationId xmlns:a16="http://schemas.microsoft.com/office/drawing/2014/main" id="{23FE517D-84D3-4474-804F-DE6049B1856D}"/>
              </a:ext>
            </a:extLst>
          </p:cNvPr>
          <p:cNvPicPr>
            <a:picLocks noChangeAspect="1"/>
          </p:cNvPicPr>
          <p:nvPr/>
        </p:nvPicPr>
        <p:blipFill>
          <a:blip r:embed="rId15" cstate="print">
            <a:extLst>
              <a:ext uri="{BEBA8EAE-BF5A-486C-A8C5-ECC9F3942E4B}">
                <a14:imgProps xmlns:a14="http://schemas.microsoft.com/office/drawing/2010/main">
                  <a14:imgLayer r:embed="rId16">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rot="10800000">
            <a:off x="1909013" y="959421"/>
            <a:ext cx="242960" cy="227494"/>
          </a:xfrm>
          <a:prstGeom prst="rect">
            <a:avLst/>
          </a:prstGeom>
        </p:spPr>
      </p:pic>
      <p:sp>
        <p:nvSpPr>
          <p:cNvPr id="86" name="ZoneTexte 85">
            <a:extLst>
              <a:ext uri="{FF2B5EF4-FFF2-40B4-BE49-F238E27FC236}">
                <a16:creationId xmlns:a16="http://schemas.microsoft.com/office/drawing/2014/main" id="{54650390-EFB3-4DC0-8880-157BFA99BEEE}"/>
              </a:ext>
            </a:extLst>
          </p:cNvPr>
          <p:cNvSpPr txBox="1"/>
          <p:nvPr/>
        </p:nvSpPr>
        <p:spPr>
          <a:xfrm>
            <a:off x="6158783" y="4334268"/>
            <a:ext cx="3757590" cy="1768113"/>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Tarif : 700 à 1000€ / semaine / 2 personnes en fonction du gîte et de la période</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Service de répit partenaire chargé d’identifier les financements possibles </a:t>
            </a:r>
          </a:p>
          <a:p>
            <a:pPr marL="171450" indent="-171450" algn="just">
              <a:lnSpc>
                <a:spcPct val="107000"/>
              </a:lnSpc>
              <a:buClr>
                <a:srgbClr val="503078"/>
              </a:buClr>
              <a:buFont typeface="Tahoma" panose="020B0604030504040204" pitchFamily="34" charset="0"/>
              <a:buChar char="⁄"/>
            </a:pPr>
            <a:r>
              <a:rPr lang="fr-FR" sz="1000">
                <a:solidFill>
                  <a:srgbClr val="5F5F5F"/>
                </a:solidFill>
                <a:latin typeface="Tahoma"/>
              </a:rPr>
              <a:t>Financement de l’hébergement : participation des groupes de protection santé / caisses de retraite partenaires, ANCV, Vacances Ouvertes</a:t>
            </a:r>
          </a:p>
          <a:p>
            <a:pPr marL="361950" lvl="1" indent="-171450" algn="just">
              <a:lnSpc>
                <a:spcPct val="107000"/>
              </a:lnSpc>
              <a:buClr>
                <a:srgbClr val="503078"/>
              </a:buClr>
              <a:buFont typeface="Courier New" panose="02070309020205020404" pitchFamily="49" charset="0"/>
              <a:buChar char="o"/>
            </a:pPr>
            <a:r>
              <a:rPr lang="fr-FR" sz="900">
                <a:solidFill>
                  <a:srgbClr val="5F5F5F"/>
                </a:solidFill>
                <a:latin typeface="Tahoma"/>
              </a:rPr>
              <a:t>Si aucun financement possible, réduction de 10% sur le tarif d’hébergement</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Financement du relayage : aides légales (CD, CPAM, …)</a:t>
            </a:r>
          </a:p>
        </p:txBody>
      </p:sp>
      <p:pic>
        <p:nvPicPr>
          <p:cNvPr id="87" name="Graphique 86" descr="Pièces avec un remplissage uni">
            <a:extLst>
              <a:ext uri="{FF2B5EF4-FFF2-40B4-BE49-F238E27FC236}">
                <a16:creationId xmlns:a16="http://schemas.microsoft.com/office/drawing/2014/main" id="{E36EB7B4-4BA2-4FF6-ACD4-B3A837709EE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220693" y="4961372"/>
            <a:ext cx="457966" cy="457966"/>
          </a:xfrm>
          <a:prstGeom prst="rect">
            <a:avLst/>
          </a:prstGeom>
        </p:spPr>
      </p:pic>
      <p:pic>
        <p:nvPicPr>
          <p:cNvPr id="114" name="Graphique 113" descr="Dormir avec un remplissage uni">
            <a:extLst>
              <a:ext uri="{FF2B5EF4-FFF2-40B4-BE49-F238E27FC236}">
                <a16:creationId xmlns:a16="http://schemas.microsoft.com/office/drawing/2014/main" id="{A2C91F7B-29C7-459F-9C04-9AA688F496B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648462" y="2583744"/>
            <a:ext cx="565198" cy="565198"/>
          </a:xfrm>
          <a:prstGeom prst="rect">
            <a:avLst/>
          </a:prstGeom>
        </p:spPr>
      </p:pic>
      <p:pic>
        <p:nvPicPr>
          <p:cNvPr id="115" name="Graphique 114" descr="Trousse de premiers secours avec un remplissage uni">
            <a:extLst>
              <a:ext uri="{FF2B5EF4-FFF2-40B4-BE49-F238E27FC236}">
                <a16:creationId xmlns:a16="http://schemas.microsoft.com/office/drawing/2014/main" id="{88E6B775-C66C-4650-9FA7-9A9B2FDDCCF4}"/>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683132" y="3767866"/>
            <a:ext cx="557136" cy="557136"/>
          </a:xfrm>
          <a:prstGeom prst="rect">
            <a:avLst/>
          </a:prstGeom>
        </p:spPr>
      </p:pic>
      <p:pic>
        <p:nvPicPr>
          <p:cNvPr id="118" name="Graphique 117" descr="Assiette couverte avec un remplissage uni">
            <a:extLst>
              <a:ext uri="{FF2B5EF4-FFF2-40B4-BE49-F238E27FC236}">
                <a16:creationId xmlns:a16="http://schemas.microsoft.com/office/drawing/2014/main" id="{2F2E741D-B22B-4F38-8E55-AC2069EEEAC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641740" y="5428411"/>
            <a:ext cx="565199" cy="565199"/>
          </a:xfrm>
          <a:prstGeom prst="rect">
            <a:avLst/>
          </a:prstGeom>
        </p:spPr>
      </p:pic>
      <p:sp>
        <p:nvSpPr>
          <p:cNvPr id="119" name="ZoneTexte 118">
            <a:extLst>
              <a:ext uri="{FF2B5EF4-FFF2-40B4-BE49-F238E27FC236}">
                <a16:creationId xmlns:a16="http://schemas.microsoft.com/office/drawing/2014/main" id="{14E32216-A80B-4DE1-9731-B9D15B47C6DA}"/>
              </a:ext>
            </a:extLst>
          </p:cNvPr>
          <p:cNvSpPr txBox="1"/>
          <p:nvPr/>
        </p:nvSpPr>
        <p:spPr>
          <a:xfrm>
            <a:off x="1254007" y="2505800"/>
            <a:ext cx="1376242" cy="446276"/>
          </a:xfrm>
          <a:prstGeom prst="rect">
            <a:avLst/>
          </a:prstGeom>
          <a:noFill/>
          <a:ln>
            <a:noFill/>
          </a:ln>
        </p:spPr>
        <p:txBody>
          <a:bodyPr wrap="square" lIns="108000" rIns="108000" rtlCol="0">
            <a:spAutoFit/>
          </a:bodyPr>
          <a:lstStyle/>
          <a:p>
            <a:pPr algn="ctr"/>
            <a:r>
              <a:rPr lang="fr-FR" sz="1100" b="1">
                <a:solidFill>
                  <a:srgbClr val="B0ADCC"/>
                </a:solidFill>
                <a:latin typeface="Tahoma"/>
              </a:rPr>
              <a:t>Hébergement</a:t>
            </a:r>
          </a:p>
          <a:p>
            <a:pPr marL="171450" indent="-171450" algn="ctr">
              <a:buFontTx/>
              <a:buChar char="-"/>
            </a:pPr>
            <a:endParaRPr lang="fr-FR" sz="1200">
              <a:solidFill>
                <a:srgbClr val="B0ADCC"/>
              </a:solidFill>
              <a:latin typeface="Tahoma"/>
            </a:endParaRPr>
          </a:p>
        </p:txBody>
      </p:sp>
      <p:sp>
        <p:nvSpPr>
          <p:cNvPr id="125" name="ZoneTexte 124">
            <a:extLst>
              <a:ext uri="{FF2B5EF4-FFF2-40B4-BE49-F238E27FC236}">
                <a16:creationId xmlns:a16="http://schemas.microsoft.com/office/drawing/2014/main" id="{0C5CADFA-5C9D-4C16-B598-96E0E8FF4769}"/>
              </a:ext>
            </a:extLst>
          </p:cNvPr>
          <p:cNvSpPr txBox="1"/>
          <p:nvPr/>
        </p:nvSpPr>
        <p:spPr>
          <a:xfrm>
            <a:off x="1450733" y="5080169"/>
            <a:ext cx="965590" cy="430887"/>
          </a:xfrm>
          <a:prstGeom prst="rect">
            <a:avLst/>
          </a:prstGeom>
          <a:noFill/>
          <a:ln>
            <a:noFill/>
          </a:ln>
        </p:spPr>
        <p:txBody>
          <a:bodyPr wrap="square" lIns="108000" rIns="108000" rtlCol="0">
            <a:spAutoFit/>
          </a:bodyPr>
          <a:lstStyle/>
          <a:p>
            <a:pPr algn="ctr"/>
            <a:r>
              <a:rPr lang="fr-FR" sz="1100" b="1">
                <a:solidFill>
                  <a:srgbClr val="B0ADCC"/>
                </a:solidFill>
                <a:latin typeface="Tahoma"/>
              </a:rPr>
              <a:t>Services </a:t>
            </a:r>
          </a:p>
          <a:p>
            <a:pPr algn="ctr"/>
            <a:r>
              <a:rPr lang="fr-FR" sz="1100" b="1">
                <a:solidFill>
                  <a:srgbClr val="B0ADCC"/>
                </a:solidFill>
                <a:latin typeface="Tahoma"/>
              </a:rPr>
              <a:t>hôteliers </a:t>
            </a:r>
          </a:p>
        </p:txBody>
      </p:sp>
      <p:sp>
        <p:nvSpPr>
          <p:cNvPr id="75" name="ZoneTexte 74">
            <a:extLst>
              <a:ext uri="{FF2B5EF4-FFF2-40B4-BE49-F238E27FC236}">
                <a16:creationId xmlns:a16="http://schemas.microsoft.com/office/drawing/2014/main" id="{B41C0DCA-80F1-4816-A457-1207C9D53DC4}"/>
              </a:ext>
            </a:extLst>
          </p:cNvPr>
          <p:cNvSpPr txBox="1"/>
          <p:nvPr/>
        </p:nvSpPr>
        <p:spPr>
          <a:xfrm>
            <a:off x="1074928" y="3430882"/>
            <a:ext cx="1743708" cy="615553"/>
          </a:xfrm>
          <a:prstGeom prst="rect">
            <a:avLst/>
          </a:prstGeom>
          <a:noFill/>
          <a:ln>
            <a:noFill/>
          </a:ln>
        </p:spPr>
        <p:txBody>
          <a:bodyPr wrap="square" lIns="108000" rIns="108000" rtlCol="0">
            <a:spAutoFit/>
          </a:bodyPr>
          <a:lstStyle/>
          <a:p>
            <a:pPr algn="ctr"/>
            <a:r>
              <a:rPr lang="fr-FR" sz="1100" b="1">
                <a:solidFill>
                  <a:srgbClr val="B0ADCC"/>
                </a:solidFill>
                <a:latin typeface="Tahoma"/>
              </a:rPr>
              <a:t>Accompagnement médico-social</a:t>
            </a:r>
          </a:p>
          <a:p>
            <a:pPr marL="171450" indent="-171450" algn="ctr">
              <a:buFontTx/>
              <a:buChar char="-"/>
            </a:pPr>
            <a:endParaRPr lang="fr-FR" sz="1200">
              <a:solidFill>
                <a:srgbClr val="B0ADCC"/>
              </a:solidFill>
              <a:latin typeface="Tahoma"/>
            </a:endParaRPr>
          </a:p>
        </p:txBody>
      </p:sp>
      <p:sp>
        <p:nvSpPr>
          <p:cNvPr id="84" name="ZoneTexte 83">
            <a:extLst>
              <a:ext uri="{FF2B5EF4-FFF2-40B4-BE49-F238E27FC236}">
                <a16:creationId xmlns:a16="http://schemas.microsoft.com/office/drawing/2014/main" id="{BF0E9657-5DB1-4DA9-A478-DFC68D101928}"/>
              </a:ext>
            </a:extLst>
          </p:cNvPr>
          <p:cNvSpPr txBox="1"/>
          <p:nvPr/>
        </p:nvSpPr>
        <p:spPr>
          <a:xfrm>
            <a:off x="4225868" y="-2249762"/>
            <a:ext cx="5065294" cy="954107"/>
          </a:xfrm>
          <a:prstGeom prst="rect">
            <a:avLst/>
          </a:prstGeom>
          <a:noFill/>
        </p:spPr>
        <p:txBody>
          <a:bodyPr wrap="square">
            <a:spAutoFit/>
          </a:bodyPr>
          <a:lstStyle/>
          <a:p>
            <a:pPr marL="228600" indent="-228600">
              <a:buFontTx/>
              <a:buAutoNum type="arabicPeriod"/>
              <a:defRPr/>
            </a:pPr>
            <a:r>
              <a:rPr lang="fr-FR" sz="800">
                <a:solidFill>
                  <a:srgbClr val="5F5F5F"/>
                </a:solidFill>
                <a:latin typeface="Tahoma"/>
              </a:rPr>
              <a:t>Location d’un meublé de tourisme adapté (normes PMR, location de matériel médical sur ordonnance, passage de soins infirmiers, d’aide à domicile, etc.) </a:t>
            </a:r>
          </a:p>
          <a:p>
            <a:pPr marL="228600" indent="-228600">
              <a:buFontTx/>
              <a:buAutoNum type="arabicPeriod"/>
              <a:defRPr/>
            </a:pPr>
            <a:r>
              <a:rPr lang="fr-FR" sz="800">
                <a:solidFill>
                  <a:srgbClr val="5F5F5F"/>
                </a:solidFill>
                <a:latin typeface="Tahoma"/>
              </a:rPr>
              <a:t>Prestations complémentaires adaptées : activités adaptées et tarifs préférentiels négociés par Le Laboratoire de Répit. Création d’un planning sur-mesure, aide aux réservations. </a:t>
            </a:r>
          </a:p>
          <a:p>
            <a:pPr marL="228600" indent="-228600">
              <a:buFontTx/>
              <a:buAutoNum type="arabicPeriod"/>
              <a:defRPr/>
            </a:pPr>
            <a:r>
              <a:rPr lang="fr-FR" sz="800">
                <a:solidFill>
                  <a:srgbClr val="5F5F5F"/>
                </a:solidFill>
                <a:latin typeface="Tahoma"/>
              </a:rPr>
              <a:t>Relayage : professionnel qui accompagne la personne en situation de dépendance pour des séjours de répit familiaux. (Le Laboratoire de répit dispose d’un vivier de relayeurs sélectionnés et prérecrutés). </a:t>
            </a:r>
          </a:p>
          <a:p>
            <a:pPr marL="228600" indent="-228600">
              <a:buFontTx/>
              <a:buAutoNum type="arabicPeriod"/>
              <a:defRPr/>
            </a:pPr>
            <a:r>
              <a:rPr lang="fr-FR" sz="800">
                <a:solidFill>
                  <a:srgbClr val="5F5F5F"/>
                </a:solidFill>
                <a:latin typeface="Tahoma"/>
              </a:rPr>
              <a:t>Création d’une offre sur-mesure. </a:t>
            </a:r>
          </a:p>
        </p:txBody>
      </p:sp>
      <p:pic>
        <p:nvPicPr>
          <p:cNvPr id="88" name="Picture 2" descr="Les bobos à la ferme – Gîte touristique pour tous avec une offre de séjours  de répit pour les aidants familiaux: tourisme et inclusion en plein coeur  de la Côte d'Opale">
            <a:extLst>
              <a:ext uri="{FF2B5EF4-FFF2-40B4-BE49-F238E27FC236}">
                <a16:creationId xmlns:a16="http://schemas.microsoft.com/office/drawing/2014/main" id="{6FB21686-B7E7-4ABF-85FE-784204C1AC81}"/>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9852051" y="39569"/>
            <a:ext cx="868471" cy="868471"/>
          </a:xfrm>
          <a:prstGeom prst="rect">
            <a:avLst/>
          </a:prstGeom>
          <a:noFill/>
          <a:extLst>
            <a:ext uri="{909E8E84-426E-40DD-AFC4-6F175D3DCCD1}">
              <a14:hiddenFill xmlns:a14="http://schemas.microsoft.com/office/drawing/2010/main">
                <a:solidFill>
                  <a:srgbClr val="FFFFFF"/>
                </a:solidFill>
              </a14:hiddenFill>
            </a:ext>
          </a:extLst>
        </p:spPr>
      </p:pic>
      <p:sp>
        <p:nvSpPr>
          <p:cNvPr id="111" name="ZoneTexte 110">
            <a:extLst>
              <a:ext uri="{FF2B5EF4-FFF2-40B4-BE49-F238E27FC236}">
                <a16:creationId xmlns:a16="http://schemas.microsoft.com/office/drawing/2014/main" id="{8825A33D-D911-44BF-9648-00AAB5BE96A5}"/>
              </a:ext>
            </a:extLst>
          </p:cNvPr>
          <p:cNvSpPr txBox="1"/>
          <p:nvPr/>
        </p:nvSpPr>
        <p:spPr>
          <a:xfrm>
            <a:off x="1231645" y="6543683"/>
            <a:ext cx="8059518" cy="307777"/>
          </a:xfrm>
          <a:prstGeom prst="rect">
            <a:avLst/>
          </a:prstGeom>
          <a:solidFill>
            <a:schemeClr val="bg1"/>
          </a:solidFill>
        </p:spPr>
        <p:txBody>
          <a:bodyPr wrap="square">
            <a:spAutoFit/>
          </a:bodyPr>
          <a:lstStyle/>
          <a:p>
            <a:pPr>
              <a:buClr>
                <a:srgbClr val="503078"/>
              </a:buClr>
              <a:defRPr/>
            </a:pPr>
            <a:r>
              <a:rPr lang="fr-FR" sz="700">
                <a:solidFill>
                  <a:srgbClr val="5F5F5F">
                    <a:lumMod val="60000"/>
                    <a:lumOff val="40000"/>
                  </a:srgbClr>
                </a:solidFill>
                <a:latin typeface="Tahoma"/>
              </a:rPr>
              <a:t>1. Projet lauréat de plusieurs prix et labels : « innovation sociale » (CR HDF, CD62), « valeurs de l’Economie sociale et solidaire », « Coopération territoriale », trophées du Tourisme Accessible 2021</a:t>
            </a:r>
          </a:p>
          <a:p>
            <a:pPr>
              <a:buClr>
                <a:srgbClr val="503078"/>
              </a:buClr>
              <a:defRPr/>
            </a:pPr>
            <a:r>
              <a:rPr lang="fr-FR" sz="700">
                <a:solidFill>
                  <a:srgbClr val="5F5F5F">
                    <a:lumMod val="60000"/>
                    <a:lumOff val="40000"/>
                  </a:srgbClr>
                </a:solidFill>
                <a:latin typeface="Tahoma"/>
              </a:rPr>
              <a:t>2. Le laboratoire de répit travaille avec APF France handicap dans le cadre de l’’expérimentation des séjours de répit aidants-aidés portée par la CNSA</a:t>
            </a:r>
          </a:p>
        </p:txBody>
      </p:sp>
    </p:spTree>
    <p:extLst>
      <p:ext uri="{BB962C8B-B14F-4D97-AF65-F5344CB8AC3E}">
        <p14:creationId xmlns:p14="http://schemas.microsoft.com/office/powerpoint/2010/main" val="15133979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a:extLst>
              <a:ext uri="{FF2B5EF4-FFF2-40B4-BE49-F238E27FC236}">
                <a16:creationId xmlns:a16="http://schemas.microsoft.com/office/drawing/2014/main" id="{2817B87D-2579-410C-9474-954C66AB5004}"/>
              </a:ext>
            </a:extLst>
          </p:cNvPr>
          <p:cNvSpPr/>
          <p:nvPr/>
        </p:nvSpPr>
        <p:spPr>
          <a:xfrm>
            <a:off x="8926212" y="5733027"/>
            <a:ext cx="2122788" cy="11272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2" name="Titre 1">
            <a:extLst>
              <a:ext uri="{FF2B5EF4-FFF2-40B4-BE49-F238E27FC236}">
                <a16:creationId xmlns:a16="http://schemas.microsoft.com/office/drawing/2014/main" id="{B0DDB96D-5870-433E-8224-8BA70AB31D5A}"/>
              </a:ext>
            </a:extLst>
          </p:cNvPr>
          <p:cNvSpPr>
            <a:spLocks noGrp="1"/>
          </p:cNvSpPr>
          <p:nvPr>
            <p:ph type="title"/>
          </p:nvPr>
        </p:nvSpPr>
        <p:spPr/>
        <p:txBody>
          <a:bodyPr/>
          <a:lstStyle/>
          <a:p>
            <a:r>
              <a:rPr lang="fr-FR"/>
              <a:t>L’Association de Vacances de la Mutualité Agricole</a:t>
            </a:r>
          </a:p>
        </p:txBody>
      </p:sp>
      <p:sp>
        <p:nvSpPr>
          <p:cNvPr id="3" name="Espace réservé du texte 2">
            <a:extLst>
              <a:ext uri="{FF2B5EF4-FFF2-40B4-BE49-F238E27FC236}">
                <a16:creationId xmlns:a16="http://schemas.microsoft.com/office/drawing/2014/main" id="{9C630387-01A6-4667-A171-E57EE95EAA8D}"/>
              </a:ext>
            </a:extLst>
          </p:cNvPr>
          <p:cNvSpPr>
            <a:spLocks noGrp="1"/>
          </p:cNvSpPr>
          <p:nvPr>
            <p:ph type="body" sz="quarter" idx="13"/>
          </p:nvPr>
        </p:nvSpPr>
        <p:spPr/>
        <p:txBody>
          <a:bodyPr/>
          <a:lstStyle/>
          <a:p>
            <a:r>
              <a:rPr lang="fr-FR"/>
              <a:t>fiches initiatives</a:t>
            </a:r>
          </a:p>
        </p:txBody>
      </p:sp>
      <p:pic>
        <p:nvPicPr>
          <p:cNvPr id="59" name="Graphique 58" descr="Utilisateur">
            <a:extLst>
              <a:ext uri="{FF2B5EF4-FFF2-40B4-BE49-F238E27FC236}">
                <a16:creationId xmlns:a16="http://schemas.microsoft.com/office/drawing/2014/main" id="{BCF539CA-033C-4E53-AA11-C9F1D57FD99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62600" y="918286"/>
            <a:ext cx="343642" cy="343642"/>
          </a:xfrm>
          <a:prstGeom prst="rect">
            <a:avLst/>
          </a:prstGeom>
        </p:spPr>
      </p:pic>
      <p:pic>
        <p:nvPicPr>
          <p:cNvPr id="60" name="Graphique 59" descr="Enfants">
            <a:extLst>
              <a:ext uri="{FF2B5EF4-FFF2-40B4-BE49-F238E27FC236}">
                <a16:creationId xmlns:a16="http://schemas.microsoft.com/office/drawing/2014/main" id="{D039143E-4976-4C18-9C94-0BA53EE64FF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82720" y="929748"/>
            <a:ext cx="357605" cy="357605"/>
          </a:xfrm>
          <a:prstGeom prst="rect">
            <a:avLst/>
          </a:prstGeom>
        </p:spPr>
      </p:pic>
      <p:pic>
        <p:nvPicPr>
          <p:cNvPr id="61" name="Graphique 60" descr="Hôpital">
            <a:extLst>
              <a:ext uri="{FF2B5EF4-FFF2-40B4-BE49-F238E27FC236}">
                <a16:creationId xmlns:a16="http://schemas.microsoft.com/office/drawing/2014/main" id="{5A6293E0-A850-432A-AEC2-55244F91F50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01315" y="898323"/>
            <a:ext cx="377667" cy="377667"/>
          </a:xfrm>
          <a:prstGeom prst="rect">
            <a:avLst/>
          </a:prstGeom>
        </p:spPr>
      </p:pic>
      <p:sp>
        <p:nvSpPr>
          <p:cNvPr id="71" name="ZoneTexte 70">
            <a:extLst>
              <a:ext uri="{FF2B5EF4-FFF2-40B4-BE49-F238E27FC236}">
                <a16:creationId xmlns:a16="http://schemas.microsoft.com/office/drawing/2014/main" id="{95275340-2C5E-4AB7-8968-428537133200}"/>
              </a:ext>
            </a:extLst>
          </p:cNvPr>
          <p:cNvSpPr txBox="1"/>
          <p:nvPr/>
        </p:nvSpPr>
        <p:spPr>
          <a:xfrm>
            <a:off x="3506076" y="959276"/>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ublic cible</a:t>
            </a:r>
          </a:p>
          <a:p>
            <a:pPr marL="171450" indent="-171450">
              <a:buFontTx/>
              <a:buChar char="-"/>
            </a:pPr>
            <a:endParaRPr lang="fr-FR" sz="1200">
              <a:solidFill>
                <a:srgbClr val="5F5F5F"/>
              </a:solidFill>
              <a:latin typeface="Tahoma"/>
            </a:endParaRPr>
          </a:p>
        </p:txBody>
      </p:sp>
      <p:sp>
        <p:nvSpPr>
          <p:cNvPr id="72" name="Rectangle 71">
            <a:extLst>
              <a:ext uri="{FF2B5EF4-FFF2-40B4-BE49-F238E27FC236}">
                <a16:creationId xmlns:a16="http://schemas.microsoft.com/office/drawing/2014/main" id="{CF33C1E5-DDE1-4156-A8BA-4E287E034C81}"/>
              </a:ext>
            </a:extLst>
          </p:cNvPr>
          <p:cNvSpPr/>
          <p:nvPr/>
        </p:nvSpPr>
        <p:spPr>
          <a:xfrm>
            <a:off x="3041222" y="920242"/>
            <a:ext cx="2566378" cy="1359840"/>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3" name="Rectangle 72">
            <a:extLst>
              <a:ext uri="{FF2B5EF4-FFF2-40B4-BE49-F238E27FC236}">
                <a16:creationId xmlns:a16="http://schemas.microsoft.com/office/drawing/2014/main" id="{E85DFD2B-8AE0-4AEF-971A-2B7DB41E3803}"/>
              </a:ext>
            </a:extLst>
          </p:cNvPr>
          <p:cNvSpPr/>
          <p:nvPr/>
        </p:nvSpPr>
        <p:spPr>
          <a:xfrm>
            <a:off x="8329059" y="918286"/>
            <a:ext cx="2630482" cy="1362432"/>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4" name="ZoneTexte 73">
            <a:extLst>
              <a:ext uri="{FF2B5EF4-FFF2-40B4-BE49-F238E27FC236}">
                <a16:creationId xmlns:a16="http://schemas.microsoft.com/office/drawing/2014/main" id="{77576367-5766-4A85-8CC6-3A325240D7B8}"/>
              </a:ext>
            </a:extLst>
          </p:cNvPr>
          <p:cNvSpPr txBox="1"/>
          <p:nvPr/>
        </p:nvSpPr>
        <p:spPr>
          <a:xfrm>
            <a:off x="8699428" y="963457"/>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ortage / gestion du projet </a:t>
            </a:r>
          </a:p>
          <a:p>
            <a:pPr marL="171450" indent="-171450">
              <a:buFontTx/>
              <a:buChar char="-"/>
            </a:pPr>
            <a:endParaRPr lang="fr-FR" sz="1200">
              <a:solidFill>
                <a:srgbClr val="5F5F5F"/>
              </a:solidFill>
              <a:latin typeface="Tahoma"/>
            </a:endParaRPr>
          </a:p>
        </p:txBody>
      </p:sp>
      <p:sp>
        <p:nvSpPr>
          <p:cNvPr id="76" name="Rectangle 75">
            <a:extLst>
              <a:ext uri="{FF2B5EF4-FFF2-40B4-BE49-F238E27FC236}">
                <a16:creationId xmlns:a16="http://schemas.microsoft.com/office/drawing/2014/main" id="{DEA056E4-366B-4B6E-AD2A-2A7DACC2777B}"/>
              </a:ext>
            </a:extLst>
          </p:cNvPr>
          <p:cNvSpPr/>
          <p:nvPr/>
        </p:nvSpPr>
        <p:spPr>
          <a:xfrm>
            <a:off x="5657842" y="920242"/>
            <a:ext cx="2630482" cy="135984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7" name="ZoneTexte 76">
            <a:extLst>
              <a:ext uri="{FF2B5EF4-FFF2-40B4-BE49-F238E27FC236}">
                <a16:creationId xmlns:a16="http://schemas.microsoft.com/office/drawing/2014/main" id="{9B3B4E4E-968C-4AC1-A916-2CB2CBC81062}"/>
              </a:ext>
            </a:extLst>
          </p:cNvPr>
          <p:cNvSpPr txBox="1"/>
          <p:nvPr/>
        </p:nvSpPr>
        <p:spPr>
          <a:xfrm>
            <a:off x="6045885" y="987123"/>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Typologie de structure</a:t>
            </a:r>
          </a:p>
          <a:p>
            <a:pPr marL="171450" indent="-171450">
              <a:buFontTx/>
              <a:buChar char="-"/>
            </a:pPr>
            <a:endParaRPr lang="fr-FR" sz="1200">
              <a:solidFill>
                <a:srgbClr val="5F5F5F"/>
              </a:solidFill>
              <a:latin typeface="Tahoma"/>
            </a:endParaRPr>
          </a:p>
        </p:txBody>
      </p:sp>
      <p:sp>
        <p:nvSpPr>
          <p:cNvPr id="78" name="ZoneTexte 77">
            <a:extLst>
              <a:ext uri="{FF2B5EF4-FFF2-40B4-BE49-F238E27FC236}">
                <a16:creationId xmlns:a16="http://schemas.microsoft.com/office/drawing/2014/main" id="{96B574C6-E211-4064-9944-5448EE32BE54}"/>
              </a:ext>
            </a:extLst>
          </p:cNvPr>
          <p:cNvSpPr txBox="1"/>
          <p:nvPr/>
        </p:nvSpPr>
        <p:spPr>
          <a:xfrm>
            <a:off x="2992778" y="1229168"/>
            <a:ext cx="2660644" cy="738664"/>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pPr>
            <a:r>
              <a:rPr lang="fr-FR" sz="1050">
                <a:solidFill>
                  <a:srgbClr val="5F5F5F"/>
                </a:solidFill>
                <a:latin typeface="Tahoma"/>
              </a:rPr>
              <a:t>Familles avec enfants en situation de handicap</a:t>
            </a:r>
          </a:p>
          <a:p>
            <a:pPr marL="171450" indent="-171450">
              <a:buClr>
                <a:srgbClr val="503078"/>
              </a:buClr>
              <a:buFont typeface="Tahoma" panose="020B0604030504040204" pitchFamily="34" charset="0"/>
              <a:buChar char="⁄"/>
            </a:pPr>
            <a:r>
              <a:rPr lang="fr-FR" sz="1050">
                <a:solidFill>
                  <a:srgbClr val="5F5F5F"/>
                </a:solidFill>
                <a:latin typeface="Tahoma"/>
              </a:rPr>
              <a:t>Personnes dépendantes et leurs aidants </a:t>
            </a:r>
          </a:p>
        </p:txBody>
      </p:sp>
      <p:sp>
        <p:nvSpPr>
          <p:cNvPr id="80" name="ZoneTexte 79">
            <a:extLst>
              <a:ext uri="{FF2B5EF4-FFF2-40B4-BE49-F238E27FC236}">
                <a16:creationId xmlns:a16="http://schemas.microsoft.com/office/drawing/2014/main" id="{D486C829-4B6E-4981-9B49-72041AC2853F}"/>
              </a:ext>
            </a:extLst>
          </p:cNvPr>
          <p:cNvSpPr txBox="1"/>
          <p:nvPr/>
        </p:nvSpPr>
        <p:spPr>
          <a:xfrm>
            <a:off x="8270852" y="1233161"/>
            <a:ext cx="2770132" cy="595356"/>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Association AVMA en portage et gestion des projets, fondée par la Mutualité Sociale Agricole</a:t>
            </a:r>
          </a:p>
        </p:txBody>
      </p:sp>
      <p:sp>
        <p:nvSpPr>
          <p:cNvPr id="139" name="Rectangle 138">
            <a:extLst>
              <a:ext uri="{FF2B5EF4-FFF2-40B4-BE49-F238E27FC236}">
                <a16:creationId xmlns:a16="http://schemas.microsoft.com/office/drawing/2014/main" id="{23DA1D13-F6FC-42CC-8CBC-A6643FFAA543}"/>
              </a:ext>
            </a:extLst>
          </p:cNvPr>
          <p:cNvSpPr/>
          <p:nvPr/>
        </p:nvSpPr>
        <p:spPr>
          <a:xfrm>
            <a:off x="1254009" y="923573"/>
            <a:ext cx="1728514" cy="1359840"/>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84" name="ZoneTexte 83">
            <a:extLst>
              <a:ext uri="{FF2B5EF4-FFF2-40B4-BE49-F238E27FC236}">
                <a16:creationId xmlns:a16="http://schemas.microsoft.com/office/drawing/2014/main" id="{BF0E9657-5DB1-4DA9-A478-DFC68D101928}"/>
              </a:ext>
            </a:extLst>
          </p:cNvPr>
          <p:cNvSpPr txBox="1"/>
          <p:nvPr/>
        </p:nvSpPr>
        <p:spPr>
          <a:xfrm>
            <a:off x="4225868" y="-2249762"/>
            <a:ext cx="5065294" cy="954107"/>
          </a:xfrm>
          <a:prstGeom prst="rect">
            <a:avLst/>
          </a:prstGeom>
          <a:noFill/>
        </p:spPr>
        <p:txBody>
          <a:bodyPr wrap="square">
            <a:spAutoFit/>
          </a:bodyPr>
          <a:lstStyle/>
          <a:p>
            <a:pPr marL="228600" indent="-228600">
              <a:buFontTx/>
              <a:buAutoNum type="arabicPeriod"/>
              <a:defRPr/>
            </a:pPr>
            <a:r>
              <a:rPr lang="fr-FR" sz="800">
                <a:solidFill>
                  <a:srgbClr val="5F5F5F"/>
                </a:solidFill>
                <a:latin typeface="Tahoma"/>
              </a:rPr>
              <a:t>Location d’un meublé de tourisme adapté (normes PMR, location de matériel médical sur ordonnance, passage de soins infirmiers, d’aide à domicile, etc.) </a:t>
            </a:r>
          </a:p>
          <a:p>
            <a:pPr marL="228600" indent="-228600">
              <a:buFontTx/>
              <a:buAutoNum type="arabicPeriod"/>
              <a:defRPr/>
            </a:pPr>
            <a:r>
              <a:rPr lang="fr-FR" sz="800">
                <a:solidFill>
                  <a:srgbClr val="5F5F5F"/>
                </a:solidFill>
                <a:latin typeface="Tahoma"/>
              </a:rPr>
              <a:t>Prestations complémentaires adaptées : activités adaptées et tarifs préférentiels négociés par Le Laboratoire de Répit. Création d’un planning sur-mesure, aide aux réservations. </a:t>
            </a:r>
          </a:p>
          <a:p>
            <a:pPr marL="228600" indent="-228600">
              <a:buFontTx/>
              <a:buAutoNum type="arabicPeriod"/>
              <a:defRPr/>
            </a:pPr>
            <a:r>
              <a:rPr lang="fr-FR" sz="800">
                <a:solidFill>
                  <a:srgbClr val="5F5F5F"/>
                </a:solidFill>
                <a:latin typeface="Tahoma"/>
              </a:rPr>
              <a:t>Relayage : professionnel qui accompagne la personne en situation de dépendance pour des séjours de répit familiaux. (Le Laboratoire de répit dispose d’un vivier de relayeurs sélectionnés et prérecrutés). </a:t>
            </a:r>
          </a:p>
          <a:p>
            <a:pPr marL="228600" indent="-228600">
              <a:buFontTx/>
              <a:buAutoNum type="arabicPeriod"/>
              <a:defRPr/>
            </a:pPr>
            <a:r>
              <a:rPr lang="fr-FR" sz="800">
                <a:solidFill>
                  <a:srgbClr val="5F5F5F"/>
                </a:solidFill>
                <a:latin typeface="Tahoma"/>
              </a:rPr>
              <a:t>Création d’une offre sur-mesure. </a:t>
            </a:r>
          </a:p>
        </p:txBody>
      </p:sp>
      <p:grpSp>
        <p:nvGrpSpPr>
          <p:cNvPr id="4" name="Groupe 3">
            <a:extLst>
              <a:ext uri="{FF2B5EF4-FFF2-40B4-BE49-F238E27FC236}">
                <a16:creationId xmlns:a16="http://schemas.microsoft.com/office/drawing/2014/main" id="{8155ACDC-E99A-4647-AF97-D9E246330593}"/>
              </a:ext>
            </a:extLst>
          </p:cNvPr>
          <p:cNvGrpSpPr/>
          <p:nvPr/>
        </p:nvGrpSpPr>
        <p:grpSpPr>
          <a:xfrm>
            <a:off x="1261550" y="838557"/>
            <a:ext cx="1804399" cy="1472395"/>
            <a:chOff x="3446846" y="1123635"/>
            <a:chExt cx="2740704" cy="1968520"/>
          </a:xfrm>
        </p:grpSpPr>
        <p:grpSp>
          <p:nvGrpSpPr>
            <p:cNvPr id="83" name="Groupe 82">
              <a:extLst>
                <a:ext uri="{FF2B5EF4-FFF2-40B4-BE49-F238E27FC236}">
                  <a16:creationId xmlns:a16="http://schemas.microsoft.com/office/drawing/2014/main" id="{667C1BD6-023E-4F93-9A4C-773A4E5441BF}"/>
                </a:ext>
              </a:extLst>
            </p:cNvPr>
            <p:cNvGrpSpPr/>
            <p:nvPr/>
          </p:nvGrpSpPr>
          <p:grpSpPr>
            <a:xfrm>
              <a:off x="3962104" y="1332772"/>
              <a:ext cx="1798462" cy="1591514"/>
              <a:chOff x="6932446" y="3087071"/>
              <a:chExt cx="1561677" cy="1411777"/>
            </a:xfrm>
          </p:grpSpPr>
          <p:grpSp>
            <p:nvGrpSpPr>
              <p:cNvPr id="85" name="France 21 Regions Outline">
                <a:extLst>
                  <a:ext uri="{FF2B5EF4-FFF2-40B4-BE49-F238E27FC236}">
                    <a16:creationId xmlns:a16="http://schemas.microsoft.com/office/drawing/2014/main" id="{AD6C386E-B173-4DA5-870A-B77996A4F8A1}"/>
                  </a:ext>
                </a:extLst>
              </p:cNvPr>
              <p:cNvGrpSpPr>
                <a:grpSpLocks noChangeAspect="1"/>
              </p:cNvGrpSpPr>
              <p:nvPr/>
            </p:nvGrpSpPr>
            <p:grpSpPr bwMode="gray">
              <a:xfrm>
                <a:off x="7058875" y="3087071"/>
                <a:ext cx="1435248" cy="1411777"/>
                <a:chOff x="4175307" y="413546"/>
                <a:chExt cx="4738411" cy="4660921"/>
              </a:xfrm>
              <a:solidFill>
                <a:schemeClr val="tx2"/>
              </a:solidFill>
              <a:effectLst/>
            </p:grpSpPr>
            <p:sp>
              <p:nvSpPr>
                <p:cNvPr id="132" name="Corse">
                  <a:extLst>
                    <a:ext uri="{FF2B5EF4-FFF2-40B4-BE49-F238E27FC236}">
                      <a16:creationId xmlns:a16="http://schemas.microsoft.com/office/drawing/2014/main" id="{41BEF1D0-42D2-490E-BFCE-F1D03290DBED}"/>
                    </a:ext>
                  </a:extLst>
                </p:cNvPr>
                <p:cNvSpPr>
                  <a:spLocks/>
                </p:cNvSpPr>
                <p:nvPr/>
              </p:nvSpPr>
              <p:spPr bwMode="gray">
                <a:xfrm>
                  <a:off x="8575259" y="4209355"/>
                  <a:ext cx="338459" cy="865112"/>
                </a:xfrm>
                <a:custGeom>
                  <a:avLst/>
                  <a:gdLst>
                    <a:gd name="T0" fmla="*/ 94 w 98"/>
                    <a:gd name="T1" fmla="*/ 81 h 251"/>
                    <a:gd name="T2" fmla="*/ 85 w 98"/>
                    <a:gd name="T3" fmla="*/ 45 h 251"/>
                    <a:gd name="T4" fmla="*/ 84 w 98"/>
                    <a:gd name="T5" fmla="*/ 4 h 251"/>
                    <a:gd name="T6" fmla="*/ 72 w 98"/>
                    <a:gd name="T7" fmla="*/ 5 h 251"/>
                    <a:gd name="T8" fmla="*/ 71 w 98"/>
                    <a:gd name="T9" fmla="*/ 20 h 251"/>
                    <a:gd name="T10" fmla="*/ 70 w 98"/>
                    <a:gd name="T11" fmla="*/ 48 h 251"/>
                    <a:gd name="T12" fmla="*/ 51 w 98"/>
                    <a:gd name="T13" fmla="*/ 42 h 251"/>
                    <a:gd name="T14" fmla="*/ 40 w 98"/>
                    <a:gd name="T15" fmla="*/ 55 h 251"/>
                    <a:gd name="T16" fmla="*/ 29 w 98"/>
                    <a:gd name="T17" fmla="*/ 60 h 251"/>
                    <a:gd name="T18" fmla="*/ 21 w 98"/>
                    <a:gd name="T19" fmla="*/ 68 h 251"/>
                    <a:gd name="T20" fmla="*/ 14 w 98"/>
                    <a:gd name="T21" fmla="*/ 70 h 251"/>
                    <a:gd name="T22" fmla="*/ 11 w 98"/>
                    <a:gd name="T23" fmla="*/ 80 h 251"/>
                    <a:gd name="T24" fmla="*/ 10 w 98"/>
                    <a:gd name="T25" fmla="*/ 88 h 251"/>
                    <a:gd name="T26" fmla="*/ 0 w 98"/>
                    <a:gd name="T27" fmla="*/ 93 h 251"/>
                    <a:gd name="T28" fmla="*/ 5 w 98"/>
                    <a:gd name="T29" fmla="*/ 99 h 251"/>
                    <a:gd name="T30" fmla="*/ 14 w 98"/>
                    <a:gd name="T31" fmla="*/ 110 h 251"/>
                    <a:gd name="T32" fmla="*/ 3 w 98"/>
                    <a:gd name="T33" fmla="*/ 129 h 251"/>
                    <a:gd name="T34" fmla="*/ 10 w 98"/>
                    <a:gd name="T35" fmla="*/ 134 h 251"/>
                    <a:gd name="T36" fmla="*/ 16 w 98"/>
                    <a:gd name="T37" fmla="*/ 136 h 251"/>
                    <a:gd name="T38" fmla="*/ 17 w 98"/>
                    <a:gd name="T39" fmla="*/ 147 h 251"/>
                    <a:gd name="T40" fmla="*/ 8 w 98"/>
                    <a:gd name="T41" fmla="*/ 157 h 251"/>
                    <a:gd name="T42" fmla="*/ 19 w 98"/>
                    <a:gd name="T43" fmla="*/ 165 h 251"/>
                    <a:gd name="T44" fmla="*/ 29 w 98"/>
                    <a:gd name="T45" fmla="*/ 167 h 251"/>
                    <a:gd name="T46" fmla="*/ 24 w 98"/>
                    <a:gd name="T47" fmla="*/ 175 h 251"/>
                    <a:gd name="T48" fmla="*/ 20 w 98"/>
                    <a:gd name="T49" fmla="*/ 183 h 251"/>
                    <a:gd name="T50" fmla="*/ 14 w 98"/>
                    <a:gd name="T51" fmla="*/ 189 h 251"/>
                    <a:gd name="T52" fmla="*/ 25 w 98"/>
                    <a:gd name="T53" fmla="*/ 191 h 251"/>
                    <a:gd name="T54" fmla="*/ 37 w 98"/>
                    <a:gd name="T55" fmla="*/ 202 h 251"/>
                    <a:gd name="T56" fmla="*/ 29 w 98"/>
                    <a:gd name="T57" fmla="*/ 220 h 251"/>
                    <a:gd name="T58" fmla="*/ 39 w 98"/>
                    <a:gd name="T59" fmla="*/ 231 h 251"/>
                    <a:gd name="T60" fmla="*/ 52 w 98"/>
                    <a:gd name="T61" fmla="*/ 236 h 251"/>
                    <a:gd name="T62" fmla="*/ 56 w 98"/>
                    <a:gd name="T63" fmla="*/ 237 h 251"/>
                    <a:gd name="T64" fmla="*/ 57 w 98"/>
                    <a:gd name="T65" fmla="*/ 243 h 251"/>
                    <a:gd name="T66" fmla="*/ 70 w 98"/>
                    <a:gd name="T67" fmla="*/ 251 h 251"/>
                    <a:gd name="T68" fmla="*/ 72 w 98"/>
                    <a:gd name="T69" fmla="*/ 239 h 251"/>
                    <a:gd name="T70" fmla="*/ 76 w 98"/>
                    <a:gd name="T71" fmla="*/ 224 h 251"/>
                    <a:gd name="T72" fmla="*/ 83 w 98"/>
                    <a:gd name="T73" fmla="*/ 213 h 251"/>
                    <a:gd name="T74" fmla="*/ 78 w 98"/>
                    <a:gd name="T75" fmla="*/ 210 h 251"/>
                    <a:gd name="T76" fmla="*/ 88 w 98"/>
                    <a:gd name="T77" fmla="*/ 195 h 251"/>
                    <a:gd name="T78" fmla="*/ 98 w 98"/>
                    <a:gd name="T79" fmla="*/ 134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8" h="251">
                      <a:moveTo>
                        <a:pt x="98" y="134"/>
                      </a:moveTo>
                      <a:cubicBezTo>
                        <a:pt x="98" y="134"/>
                        <a:pt x="92" y="82"/>
                        <a:pt x="94" y="81"/>
                      </a:cubicBezTo>
                      <a:cubicBezTo>
                        <a:pt x="95" y="79"/>
                        <a:pt x="94" y="72"/>
                        <a:pt x="94" y="69"/>
                      </a:cubicBezTo>
                      <a:cubicBezTo>
                        <a:pt x="84" y="61"/>
                        <a:pt x="87" y="46"/>
                        <a:pt x="85" y="45"/>
                      </a:cubicBezTo>
                      <a:cubicBezTo>
                        <a:pt x="88" y="40"/>
                        <a:pt x="87" y="17"/>
                        <a:pt x="84" y="12"/>
                      </a:cubicBezTo>
                      <a:cubicBezTo>
                        <a:pt x="82" y="7"/>
                        <a:pt x="84" y="4"/>
                        <a:pt x="84" y="4"/>
                      </a:cubicBezTo>
                      <a:cubicBezTo>
                        <a:pt x="79" y="0"/>
                        <a:pt x="79" y="0"/>
                        <a:pt x="79" y="0"/>
                      </a:cubicBezTo>
                      <a:cubicBezTo>
                        <a:pt x="79" y="0"/>
                        <a:pt x="74" y="2"/>
                        <a:pt x="72" y="5"/>
                      </a:cubicBezTo>
                      <a:cubicBezTo>
                        <a:pt x="70" y="8"/>
                        <a:pt x="71" y="8"/>
                        <a:pt x="73" y="11"/>
                      </a:cubicBezTo>
                      <a:cubicBezTo>
                        <a:pt x="75" y="15"/>
                        <a:pt x="70" y="16"/>
                        <a:pt x="71" y="20"/>
                      </a:cubicBezTo>
                      <a:cubicBezTo>
                        <a:pt x="71" y="23"/>
                        <a:pt x="71" y="28"/>
                        <a:pt x="71" y="28"/>
                      </a:cubicBezTo>
                      <a:cubicBezTo>
                        <a:pt x="75" y="34"/>
                        <a:pt x="70" y="48"/>
                        <a:pt x="70" y="48"/>
                      </a:cubicBezTo>
                      <a:cubicBezTo>
                        <a:pt x="62" y="43"/>
                        <a:pt x="62" y="43"/>
                        <a:pt x="62" y="43"/>
                      </a:cubicBezTo>
                      <a:cubicBezTo>
                        <a:pt x="51" y="42"/>
                        <a:pt x="51" y="42"/>
                        <a:pt x="51" y="42"/>
                      </a:cubicBezTo>
                      <a:cubicBezTo>
                        <a:pt x="46" y="51"/>
                        <a:pt x="46" y="51"/>
                        <a:pt x="46" y="51"/>
                      </a:cubicBezTo>
                      <a:cubicBezTo>
                        <a:pt x="40" y="55"/>
                        <a:pt x="40" y="55"/>
                        <a:pt x="40" y="55"/>
                      </a:cubicBezTo>
                      <a:cubicBezTo>
                        <a:pt x="33" y="55"/>
                        <a:pt x="33" y="55"/>
                        <a:pt x="33" y="55"/>
                      </a:cubicBezTo>
                      <a:cubicBezTo>
                        <a:pt x="29" y="60"/>
                        <a:pt x="29" y="60"/>
                        <a:pt x="29" y="60"/>
                      </a:cubicBezTo>
                      <a:cubicBezTo>
                        <a:pt x="23" y="60"/>
                        <a:pt x="23" y="60"/>
                        <a:pt x="23" y="60"/>
                      </a:cubicBezTo>
                      <a:cubicBezTo>
                        <a:pt x="21" y="68"/>
                        <a:pt x="21" y="68"/>
                        <a:pt x="21" y="68"/>
                      </a:cubicBezTo>
                      <a:cubicBezTo>
                        <a:pt x="15" y="64"/>
                        <a:pt x="15" y="64"/>
                        <a:pt x="15" y="64"/>
                      </a:cubicBezTo>
                      <a:cubicBezTo>
                        <a:pt x="14" y="70"/>
                        <a:pt x="14" y="70"/>
                        <a:pt x="14" y="70"/>
                      </a:cubicBezTo>
                      <a:cubicBezTo>
                        <a:pt x="8" y="79"/>
                        <a:pt x="8" y="79"/>
                        <a:pt x="8" y="79"/>
                      </a:cubicBezTo>
                      <a:cubicBezTo>
                        <a:pt x="8" y="79"/>
                        <a:pt x="9" y="78"/>
                        <a:pt x="11" y="80"/>
                      </a:cubicBezTo>
                      <a:cubicBezTo>
                        <a:pt x="14" y="82"/>
                        <a:pt x="10" y="83"/>
                        <a:pt x="10" y="83"/>
                      </a:cubicBezTo>
                      <a:cubicBezTo>
                        <a:pt x="10" y="88"/>
                        <a:pt x="10" y="88"/>
                        <a:pt x="10" y="88"/>
                      </a:cubicBezTo>
                      <a:cubicBezTo>
                        <a:pt x="5" y="89"/>
                        <a:pt x="5" y="89"/>
                        <a:pt x="5" y="89"/>
                      </a:cubicBezTo>
                      <a:cubicBezTo>
                        <a:pt x="5" y="92"/>
                        <a:pt x="0" y="93"/>
                        <a:pt x="0" y="93"/>
                      </a:cubicBezTo>
                      <a:cubicBezTo>
                        <a:pt x="0" y="100"/>
                        <a:pt x="0" y="100"/>
                        <a:pt x="0" y="100"/>
                      </a:cubicBezTo>
                      <a:cubicBezTo>
                        <a:pt x="0" y="100"/>
                        <a:pt x="3" y="99"/>
                        <a:pt x="5" y="99"/>
                      </a:cubicBezTo>
                      <a:cubicBezTo>
                        <a:pt x="8" y="99"/>
                        <a:pt x="6" y="104"/>
                        <a:pt x="7" y="104"/>
                      </a:cubicBezTo>
                      <a:cubicBezTo>
                        <a:pt x="8" y="104"/>
                        <a:pt x="14" y="110"/>
                        <a:pt x="14" y="110"/>
                      </a:cubicBezTo>
                      <a:cubicBezTo>
                        <a:pt x="6" y="111"/>
                        <a:pt x="3" y="116"/>
                        <a:pt x="3" y="116"/>
                      </a:cubicBezTo>
                      <a:cubicBezTo>
                        <a:pt x="3" y="129"/>
                        <a:pt x="3" y="129"/>
                        <a:pt x="3" y="129"/>
                      </a:cubicBezTo>
                      <a:cubicBezTo>
                        <a:pt x="5" y="132"/>
                        <a:pt x="5" y="132"/>
                        <a:pt x="5" y="132"/>
                      </a:cubicBezTo>
                      <a:cubicBezTo>
                        <a:pt x="10" y="134"/>
                        <a:pt x="10" y="134"/>
                        <a:pt x="10" y="134"/>
                      </a:cubicBezTo>
                      <a:cubicBezTo>
                        <a:pt x="10" y="134"/>
                        <a:pt x="11" y="135"/>
                        <a:pt x="13" y="137"/>
                      </a:cubicBezTo>
                      <a:cubicBezTo>
                        <a:pt x="14" y="134"/>
                        <a:pt x="15" y="137"/>
                        <a:pt x="16" y="136"/>
                      </a:cubicBezTo>
                      <a:cubicBezTo>
                        <a:pt x="16" y="141"/>
                        <a:pt x="21" y="143"/>
                        <a:pt x="21" y="143"/>
                      </a:cubicBezTo>
                      <a:cubicBezTo>
                        <a:pt x="17" y="147"/>
                        <a:pt x="17" y="147"/>
                        <a:pt x="17" y="147"/>
                      </a:cubicBezTo>
                      <a:cubicBezTo>
                        <a:pt x="12" y="148"/>
                        <a:pt x="13" y="156"/>
                        <a:pt x="13" y="156"/>
                      </a:cubicBezTo>
                      <a:cubicBezTo>
                        <a:pt x="8" y="157"/>
                        <a:pt x="8" y="157"/>
                        <a:pt x="8" y="157"/>
                      </a:cubicBezTo>
                      <a:cubicBezTo>
                        <a:pt x="9" y="166"/>
                        <a:pt x="9" y="166"/>
                        <a:pt x="9" y="166"/>
                      </a:cubicBezTo>
                      <a:cubicBezTo>
                        <a:pt x="19" y="165"/>
                        <a:pt x="19" y="165"/>
                        <a:pt x="19" y="165"/>
                      </a:cubicBezTo>
                      <a:cubicBezTo>
                        <a:pt x="23" y="163"/>
                        <a:pt x="23" y="163"/>
                        <a:pt x="23" y="163"/>
                      </a:cubicBezTo>
                      <a:cubicBezTo>
                        <a:pt x="29" y="167"/>
                        <a:pt x="29" y="167"/>
                        <a:pt x="29" y="167"/>
                      </a:cubicBezTo>
                      <a:cubicBezTo>
                        <a:pt x="27" y="169"/>
                        <a:pt x="27" y="169"/>
                        <a:pt x="27" y="169"/>
                      </a:cubicBezTo>
                      <a:cubicBezTo>
                        <a:pt x="24" y="175"/>
                        <a:pt x="24" y="175"/>
                        <a:pt x="24" y="175"/>
                      </a:cubicBezTo>
                      <a:cubicBezTo>
                        <a:pt x="24" y="179"/>
                        <a:pt x="24" y="179"/>
                        <a:pt x="24" y="179"/>
                      </a:cubicBezTo>
                      <a:cubicBezTo>
                        <a:pt x="20" y="183"/>
                        <a:pt x="20" y="183"/>
                        <a:pt x="20" y="183"/>
                      </a:cubicBezTo>
                      <a:cubicBezTo>
                        <a:pt x="21" y="186"/>
                        <a:pt x="21" y="186"/>
                        <a:pt x="21" y="186"/>
                      </a:cubicBezTo>
                      <a:cubicBezTo>
                        <a:pt x="14" y="189"/>
                        <a:pt x="14" y="189"/>
                        <a:pt x="14" y="189"/>
                      </a:cubicBezTo>
                      <a:cubicBezTo>
                        <a:pt x="20" y="194"/>
                        <a:pt x="20" y="194"/>
                        <a:pt x="20" y="194"/>
                      </a:cubicBezTo>
                      <a:cubicBezTo>
                        <a:pt x="25" y="191"/>
                        <a:pt x="25" y="191"/>
                        <a:pt x="25" y="191"/>
                      </a:cubicBezTo>
                      <a:cubicBezTo>
                        <a:pt x="27" y="196"/>
                        <a:pt x="27" y="196"/>
                        <a:pt x="27" y="196"/>
                      </a:cubicBezTo>
                      <a:cubicBezTo>
                        <a:pt x="27" y="196"/>
                        <a:pt x="37" y="199"/>
                        <a:pt x="37" y="202"/>
                      </a:cubicBezTo>
                      <a:cubicBezTo>
                        <a:pt x="37" y="204"/>
                        <a:pt x="29" y="208"/>
                        <a:pt x="29" y="208"/>
                      </a:cubicBezTo>
                      <a:cubicBezTo>
                        <a:pt x="29" y="208"/>
                        <a:pt x="29" y="218"/>
                        <a:pt x="29" y="220"/>
                      </a:cubicBezTo>
                      <a:cubicBezTo>
                        <a:pt x="29" y="221"/>
                        <a:pt x="33" y="227"/>
                        <a:pt x="35" y="226"/>
                      </a:cubicBezTo>
                      <a:cubicBezTo>
                        <a:pt x="37" y="223"/>
                        <a:pt x="39" y="231"/>
                        <a:pt x="39" y="231"/>
                      </a:cubicBezTo>
                      <a:cubicBezTo>
                        <a:pt x="47" y="231"/>
                        <a:pt x="47" y="231"/>
                        <a:pt x="47" y="231"/>
                      </a:cubicBezTo>
                      <a:cubicBezTo>
                        <a:pt x="52" y="236"/>
                        <a:pt x="52" y="236"/>
                        <a:pt x="52" y="236"/>
                      </a:cubicBezTo>
                      <a:cubicBezTo>
                        <a:pt x="56" y="232"/>
                        <a:pt x="56" y="232"/>
                        <a:pt x="56" y="232"/>
                      </a:cubicBezTo>
                      <a:cubicBezTo>
                        <a:pt x="56" y="237"/>
                        <a:pt x="56" y="237"/>
                        <a:pt x="56" y="237"/>
                      </a:cubicBezTo>
                      <a:cubicBezTo>
                        <a:pt x="61" y="238"/>
                        <a:pt x="61" y="238"/>
                        <a:pt x="61" y="238"/>
                      </a:cubicBezTo>
                      <a:cubicBezTo>
                        <a:pt x="57" y="243"/>
                        <a:pt x="57" y="243"/>
                        <a:pt x="57" y="243"/>
                      </a:cubicBezTo>
                      <a:cubicBezTo>
                        <a:pt x="57" y="243"/>
                        <a:pt x="60" y="249"/>
                        <a:pt x="60" y="246"/>
                      </a:cubicBezTo>
                      <a:cubicBezTo>
                        <a:pt x="60" y="243"/>
                        <a:pt x="70" y="251"/>
                        <a:pt x="70" y="251"/>
                      </a:cubicBezTo>
                      <a:cubicBezTo>
                        <a:pt x="74" y="242"/>
                        <a:pt x="74" y="242"/>
                        <a:pt x="74" y="242"/>
                      </a:cubicBezTo>
                      <a:cubicBezTo>
                        <a:pt x="74" y="242"/>
                        <a:pt x="71" y="239"/>
                        <a:pt x="72" y="239"/>
                      </a:cubicBezTo>
                      <a:cubicBezTo>
                        <a:pt x="74" y="239"/>
                        <a:pt x="77" y="232"/>
                        <a:pt x="77" y="232"/>
                      </a:cubicBezTo>
                      <a:cubicBezTo>
                        <a:pt x="76" y="224"/>
                        <a:pt x="76" y="224"/>
                        <a:pt x="76" y="224"/>
                      </a:cubicBezTo>
                      <a:cubicBezTo>
                        <a:pt x="76" y="224"/>
                        <a:pt x="78" y="223"/>
                        <a:pt x="82" y="221"/>
                      </a:cubicBezTo>
                      <a:cubicBezTo>
                        <a:pt x="86" y="219"/>
                        <a:pt x="84" y="215"/>
                        <a:pt x="83" y="213"/>
                      </a:cubicBezTo>
                      <a:cubicBezTo>
                        <a:pt x="81" y="212"/>
                        <a:pt x="77" y="216"/>
                        <a:pt x="76" y="217"/>
                      </a:cubicBezTo>
                      <a:cubicBezTo>
                        <a:pt x="75" y="217"/>
                        <a:pt x="78" y="210"/>
                        <a:pt x="78" y="210"/>
                      </a:cubicBezTo>
                      <a:cubicBezTo>
                        <a:pt x="78" y="210"/>
                        <a:pt x="85" y="210"/>
                        <a:pt x="85" y="206"/>
                      </a:cubicBezTo>
                      <a:cubicBezTo>
                        <a:pt x="85" y="203"/>
                        <a:pt x="88" y="195"/>
                        <a:pt x="88" y="195"/>
                      </a:cubicBezTo>
                      <a:cubicBezTo>
                        <a:pt x="88" y="195"/>
                        <a:pt x="87" y="161"/>
                        <a:pt x="86" y="160"/>
                      </a:cubicBezTo>
                      <a:cubicBezTo>
                        <a:pt x="92" y="155"/>
                        <a:pt x="98" y="134"/>
                        <a:pt x="98" y="134"/>
                      </a:cubicBezTo>
                      <a:close/>
                    </a:path>
                  </a:pathLst>
                </a:custGeom>
                <a:grpFill/>
                <a:ln w="3175" cap="flat" cmpd="sng">
                  <a:solidFill>
                    <a:schemeClr val="accent2"/>
                  </a:solidFill>
                  <a:prstDash val="solid"/>
                  <a:round/>
                  <a:headEnd type="none" w="med" len="med"/>
                  <a:tailEnd type="none" w="med" len="med"/>
                </a:ln>
                <a:effectLst>
                  <a:outerShdw blurRad="127000" dist="50800" dir="2700000" algn="tl" rotWithShape="0">
                    <a:prstClr val="black">
                      <a:alpha val="40000"/>
                    </a:prstClr>
                  </a:outerShdw>
                </a:effectLst>
              </p:spPr>
              <p:txBody>
                <a:bodyPr/>
                <a:lstStyle/>
                <a:p>
                  <a:endParaRPr lang="en-US" sz="1600">
                    <a:solidFill>
                      <a:srgbClr val="5F5F5F"/>
                    </a:solidFill>
                    <a:latin typeface="Tahoma"/>
                  </a:endParaRPr>
                </a:p>
              </p:txBody>
            </p:sp>
            <p:grpSp>
              <p:nvGrpSpPr>
                <p:cNvPr id="137" name="Group 219">
                  <a:extLst>
                    <a:ext uri="{FF2B5EF4-FFF2-40B4-BE49-F238E27FC236}">
                      <a16:creationId xmlns:a16="http://schemas.microsoft.com/office/drawing/2014/main" id="{20DA9C46-C1FC-4908-A503-7DB7A7E25011}"/>
                    </a:ext>
                  </a:extLst>
                </p:cNvPr>
                <p:cNvGrpSpPr>
                  <a:grpSpLocks/>
                </p:cNvGrpSpPr>
                <p:nvPr/>
              </p:nvGrpSpPr>
              <p:grpSpPr bwMode="gray">
                <a:xfrm>
                  <a:off x="4175307" y="413546"/>
                  <a:ext cx="4169286" cy="4108312"/>
                  <a:chOff x="48" y="168"/>
                  <a:chExt cx="3077" cy="3032"/>
                </a:xfrm>
                <a:grpFill/>
                <a:effectLst>
                  <a:outerShdw blurRad="127000" dist="50800" dir="2700000" algn="ctr" rotWithShape="0">
                    <a:schemeClr val="tx1">
                      <a:alpha val="40000"/>
                    </a:schemeClr>
                  </a:outerShdw>
                </a:effectLst>
              </p:grpSpPr>
              <p:sp>
                <p:nvSpPr>
                  <p:cNvPr id="138" name="Nord-Pas-de-Calais" descr="© INSCALE GmbH, 05.05.2010&#10;http://www.presentationload.com/">
                    <a:extLst>
                      <a:ext uri="{FF2B5EF4-FFF2-40B4-BE49-F238E27FC236}">
                        <a16:creationId xmlns:a16="http://schemas.microsoft.com/office/drawing/2014/main" id="{723571E5-7697-4061-B29C-462D07B28F88}"/>
                      </a:ext>
                    </a:extLst>
                  </p:cNvPr>
                  <p:cNvSpPr>
                    <a:spLocks/>
                  </p:cNvSpPr>
                  <p:nvPr/>
                </p:nvSpPr>
                <p:spPr bwMode="gray">
                  <a:xfrm>
                    <a:off x="1600" y="168"/>
                    <a:ext cx="608" cy="383"/>
                  </a:xfrm>
                  <a:custGeom>
                    <a:avLst/>
                    <a:gdLst/>
                    <a:ahLst/>
                    <a:cxnLst>
                      <a:cxn ang="0">
                        <a:pos x="77" y="236"/>
                      </a:cxn>
                      <a:cxn ang="0">
                        <a:pos x="101" y="257"/>
                      </a:cxn>
                      <a:cxn ang="0">
                        <a:pos x="117" y="279"/>
                      </a:cxn>
                      <a:cxn ang="0">
                        <a:pos x="159" y="269"/>
                      </a:cxn>
                      <a:cxn ang="0">
                        <a:pos x="187" y="273"/>
                      </a:cxn>
                      <a:cxn ang="0">
                        <a:pos x="173" y="309"/>
                      </a:cxn>
                      <a:cxn ang="0">
                        <a:pos x="208" y="304"/>
                      </a:cxn>
                      <a:cxn ang="0">
                        <a:pos x="232" y="300"/>
                      </a:cxn>
                      <a:cxn ang="0">
                        <a:pos x="244" y="323"/>
                      </a:cxn>
                      <a:cxn ang="0">
                        <a:pos x="272" y="324"/>
                      </a:cxn>
                      <a:cxn ang="0">
                        <a:pos x="279" y="321"/>
                      </a:cxn>
                      <a:cxn ang="0">
                        <a:pos x="343" y="329"/>
                      </a:cxn>
                      <a:cxn ang="0">
                        <a:pos x="364" y="327"/>
                      </a:cxn>
                      <a:cxn ang="0">
                        <a:pos x="440" y="317"/>
                      </a:cxn>
                      <a:cxn ang="0">
                        <a:pos x="473" y="333"/>
                      </a:cxn>
                      <a:cxn ang="0">
                        <a:pos x="492" y="335"/>
                      </a:cxn>
                      <a:cxn ang="0">
                        <a:pos x="548" y="320"/>
                      </a:cxn>
                      <a:cxn ang="0">
                        <a:pos x="556" y="283"/>
                      </a:cxn>
                      <a:cxn ang="0">
                        <a:pos x="545" y="269"/>
                      </a:cxn>
                      <a:cxn ang="0">
                        <a:pos x="559" y="243"/>
                      </a:cxn>
                      <a:cxn ang="0">
                        <a:pos x="543" y="243"/>
                      </a:cxn>
                      <a:cxn ang="0">
                        <a:pos x="517" y="215"/>
                      </a:cxn>
                      <a:cxn ang="0">
                        <a:pos x="500" y="219"/>
                      </a:cxn>
                      <a:cxn ang="0">
                        <a:pos x="486" y="217"/>
                      </a:cxn>
                      <a:cxn ang="0">
                        <a:pos x="452" y="228"/>
                      </a:cxn>
                      <a:cxn ang="0">
                        <a:pos x="442" y="201"/>
                      </a:cxn>
                      <a:cxn ang="0">
                        <a:pos x="436" y="174"/>
                      </a:cxn>
                      <a:cxn ang="0">
                        <a:pos x="409" y="165"/>
                      </a:cxn>
                      <a:cxn ang="0">
                        <a:pos x="362" y="157"/>
                      </a:cxn>
                      <a:cxn ang="0">
                        <a:pos x="353" y="124"/>
                      </a:cxn>
                      <a:cxn ang="0">
                        <a:pos x="350" y="110"/>
                      </a:cxn>
                      <a:cxn ang="0">
                        <a:pos x="325" y="90"/>
                      </a:cxn>
                      <a:cxn ang="0">
                        <a:pos x="283" y="114"/>
                      </a:cxn>
                      <a:cxn ang="0">
                        <a:pos x="262" y="106"/>
                      </a:cxn>
                      <a:cxn ang="0">
                        <a:pos x="245" y="76"/>
                      </a:cxn>
                      <a:cxn ang="0">
                        <a:pos x="221" y="67"/>
                      </a:cxn>
                      <a:cxn ang="0">
                        <a:pos x="224" y="42"/>
                      </a:cxn>
                      <a:cxn ang="0">
                        <a:pos x="212" y="9"/>
                      </a:cxn>
                      <a:cxn ang="0">
                        <a:pos x="157" y="7"/>
                      </a:cxn>
                      <a:cxn ang="0">
                        <a:pos x="54" y="31"/>
                      </a:cxn>
                      <a:cxn ang="0">
                        <a:pos x="7" y="57"/>
                      </a:cxn>
                      <a:cxn ang="0">
                        <a:pos x="5" y="106"/>
                      </a:cxn>
                      <a:cxn ang="0">
                        <a:pos x="4" y="192"/>
                      </a:cxn>
                      <a:cxn ang="0">
                        <a:pos x="1" y="228"/>
                      </a:cxn>
                      <a:cxn ang="0">
                        <a:pos x="12" y="235"/>
                      </a:cxn>
                      <a:cxn ang="0">
                        <a:pos x="65" y="237"/>
                      </a:cxn>
                    </a:cxnLst>
                    <a:rect l="0" t="0" r="r" b="b"/>
                    <a:pathLst>
                      <a:path w="564" h="355">
                        <a:moveTo>
                          <a:pt x="65" y="237"/>
                        </a:moveTo>
                        <a:cubicBezTo>
                          <a:pt x="77" y="236"/>
                          <a:pt x="77" y="236"/>
                          <a:pt x="77" y="236"/>
                        </a:cubicBezTo>
                        <a:cubicBezTo>
                          <a:pt x="79" y="247"/>
                          <a:pt x="79" y="247"/>
                          <a:pt x="79" y="247"/>
                        </a:cubicBezTo>
                        <a:cubicBezTo>
                          <a:pt x="101" y="257"/>
                          <a:pt x="101" y="257"/>
                          <a:pt x="101" y="257"/>
                        </a:cubicBezTo>
                        <a:cubicBezTo>
                          <a:pt x="109" y="275"/>
                          <a:pt x="109" y="275"/>
                          <a:pt x="109" y="275"/>
                        </a:cubicBezTo>
                        <a:cubicBezTo>
                          <a:pt x="117" y="279"/>
                          <a:pt x="117" y="279"/>
                          <a:pt x="117" y="279"/>
                        </a:cubicBezTo>
                        <a:cubicBezTo>
                          <a:pt x="143" y="265"/>
                          <a:pt x="143" y="265"/>
                          <a:pt x="143" y="265"/>
                        </a:cubicBezTo>
                        <a:cubicBezTo>
                          <a:pt x="159" y="269"/>
                          <a:pt x="159" y="269"/>
                          <a:pt x="159" y="269"/>
                        </a:cubicBezTo>
                        <a:cubicBezTo>
                          <a:pt x="180" y="263"/>
                          <a:pt x="180" y="263"/>
                          <a:pt x="180" y="263"/>
                        </a:cubicBezTo>
                        <a:cubicBezTo>
                          <a:pt x="187" y="273"/>
                          <a:pt x="187" y="273"/>
                          <a:pt x="187" y="273"/>
                        </a:cubicBezTo>
                        <a:cubicBezTo>
                          <a:pt x="187" y="273"/>
                          <a:pt x="163" y="293"/>
                          <a:pt x="163" y="304"/>
                        </a:cubicBezTo>
                        <a:cubicBezTo>
                          <a:pt x="163" y="315"/>
                          <a:pt x="173" y="309"/>
                          <a:pt x="173" y="309"/>
                        </a:cubicBezTo>
                        <a:cubicBezTo>
                          <a:pt x="173" y="309"/>
                          <a:pt x="193" y="289"/>
                          <a:pt x="193" y="300"/>
                        </a:cubicBezTo>
                        <a:cubicBezTo>
                          <a:pt x="193" y="300"/>
                          <a:pt x="208" y="297"/>
                          <a:pt x="208" y="304"/>
                        </a:cubicBezTo>
                        <a:cubicBezTo>
                          <a:pt x="208" y="311"/>
                          <a:pt x="227" y="313"/>
                          <a:pt x="227" y="313"/>
                        </a:cubicBezTo>
                        <a:cubicBezTo>
                          <a:pt x="232" y="300"/>
                          <a:pt x="232" y="300"/>
                          <a:pt x="232" y="300"/>
                        </a:cubicBezTo>
                        <a:cubicBezTo>
                          <a:pt x="248" y="303"/>
                          <a:pt x="248" y="303"/>
                          <a:pt x="248" y="303"/>
                        </a:cubicBezTo>
                        <a:cubicBezTo>
                          <a:pt x="244" y="323"/>
                          <a:pt x="244" y="323"/>
                          <a:pt x="244" y="323"/>
                        </a:cubicBezTo>
                        <a:cubicBezTo>
                          <a:pt x="263" y="313"/>
                          <a:pt x="263" y="313"/>
                          <a:pt x="263" y="313"/>
                        </a:cubicBezTo>
                        <a:cubicBezTo>
                          <a:pt x="272" y="324"/>
                          <a:pt x="272" y="324"/>
                          <a:pt x="272" y="324"/>
                        </a:cubicBezTo>
                        <a:cubicBezTo>
                          <a:pt x="265" y="332"/>
                          <a:pt x="265" y="332"/>
                          <a:pt x="265" y="332"/>
                        </a:cubicBezTo>
                        <a:cubicBezTo>
                          <a:pt x="279" y="321"/>
                          <a:pt x="279" y="321"/>
                          <a:pt x="279" y="321"/>
                        </a:cubicBezTo>
                        <a:cubicBezTo>
                          <a:pt x="313" y="321"/>
                          <a:pt x="313" y="321"/>
                          <a:pt x="313" y="321"/>
                        </a:cubicBezTo>
                        <a:cubicBezTo>
                          <a:pt x="313" y="321"/>
                          <a:pt x="320" y="341"/>
                          <a:pt x="343" y="329"/>
                        </a:cubicBezTo>
                        <a:cubicBezTo>
                          <a:pt x="348" y="331"/>
                          <a:pt x="348" y="335"/>
                          <a:pt x="348" y="335"/>
                        </a:cubicBezTo>
                        <a:cubicBezTo>
                          <a:pt x="348" y="335"/>
                          <a:pt x="359" y="339"/>
                          <a:pt x="364" y="327"/>
                        </a:cubicBezTo>
                        <a:cubicBezTo>
                          <a:pt x="364" y="327"/>
                          <a:pt x="400" y="337"/>
                          <a:pt x="404" y="319"/>
                        </a:cubicBezTo>
                        <a:cubicBezTo>
                          <a:pt x="403" y="323"/>
                          <a:pt x="413" y="339"/>
                          <a:pt x="440" y="317"/>
                        </a:cubicBezTo>
                        <a:cubicBezTo>
                          <a:pt x="473" y="327"/>
                          <a:pt x="473" y="327"/>
                          <a:pt x="473" y="327"/>
                        </a:cubicBezTo>
                        <a:cubicBezTo>
                          <a:pt x="473" y="333"/>
                          <a:pt x="473" y="333"/>
                          <a:pt x="473" y="333"/>
                        </a:cubicBezTo>
                        <a:cubicBezTo>
                          <a:pt x="492" y="321"/>
                          <a:pt x="492" y="321"/>
                          <a:pt x="492" y="321"/>
                        </a:cubicBezTo>
                        <a:cubicBezTo>
                          <a:pt x="492" y="335"/>
                          <a:pt x="492" y="335"/>
                          <a:pt x="492" y="335"/>
                        </a:cubicBezTo>
                        <a:cubicBezTo>
                          <a:pt x="492" y="335"/>
                          <a:pt x="522" y="355"/>
                          <a:pt x="554" y="333"/>
                        </a:cubicBezTo>
                        <a:cubicBezTo>
                          <a:pt x="551" y="330"/>
                          <a:pt x="549" y="325"/>
                          <a:pt x="548" y="320"/>
                        </a:cubicBezTo>
                        <a:cubicBezTo>
                          <a:pt x="547" y="313"/>
                          <a:pt x="558" y="305"/>
                          <a:pt x="561" y="303"/>
                        </a:cubicBezTo>
                        <a:cubicBezTo>
                          <a:pt x="564" y="301"/>
                          <a:pt x="556" y="283"/>
                          <a:pt x="556" y="283"/>
                        </a:cubicBezTo>
                        <a:cubicBezTo>
                          <a:pt x="556" y="283"/>
                          <a:pt x="553" y="283"/>
                          <a:pt x="547" y="283"/>
                        </a:cubicBezTo>
                        <a:cubicBezTo>
                          <a:pt x="541" y="283"/>
                          <a:pt x="545" y="269"/>
                          <a:pt x="545" y="269"/>
                        </a:cubicBezTo>
                        <a:cubicBezTo>
                          <a:pt x="547" y="260"/>
                          <a:pt x="547" y="260"/>
                          <a:pt x="547" y="260"/>
                        </a:cubicBezTo>
                        <a:cubicBezTo>
                          <a:pt x="547" y="260"/>
                          <a:pt x="558" y="246"/>
                          <a:pt x="559" y="243"/>
                        </a:cubicBezTo>
                        <a:cubicBezTo>
                          <a:pt x="560" y="240"/>
                          <a:pt x="554" y="236"/>
                          <a:pt x="554" y="236"/>
                        </a:cubicBezTo>
                        <a:cubicBezTo>
                          <a:pt x="543" y="243"/>
                          <a:pt x="543" y="243"/>
                          <a:pt x="543" y="243"/>
                        </a:cubicBezTo>
                        <a:cubicBezTo>
                          <a:pt x="542" y="233"/>
                          <a:pt x="542" y="233"/>
                          <a:pt x="542" y="233"/>
                        </a:cubicBezTo>
                        <a:cubicBezTo>
                          <a:pt x="517" y="215"/>
                          <a:pt x="517" y="215"/>
                          <a:pt x="517" y="215"/>
                        </a:cubicBezTo>
                        <a:cubicBezTo>
                          <a:pt x="514" y="219"/>
                          <a:pt x="514" y="219"/>
                          <a:pt x="514" y="219"/>
                        </a:cubicBezTo>
                        <a:cubicBezTo>
                          <a:pt x="500" y="219"/>
                          <a:pt x="500" y="219"/>
                          <a:pt x="500" y="219"/>
                        </a:cubicBezTo>
                        <a:cubicBezTo>
                          <a:pt x="493" y="225"/>
                          <a:pt x="493" y="225"/>
                          <a:pt x="493" y="225"/>
                        </a:cubicBezTo>
                        <a:cubicBezTo>
                          <a:pt x="486" y="217"/>
                          <a:pt x="486" y="217"/>
                          <a:pt x="486" y="217"/>
                        </a:cubicBezTo>
                        <a:cubicBezTo>
                          <a:pt x="460" y="216"/>
                          <a:pt x="460" y="216"/>
                          <a:pt x="460" y="216"/>
                        </a:cubicBezTo>
                        <a:cubicBezTo>
                          <a:pt x="452" y="228"/>
                          <a:pt x="452" y="228"/>
                          <a:pt x="452" y="228"/>
                        </a:cubicBezTo>
                        <a:cubicBezTo>
                          <a:pt x="443" y="216"/>
                          <a:pt x="443" y="216"/>
                          <a:pt x="443" y="216"/>
                        </a:cubicBezTo>
                        <a:cubicBezTo>
                          <a:pt x="442" y="201"/>
                          <a:pt x="442" y="201"/>
                          <a:pt x="442" y="201"/>
                        </a:cubicBezTo>
                        <a:cubicBezTo>
                          <a:pt x="449" y="195"/>
                          <a:pt x="449" y="195"/>
                          <a:pt x="449" y="195"/>
                        </a:cubicBezTo>
                        <a:cubicBezTo>
                          <a:pt x="436" y="174"/>
                          <a:pt x="436" y="174"/>
                          <a:pt x="436" y="174"/>
                        </a:cubicBezTo>
                        <a:cubicBezTo>
                          <a:pt x="410" y="172"/>
                          <a:pt x="410" y="172"/>
                          <a:pt x="410" y="172"/>
                        </a:cubicBezTo>
                        <a:cubicBezTo>
                          <a:pt x="409" y="165"/>
                          <a:pt x="409" y="165"/>
                          <a:pt x="409" y="165"/>
                        </a:cubicBezTo>
                        <a:cubicBezTo>
                          <a:pt x="409" y="165"/>
                          <a:pt x="390" y="174"/>
                          <a:pt x="383" y="174"/>
                        </a:cubicBezTo>
                        <a:cubicBezTo>
                          <a:pt x="376" y="174"/>
                          <a:pt x="362" y="157"/>
                          <a:pt x="362" y="157"/>
                        </a:cubicBezTo>
                        <a:cubicBezTo>
                          <a:pt x="362" y="141"/>
                          <a:pt x="362" y="141"/>
                          <a:pt x="362" y="141"/>
                        </a:cubicBezTo>
                        <a:cubicBezTo>
                          <a:pt x="353" y="124"/>
                          <a:pt x="353" y="124"/>
                          <a:pt x="353" y="124"/>
                        </a:cubicBezTo>
                        <a:cubicBezTo>
                          <a:pt x="353" y="124"/>
                          <a:pt x="360" y="119"/>
                          <a:pt x="359" y="116"/>
                        </a:cubicBezTo>
                        <a:cubicBezTo>
                          <a:pt x="358" y="113"/>
                          <a:pt x="350" y="110"/>
                          <a:pt x="350" y="110"/>
                        </a:cubicBezTo>
                        <a:cubicBezTo>
                          <a:pt x="335" y="85"/>
                          <a:pt x="335" y="85"/>
                          <a:pt x="335" y="85"/>
                        </a:cubicBezTo>
                        <a:cubicBezTo>
                          <a:pt x="325" y="90"/>
                          <a:pt x="325" y="90"/>
                          <a:pt x="325" y="90"/>
                        </a:cubicBezTo>
                        <a:cubicBezTo>
                          <a:pt x="325" y="90"/>
                          <a:pt x="291" y="99"/>
                          <a:pt x="291" y="106"/>
                        </a:cubicBezTo>
                        <a:cubicBezTo>
                          <a:pt x="291" y="113"/>
                          <a:pt x="283" y="114"/>
                          <a:pt x="283" y="114"/>
                        </a:cubicBezTo>
                        <a:cubicBezTo>
                          <a:pt x="273" y="106"/>
                          <a:pt x="273" y="106"/>
                          <a:pt x="273" y="106"/>
                        </a:cubicBezTo>
                        <a:cubicBezTo>
                          <a:pt x="262" y="106"/>
                          <a:pt x="262" y="106"/>
                          <a:pt x="262" y="106"/>
                        </a:cubicBezTo>
                        <a:cubicBezTo>
                          <a:pt x="262" y="106"/>
                          <a:pt x="253" y="99"/>
                          <a:pt x="253" y="95"/>
                        </a:cubicBezTo>
                        <a:cubicBezTo>
                          <a:pt x="253" y="91"/>
                          <a:pt x="245" y="76"/>
                          <a:pt x="245" y="76"/>
                        </a:cubicBezTo>
                        <a:cubicBezTo>
                          <a:pt x="231" y="77"/>
                          <a:pt x="231" y="77"/>
                          <a:pt x="231" y="77"/>
                        </a:cubicBezTo>
                        <a:cubicBezTo>
                          <a:pt x="221" y="67"/>
                          <a:pt x="221" y="67"/>
                          <a:pt x="221" y="67"/>
                        </a:cubicBezTo>
                        <a:cubicBezTo>
                          <a:pt x="223" y="56"/>
                          <a:pt x="223" y="56"/>
                          <a:pt x="223" y="56"/>
                        </a:cubicBezTo>
                        <a:cubicBezTo>
                          <a:pt x="223" y="56"/>
                          <a:pt x="221" y="42"/>
                          <a:pt x="224" y="42"/>
                        </a:cubicBezTo>
                        <a:cubicBezTo>
                          <a:pt x="227" y="42"/>
                          <a:pt x="221" y="27"/>
                          <a:pt x="221" y="27"/>
                        </a:cubicBezTo>
                        <a:cubicBezTo>
                          <a:pt x="221" y="27"/>
                          <a:pt x="212" y="15"/>
                          <a:pt x="212" y="9"/>
                        </a:cubicBezTo>
                        <a:cubicBezTo>
                          <a:pt x="212" y="3"/>
                          <a:pt x="207" y="0"/>
                          <a:pt x="207" y="0"/>
                        </a:cubicBezTo>
                        <a:cubicBezTo>
                          <a:pt x="207" y="0"/>
                          <a:pt x="174" y="6"/>
                          <a:pt x="157" y="7"/>
                        </a:cubicBezTo>
                        <a:cubicBezTo>
                          <a:pt x="140" y="8"/>
                          <a:pt x="143" y="8"/>
                          <a:pt x="115" y="17"/>
                        </a:cubicBezTo>
                        <a:cubicBezTo>
                          <a:pt x="87" y="26"/>
                          <a:pt x="75" y="27"/>
                          <a:pt x="54" y="31"/>
                        </a:cubicBezTo>
                        <a:cubicBezTo>
                          <a:pt x="33" y="35"/>
                          <a:pt x="26" y="54"/>
                          <a:pt x="26" y="54"/>
                        </a:cubicBezTo>
                        <a:cubicBezTo>
                          <a:pt x="7" y="57"/>
                          <a:pt x="7" y="57"/>
                          <a:pt x="7" y="57"/>
                        </a:cubicBezTo>
                        <a:cubicBezTo>
                          <a:pt x="7" y="57"/>
                          <a:pt x="16" y="74"/>
                          <a:pt x="15" y="87"/>
                        </a:cubicBezTo>
                        <a:cubicBezTo>
                          <a:pt x="14" y="100"/>
                          <a:pt x="5" y="100"/>
                          <a:pt x="5" y="106"/>
                        </a:cubicBezTo>
                        <a:cubicBezTo>
                          <a:pt x="5" y="112"/>
                          <a:pt x="14" y="157"/>
                          <a:pt x="14" y="157"/>
                        </a:cubicBezTo>
                        <a:cubicBezTo>
                          <a:pt x="4" y="192"/>
                          <a:pt x="4" y="192"/>
                          <a:pt x="4" y="192"/>
                        </a:cubicBezTo>
                        <a:cubicBezTo>
                          <a:pt x="4" y="192"/>
                          <a:pt x="7" y="201"/>
                          <a:pt x="12" y="203"/>
                        </a:cubicBezTo>
                        <a:cubicBezTo>
                          <a:pt x="4" y="203"/>
                          <a:pt x="0" y="217"/>
                          <a:pt x="1" y="228"/>
                        </a:cubicBezTo>
                        <a:cubicBezTo>
                          <a:pt x="2" y="239"/>
                          <a:pt x="9" y="232"/>
                          <a:pt x="9" y="232"/>
                        </a:cubicBezTo>
                        <a:cubicBezTo>
                          <a:pt x="9" y="232"/>
                          <a:pt x="10" y="233"/>
                          <a:pt x="12" y="235"/>
                        </a:cubicBezTo>
                        <a:cubicBezTo>
                          <a:pt x="21" y="231"/>
                          <a:pt x="35" y="224"/>
                          <a:pt x="39" y="224"/>
                        </a:cubicBezTo>
                        <a:cubicBezTo>
                          <a:pt x="44" y="224"/>
                          <a:pt x="65" y="237"/>
                          <a:pt x="65" y="23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44" name="Picardie" descr="© INSCALE GmbH, 05.05.2010&#10;http://www.presentationload.com/">
                    <a:extLst>
                      <a:ext uri="{FF2B5EF4-FFF2-40B4-BE49-F238E27FC236}">
                        <a16:creationId xmlns:a16="http://schemas.microsoft.com/office/drawing/2014/main" id="{FFCC7969-1C69-47CD-AFD6-7BC45A524529}"/>
                      </a:ext>
                    </a:extLst>
                  </p:cNvPr>
                  <p:cNvSpPr>
                    <a:spLocks/>
                  </p:cNvSpPr>
                  <p:nvPr/>
                </p:nvSpPr>
                <p:spPr bwMode="gray">
                  <a:xfrm>
                    <a:off x="1552" y="410"/>
                    <a:ext cx="644" cy="519"/>
                  </a:xfrm>
                  <a:custGeom>
                    <a:avLst/>
                    <a:gdLst/>
                    <a:ahLst/>
                    <a:cxnLst>
                      <a:cxn ang="0">
                        <a:pos x="17" y="99"/>
                      </a:cxn>
                      <a:cxn ang="0">
                        <a:pos x="85" y="189"/>
                      </a:cxn>
                      <a:cxn ang="0">
                        <a:pos x="79" y="213"/>
                      </a:cxn>
                      <a:cxn ang="0">
                        <a:pos x="79" y="264"/>
                      </a:cxn>
                      <a:cxn ang="0">
                        <a:pos x="83" y="275"/>
                      </a:cxn>
                      <a:cxn ang="0">
                        <a:pos x="84" y="355"/>
                      </a:cxn>
                      <a:cxn ang="0">
                        <a:pos x="76" y="379"/>
                      </a:cxn>
                      <a:cxn ang="0">
                        <a:pos x="144" y="371"/>
                      </a:cxn>
                      <a:cxn ang="0">
                        <a:pos x="160" y="373"/>
                      </a:cxn>
                      <a:cxn ang="0">
                        <a:pos x="173" y="376"/>
                      </a:cxn>
                      <a:cxn ang="0">
                        <a:pos x="196" y="375"/>
                      </a:cxn>
                      <a:cxn ang="0">
                        <a:pos x="196" y="375"/>
                      </a:cxn>
                      <a:cxn ang="0">
                        <a:pos x="232" y="403"/>
                      </a:cxn>
                      <a:cxn ang="0">
                        <a:pos x="251" y="409"/>
                      </a:cxn>
                      <a:cxn ang="0">
                        <a:pos x="280" y="412"/>
                      </a:cxn>
                      <a:cxn ang="0">
                        <a:pos x="311" y="413"/>
                      </a:cxn>
                      <a:cxn ang="0">
                        <a:pos x="356" y="397"/>
                      </a:cxn>
                      <a:cxn ang="0">
                        <a:pos x="392" y="451"/>
                      </a:cxn>
                      <a:cxn ang="0">
                        <a:pos x="407" y="457"/>
                      </a:cxn>
                      <a:cxn ang="0">
                        <a:pos x="421" y="476"/>
                      </a:cxn>
                      <a:cxn ang="0">
                        <a:pos x="451" y="461"/>
                      </a:cxn>
                      <a:cxn ang="0">
                        <a:pos x="480" y="424"/>
                      </a:cxn>
                      <a:cxn ang="0">
                        <a:pos x="463" y="415"/>
                      </a:cxn>
                      <a:cxn ang="0">
                        <a:pos x="465" y="391"/>
                      </a:cxn>
                      <a:cxn ang="0">
                        <a:pos x="473" y="364"/>
                      </a:cxn>
                      <a:cxn ang="0">
                        <a:pos x="473" y="333"/>
                      </a:cxn>
                      <a:cxn ang="0">
                        <a:pos x="517" y="309"/>
                      </a:cxn>
                      <a:cxn ang="0">
                        <a:pos x="552" y="316"/>
                      </a:cxn>
                      <a:cxn ang="0">
                        <a:pos x="560" y="260"/>
                      </a:cxn>
                      <a:cxn ang="0">
                        <a:pos x="564" y="229"/>
                      </a:cxn>
                      <a:cxn ang="0">
                        <a:pos x="593" y="187"/>
                      </a:cxn>
                      <a:cxn ang="0">
                        <a:pos x="592" y="143"/>
                      </a:cxn>
                      <a:cxn ang="0">
                        <a:pos x="536" y="111"/>
                      </a:cxn>
                      <a:cxn ang="0">
                        <a:pos x="517" y="109"/>
                      </a:cxn>
                      <a:cxn ang="0">
                        <a:pos x="484" y="93"/>
                      </a:cxn>
                      <a:cxn ang="0">
                        <a:pos x="408" y="103"/>
                      </a:cxn>
                      <a:cxn ang="0">
                        <a:pos x="387" y="105"/>
                      </a:cxn>
                      <a:cxn ang="0">
                        <a:pos x="323" y="97"/>
                      </a:cxn>
                      <a:cxn ang="0">
                        <a:pos x="316" y="100"/>
                      </a:cxn>
                      <a:cxn ang="0">
                        <a:pos x="288" y="99"/>
                      </a:cxn>
                      <a:cxn ang="0">
                        <a:pos x="276" y="76"/>
                      </a:cxn>
                      <a:cxn ang="0">
                        <a:pos x="252" y="80"/>
                      </a:cxn>
                      <a:cxn ang="0">
                        <a:pos x="217" y="85"/>
                      </a:cxn>
                      <a:cxn ang="0">
                        <a:pos x="231" y="49"/>
                      </a:cxn>
                      <a:cxn ang="0">
                        <a:pos x="203" y="45"/>
                      </a:cxn>
                      <a:cxn ang="0">
                        <a:pos x="161" y="55"/>
                      </a:cxn>
                      <a:cxn ang="0">
                        <a:pos x="145" y="33"/>
                      </a:cxn>
                      <a:cxn ang="0">
                        <a:pos x="121" y="12"/>
                      </a:cxn>
                      <a:cxn ang="0">
                        <a:pos x="83" y="0"/>
                      </a:cxn>
                      <a:cxn ang="0">
                        <a:pos x="63" y="30"/>
                      </a:cxn>
                      <a:cxn ang="0">
                        <a:pos x="25" y="60"/>
                      </a:cxn>
                      <a:cxn ang="0">
                        <a:pos x="5" y="92"/>
                      </a:cxn>
                    </a:cxnLst>
                    <a:rect l="0" t="0" r="r" b="b"/>
                    <a:pathLst>
                      <a:path w="597" h="481">
                        <a:moveTo>
                          <a:pt x="17" y="95"/>
                        </a:moveTo>
                        <a:cubicBezTo>
                          <a:pt x="17" y="99"/>
                          <a:pt x="17" y="99"/>
                          <a:pt x="17" y="99"/>
                        </a:cubicBezTo>
                        <a:cubicBezTo>
                          <a:pt x="17" y="99"/>
                          <a:pt x="43" y="136"/>
                          <a:pt x="61" y="139"/>
                        </a:cubicBezTo>
                        <a:cubicBezTo>
                          <a:pt x="85" y="189"/>
                          <a:pt x="85" y="189"/>
                          <a:pt x="85" y="189"/>
                        </a:cubicBezTo>
                        <a:cubicBezTo>
                          <a:pt x="85" y="189"/>
                          <a:pt x="64" y="211"/>
                          <a:pt x="68" y="212"/>
                        </a:cubicBezTo>
                        <a:cubicBezTo>
                          <a:pt x="72" y="213"/>
                          <a:pt x="79" y="213"/>
                          <a:pt x="79" y="213"/>
                        </a:cubicBezTo>
                        <a:cubicBezTo>
                          <a:pt x="69" y="244"/>
                          <a:pt x="69" y="244"/>
                          <a:pt x="69" y="244"/>
                        </a:cubicBezTo>
                        <a:cubicBezTo>
                          <a:pt x="79" y="264"/>
                          <a:pt x="79" y="264"/>
                          <a:pt x="79" y="264"/>
                        </a:cubicBezTo>
                        <a:cubicBezTo>
                          <a:pt x="73" y="276"/>
                          <a:pt x="73" y="276"/>
                          <a:pt x="73" y="276"/>
                        </a:cubicBezTo>
                        <a:cubicBezTo>
                          <a:pt x="83" y="275"/>
                          <a:pt x="83" y="275"/>
                          <a:pt x="83" y="275"/>
                        </a:cubicBezTo>
                        <a:cubicBezTo>
                          <a:pt x="73" y="303"/>
                          <a:pt x="73" y="303"/>
                          <a:pt x="73" y="303"/>
                        </a:cubicBezTo>
                        <a:cubicBezTo>
                          <a:pt x="73" y="303"/>
                          <a:pt x="85" y="340"/>
                          <a:pt x="84" y="355"/>
                        </a:cubicBezTo>
                        <a:cubicBezTo>
                          <a:pt x="65" y="349"/>
                          <a:pt x="65" y="349"/>
                          <a:pt x="65" y="349"/>
                        </a:cubicBezTo>
                        <a:cubicBezTo>
                          <a:pt x="76" y="379"/>
                          <a:pt x="76" y="379"/>
                          <a:pt x="76" y="379"/>
                        </a:cubicBezTo>
                        <a:cubicBezTo>
                          <a:pt x="128" y="375"/>
                          <a:pt x="128" y="375"/>
                          <a:pt x="128" y="375"/>
                        </a:cubicBezTo>
                        <a:cubicBezTo>
                          <a:pt x="144" y="371"/>
                          <a:pt x="144" y="371"/>
                          <a:pt x="144" y="371"/>
                        </a:cubicBezTo>
                        <a:cubicBezTo>
                          <a:pt x="151" y="376"/>
                          <a:pt x="151" y="376"/>
                          <a:pt x="151" y="376"/>
                        </a:cubicBezTo>
                        <a:cubicBezTo>
                          <a:pt x="160" y="373"/>
                          <a:pt x="160" y="373"/>
                          <a:pt x="160" y="373"/>
                        </a:cubicBezTo>
                        <a:cubicBezTo>
                          <a:pt x="169" y="383"/>
                          <a:pt x="169" y="383"/>
                          <a:pt x="169" y="383"/>
                        </a:cubicBezTo>
                        <a:cubicBezTo>
                          <a:pt x="173" y="376"/>
                          <a:pt x="173" y="376"/>
                          <a:pt x="173" y="376"/>
                        </a:cubicBezTo>
                        <a:cubicBezTo>
                          <a:pt x="177" y="384"/>
                          <a:pt x="177" y="384"/>
                          <a:pt x="177" y="384"/>
                        </a:cubicBezTo>
                        <a:cubicBezTo>
                          <a:pt x="196" y="375"/>
                          <a:pt x="196" y="375"/>
                          <a:pt x="196" y="375"/>
                        </a:cubicBezTo>
                        <a:cubicBezTo>
                          <a:pt x="197" y="375"/>
                          <a:pt x="197" y="375"/>
                          <a:pt x="197" y="375"/>
                        </a:cubicBezTo>
                        <a:cubicBezTo>
                          <a:pt x="196" y="375"/>
                          <a:pt x="196" y="375"/>
                          <a:pt x="196" y="375"/>
                        </a:cubicBezTo>
                        <a:cubicBezTo>
                          <a:pt x="194" y="376"/>
                          <a:pt x="190" y="380"/>
                          <a:pt x="203" y="383"/>
                        </a:cubicBezTo>
                        <a:cubicBezTo>
                          <a:pt x="219" y="387"/>
                          <a:pt x="237" y="399"/>
                          <a:pt x="232" y="403"/>
                        </a:cubicBezTo>
                        <a:cubicBezTo>
                          <a:pt x="227" y="407"/>
                          <a:pt x="245" y="399"/>
                          <a:pt x="245" y="399"/>
                        </a:cubicBezTo>
                        <a:cubicBezTo>
                          <a:pt x="251" y="409"/>
                          <a:pt x="251" y="409"/>
                          <a:pt x="251" y="409"/>
                        </a:cubicBezTo>
                        <a:cubicBezTo>
                          <a:pt x="251" y="409"/>
                          <a:pt x="253" y="397"/>
                          <a:pt x="260" y="401"/>
                        </a:cubicBezTo>
                        <a:cubicBezTo>
                          <a:pt x="267" y="405"/>
                          <a:pt x="272" y="409"/>
                          <a:pt x="280" y="412"/>
                        </a:cubicBezTo>
                        <a:cubicBezTo>
                          <a:pt x="288" y="415"/>
                          <a:pt x="297" y="405"/>
                          <a:pt x="297" y="405"/>
                        </a:cubicBezTo>
                        <a:cubicBezTo>
                          <a:pt x="311" y="413"/>
                          <a:pt x="311" y="413"/>
                          <a:pt x="311" y="413"/>
                        </a:cubicBezTo>
                        <a:cubicBezTo>
                          <a:pt x="349" y="403"/>
                          <a:pt x="349" y="403"/>
                          <a:pt x="349" y="403"/>
                        </a:cubicBezTo>
                        <a:cubicBezTo>
                          <a:pt x="356" y="397"/>
                          <a:pt x="356" y="397"/>
                          <a:pt x="356" y="397"/>
                        </a:cubicBezTo>
                        <a:cubicBezTo>
                          <a:pt x="356" y="397"/>
                          <a:pt x="380" y="399"/>
                          <a:pt x="376" y="431"/>
                        </a:cubicBezTo>
                        <a:cubicBezTo>
                          <a:pt x="377" y="436"/>
                          <a:pt x="393" y="443"/>
                          <a:pt x="392" y="451"/>
                        </a:cubicBezTo>
                        <a:cubicBezTo>
                          <a:pt x="391" y="459"/>
                          <a:pt x="404" y="449"/>
                          <a:pt x="404" y="449"/>
                        </a:cubicBezTo>
                        <a:cubicBezTo>
                          <a:pt x="407" y="457"/>
                          <a:pt x="407" y="457"/>
                          <a:pt x="407" y="457"/>
                        </a:cubicBezTo>
                        <a:cubicBezTo>
                          <a:pt x="417" y="457"/>
                          <a:pt x="417" y="457"/>
                          <a:pt x="417" y="457"/>
                        </a:cubicBezTo>
                        <a:cubicBezTo>
                          <a:pt x="417" y="457"/>
                          <a:pt x="417" y="476"/>
                          <a:pt x="421" y="476"/>
                        </a:cubicBezTo>
                        <a:cubicBezTo>
                          <a:pt x="425" y="476"/>
                          <a:pt x="441" y="481"/>
                          <a:pt x="441" y="481"/>
                        </a:cubicBezTo>
                        <a:cubicBezTo>
                          <a:pt x="451" y="461"/>
                          <a:pt x="451" y="461"/>
                          <a:pt x="451" y="461"/>
                        </a:cubicBezTo>
                        <a:cubicBezTo>
                          <a:pt x="457" y="459"/>
                          <a:pt x="457" y="459"/>
                          <a:pt x="457" y="459"/>
                        </a:cubicBezTo>
                        <a:cubicBezTo>
                          <a:pt x="457" y="459"/>
                          <a:pt x="487" y="429"/>
                          <a:pt x="480" y="424"/>
                        </a:cubicBezTo>
                        <a:cubicBezTo>
                          <a:pt x="473" y="419"/>
                          <a:pt x="461" y="420"/>
                          <a:pt x="461" y="420"/>
                        </a:cubicBezTo>
                        <a:cubicBezTo>
                          <a:pt x="463" y="415"/>
                          <a:pt x="463" y="415"/>
                          <a:pt x="463" y="415"/>
                        </a:cubicBezTo>
                        <a:cubicBezTo>
                          <a:pt x="471" y="408"/>
                          <a:pt x="471" y="408"/>
                          <a:pt x="471" y="408"/>
                        </a:cubicBezTo>
                        <a:cubicBezTo>
                          <a:pt x="471" y="408"/>
                          <a:pt x="463" y="396"/>
                          <a:pt x="465" y="391"/>
                        </a:cubicBezTo>
                        <a:cubicBezTo>
                          <a:pt x="468" y="385"/>
                          <a:pt x="492" y="380"/>
                          <a:pt x="492" y="380"/>
                        </a:cubicBezTo>
                        <a:cubicBezTo>
                          <a:pt x="473" y="364"/>
                          <a:pt x="473" y="364"/>
                          <a:pt x="473" y="364"/>
                        </a:cubicBezTo>
                        <a:cubicBezTo>
                          <a:pt x="479" y="353"/>
                          <a:pt x="479" y="353"/>
                          <a:pt x="479" y="353"/>
                        </a:cubicBezTo>
                        <a:cubicBezTo>
                          <a:pt x="473" y="333"/>
                          <a:pt x="473" y="333"/>
                          <a:pt x="473" y="333"/>
                        </a:cubicBezTo>
                        <a:cubicBezTo>
                          <a:pt x="473" y="333"/>
                          <a:pt x="495" y="315"/>
                          <a:pt x="512" y="320"/>
                        </a:cubicBezTo>
                        <a:cubicBezTo>
                          <a:pt x="516" y="319"/>
                          <a:pt x="517" y="309"/>
                          <a:pt x="517" y="309"/>
                        </a:cubicBezTo>
                        <a:cubicBezTo>
                          <a:pt x="528" y="303"/>
                          <a:pt x="528" y="303"/>
                          <a:pt x="528" y="303"/>
                        </a:cubicBezTo>
                        <a:cubicBezTo>
                          <a:pt x="528" y="303"/>
                          <a:pt x="547" y="316"/>
                          <a:pt x="552" y="316"/>
                        </a:cubicBezTo>
                        <a:cubicBezTo>
                          <a:pt x="557" y="316"/>
                          <a:pt x="552" y="267"/>
                          <a:pt x="552" y="267"/>
                        </a:cubicBezTo>
                        <a:cubicBezTo>
                          <a:pt x="560" y="260"/>
                          <a:pt x="560" y="260"/>
                          <a:pt x="560" y="260"/>
                        </a:cubicBezTo>
                        <a:cubicBezTo>
                          <a:pt x="548" y="231"/>
                          <a:pt x="548" y="231"/>
                          <a:pt x="548" y="231"/>
                        </a:cubicBezTo>
                        <a:cubicBezTo>
                          <a:pt x="564" y="229"/>
                          <a:pt x="564" y="229"/>
                          <a:pt x="564" y="229"/>
                        </a:cubicBezTo>
                        <a:cubicBezTo>
                          <a:pt x="571" y="215"/>
                          <a:pt x="571" y="215"/>
                          <a:pt x="571" y="215"/>
                        </a:cubicBezTo>
                        <a:cubicBezTo>
                          <a:pt x="593" y="187"/>
                          <a:pt x="593" y="187"/>
                          <a:pt x="593" y="187"/>
                        </a:cubicBezTo>
                        <a:cubicBezTo>
                          <a:pt x="587" y="180"/>
                          <a:pt x="587" y="180"/>
                          <a:pt x="587" y="180"/>
                        </a:cubicBezTo>
                        <a:cubicBezTo>
                          <a:pt x="592" y="143"/>
                          <a:pt x="592" y="143"/>
                          <a:pt x="592" y="143"/>
                        </a:cubicBezTo>
                        <a:cubicBezTo>
                          <a:pt x="592" y="143"/>
                          <a:pt x="583" y="130"/>
                          <a:pt x="597" y="110"/>
                        </a:cubicBezTo>
                        <a:cubicBezTo>
                          <a:pt x="566" y="131"/>
                          <a:pt x="536" y="111"/>
                          <a:pt x="536" y="111"/>
                        </a:cubicBezTo>
                        <a:cubicBezTo>
                          <a:pt x="536" y="97"/>
                          <a:pt x="536" y="97"/>
                          <a:pt x="536" y="97"/>
                        </a:cubicBezTo>
                        <a:cubicBezTo>
                          <a:pt x="517" y="109"/>
                          <a:pt x="517" y="109"/>
                          <a:pt x="517" y="109"/>
                        </a:cubicBezTo>
                        <a:cubicBezTo>
                          <a:pt x="517" y="103"/>
                          <a:pt x="517" y="103"/>
                          <a:pt x="517" y="103"/>
                        </a:cubicBezTo>
                        <a:cubicBezTo>
                          <a:pt x="484" y="93"/>
                          <a:pt x="484" y="93"/>
                          <a:pt x="484" y="93"/>
                        </a:cubicBezTo>
                        <a:cubicBezTo>
                          <a:pt x="457" y="115"/>
                          <a:pt x="447" y="99"/>
                          <a:pt x="448" y="95"/>
                        </a:cubicBezTo>
                        <a:cubicBezTo>
                          <a:pt x="444" y="113"/>
                          <a:pt x="408" y="103"/>
                          <a:pt x="408" y="103"/>
                        </a:cubicBezTo>
                        <a:cubicBezTo>
                          <a:pt x="403" y="115"/>
                          <a:pt x="392" y="111"/>
                          <a:pt x="392" y="111"/>
                        </a:cubicBezTo>
                        <a:cubicBezTo>
                          <a:pt x="392" y="111"/>
                          <a:pt x="392" y="107"/>
                          <a:pt x="387" y="105"/>
                        </a:cubicBezTo>
                        <a:cubicBezTo>
                          <a:pt x="364" y="117"/>
                          <a:pt x="357" y="97"/>
                          <a:pt x="357" y="97"/>
                        </a:cubicBezTo>
                        <a:cubicBezTo>
                          <a:pt x="323" y="97"/>
                          <a:pt x="323" y="97"/>
                          <a:pt x="323" y="97"/>
                        </a:cubicBezTo>
                        <a:cubicBezTo>
                          <a:pt x="309" y="108"/>
                          <a:pt x="309" y="108"/>
                          <a:pt x="309" y="108"/>
                        </a:cubicBezTo>
                        <a:cubicBezTo>
                          <a:pt x="316" y="100"/>
                          <a:pt x="316" y="100"/>
                          <a:pt x="316" y="100"/>
                        </a:cubicBezTo>
                        <a:cubicBezTo>
                          <a:pt x="307" y="89"/>
                          <a:pt x="307" y="89"/>
                          <a:pt x="307" y="89"/>
                        </a:cubicBezTo>
                        <a:cubicBezTo>
                          <a:pt x="288" y="99"/>
                          <a:pt x="288" y="99"/>
                          <a:pt x="288" y="99"/>
                        </a:cubicBezTo>
                        <a:cubicBezTo>
                          <a:pt x="292" y="79"/>
                          <a:pt x="292" y="79"/>
                          <a:pt x="292" y="79"/>
                        </a:cubicBezTo>
                        <a:cubicBezTo>
                          <a:pt x="276" y="76"/>
                          <a:pt x="276" y="76"/>
                          <a:pt x="276" y="76"/>
                        </a:cubicBezTo>
                        <a:cubicBezTo>
                          <a:pt x="271" y="89"/>
                          <a:pt x="271" y="89"/>
                          <a:pt x="271" y="89"/>
                        </a:cubicBezTo>
                        <a:cubicBezTo>
                          <a:pt x="271" y="89"/>
                          <a:pt x="252" y="87"/>
                          <a:pt x="252" y="80"/>
                        </a:cubicBezTo>
                        <a:cubicBezTo>
                          <a:pt x="252" y="73"/>
                          <a:pt x="237" y="76"/>
                          <a:pt x="237" y="76"/>
                        </a:cubicBezTo>
                        <a:cubicBezTo>
                          <a:pt x="237" y="65"/>
                          <a:pt x="217" y="85"/>
                          <a:pt x="217" y="85"/>
                        </a:cubicBezTo>
                        <a:cubicBezTo>
                          <a:pt x="217" y="85"/>
                          <a:pt x="207" y="91"/>
                          <a:pt x="207" y="80"/>
                        </a:cubicBezTo>
                        <a:cubicBezTo>
                          <a:pt x="207" y="69"/>
                          <a:pt x="231" y="49"/>
                          <a:pt x="231" y="49"/>
                        </a:cubicBezTo>
                        <a:cubicBezTo>
                          <a:pt x="224" y="39"/>
                          <a:pt x="224" y="39"/>
                          <a:pt x="224" y="39"/>
                        </a:cubicBezTo>
                        <a:cubicBezTo>
                          <a:pt x="203" y="45"/>
                          <a:pt x="203" y="45"/>
                          <a:pt x="203" y="45"/>
                        </a:cubicBezTo>
                        <a:cubicBezTo>
                          <a:pt x="187" y="41"/>
                          <a:pt x="187" y="41"/>
                          <a:pt x="187" y="41"/>
                        </a:cubicBezTo>
                        <a:cubicBezTo>
                          <a:pt x="161" y="55"/>
                          <a:pt x="161" y="55"/>
                          <a:pt x="161" y="55"/>
                        </a:cubicBezTo>
                        <a:cubicBezTo>
                          <a:pt x="153" y="51"/>
                          <a:pt x="153" y="51"/>
                          <a:pt x="153" y="51"/>
                        </a:cubicBezTo>
                        <a:cubicBezTo>
                          <a:pt x="145" y="33"/>
                          <a:pt x="145" y="33"/>
                          <a:pt x="145" y="33"/>
                        </a:cubicBezTo>
                        <a:cubicBezTo>
                          <a:pt x="123" y="23"/>
                          <a:pt x="123" y="23"/>
                          <a:pt x="123" y="23"/>
                        </a:cubicBezTo>
                        <a:cubicBezTo>
                          <a:pt x="121" y="12"/>
                          <a:pt x="121" y="12"/>
                          <a:pt x="121" y="12"/>
                        </a:cubicBezTo>
                        <a:cubicBezTo>
                          <a:pt x="109" y="13"/>
                          <a:pt x="109" y="13"/>
                          <a:pt x="109" y="13"/>
                        </a:cubicBezTo>
                        <a:cubicBezTo>
                          <a:pt x="109" y="13"/>
                          <a:pt x="88" y="0"/>
                          <a:pt x="83" y="0"/>
                        </a:cubicBezTo>
                        <a:cubicBezTo>
                          <a:pt x="79" y="0"/>
                          <a:pt x="65" y="7"/>
                          <a:pt x="56" y="11"/>
                        </a:cubicBezTo>
                        <a:cubicBezTo>
                          <a:pt x="60" y="16"/>
                          <a:pt x="69" y="27"/>
                          <a:pt x="63" y="30"/>
                        </a:cubicBezTo>
                        <a:cubicBezTo>
                          <a:pt x="55" y="34"/>
                          <a:pt x="45" y="21"/>
                          <a:pt x="45" y="21"/>
                        </a:cubicBezTo>
                        <a:cubicBezTo>
                          <a:pt x="35" y="27"/>
                          <a:pt x="25" y="60"/>
                          <a:pt x="25" y="60"/>
                        </a:cubicBezTo>
                        <a:cubicBezTo>
                          <a:pt x="25" y="60"/>
                          <a:pt x="14" y="68"/>
                          <a:pt x="0" y="77"/>
                        </a:cubicBezTo>
                        <a:cubicBezTo>
                          <a:pt x="5" y="92"/>
                          <a:pt x="5" y="92"/>
                          <a:pt x="5" y="92"/>
                        </a:cubicBezTo>
                        <a:lnTo>
                          <a:pt x="17" y="95"/>
                        </a:ln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45" name="Haute Normandie" descr="© INSCALE GmbH, 05.05.2010&#10;http://www.presentationload.com/">
                    <a:extLst>
                      <a:ext uri="{FF2B5EF4-FFF2-40B4-BE49-F238E27FC236}">
                        <a16:creationId xmlns:a16="http://schemas.microsoft.com/office/drawing/2014/main" id="{C33F6E74-DC4C-421C-BECE-23A5402A3E51}"/>
                      </a:ext>
                    </a:extLst>
                  </p:cNvPr>
                  <p:cNvSpPr>
                    <a:spLocks/>
                  </p:cNvSpPr>
                  <p:nvPr/>
                </p:nvSpPr>
                <p:spPr bwMode="gray">
                  <a:xfrm>
                    <a:off x="1259" y="493"/>
                    <a:ext cx="385" cy="503"/>
                  </a:xfrm>
                  <a:custGeom>
                    <a:avLst/>
                    <a:gdLst/>
                    <a:ahLst/>
                    <a:cxnLst>
                      <a:cxn ang="0">
                        <a:pos x="355" y="198"/>
                      </a:cxn>
                      <a:cxn ang="0">
                        <a:pos x="345" y="199"/>
                      </a:cxn>
                      <a:cxn ang="0">
                        <a:pos x="351" y="187"/>
                      </a:cxn>
                      <a:cxn ang="0">
                        <a:pos x="341" y="167"/>
                      </a:cxn>
                      <a:cxn ang="0">
                        <a:pos x="351" y="136"/>
                      </a:cxn>
                      <a:cxn ang="0">
                        <a:pos x="340" y="135"/>
                      </a:cxn>
                      <a:cxn ang="0">
                        <a:pos x="357" y="112"/>
                      </a:cxn>
                      <a:cxn ang="0">
                        <a:pos x="333" y="62"/>
                      </a:cxn>
                      <a:cxn ang="0">
                        <a:pos x="289" y="22"/>
                      </a:cxn>
                      <a:cxn ang="0">
                        <a:pos x="289" y="18"/>
                      </a:cxn>
                      <a:cxn ang="0">
                        <a:pos x="277" y="15"/>
                      </a:cxn>
                      <a:cxn ang="0">
                        <a:pos x="272" y="0"/>
                      </a:cxn>
                      <a:cxn ang="0">
                        <a:pos x="220" y="29"/>
                      </a:cxn>
                      <a:cxn ang="0">
                        <a:pos x="155" y="47"/>
                      </a:cxn>
                      <a:cxn ang="0">
                        <a:pos x="108" y="50"/>
                      </a:cxn>
                      <a:cxn ang="0">
                        <a:pos x="30" y="93"/>
                      </a:cxn>
                      <a:cxn ang="0">
                        <a:pos x="0" y="150"/>
                      </a:cxn>
                      <a:cxn ang="0">
                        <a:pos x="10" y="167"/>
                      </a:cxn>
                      <a:cxn ang="0">
                        <a:pos x="39" y="178"/>
                      </a:cxn>
                      <a:cxn ang="0">
                        <a:pos x="52" y="263"/>
                      </a:cxn>
                      <a:cxn ang="0">
                        <a:pos x="53" y="271"/>
                      </a:cxn>
                      <a:cxn ang="0">
                        <a:pos x="67" y="288"/>
                      </a:cxn>
                      <a:cxn ang="0">
                        <a:pos x="67" y="303"/>
                      </a:cxn>
                      <a:cxn ang="0">
                        <a:pos x="72" y="311"/>
                      </a:cxn>
                      <a:cxn ang="0">
                        <a:pos x="71" y="331"/>
                      </a:cxn>
                      <a:cxn ang="0">
                        <a:pos x="63" y="332"/>
                      </a:cxn>
                      <a:cxn ang="0">
                        <a:pos x="72" y="344"/>
                      </a:cxn>
                      <a:cxn ang="0">
                        <a:pos x="65" y="379"/>
                      </a:cxn>
                      <a:cxn ang="0">
                        <a:pos x="72" y="388"/>
                      </a:cxn>
                      <a:cxn ang="0">
                        <a:pos x="105" y="390"/>
                      </a:cxn>
                      <a:cxn ang="0">
                        <a:pos x="112" y="410"/>
                      </a:cxn>
                      <a:cxn ang="0">
                        <a:pos x="136" y="448"/>
                      </a:cxn>
                      <a:cxn ang="0">
                        <a:pos x="139" y="459"/>
                      </a:cxn>
                      <a:cxn ang="0">
                        <a:pos x="167" y="444"/>
                      </a:cxn>
                      <a:cxn ang="0">
                        <a:pos x="201" y="434"/>
                      </a:cxn>
                      <a:cxn ang="0">
                        <a:pos x="211" y="438"/>
                      </a:cxn>
                      <a:cxn ang="0">
                        <a:pos x="212" y="427"/>
                      </a:cxn>
                      <a:cxn ang="0">
                        <a:pos x="263" y="431"/>
                      </a:cxn>
                      <a:cxn ang="0">
                        <a:pos x="268" y="408"/>
                      </a:cxn>
                      <a:cxn ang="0">
                        <a:pos x="288" y="395"/>
                      </a:cxn>
                      <a:cxn ang="0">
                        <a:pos x="288" y="383"/>
                      </a:cxn>
                      <a:cxn ang="0">
                        <a:pos x="297" y="379"/>
                      </a:cxn>
                      <a:cxn ang="0">
                        <a:pos x="284" y="343"/>
                      </a:cxn>
                      <a:cxn ang="0">
                        <a:pos x="297" y="338"/>
                      </a:cxn>
                      <a:cxn ang="0">
                        <a:pos x="295" y="331"/>
                      </a:cxn>
                      <a:cxn ang="0">
                        <a:pos x="323" y="328"/>
                      </a:cxn>
                      <a:cxn ang="0">
                        <a:pos x="340" y="281"/>
                      </a:cxn>
                      <a:cxn ang="0">
                        <a:pos x="337" y="272"/>
                      </a:cxn>
                      <a:cxn ang="0">
                        <a:pos x="354" y="277"/>
                      </a:cxn>
                      <a:cxn ang="0">
                        <a:pos x="356" y="278"/>
                      </a:cxn>
                      <a:cxn ang="0">
                        <a:pos x="356" y="277"/>
                      </a:cxn>
                      <a:cxn ang="0">
                        <a:pos x="345" y="226"/>
                      </a:cxn>
                      <a:cxn ang="0">
                        <a:pos x="355" y="198"/>
                      </a:cxn>
                    </a:cxnLst>
                    <a:rect l="0" t="0" r="r" b="b"/>
                    <a:pathLst>
                      <a:path w="357" h="466">
                        <a:moveTo>
                          <a:pt x="355" y="198"/>
                        </a:moveTo>
                        <a:cubicBezTo>
                          <a:pt x="345" y="199"/>
                          <a:pt x="345" y="199"/>
                          <a:pt x="345" y="199"/>
                        </a:cubicBezTo>
                        <a:cubicBezTo>
                          <a:pt x="351" y="187"/>
                          <a:pt x="351" y="187"/>
                          <a:pt x="351" y="187"/>
                        </a:cubicBezTo>
                        <a:cubicBezTo>
                          <a:pt x="341" y="167"/>
                          <a:pt x="341" y="167"/>
                          <a:pt x="341" y="167"/>
                        </a:cubicBezTo>
                        <a:cubicBezTo>
                          <a:pt x="351" y="136"/>
                          <a:pt x="351" y="136"/>
                          <a:pt x="351" y="136"/>
                        </a:cubicBezTo>
                        <a:cubicBezTo>
                          <a:pt x="351" y="136"/>
                          <a:pt x="344" y="136"/>
                          <a:pt x="340" y="135"/>
                        </a:cubicBezTo>
                        <a:cubicBezTo>
                          <a:pt x="336" y="134"/>
                          <a:pt x="357" y="112"/>
                          <a:pt x="357" y="112"/>
                        </a:cubicBezTo>
                        <a:cubicBezTo>
                          <a:pt x="333" y="62"/>
                          <a:pt x="333" y="62"/>
                          <a:pt x="333" y="62"/>
                        </a:cubicBezTo>
                        <a:cubicBezTo>
                          <a:pt x="315" y="59"/>
                          <a:pt x="289" y="22"/>
                          <a:pt x="289" y="22"/>
                        </a:cubicBezTo>
                        <a:cubicBezTo>
                          <a:pt x="289" y="18"/>
                          <a:pt x="289" y="18"/>
                          <a:pt x="289" y="18"/>
                        </a:cubicBezTo>
                        <a:cubicBezTo>
                          <a:pt x="277" y="15"/>
                          <a:pt x="277" y="15"/>
                          <a:pt x="277" y="15"/>
                        </a:cubicBezTo>
                        <a:cubicBezTo>
                          <a:pt x="272" y="0"/>
                          <a:pt x="272" y="0"/>
                          <a:pt x="272" y="0"/>
                        </a:cubicBezTo>
                        <a:cubicBezTo>
                          <a:pt x="255" y="11"/>
                          <a:pt x="233" y="25"/>
                          <a:pt x="220" y="29"/>
                        </a:cubicBezTo>
                        <a:cubicBezTo>
                          <a:pt x="196" y="38"/>
                          <a:pt x="155" y="47"/>
                          <a:pt x="155" y="47"/>
                        </a:cubicBezTo>
                        <a:cubicBezTo>
                          <a:pt x="155" y="47"/>
                          <a:pt x="110" y="54"/>
                          <a:pt x="108" y="50"/>
                        </a:cubicBezTo>
                        <a:cubicBezTo>
                          <a:pt x="81" y="78"/>
                          <a:pt x="30" y="93"/>
                          <a:pt x="30" y="93"/>
                        </a:cubicBezTo>
                        <a:cubicBezTo>
                          <a:pt x="0" y="150"/>
                          <a:pt x="0" y="150"/>
                          <a:pt x="0" y="150"/>
                        </a:cubicBezTo>
                        <a:cubicBezTo>
                          <a:pt x="10" y="167"/>
                          <a:pt x="10" y="167"/>
                          <a:pt x="10" y="167"/>
                        </a:cubicBezTo>
                        <a:cubicBezTo>
                          <a:pt x="10" y="167"/>
                          <a:pt x="44" y="176"/>
                          <a:pt x="39" y="178"/>
                        </a:cubicBezTo>
                        <a:cubicBezTo>
                          <a:pt x="52" y="263"/>
                          <a:pt x="52" y="263"/>
                          <a:pt x="52" y="263"/>
                        </a:cubicBezTo>
                        <a:cubicBezTo>
                          <a:pt x="52" y="263"/>
                          <a:pt x="84" y="260"/>
                          <a:pt x="53" y="271"/>
                        </a:cubicBezTo>
                        <a:cubicBezTo>
                          <a:pt x="51" y="278"/>
                          <a:pt x="67" y="288"/>
                          <a:pt x="67" y="288"/>
                        </a:cubicBezTo>
                        <a:cubicBezTo>
                          <a:pt x="67" y="303"/>
                          <a:pt x="67" y="303"/>
                          <a:pt x="67" y="303"/>
                        </a:cubicBezTo>
                        <a:cubicBezTo>
                          <a:pt x="72" y="311"/>
                          <a:pt x="72" y="311"/>
                          <a:pt x="72" y="311"/>
                        </a:cubicBezTo>
                        <a:cubicBezTo>
                          <a:pt x="71" y="331"/>
                          <a:pt x="71" y="331"/>
                          <a:pt x="71" y="331"/>
                        </a:cubicBezTo>
                        <a:cubicBezTo>
                          <a:pt x="63" y="332"/>
                          <a:pt x="63" y="332"/>
                          <a:pt x="63" y="332"/>
                        </a:cubicBezTo>
                        <a:cubicBezTo>
                          <a:pt x="72" y="344"/>
                          <a:pt x="72" y="344"/>
                          <a:pt x="72" y="344"/>
                        </a:cubicBezTo>
                        <a:cubicBezTo>
                          <a:pt x="72" y="344"/>
                          <a:pt x="72" y="374"/>
                          <a:pt x="65" y="379"/>
                        </a:cubicBezTo>
                        <a:cubicBezTo>
                          <a:pt x="59" y="384"/>
                          <a:pt x="72" y="388"/>
                          <a:pt x="72" y="388"/>
                        </a:cubicBezTo>
                        <a:cubicBezTo>
                          <a:pt x="105" y="390"/>
                          <a:pt x="105" y="390"/>
                          <a:pt x="105" y="390"/>
                        </a:cubicBezTo>
                        <a:cubicBezTo>
                          <a:pt x="112" y="410"/>
                          <a:pt x="112" y="410"/>
                          <a:pt x="112" y="410"/>
                        </a:cubicBezTo>
                        <a:cubicBezTo>
                          <a:pt x="112" y="410"/>
                          <a:pt x="157" y="434"/>
                          <a:pt x="136" y="448"/>
                        </a:cubicBezTo>
                        <a:cubicBezTo>
                          <a:pt x="132" y="448"/>
                          <a:pt x="139" y="459"/>
                          <a:pt x="139" y="459"/>
                        </a:cubicBezTo>
                        <a:cubicBezTo>
                          <a:pt x="139" y="459"/>
                          <a:pt x="159" y="466"/>
                          <a:pt x="167" y="444"/>
                        </a:cubicBezTo>
                        <a:cubicBezTo>
                          <a:pt x="171" y="444"/>
                          <a:pt x="179" y="456"/>
                          <a:pt x="201" y="434"/>
                        </a:cubicBezTo>
                        <a:cubicBezTo>
                          <a:pt x="203" y="438"/>
                          <a:pt x="211" y="438"/>
                          <a:pt x="211" y="438"/>
                        </a:cubicBezTo>
                        <a:cubicBezTo>
                          <a:pt x="212" y="427"/>
                          <a:pt x="212" y="427"/>
                          <a:pt x="212" y="427"/>
                        </a:cubicBezTo>
                        <a:cubicBezTo>
                          <a:pt x="212" y="427"/>
                          <a:pt x="256" y="442"/>
                          <a:pt x="263" y="431"/>
                        </a:cubicBezTo>
                        <a:cubicBezTo>
                          <a:pt x="269" y="420"/>
                          <a:pt x="268" y="408"/>
                          <a:pt x="268" y="408"/>
                        </a:cubicBezTo>
                        <a:cubicBezTo>
                          <a:pt x="268" y="408"/>
                          <a:pt x="287" y="400"/>
                          <a:pt x="288" y="395"/>
                        </a:cubicBezTo>
                        <a:cubicBezTo>
                          <a:pt x="289" y="390"/>
                          <a:pt x="288" y="383"/>
                          <a:pt x="288" y="383"/>
                        </a:cubicBezTo>
                        <a:cubicBezTo>
                          <a:pt x="297" y="379"/>
                          <a:pt x="297" y="379"/>
                          <a:pt x="297" y="379"/>
                        </a:cubicBezTo>
                        <a:cubicBezTo>
                          <a:pt x="284" y="343"/>
                          <a:pt x="284" y="343"/>
                          <a:pt x="284" y="343"/>
                        </a:cubicBezTo>
                        <a:cubicBezTo>
                          <a:pt x="284" y="343"/>
                          <a:pt x="301" y="338"/>
                          <a:pt x="297" y="338"/>
                        </a:cubicBezTo>
                        <a:cubicBezTo>
                          <a:pt x="293" y="338"/>
                          <a:pt x="295" y="331"/>
                          <a:pt x="295" y="331"/>
                        </a:cubicBezTo>
                        <a:cubicBezTo>
                          <a:pt x="323" y="328"/>
                          <a:pt x="323" y="328"/>
                          <a:pt x="323" y="328"/>
                        </a:cubicBezTo>
                        <a:cubicBezTo>
                          <a:pt x="340" y="281"/>
                          <a:pt x="340" y="281"/>
                          <a:pt x="340" y="281"/>
                        </a:cubicBezTo>
                        <a:cubicBezTo>
                          <a:pt x="337" y="272"/>
                          <a:pt x="337" y="272"/>
                          <a:pt x="337" y="272"/>
                        </a:cubicBezTo>
                        <a:cubicBezTo>
                          <a:pt x="354" y="277"/>
                          <a:pt x="354" y="277"/>
                          <a:pt x="354" y="277"/>
                        </a:cubicBezTo>
                        <a:cubicBezTo>
                          <a:pt x="356" y="278"/>
                          <a:pt x="356" y="278"/>
                          <a:pt x="356" y="278"/>
                        </a:cubicBezTo>
                        <a:cubicBezTo>
                          <a:pt x="356" y="278"/>
                          <a:pt x="356" y="277"/>
                          <a:pt x="356" y="277"/>
                        </a:cubicBezTo>
                        <a:cubicBezTo>
                          <a:pt x="357" y="262"/>
                          <a:pt x="345" y="226"/>
                          <a:pt x="345" y="226"/>
                        </a:cubicBezTo>
                        <a:lnTo>
                          <a:pt x="355" y="198"/>
                        </a:ln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47" name="Ile-de-France" descr="© INSCALE GmbH, 05.05.2010&#10;http://www.presentationload.com/">
                    <a:extLst>
                      <a:ext uri="{FF2B5EF4-FFF2-40B4-BE49-F238E27FC236}">
                        <a16:creationId xmlns:a16="http://schemas.microsoft.com/office/drawing/2014/main" id="{D88A48A3-DB17-44C8-A208-C2CFF7861D47}"/>
                      </a:ext>
                    </a:extLst>
                  </p:cNvPr>
                  <p:cNvSpPr>
                    <a:spLocks/>
                  </p:cNvSpPr>
                  <p:nvPr/>
                </p:nvSpPr>
                <p:spPr bwMode="gray">
                  <a:xfrm>
                    <a:off x="1565" y="796"/>
                    <a:ext cx="483" cy="386"/>
                  </a:xfrm>
                  <a:custGeom>
                    <a:avLst/>
                    <a:gdLst/>
                    <a:ahLst/>
                    <a:cxnLst>
                      <a:cxn ang="0">
                        <a:pos x="31" y="127"/>
                      </a:cxn>
                      <a:cxn ang="0">
                        <a:pos x="36" y="158"/>
                      </a:cxn>
                      <a:cxn ang="0">
                        <a:pos x="35" y="177"/>
                      </a:cxn>
                      <a:cxn ang="0">
                        <a:pos x="48" y="199"/>
                      </a:cxn>
                      <a:cxn ang="0">
                        <a:pos x="56" y="214"/>
                      </a:cxn>
                      <a:cxn ang="0">
                        <a:pos x="71" y="246"/>
                      </a:cxn>
                      <a:cxn ang="0">
                        <a:pos x="103" y="267"/>
                      </a:cxn>
                      <a:cxn ang="0">
                        <a:pos x="111" y="303"/>
                      </a:cxn>
                      <a:cxn ang="0">
                        <a:pos x="153" y="301"/>
                      </a:cxn>
                      <a:cxn ang="0">
                        <a:pos x="167" y="290"/>
                      </a:cxn>
                      <a:cxn ang="0">
                        <a:pos x="183" y="293"/>
                      </a:cxn>
                      <a:cxn ang="0">
                        <a:pos x="201" y="297"/>
                      </a:cxn>
                      <a:cxn ang="0">
                        <a:pos x="229" y="338"/>
                      </a:cxn>
                      <a:cxn ang="0">
                        <a:pos x="273" y="354"/>
                      </a:cxn>
                      <a:cxn ang="0">
                        <a:pos x="285" y="346"/>
                      </a:cxn>
                      <a:cxn ang="0">
                        <a:pos x="316" y="345"/>
                      </a:cxn>
                      <a:cxn ang="0">
                        <a:pos x="333" y="297"/>
                      </a:cxn>
                      <a:cxn ang="0">
                        <a:pos x="400" y="277"/>
                      </a:cxn>
                      <a:cxn ang="0">
                        <a:pos x="411" y="243"/>
                      </a:cxn>
                      <a:cxn ang="0">
                        <a:pos x="413" y="225"/>
                      </a:cxn>
                      <a:cxn ang="0">
                        <a:pos x="424" y="210"/>
                      </a:cxn>
                      <a:cxn ang="0">
                        <a:pos x="437" y="199"/>
                      </a:cxn>
                      <a:cxn ang="0">
                        <a:pos x="440" y="191"/>
                      </a:cxn>
                      <a:cxn ang="0">
                        <a:pos x="425" y="158"/>
                      </a:cxn>
                      <a:cxn ang="0">
                        <a:pos x="411" y="147"/>
                      </a:cxn>
                      <a:cxn ang="0">
                        <a:pos x="412" y="137"/>
                      </a:cxn>
                      <a:cxn ang="0">
                        <a:pos x="428" y="123"/>
                      </a:cxn>
                      <a:cxn ang="0">
                        <a:pos x="405" y="99"/>
                      </a:cxn>
                      <a:cxn ang="0">
                        <a:pos x="392" y="91"/>
                      </a:cxn>
                      <a:cxn ang="0">
                        <a:pos x="364" y="73"/>
                      </a:cxn>
                      <a:cxn ang="0">
                        <a:pos x="337" y="45"/>
                      </a:cxn>
                      <a:cxn ang="0">
                        <a:pos x="285" y="47"/>
                      </a:cxn>
                      <a:cxn ang="0">
                        <a:pos x="248" y="43"/>
                      </a:cxn>
                      <a:cxn ang="0">
                        <a:pos x="233" y="41"/>
                      </a:cxn>
                      <a:cxn ang="0">
                        <a:pos x="191" y="25"/>
                      </a:cxn>
                      <a:cxn ang="0">
                        <a:pos x="165" y="26"/>
                      </a:cxn>
                      <a:cxn ang="0">
                        <a:pos x="157" y="25"/>
                      </a:cxn>
                      <a:cxn ang="0">
                        <a:pos x="139" y="18"/>
                      </a:cxn>
                      <a:cxn ang="0">
                        <a:pos x="116" y="17"/>
                      </a:cxn>
                      <a:cxn ang="0">
                        <a:pos x="56" y="0"/>
                      </a:cxn>
                      <a:cxn ang="0">
                        <a:pos x="11" y="50"/>
                      </a:cxn>
                      <a:cxn ang="0">
                        <a:pos x="0" y="62"/>
                      </a:cxn>
                      <a:cxn ang="0">
                        <a:pos x="12" y="99"/>
                      </a:cxn>
                      <a:cxn ang="0">
                        <a:pos x="23" y="122"/>
                      </a:cxn>
                    </a:cxnLst>
                    <a:rect l="0" t="0" r="r" b="b"/>
                    <a:pathLst>
                      <a:path w="448" h="357">
                        <a:moveTo>
                          <a:pt x="23" y="122"/>
                        </a:moveTo>
                        <a:cubicBezTo>
                          <a:pt x="31" y="127"/>
                          <a:pt x="31" y="127"/>
                          <a:pt x="31" y="127"/>
                        </a:cubicBezTo>
                        <a:cubicBezTo>
                          <a:pt x="29" y="151"/>
                          <a:pt x="29" y="151"/>
                          <a:pt x="29" y="151"/>
                        </a:cubicBezTo>
                        <a:cubicBezTo>
                          <a:pt x="36" y="158"/>
                          <a:pt x="36" y="158"/>
                          <a:pt x="36" y="158"/>
                        </a:cubicBezTo>
                        <a:cubicBezTo>
                          <a:pt x="25" y="173"/>
                          <a:pt x="25" y="173"/>
                          <a:pt x="25" y="173"/>
                        </a:cubicBezTo>
                        <a:cubicBezTo>
                          <a:pt x="35" y="177"/>
                          <a:pt x="35" y="177"/>
                          <a:pt x="35" y="177"/>
                        </a:cubicBezTo>
                        <a:cubicBezTo>
                          <a:pt x="33" y="187"/>
                          <a:pt x="33" y="187"/>
                          <a:pt x="33" y="187"/>
                        </a:cubicBezTo>
                        <a:cubicBezTo>
                          <a:pt x="48" y="199"/>
                          <a:pt x="48" y="199"/>
                          <a:pt x="48" y="199"/>
                        </a:cubicBezTo>
                        <a:cubicBezTo>
                          <a:pt x="57" y="202"/>
                          <a:pt x="57" y="202"/>
                          <a:pt x="57" y="202"/>
                        </a:cubicBezTo>
                        <a:cubicBezTo>
                          <a:pt x="56" y="214"/>
                          <a:pt x="56" y="214"/>
                          <a:pt x="56" y="214"/>
                        </a:cubicBezTo>
                        <a:cubicBezTo>
                          <a:pt x="69" y="221"/>
                          <a:pt x="69" y="221"/>
                          <a:pt x="69" y="221"/>
                        </a:cubicBezTo>
                        <a:cubicBezTo>
                          <a:pt x="71" y="246"/>
                          <a:pt x="71" y="246"/>
                          <a:pt x="71" y="246"/>
                        </a:cubicBezTo>
                        <a:cubicBezTo>
                          <a:pt x="71" y="246"/>
                          <a:pt x="95" y="261"/>
                          <a:pt x="97" y="253"/>
                        </a:cubicBezTo>
                        <a:cubicBezTo>
                          <a:pt x="101" y="254"/>
                          <a:pt x="103" y="267"/>
                          <a:pt x="103" y="267"/>
                        </a:cubicBezTo>
                        <a:cubicBezTo>
                          <a:pt x="113" y="269"/>
                          <a:pt x="113" y="269"/>
                          <a:pt x="113" y="269"/>
                        </a:cubicBezTo>
                        <a:cubicBezTo>
                          <a:pt x="113" y="269"/>
                          <a:pt x="101" y="295"/>
                          <a:pt x="111" y="303"/>
                        </a:cubicBezTo>
                        <a:cubicBezTo>
                          <a:pt x="120" y="311"/>
                          <a:pt x="127" y="301"/>
                          <a:pt x="135" y="301"/>
                        </a:cubicBezTo>
                        <a:cubicBezTo>
                          <a:pt x="143" y="301"/>
                          <a:pt x="153" y="301"/>
                          <a:pt x="153" y="301"/>
                        </a:cubicBezTo>
                        <a:cubicBezTo>
                          <a:pt x="160" y="287"/>
                          <a:pt x="160" y="287"/>
                          <a:pt x="160" y="287"/>
                        </a:cubicBezTo>
                        <a:cubicBezTo>
                          <a:pt x="167" y="290"/>
                          <a:pt x="167" y="290"/>
                          <a:pt x="167" y="290"/>
                        </a:cubicBezTo>
                        <a:cubicBezTo>
                          <a:pt x="169" y="301"/>
                          <a:pt x="169" y="301"/>
                          <a:pt x="169" y="301"/>
                        </a:cubicBezTo>
                        <a:cubicBezTo>
                          <a:pt x="183" y="293"/>
                          <a:pt x="183" y="293"/>
                          <a:pt x="183" y="293"/>
                        </a:cubicBezTo>
                        <a:cubicBezTo>
                          <a:pt x="199" y="298"/>
                          <a:pt x="199" y="298"/>
                          <a:pt x="199" y="298"/>
                        </a:cubicBezTo>
                        <a:cubicBezTo>
                          <a:pt x="201" y="297"/>
                          <a:pt x="201" y="297"/>
                          <a:pt x="201" y="297"/>
                        </a:cubicBezTo>
                        <a:cubicBezTo>
                          <a:pt x="205" y="313"/>
                          <a:pt x="205" y="313"/>
                          <a:pt x="205" y="313"/>
                        </a:cubicBezTo>
                        <a:cubicBezTo>
                          <a:pt x="205" y="313"/>
                          <a:pt x="232" y="319"/>
                          <a:pt x="229" y="338"/>
                        </a:cubicBezTo>
                        <a:cubicBezTo>
                          <a:pt x="228" y="349"/>
                          <a:pt x="222" y="352"/>
                          <a:pt x="218" y="353"/>
                        </a:cubicBezTo>
                        <a:cubicBezTo>
                          <a:pt x="273" y="354"/>
                          <a:pt x="273" y="354"/>
                          <a:pt x="273" y="354"/>
                        </a:cubicBezTo>
                        <a:cubicBezTo>
                          <a:pt x="273" y="346"/>
                          <a:pt x="273" y="346"/>
                          <a:pt x="273" y="346"/>
                        </a:cubicBezTo>
                        <a:cubicBezTo>
                          <a:pt x="285" y="346"/>
                          <a:pt x="285" y="346"/>
                          <a:pt x="285" y="346"/>
                        </a:cubicBezTo>
                        <a:cubicBezTo>
                          <a:pt x="285" y="357"/>
                          <a:pt x="285" y="357"/>
                          <a:pt x="285" y="357"/>
                        </a:cubicBezTo>
                        <a:cubicBezTo>
                          <a:pt x="285" y="357"/>
                          <a:pt x="308" y="353"/>
                          <a:pt x="316" y="345"/>
                        </a:cubicBezTo>
                        <a:cubicBezTo>
                          <a:pt x="324" y="337"/>
                          <a:pt x="339" y="313"/>
                          <a:pt x="339" y="313"/>
                        </a:cubicBezTo>
                        <a:cubicBezTo>
                          <a:pt x="333" y="297"/>
                          <a:pt x="333" y="297"/>
                          <a:pt x="333" y="297"/>
                        </a:cubicBezTo>
                        <a:cubicBezTo>
                          <a:pt x="341" y="277"/>
                          <a:pt x="341" y="277"/>
                          <a:pt x="341" y="277"/>
                        </a:cubicBezTo>
                        <a:cubicBezTo>
                          <a:pt x="400" y="277"/>
                          <a:pt x="400" y="277"/>
                          <a:pt x="400" y="277"/>
                        </a:cubicBezTo>
                        <a:cubicBezTo>
                          <a:pt x="415" y="269"/>
                          <a:pt x="415" y="269"/>
                          <a:pt x="415" y="269"/>
                        </a:cubicBezTo>
                        <a:cubicBezTo>
                          <a:pt x="411" y="243"/>
                          <a:pt x="411" y="243"/>
                          <a:pt x="411" y="243"/>
                        </a:cubicBezTo>
                        <a:cubicBezTo>
                          <a:pt x="420" y="234"/>
                          <a:pt x="420" y="234"/>
                          <a:pt x="420" y="234"/>
                        </a:cubicBezTo>
                        <a:cubicBezTo>
                          <a:pt x="413" y="225"/>
                          <a:pt x="413" y="225"/>
                          <a:pt x="413" y="225"/>
                        </a:cubicBezTo>
                        <a:cubicBezTo>
                          <a:pt x="428" y="222"/>
                          <a:pt x="428" y="222"/>
                          <a:pt x="428" y="222"/>
                        </a:cubicBezTo>
                        <a:cubicBezTo>
                          <a:pt x="424" y="210"/>
                          <a:pt x="424" y="210"/>
                          <a:pt x="424" y="210"/>
                        </a:cubicBezTo>
                        <a:cubicBezTo>
                          <a:pt x="436" y="210"/>
                          <a:pt x="436" y="210"/>
                          <a:pt x="436" y="210"/>
                        </a:cubicBezTo>
                        <a:cubicBezTo>
                          <a:pt x="437" y="199"/>
                          <a:pt x="437" y="199"/>
                          <a:pt x="437" y="199"/>
                        </a:cubicBezTo>
                        <a:cubicBezTo>
                          <a:pt x="448" y="201"/>
                          <a:pt x="448" y="201"/>
                          <a:pt x="448" y="201"/>
                        </a:cubicBezTo>
                        <a:cubicBezTo>
                          <a:pt x="440" y="191"/>
                          <a:pt x="440" y="191"/>
                          <a:pt x="440" y="191"/>
                        </a:cubicBezTo>
                        <a:cubicBezTo>
                          <a:pt x="424" y="190"/>
                          <a:pt x="424" y="190"/>
                          <a:pt x="424" y="190"/>
                        </a:cubicBezTo>
                        <a:cubicBezTo>
                          <a:pt x="425" y="158"/>
                          <a:pt x="425" y="158"/>
                          <a:pt x="425" y="158"/>
                        </a:cubicBezTo>
                        <a:cubicBezTo>
                          <a:pt x="411" y="157"/>
                          <a:pt x="411" y="157"/>
                          <a:pt x="411" y="157"/>
                        </a:cubicBezTo>
                        <a:cubicBezTo>
                          <a:pt x="411" y="147"/>
                          <a:pt x="411" y="147"/>
                          <a:pt x="411" y="147"/>
                        </a:cubicBezTo>
                        <a:cubicBezTo>
                          <a:pt x="419" y="146"/>
                          <a:pt x="419" y="146"/>
                          <a:pt x="419" y="146"/>
                        </a:cubicBezTo>
                        <a:cubicBezTo>
                          <a:pt x="412" y="137"/>
                          <a:pt x="412" y="137"/>
                          <a:pt x="412" y="137"/>
                        </a:cubicBezTo>
                        <a:cubicBezTo>
                          <a:pt x="428" y="130"/>
                          <a:pt x="428" y="130"/>
                          <a:pt x="428" y="130"/>
                        </a:cubicBezTo>
                        <a:cubicBezTo>
                          <a:pt x="428" y="123"/>
                          <a:pt x="428" y="123"/>
                          <a:pt x="428" y="123"/>
                        </a:cubicBezTo>
                        <a:cubicBezTo>
                          <a:pt x="424" y="122"/>
                          <a:pt x="413" y="118"/>
                          <a:pt x="409" y="118"/>
                        </a:cubicBezTo>
                        <a:cubicBezTo>
                          <a:pt x="405" y="118"/>
                          <a:pt x="405" y="99"/>
                          <a:pt x="405" y="99"/>
                        </a:cubicBezTo>
                        <a:cubicBezTo>
                          <a:pt x="395" y="99"/>
                          <a:pt x="395" y="99"/>
                          <a:pt x="395" y="99"/>
                        </a:cubicBezTo>
                        <a:cubicBezTo>
                          <a:pt x="392" y="91"/>
                          <a:pt x="392" y="91"/>
                          <a:pt x="392" y="91"/>
                        </a:cubicBezTo>
                        <a:cubicBezTo>
                          <a:pt x="392" y="91"/>
                          <a:pt x="379" y="101"/>
                          <a:pt x="380" y="93"/>
                        </a:cubicBezTo>
                        <a:cubicBezTo>
                          <a:pt x="381" y="85"/>
                          <a:pt x="365" y="78"/>
                          <a:pt x="364" y="73"/>
                        </a:cubicBezTo>
                        <a:cubicBezTo>
                          <a:pt x="368" y="41"/>
                          <a:pt x="344" y="39"/>
                          <a:pt x="344" y="39"/>
                        </a:cubicBezTo>
                        <a:cubicBezTo>
                          <a:pt x="337" y="45"/>
                          <a:pt x="337" y="45"/>
                          <a:pt x="337" y="45"/>
                        </a:cubicBezTo>
                        <a:cubicBezTo>
                          <a:pt x="299" y="55"/>
                          <a:pt x="299" y="55"/>
                          <a:pt x="299" y="55"/>
                        </a:cubicBezTo>
                        <a:cubicBezTo>
                          <a:pt x="285" y="47"/>
                          <a:pt x="285" y="47"/>
                          <a:pt x="285" y="47"/>
                        </a:cubicBezTo>
                        <a:cubicBezTo>
                          <a:pt x="285" y="47"/>
                          <a:pt x="276" y="57"/>
                          <a:pt x="268" y="54"/>
                        </a:cubicBezTo>
                        <a:cubicBezTo>
                          <a:pt x="260" y="51"/>
                          <a:pt x="255" y="47"/>
                          <a:pt x="248" y="43"/>
                        </a:cubicBezTo>
                        <a:cubicBezTo>
                          <a:pt x="241" y="39"/>
                          <a:pt x="239" y="51"/>
                          <a:pt x="239" y="51"/>
                        </a:cubicBezTo>
                        <a:cubicBezTo>
                          <a:pt x="233" y="41"/>
                          <a:pt x="233" y="41"/>
                          <a:pt x="233" y="41"/>
                        </a:cubicBezTo>
                        <a:cubicBezTo>
                          <a:pt x="233" y="41"/>
                          <a:pt x="215" y="49"/>
                          <a:pt x="220" y="45"/>
                        </a:cubicBezTo>
                        <a:cubicBezTo>
                          <a:pt x="225" y="41"/>
                          <a:pt x="207" y="29"/>
                          <a:pt x="191" y="25"/>
                        </a:cubicBezTo>
                        <a:cubicBezTo>
                          <a:pt x="178" y="22"/>
                          <a:pt x="182" y="18"/>
                          <a:pt x="184" y="17"/>
                        </a:cubicBezTo>
                        <a:cubicBezTo>
                          <a:pt x="165" y="26"/>
                          <a:pt x="165" y="26"/>
                          <a:pt x="165" y="26"/>
                        </a:cubicBezTo>
                        <a:cubicBezTo>
                          <a:pt x="161" y="18"/>
                          <a:pt x="161" y="18"/>
                          <a:pt x="161" y="18"/>
                        </a:cubicBezTo>
                        <a:cubicBezTo>
                          <a:pt x="157" y="25"/>
                          <a:pt x="157" y="25"/>
                          <a:pt x="157" y="25"/>
                        </a:cubicBezTo>
                        <a:cubicBezTo>
                          <a:pt x="148" y="15"/>
                          <a:pt x="148" y="15"/>
                          <a:pt x="148" y="15"/>
                        </a:cubicBezTo>
                        <a:cubicBezTo>
                          <a:pt x="139" y="18"/>
                          <a:pt x="139" y="18"/>
                          <a:pt x="139" y="18"/>
                        </a:cubicBezTo>
                        <a:cubicBezTo>
                          <a:pt x="132" y="13"/>
                          <a:pt x="132" y="13"/>
                          <a:pt x="132" y="13"/>
                        </a:cubicBezTo>
                        <a:cubicBezTo>
                          <a:pt x="116" y="17"/>
                          <a:pt x="116" y="17"/>
                          <a:pt x="116" y="17"/>
                        </a:cubicBezTo>
                        <a:cubicBezTo>
                          <a:pt x="64" y="21"/>
                          <a:pt x="64" y="21"/>
                          <a:pt x="64" y="21"/>
                        </a:cubicBezTo>
                        <a:cubicBezTo>
                          <a:pt x="56" y="0"/>
                          <a:pt x="56" y="0"/>
                          <a:pt x="56" y="0"/>
                        </a:cubicBezTo>
                        <a:cubicBezTo>
                          <a:pt x="39" y="47"/>
                          <a:pt x="39" y="47"/>
                          <a:pt x="39" y="47"/>
                        </a:cubicBezTo>
                        <a:cubicBezTo>
                          <a:pt x="11" y="50"/>
                          <a:pt x="11" y="50"/>
                          <a:pt x="11" y="50"/>
                        </a:cubicBezTo>
                        <a:cubicBezTo>
                          <a:pt x="11" y="50"/>
                          <a:pt x="9" y="57"/>
                          <a:pt x="13" y="57"/>
                        </a:cubicBezTo>
                        <a:cubicBezTo>
                          <a:pt x="17" y="57"/>
                          <a:pt x="0" y="62"/>
                          <a:pt x="0" y="62"/>
                        </a:cubicBezTo>
                        <a:cubicBezTo>
                          <a:pt x="13" y="98"/>
                          <a:pt x="13" y="98"/>
                          <a:pt x="13" y="98"/>
                        </a:cubicBezTo>
                        <a:cubicBezTo>
                          <a:pt x="12" y="99"/>
                          <a:pt x="12" y="99"/>
                          <a:pt x="12" y="99"/>
                        </a:cubicBezTo>
                        <a:cubicBezTo>
                          <a:pt x="27" y="113"/>
                          <a:pt x="27" y="113"/>
                          <a:pt x="27" y="113"/>
                        </a:cubicBezTo>
                        <a:lnTo>
                          <a:pt x="23" y="122"/>
                        </a:ln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48" name="Champagne-Ardenne" descr="© INSCALE GmbH, 05.05.2010&#10;http://www.presentationload.com/">
                    <a:extLst>
                      <a:ext uri="{FF2B5EF4-FFF2-40B4-BE49-F238E27FC236}">
                        <a16:creationId xmlns:a16="http://schemas.microsoft.com/office/drawing/2014/main" id="{E26691BA-880D-43C0-AE9F-5EC587C50BAA}"/>
                      </a:ext>
                    </a:extLst>
                  </p:cNvPr>
                  <p:cNvSpPr>
                    <a:spLocks/>
                  </p:cNvSpPr>
                  <p:nvPr/>
                </p:nvSpPr>
                <p:spPr bwMode="gray">
                  <a:xfrm>
                    <a:off x="2008" y="466"/>
                    <a:ext cx="578" cy="893"/>
                  </a:xfrm>
                  <a:custGeom>
                    <a:avLst/>
                    <a:gdLst/>
                    <a:ahLst/>
                    <a:cxnLst>
                      <a:cxn ang="0">
                        <a:pos x="514" y="699"/>
                      </a:cxn>
                      <a:cxn ang="0">
                        <a:pos x="493" y="668"/>
                      </a:cxn>
                      <a:cxn ang="0">
                        <a:pos x="497" y="623"/>
                      </a:cxn>
                      <a:cxn ang="0">
                        <a:pos x="465" y="599"/>
                      </a:cxn>
                      <a:cxn ang="0">
                        <a:pos x="432" y="580"/>
                      </a:cxn>
                      <a:cxn ang="0">
                        <a:pos x="429" y="563"/>
                      </a:cxn>
                      <a:cxn ang="0">
                        <a:pos x="381" y="521"/>
                      </a:cxn>
                      <a:cxn ang="0">
                        <a:pos x="341" y="497"/>
                      </a:cxn>
                      <a:cxn ang="0">
                        <a:pos x="322" y="425"/>
                      </a:cxn>
                      <a:cxn ang="0">
                        <a:pos x="333" y="363"/>
                      </a:cxn>
                      <a:cxn ang="0">
                        <a:pos x="324" y="299"/>
                      </a:cxn>
                      <a:cxn ang="0">
                        <a:pos x="354" y="240"/>
                      </a:cxn>
                      <a:cxn ang="0">
                        <a:pos x="365" y="192"/>
                      </a:cxn>
                      <a:cxn ang="0">
                        <a:pos x="394" y="184"/>
                      </a:cxn>
                      <a:cxn ang="0">
                        <a:pos x="416" y="161"/>
                      </a:cxn>
                      <a:cxn ang="0">
                        <a:pos x="351" y="115"/>
                      </a:cxn>
                      <a:cxn ang="0">
                        <a:pos x="321" y="99"/>
                      </a:cxn>
                      <a:cxn ang="0">
                        <a:pos x="301" y="55"/>
                      </a:cxn>
                      <a:cxn ang="0">
                        <a:pos x="320" y="8"/>
                      </a:cxn>
                      <a:cxn ang="0">
                        <a:pos x="282" y="21"/>
                      </a:cxn>
                      <a:cxn ang="0">
                        <a:pos x="230" y="63"/>
                      </a:cxn>
                      <a:cxn ang="0">
                        <a:pos x="175" y="57"/>
                      </a:cxn>
                      <a:cxn ang="0">
                        <a:pos x="164" y="128"/>
                      </a:cxn>
                      <a:cxn ang="0">
                        <a:pos x="141" y="177"/>
                      </a:cxn>
                      <a:cxn ang="0">
                        <a:pos x="129" y="215"/>
                      </a:cxn>
                      <a:cxn ang="0">
                        <a:pos x="94" y="257"/>
                      </a:cxn>
                      <a:cxn ang="0">
                        <a:pos x="56" y="301"/>
                      </a:cxn>
                      <a:cxn ang="0">
                        <a:pos x="42" y="339"/>
                      </a:cxn>
                      <a:cxn ang="0">
                        <a:pos x="38" y="368"/>
                      </a:cxn>
                      <a:cxn ang="0">
                        <a:pos x="28" y="409"/>
                      </a:cxn>
                      <a:cxn ang="0">
                        <a:pos x="17" y="436"/>
                      </a:cxn>
                      <a:cxn ang="0">
                        <a:pos x="0" y="453"/>
                      </a:cxn>
                      <a:cxn ang="0">
                        <a:pos x="13" y="496"/>
                      </a:cxn>
                      <a:cxn ang="0">
                        <a:pos x="26" y="505"/>
                      </a:cxn>
                      <a:cxn ang="0">
                        <a:pos x="17" y="528"/>
                      </a:cxn>
                      <a:cxn ang="0">
                        <a:pos x="0" y="549"/>
                      </a:cxn>
                      <a:cxn ang="0">
                        <a:pos x="14" y="583"/>
                      </a:cxn>
                      <a:cxn ang="0">
                        <a:pos x="44" y="644"/>
                      </a:cxn>
                      <a:cxn ang="0">
                        <a:pos x="68" y="653"/>
                      </a:cxn>
                      <a:cxn ang="0">
                        <a:pos x="76" y="656"/>
                      </a:cxn>
                      <a:cxn ang="0">
                        <a:pos x="108" y="720"/>
                      </a:cxn>
                      <a:cxn ang="0">
                        <a:pos x="156" y="723"/>
                      </a:cxn>
                      <a:cxn ang="0">
                        <a:pos x="173" y="707"/>
                      </a:cxn>
                      <a:cxn ang="0">
                        <a:pos x="197" y="723"/>
                      </a:cxn>
                      <a:cxn ang="0">
                        <a:pos x="301" y="691"/>
                      </a:cxn>
                      <a:cxn ang="0">
                        <a:pos x="318" y="713"/>
                      </a:cxn>
                      <a:cxn ang="0">
                        <a:pos x="325" y="719"/>
                      </a:cxn>
                      <a:cxn ang="0">
                        <a:pos x="332" y="767"/>
                      </a:cxn>
                      <a:cxn ang="0">
                        <a:pos x="353" y="787"/>
                      </a:cxn>
                      <a:cxn ang="0">
                        <a:pos x="388" y="807"/>
                      </a:cxn>
                      <a:cxn ang="0">
                        <a:pos x="421" y="816"/>
                      </a:cxn>
                      <a:cxn ang="0">
                        <a:pos x="468" y="792"/>
                      </a:cxn>
                      <a:cxn ang="0">
                        <a:pos x="500" y="788"/>
                      </a:cxn>
                      <a:cxn ang="0">
                        <a:pos x="497" y="747"/>
                      </a:cxn>
                      <a:cxn ang="0">
                        <a:pos x="525" y="735"/>
                      </a:cxn>
                      <a:cxn ang="0">
                        <a:pos x="530" y="697"/>
                      </a:cxn>
                    </a:cxnLst>
                    <a:rect l="0" t="0" r="r" b="b"/>
                    <a:pathLst>
                      <a:path w="536" h="828">
                        <a:moveTo>
                          <a:pt x="530" y="697"/>
                        </a:moveTo>
                        <a:cubicBezTo>
                          <a:pt x="517" y="701"/>
                          <a:pt x="517" y="701"/>
                          <a:pt x="517" y="701"/>
                        </a:cubicBezTo>
                        <a:cubicBezTo>
                          <a:pt x="514" y="699"/>
                          <a:pt x="514" y="699"/>
                          <a:pt x="514" y="699"/>
                        </a:cubicBezTo>
                        <a:cubicBezTo>
                          <a:pt x="514" y="701"/>
                          <a:pt x="514" y="701"/>
                          <a:pt x="514" y="701"/>
                        </a:cubicBezTo>
                        <a:cubicBezTo>
                          <a:pt x="513" y="681"/>
                          <a:pt x="513" y="681"/>
                          <a:pt x="513" y="681"/>
                        </a:cubicBezTo>
                        <a:cubicBezTo>
                          <a:pt x="493" y="668"/>
                          <a:pt x="493" y="668"/>
                          <a:pt x="493" y="668"/>
                        </a:cubicBezTo>
                        <a:cubicBezTo>
                          <a:pt x="476" y="664"/>
                          <a:pt x="476" y="664"/>
                          <a:pt x="476" y="664"/>
                        </a:cubicBezTo>
                        <a:cubicBezTo>
                          <a:pt x="486" y="652"/>
                          <a:pt x="486" y="652"/>
                          <a:pt x="486" y="652"/>
                        </a:cubicBezTo>
                        <a:cubicBezTo>
                          <a:pt x="486" y="652"/>
                          <a:pt x="486" y="628"/>
                          <a:pt x="497" y="623"/>
                        </a:cubicBezTo>
                        <a:cubicBezTo>
                          <a:pt x="490" y="612"/>
                          <a:pt x="490" y="612"/>
                          <a:pt x="490" y="612"/>
                        </a:cubicBezTo>
                        <a:cubicBezTo>
                          <a:pt x="481" y="611"/>
                          <a:pt x="481" y="611"/>
                          <a:pt x="481" y="611"/>
                        </a:cubicBezTo>
                        <a:cubicBezTo>
                          <a:pt x="481" y="611"/>
                          <a:pt x="481" y="588"/>
                          <a:pt x="465" y="599"/>
                        </a:cubicBezTo>
                        <a:cubicBezTo>
                          <a:pt x="452" y="576"/>
                          <a:pt x="452" y="576"/>
                          <a:pt x="452" y="576"/>
                        </a:cubicBezTo>
                        <a:cubicBezTo>
                          <a:pt x="452" y="576"/>
                          <a:pt x="442" y="573"/>
                          <a:pt x="436" y="577"/>
                        </a:cubicBezTo>
                        <a:cubicBezTo>
                          <a:pt x="435" y="579"/>
                          <a:pt x="434" y="581"/>
                          <a:pt x="432" y="580"/>
                        </a:cubicBezTo>
                        <a:cubicBezTo>
                          <a:pt x="433" y="579"/>
                          <a:pt x="434" y="578"/>
                          <a:pt x="436" y="577"/>
                        </a:cubicBezTo>
                        <a:cubicBezTo>
                          <a:pt x="436" y="574"/>
                          <a:pt x="434" y="571"/>
                          <a:pt x="434" y="571"/>
                        </a:cubicBezTo>
                        <a:cubicBezTo>
                          <a:pt x="429" y="563"/>
                          <a:pt x="429" y="563"/>
                          <a:pt x="429" y="563"/>
                        </a:cubicBezTo>
                        <a:cubicBezTo>
                          <a:pt x="441" y="557"/>
                          <a:pt x="441" y="557"/>
                          <a:pt x="441" y="557"/>
                        </a:cubicBezTo>
                        <a:cubicBezTo>
                          <a:pt x="441" y="557"/>
                          <a:pt x="400" y="521"/>
                          <a:pt x="383" y="521"/>
                        </a:cubicBezTo>
                        <a:cubicBezTo>
                          <a:pt x="383" y="522"/>
                          <a:pt x="382" y="522"/>
                          <a:pt x="381" y="521"/>
                        </a:cubicBezTo>
                        <a:cubicBezTo>
                          <a:pt x="382" y="521"/>
                          <a:pt x="382" y="521"/>
                          <a:pt x="383" y="521"/>
                        </a:cubicBezTo>
                        <a:cubicBezTo>
                          <a:pt x="384" y="518"/>
                          <a:pt x="349" y="491"/>
                          <a:pt x="349" y="491"/>
                        </a:cubicBezTo>
                        <a:cubicBezTo>
                          <a:pt x="341" y="497"/>
                          <a:pt x="341" y="497"/>
                          <a:pt x="341" y="497"/>
                        </a:cubicBezTo>
                        <a:cubicBezTo>
                          <a:pt x="342" y="457"/>
                          <a:pt x="342" y="457"/>
                          <a:pt x="342" y="457"/>
                        </a:cubicBezTo>
                        <a:cubicBezTo>
                          <a:pt x="316" y="439"/>
                          <a:pt x="316" y="439"/>
                          <a:pt x="316" y="439"/>
                        </a:cubicBezTo>
                        <a:cubicBezTo>
                          <a:pt x="322" y="425"/>
                          <a:pt x="322" y="425"/>
                          <a:pt x="322" y="425"/>
                        </a:cubicBezTo>
                        <a:cubicBezTo>
                          <a:pt x="320" y="404"/>
                          <a:pt x="320" y="404"/>
                          <a:pt x="320" y="404"/>
                        </a:cubicBezTo>
                        <a:cubicBezTo>
                          <a:pt x="320" y="404"/>
                          <a:pt x="344" y="395"/>
                          <a:pt x="342" y="385"/>
                        </a:cubicBezTo>
                        <a:cubicBezTo>
                          <a:pt x="341" y="376"/>
                          <a:pt x="344" y="357"/>
                          <a:pt x="333" y="363"/>
                        </a:cubicBezTo>
                        <a:cubicBezTo>
                          <a:pt x="336" y="359"/>
                          <a:pt x="320" y="313"/>
                          <a:pt x="320" y="313"/>
                        </a:cubicBezTo>
                        <a:cubicBezTo>
                          <a:pt x="330" y="305"/>
                          <a:pt x="330" y="305"/>
                          <a:pt x="330" y="305"/>
                        </a:cubicBezTo>
                        <a:cubicBezTo>
                          <a:pt x="324" y="299"/>
                          <a:pt x="324" y="299"/>
                          <a:pt x="324" y="299"/>
                        </a:cubicBezTo>
                        <a:cubicBezTo>
                          <a:pt x="341" y="287"/>
                          <a:pt x="341" y="287"/>
                          <a:pt x="341" y="287"/>
                        </a:cubicBezTo>
                        <a:cubicBezTo>
                          <a:pt x="341" y="287"/>
                          <a:pt x="333" y="275"/>
                          <a:pt x="337" y="269"/>
                        </a:cubicBezTo>
                        <a:cubicBezTo>
                          <a:pt x="341" y="264"/>
                          <a:pt x="354" y="240"/>
                          <a:pt x="354" y="240"/>
                        </a:cubicBezTo>
                        <a:cubicBezTo>
                          <a:pt x="354" y="240"/>
                          <a:pt x="354" y="225"/>
                          <a:pt x="342" y="211"/>
                        </a:cubicBezTo>
                        <a:cubicBezTo>
                          <a:pt x="346" y="213"/>
                          <a:pt x="348" y="187"/>
                          <a:pt x="348" y="187"/>
                        </a:cubicBezTo>
                        <a:cubicBezTo>
                          <a:pt x="365" y="192"/>
                          <a:pt x="365" y="192"/>
                          <a:pt x="365" y="192"/>
                        </a:cubicBezTo>
                        <a:cubicBezTo>
                          <a:pt x="374" y="192"/>
                          <a:pt x="374" y="192"/>
                          <a:pt x="374" y="192"/>
                        </a:cubicBezTo>
                        <a:cubicBezTo>
                          <a:pt x="386" y="199"/>
                          <a:pt x="386" y="199"/>
                          <a:pt x="386" y="199"/>
                        </a:cubicBezTo>
                        <a:cubicBezTo>
                          <a:pt x="394" y="184"/>
                          <a:pt x="394" y="184"/>
                          <a:pt x="394" y="184"/>
                        </a:cubicBezTo>
                        <a:cubicBezTo>
                          <a:pt x="408" y="183"/>
                          <a:pt x="408" y="183"/>
                          <a:pt x="408" y="183"/>
                        </a:cubicBezTo>
                        <a:cubicBezTo>
                          <a:pt x="420" y="162"/>
                          <a:pt x="420" y="162"/>
                          <a:pt x="420" y="162"/>
                        </a:cubicBezTo>
                        <a:cubicBezTo>
                          <a:pt x="417" y="162"/>
                          <a:pt x="416" y="161"/>
                          <a:pt x="416" y="161"/>
                        </a:cubicBezTo>
                        <a:cubicBezTo>
                          <a:pt x="420" y="146"/>
                          <a:pt x="412" y="145"/>
                          <a:pt x="412" y="145"/>
                        </a:cubicBezTo>
                        <a:cubicBezTo>
                          <a:pt x="412" y="145"/>
                          <a:pt x="402" y="139"/>
                          <a:pt x="385" y="140"/>
                        </a:cubicBezTo>
                        <a:cubicBezTo>
                          <a:pt x="369" y="118"/>
                          <a:pt x="358" y="115"/>
                          <a:pt x="351" y="115"/>
                        </a:cubicBezTo>
                        <a:cubicBezTo>
                          <a:pt x="346" y="106"/>
                          <a:pt x="344" y="108"/>
                          <a:pt x="334" y="109"/>
                        </a:cubicBezTo>
                        <a:cubicBezTo>
                          <a:pt x="325" y="118"/>
                          <a:pt x="316" y="104"/>
                          <a:pt x="316" y="104"/>
                        </a:cubicBezTo>
                        <a:cubicBezTo>
                          <a:pt x="321" y="99"/>
                          <a:pt x="321" y="99"/>
                          <a:pt x="321" y="99"/>
                        </a:cubicBezTo>
                        <a:cubicBezTo>
                          <a:pt x="321" y="99"/>
                          <a:pt x="319" y="96"/>
                          <a:pt x="315" y="89"/>
                        </a:cubicBezTo>
                        <a:cubicBezTo>
                          <a:pt x="322" y="83"/>
                          <a:pt x="321" y="72"/>
                          <a:pt x="321" y="72"/>
                        </a:cubicBezTo>
                        <a:cubicBezTo>
                          <a:pt x="321" y="72"/>
                          <a:pt x="296" y="57"/>
                          <a:pt x="301" y="55"/>
                        </a:cubicBezTo>
                        <a:cubicBezTo>
                          <a:pt x="306" y="53"/>
                          <a:pt x="311" y="35"/>
                          <a:pt x="311" y="35"/>
                        </a:cubicBezTo>
                        <a:cubicBezTo>
                          <a:pt x="308" y="25"/>
                          <a:pt x="308" y="25"/>
                          <a:pt x="308" y="25"/>
                        </a:cubicBezTo>
                        <a:cubicBezTo>
                          <a:pt x="308" y="25"/>
                          <a:pt x="319" y="13"/>
                          <a:pt x="320" y="8"/>
                        </a:cubicBezTo>
                        <a:cubicBezTo>
                          <a:pt x="321" y="3"/>
                          <a:pt x="311" y="0"/>
                          <a:pt x="303" y="0"/>
                        </a:cubicBezTo>
                        <a:cubicBezTo>
                          <a:pt x="295" y="0"/>
                          <a:pt x="289" y="17"/>
                          <a:pt x="289" y="17"/>
                        </a:cubicBezTo>
                        <a:cubicBezTo>
                          <a:pt x="289" y="17"/>
                          <a:pt x="286" y="17"/>
                          <a:pt x="282" y="21"/>
                        </a:cubicBezTo>
                        <a:cubicBezTo>
                          <a:pt x="278" y="25"/>
                          <a:pt x="280" y="45"/>
                          <a:pt x="279" y="49"/>
                        </a:cubicBezTo>
                        <a:cubicBezTo>
                          <a:pt x="278" y="53"/>
                          <a:pt x="263" y="50"/>
                          <a:pt x="254" y="49"/>
                        </a:cubicBezTo>
                        <a:cubicBezTo>
                          <a:pt x="249" y="63"/>
                          <a:pt x="236" y="63"/>
                          <a:pt x="230" y="63"/>
                        </a:cubicBezTo>
                        <a:cubicBezTo>
                          <a:pt x="224" y="63"/>
                          <a:pt x="207" y="56"/>
                          <a:pt x="199" y="55"/>
                        </a:cubicBezTo>
                        <a:cubicBezTo>
                          <a:pt x="191" y="54"/>
                          <a:pt x="187" y="59"/>
                          <a:pt x="181" y="60"/>
                        </a:cubicBezTo>
                        <a:cubicBezTo>
                          <a:pt x="179" y="61"/>
                          <a:pt x="176" y="59"/>
                          <a:pt x="175" y="57"/>
                        </a:cubicBezTo>
                        <a:cubicBezTo>
                          <a:pt x="174" y="57"/>
                          <a:pt x="174" y="58"/>
                          <a:pt x="174" y="58"/>
                        </a:cubicBezTo>
                        <a:cubicBezTo>
                          <a:pt x="160" y="78"/>
                          <a:pt x="169" y="91"/>
                          <a:pt x="169" y="91"/>
                        </a:cubicBezTo>
                        <a:cubicBezTo>
                          <a:pt x="164" y="128"/>
                          <a:pt x="164" y="128"/>
                          <a:pt x="164" y="128"/>
                        </a:cubicBezTo>
                        <a:cubicBezTo>
                          <a:pt x="170" y="135"/>
                          <a:pt x="170" y="135"/>
                          <a:pt x="170" y="135"/>
                        </a:cubicBezTo>
                        <a:cubicBezTo>
                          <a:pt x="148" y="163"/>
                          <a:pt x="148" y="163"/>
                          <a:pt x="148" y="163"/>
                        </a:cubicBezTo>
                        <a:cubicBezTo>
                          <a:pt x="141" y="177"/>
                          <a:pt x="141" y="177"/>
                          <a:pt x="141" y="177"/>
                        </a:cubicBezTo>
                        <a:cubicBezTo>
                          <a:pt x="125" y="179"/>
                          <a:pt x="125" y="179"/>
                          <a:pt x="125" y="179"/>
                        </a:cubicBezTo>
                        <a:cubicBezTo>
                          <a:pt x="137" y="208"/>
                          <a:pt x="137" y="208"/>
                          <a:pt x="137" y="208"/>
                        </a:cubicBezTo>
                        <a:cubicBezTo>
                          <a:pt x="129" y="215"/>
                          <a:pt x="129" y="215"/>
                          <a:pt x="129" y="215"/>
                        </a:cubicBezTo>
                        <a:cubicBezTo>
                          <a:pt x="129" y="215"/>
                          <a:pt x="134" y="264"/>
                          <a:pt x="129" y="264"/>
                        </a:cubicBezTo>
                        <a:cubicBezTo>
                          <a:pt x="124" y="264"/>
                          <a:pt x="105" y="251"/>
                          <a:pt x="105" y="251"/>
                        </a:cubicBezTo>
                        <a:cubicBezTo>
                          <a:pt x="94" y="257"/>
                          <a:pt x="94" y="257"/>
                          <a:pt x="94" y="257"/>
                        </a:cubicBezTo>
                        <a:cubicBezTo>
                          <a:pt x="94" y="257"/>
                          <a:pt x="93" y="267"/>
                          <a:pt x="89" y="268"/>
                        </a:cubicBezTo>
                        <a:cubicBezTo>
                          <a:pt x="72" y="263"/>
                          <a:pt x="50" y="281"/>
                          <a:pt x="50" y="281"/>
                        </a:cubicBezTo>
                        <a:cubicBezTo>
                          <a:pt x="56" y="301"/>
                          <a:pt x="56" y="301"/>
                          <a:pt x="56" y="301"/>
                        </a:cubicBezTo>
                        <a:cubicBezTo>
                          <a:pt x="50" y="312"/>
                          <a:pt x="50" y="312"/>
                          <a:pt x="50" y="312"/>
                        </a:cubicBezTo>
                        <a:cubicBezTo>
                          <a:pt x="69" y="328"/>
                          <a:pt x="69" y="328"/>
                          <a:pt x="69" y="328"/>
                        </a:cubicBezTo>
                        <a:cubicBezTo>
                          <a:pt x="69" y="328"/>
                          <a:pt x="45" y="333"/>
                          <a:pt x="42" y="339"/>
                        </a:cubicBezTo>
                        <a:cubicBezTo>
                          <a:pt x="40" y="344"/>
                          <a:pt x="48" y="356"/>
                          <a:pt x="48" y="356"/>
                        </a:cubicBezTo>
                        <a:cubicBezTo>
                          <a:pt x="40" y="363"/>
                          <a:pt x="40" y="363"/>
                          <a:pt x="40" y="363"/>
                        </a:cubicBezTo>
                        <a:cubicBezTo>
                          <a:pt x="38" y="368"/>
                          <a:pt x="38" y="368"/>
                          <a:pt x="38" y="368"/>
                        </a:cubicBezTo>
                        <a:cubicBezTo>
                          <a:pt x="38" y="368"/>
                          <a:pt x="50" y="367"/>
                          <a:pt x="57" y="372"/>
                        </a:cubicBezTo>
                        <a:cubicBezTo>
                          <a:pt x="64" y="377"/>
                          <a:pt x="34" y="407"/>
                          <a:pt x="34" y="407"/>
                        </a:cubicBezTo>
                        <a:cubicBezTo>
                          <a:pt x="28" y="409"/>
                          <a:pt x="28" y="409"/>
                          <a:pt x="28" y="409"/>
                        </a:cubicBezTo>
                        <a:cubicBezTo>
                          <a:pt x="18" y="429"/>
                          <a:pt x="18" y="429"/>
                          <a:pt x="18" y="429"/>
                        </a:cubicBezTo>
                        <a:cubicBezTo>
                          <a:pt x="18" y="429"/>
                          <a:pt x="18" y="429"/>
                          <a:pt x="17" y="429"/>
                        </a:cubicBezTo>
                        <a:cubicBezTo>
                          <a:pt x="17" y="436"/>
                          <a:pt x="17" y="436"/>
                          <a:pt x="17" y="436"/>
                        </a:cubicBezTo>
                        <a:cubicBezTo>
                          <a:pt x="1" y="443"/>
                          <a:pt x="1" y="443"/>
                          <a:pt x="1" y="443"/>
                        </a:cubicBezTo>
                        <a:cubicBezTo>
                          <a:pt x="8" y="452"/>
                          <a:pt x="8" y="452"/>
                          <a:pt x="8" y="452"/>
                        </a:cubicBezTo>
                        <a:cubicBezTo>
                          <a:pt x="0" y="453"/>
                          <a:pt x="0" y="453"/>
                          <a:pt x="0" y="453"/>
                        </a:cubicBezTo>
                        <a:cubicBezTo>
                          <a:pt x="0" y="463"/>
                          <a:pt x="0" y="463"/>
                          <a:pt x="0" y="463"/>
                        </a:cubicBezTo>
                        <a:cubicBezTo>
                          <a:pt x="14" y="464"/>
                          <a:pt x="14" y="464"/>
                          <a:pt x="14" y="464"/>
                        </a:cubicBezTo>
                        <a:cubicBezTo>
                          <a:pt x="13" y="496"/>
                          <a:pt x="13" y="496"/>
                          <a:pt x="13" y="496"/>
                        </a:cubicBezTo>
                        <a:cubicBezTo>
                          <a:pt x="29" y="497"/>
                          <a:pt x="29" y="497"/>
                          <a:pt x="29" y="497"/>
                        </a:cubicBezTo>
                        <a:cubicBezTo>
                          <a:pt x="37" y="507"/>
                          <a:pt x="37" y="507"/>
                          <a:pt x="37" y="507"/>
                        </a:cubicBezTo>
                        <a:cubicBezTo>
                          <a:pt x="26" y="505"/>
                          <a:pt x="26" y="505"/>
                          <a:pt x="26" y="505"/>
                        </a:cubicBezTo>
                        <a:cubicBezTo>
                          <a:pt x="25" y="516"/>
                          <a:pt x="25" y="516"/>
                          <a:pt x="25" y="516"/>
                        </a:cubicBezTo>
                        <a:cubicBezTo>
                          <a:pt x="13" y="516"/>
                          <a:pt x="13" y="516"/>
                          <a:pt x="13" y="516"/>
                        </a:cubicBezTo>
                        <a:cubicBezTo>
                          <a:pt x="17" y="528"/>
                          <a:pt x="17" y="528"/>
                          <a:pt x="17" y="528"/>
                        </a:cubicBezTo>
                        <a:cubicBezTo>
                          <a:pt x="2" y="531"/>
                          <a:pt x="2" y="531"/>
                          <a:pt x="2" y="531"/>
                        </a:cubicBezTo>
                        <a:cubicBezTo>
                          <a:pt x="9" y="540"/>
                          <a:pt x="9" y="540"/>
                          <a:pt x="9" y="540"/>
                        </a:cubicBezTo>
                        <a:cubicBezTo>
                          <a:pt x="0" y="549"/>
                          <a:pt x="0" y="549"/>
                          <a:pt x="0" y="549"/>
                        </a:cubicBezTo>
                        <a:cubicBezTo>
                          <a:pt x="4" y="575"/>
                          <a:pt x="4" y="575"/>
                          <a:pt x="4" y="575"/>
                        </a:cubicBezTo>
                        <a:cubicBezTo>
                          <a:pt x="8" y="585"/>
                          <a:pt x="8" y="585"/>
                          <a:pt x="8" y="585"/>
                        </a:cubicBezTo>
                        <a:cubicBezTo>
                          <a:pt x="14" y="583"/>
                          <a:pt x="14" y="583"/>
                          <a:pt x="14" y="583"/>
                        </a:cubicBezTo>
                        <a:cubicBezTo>
                          <a:pt x="14" y="583"/>
                          <a:pt x="41" y="593"/>
                          <a:pt x="41" y="608"/>
                        </a:cubicBezTo>
                        <a:cubicBezTo>
                          <a:pt x="45" y="613"/>
                          <a:pt x="45" y="613"/>
                          <a:pt x="45" y="613"/>
                        </a:cubicBezTo>
                        <a:cubicBezTo>
                          <a:pt x="45" y="613"/>
                          <a:pt x="53" y="635"/>
                          <a:pt x="44" y="644"/>
                        </a:cubicBezTo>
                        <a:cubicBezTo>
                          <a:pt x="53" y="641"/>
                          <a:pt x="53" y="641"/>
                          <a:pt x="53" y="641"/>
                        </a:cubicBezTo>
                        <a:cubicBezTo>
                          <a:pt x="62" y="656"/>
                          <a:pt x="62" y="656"/>
                          <a:pt x="62" y="656"/>
                        </a:cubicBezTo>
                        <a:cubicBezTo>
                          <a:pt x="68" y="653"/>
                          <a:pt x="68" y="653"/>
                          <a:pt x="68" y="653"/>
                        </a:cubicBezTo>
                        <a:cubicBezTo>
                          <a:pt x="68" y="644"/>
                          <a:pt x="68" y="644"/>
                          <a:pt x="68" y="644"/>
                        </a:cubicBezTo>
                        <a:cubicBezTo>
                          <a:pt x="76" y="645"/>
                          <a:pt x="76" y="645"/>
                          <a:pt x="76" y="645"/>
                        </a:cubicBezTo>
                        <a:cubicBezTo>
                          <a:pt x="76" y="656"/>
                          <a:pt x="76" y="656"/>
                          <a:pt x="76" y="656"/>
                        </a:cubicBezTo>
                        <a:cubicBezTo>
                          <a:pt x="76" y="656"/>
                          <a:pt x="85" y="664"/>
                          <a:pt x="94" y="684"/>
                        </a:cubicBezTo>
                        <a:cubicBezTo>
                          <a:pt x="104" y="704"/>
                          <a:pt x="102" y="708"/>
                          <a:pt x="112" y="700"/>
                        </a:cubicBezTo>
                        <a:cubicBezTo>
                          <a:pt x="112" y="703"/>
                          <a:pt x="108" y="720"/>
                          <a:pt x="108" y="720"/>
                        </a:cubicBezTo>
                        <a:cubicBezTo>
                          <a:pt x="142" y="721"/>
                          <a:pt x="142" y="721"/>
                          <a:pt x="142" y="721"/>
                        </a:cubicBezTo>
                        <a:cubicBezTo>
                          <a:pt x="144" y="716"/>
                          <a:pt x="144" y="716"/>
                          <a:pt x="144" y="716"/>
                        </a:cubicBezTo>
                        <a:cubicBezTo>
                          <a:pt x="156" y="723"/>
                          <a:pt x="156" y="723"/>
                          <a:pt x="156" y="723"/>
                        </a:cubicBezTo>
                        <a:cubicBezTo>
                          <a:pt x="169" y="712"/>
                          <a:pt x="169" y="712"/>
                          <a:pt x="169" y="712"/>
                        </a:cubicBezTo>
                        <a:cubicBezTo>
                          <a:pt x="176" y="716"/>
                          <a:pt x="176" y="716"/>
                          <a:pt x="176" y="716"/>
                        </a:cubicBezTo>
                        <a:cubicBezTo>
                          <a:pt x="173" y="707"/>
                          <a:pt x="173" y="707"/>
                          <a:pt x="173" y="707"/>
                        </a:cubicBezTo>
                        <a:cubicBezTo>
                          <a:pt x="182" y="707"/>
                          <a:pt x="182" y="707"/>
                          <a:pt x="182" y="707"/>
                        </a:cubicBezTo>
                        <a:cubicBezTo>
                          <a:pt x="188" y="720"/>
                          <a:pt x="188" y="720"/>
                          <a:pt x="188" y="720"/>
                        </a:cubicBezTo>
                        <a:cubicBezTo>
                          <a:pt x="197" y="723"/>
                          <a:pt x="197" y="723"/>
                          <a:pt x="197" y="723"/>
                        </a:cubicBezTo>
                        <a:cubicBezTo>
                          <a:pt x="197" y="711"/>
                          <a:pt x="197" y="711"/>
                          <a:pt x="197" y="711"/>
                        </a:cubicBezTo>
                        <a:cubicBezTo>
                          <a:pt x="252" y="709"/>
                          <a:pt x="252" y="709"/>
                          <a:pt x="252" y="709"/>
                        </a:cubicBezTo>
                        <a:cubicBezTo>
                          <a:pt x="252" y="709"/>
                          <a:pt x="220" y="675"/>
                          <a:pt x="301" y="691"/>
                        </a:cubicBezTo>
                        <a:cubicBezTo>
                          <a:pt x="300" y="708"/>
                          <a:pt x="300" y="708"/>
                          <a:pt x="300" y="708"/>
                        </a:cubicBezTo>
                        <a:cubicBezTo>
                          <a:pt x="313" y="708"/>
                          <a:pt x="313" y="708"/>
                          <a:pt x="313" y="708"/>
                        </a:cubicBezTo>
                        <a:cubicBezTo>
                          <a:pt x="318" y="713"/>
                          <a:pt x="318" y="713"/>
                          <a:pt x="318" y="713"/>
                        </a:cubicBezTo>
                        <a:cubicBezTo>
                          <a:pt x="312" y="721"/>
                          <a:pt x="312" y="721"/>
                          <a:pt x="312" y="721"/>
                        </a:cubicBezTo>
                        <a:cubicBezTo>
                          <a:pt x="318" y="725"/>
                          <a:pt x="318" y="725"/>
                          <a:pt x="318" y="725"/>
                        </a:cubicBezTo>
                        <a:cubicBezTo>
                          <a:pt x="325" y="719"/>
                          <a:pt x="325" y="719"/>
                          <a:pt x="325" y="719"/>
                        </a:cubicBezTo>
                        <a:cubicBezTo>
                          <a:pt x="325" y="719"/>
                          <a:pt x="336" y="740"/>
                          <a:pt x="342" y="748"/>
                        </a:cubicBezTo>
                        <a:cubicBezTo>
                          <a:pt x="332" y="766"/>
                          <a:pt x="332" y="766"/>
                          <a:pt x="332" y="766"/>
                        </a:cubicBezTo>
                        <a:cubicBezTo>
                          <a:pt x="332" y="767"/>
                          <a:pt x="332" y="767"/>
                          <a:pt x="332" y="767"/>
                        </a:cubicBezTo>
                        <a:cubicBezTo>
                          <a:pt x="341" y="769"/>
                          <a:pt x="341" y="769"/>
                          <a:pt x="341" y="769"/>
                        </a:cubicBezTo>
                        <a:cubicBezTo>
                          <a:pt x="341" y="792"/>
                          <a:pt x="341" y="792"/>
                          <a:pt x="341" y="792"/>
                        </a:cubicBezTo>
                        <a:cubicBezTo>
                          <a:pt x="353" y="787"/>
                          <a:pt x="353" y="787"/>
                          <a:pt x="353" y="787"/>
                        </a:cubicBezTo>
                        <a:cubicBezTo>
                          <a:pt x="353" y="787"/>
                          <a:pt x="365" y="801"/>
                          <a:pt x="374" y="801"/>
                        </a:cubicBezTo>
                        <a:cubicBezTo>
                          <a:pt x="384" y="801"/>
                          <a:pt x="388" y="797"/>
                          <a:pt x="388" y="797"/>
                        </a:cubicBezTo>
                        <a:cubicBezTo>
                          <a:pt x="388" y="807"/>
                          <a:pt x="388" y="807"/>
                          <a:pt x="388" y="807"/>
                        </a:cubicBezTo>
                        <a:cubicBezTo>
                          <a:pt x="404" y="815"/>
                          <a:pt x="404" y="815"/>
                          <a:pt x="404" y="815"/>
                        </a:cubicBezTo>
                        <a:cubicBezTo>
                          <a:pt x="404" y="828"/>
                          <a:pt x="404" y="828"/>
                          <a:pt x="404" y="828"/>
                        </a:cubicBezTo>
                        <a:cubicBezTo>
                          <a:pt x="421" y="816"/>
                          <a:pt x="421" y="816"/>
                          <a:pt x="421" y="816"/>
                        </a:cubicBezTo>
                        <a:cubicBezTo>
                          <a:pt x="421" y="816"/>
                          <a:pt x="426" y="819"/>
                          <a:pt x="430" y="819"/>
                        </a:cubicBezTo>
                        <a:cubicBezTo>
                          <a:pt x="434" y="819"/>
                          <a:pt x="438" y="791"/>
                          <a:pt x="438" y="791"/>
                        </a:cubicBezTo>
                        <a:cubicBezTo>
                          <a:pt x="468" y="792"/>
                          <a:pt x="468" y="792"/>
                          <a:pt x="468" y="792"/>
                        </a:cubicBezTo>
                        <a:cubicBezTo>
                          <a:pt x="469" y="785"/>
                          <a:pt x="469" y="785"/>
                          <a:pt x="469" y="785"/>
                        </a:cubicBezTo>
                        <a:cubicBezTo>
                          <a:pt x="481" y="793"/>
                          <a:pt x="481" y="793"/>
                          <a:pt x="481" y="793"/>
                        </a:cubicBezTo>
                        <a:cubicBezTo>
                          <a:pt x="500" y="788"/>
                          <a:pt x="500" y="788"/>
                          <a:pt x="500" y="788"/>
                        </a:cubicBezTo>
                        <a:cubicBezTo>
                          <a:pt x="502" y="757"/>
                          <a:pt x="502" y="757"/>
                          <a:pt x="502" y="757"/>
                        </a:cubicBezTo>
                        <a:cubicBezTo>
                          <a:pt x="492" y="757"/>
                          <a:pt x="492" y="757"/>
                          <a:pt x="492" y="757"/>
                        </a:cubicBezTo>
                        <a:cubicBezTo>
                          <a:pt x="497" y="747"/>
                          <a:pt x="497" y="747"/>
                          <a:pt x="497" y="747"/>
                        </a:cubicBezTo>
                        <a:cubicBezTo>
                          <a:pt x="505" y="748"/>
                          <a:pt x="505" y="748"/>
                          <a:pt x="505" y="748"/>
                        </a:cubicBezTo>
                        <a:cubicBezTo>
                          <a:pt x="512" y="733"/>
                          <a:pt x="512" y="733"/>
                          <a:pt x="512" y="733"/>
                        </a:cubicBezTo>
                        <a:cubicBezTo>
                          <a:pt x="525" y="735"/>
                          <a:pt x="525" y="735"/>
                          <a:pt x="525" y="735"/>
                        </a:cubicBezTo>
                        <a:cubicBezTo>
                          <a:pt x="528" y="720"/>
                          <a:pt x="528" y="720"/>
                          <a:pt x="528" y="720"/>
                        </a:cubicBezTo>
                        <a:cubicBezTo>
                          <a:pt x="536" y="715"/>
                          <a:pt x="536" y="715"/>
                          <a:pt x="536" y="715"/>
                        </a:cubicBezTo>
                        <a:lnTo>
                          <a:pt x="530" y="697"/>
                        </a:ln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49" name="Lorraine" descr="© INSCALE GmbH, 05.05.2010&#10;http://www.presentationload.com/">
                    <a:extLst>
                      <a:ext uri="{FF2B5EF4-FFF2-40B4-BE49-F238E27FC236}">
                        <a16:creationId xmlns:a16="http://schemas.microsoft.com/office/drawing/2014/main" id="{EF79D3DD-7C9D-4A6A-A65F-130A66EAA630}"/>
                      </a:ext>
                    </a:extLst>
                  </p:cNvPr>
                  <p:cNvSpPr>
                    <a:spLocks/>
                  </p:cNvSpPr>
                  <p:nvPr/>
                </p:nvSpPr>
                <p:spPr bwMode="gray">
                  <a:xfrm>
                    <a:off x="2349" y="641"/>
                    <a:ext cx="619" cy="618"/>
                  </a:xfrm>
                  <a:custGeom>
                    <a:avLst/>
                    <a:gdLst/>
                    <a:ahLst/>
                    <a:cxnLst>
                      <a:cxn ang="0">
                        <a:pos x="552" y="140"/>
                      </a:cxn>
                      <a:cxn ang="0">
                        <a:pos x="524" y="152"/>
                      </a:cxn>
                      <a:cxn ang="0">
                        <a:pos x="482" y="143"/>
                      </a:cxn>
                      <a:cxn ang="0">
                        <a:pos x="464" y="142"/>
                      </a:cxn>
                      <a:cxn ang="0">
                        <a:pos x="429" y="124"/>
                      </a:cxn>
                      <a:cxn ang="0">
                        <a:pos x="423" y="143"/>
                      </a:cxn>
                      <a:cxn ang="0">
                        <a:pos x="395" y="131"/>
                      </a:cxn>
                      <a:cxn ang="0">
                        <a:pos x="388" y="114"/>
                      </a:cxn>
                      <a:cxn ang="0">
                        <a:pos x="365" y="84"/>
                      </a:cxn>
                      <a:cxn ang="0">
                        <a:pos x="368" y="71"/>
                      </a:cxn>
                      <a:cxn ang="0">
                        <a:pos x="333" y="43"/>
                      </a:cxn>
                      <a:cxn ang="0">
                        <a:pos x="281" y="38"/>
                      </a:cxn>
                      <a:cxn ang="0">
                        <a:pos x="233" y="36"/>
                      </a:cxn>
                      <a:cxn ang="0">
                        <a:pos x="191" y="20"/>
                      </a:cxn>
                      <a:cxn ang="0">
                        <a:pos x="165" y="33"/>
                      </a:cxn>
                      <a:cxn ang="0">
                        <a:pos x="128" y="21"/>
                      </a:cxn>
                      <a:cxn ang="0">
                        <a:pos x="92" y="21"/>
                      </a:cxn>
                      <a:cxn ang="0">
                        <a:pos x="70" y="37"/>
                      </a:cxn>
                      <a:cxn ang="0">
                        <a:pos x="49" y="30"/>
                      </a:cxn>
                      <a:cxn ang="0">
                        <a:pos x="26" y="49"/>
                      </a:cxn>
                      <a:cxn ang="0">
                        <a:pos x="21" y="107"/>
                      </a:cxn>
                      <a:cxn ang="0">
                        <a:pos x="8" y="137"/>
                      </a:cxn>
                      <a:cxn ang="0">
                        <a:pos x="4" y="151"/>
                      </a:cxn>
                      <a:cxn ang="0">
                        <a:pos x="26" y="223"/>
                      </a:cxn>
                      <a:cxn ang="0">
                        <a:pos x="6" y="263"/>
                      </a:cxn>
                      <a:cxn ang="0">
                        <a:pos x="26" y="295"/>
                      </a:cxn>
                      <a:cxn ang="0">
                        <a:pos x="33" y="329"/>
                      </a:cxn>
                      <a:cxn ang="0">
                        <a:pos x="125" y="395"/>
                      </a:cxn>
                      <a:cxn ang="0">
                        <a:pos x="118" y="409"/>
                      </a:cxn>
                      <a:cxn ang="0">
                        <a:pos x="136" y="414"/>
                      </a:cxn>
                      <a:cxn ang="0">
                        <a:pos x="165" y="449"/>
                      </a:cxn>
                      <a:cxn ang="0">
                        <a:pos x="181" y="461"/>
                      </a:cxn>
                      <a:cxn ang="0">
                        <a:pos x="160" y="502"/>
                      </a:cxn>
                      <a:cxn ang="0">
                        <a:pos x="197" y="519"/>
                      </a:cxn>
                      <a:cxn ang="0">
                        <a:pos x="201" y="539"/>
                      </a:cxn>
                      <a:cxn ang="0">
                        <a:pos x="217" y="544"/>
                      </a:cxn>
                      <a:cxn ang="0">
                        <a:pos x="234" y="534"/>
                      </a:cxn>
                      <a:cxn ang="0">
                        <a:pos x="244" y="537"/>
                      </a:cxn>
                      <a:cxn ang="0">
                        <a:pos x="274" y="517"/>
                      </a:cxn>
                      <a:cxn ang="0">
                        <a:pos x="286" y="534"/>
                      </a:cxn>
                      <a:cxn ang="0">
                        <a:pos x="337" y="537"/>
                      </a:cxn>
                      <a:cxn ang="0">
                        <a:pos x="372" y="537"/>
                      </a:cxn>
                      <a:cxn ang="0">
                        <a:pos x="414" y="562"/>
                      </a:cxn>
                      <a:cxn ang="0">
                        <a:pos x="442" y="559"/>
                      </a:cxn>
                      <a:cxn ang="0">
                        <a:pos x="441" y="545"/>
                      </a:cxn>
                      <a:cxn ang="0">
                        <a:pos x="472" y="470"/>
                      </a:cxn>
                      <a:cxn ang="0">
                        <a:pos x="490" y="411"/>
                      </a:cxn>
                      <a:cxn ang="0">
                        <a:pos x="469" y="399"/>
                      </a:cxn>
                      <a:cxn ang="0">
                        <a:pos x="458" y="343"/>
                      </a:cxn>
                      <a:cxn ang="0">
                        <a:pos x="508" y="299"/>
                      </a:cxn>
                      <a:cxn ang="0">
                        <a:pos x="477" y="242"/>
                      </a:cxn>
                      <a:cxn ang="0">
                        <a:pos x="449" y="243"/>
                      </a:cxn>
                      <a:cxn ang="0">
                        <a:pos x="429" y="223"/>
                      </a:cxn>
                      <a:cxn ang="0">
                        <a:pos x="450" y="166"/>
                      </a:cxn>
                      <a:cxn ang="0">
                        <a:pos x="465" y="189"/>
                      </a:cxn>
                      <a:cxn ang="0">
                        <a:pos x="533" y="197"/>
                      </a:cxn>
                      <a:cxn ang="0">
                        <a:pos x="563" y="150"/>
                      </a:cxn>
                    </a:cxnLst>
                    <a:rect l="0" t="0" r="r" b="b"/>
                    <a:pathLst>
                      <a:path w="574" h="573">
                        <a:moveTo>
                          <a:pt x="563" y="150"/>
                        </a:moveTo>
                        <a:cubicBezTo>
                          <a:pt x="569" y="145"/>
                          <a:pt x="561" y="142"/>
                          <a:pt x="552" y="140"/>
                        </a:cubicBezTo>
                        <a:cubicBezTo>
                          <a:pt x="542" y="130"/>
                          <a:pt x="536" y="147"/>
                          <a:pt x="536" y="147"/>
                        </a:cubicBezTo>
                        <a:cubicBezTo>
                          <a:pt x="524" y="152"/>
                          <a:pt x="524" y="152"/>
                          <a:pt x="524" y="152"/>
                        </a:cubicBezTo>
                        <a:cubicBezTo>
                          <a:pt x="489" y="154"/>
                          <a:pt x="489" y="154"/>
                          <a:pt x="489" y="154"/>
                        </a:cubicBezTo>
                        <a:cubicBezTo>
                          <a:pt x="482" y="143"/>
                          <a:pt x="482" y="143"/>
                          <a:pt x="482" y="143"/>
                        </a:cubicBezTo>
                        <a:cubicBezTo>
                          <a:pt x="471" y="154"/>
                          <a:pt x="471" y="154"/>
                          <a:pt x="471" y="154"/>
                        </a:cubicBezTo>
                        <a:cubicBezTo>
                          <a:pt x="464" y="142"/>
                          <a:pt x="464" y="142"/>
                          <a:pt x="464" y="142"/>
                        </a:cubicBezTo>
                        <a:cubicBezTo>
                          <a:pt x="464" y="122"/>
                          <a:pt x="438" y="126"/>
                          <a:pt x="438" y="126"/>
                        </a:cubicBezTo>
                        <a:cubicBezTo>
                          <a:pt x="429" y="124"/>
                          <a:pt x="429" y="124"/>
                          <a:pt x="429" y="124"/>
                        </a:cubicBezTo>
                        <a:cubicBezTo>
                          <a:pt x="431" y="135"/>
                          <a:pt x="431" y="135"/>
                          <a:pt x="431" y="135"/>
                        </a:cubicBezTo>
                        <a:cubicBezTo>
                          <a:pt x="423" y="143"/>
                          <a:pt x="423" y="143"/>
                          <a:pt x="423" y="143"/>
                        </a:cubicBezTo>
                        <a:cubicBezTo>
                          <a:pt x="419" y="140"/>
                          <a:pt x="419" y="140"/>
                          <a:pt x="419" y="140"/>
                        </a:cubicBezTo>
                        <a:cubicBezTo>
                          <a:pt x="397" y="145"/>
                          <a:pt x="395" y="131"/>
                          <a:pt x="395" y="131"/>
                        </a:cubicBezTo>
                        <a:cubicBezTo>
                          <a:pt x="403" y="125"/>
                          <a:pt x="397" y="121"/>
                          <a:pt x="397" y="121"/>
                        </a:cubicBezTo>
                        <a:cubicBezTo>
                          <a:pt x="392" y="126"/>
                          <a:pt x="388" y="114"/>
                          <a:pt x="388" y="114"/>
                        </a:cubicBezTo>
                        <a:cubicBezTo>
                          <a:pt x="389" y="107"/>
                          <a:pt x="377" y="99"/>
                          <a:pt x="370" y="96"/>
                        </a:cubicBezTo>
                        <a:cubicBezTo>
                          <a:pt x="370" y="88"/>
                          <a:pt x="365" y="84"/>
                          <a:pt x="365" y="84"/>
                        </a:cubicBezTo>
                        <a:cubicBezTo>
                          <a:pt x="371" y="79"/>
                          <a:pt x="371" y="79"/>
                          <a:pt x="371" y="79"/>
                        </a:cubicBezTo>
                        <a:cubicBezTo>
                          <a:pt x="368" y="71"/>
                          <a:pt x="368" y="71"/>
                          <a:pt x="368" y="71"/>
                        </a:cubicBezTo>
                        <a:cubicBezTo>
                          <a:pt x="361" y="71"/>
                          <a:pt x="358" y="59"/>
                          <a:pt x="358" y="59"/>
                        </a:cubicBezTo>
                        <a:cubicBezTo>
                          <a:pt x="333" y="43"/>
                          <a:pt x="333" y="43"/>
                          <a:pt x="333" y="43"/>
                        </a:cubicBezTo>
                        <a:cubicBezTo>
                          <a:pt x="317" y="61"/>
                          <a:pt x="297" y="38"/>
                          <a:pt x="297" y="38"/>
                        </a:cubicBezTo>
                        <a:cubicBezTo>
                          <a:pt x="297" y="38"/>
                          <a:pt x="297" y="38"/>
                          <a:pt x="281" y="38"/>
                        </a:cubicBezTo>
                        <a:cubicBezTo>
                          <a:pt x="272" y="54"/>
                          <a:pt x="245" y="52"/>
                          <a:pt x="243" y="48"/>
                        </a:cubicBezTo>
                        <a:cubicBezTo>
                          <a:pt x="241" y="44"/>
                          <a:pt x="233" y="36"/>
                          <a:pt x="233" y="36"/>
                        </a:cubicBezTo>
                        <a:cubicBezTo>
                          <a:pt x="233" y="36"/>
                          <a:pt x="223" y="33"/>
                          <a:pt x="212" y="31"/>
                        </a:cubicBezTo>
                        <a:cubicBezTo>
                          <a:pt x="206" y="20"/>
                          <a:pt x="191" y="20"/>
                          <a:pt x="191" y="20"/>
                        </a:cubicBezTo>
                        <a:cubicBezTo>
                          <a:pt x="175" y="19"/>
                          <a:pt x="175" y="19"/>
                          <a:pt x="175" y="19"/>
                        </a:cubicBezTo>
                        <a:cubicBezTo>
                          <a:pt x="165" y="33"/>
                          <a:pt x="165" y="33"/>
                          <a:pt x="165" y="33"/>
                        </a:cubicBezTo>
                        <a:cubicBezTo>
                          <a:pt x="165" y="33"/>
                          <a:pt x="162" y="29"/>
                          <a:pt x="145" y="30"/>
                        </a:cubicBezTo>
                        <a:cubicBezTo>
                          <a:pt x="126" y="45"/>
                          <a:pt x="129" y="24"/>
                          <a:pt x="128" y="21"/>
                        </a:cubicBezTo>
                        <a:cubicBezTo>
                          <a:pt x="128" y="5"/>
                          <a:pt x="111" y="1"/>
                          <a:pt x="104" y="0"/>
                        </a:cubicBezTo>
                        <a:cubicBezTo>
                          <a:pt x="92" y="21"/>
                          <a:pt x="92" y="21"/>
                          <a:pt x="92" y="21"/>
                        </a:cubicBezTo>
                        <a:cubicBezTo>
                          <a:pt x="78" y="22"/>
                          <a:pt x="78" y="22"/>
                          <a:pt x="78" y="22"/>
                        </a:cubicBezTo>
                        <a:cubicBezTo>
                          <a:pt x="70" y="37"/>
                          <a:pt x="70" y="37"/>
                          <a:pt x="70" y="37"/>
                        </a:cubicBezTo>
                        <a:cubicBezTo>
                          <a:pt x="58" y="30"/>
                          <a:pt x="58" y="30"/>
                          <a:pt x="58" y="30"/>
                        </a:cubicBezTo>
                        <a:cubicBezTo>
                          <a:pt x="49" y="30"/>
                          <a:pt x="49" y="30"/>
                          <a:pt x="49" y="30"/>
                        </a:cubicBezTo>
                        <a:cubicBezTo>
                          <a:pt x="32" y="25"/>
                          <a:pt x="32" y="25"/>
                          <a:pt x="32" y="25"/>
                        </a:cubicBezTo>
                        <a:cubicBezTo>
                          <a:pt x="32" y="25"/>
                          <a:pt x="30" y="51"/>
                          <a:pt x="26" y="49"/>
                        </a:cubicBezTo>
                        <a:cubicBezTo>
                          <a:pt x="38" y="63"/>
                          <a:pt x="38" y="78"/>
                          <a:pt x="38" y="78"/>
                        </a:cubicBezTo>
                        <a:cubicBezTo>
                          <a:pt x="38" y="78"/>
                          <a:pt x="25" y="102"/>
                          <a:pt x="21" y="107"/>
                        </a:cubicBezTo>
                        <a:cubicBezTo>
                          <a:pt x="17" y="113"/>
                          <a:pt x="25" y="125"/>
                          <a:pt x="25" y="125"/>
                        </a:cubicBezTo>
                        <a:cubicBezTo>
                          <a:pt x="8" y="137"/>
                          <a:pt x="8" y="137"/>
                          <a:pt x="8" y="137"/>
                        </a:cubicBezTo>
                        <a:cubicBezTo>
                          <a:pt x="14" y="143"/>
                          <a:pt x="14" y="143"/>
                          <a:pt x="14" y="143"/>
                        </a:cubicBezTo>
                        <a:cubicBezTo>
                          <a:pt x="4" y="151"/>
                          <a:pt x="4" y="151"/>
                          <a:pt x="4" y="151"/>
                        </a:cubicBezTo>
                        <a:cubicBezTo>
                          <a:pt x="4" y="151"/>
                          <a:pt x="20" y="197"/>
                          <a:pt x="17" y="201"/>
                        </a:cubicBezTo>
                        <a:cubicBezTo>
                          <a:pt x="28" y="195"/>
                          <a:pt x="25" y="214"/>
                          <a:pt x="26" y="223"/>
                        </a:cubicBezTo>
                        <a:cubicBezTo>
                          <a:pt x="28" y="233"/>
                          <a:pt x="4" y="242"/>
                          <a:pt x="4" y="242"/>
                        </a:cubicBezTo>
                        <a:cubicBezTo>
                          <a:pt x="6" y="263"/>
                          <a:pt x="6" y="263"/>
                          <a:pt x="6" y="263"/>
                        </a:cubicBezTo>
                        <a:cubicBezTo>
                          <a:pt x="0" y="277"/>
                          <a:pt x="0" y="277"/>
                          <a:pt x="0" y="277"/>
                        </a:cubicBezTo>
                        <a:cubicBezTo>
                          <a:pt x="26" y="295"/>
                          <a:pt x="26" y="295"/>
                          <a:pt x="26" y="295"/>
                        </a:cubicBezTo>
                        <a:cubicBezTo>
                          <a:pt x="25" y="335"/>
                          <a:pt x="25" y="335"/>
                          <a:pt x="25" y="335"/>
                        </a:cubicBezTo>
                        <a:cubicBezTo>
                          <a:pt x="33" y="329"/>
                          <a:pt x="33" y="329"/>
                          <a:pt x="33" y="329"/>
                        </a:cubicBezTo>
                        <a:cubicBezTo>
                          <a:pt x="33" y="329"/>
                          <a:pt x="68" y="356"/>
                          <a:pt x="67" y="359"/>
                        </a:cubicBezTo>
                        <a:cubicBezTo>
                          <a:pt x="84" y="359"/>
                          <a:pt x="125" y="395"/>
                          <a:pt x="125" y="395"/>
                        </a:cubicBezTo>
                        <a:cubicBezTo>
                          <a:pt x="113" y="401"/>
                          <a:pt x="113" y="401"/>
                          <a:pt x="113" y="401"/>
                        </a:cubicBezTo>
                        <a:cubicBezTo>
                          <a:pt x="118" y="409"/>
                          <a:pt x="118" y="409"/>
                          <a:pt x="118" y="409"/>
                        </a:cubicBezTo>
                        <a:cubicBezTo>
                          <a:pt x="118" y="409"/>
                          <a:pt x="120" y="412"/>
                          <a:pt x="120" y="415"/>
                        </a:cubicBezTo>
                        <a:cubicBezTo>
                          <a:pt x="126" y="411"/>
                          <a:pt x="136" y="414"/>
                          <a:pt x="136" y="414"/>
                        </a:cubicBezTo>
                        <a:cubicBezTo>
                          <a:pt x="149" y="437"/>
                          <a:pt x="149" y="437"/>
                          <a:pt x="149" y="437"/>
                        </a:cubicBezTo>
                        <a:cubicBezTo>
                          <a:pt x="165" y="426"/>
                          <a:pt x="165" y="449"/>
                          <a:pt x="165" y="449"/>
                        </a:cubicBezTo>
                        <a:cubicBezTo>
                          <a:pt x="174" y="450"/>
                          <a:pt x="174" y="450"/>
                          <a:pt x="174" y="450"/>
                        </a:cubicBezTo>
                        <a:cubicBezTo>
                          <a:pt x="181" y="461"/>
                          <a:pt x="181" y="461"/>
                          <a:pt x="181" y="461"/>
                        </a:cubicBezTo>
                        <a:cubicBezTo>
                          <a:pt x="170" y="466"/>
                          <a:pt x="170" y="490"/>
                          <a:pt x="170" y="490"/>
                        </a:cubicBezTo>
                        <a:cubicBezTo>
                          <a:pt x="160" y="502"/>
                          <a:pt x="160" y="502"/>
                          <a:pt x="160" y="502"/>
                        </a:cubicBezTo>
                        <a:cubicBezTo>
                          <a:pt x="177" y="506"/>
                          <a:pt x="177" y="506"/>
                          <a:pt x="177" y="506"/>
                        </a:cubicBezTo>
                        <a:cubicBezTo>
                          <a:pt x="197" y="519"/>
                          <a:pt x="197" y="519"/>
                          <a:pt x="197" y="519"/>
                        </a:cubicBezTo>
                        <a:cubicBezTo>
                          <a:pt x="198" y="537"/>
                          <a:pt x="198" y="537"/>
                          <a:pt x="198" y="537"/>
                        </a:cubicBezTo>
                        <a:cubicBezTo>
                          <a:pt x="201" y="539"/>
                          <a:pt x="201" y="539"/>
                          <a:pt x="201" y="539"/>
                        </a:cubicBezTo>
                        <a:cubicBezTo>
                          <a:pt x="214" y="547"/>
                          <a:pt x="214" y="547"/>
                          <a:pt x="214" y="547"/>
                        </a:cubicBezTo>
                        <a:cubicBezTo>
                          <a:pt x="217" y="544"/>
                          <a:pt x="217" y="544"/>
                          <a:pt x="217" y="544"/>
                        </a:cubicBezTo>
                        <a:cubicBezTo>
                          <a:pt x="224" y="533"/>
                          <a:pt x="224" y="533"/>
                          <a:pt x="224" y="533"/>
                        </a:cubicBezTo>
                        <a:cubicBezTo>
                          <a:pt x="234" y="534"/>
                          <a:pt x="234" y="534"/>
                          <a:pt x="234" y="534"/>
                        </a:cubicBezTo>
                        <a:cubicBezTo>
                          <a:pt x="230" y="543"/>
                          <a:pt x="230" y="543"/>
                          <a:pt x="230" y="543"/>
                        </a:cubicBezTo>
                        <a:cubicBezTo>
                          <a:pt x="244" y="537"/>
                          <a:pt x="244" y="537"/>
                          <a:pt x="244" y="537"/>
                        </a:cubicBezTo>
                        <a:cubicBezTo>
                          <a:pt x="249" y="523"/>
                          <a:pt x="249" y="523"/>
                          <a:pt x="249" y="523"/>
                        </a:cubicBezTo>
                        <a:cubicBezTo>
                          <a:pt x="274" y="517"/>
                          <a:pt x="274" y="517"/>
                          <a:pt x="274" y="517"/>
                        </a:cubicBezTo>
                        <a:cubicBezTo>
                          <a:pt x="273" y="533"/>
                          <a:pt x="273" y="533"/>
                          <a:pt x="273" y="533"/>
                        </a:cubicBezTo>
                        <a:cubicBezTo>
                          <a:pt x="286" y="534"/>
                          <a:pt x="286" y="534"/>
                          <a:pt x="286" y="534"/>
                        </a:cubicBezTo>
                        <a:cubicBezTo>
                          <a:pt x="285" y="543"/>
                          <a:pt x="285" y="543"/>
                          <a:pt x="285" y="543"/>
                        </a:cubicBezTo>
                        <a:cubicBezTo>
                          <a:pt x="285" y="543"/>
                          <a:pt x="333" y="526"/>
                          <a:pt x="337" y="537"/>
                        </a:cubicBezTo>
                        <a:cubicBezTo>
                          <a:pt x="341" y="547"/>
                          <a:pt x="346" y="554"/>
                          <a:pt x="346" y="554"/>
                        </a:cubicBezTo>
                        <a:cubicBezTo>
                          <a:pt x="372" y="537"/>
                          <a:pt x="372" y="537"/>
                          <a:pt x="372" y="537"/>
                        </a:cubicBezTo>
                        <a:cubicBezTo>
                          <a:pt x="381" y="549"/>
                          <a:pt x="381" y="549"/>
                          <a:pt x="381" y="549"/>
                        </a:cubicBezTo>
                        <a:cubicBezTo>
                          <a:pt x="414" y="562"/>
                          <a:pt x="414" y="562"/>
                          <a:pt x="414" y="562"/>
                        </a:cubicBezTo>
                        <a:cubicBezTo>
                          <a:pt x="414" y="562"/>
                          <a:pt x="422" y="573"/>
                          <a:pt x="428" y="570"/>
                        </a:cubicBezTo>
                        <a:cubicBezTo>
                          <a:pt x="433" y="567"/>
                          <a:pt x="442" y="559"/>
                          <a:pt x="442" y="559"/>
                        </a:cubicBezTo>
                        <a:cubicBezTo>
                          <a:pt x="437" y="550"/>
                          <a:pt x="437" y="550"/>
                          <a:pt x="437" y="550"/>
                        </a:cubicBezTo>
                        <a:cubicBezTo>
                          <a:pt x="441" y="545"/>
                          <a:pt x="441" y="545"/>
                          <a:pt x="441" y="545"/>
                        </a:cubicBezTo>
                        <a:cubicBezTo>
                          <a:pt x="442" y="514"/>
                          <a:pt x="442" y="514"/>
                          <a:pt x="442" y="514"/>
                        </a:cubicBezTo>
                        <a:cubicBezTo>
                          <a:pt x="442" y="514"/>
                          <a:pt x="460" y="511"/>
                          <a:pt x="472" y="470"/>
                        </a:cubicBezTo>
                        <a:cubicBezTo>
                          <a:pt x="476" y="470"/>
                          <a:pt x="469" y="466"/>
                          <a:pt x="469" y="466"/>
                        </a:cubicBezTo>
                        <a:cubicBezTo>
                          <a:pt x="490" y="411"/>
                          <a:pt x="490" y="411"/>
                          <a:pt x="490" y="411"/>
                        </a:cubicBezTo>
                        <a:cubicBezTo>
                          <a:pt x="489" y="402"/>
                          <a:pt x="489" y="402"/>
                          <a:pt x="489" y="402"/>
                        </a:cubicBezTo>
                        <a:cubicBezTo>
                          <a:pt x="489" y="402"/>
                          <a:pt x="469" y="411"/>
                          <a:pt x="469" y="399"/>
                        </a:cubicBezTo>
                        <a:cubicBezTo>
                          <a:pt x="469" y="387"/>
                          <a:pt x="472" y="349"/>
                          <a:pt x="472" y="349"/>
                        </a:cubicBezTo>
                        <a:cubicBezTo>
                          <a:pt x="458" y="343"/>
                          <a:pt x="458" y="343"/>
                          <a:pt x="458" y="343"/>
                        </a:cubicBezTo>
                        <a:cubicBezTo>
                          <a:pt x="480" y="338"/>
                          <a:pt x="480" y="338"/>
                          <a:pt x="480" y="338"/>
                        </a:cubicBezTo>
                        <a:cubicBezTo>
                          <a:pt x="480" y="338"/>
                          <a:pt x="505" y="337"/>
                          <a:pt x="508" y="299"/>
                        </a:cubicBezTo>
                        <a:cubicBezTo>
                          <a:pt x="506" y="304"/>
                          <a:pt x="487" y="294"/>
                          <a:pt x="505" y="262"/>
                        </a:cubicBezTo>
                        <a:cubicBezTo>
                          <a:pt x="502" y="260"/>
                          <a:pt x="483" y="244"/>
                          <a:pt x="477" y="242"/>
                        </a:cubicBezTo>
                        <a:cubicBezTo>
                          <a:pt x="470" y="239"/>
                          <a:pt x="457" y="258"/>
                          <a:pt x="457" y="258"/>
                        </a:cubicBezTo>
                        <a:cubicBezTo>
                          <a:pt x="449" y="243"/>
                          <a:pt x="449" y="243"/>
                          <a:pt x="449" y="243"/>
                        </a:cubicBezTo>
                        <a:cubicBezTo>
                          <a:pt x="457" y="233"/>
                          <a:pt x="457" y="233"/>
                          <a:pt x="457" y="233"/>
                        </a:cubicBezTo>
                        <a:cubicBezTo>
                          <a:pt x="429" y="223"/>
                          <a:pt x="429" y="223"/>
                          <a:pt x="429" y="223"/>
                        </a:cubicBezTo>
                        <a:cubicBezTo>
                          <a:pt x="429" y="223"/>
                          <a:pt x="434" y="203"/>
                          <a:pt x="444" y="205"/>
                        </a:cubicBezTo>
                        <a:cubicBezTo>
                          <a:pt x="450" y="166"/>
                          <a:pt x="450" y="166"/>
                          <a:pt x="450" y="166"/>
                        </a:cubicBezTo>
                        <a:cubicBezTo>
                          <a:pt x="456" y="167"/>
                          <a:pt x="456" y="167"/>
                          <a:pt x="456" y="167"/>
                        </a:cubicBezTo>
                        <a:cubicBezTo>
                          <a:pt x="465" y="189"/>
                          <a:pt x="465" y="189"/>
                          <a:pt x="465" y="189"/>
                        </a:cubicBezTo>
                        <a:cubicBezTo>
                          <a:pt x="493" y="193"/>
                          <a:pt x="493" y="193"/>
                          <a:pt x="493" y="193"/>
                        </a:cubicBezTo>
                        <a:cubicBezTo>
                          <a:pt x="493" y="193"/>
                          <a:pt x="498" y="217"/>
                          <a:pt x="533" y="197"/>
                        </a:cubicBezTo>
                        <a:cubicBezTo>
                          <a:pt x="533" y="197"/>
                          <a:pt x="553" y="229"/>
                          <a:pt x="574" y="164"/>
                        </a:cubicBezTo>
                        <a:lnTo>
                          <a:pt x="563" y="150"/>
                        </a:ln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50" name="Alsace" descr="© INSCALE GmbH, 05.05.2010&#10;http://www.presentationload.com/">
                    <a:extLst>
                      <a:ext uri="{FF2B5EF4-FFF2-40B4-BE49-F238E27FC236}">
                        <a16:creationId xmlns:a16="http://schemas.microsoft.com/office/drawing/2014/main" id="{7419082D-1378-4273-865C-4E42B3FB087F}"/>
                      </a:ext>
                    </a:extLst>
                  </p:cNvPr>
                  <p:cNvSpPr>
                    <a:spLocks/>
                  </p:cNvSpPr>
                  <p:nvPr/>
                </p:nvSpPr>
                <p:spPr bwMode="gray">
                  <a:xfrm>
                    <a:off x="2808" y="818"/>
                    <a:ext cx="317" cy="567"/>
                  </a:xfrm>
                  <a:custGeom>
                    <a:avLst/>
                    <a:gdLst/>
                    <a:ahLst/>
                    <a:cxnLst>
                      <a:cxn ang="0">
                        <a:pos x="271" y="35"/>
                      </a:cxn>
                      <a:cxn ang="0">
                        <a:pos x="250" y="20"/>
                      </a:cxn>
                      <a:cxn ang="0">
                        <a:pos x="242" y="22"/>
                      </a:cxn>
                      <a:cxn ang="0">
                        <a:pos x="225" y="13"/>
                      </a:cxn>
                      <a:cxn ang="0">
                        <a:pos x="206" y="12"/>
                      </a:cxn>
                      <a:cxn ang="0">
                        <a:pos x="172" y="14"/>
                      </a:cxn>
                      <a:cxn ang="0">
                        <a:pos x="164" y="2"/>
                      </a:cxn>
                      <a:cxn ang="0">
                        <a:pos x="152" y="4"/>
                      </a:cxn>
                      <a:cxn ang="0">
                        <a:pos x="148" y="0"/>
                      </a:cxn>
                      <a:cxn ang="0">
                        <a:pos x="107" y="33"/>
                      </a:cxn>
                      <a:cxn ang="0">
                        <a:pos x="67" y="29"/>
                      </a:cxn>
                      <a:cxn ang="0">
                        <a:pos x="39" y="25"/>
                      </a:cxn>
                      <a:cxn ang="0">
                        <a:pos x="30" y="3"/>
                      </a:cxn>
                      <a:cxn ang="0">
                        <a:pos x="24" y="2"/>
                      </a:cxn>
                      <a:cxn ang="0">
                        <a:pos x="18" y="41"/>
                      </a:cxn>
                      <a:cxn ang="0">
                        <a:pos x="3" y="59"/>
                      </a:cxn>
                      <a:cxn ang="0">
                        <a:pos x="31" y="69"/>
                      </a:cxn>
                      <a:cxn ang="0">
                        <a:pos x="23" y="79"/>
                      </a:cxn>
                      <a:cxn ang="0">
                        <a:pos x="31" y="94"/>
                      </a:cxn>
                      <a:cxn ang="0">
                        <a:pos x="51" y="78"/>
                      </a:cxn>
                      <a:cxn ang="0">
                        <a:pos x="79" y="98"/>
                      </a:cxn>
                      <a:cxn ang="0">
                        <a:pos x="82" y="135"/>
                      </a:cxn>
                      <a:cxn ang="0">
                        <a:pos x="54" y="174"/>
                      </a:cxn>
                      <a:cxn ang="0">
                        <a:pos x="32" y="179"/>
                      </a:cxn>
                      <a:cxn ang="0">
                        <a:pos x="46" y="185"/>
                      </a:cxn>
                      <a:cxn ang="0">
                        <a:pos x="43" y="235"/>
                      </a:cxn>
                      <a:cxn ang="0">
                        <a:pos x="63" y="238"/>
                      </a:cxn>
                      <a:cxn ang="0">
                        <a:pos x="64" y="247"/>
                      </a:cxn>
                      <a:cxn ang="0">
                        <a:pos x="43" y="302"/>
                      </a:cxn>
                      <a:cxn ang="0">
                        <a:pos x="46" y="306"/>
                      </a:cxn>
                      <a:cxn ang="0">
                        <a:pos x="16" y="350"/>
                      </a:cxn>
                      <a:cxn ang="0">
                        <a:pos x="15" y="381"/>
                      </a:cxn>
                      <a:cxn ang="0">
                        <a:pos x="11" y="386"/>
                      </a:cxn>
                      <a:cxn ang="0">
                        <a:pos x="16" y="395"/>
                      </a:cxn>
                      <a:cxn ang="0">
                        <a:pos x="2" y="406"/>
                      </a:cxn>
                      <a:cxn ang="0">
                        <a:pos x="0" y="406"/>
                      </a:cxn>
                      <a:cxn ang="0">
                        <a:pos x="4" y="417"/>
                      </a:cxn>
                      <a:cxn ang="0">
                        <a:pos x="43" y="471"/>
                      </a:cxn>
                      <a:cxn ang="0">
                        <a:pos x="66" y="496"/>
                      </a:cxn>
                      <a:cxn ang="0">
                        <a:pos x="90" y="499"/>
                      </a:cxn>
                      <a:cxn ang="0">
                        <a:pos x="113" y="510"/>
                      </a:cxn>
                      <a:cxn ang="0">
                        <a:pos x="143" y="491"/>
                      </a:cxn>
                      <a:cxn ang="0">
                        <a:pos x="152" y="503"/>
                      </a:cxn>
                      <a:cxn ang="0">
                        <a:pos x="161" y="493"/>
                      </a:cxn>
                      <a:cxn ang="0">
                        <a:pos x="174" y="463"/>
                      </a:cxn>
                      <a:cxn ang="0">
                        <a:pos x="165" y="419"/>
                      </a:cxn>
                      <a:cxn ang="0">
                        <a:pos x="167" y="386"/>
                      </a:cxn>
                      <a:cxn ang="0">
                        <a:pos x="176" y="349"/>
                      </a:cxn>
                      <a:cxn ang="0">
                        <a:pos x="176" y="336"/>
                      </a:cxn>
                      <a:cxn ang="0">
                        <a:pos x="185" y="262"/>
                      </a:cxn>
                      <a:cxn ang="0">
                        <a:pos x="199" y="229"/>
                      </a:cxn>
                      <a:cxn ang="0">
                        <a:pos x="209" y="177"/>
                      </a:cxn>
                      <a:cxn ang="0">
                        <a:pos x="218" y="138"/>
                      </a:cxn>
                      <a:cxn ang="0">
                        <a:pos x="245" y="104"/>
                      </a:cxn>
                      <a:cxn ang="0">
                        <a:pos x="261" y="93"/>
                      </a:cxn>
                      <a:cxn ang="0">
                        <a:pos x="279" y="58"/>
                      </a:cxn>
                      <a:cxn ang="0">
                        <a:pos x="294" y="35"/>
                      </a:cxn>
                      <a:cxn ang="0">
                        <a:pos x="271" y="35"/>
                      </a:cxn>
                    </a:cxnLst>
                    <a:rect l="0" t="0" r="r" b="b"/>
                    <a:pathLst>
                      <a:path w="294" h="526">
                        <a:moveTo>
                          <a:pt x="271" y="35"/>
                        </a:moveTo>
                        <a:cubicBezTo>
                          <a:pt x="250" y="20"/>
                          <a:pt x="250" y="20"/>
                          <a:pt x="250" y="20"/>
                        </a:cubicBezTo>
                        <a:cubicBezTo>
                          <a:pt x="242" y="22"/>
                          <a:pt x="242" y="22"/>
                          <a:pt x="242" y="22"/>
                        </a:cubicBezTo>
                        <a:cubicBezTo>
                          <a:pt x="233" y="7"/>
                          <a:pt x="232" y="15"/>
                          <a:pt x="225" y="13"/>
                        </a:cubicBezTo>
                        <a:cubicBezTo>
                          <a:pt x="215" y="25"/>
                          <a:pt x="206" y="12"/>
                          <a:pt x="206" y="12"/>
                        </a:cubicBezTo>
                        <a:cubicBezTo>
                          <a:pt x="172" y="14"/>
                          <a:pt x="172" y="14"/>
                          <a:pt x="172" y="14"/>
                        </a:cubicBezTo>
                        <a:cubicBezTo>
                          <a:pt x="164" y="2"/>
                          <a:pt x="164" y="2"/>
                          <a:pt x="164" y="2"/>
                        </a:cubicBezTo>
                        <a:cubicBezTo>
                          <a:pt x="152" y="4"/>
                          <a:pt x="152" y="4"/>
                          <a:pt x="152" y="4"/>
                        </a:cubicBezTo>
                        <a:cubicBezTo>
                          <a:pt x="148" y="0"/>
                          <a:pt x="148" y="0"/>
                          <a:pt x="148" y="0"/>
                        </a:cubicBezTo>
                        <a:cubicBezTo>
                          <a:pt x="127" y="65"/>
                          <a:pt x="107" y="33"/>
                          <a:pt x="107" y="33"/>
                        </a:cubicBezTo>
                        <a:cubicBezTo>
                          <a:pt x="72" y="53"/>
                          <a:pt x="67" y="29"/>
                          <a:pt x="67" y="29"/>
                        </a:cubicBezTo>
                        <a:cubicBezTo>
                          <a:pt x="39" y="25"/>
                          <a:pt x="39" y="25"/>
                          <a:pt x="39" y="25"/>
                        </a:cubicBezTo>
                        <a:cubicBezTo>
                          <a:pt x="30" y="3"/>
                          <a:pt x="30" y="3"/>
                          <a:pt x="30" y="3"/>
                        </a:cubicBezTo>
                        <a:cubicBezTo>
                          <a:pt x="24" y="2"/>
                          <a:pt x="24" y="2"/>
                          <a:pt x="24" y="2"/>
                        </a:cubicBezTo>
                        <a:cubicBezTo>
                          <a:pt x="18" y="41"/>
                          <a:pt x="18" y="41"/>
                          <a:pt x="18" y="41"/>
                        </a:cubicBezTo>
                        <a:cubicBezTo>
                          <a:pt x="8" y="39"/>
                          <a:pt x="3" y="59"/>
                          <a:pt x="3" y="59"/>
                        </a:cubicBezTo>
                        <a:cubicBezTo>
                          <a:pt x="31" y="69"/>
                          <a:pt x="31" y="69"/>
                          <a:pt x="31" y="69"/>
                        </a:cubicBezTo>
                        <a:cubicBezTo>
                          <a:pt x="23" y="79"/>
                          <a:pt x="23" y="79"/>
                          <a:pt x="23" y="79"/>
                        </a:cubicBezTo>
                        <a:cubicBezTo>
                          <a:pt x="31" y="94"/>
                          <a:pt x="31" y="94"/>
                          <a:pt x="31" y="94"/>
                        </a:cubicBezTo>
                        <a:cubicBezTo>
                          <a:pt x="31" y="94"/>
                          <a:pt x="44" y="75"/>
                          <a:pt x="51" y="78"/>
                        </a:cubicBezTo>
                        <a:cubicBezTo>
                          <a:pt x="57" y="80"/>
                          <a:pt x="76" y="96"/>
                          <a:pt x="79" y="98"/>
                        </a:cubicBezTo>
                        <a:cubicBezTo>
                          <a:pt x="61" y="130"/>
                          <a:pt x="80" y="140"/>
                          <a:pt x="82" y="135"/>
                        </a:cubicBezTo>
                        <a:cubicBezTo>
                          <a:pt x="79" y="173"/>
                          <a:pt x="54" y="174"/>
                          <a:pt x="54" y="174"/>
                        </a:cubicBezTo>
                        <a:cubicBezTo>
                          <a:pt x="32" y="179"/>
                          <a:pt x="32" y="179"/>
                          <a:pt x="32" y="179"/>
                        </a:cubicBezTo>
                        <a:cubicBezTo>
                          <a:pt x="46" y="185"/>
                          <a:pt x="46" y="185"/>
                          <a:pt x="46" y="185"/>
                        </a:cubicBezTo>
                        <a:cubicBezTo>
                          <a:pt x="46" y="185"/>
                          <a:pt x="43" y="223"/>
                          <a:pt x="43" y="235"/>
                        </a:cubicBezTo>
                        <a:cubicBezTo>
                          <a:pt x="43" y="247"/>
                          <a:pt x="63" y="238"/>
                          <a:pt x="63" y="238"/>
                        </a:cubicBezTo>
                        <a:cubicBezTo>
                          <a:pt x="64" y="247"/>
                          <a:pt x="64" y="247"/>
                          <a:pt x="64" y="247"/>
                        </a:cubicBezTo>
                        <a:cubicBezTo>
                          <a:pt x="43" y="302"/>
                          <a:pt x="43" y="302"/>
                          <a:pt x="43" y="302"/>
                        </a:cubicBezTo>
                        <a:cubicBezTo>
                          <a:pt x="43" y="302"/>
                          <a:pt x="50" y="306"/>
                          <a:pt x="46" y="306"/>
                        </a:cubicBezTo>
                        <a:cubicBezTo>
                          <a:pt x="34" y="347"/>
                          <a:pt x="16" y="350"/>
                          <a:pt x="16" y="350"/>
                        </a:cubicBezTo>
                        <a:cubicBezTo>
                          <a:pt x="15" y="381"/>
                          <a:pt x="15" y="381"/>
                          <a:pt x="15" y="381"/>
                        </a:cubicBezTo>
                        <a:cubicBezTo>
                          <a:pt x="11" y="386"/>
                          <a:pt x="11" y="386"/>
                          <a:pt x="11" y="386"/>
                        </a:cubicBezTo>
                        <a:cubicBezTo>
                          <a:pt x="16" y="395"/>
                          <a:pt x="16" y="395"/>
                          <a:pt x="16" y="395"/>
                        </a:cubicBezTo>
                        <a:cubicBezTo>
                          <a:pt x="16" y="395"/>
                          <a:pt x="7" y="403"/>
                          <a:pt x="2" y="406"/>
                        </a:cubicBezTo>
                        <a:cubicBezTo>
                          <a:pt x="1" y="406"/>
                          <a:pt x="1" y="406"/>
                          <a:pt x="0" y="406"/>
                        </a:cubicBezTo>
                        <a:cubicBezTo>
                          <a:pt x="4" y="417"/>
                          <a:pt x="4" y="417"/>
                          <a:pt x="4" y="417"/>
                        </a:cubicBezTo>
                        <a:cubicBezTo>
                          <a:pt x="4" y="417"/>
                          <a:pt x="52" y="414"/>
                          <a:pt x="43" y="471"/>
                        </a:cubicBezTo>
                        <a:cubicBezTo>
                          <a:pt x="45" y="477"/>
                          <a:pt x="61" y="476"/>
                          <a:pt x="66" y="496"/>
                        </a:cubicBezTo>
                        <a:cubicBezTo>
                          <a:pt x="76" y="498"/>
                          <a:pt x="87" y="500"/>
                          <a:pt x="90" y="499"/>
                        </a:cubicBezTo>
                        <a:cubicBezTo>
                          <a:pt x="92" y="526"/>
                          <a:pt x="116" y="512"/>
                          <a:pt x="113" y="510"/>
                        </a:cubicBezTo>
                        <a:cubicBezTo>
                          <a:pt x="153" y="521"/>
                          <a:pt x="143" y="491"/>
                          <a:pt x="143" y="491"/>
                        </a:cubicBezTo>
                        <a:cubicBezTo>
                          <a:pt x="152" y="503"/>
                          <a:pt x="152" y="503"/>
                          <a:pt x="152" y="503"/>
                        </a:cubicBezTo>
                        <a:cubicBezTo>
                          <a:pt x="152" y="503"/>
                          <a:pt x="152" y="503"/>
                          <a:pt x="161" y="493"/>
                        </a:cubicBezTo>
                        <a:cubicBezTo>
                          <a:pt x="158" y="468"/>
                          <a:pt x="174" y="468"/>
                          <a:pt x="174" y="463"/>
                        </a:cubicBezTo>
                        <a:cubicBezTo>
                          <a:pt x="154" y="435"/>
                          <a:pt x="165" y="419"/>
                          <a:pt x="165" y="419"/>
                        </a:cubicBezTo>
                        <a:cubicBezTo>
                          <a:pt x="165" y="419"/>
                          <a:pt x="159" y="406"/>
                          <a:pt x="167" y="386"/>
                        </a:cubicBezTo>
                        <a:cubicBezTo>
                          <a:pt x="166" y="363"/>
                          <a:pt x="176" y="349"/>
                          <a:pt x="176" y="349"/>
                        </a:cubicBezTo>
                        <a:cubicBezTo>
                          <a:pt x="176" y="336"/>
                          <a:pt x="176" y="336"/>
                          <a:pt x="176" y="336"/>
                        </a:cubicBezTo>
                        <a:cubicBezTo>
                          <a:pt x="144" y="322"/>
                          <a:pt x="179" y="281"/>
                          <a:pt x="185" y="262"/>
                        </a:cubicBezTo>
                        <a:cubicBezTo>
                          <a:pt x="180" y="238"/>
                          <a:pt x="199" y="232"/>
                          <a:pt x="199" y="229"/>
                        </a:cubicBezTo>
                        <a:cubicBezTo>
                          <a:pt x="191" y="200"/>
                          <a:pt x="207" y="183"/>
                          <a:pt x="209" y="177"/>
                        </a:cubicBezTo>
                        <a:cubicBezTo>
                          <a:pt x="200" y="156"/>
                          <a:pt x="215" y="141"/>
                          <a:pt x="218" y="138"/>
                        </a:cubicBezTo>
                        <a:cubicBezTo>
                          <a:pt x="247" y="113"/>
                          <a:pt x="245" y="104"/>
                          <a:pt x="245" y="104"/>
                        </a:cubicBezTo>
                        <a:cubicBezTo>
                          <a:pt x="251" y="104"/>
                          <a:pt x="261" y="93"/>
                          <a:pt x="261" y="93"/>
                        </a:cubicBezTo>
                        <a:cubicBezTo>
                          <a:pt x="270" y="94"/>
                          <a:pt x="279" y="58"/>
                          <a:pt x="279" y="58"/>
                        </a:cubicBezTo>
                        <a:cubicBezTo>
                          <a:pt x="294" y="35"/>
                          <a:pt x="294" y="35"/>
                          <a:pt x="294" y="35"/>
                        </a:cubicBezTo>
                        <a:lnTo>
                          <a:pt x="271" y="35"/>
                        </a:ln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51" name="Franche-Comté" descr="© INSCALE GmbH, 05.05.2010&#10;http://www.presentationload.com/">
                    <a:extLst>
                      <a:ext uri="{FF2B5EF4-FFF2-40B4-BE49-F238E27FC236}">
                        <a16:creationId xmlns:a16="http://schemas.microsoft.com/office/drawing/2014/main" id="{4F009507-78AB-43F0-A676-CA0CF0BD0225}"/>
                      </a:ext>
                    </a:extLst>
                  </p:cNvPr>
                  <p:cNvSpPr>
                    <a:spLocks/>
                  </p:cNvSpPr>
                  <p:nvPr/>
                </p:nvSpPr>
                <p:spPr bwMode="gray">
                  <a:xfrm>
                    <a:off x="2452" y="1199"/>
                    <a:ext cx="435" cy="623"/>
                  </a:xfrm>
                  <a:custGeom>
                    <a:avLst/>
                    <a:gdLst/>
                    <a:ahLst/>
                    <a:cxnLst>
                      <a:cxn ang="0">
                        <a:pos x="40" y="136"/>
                      </a:cxn>
                      <a:cxn ang="0">
                        <a:pos x="17" y="186"/>
                      </a:cxn>
                      <a:cxn ang="0">
                        <a:pos x="30" y="212"/>
                      </a:cxn>
                      <a:cxn ang="0">
                        <a:pos x="46" y="228"/>
                      </a:cxn>
                      <a:cxn ang="0">
                        <a:pos x="13" y="312"/>
                      </a:cxn>
                      <a:cxn ang="0">
                        <a:pos x="12" y="326"/>
                      </a:cxn>
                      <a:cxn ang="0">
                        <a:pos x="14" y="353"/>
                      </a:cxn>
                      <a:cxn ang="0">
                        <a:pos x="46" y="380"/>
                      </a:cxn>
                      <a:cxn ang="0">
                        <a:pos x="25" y="402"/>
                      </a:cxn>
                      <a:cxn ang="0">
                        <a:pos x="36" y="418"/>
                      </a:cxn>
                      <a:cxn ang="0">
                        <a:pos x="37" y="465"/>
                      </a:cxn>
                      <a:cxn ang="0">
                        <a:pos x="40" y="498"/>
                      </a:cxn>
                      <a:cxn ang="0">
                        <a:pos x="18" y="524"/>
                      </a:cxn>
                      <a:cxn ang="0">
                        <a:pos x="32" y="542"/>
                      </a:cxn>
                      <a:cxn ang="0">
                        <a:pos x="53" y="566"/>
                      </a:cxn>
                      <a:cxn ang="0">
                        <a:pos x="109" y="548"/>
                      </a:cxn>
                      <a:cxn ang="0">
                        <a:pos x="145" y="562"/>
                      </a:cxn>
                      <a:cxn ang="0">
                        <a:pos x="200" y="497"/>
                      </a:cxn>
                      <a:cxn ang="0">
                        <a:pos x="201" y="425"/>
                      </a:cxn>
                      <a:cxn ang="0">
                        <a:pos x="257" y="358"/>
                      </a:cxn>
                      <a:cxn ang="0">
                        <a:pos x="272" y="305"/>
                      </a:cxn>
                      <a:cxn ang="0">
                        <a:pos x="312" y="288"/>
                      </a:cxn>
                      <a:cxn ang="0">
                        <a:pos x="370" y="218"/>
                      </a:cxn>
                      <a:cxn ang="0">
                        <a:pos x="373" y="202"/>
                      </a:cxn>
                      <a:cxn ang="0">
                        <a:pos x="386" y="180"/>
                      </a:cxn>
                      <a:cxn ang="0">
                        <a:pos x="364" y="161"/>
                      </a:cxn>
                      <a:cxn ang="0">
                        <a:pos x="378" y="139"/>
                      </a:cxn>
                      <a:cxn ang="0">
                        <a:pos x="373" y="118"/>
                      </a:cxn>
                      <a:cxn ang="0">
                        <a:pos x="330" y="53"/>
                      </a:cxn>
                      <a:cxn ang="0">
                        <a:pos x="285" y="32"/>
                      </a:cxn>
                      <a:cxn ang="0">
                        <a:pos x="250" y="37"/>
                      </a:cxn>
                      <a:cxn ang="0">
                        <a:pos x="189" y="26"/>
                      </a:cxn>
                      <a:cxn ang="0">
                        <a:pos x="177" y="16"/>
                      </a:cxn>
                      <a:cxn ang="0">
                        <a:pos x="153" y="6"/>
                      </a:cxn>
                      <a:cxn ang="0">
                        <a:pos x="134" y="26"/>
                      </a:cxn>
                      <a:cxn ang="0">
                        <a:pos x="128" y="16"/>
                      </a:cxn>
                      <a:cxn ang="0">
                        <a:pos x="124" y="36"/>
                      </a:cxn>
                      <a:cxn ang="0">
                        <a:pos x="113" y="56"/>
                      </a:cxn>
                      <a:cxn ang="0">
                        <a:pos x="93" y="69"/>
                      </a:cxn>
                      <a:cxn ang="0">
                        <a:pos x="80" y="78"/>
                      </a:cxn>
                      <a:cxn ang="0">
                        <a:pos x="88" y="109"/>
                      </a:cxn>
                      <a:cxn ang="0">
                        <a:pos x="57" y="106"/>
                      </a:cxn>
                      <a:cxn ang="0">
                        <a:pos x="26" y="112"/>
                      </a:cxn>
                      <a:cxn ang="0">
                        <a:pos x="24" y="140"/>
                      </a:cxn>
                    </a:cxnLst>
                    <a:rect l="0" t="0" r="r" b="b"/>
                    <a:pathLst>
                      <a:path w="403" h="577">
                        <a:moveTo>
                          <a:pt x="32" y="132"/>
                        </a:moveTo>
                        <a:cubicBezTo>
                          <a:pt x="40" y="136"/>
                          <a:pt x="40" y="136"/>
                          <a:pt x="40" y="136"/>
                        </a:cubicBezTo>
                        <a:cubicBezTo>
                          <a:pt x="40" y="136"/>
                          <a:pt x="45" y="176"/>
                          <a:pt x="29" y="176"/>
                        </a:cubicBezTo>
                        <a:cubicBezTo>
                          <a:pt x="13" y="176"/>
                          <a:pt x="25" y="186"/>
                          <a:pt x="17" y="186"/>
                        </a:cubicBezTo>
                        <a:cubicBezTo>
                          <a:pt x="9" y="186"/>
                          <a:pt x="30" y="190"/>
                          <a:pt x="30" y="190"/>
                        </a:cubicBezTo>
                        <a:cubicBezTo>
                          <a:pt x="30" y="212"/>
                          <a:pt x="30" y="212"/>
                          <a:pt x="30" y="212"/>
                        </a:cubicBezTo>
                        <a:cubicBezTo>
                          <a:pt x="49" y="208"/>
                          <a:pt x="49" y="208"/>
                          <a:pt x="49" y="208"/>
                        </a:cubicBezTo>
                        <a:cubicBezTo>
                          <a:pt x="46" y="228"/>
                          <a:pt x="46" y="228"/>
                          <a:pt x="46" y="228"/>
                        </a:cubicBezTo>
                        <a:cubicBezTo>
                          <a:pt x="54" y="236"/>
                          <a:pt x="54" y="236"/>
                          <a:pt x="54" y="236"/>
                        </a:cubicBezTo>
                        <a:cubicBezTo>
                          <a:pt x="54" y="236"/>
                          <a:pt x="34" y="301"/>
                          <a:pt x="13" y="312"/>
                        </a:cubicBezTo>
                        <a:cubicBezTo>
                          <a:pt x="10" y="316"/>
                          <a:pt x="5" y="325"/>
                          <a:pt x="5" y="325"/>
                        </a:cubicBezTo>
                        <a:cubicBezTo>
                          <a:pt x="12" y="326"/>
                          <a:pt x="12" y="326"/>
                          <a:pt x="12" y="326"/>
                        </a:cubicBezTo>
                        <a:cubicBezTo>
                          <a:pt x="12" y="326"/>
                          <a:pt x="0" y="340"/>
                          <a:pt x="0" y="352"/>
                        </a:cubicBezTo>
                        <a:cubicBezTo>
                          <a:pt x="14" y="353"/>
                          <a:pt x="14" y="353"/>
                          <a:pt x="14" y="353"/>
                        </a:cubicBezTo>
                        <a:cubicBezTo>
                          <a:pt x="18" y="364"/>
                          <a:pt x="18" y="364"/>
                          <a:pt x="18" y="364"/>
                        </a:cubicBezTo>
                        <a:cubicBezTo>
                          <a:pt x="18" y="364"/>
                          <a:pt x="30" y="368"/>
                          <a:pt x="46" y="380"/>
                        </a:cubicBezTo>
                        <a:cubicBezTo>
                          <a:pt x="13" y="392"/>
                          <a:pt x="13" y="392"/>
                          <a:pt x="13" y="392"/>
                        </a:cubicBezTo>
                        <a:cubicBezTo>
                          <a:pt x="25" y="402"/>
                          <a:pt x="25" y="402"/>
                          <a:pt x="25" y="402"/>
                        </a:cubicBezTo>
                        <a:cubicBezTo>
                          <a:pt x="25" y="422"/>
                          <a:pt x="25" y="422"/>
                          <a:pt x="25" y="422"/>
                        </a:cubicBezTo>
                        <a:cubicBezTo>
                          <a:pt x="36" y="418"/>
                          <a:pt x="36" y="418"/>
                          <a:pt x="36" y="418"/>
                        </a:cubicBezTo>
                        <a:cubicBezTo>
                          <a:pt x="36" y="418"/>
                          <a:pt x="28" y="436"/>
                          <a:pt x="45" y="445"/>
                        </a:cubicBezTo>
                        <a:cubicBezTo>
                          <a:pt x="40" y="445"/>
                          <a:pt x="37" y="465"/>
                          <a:pt x="37" y="465"/>
                        </a:cubicBezTo>
                        <a:cubicBezTo>
                          <a:pt x="37" y="465"/>
                          <a:pt x="16" y="484"/>
                          <a:pt x="41" y="490"/>
                        </a:cubicBezTo>
                        <a:cubicBezTo>
                          <a:pt x="44" y="492"/>
                          <a:pt x="40" y="498"/>
                          <a:pt x="40" y="498"/>
                        </a:cubicBezTo>
                        <a:cubicBezTo>
                          <a:pt x="21" y="504"/>
                          <a:pt x="21" y="504"/>
                          <a:pt x="21" y="504"/>
                        </a:cubicBezTo>
                        <a:cubicBezTo>
                          <a:pt x="18" y="524"/>
                          <a:pt x="18" y="524"/>
                          <a:pt x="18" y="524"/>
                        </a:cubicBezTo>
                        <a:cubicBezTo>
                          <a:pt x="32" y="529"/>
                          <a:pt x="32" y="529"/>
                          <a:pt x="32" y="529"/>
                        </a:cubicBezTo>
                        <a:cubicBezTo>
                          <a:pt x="32" y="542"/>
                          <a:pt x="32" y="542"/>
                          <a:pt x="32" y="542"/>
                        </a:cubicBezTo>
                        <a:cubicBezTo>
                          <a:pt x="56" y="553"/>
                          <a:pt x="56" y="553"/>
                          <a:pt x="56" y="553"/>
                        </a:cubicBezTo>
                        <a:cubicBezTo>
                          <a:pt x="53" y="566"/>
                          <a:pt x="53" y="566"/>
                          <a:pt x="53" y="566"/>
                        </a:cubicBezTo>
                        <a:cubicBezTo>
                          <a:pt x="53" y="566"/>
                          <a:pt x="76" y="577"/>
                          <a:pt x="93" y="538"/>
                        </a:cubicBezTo>
                        <a:cubicBezTo>
                          <a:pt x="89" y="545"/>
                          <a:pt x="109" y="548"/>
                          <a:pt x="109" y="548"/>
                        </a:cubicBezTo>
                        <a:cubicBezTo>
                          <a:pt x="113" y="564"/>
                          <a:pt x="113" y="564"/>
                          <a:pt x="113" y="564"/>
                        </a:cubicBezTo>
                        <a:cubicBezTo>
                          <a:pt x="145" y="562"/>
                          <a:pt x="145" y="562"/>
                          <a:pt x="145" y="562"/>
                        </a:cubicBezTo>
                        <a:cubicBezTo>
                          <a:pt x="202" y="503"/>
                          <a:pt x="202" y="503"/>
                          <a:pt x="202" y="503"/>
                        </a:cubicBezTo>
                        <a:cubicBezTo>
                          <a:pt x="201" y="500"/>
                          <a:pt x="200" y="497"/>
                          <a:pt x="200" y="497"/>
                        </a:cubicBezTo>
                        <a:cubicBezTo>
                          <a:pt x="166" y="487"/>
                          <a:pt x="201" y="445"/>
                          <a:pt x="201" y="445"/>
                        </a:cubicBezTo>
                        <a:cubicBezTo>
                          <a:pt x="188" y="434"/>
                          <a:pt x="201" y="425"/>
                          <a:pt x="201" y="425"/>
                        </a:cubicBezTo>
                        <a:cubicBezTo>
                          <a:pt x="201" y="425"/>
                          <a:pt x="253" y="379"/>
                          <a:pt x="253" y="376"/>
                        </a:cubicBezTo>
                        <a:cubicBezTo>
                          <a:pt x="261" y="375"/>
                          <a:pt x="271" y="367"/>
                          <a:pt x="257" y="358"/>
                        </a:cubicBezTo>
                        <a:cubicBezTo>
                          <a:pt x="276" y="339"/>
                          <a:pt x="259" y="323"/>
                          <a:pt x="259" y="323"/>
                        </a:cubicBezTo>
                        <a:cubicBezTo>
                          <a:pt x="272" y="305"/>
                          <a:pt x="272" y="305"/>
                          <a:pt x="272" y="305"/>
                        </a:cubicBezTo>
                        <a:cubicBezTo>
                          <a:pt x="302" y="298"/>
                          <a:pt x="302" y="298"/>
                          <a:pt x="302" y="298"/>
                        </a:cubicBezTo>
                        <a:cubicBezTo>
                          <a:pt x="312" y="288"/>
                          <a:pt x="312" y="288"/>
                          <a:pt x="312" y="288"/>
                        </a:cubicBezTo>
                        <a:cubicBezTo>
                          <a:pt x="315" y="277"/>
                          <a:pt x="315" y="277"/>
                          <a:pt x="315" y="277"/>
                        </a:cubicBezTo>
                        <a:cubicBezTo>
                          <a:pt x="315" y="277"/>
                          <a:pt x="368" y="222"/>
                          <a:pt x="370" y="218"/>
                        </a:cubicBezTo>
                        <a:cubicBezTo>
                          <a:pt x="365" y="210"/>
                          <a:pt x="376" y="203"/>
                          <a:pt x="375" y="202"/>
                        </a:cubicBezTo>
                        <a:cubicBezTo>
                          <a:pt x="374" y="202"/>
                          <a:pt x="374" y="202"/>
                          <a:pt x="373" y="202"/>
                        </a:cubicBezTo>
                        <a:cubicBezTo>
                          <a:pt x="374" y="202"/>
                          <a:pt x="374" y="202"/>
                          <a:pt x="375" y="202"/>
                        </a:cubicBezTo>
                        <a:cubicBezTo>
                          <a:pt x="403" y="203"/>
                          <a:pt x="386" y="180"/>
                          <a:pt x="386" y="180"/>
                        </a:cubicBezTo>
                        <a:cubicBezTo>
                          <a:pt x="354" y="184"/>
                          <a:pt x="354" y="184"/>
                          <a:pt x="354" y="184"/>
                        </a:cubicBezTo>
                        <a:cubicBezTo>
                          <a:pt x="364" y="161"/>
                          <a:pt x="364" y="161"/>
                          <a:pt x="364" y="161"/>
                        </a:cubicBezTo>
                        <a:cubicBezTo>
                          <a:pt x="380" y="152"/>
                          <a:pt x="380" y="152"/>
                          <a:pt x="380" y="152"/>
                        </a:cubicBezTo>
                        <a:cubicBezTo>
                          <a:pt x="378" y="139"/>
                          <a:pt x="378" y="139"/>
                          <a:pt x="378" y="139"/>
                        </a:cubicBezTo>
                        <a:cubicBezTo>
                          <a:pt x="378" y="139"/>
                          <a:pt x="387" y="141"/>
                          <a:pt x="396" y="143"/>
                        </a:cubicBezTo>
                        <a:cubicBezTo>
                          <a:pt x="391" y="123"/>
                          <a:pt x="375" y="124"/>
                          <a:pt x="373" y="118"/>
                        </a:cubicBezTo>
                        <a:cubicBezTo>
                          <a:pt x="382" y="61"/>
                          <a:pt x="334" y="64"/>
                          <a:pt x="334" y="64"/>
                        </a:cubicBezTo>
                        <a:cubicBezTo>
                          <a:pt x="330" y="53"/>
                          <a:pt x="330" y="53"/>
                          <a:pt x="330" y="53"/>
                        </a:cubicBezTo>
                        <a:cubicBezTo>
                          <a:pt x="325" y="54"/>
                          <a:pt x="318" y="45"/>
                          <a:pt x="318" y="45"/>
                        </a:cubicBezTo>
                        <a:cubicBezTo>
                          <a:pt x="285" y="32"/>
                          <a:pt x="285" y="32"/>
                          <a:pt x="285" y="32"/>
                        </a:cubicBezTo>
                        <a:cubicBezTo>
                          <a:pt x="276" y="20"/>
                          <a:pt x="276" y="20"/>
                          <a:pt x="276" y="20"/>
                        </a:cubicBezTo>
                        <a:cubicBezTo>
                          <a:pt x="250" y="37"/>
                          <a:pt x="250" y="37"/>
                          <a:pt x="250" y="37"/>
                        </a:cubicBezTo>
                        <a:cubicBezTo>
                          <a:pt x="250" y="37"/>
                          <a:pt x="245" y="30"/>
                          <a:pt x="241" y="20"/>
                        </a:cubicBezTo>
                        <a:cubicBezTo>
                          <a:pt x="237" y="9"/>
                          <a:pt x="189" y="26"/>
                          <a:pt x="189" y="26"/>
                        </a:cubicBezTo>
                        <a:cubicBezTo>
                          <a:pt x="190" y="17"/>
                          <a:pt x="190" y="17"/>
                          <a:pt x="190" y="17"/>
                        </a:cubicBezTo>
                        <a:cubicBezTo>
                          <a:pt x="177" y="16"/>
                          <a:pt x="177" y="16"/>
                          <a:pt x="177" y="16"/>
                        </a:cubicBezTo>
                        <a:cubicBezTo>
                          <a:pt x="178" y="0"/>
                          <a:pt x="178" y="0"/>
                          <a:pt x="178" y="0"/>
                        </a:cubicBezTo>
                        <a:cubicBezTo>
                          <a:pt x="153" y="6"/>
                          <a:pt x="153" y="6"/>
                          <a:pt x="153" y="6"/>
                        </a:cubicBezTo>
                        <a:cubicBezTo>
                          <a:pt x="148" y="20"/>
                          <a:pt x="148" y="20"/>
                          <a:pt x="148" y="20"/>
                        </a:cubicBezTo>
                        <a:cubicBezTo>
                          <a:pt x="134" y="26"/>
                          <a:pt x="134" y="26"/>
                          <a:pt x="134" y="26"/>
                        </a:cubicBezTo>
                        <a:cubicBezTo>
                          <a:pt x="138" y="17"/>
                          <a:pt x="138" y="17"/>
                          <a:pt x="138" y="17"/>
                        </a:cubicBezTo>
                        <a:cubicBezTo>
                          <a:pt x="128" y="16"/>
                          <a:pt x="128" y="16"/>
                          <a:pt x="128" y="16"/>
                        </a:cubicBezTo>
                        <a:cubicBezTo>
                          <a:pt x="121" y="27"/>
                          <a:pt x="121" y="27"/>
                          <a:pt x="121" y="27"/>
                        </a:cubicBezTo>
                        <a:cubicBezTo>
                          <a:pt x="124" y="36"/>
                          <a:pt x="124" y="36"/>
                          <a:pt x="124" y="36"/>
                        </a:cubicBezTo>
                        <a:cubicBezTo>
                          <a:pt x="116" y="41"/>
                          <a:pt x="116" y="41"/>
                          <a:pt x="116" y="41"/>
                        </a:cubicBezTo>
                        <a:cubicBezTo>
                          <a:pt x="113" y="56"/>
                          <a:pt x="113" y="56"/>
                          <a:pt x="113" y="56"/>
                        </a:cubicBezTo>
                        <a:cubicBezTo>
                          <a:pt x="100" y="54"/>
                          <a:pt x="100" y="54"/>
                          <a:pt x="100" y="54"/>
                        </a:cubicBezTo>
                        <a:cubicBezTo>
                          <a:pt x="93" y="69"/>
                          <a:pt x="93" y="69"/>
                          <a:pt x="93" y="69"/>
                        </a:cubicBezTo>
                        <a:cubicBezTo>
                          <a:pt x="85" y="68"/>
                          <a:pt x="85" y="68"/>
                          <a:pt x="85" y="68"/>
                        </a:cubicBezTo>
                        <a:cubicBezTo>
                          <a:pt x="80" y="78"/>
                          <a:pt x="80" y="78"/>
                          <a:pt x="80" y="78"/>
                        </a:cubicBezTo>
                        <a:cubicBezTo>
                          <a:pt x="90" y="78"/>
                          <a:pt x="90" y="78"/>
                          <a:pt x="90" y="78"/>
                        </a:cubicBezTo>
                        <a:cubicBezTo>
                          <a:pt x="88" y="109"/>
                          <a:pt x="88" y="109"/>
                          <a:pt x="88" y="109"/>
                        </a:cubicBezTo>
                        <a:cubicBezTo>
                          <a:pt x="69" y="114"/>
                          <a:pt x="69" y="114"/>
                          <a:pt x="69" y="114"/>
                        </a:cubicBezTo>
                        <a:cubicBezTo>
                          <a:pt x="57" y="106"/>
                          <a:pt x="57" y="106"/>
                          <a:pt x="57" y="106"/>
                        </a:cubicBezTo>
                        <a:cubicBezTo>
                          <a:pt x="56" y="113"/>
                          <a:pt x="56" y="113"/>
                          <a:pt x="56" y="113"/>
                        </a:cubicBezTo>
                        <a:cubicBezTo>
                          <a:pt x="26" y="112"/>
                          <a:pt x="26" y="112"/>
                          <a:pt x="26" y="112"/>
                        </a:cubicBezTo>
                        <a:cubicBezTo>
                          <a:pt x="26" y="112"/>
                          <a:pt x="24" y="129"/>
                          <a:pt x="21" y="136"/>
                        </a:cubicBezTo>
                        <a:cubicBezTo>
                          <a:pt x="24" y="140"/>
                          <a:pt x="24" y="140"/>
                          <a:pt x="24" y="140"/>
                        </a:cubicBezTo>
                        <a:lnTo>
                          <a:pt x="32" y="132"/>
                        </a:ln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52" name="Bourgogne" descr="© INSCALE GmbH, 05.05.2010&#10;http://www.presentationload.com/">
                    <a:extLst>
                      <a:ext uri="{FF2B5EF4-FFF2-40B4-BE49-F238E27FC236}">
                        <a16:creationId xmlns:a16="http://schemas.microsoft.com/office/drawing/2014/main" id="{699E42FE-ED7F-4D3E-B7FF-AA2F2CB0D1D0}"/>
                      </a:ext>
                    </a:extLst>
                  </p:cNvPr>
                  <p:cNvSpPr>
                    <a:spLocks/>
                  </p:cNvSpPr>
                  <p:nvPr/>
                </p:nvSpPr>
                <p:spPr bwMode="gray">
                  <a:xfrm>
                    <a:off x="1885" y="1086"/>
                    <a:ext cx="625" cy="772"/>
                  </a:xfrm>
                  <a:custGeom>
                    <a:avLst/>
                    <a:gdLst/>
                    <a:ahLst/>
                    <a:cxnLst>
                      <a:cxn ang="0">
                        <a:pos x="43" y="156"/>
                      </a:cxn>
                      <a:cxn ang="0">
                        <a:pos x="36" y="170"/>
                      </a:cxn>
                      <a:cxn ang="0">
                        <a:pos x="0" y="220"/>
                      </a:cxn>
                      <a:cxn ang="0">
                        <a:pos x="19" y="253"/>
                      </a:cxn>
                      <a:cxn ang="0">
                        <a:pos x="20" y="309"/>
                      </a:cxn>
                      <a:cxn ang="0">
                        <a:pos x="40" y="429"/>
                      </a:cxn>
                      <a:cxn ang="0">
                        <a:pos x="43" y="512"/>
                      </a:cxn>
                      <a:cxn ang="0">
                        <a:pos x="111" y="545"/>
                      </a:cxn>
                      <a:cxn ang="0">
                        <a:pos x="138" y="558"/>
                      </a:cxn>
                      <a:cxn ang="0">
                        <a:pos x="164" y="521"/>
                      </a:cxn>
                      <a:cxn ang="0">
                        <a:pos x="219" y="597"/>
                      </a:cxn>
                      <a:cxn ang="0">
                        <a:pos x="255" y="658"/>
                      </a:cxn>
                      <a:cxn ang="0">
                        <a:pos x="235" y="669"/>
                      </a:cxn>
                      <a:cxn ang="0">
                        <a:pos x="256" y="710"/>
                      </a:cxn>
                      <a:cxn ang="0">
                        <a:pos x="304" y="703"/>
                      </a:cxn>
                      <a:cxn ang="0">
                        <a:pos x="319" y="714"/>
                      </a:cxn>
                      <a:cxn ang="0">
                        <a:pos x="346" y="666"/>
                      </a:cxn>
                      <a:cxn ang="0">
                        <a:pos x="382" y="666"/>
                      </a:cxn>
                      <a:cxn ang="0">
                        <a:pos x="411" y="678"/>
                      </a:cxn>
                      <a:cxn ang="0">
                        <a:pos x="431" y="704"/>
                      </a:cxn>
                      <a:cxn ang="0">
                        <a:pos x="520" y="594"/>
                      </a:cxn>
                      <a:cxn ang="0">
                        <a:pos x="547" y="608"/>
                      </a:cxn>
                      <a:cxn ang="0">
                        <a:pos x="563" y="569"/>
                      </a:cxn>
                      <a:cxn ang="0">
                        <a:pos x="551" y="526"/>
                      </a:cxn>
                      <a:cxn ang="0">
                        <a:pos x="572" y="484"/>
                      </a:cxn>
                      <a:cxn ang="0">
                        <a:pos x="526" y="456"/>
                      </a:cxn>
                      <a:cxn ang="0">
                        <a:pos x="539" y="416"/>
                      </a:cxn>
                      <a:cxn ang="0">
                        <a:pos x="575" y="312"/>
                      </a:cxn>
                      <a:cxn ang="0">
                        <a:pos x="543" y="290"/>
                      </a:cxn>
                      <a:cxn ang="0">
                        <a:pos x="558" y="236"/>
                      </a:cxn>
                      <a:cxn ang="0">
                        <a:pos x="544" y="244"/>
                      </a:cxn>
                      <a:cxn ang="0">
                        <a:pos x="518" y="240"/>
                      </a:cxn>
                      <a:cxn ang="0">
                        <a:pos x="488" y="226"/>
                      </a:cxn>
                      <a:cxn ang="0">
                        <a:pos x="455" y="194"/>
                      </a:cxn>
                      <a:cxn ang="0">
                        <a:pos x="456" y="173"/>
                      </a:cxn>
                      <a:cxn ang="0">
                        <a:pos x="426" y="146"/>
                      </a:cxn>
                      <a:cxn ang="0">
                        <a:pos x="414" y="133"/>
                      </a:cxn>
                      <a:cxn ang="0">
                        <a:pos x="311" y="136"/>
                      </a:cxn>
                      <a:cxn ang="0">
                        <a:pos x="296" y="132"/>
                      </a:cxn>
                      <a:cxn ang="0">
                        <a:pos x="283" y="137"/>
                      </a:cxn>
                      <a:cxn ang="0">
                        <a:pos x="256" y="146"/>
                      </a:cxn>
                      <a:cxn ang="0">
                        <a:pos x="208" y="109"/>
                      </a:cxn>
                      <a:cxn ang="0">
                        <a:pos x="182" y="69"/>
                      </a:cxn>
                      <a:cxn ang="0">
                        <a:pos x="167" y="66"/>
                      </a:cxn>
                      <a:cxn ang="0">
                        <a:pos x="155" y="33"/>
                      </a:cxn>
                      <a:cxn ang="0">
                        <a:pos x="118" y="0"/>
                      </a:cxn>
                      <a:cxn ang="0">
                        <a:pos x="36" y="28"/>
                      </a:cxn>
                      <a:cxn ang="0">
                        <a:pos x="39" y="84"/>
                      </a:cxn>
                    </a:cxnLst>
                    <a:rect l="0" t="0" r="r" b="b"/>
                    <a:pathLst>
                      <a:path w="580" h="715">
                        <a:moveTo>
                          <a:pt x="58" y="114"/>
                        </a:moveTo>
                        <a:cubicBezTo>
                          <a:pt x="59" y="133"/>
                          <a:pt x="59" y="133"/>
                          <a:pt x="59" y="133"/>
                        </a:cubicBezTo>
                        <a:cubicBezTo>
                          <a:pt x="43" y="156"/>
                          <a:pt x="43" y="156"/>
                          <a:pt x="43" y="156"/>
                        </a:cubicBezTo>
                        <a:cubicBezTo>
                          <a:pt x="34" y="157"/>
                          <a:pt x="34" y="157"/>
                          <a:pt x="34" y="157"/>
                        </a:cubicBezTo>
                        <a:cubicBezTo>
                          <a:pt x="31" y="170"/>
                          <a:pt x="31" y="170"/>
                          <a:pt x="31" y="170"/>
                        </a:cubicBezTo>
                        <a:cubicBezTo>
                          <a:pt x="36" y="170"/>
                          <a:pt x="36" y="170"/>
                          <a:pt x="36" y="170"/>
                        </a:cubicBezTo>
                        <a:cubicBezTo>
                          <a:pt x="36" y="194"/>
                          <a:pt x="36" y="194"/>
                          <a:pt x="36" y="194"/>
                        </a:cubicBezTo>
                        <a:cubicBezTo>
                          <a:pt x="2" y="204"/>
                          <a:pt x="2" y="204"/>
                          <a:pt x="2" y="204"/>
                        </a:cubicBezTo>
                        <a:cubicBezTo>
                          <a:pt x="0" y="220"/>
                          <a:pt x="0" y="220"/>
                          <a:pt x="0" y="220"/>
                        </a:cubicBezTo>
                        <a:cubicBezTo>
                          <a:pt x="10" y="218"/>
                          <a:pt x="10" y="218"/>
                          <a:pt x="10" y="218"/>
                        </a:cubicBezTo>
                        <a:cubicBezTo>
                          <a:pt x="23" y="240"/>
                          <a:pt x="23" y="240"/>
                          <a:pt x="23" y="240"/>
                        </a:cubicBezTo>
                        <a:cubicBezTo>
                          <a:pt x="19" y="253"/>
                          <a:pt x="19" y="253"/>
                          <a:pt x="19" y="253"/>
                        </a:cubicBezTo>
                        <a:cubicBezTo>
                          <a:pt x="27" y="265"/>
                          <a:pt x="27" y="265"/>
                          <a:pt x="27" y="265"/>
                        </a:cubicBezTo>
                        <a:cubicBezTo>
                          <a:pt x="4" y="270"/>
                          <a:pt x="4" y="270"/>
                          <a:pt x="4" y="270"/>
                        </a:cubicBezTo>
                        <a:cubicBezTo>
                          <a:pt x="20" y="309"/>
                          <a:pt x="20" y="309"/>
                          <a:pt x="20" y="309"/>
                        </a:cubicBezTo>
                        <a:cubicBezTo>
                          <a:pt x="6" y="344"/>
                          <a:pt x="6" y="344"/>
                          <a:pt x="6" y="344"/>
                        </a:cubicBezTo>
                        <a:cubicBezTo>
                          <a:pt x="31" y="365"/>
                          <a:pt x="31" y="365"/>
                          <a:pt x="31" y="365"/>
                        </a:cubicBezTo>
                        <a:cubicBezTo>
                          <a:pt x="31" y="365"/>
                          <a:pt x="40" y="385"/>
                          <a:pt x="40" y="429"/>
                        </a:cubicBezTo>
                        <a:cubicBezTo>
                          <a:pt x="50" y="437"/>
                          <a:pt x="50" y="437"/>
                          <a:pt x="50" y="437"/>
                        </a:cubicBezTo>
                        <a:cubicBezTo>
                          <a:pt x="50" y="437"/>
                          <a:pt x="51" y="469"/>
                          <a:pt x="46" y="474"/>
                        </a:cubicBezTo>
                        <a:cubicBezTo>
                          <a:pt x="40" y="480"/>
                          <a:pt x="56" y="497"/>
                          <a:pt x="43" y="512"/>
                        </a:cubicBezTo>
                        <a:cubicBezTo>
                          <a:pt x="47" y="514"/>
                          <a:pt x="67" y="546"/>
                          <a:pt x="76" y="548"/>
                        </a:cubicBezTo>
                        <a:cubicBezTo>
                          <a:pt x="86" y="549"/>
                          <a:pt x="91" y="538"/>
                          <a:pt x="95" y="538"/>
                        </a:cubicBezTo>
                        <a:cubicBezTo>
                          <a:pt x="99" y="538"/>
                          <a:pt x="107" y="545"/>
                          <a:pt x="111" y="545"/>
                        </a:cubicBezTo>
                        <a:cubicBezTo>
                          <a:pt x="115" y="545"/>
                          <a:pt x="126" y="537"/>
                          <a:pt x="126" y="537"/>
                        </a:cubicBezTo>
                        <a:cubicBezTo>
                          <a:pt x="138" y="544"/>
                          <a:pt x="138" y="544"/>
                          <a:pt x="138" y="544"/>
                        </a:cubicBezTo>
                        <a:cubicBezTo>
                          <a:pt x="138" y="558"/>
                          <a:pt x="138" y="558"/>
                          <a:pt x="138" y="558"/>
                        </a:cubicBezTo>
                        <a:cubicBezTo>
                          <a:pt x="150" y="544"/>
                          <a:pt x="150" y="544"/>
                          <a:pt x="150" y="544"/>
                        </a:cubicBezTo>
                        <a:cubicBezTo>
                          <a:pt x="159" y="545"/>
                          <a:pt x="159" y="545"/>
                          <a:pt x="159" y="545"/>
                        </a:cubicBezTo>
                        <a:cubicBezTo>
                          <a:pt x="159" y="545"/>
                          <a:pt x="160" y="517"/>
                          <a:pt x="164" y="521"/>
                        </a:cubicBezTo>
                        <a:cubicBezTo>
                          <a:pt x="168" y="525"/>
                          <a:pt x="198" y="576"/>
                          <a:pt x="198" y="576"/>
                        </a:cubicBezTo>
                        <a:cubicBezTo>
                          <a:pt x="202" y="594"/>
                          <a:pt x="202" y="594"/>
                          <a:pt x="202" y="594"/>
                        </a:cubicBezTo>
                        <a:cubicBezTo>
                          <a:pt x="219" y="597"/>
                          <a:pt x="219" y="597"/>
                          <a:pt x="219" y="597"/>
                        </a:cubicBezTo>
                        <a:cubicBezTo>
                          <a:pt x="230" y="610"/>
                          <a:pt x="230" y="610"/>
                          <a:pt x="230" y="610"/>
                        </a:cubicBezTo>
                        <a:cubicBezTo>
                          <a:pt x="230" y="610"/>
                          <a:pt x="258" y="600"/>
                          <a:pt x="256" y="614"/>
                        </a:cubicBezTo>
                        <a:cubicBezTo>
                          <a:pt x="255" y="629"/>
                          <a:pt x="255" y="658"/>
                          <a:pt x="255" y="658"/>
                        </a:cubicBezTo>
                        <a:cubicBezTo>
                          <a:pt x="248" y="658"/>
                          <a:pt x="248" y="658"/>
                          <a:pt x="248" y="658"/>
                        </a:cubicBezTo>
                        <a:cubicBezTo>
                          <a:pt x="243" y="672"/>
                          <a:pt x="243" y="672"/>
                          <a:pt x="243" y="672"/>
                        </a:cubicBezTo>
                        <a:cubicBezTo>
                          <a:pt x="235" y="669"/>
                          <a:pt x="235" y="669"/>
                          <a:pt x="235" y="669"/>
                        </a:cubicBezTo>
                        <a:cubicBezTo>
                          <a:pt x="236" y="697"/>
                          <a:pt x="236" y="697"/>
                          <a:pt x="236" y="697"/>
                        </a:cubicBezTo>
                        <a:cubicBezTo>
                          <a:pt x="250" y="697"/>
                          <a:pt x="250" y="697"/>
                          <a:pt x="250" y="697"/>
                        </a:cubicBezTo>
                        <a:cubicBezTo>
                          <a:pt x="256" y="710"/>
                          <a:pt x="256" y="710"/>
                          <a:pt x="256" y="710"/>
                        </a:cubicBezTo>
                        <a:cubicBezTo>
                          <a:pt x="280" y="704"/>
                          <a:pt x="280" y="704"/>
                          <a:pt x="280" y="704"/>
                        </a:cubicBezTo>
                        <a:cubicBezTo>
                          <a:pt x="280" y="704"/>
                          <a:pt x="280" y="705"/>
                          <a:pt x="295" y="706"/>
                        </a:cubicBezTo>
                        <a:cubicBezTo>
                          <a:pt x="305" y="707"/>
                          <a:pt x="305" y="705"/>
                          <a:pt x="304" y="703"/>
                        </a:cubicBezTo>
                        <a:cubicBezTo>
                          <a:pt x="303" y="702"/>
                          <a:pt x="303" y="701"/>
                          <a:pt x="303" y="701"/>
                        </a:cubicBezTo>
                        <a:cubicBezTo>
                          <a:pt x="303" y="701"/>
                          <a:pt x="304" y="702"/>
                          <a:pt x="304" y="703"/>
                        </a:cubicBezTo>
                        <a:cubicBezTo>
                          <a:pt x="307" y="707"/>
                          <a:pt x="314" y="715"/>
                          <a:pt x="319" y="714"/>
                        </a:cubicBezTo>
                        <a:cubicBezTo>
                          <a:pt x="326" y="713"/>
                          <a:pt x="320" y="706"/>
                          <a:pt x="326" y="706"/>
                        </a:cubicBezTo>
                        <a:cubicBezTo>
                          <a:pt x="331" y="706"/>
                          <a:pt x="342" y="705"/>
                          <a:pt x="342" y="705"/>
                        </a:cubicBezTo>
                        <a:cubicBezTo>
                          <a:pt x="346" y="666"/>
                          <a:pt x="346" y="666"/>
                          <a:pt x="346" y="666"/>
                        </a:cubicBezTo>
                        <a:cubicBezTo>
                          <a:pt x="358" y="665"/>
                          <a:pt x="358" y="665"/>
                          <a:pt x="358" y="665"/>
                        </a:cubicBezTo>
                        <a:cubicBezTo>
                          <a:pt x="367" y="678"/>
                          <a:pt x="367" y="678"/>
                          <a:pt x="367" y="678"/>
                        </a:cubicBezTo>
                        <a:cubicBezTo>
                          <a:pt x="382" y="666"/>
                          <a:pt x="382" y="666"/>
                          <a:pt x="382" y="666"/>
                        </a:cubicBezTo>
                        <a:cubicBezTo>
                          <a:pt x="382" y="666"/>
                          <a:pt x="382" y="676"/>
                          <a:pt x="387" y="676"/>
                        </a:cubicBezTo>
                        <a:cubicBezTo>
                          <a:pt x="392" y="676"/>
                          <a:pt x="391" y="660"/>
                          <a:pt x="402" y="664"/>
                        </a:cubicBezTo>
                        <a:cubicBezTo>
                          <a:pt x="412" y="668"/>
                          <a:pt x="411" y="678"/>
                          <a:pt x="411" y="678"/>
                        </a:cubicBezTo>
                        <a:cubicBezTo>
                          <a:pt x="419" y="686"/>
                          <a:pt x="419" y="686"/>
                          <a:pt x="419" y="686"/>
                        </a:cubicBezTo>
                        <a:cubicBezTo>
                          <a:pt x="420" y="702"/>
                          <a:pt x="420" y="702"/>
                          <a:pt x="420" y="702"/>
                        </a:cubicBezTo>
                        <a:cubicBezTo>
                          <a:pt x="431" y="704"/>
                          <a:pt x="431" y="704"/>
                          <a:pt x="431" y="704"/>
                        </a:cubicBezTo>
                        <a:cubicBezTo>
                          <a:pt x="459" y="596"/>
                          <a:pt x="459" y="596"/>
                          <a:pt x="459" y="596"/>
                        </a:cubicBezTo>
                        <a:cubicBezTo>
                          <a:pt x="459" y="596"/>
                          <a:pt x="476" y="602"/>
                          <a:pt x="490" y="602"/>
                        </a:cubicBezTo>
                        <a:cubicBezTo>
                          <a:pt x="503" y="602"/>
                          <a:pt x="518" y="589"/>
                          <a:pt x="520" y="594"/>
                        </a:cubicBezTo>
                        <a:cubicBezTo>
                          <a:pt x="523" y="600"/>
                          <a:pt x="524" y="612"/>
                          <a:pt x="528" y="612"/>
                        </a:cubicBezTo>
                        <a:cubicBezTo>
                          <a:pt x="530" y="612"/>
                          <a:pt x="538" y="613"/>
                          <a:pt x="546" y="614"/>
                        </a:cubicBezTo>
                        <a:cubicBezTo>
                          <a:pt x="547" y="608"/>
                          <a:pt x="547" y="608"/>
                          <a:pt x="547" y="608"/>
                        </a:cubicBezTo>
                        <a:cubicBezTo>
                          <a:pt x="566" y="602"/>
                          <a:pt x="566" y="602"/>
                          <a:pt x="566" y="602"/>
                        </a:cubicBezTo>
                        <a:cubicBezTo>
                          <a:pt x="566" y="602"/>
                          <a:pt x="570" y="596"/>
                          <a:pt x="567" y="594"/>
                        </a:cubicBezTo>
                        <a:cubicBezTo>
                          <a:pt x="542" y="588"/>
                          <a:pt x="563" y="569"/>
                          <a:pt x="563" y="569"/>
                        </a:cubicBezTo>
                        <a:cubicBezTo>
                          <a:pt x="563" y="569"/>
                          <a:pt x="566" y="549"/>
                          <a:pt x="571" y="549"/>
                        </a:cubicBezTo>
                        <a:cubicBezTo>
                          <a:pt x="554" y="540"/>
                          <a:pt x="562" y="522"/>
                          <a:pt x="562" y="522"/>
                        </a:cubicBezTo>
                        <a:cubicBezTo>
                          <a:pt x="551" y="526"/>
                          <a:pt x="551" y="526"/>
                          <a:pt x="551" y="526"/>
                        </a:cubicBezTo>
                        <a:cubicBezTo>
                          <a:pt x="551" y="506"/>
                          <a:pt x="551" y="506"/>
                          <a:pt x="551" y="506"/>
                        </a:cubicBezTo>
                        <a:cubicBezTo>
                          <a:pt x="539" y="496"/>
                          <a:pt x="539" y="496"/>
                          <a:pt x="539" y="496"/>
                        </a:cubicBezTo>
                        <a:cubicBezTo>
                          <a:pt x="572" y="484"/>
                          <a:pt x="572" y="484"/>
                          <a:pt x="572" y="484"/>
                        </a:cubicBezTo>
                        <a:cubicBezTo>
                          <a:pt x="556" y="472"/>
                          <a:pt x="544" y="468"/>
                          <a:pt x="544" y="468"/>
                        </a:cubicBezTo>
                        <a:cubicBezTo>
                          <a:pt x="540" y="457"/>
                          <a:pt x="540" y="457"/>
                          <a:pt x="540" y="457"/>
                        </a:cubicBezTo>
                        <a:cubicBezTo>
                          <a:pt x="526" y="456"/>
                          <a:pt x="526" y="456"/>
                          <a:pt x="526" y="456"/>
                        </a:cubicBezTo>
                        <a:cubicBezTo>
                          <a:pt x="526" y="444"/>
                          <a:pt x="538" y="430"/>
                          <a:pt x="538" y="430"/>
                        </a:cubicBezTo>
                        <a:cubicBezTo>
                          <a:pt x="531" y="429"/>
                          <a:pt x="531" y="429"/>
                          <a:pt x="531" y="429"/>
                        </a:cubicBezTo>
                        <a:cubicBezTo>
                          <a:pt x="531" y="429"/>
                          <a:pt x="536" y="420"/>
                          <a:pt x="539" y="416"/>
                        </a:cubicBezTo>
                        <a:cubicBezTo>
                          <a:pt x="560" y="405"/>
                          <a:pt x="580" y="340"/>
                          <a:pt x="580" y="340"/>
                        </a:cubicBezTo>
                        <a:cubicBezTo>
                          <a:pt x="572" y="332"/>
                          <a:pt x="572" y="332"/>
                          <a:pt x="572" y="332"/>
                        </a:cubicBezTo>
                        <a:cubicBezTo>
                          <a:pt x="575" y="312"/>
                          <a:pt x="575" y="312"/>
                          <a:pt x="575" y="312"/>
                        </a:cubicBezTo>
                        <a:cubicBezTo>
                          <a:pt x="556" y="316"/>
                          <a:pt x="556" y="316"/>
                          <a:pt x="556" y="316"/>
                        </a:cubicBezTo>
                        <a:cubicBezTo>
                          <a:pt x="556" y="294"/>
                          <a:pt x="556" y="294"/>
                          <a:pt x="556" y="294"/>
                        </a:cubicBezTo>
                        <a:cubicBezTo>
                          <a:pt x="556" y="294"/>
                          <a:pt x="535" y="290"/>
                          <a:pt x="543" y="290"/>
                        </a:cubicBezTo>
                        <a:cubicBezTo>
                          <a:pt x="551" y="290"/>
                          <a:pt x="539" y="280"/>
                          <a:pt x="555" y="280"/>
                        </a:cubicBezTo>
                        <a:cubicBezTo>
                          <a:pt x="571" y="280"/>
                          <a:pt x="566" y="240"/>
                          <a:pt x="566" y="240"/>
                        </a:cubicBezTo>
                        <a:cubicBezTo>
                          <a:pt x="558" y="236"/>
                          <a:pt x="558" y="236"/>
                          <a:pt x="558" y="236"/>
                        </a:cubicBezTo>
                        <a:cubicBezTo>
                          <a:pt x="550" y="244"/>
                          <a:pt x="550" y="244"/>
                          <a:pt x="550" y="244"/>
                        </a:cubicBezTo>
                        <a:cubicBezTo>
                          <a:pt x="547" y="240"/>
                          <a:pt x="547" y="240"/>
                          <a:pt x="547" y="240"/>
                        </a:cubicBezTo>
                        <a:cubicBezTo>
                          <a:pt x="546" y="242"/>
                          <a:pt x="545" y="244"/>
                          <a:pt x="544" y="244"/>
                        </a:cubicBezTo>
                        <a:cubicBezTo>
                          <a:pt x="540" y="244"/>
                          <a:pt x="535" y="241"/>
                          <a:pt x="535" y="241"/>
                        </a:cubicBezTo>
                        <a:cubicBezTo>
                          <a:pt x="518" y="253"/>
                          <a:pt x="518" y="253"/>
                          <a:pt x="518" y="253"/>
                        </a:cubicBezTo>
                        <a:cubicBezTo>
                          <a:pt x="518" y="240"/>
                          <a:pt x="518" y="240"/>
                          <a:pt x="518" y="240"/>
                        </a:cubicBezTo>
                        <a:cubicBezTo>
                          <a:pt x="502" y="232"/>
                          <a:pt x="502" y="232"/>
                          <a:pt x="502" y="232"/>
                        </a:cubicBezTo>
                        <a:cubicBezTo>
                          <a:pt x="502" y="222"/>
                          <a:pt x="502" y="222"/>
                          <a:pt x="502" y="222"/>
                        </a:cubicBezTo>
                        <a:cubicBezTo>
                          <a:pt x="502" y="222"/>
                          <a:pt x="498" y="226"/>
                          <a:pt x="488" y="226"/>
                        </a:cubicBezTo>
                        <a:cubicBezTo>
                          <a:pt x="479" y="226"/>
                          <a:pt x="467" y="212"/>
                          <a:pt x="467" y="212"/>
                        </a:cubicBezTo>
                        <a:cubicBezTo>
                          <a:pt x="455" y="217"/>
                          <a:pt x="455" y="217"/>
                          <a:pt x="455" y="217"/>
                        </a:cubicBezTo>
                        <a:cubicBezTo>
                          <a:pt x="455" y="194"/>
                          <a:pt x="455" y="194"/>
                          <a:pt x="455" y="194"/>
                        </a:cubicBezTo>
                        <a:cubicBezTo>
                          <a:pt x="446" y="192"/>
                          <a:pt x="446" y="192"/>
                          <a:pt x="446" y="192"/>
                        </a:cubicBezTo>
                        <a:cubicBezTo>
                          <a:pt x="446" y="191"/>
                          <a:pt x="446" y="191"/>
                          <a:pt x="446" y="191"/>
                        </a:cubicBezTo>
                        <a:cubicBezTo>
                          <a:pt x="456" y="173"/>
                          <a:pt x="456" y="173"/>
                          <a:pt x="456" y="173"/>
                        </a:cubicBezTo>
                        <a:cubicBezTo>
                          <a:pt x="450" y="165"/>
                          <a:pt x="439" y="144"/>
                          <a:pt x="439" y="144"/>
                        </a:cubicBezTo>
                        <a:cubicBezTo>
                          <a:pt x="432" y="150"/>
                          <a:pt x="432" y="150"/>
                          <a:pt x="432" y="150"/>
                        </a:cubicBezTo>
                        <a:cubicBezTo>
                          <a:pt x="426" y="146"/>
                          <a:pt x="426" y="146"/>
                          <a:pt x="426" y="146"/>
                        </a:cubicBezTo>
                        <a:cubicBezTo>
                          <a:pt x="432" y="138"/>
                          <a:pt x="432" y="138"/>
                          <a:pt x="432" y="138"/>
                        </a:cubicBezTo>
                        <a:cubicBezTo>
                          <a:pt x="427" y="133"/>
                          <a:pt x="427" y="133"/>
                          <a:pt x="427" y="133"/>
                        </a:cubicBezTo>
                        <a:cubicBezTo>
                          <a:pt x="414" y="133"/>
                          <a:pt x="414" y="133"/>
                          <a:pt x="414" y="133"/>
                        </a:cubicBezTo>
                        <a:cubicBezTo>
                          <a:pt x="414" y="133"/>
                          <a:pt x="414" y="133"/>
                          <a:pt x="415" y="116"/>
                        </a:cubicBezTo>
                        <a:cubicBezTo>
                          <a:pt x="334" y="100"/>
                          <a:pt x="366" y="134"/>
                          <a:pt x="366" y="134"/>
                        </a:cubicBezTo>
                        <a:cubicBezTo>
                          <a:pt x="311" y="136"/>
                          <a:pt x="311" y="136"/>
                          <a:pt x="311" y="136"/>
                        </a:cubicBezTo>
                        <a:cubicBezTo>
                          <a:pt x="311" y="148"/>
                          <a:pt x="311" y="148"/>
                          <a:pt x="311" y="148"/>
                        </a:cubicBezTo>
                        <a:cubicBezTo>
                          <a:pt x="302" y="145"/>
                          <a:pt x="302" y="145"/>
                          <a:pt x="302" y="145"/>
                        </a:cubicBezTo>
                        <a:cubicBezTo>
                          <a:pt x="296" y="132"/>
                          <a:pt x="296" y="132"/>
                          <a:pt x="296" y="132"/>
                        </a:cubicBezTo>
                        <a:cubicBezTo>
                          <a:pt x="287" y="132"/>
                          <a:pt x="287" y="132"/>
                          <a:pt x="287" y="132"/>
                        </a:cubicBezTo>
                        <a:cubicBezTo>
                          <a:pt x="290" y="141"/>
                          <a:pt x="290" y="141"/>
                          <a:pt x="290" y="141"/>
                        </a:cubicBezTo>
                        <a:cubicBezTo>
                          <a:pt x="283" y="137"/>
                          <a:pt x="283" y="137"/>
                          <a:pt x="283" y="137"/>
                        </a:cubicBezTo>
                        <a:cubicBezTo>
                          <a:pt x="270" y="148"/>
                          <a:pt x="270" y="148"/>
                          <a:pt x="270" y="148"/>
                        </a:cubicBezTo>
                        <a:cubicBezTo>
                          <a:pt x="258" y="141"/>
                          <a:pt x="258" y="141"/>
                          <a:pt x="258" y="141"/>
                        </a:cubicBezTo>
                        <a:cubicBezTo>
                          <a:pt x="256" y="146"/>
                          <a:pt x="256" y="146"/>
                          <a:pt x="256" y="146"/>
                        </a:cubicBezTo>
                        <a:cubicBezTo>
                          <a:pt x="222" y="145"/>
                          <a:pt x="222" y="145"/>
                          <a:pt x="222" y="145"/>
                        </a:cubicBezTo>
                        <a:cubicBezTo>
                          <a:pt x="222" y="145"/>
                          <a:pt x="226" y="128"/>
                          <a:pt x="226" y="125"/>
                        </a:cubicBezTo>
                        <a:cubicBezTo>
                          <a:pt x="216" y="133"/>
                          <a:pt x="218" y="129"/>
                          <a:pt x="208" y="109"/>
                        </a:cubicBezTo>
                        <a:cubicBezTo>
                          <a:pt x="199" y="89"/>
                          <a:pt x="190" y="81"/>
                          <a:pt x="190" y="81"/>
                        </a:cubicBezTo>
                        <a:cubicBezTo>
                          <a:pt x="190" y="70"/>
                          <a:pt x="190" y="70"/>
                          <a:pt x="190" y="70"/>
                        </a:cubicBezTo>
                        <a:cubicBezTo>
                          <a:pt x="182" y="69"/>
                          <a:pt x="182" y="69"/>
                          <a:pt x="182" y="69"/>
                        </a:cubicBezTo>
                        <a:cubicBezTo>
                          <a:pt x="182" y="78"/>
                          <a:pt x="182" y="78"/>
                          <a:pt x="182" y="78"/>
                        </a:cubicBezTo>
                        <a:cubicBezTo>
                          <a:pt x="176" y="81"/>
                          <a:pt x="176" y="81"/>
                          <a:pt x="176" y="81"/>
                        </a:cubicBezTo>
                        <a:cubicBezTo>
                          <a:pt x="167" y="66"/>
                          <a:pt x="167" y="66"/>
                          <a:pt x="167" y="66"/>
                        </a:cubicBezTo>
                        <a:cubicBezTo>
                          <a:pt x="158" y="69"/>
                          <a:pt x="158" y="69"/>
                          <a:pt x="158" y="69"/>
                        </a:cubicBezTo>
                        <a:cubicBezTo>
                          <a:pt x="167" y="60"/>
                          <a:pt x="159" y="38"/>
                          <a:pt x="159" y="38"/>
                        </a:cubicBezTo>
                        <a:cubicBezTo>
                          <a:pt x="155" y="33"/>
                          <a:pt x="155" y="33"/>
                          <a:pt x="155" y="33"/>
                        </a:cubicBezTo>
                        <a:cubicBezTo>
                          <a:pt x="155" y="18"/>
                          <a:pt x="128" y="8"/>
                          <a:pt x="128" y="8"/>
                        </a:cubicBezTo>
                        <a:cubicBezTo>
                          <a:pt x="122" y="10"/>
                          <a:pt x="122" y="10"/>
                          <a:pt x="122" y="10"/>
                        </a:cubicBezTo>
                        <a:cubicBezTo>
                          <a:pt x="118" y="0"/>
                          <a:pt x="118" y="0"/>
                          <a:pt x="118" y="0"/>
                        </a:cubicBezTo>
                        <a:cubicBezTo>
                          <a:pt x="103" y="8"/>
                          <a:pt x="103" y="8"/>
                          <a:pt x="103" y="8"/>
                        </a:cubicBezTo>
                        <a:cubicBezTo>
                          <a:pt x="44" y="8"/>
                          <a:pt x="44" y="8"/>
                          <a:pt x="44" y="8"/>
                        </a:cubicBezTo>
                        <a:cubicBezTo>
                          <a:pt x="36" y="28"/>
                          <a:pt x="36" y="28"/>
                          <a:pt x="36" y="28"/>
                        </a:cubicBezTo>
                        <a:cubicBezTo>
                          <a:pt x="42" y="44"/>
                          <a:pt x="42" y="44"/>
                          <a:pt x="42" y="44"/>
                        </a:cubicBezTo>
                        <a:cubicBezTo>
                          <a:pt x="42" y="44"/>
                          <a:pt x="28" y="66"/>
                          <a:pt x="20" y="75"/>
                        </a:cubicBezTo>
                        <a:cubicBezTo>
                          <a:pt x="39" y="84"/>
                          <a:pt x="39" y="84"/>
                          <a:pt x="39" y="84"/>
                        </a:cubicBezTo>
                        <a:cubicBezTo>
                          <a:pt x="39" y="84"/>
                          <a:pt x="28" y="104"/>
                          <a:pt x="58" y="114"/>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53" name="Centre" descr="© INSCALE GmbH, 05.05.2010&#10;http://www.presentationload.com/">
                    <a:extLst>
                      <a:ext uri="{FF2B5EF4-FFF2-40B4-BE49-F238E27FC236}">
                        <a16:creationId xmlns:a16="http://schemas.microsoft.com/office/drawing/2014/main" id="{94757E8E-B2B6-4D6F-B3E1-0170F1FA3E8B}"/>
                      </a:ext>
                    </a:extLst>
                  </p:cNvPr>
                  <p:cNvSpPr>
                    <a:spLocks/>
                  </p:cNvSpPr>
                  <p:nvPr/>
                </p:nvSpPr>
                <p:spPr bwMode="gray">
                  <a:xfrm>
                    <a:off x="1233" y="903"/>
                    <a:ext cx="716" cy="887"/>
                  </a:xfrm>
                  <a:custGeom>
                    <a:avLst/>
                    <a:gdLst/>
                    <a:ahLst/>
                    <a:cxnLst>
                      <a:cxn ang="0">
                        <a:pos x="209" y="158"/>
                      </a:cxn>
                      <a:cxn ang="0">
                        <a:pos x="173" y="227"/>
                      </a:cxn>
                      <a:cxn ang="0">
                        <a:pos x="193" y="251"/>
                      </a:cxn>
                      <a:cxn ang="0">
                        <a:pos x="168" y="275"/>
                      </a:cxn>
                      <a:cxn ang="0">
                        <a:pos x="179" y="314"/>
                      </a:cxn>
                      <a:cxn ang="0">
                        <a:pos x="144" y="367"/>
                      </a:cxn>
                      <a:cxn ang="0">
                        <a:pos x="79" y="406"/>
                      </a:cxn>
                      <a:cxn ang="0">
                        <a:pos x="43" y="418"/>
                      </a:cxn>
                      <a:cxn ang="0">
                        <a:pos x="29" y="494"/>
                      </a:cxn>
                      <a:cxn ang="0">
                        <a:pos x="29" y="594"/>
                      </a:cxn>
                      <a:cxn ang="0">
                        <a:pos x="56" y="598"/>
                      </a:cxn>
                      <a:cxn ang="0">
                        <a:pos x="79" y="632"/>
                      </a:cxn>
                      <a:cxn ang="0">
                        <a:pos x="108" y="611"/>
                      </a:cxn>
                      <a:cxn ang="0">
                        <a:pos x="185" y="712"/>
                      </a:cxn>
                      <a:cxn ang="0">
                        <a:pos x="233" y="788"/>
                      </a:cxn>
                      <a:cxn ang="0">
                        <a:pos x="251" y="820"/>
                      </a:cxn>
                      <a:cxn ang="0">
                        <a:pos x="287" y="811"/>
                      </a:cxn>
                      <a:cxn ang="0">
                        <a:pos x="320" y="814"/>
                      </a:cxn>
                      <a:cxn ang="0">
                        <a:pos x="353" y="806"/>
                      </a:cxn>
                      <a:cxn ang="0">
                        <a:pos x="404" y="802"/>
                      </a:cxn>
                      <a:cxn ang="0">
                        <a:pos x="539" y="771"/>
                      </a:cxn>
                      <a:cxn ang="0">
                        <a:pos x="559" y="719"/>
                      </a:cxn>
                      <a:cxn ang="0">
                        <a:pos x="650" y="684"/>
                      </a:cxn>
                      <a:cxn ang="0">
                        <a:pos x="655" y="607"/>
                      </a:cxn>
                      <a:cxn ang="0">
                        <a:pos x="611" y="514"/>
                      </a:cxn>
                      <a:cxn ang="0">
                        <a:pos x="632" y="435"/>
                      </a:cxn>
                      <a:cxn ang="0">
                        <a:pos x="615" y="388"/>
                      </a:cxn>
                      <a:cxn ang="0">
                        <a:pos x="641" y="364"/>
                      </a:cxn>
                      <a:cxn ang="0">
                        <a:pos x="639" y="327"/>
                      </a:cxn>
                      <a:cxn ang="0">
                        <a:pos x="663" y="284"/>
                      </a:cxn>
                      <a:cxn ang="0">
                        <a:pos x="624" y="246"/>
                      </a:cxn>
                      <a:cxn ang="0">
                        <a:pos x="581" y="247"/>
                      </a:cxn>
                      <a:cxn ang="0">
                        <a:pos x="520" y="254"/>
                      </a:cxn>
                      <a:cxn ang="0">
                        <a:pos x="513" y="214"/>
                      </a:cxn>
                      <a:cxn ang="0">
                        <a:pos x="491" y="194"/>
                      </a:cxn>
                      <a:cxn ang="0">
                        <a:pos x="468" y="188"/>
                      </a:cxn>
                      <a:cxn ang="0">
                        <a:pos x="419" y="204"/>
                      </a:cxn>
                      <a:cxn ang="0">
                        <a:pos x="405" y="154"/>
                      </a:cxn>
                      <a:cxn ang="0">
                        <a:pos x="364" y="115"/>
                      </a:cxn>
                      <a:cxn ang="0">
                        <a:pos x="341" y="88"/>
                      </a:cxn>
                      <a:cxn ang="0">
                        <a:pos x="344" y="59"/>
                      </a:cxn>
                      <a:cxn ang="0">
                        <a:pos x="331" y="23"/>
                      </a:cxn>
                      <a:cxn ang="0">
                        <a:pos x="312" y="3"/>
                      </a:cxn>
                      <a:cxn ang="0">
                        <a:pos x="287" y="51"/>
                      </a:cxn>
                      <a:cxn ang="0">
                        <a:pos x="225" y="54"/>
                      </a:cxn>
                      <a:cxn ang="0">
                        <a:pos x="177" y="98"/>
                      </a:cxn>
                    </a:cxnLst>
                    <a:rect l="0" t="0" r="r" b="b"/>
                    <a:pathLst>
                      <a:path w="664" h="822">
                        <a:moveTo>
                          <a:pt x="205" y="131"/>
                        </a:moveTo>
                        <a:cubicBezTo>
                          <a:pt x="205" y="136"/>
                          <a:pt x="201" y="144"/>
                          <a:pt x="201" y="144"/>
                        </a:cubicBezTo>
                        <a:cubicBezTo>
                          <a:pt x="209" y="158"/>
                          <a:pt x="209" y="158"/>
                          <a:pt x="209" y="158"/>
                        </a:cubicBezTo>
                        <a:cubicBezTo>
                          <a:pt x="197" y="172"/>
                          <a:pt x="197" y="172"/>
                          <a:pt x="197" y="172"/>
                        </a:cubicBezTo>
                        <a:cubicBezTo>
                          <a:pt x="197" y="172"/>
                          <a:pt x="171" y="179"/>
                          <a:pt x="168" y="190"/>
                        </a:cubicBezTo>
                        <a:cubicBezTo>
                          <a:pt x="165" y="200"/>
                          <a:pt x="173" y="227"/>
                          <a:pt x="173" y="227"/>
                        </a:cubicBezTo>
                        <a:cubicBezTo>
                          <a:pt x="173" y="235"/>
                          <a:pt x="173" y="235"/>
                          <a:pt x="173" y="235"/>
                        </a:cubicBezTo>
                        <a:cubicBezTo>
                          <a:pt x="193" y="242"/>
                          <a:pt x="193" y="242"/>
                          <a:pt x="193" y="242"/>
                        </a:cubicBezTo>
                        <a:cubicBezTo>
                          <a:pt x="193" y="251"/>
                          <a:pt x="193" y="251"/>
                          <a:pt x="193" y="251"/>
                        </a:cubicBezTo>
                        <a:cubicBezTo>
                          <a:pt x="179" y="252"/>
                          <a:pt x="179" y="252"/>
                          <a:pt x="179" y="252"/>
                        </a:cubicBezTo>
                        <a:cubicBezTo>
                          <a:pt x="179" y="270"/>
                          <a:pt x="179" y="270"/>
                          <a:pt x="179" y="270"/>
                        </a:cubicBezTo>
                        <a:cubicBezTo>
                          <a:pt x="168" y="275"/>
                          <a:pt x="168" y="275"/>
                          <a:pt x="168" y="275"/>
                        </a:cubicBezTo>
                        <a:cubicBezTo>
                          <a:pt x="176" y="287"/>
                          <a:pt x="176" y="287"/>
                          <a:pt x="176" y="287"/>
                        </a:cubicBezTo>
                        <a:cubicBezTo>
                          <a:pt x="172" y="300"/>
                          <a:pt x="172" y="300"/>
                          <a:pt x="172" y="300"/>
                        </a:cubicBezTo>
                        <a:cubicBezTo>
                          <a:pt x="179" y="314"/>
                          <a:pt x="179" y="314"/>
                          <a:pt x="179" y="314"/>
                        </a:cubicBezTo>
                        <a:cubicBezTo>
                          <a:pt x="171" y="324"/>
                          <a:pt x="171" y="324"/>
                          <a:pt x="171" y="324"/>
                        </a:cubicBezTo>
                        <a:cubicBezTo>
                          <a:pt x="171" y="324"/>
                          <a:pt x="161" y="328"/>
                          <a:pt x="161" y="343"/>
                        </a:cubicBezTo>
                        <a:cubicBezTo>
                          <a:pt x="157" y="347"/>
                          <a:pt x="144" y="367"/>
                          <a:pt x="144" y="367"/>
                        </a:cubicBezTo>
                        <a:cubicBezTo>
                          <a:pt x="144" y="367"/>
                          <a:pt x="112" y="388"/>
                          <a:pt x="128" y="394"/>
                        </a:cubicBezTo>
                        <a:cubicBezTo>
                          <a:pt x="124" y="395"/>
                          <a:pt x="95" y="402"/>
                          <a:pt x="95" y="402"/>
                        </a:cubicBezTo>
                        <a:cubicBezTo>
                          <a:pt x="95" y="402"/>
                          <a:pt x="96" y="424"/>
                          <a:pt x="79" y="406"/>
                        </a:cubicBezTo>
                        <a:cubicBezTo>
                          <a:pt x="80" y="408"/>
                          <a:pt x="69" y="415"/>
                          <a:pt x="69" y="415"/>
                        </a:cubicBezTo>
                        <a:cubicBezTo>
                          <a:pt x="80" y="430"/>
                          <a:pt x="80" y="430"/>
                          <a:pt x="80" y="430"/>
                        </a:cubicBezTo>
                        <a:cubicBezTo>
                          <a:pt x="43" y="418"/>
                          <a:pt x="43" y="418"/>
                          <a:pt x="43" y="418"/>
                        </a:cubicBezTo>
                        <a:cubicBezTo>
                          <a:pt x="43" y="418"/>
                          <a:pt x="32" y="446"/>
                          <a:pt x="39" y="454"/>
                        </a:cubicBezTo>
                        <a:cubicBezTo>
                          <a:pt x="35" y="464"/>
                          <a:pt x="23" y="482"/>
                          <a:pt x="23" y="482"/>
                        </a:cubicBezTo>
                        <a:cubicBezTo>
                          <a:pt x="29" y="494"/>
                          <a:pt x="29" y="494"/>
                          <a:pt x="29" y="494"/>
                        </a:cubicBezTo>
                        <a:cubicBezTo>
                          <a:pt x="29" y="494"/>
                          <a:pt x="0" y="528"/>
                          <a:pt x="3" y="556"/>
                        </a:cubicBezTo>
                        <a:cubicBezTo>
                          <a:pt x="5" y="584"/>
                          <a:pt x="29" y="580"/>
                          <a:pt x="29" y="580"/>
                        </a:cubicBezTo>
                        <a:cubicBezTo>
                          <a:pt x="29" y="594"/>
                          <a:pt x="29" y="594"/>
                          <a:pt x="29" y="594"/>
                        </a:cubicBezTo>
                        <a:cubicBezTo>
                          <a:pt x="43" y="587"/>
                          <a:pt x="43" y="587"/>
                          <a:pt x="43" y="587"/>
                        </a:cubicBezTo>
                        <a:cubicBezTo>
                          <a:pt x="47" y="594"/>
                          <a:pt x="47" y="594"/>
                          <a:pt x="47" y="594"/>
                        </a:cubicBezTo>
                        <a:cubicBezTo>
                          <a:pt x="56" y="598"/>
                          <a:pt x="56" y="598"/>
                          <a:pt x="56" y="598"/>
                        </a:cubicBezTo>
                        <a:cubicBezTo>
                          <a:pt x="56" y="598"/>
                          <a:pt x="44" y="624"/>
                          <a:pt x="56" y="628"/>
                        </a:cubicBezTo>
                        <a:cubicBezTo>
                          <a:pt x="68" y="632"/>
                          <a:pt x="67" y="626"/>
                          <a:pt x="67" y="626"/>
                        </a:cubicBezTo>
                        <a:cubicBezTo>
                          <a:pt x="79" y="632"/>
                          <a:pt x="79" y="632"/>
                          <a:pt x="79" y="632"/>
                        </a:cubicBezTo>
                        <a:cubicBezTo>
                          <a:pt x="93" y="624"/>
                          <a:pt x="93" y="624"/>
                          <a:pt x="93" y="624"/>
                        </a:cubicBezTo>
                        <a:cubicBezTo>
                          <a:pt x="116" y="624"/>
                          <a:pt x="116" y="624"/>
                          <a:pt x="116" y="624"/>
                        </a:cubicBezTo>
                        <a:cubicBezTo>
                          <a:pt x="108" y="611"/>
                          <a:pt x="108" y="611"/>
                          <a:pt x="108" y="611"/>
                        </a:cubicBezTo>
                        <a:cubicBezTo>
                          <a:pt x="140" y="622"/>
                          <a:pt x="140" y="622"/>
                          <a:pt x="140" y="622"/>
                        </a:cubicBezTo>
                        <a:cubicBezTo>
                          <a:pt x="140" y="622"/>
                          <a:pt x="143" y="654"/>
                          <a:pt x="160" y="670"/>
                        </a:cubicBezTo>
                        <a:cubicBezTo>
                          <a:pt x="177" y="686"/>
                          <a:pt x="153" y="679"/>
                          <a:pt x="185" y="712"/>
                        </a:cubicBezTo>
                        <a:cubicBezTo>
                          <a:pt x="184" y="726"/>
                          <a:pt x="179" y="755"/>
                          <a:pt x="207" y="756"/>
                        </a:cubicBezTo>
                        <a:cubicBezTo>
                          <a:pt x="211" y="758"/>
                          <a:pt x="208" y="767"/>
                          <a:pt x="208" y="767"/>
                        </a:cubicBezTo>
                        <a:cubicBezTo>
                          <a:pt x="208" y="767"/>
                          <a:pt x="227" y="746"/>
                          <a:pt x="233" y="788"/>
                        </a:cubicBezTo>
                        <a:cubicBezTo>
                          <a:pt x="237" y="795"/>
                          <a:pt x="248" y="800"/>
                          <a:pt x="248" y="800"/>
                        </a:cubicBezTo>
                        <a:cubicBezTo>
                          <a:pt x="244" y="811"/>
                          <a:pt x="244" y="811"/>
                          <a:pt x="244" y="811"/>
                        </a:cubicBezTo>
                        <a:cubicBezTo>
                          <a:pt x="251" y="820"/>
                          <a:pt x="251" y="820"/>
                          <a:pt x="251" y="820"/>
                        </a:cubicBezTo>
                        <a:cubicBezTo>
                          <a:pt x="269" y="818"/>
                          <a:pt x="269" y="818"/>
                          <a:pt x="269" y="818"/>
                        </a:cubicBezTo>
                        <a:cubicBezTo>
                          <a:pt x="269" y="811"/>
                          <a:pt x="269" y="811"/>
                          <a:pt x="269" y="811"/>
                        </a:cubicBezTo>
                        <a:cubicBezTo>
                          <a:pt x="287" y="811"/>
                          <a:pt x="287" y="811"/>
                          <a:pt x="287" y="811"/>
                        </a:cubicBezTo>
                        <a:cubicBezTo>
                          <a:pt x="292" y="822"/>
                          <a:pt x="292" y="822"/>
                          <a:pt x="292" y="822"/>
                        </a:cubicBezTo>
                        <a:cubicBezTo>
                          <a:pt x="319" y="802"/>
                          <a:pt x="319" y="802"/>
                          <a:pt x="319" y="802"/>
                        </a:cubicBezTo>
                        <a:cubicBezTo>
                          <a:pt x="320" y="814"/>
                          <a:pt x="320" y="814"/>
                          <a:pt x="320" y="814"/>
                        </a:cubicBezTo>
                        <a:cubicBezTo>
                          <a:pt x="337" y="803"/>
                          <a:pt x="337" y="803"/>
                          <a:pt x="337" y="803"/>
                        </a:cubicBezTo>
                        <a:cubicBezTo>
                          <a:pt x="340" y="811"/>
                          <a:pt x="340" y="811"/>
                          <a:pt x="340" y="811"/>
                        </a:cubicBezTo>
                        <a:cubicBezTo>
                          <a:pt x="353" y="806"/>
                          <a:pt x="353" y="806"/>
                          <a:pt x="353" y="806"/>
                        </a:cubicBezTo>
                        <a:cubicBezTo>
                          <a:pt x="363" y="812"/>
                          <a:pt x="363" y="812"/>
                          <a:pt x="363" y="812"/>
                        </a:cubicBezTo>
                        <a:cubicBezTo>
                          <a:pt x="368" y="794"/>
                          <a:pt x="368" y="794"/>
                          <a:pt x="368" y="794"/>
                        </a:cubicBezTo>
                        <a:cubicBezTo>
                          <a:pt x="368" y="794"/>
                          <a:pt x="392" y="804"/>
                          <a:pt x="404" y="802"/>
                        </a:cubicBezTo>
                        <a:cubicBezTo>
                          <a:pt x="416" y="799"/>
                          <a:pt x="411" y="790"/>
                          <a:pt x="436" y="803"/>
                        </a:cubicBezTo>
                        <a:cubicBezTo>
                          <a:pt x="441" y="812"/>
                          <a:pt x="483" y="802"/>
                          <a:pt x="483" y="802"/>
                        </a:cubicBezTo>
                        <a:cubicBezTo>
                          <a:pt x="483" y="802"/>
                          <a:pt x="505" y="759"/>
                          <a:pt x="539" y="771"/>
                        </a:cubicBezTo>
                        <a:cubicBezTo>
                          <a:pt x="555" y="760"/>
                          <a:pt x="555" y="760"/>
                          <a:pt x="555" y="760"/>
                        </a:cubicBezTo>
                        <a:cubicBezTo>
                          <a:pt x="555" y="760"/>
                          <a:pt x="545" y="738"/>
                          <a:pt x="552" y="732"/>
                        </a:cubicBezTo>
                        <a:cubicBezTo>
                          <a:pt x="559" y="727"/>
                          <a:pt x="559" y="719"/>
                          <a:pt x="559" y="719"/>
                        </a:cubicBezTo>
                        <a:cubicBezTo>
                          <a:pt x="559" y="719"/>
                          <a:pt x="577" y="700"/>
                          <a:pt x="581" y="700"/>
                        </a:cubicBezTo>
                        <a:cubicBezTo>
                          <a:pt x="585" y="700"/>
                          <a:pt x="600" y="722"/>
                          <a:pt x="608" y="706"/>
                        </a:cubicBezTo>
                        <a:cubicBezTo>
                          <a:pt x="615" y="691"/>
                          <a:pt x="625" y="683"/>
                          <a:pt x="650" y="684"/>
                        </a:cubicBezTo>
                        <a:cubicBezTo>
                          <a:pt x="649" y="683"/>
                          <a:pt x="649" y="682"/>
                          <a:pt x="648" y="682"/>
                        </a:cubicBezTo>
                        <a:cubicBezTo>
                          <a:pt x="661" y="667"/>
                          <a:pt x="645" y="650"/>
                          <a:pt x="651" y="644"/>
                        </a:cubicBezTo>
                        <a:cubicBezTo>
                          <a:pt x="656" y="639"/>
                          <a:pt x="655" y="607"/>
                          <a:pt x="655" y="607"/>
                        </a:cubicBezTo>
                        <a:cubicBezTo>
                          <a:pt x="645" y="599"/>
                          <a:pt x="645" y="599"/>
                          <a:pt x="645" y="599"/>
                        </a:cubicBezTo>
                        <a:cubicBezTo>
                          <a:pt x="645" y="555"/>
                          <a:pt x="636" y="535"/>
                          <a:pt x="636" y="535"/>
                        </a:cubicBezTo>
                        <a:cubicBezTo>
                          <a:pt x="611" y="514"/>
                          <a:pt x="611" y="514"/>
                          <a:pt x="611" y="514"/>
                        </a:cubicBezTo>
                        <a:cubicBezTo>
                          <a:pt x="625" y="479"/>
                          <a:pt x="625" y="479"/>
                          <a:pt x="625" y="479"/>
                        </a:cubicBezTo>
                        <a:cubicBezTo>
                          <a:pt x="609" y="440"/>
                          <a:pt x="609" y="440"/>
                          <a:pt x="609" y="440"/>
                        </a:cubicBezTo>
                        <a:cubicBezTo>
                          <a:pt x="632" y="435"/>
                          <a:pt x="632" y="435"/>
                          <a:pt x="632" y="435"/>
                        </a:cubicBezTo>
                        <a:cubicBezTo>
                          <a:pt x="624" y="423"/>
                          <a:pt x="624" y="423"/>
                          <a:pt x="624" y="423"/>
                        </a:cubicBezTo>
                        <a:cubicBezTo>
                          <a:pt x="628" y="410"/>
                          <a:pt x="628" y="410"/>
                          <a:pt x="628" y="410"/>
                        </a:cubicBezTo>
                        <a:cubicBezTo>
                          <a:pt x="615" y="388"/>
                          <a:pt x="615" y="388"/>
                          <a:pt x="615" y="388"/>
                        </a:cubicBezTo>
                        <a:cubicBezTo>
                          <a:pt x="605" y="390"/>
                          <a:pt x="605" y="390"/>
                          <a:pt x="605" y="390"/>
                        </a:cubicBezTo>
                        <a:cubicBezTo>
                          <a:pt x="607" y="374"/>
                          <a:pt x="607" y="374"/>
                          <a:pt x="607" y="374"/>
                        </a:cubicBezTo>
                        <a:cubicBezTo>
                          <a:pt x="641" y="364"/>
                          <a:pt x="641" y="364"/>
                          <a:pt x="641" y="364"/>
                        </a:cubicBezTo>
                        <a:cubicBezTo>
                          <a:pt x="641" y="340"/>
                          <a:pt x="641" y="340"/>
                          <a:pt x="641" y="340"/>
                        </a:cubicBezTo>
                        <a:cubicBezTo>
                          <a:pt x="636" y="340"/>
                          <a:pt x="636" y="340"/>
                          <a:pt x="636" y="340"/>
                        </a:cubicBezTo>
                        <a:cubicBezTo>
                          <a:pt x="639" y="327"/>
                          <a:pt x="639" y="327"/>
                          <a:pt x="639" y="327"/>
                        </a:cubicBezTo>
                        <a:cubicBezTo>
                          <a:pt x="648" y="326"/>
                          <a:pt x="648" y="326"/>
                          <a:pt x="648" y="326"/>
                        </a:cubicBezTo>
                        <a:cubicBezTo>
                          <a:pt x="664" y="303"/>
                          <a:pt x="664" y="303"/>
                          <a:pt x="664" y="303"/>
                        </a:cubicBezTo>
                        <a:cubicBezTo>
                          <a:pt x="663" y="284"/>
                          <a:pt x="663" y="284"/>
                          <a:pt x="663" y="284"/>
                        </a:cubicBezTo>
                        <a:cubicBezTo>
                          <a:pt x="633" y="274"/>
                          <a:pt x="644" y="254"/>
                          <a:pt x="644" y="254"/>
                        </a:cubicBezTo>
                        <a:cubicBezTo>
                          <a:pt x="625" y="245"/>
                          <a:pt x="625" y="245"/>
                          <a:pt x="625" y="245"/>
                        </a:cubicBezTo>
                        <a:cubicBezTo>
                          <a:pt x="625" y="245"/>
                          <a:pt x="624" y="246"/>
                          <a:pt x="624" y="246"/>
                        </a:cubicBezTo>
                        <a:cubicBezTo>
                          <a:pt x="616" y="254"/>
                          <a:pt x="593" y="258"/>
                          <a:pt x="593" y="258"/>
                        </a:cubicBezTo>
                        <a:cubicBezTo>
                          <a:pt x="593" y="247"/>
                          <a:pt x="593" y="247"/>
                          <a:pt x="593" y="247"/>
                        </a:cubicBezTo>
                        <a:cubicBezTo>
                          <a:pt x="581" y="247"/>
                          <a:pt x="581" y="247"/>
                          <a:pt x="581" y="247"/>
                        </a:cubicBezTo>
                        <a:cubicBezTo>
                          <a:pt x="581" y="255"/>
                          <a:pt x="581" y="255"/>
                          <a:pt x="581" y="255"/>
                        </a:cubicBezTo>
                        <a:cubicBezTo>
                          <a:pt x="526" y="254"/>
                          <a:pt x="526" y="254"/>
                          <a:pt x="526" y="254"/>
                        </a:cubicBezTo>
                        <a:cubicBezTo>
                          <a:pt x="523" y="254"/>
                          <a:pt x="520" y="254"/>
                          <a:pt x="520" y="254"/>
                        </a:cubicBezTo>
                        <a:cubicBezTo>
                          <a:pt x="526" y="254"/>
                          <a:pt x="526" y="254"/>
                          <a:pt x="526" y="254"/>
                        </a:cubicBezTo>
                        <a:cubicBezTo>
                          <a:pt x="530" y="253"/>
                          <a:pt x="536" y="250"/>
                          <a:pt x="537" y="239"/>
                        </a:cubicBezTo>
                        <a:cubicBezTo>
                          <a:pt x="540" y="220"/>
                          <a:pt x="513" y="214"/>
                          <a:pt x="513" y="214"/>
                        </a:cubicBezTo>
                        <a:cubicBezTo>
                          <a:pt x="509" y="198"/>
                          <a:pt x="509" y="198"/>
                          <a:pt x="509" y="198"/>
                        </a:cubicBezTo>
                        <a:cubicBezTo>
                          <a:pt x="507" y="199"/>
                          <a:pt x="507" y="199"/>
                          <a:pt x="507" y="199"/>
                        </a:cubicBezTo>
                        <a:cubicBezTo>
                          <a:pt x="491" y="194"/>
                          <a:pt x="491" y="194"/>
                          <a:pt x="491" y="194"/>
                        </a:cubicBezTo>
                        <a:cubicBezTo>
                          <a:pt x="477" y="202"/>
                          <a:pt x="477" y="202"/>
                          <a:pt x="477" y="202"/>
                        </a:cubicBezTo>
                        <a:cubicBezTo>
                          <a:pt x="475" y="191"/>
                          <a:pt x="475" y="191"/>
                          <a:pt x="475" y="191"/>
                        </a:cubicBezTo>
                        <a:cubicBezTo>
                          <a:pt x="468" y="188"/>
                          <a:pt x="468" y="188"/>
                          <a:pt x="468" y="188"/>
                        </a:cubicBezTo>
                        <a:cubicBezTo>
                          <a:pt x="461" y="202"/>
                          <a:pt x="461" y="202"/>
                          <a:pt x="461" y="202"/>
                        </a:cubicBezTo>
                        <a:cubicBezTo>
                          <a:pt x="461" y="202"/>
                          <a:pt x="451" y="202"/>
                          <a:pt x="443" y="202"/>
                        </a:cubicBezTo>
                        <a:cubicBezTo>
                          <a:pt x="435" y="202"/>
                          <a:pt x="428" y="212"/>
                          <a:pt x="419" y="204"/>
                        </a:cubicBezTo>
                        <a:cubicBezTo>
                          <a:pt x="409" y="196"/>
                          <a:pt x="421" y="170"/>
                          <a:pt x="421" y="170"/>
                        </a:cubicBezTo>
                        <a:cubicBezTo>
                          <a:pt x="411" y="168"/>
                          <a:pt x="411" y="168"/>
                          <a:pt x="411" y="168"/>
                        </a:cubicBezTo>
                        <a:cubicBezTo>
                          <a:pt x="411" y="168"/>
                          <a:pt x="409" y="155"/>
                          <a:pt x="405" y="154"/>
                        </a:cubicBezTo>
                        <a:cubicBezTo>
                          <a:pt x="403" y="162"/>
                          <a:pt x="379" y="147"/>
                          <a:pt x="379" y="147"/>
                        </a:cubicBezTo>
                        <a:cubicBezTo>
                          <a:pt x="377" y="122"/>
                          <a:pt x="377" y="122"/>
                          <a:pt x="377" y="122"/>
                        </a:cubicBezTo>
                        <a:cubicBezTo>
                          <a:pt x="364" y="115"/>
                          <a:pt x="364" y="115"/>
                          <a:pt x="364" y="115"/>
                        </a:cubicBezTo>
                        <a:cubicBezTo>
                          <a:pt x="365" y="103"/>
                          <a:pt x="365" y="103"/>
                          <a:pt x="365" y="103"/>
                        </a:cubicBezTo>
                        <a:cubicBezTo>
                          <a:pt x="356" y="100"/>
                          <a:pt x="356" y="100"/>
                          <a:pt x="356" y="100"/>
                        </a:cubicBezTo>
                        <a:cubicBezTo>
                          <a:pt x="341" y="88"/>
                          <a:pt x="341" y="88"/>
                          <a:pt x="341" y="88"/>
                        </a:cubicBezTo>
                        <a:cubicBezTo>
                          <a:pt x="343" y="78"/>
                          <a:pt x="343" y="78"/>
                          <a:pt x="343" y="78"/>
                        </a:cubicBezTo>
                        <a:cubicBezTo>
                          <a:pt x="333" y="74"/>
                          <a:pt x="333" y="74"/>
                          <a:pt x="333" y="74"/>
                        </a:cubicBezTo>
                        <a:cubicBezTo>
                          <a:pt x="344" y="59"/>
                          <a:pt x="344" y="59"/>
                          <a:pt x="344" y="59"/>
                        </a:cubicBezTo>
                        <a:cubicBezTo>
                          <a:pt x="337" y="52"/>
                          <a:pt x="337" y="52"/>
                          <a:pt x="337" y="52"/>
                        </a:cubicBezTo>
                        <a:cubicBezTo>
                          <a:pt x="339" y="28"/>
                          <a:pt x="339" y="28"/>
                          <a:pt x="339" y="28"/>
                        </a:cubicBezTo>
                        <a:cubicBezTo>
                          <a:pt x="331" y="23"/>
                          <a:pt x="331" y="23"/>
                          <a:pt x="331" y="23"/>
                        </a:cubicBezTo>
                        <a:cubicBezTo>
                          <a:pt x="335" y="14"/>
                          <a:pt x="335" y="14"/>
                          <a:pt x="335" y="14"/>
                        </a:cubicBezTo>
                        <a:cubicBezTo>
                          <a:pt x="320" y="0"/>
                          <a:pt x="320" y="0"/>
                          <a:pt x="320" y="0"/>
                        </a:cubicBezTo>
                        <a:cubicBezTo>
                          <a:pt x="312" y="3"/>
                          <a:pt x="312" y="3"/>
                          <a:pt x="312" y="3"/>
                        </a:cubicBezTo>
                        <a:cubicBezTo>
                          <a:pt x="312" y="3"/>
                          <a:pt x="313" y="10"/>
                          <a:pt x="312" y="15"/>
                        </a:cubicBezTo>
                        <a:cubicBezTo>
                          <a:pt x="311" y="20"/>
                          <a:pt x="292" y="28"/>
                          <a:pt x="292" y="28"/>
                        </a:cubicBezTo>
                        <a:cubicBezTo>
                          <a:pt x="292" y="28"/>
                          <a:pt x="293" y="40"/>
                          <a:pt x="287" y="51"/>
                        </a:cubicBezTo>
                        <a:cubicBezTo>
                          <a:pt x="280" y="62"/>
                          <a:pt x="236" y="47"/>
                          <a:pt x="236" y="47"/>
                        </a:cubicBezTo>
                        <a:cubicBezTo>
                          <a:pt x="235" y="58"/>
                          <a:pt x="235" y="58"/>
                          <a:pt x="235" y="58"/>
                        </a:cubicBezTo>
                        <a:cubicBezTo>
                          <a:pt x="235" y="58"/>
                          <a:pt x="227" y="58"/>
                          <a:pt x="225" y="54"/>
                        </a:cubicBezTo>
                        <a:cubicBezTo>
                          <a:pt x="203" y="76"/>
                          <a:pt x="195" y="64"/>
                          <a:pt x="191" y="64"/>
                        </a:cubicBezTo>
                        <a:cubicBezTo>
                          <a:pt x="187" y="74"/>
                          <a:pt x="182" y="78"/>
                          <a:pt x="176" y="79"/>
                        </a:cubicBezTo>
                        <a:cubicBezTo>
                          <a:pt x="177" y="98"/>
                          <a:pt x="177" y="98"/>
                          <a:pt x="177" y="98"/>
                        </a:cubicBezTo>
                        <a:cubicBezTo>
                          <a:pt x="177" y="98"/>
                          <a:pt x="205" y="126"/>
                          <a:pt x="205" y="13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54" name="Basse Normandie" descr="© INSCALE GmbH, 05.05.2010&#10;http://www.presentationload.com/">
                    <a:extLst>
                      <a:ext uri="{FF2B5EF4-FFF2-40B4-BE49-F238E27FC236}">
                        <a16:creationId xmlns:a16="http://schemas.microsoft.com/office/drawing/2014/main" id="{BD0D0C89-9846-46B6-BC4B-815AED01A95A}"/>
                      </a:ext>
                    </a:extLst>
                  </p:cNvPr>
                  <p:cNvSpPr>
                    <a:spLocks/>
                  </p:cNvSpPr>
                  <p:nvPr/>
                </p:nvSpPr>
                <p:spPr bwMode="gray">
                  <a:xfrm>
                    <a:off x="801" y="585"/>
                    <a:ext cx="657" cy="573"/>
                  </a:xfrm>
                  <a:custGeom>
                    <a:avLst/>
                    <a:gdLst/>
                    <a:ahLst/>
                    <a:cxnLst>
                      <a:cxn ang="0">
                        <a:pos x="197" y="413"/>
                      </a:cxn>
                      <a:cxn ang="0">
                        <a:pos x="245" y="437"/>
                      </a:cxn>
                      <a:cxn ang="0">
                        <a:pos x="265" y="435"/>
                      </a:cxn>
                      <a:cxn ang="0">
                        <a:pos x="315" y="422"/>
                      </a:cxn>
                      <a:cxn ang="0">
                        <a:pos x="336" y="415"/>
                      </a:cxn>
                      <a:cxn ang="0">
                        <a:pos x="348" y="405"/>
                      </a:cxn>
                      <a:cxn ang="0">
                        <a:pos x="373" y="439"/>
                      </a:cxn>
                      <a:cxn ang="0">
                        <a:pos x="395" y="465"/>
                      </a:cxn>
                      <a:cxn ang="0">
                        <a:pos x="485" y="481"/>
                      </a:cxn>
                      <a:cxn ang="0">
                        <a:pos x="512" y="513"/>
                      </a:cxn>
                      <a:cxn ang="0">
                        <a:pos x="561" y="531"/>
                      </a:cxn>
                      <a:cxn ang="0">
                        <a:pos x="573" y="522"/>
                      </a:cxn>
                      <a:cxn ang="0">
                        <a:pos x="597" y="467"/>
                      </a:cxn>
                      <a:cxn ang="0">
                        <a:pos x="601" y="439"/>
                      </a:cxn>
                      <a:cxn ang="0">
                        <a:pos x="577" y="393"/>
                      </a:cxn>
                      <a:cxn ang="0">
                        <a:pos x="563" y="374"/>
                      </a:cxn>
                      <a:cxn ang="0">
                        <a:pos x="536" y="325"/>
                      </a:cxn>
                      <a:cxn ang="0">
                        <a:pos x="496" y="303"/>
                      </a:cxn>
                      <a:cxn ang="0">
                        <a:pos x="496" y="259"/>
                      </a:cxn>
                      <a:cxn ang="0">
                        <a:pos x="495" y="246"/>
                      </a:cxn>
                      <a:cxn ang="0">
                        <a:pos x="491" y="218"/>
                      </a:cxn>
                      <a:cxn ang="0">
                        <a:pos x="477" y="186"/>
                      </a:cxn>
                      <a:cxn ang="0">
                        <a:pos x="463" y="93"/>
                      </a:cxn>
                      <a:cxn ang="0">
                        <a:pos x="357" y="137"/>
                      </a:cxn>
                      <a:cxn ang="0">
                        <a:pos x="239" y="114"/>
                      </a:cxn>
                      <a:cxn ang="0">
                        <a:pos x="168" y="123"/>
                      </a:cxn>
                      <a:cxn ang="0">
                        <a:pos x="157" y="102"/>
                      </a:cxn>
                      <a:cxn ang="0">
                        <a:pos x="130" y="51"/>
                      </a:cxn>
                      <a:cxn ang="0">
                        <a:pos x="140" y="11"/>
                      </a:cxn>
                      <a:cxn ang="0">
                        <a:pos x="91" y="21"/>
                      </a:cxn>
                      <a:cxn ang="0">
                        <a:pos x="1" y="0"/>
                      </a:cxn>
                      <a:cxn ang="0">
                        <a:pos x="16" y="23"/>
                      </a:cxn>
                      <a:cxn ang="0">
                        <a:pos x="22" y="85"/>
                      </a:cxn>
                      <a:cxn ang="0">
                        <a:pos x="66" y="158"/>
                      </a:cxn>
                      <a:cxn ang="0">
                        <a:pos x="73" y="216"/>
                      </a:cxn>
                      <a:cxn ang="0">
                        <a:pos x="78" y="239"/>
                      </a:cxn>
                      <a:cxn ang="0">
                        <a:pos x="69" y="294"/>
                      </a:cxn>
                      <a:cxn ang="0">
                        <a:pos x="83" y="331"/>
                      </a:cxn>
                      <a:cxn ang="0">
                        <a:pos x="58" y="332"/>
                      </a:cxn>
                      <a:cxn ang="0">
                        <a:pos x="136" y="402"/>
                      </a:cxn>
                    </a:cxnLst>
                    <a:rect l="0" t="0" r="r" b="b"/>
                    <a:pathLst>
                      <a:path w="609" h="531">
                        <a:moveTo>
                          <a:pt x="136" y="402"/>
                        </a:moveTo>
                        <a:cubicBezTo>
                          <a:pt x="173" y="418"/>
                          <a:pt x="187" y="426"/>
                          <a:pt x="197" y="413"/>
                        </a:cubicBezTo>
                        <a:cubicBezTo>
                          <a:pt x="207" y="418"/>
                          <a:pt x="220" y="422"/>
                          <a:pt x="220" y="422"/>
                        </a:cubicBezTo>
                        <a:cubicBezTo>
                          <a:pt x="220" y="422"/>
                          <a:pt x="245" y="446"/>
                          <a:pt x="245" y="437"/>
                        </a:cubicBezTo>
                        <a:cubicBezTo>
                          <a:pt x="245" y="427"/>
                          <a:pt x="261" y="426"/>
                          <a:pt x="261" y="426"/>
                        </a:cubicBezTo>
                        <a:cubicBezTo>
                          <a:pt x="265" y="435"/>
                          <a:pt x="265" y="435"/>
                          <a:pt x="265" y="435"/>
                        </a:cubicBezTo>
                        <a:cubicBezTo>
                          <a:pt x="265" y="435"/>
                          <a:pt x="288" y="435"/>
                          <a:pt x="293" y="421"/>
                        </a:cubicBezTo>
                        <a:cubicBezTo>
                          <a:pt x="300" y="421"/>
                          <a:pt x="315" y="422"/>
                          <a:pt x="315" y="422"/>
                        </a:cubicBezTo>
                        <a:cubicBezTo>
                          <a:pt x="321" y="427"/>
                          <a:pt x="321" y="427"/>
                          <a:pt x="321" y="427"/>
                        </a:cubicBezTo>
                        <a:cubicBezTo>
                          <a:pt x="336" y="415"/>
                          <a:pt x="336" y="415"/>
                          <a:pt x="336" y="415"/>
                        </a:cubicBezTo>
                        <a:cubicBezTo>
                          <a:pt x="336" y="415"/>
                          <a:pt x="344" y="426"/>
                          <a:pt x="348" y="418"/>
                        </a:cubicBezTo>
                        <a:cubicBezTo>
                          <a:pt x="352" y="410"/>
                          <a:pt x="344" y="405"/>
                          <a:pt x="348" y="405"/>
                        </a:cubicBezTo>
                        <a:cubicBezTo>
                          <a:pt x="352" y="405"/>
                          <a:pt x="375" y="414"/>
                          <a:pt x="375" y="414"/>
                        </a:cubicBezTo>
                        <a:cubicBezTo>
                          <a:pt x="375" y="414"/>
                          <a:pt x="361" y="439"/>
                          <a:pt x="373" y="439"/>
                        </a:cubicBezTo>
                        <a:cubicBezTo>
                          <a:pt x="385" y="439"/>
                          <a:pt x="391" y="438"/>
                          <a:pt x="391" y="438"/>
                        </a:cubicBezTo>
                        <a:cubicBezTo>
                          <a:pt x="395" y="465"/>
                          <a:pt x="395" y="465"/>
                          <a:pt x="395" y="465"/>
                        </a:cubicBezTo>
                        <a:cubicBezTo>
                          <a:pt x="415" y="465"/>
                          <a:pt x="415" y="465"/>
                          <a:pt x="415" y="465"/>
                        </a:cubicBezTo>
                        <a:cubicBezTo>
                          <a:pt x="415" y="465"/>
                          <a:pt x="477" y="390"/>
                          <a:pt x="485" y="481"/>
                        </a:cubicBezTo>
                        <a:cubicBezTo>
                          <a:pt x="492" y="486"/>
                          <a:pt x="505" y="493"/>
                          <a:pt x="505" y="493"/>
                        </a:cubicBezTo>
                        <a:cubicBezTo>
                          <a:pt x="512" y="513"/>
                          <a:pt x="512" y="513"/>
                          <a:pt x="512" y="513"/>
                        </a:cubicBezTo>
                        <a:cubicBezTo>
                          <a:pt x="537" y="507"/>
                          <a:pt x="537" y="507"/>
                          <a:pt x="537" y="507"/>
                        </a:cubicBezTo>
                        <a:cubicBezTo>
                          <a:pt x="561" y="531"/>
                          <a:pt x="561" y="531"/>
                          <a:pt x="561" y="531"/>
                        </a:cubicBezTo>
                        <a:cubicBezTo>
                          <a:pt x="573" y="529"/>
                          <a:pt x="573" y="529"/>
                          <a:pt x="573" y="529"/>
                        </a:cubicBezTo>
                        <a:cubicBezTo>
                          <a:pt x="573" y="522"/>
                          <a:pt x="573" y="522"/>
                          <a:pt x="573" y="522"/>
                        </a:cubicBezTo>
                        <a:cubicBezTo>
                          <a:pt x="573" y="522"/>
                          <a:pt x="565" y="495"/>
                          <a:pt x="568" y="485"/>
                        </a:cubicBezTo>
                        <a:cubicBezTo>
                          <a:pt x="571" y="474"/>
                          <a:pt x="597" y="467"/>
                          <a:pt x="597" y="467"/>
                        </a:cubicBezTo>
                        <a:cubicBezTo>
                          <a:pt x="609" y="453"/>
                          <a:pt x="609" y="453"/>
                          <a:pt x="609" y="453"/>
                        </a:cubicBezTo>
                        <a:cubicBezTo>
                          <a:pt x="601" y="439"/>
                          <a:pt x="601" y="439"/>
                          <a:pt x="601" y="439"/>
                        </a:cubicBezTo>
                        <a:cubicBezTo>
                          <a:pt x="601" y="439"/>
                          <a:pt x="605" y="431"/>
                          <a:pt x="605" y="426"/>
                        </a:cubicBezTo>
                        <a:cubicBezTo>
                          <a:pt x="605" y="421"/>
                          <a:pt x="577" y="393"/>
                          <a:pt x="577" y="393"/>
                        </a:cubicBezTo>
                        <a:cubicBezTo>
                          <a:pt x="576" y="374"/>
                          <a:pt x="576" y="374"/>
                          <a:pt x="576" y="374"/>
                        </a:cubicBezTo>
                        <a:cubicBezTo>
                          <a:pt x="569" y="376"/>
                          <a:pt x="563" y="374"/>
                          <a:pt x="563" y="374"/>
                        </a:cubicBezTo>
                        <a:cubicBezTo>
                          <a:pt x="563" y="374"/>
                          <a:pt x="556" y="363"/>
                          <a:pt x="560" y="363"/>
                        </a:cubicBezTo>
                        <a:cubicBezTo>
                          <a:pt x="581" y="349"/>
                          <a:pt x="536" y="325"/>
                          <a:pt x="536" y="325"/>
                        </a:cubicBezTo>
                        <a:cubicBezTo>
                          <a:pt x="529" y="305"/>
                          <a:pt x="529" y="305"/>
                          <a:pt x="529" y="305"/>
                        </a:cubicBezTo>
                        <a:cubicBezTo>
                          <a:pt x="496" y="303"/>
                          <a:pt x="496" y="303"/>
                          <a:pt x="496" y="303"/>
                        </a:cubicBezTo>
                        <a:cubicBezTo>
                          <a:pt x="496" y="303"/>
                          <a:pt x="483" y="299"/>
                          <a:pt x="489" y="294"/>
                        </a:cubicBezTo>
                        <a:cubicBezTo>
                          <a:pt x="496" y="289"/>
                          <a:pt x="496" y="259"/>
                          <a:pt x="496" y="259"/>
                        </a:cubicBezTo>
                        <a:cubicBezTo>
                          <a:pt x="487" y="247"/>
                          <a:pt x="487" y="247"/>
                          <a:pt x="487" y="247"/>
                        </a:cubicBezTo>
                        <a:cubicBezTo>
                          <a:pt x="495" y="246"/>
                          <a:pt x="495" y="246"/>
                          <a:pt x="495" y="246"/>
                        </a:cubicBezTo>
                        <a:cubicBezTo>
                          <a:pt x="496" y="226"/>
                          <a:pt x="496" y="226"/>
                          <a:pt x="496" y="226"/>
                        </a:cubicBezTo>
                        <a:cubicBezTo>
                          <a:pt x="491" y="218"/>
                          <a:pt x="491" y="218"/>
                          <a:pt x="491" y="218"/>
                        </a:cubicBezTo>
                        <a:cubicBezTo>
                          <a:pt x="491" y="203"/>
                          <a:pt x="491" y="203"/>
                          <a:pt x="491" y="203"/>
                        </a:cubicBezTo>
                        <a:cubicBezTo>
                          <a:pt x="491" y="203"/>
                          <a:pt x="475" y="193"/>
                          <a:pt x="477" y="186"/>
                        </a:cubicBezTo>
                        <a:cubicBezTo>
                          <a:pt x="508" y="175"/>
                          <a:pt x="476" y="178"/>
                          <a:pt x="476" y="178"/>
                        </a:cubicBezTo>
                        <a:cubicBezTo>
                          <a:pt x="463" y="93"/>
                          <a:pt x="463" y="93"/>
                          <a:pt x="463" y="93"/>
                        </a:cubicBezTo>
                        <a:cubicBezTo>
                          <a:pt x="458" y="95"/>
                          <a:pt x="436" y="105"/>
                          <a:pt x="435" y="102"/>
                        </a:cubicBezTo>
                        <a:cubicBezTo>
                          <a:pt x="418" y="138"/>
                          <a:pt x="357" y="137"/>
                          <a:pt x="357" y="137"/>
                        </a:cubicBezTo>
                        <a:cubicBezTo>
                          <a:pt x="325" y="122"/>
                          <a:pt x="325" y="122"/>
                          <a:pt x="325" y="122"/>
                        </a:cubicBezTo>
                        <a:cubicBezTo>
                          <a:pt x="325" y="122"/>
                          <a:pt x="286" y="117"/>
                          <a:pt x="239" y="114"/>
                        </a:cubicBezTo>
                        <a:cubicBezTo>
                          <a:pt x="194" y="93"/>
                          <a:pt x="170" y="107"/>
                          <a:pt x="170" y="107"/>
                        </a:cubicBezTo>
                        <a:cubicBezTo>
                          <a:pt x="168" y="123"/>
                          <a:pt x="168" y="123"/>
                          <a:pt x="168" y="123"/>
                        </a:cubicBezTo>
                        <a:cubicBezTo>
                          <a:pt x="160" y="116"/>
                          <a:pt x="160" y="116"/>
                          <a:pt x="160" y="116"/>
                        </a:cubicBezTo>
                        <a:cubicBezTo>
                          <a:pt x="160" y="116"/>
                          <a:pt x="150" y="108"/>
                          <a:pt x="157" y="102"/>
                        </a:cubicBezTo>
                        <a:cubicBezTo>
                          <a:pt x="164" y="96"/>
                          <a:pt x="152" y="88"/>
                          <a:pt x="152" y="88"/>
                        </a:cubicBezTo>
                        <a:cubicBezTo>
                          <a:pt x="130" y="51"/>
                          <a:pt x="130" y="51"/>
                          <a:pt x="130" y="51"/>
                        </a:cubicBezTo>
                        <a:cubicBezTo>
                          <a:pt x="150" y="35"/>
                          <a:pt x="150" y="35"/>
                          <a:pt x="150" y="35"/>
                        </a:cubicBezTo>
                        <a:cubicBezTo>
                          <a:pt x="140" y="11"/>
                          <a:pt x="140" y="11"/>
                          <a:pt x="140" y="11"/>
                        </a:cubicBezTo>
                        <a:cubicBezTo>
                          <a:pt x="104" y="7"/>
                          <a:pt x="104" y="7"/>
                          <a:pt x="104" y="7"/>
                        </a:cubicBezTo>
                        <a:cubicBezTo>
                          <a:pt x="91" y="21"/>
                          <a:pt x="91" y="21"/>
                          <a:pt x="91" y="21"/>
                        </a:cubicBezTo>
                        <a:cubicBezTo>
                          <a:pt x="91" y="21"/>
                          <a:pt x="82" y="30"/>
                          <a:pt x="59" y="24"/>
                        </a:cubicBezTo>
                        <a:cubicBezTo>
                          <a:pt x="36" y="18"/>
                          <a:pt x="1" y="0"/>
                          <a:pt x="1" y="0"/>
                        </a:cubicBezTo>
                        <a:cubicBezTo>
                          <a:pt x="0" y="16"/>
                          <a:pt x="0" y="16"/>
                          <a:pt x="0" y="16"/>
                        </a:cubicBezTo>
                        <a:cubicBezTo>
                          <a:pt x="0" y="16"/>
                          <a:pt x="4" y="16"/>
                          <a:pt x="16" y="23"/>
                        </a:cubicBezTo>
                        <a:cubicBezTo>
                          <a:pt x="28" y="30"/>
                          <a:pt x="12" y="63"/>
                          <a:pt x="12" y="63"/>
                        </a:cubicBezTo>
                        <a:cubicBezTo>
                          <a:pt x="12" y="63"/>
                          <a:pt x="21" y="81"/>
                          <a:pt x="22" y="85"/>
                        </a:cubicBezTo>
                        <a:cubicBezTo>
                          <a:pt x="22" y="112"/>
                          <a:pt x="34" y="108"/>
                          <a:pt x="34" y="108"/>
                        </a:cubicBezTo>
                        <a:cubicBezTo>
                          <a:pt x="66" y="158"/>
                          <a:pt x="66" y="158"/>
                          <a:pt x="66" y="158"/>
                        </a:cubicBezTo>
                        <a:cubicBezTo>
                          <a:pt x="65" y="214"/>
                          <a:pt x="65" y="214"/>
                          <a:pt x="65" y="214"/>
                        </a:cubicBezTo>
                        <a:cubicBezTo>
                          <a:pt x="73" y="216"/>
                          <a:pt x="73" y="216"/>
                          <a:pt x="73" y="216"/>
                        </a:cubicBezTo>
                        <a:cubicBezTo>
                          <a:pt x="69" y="232"/>
                          <a:pt x="69" y="232"/>
                          <a:pt x="69" y="232"/>
                        </a:cubicBezTo>
                        <a:cubicBezTo>
                          <a:pt x="78" y="239"/>
                          <a:pt x="78" y="239"/>
                          <a:pt x="78" y="239"/>
                        </a:cubicBezTo>
                        <a:cubicBezTo>
                          <a:pt x="70" y="245"/>
                          <a:pt x="70" y="245"/>
                          <a:pt x="70" y="245"/>
                        </a:cubicBezTo>
                        <a:cubicBezTo>
                          <a:pt x="70" y="245"/>
                          <a:pt x="66" y="280"/>
                          <a:pt x="69" y="294"/>
                        </a:cubicBezTo>
                        <a:cubicBezTo>
                          <a:pt x="71" y="315"/>
                          <a:pt x="108" y="326"/>
                          <a:pt x="108" y="326"/>
                        </a:cubicBezTo>
                        <a:cubicBezTo>
                          <a:pt x="83" y="331"/>
                          <a:pt x="83" y="331"/>
                          <a:pt x="83" y="331"/>
                        </a:cubicBezTo>
                        <a:cubicBezTo>
                          <a:pt x="83" y="331"/>
                          <a:pt x="75" y="328"/>
                          <a:pt x="68" y="329"/>
                        </a:cubicBezTo>
                        <a:cubicBezTo>
                          <a:pt x="66" y="330"/>
                          <a:pt x="62" y="331"/>
                          <a:pt x="58" y="332"/>
                        </a:cubicBezTo>
                        <a:cubicBezTo>
                          <a:pt x="77" y="377"/>
                          <a:pt x="77" y="377"/>
                          <a:pt x="77" y="377"/>
                        </a:cubicBezTo>
                        <a:cubicBezTo>
                          <a:pt x="77" y="377"/>
                          <a:pt x="87" y="470"/>
                          <a:pt x="136" y="402"/>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55" name="Bretagne" descr="© INSCALE GmbH, 05.05.2010&#10;http://www.presentationload.com/">
                    <a:extLst>
                      <a:ext uri="{FF2B5EF4-FFF2-40B4-BE49-F238E27FC236}">
                        <a16:creationId xmlns:a16="http://schemas.microsoft.com/office/drawing/2014/main" id="{23E99F83-982B-457F-B49B-BCA643B70E4B}"/>
                      </a:ext>
                    </a:extLst>
                  </p:cNvPr>
                  <p:cNvSpPr>
                    <a:spLocks noEditPoints="1"/>
                  </p:cNvSpPr>
                  <p:nvPr/>
                </p:nvSpPr>
                <p:spPr bwMode="gray">
                  <a:xfrm>
                    <a:off x="48" y="857"/>
                    <a:ext cx="953" cy="536"/>
                  </a:xfrm>
                  <a:custGeom>
                    <a:avLst/>
                    <a:gdLst/>
                    <a:ahLst/>
                    <a:cxnLst>
                      <a:cxn ang="0">
                        <a:pos x="459" y="18"/>
                      </a:cxn>
                      <a:cxn ang="0">
                        <a:pos x="5" y="133"/>
                      </a:cxn>
                      <a:cxn ang="0">
                        <a:pos x="355" y="388"/>
                      </a:cxn>
                      <a:cxn ang="0">
                        <a:pos x="355" y="388"/>
                      </a:cxn>
                      <a:cxn ang="0">
                        <a:pos x="394" y="465"/>
                      </a:cxn>
                      <a:cxn ang="0">
                        <a:pos x="422" y="494"/>
                      </a:cxn>
                      <a:cxn ang="0">
                        <a:pos x="413" y="479"/>
                      </a:cxn>
                      <a:cxn ang="0">
                        <a:pos x="448" y="462"/>
                      </a:cxn>
                      <a:cxn ang="0">
                        <a:pos x="467" y="479"/>
                      </a:cxn>
                      <a:cxn ang="0">
                        <a:pos x="55" y="259"/>
                      </a:cxn>
                      <a:cxn ang="0">
                        <a:pos x="36" y="144"/>
                      </a:cxn>
                      <a:cxn ang="0">
                        <a:pos x="56" y="163"/>
                      </a:cxn>
                      <a:cxn ang="0">
                        <a:pos x="246" y="42"/>
                      </a:cxn>
                      <a:cxn ang="0">
                        <a:pos x="874" y="165"/>
                      </a:cxn>
                      <a:cxn ang="0">
                        <a:pos x="757" y="79"/>
                      </a:cxn>
                      <a:cxn ang="0">
                        <a:pos x="705" y="58"/>
                      </a:cxn>
                      <a:cxn ang="0">
                        <a:pos x="628" y="92"/>
                      </a:cxn>
                      <a:cxn ang="0">
                        <a:pos x="606" y="63"/>
                      </a:cxn>
                      <a:cxn ang="0">
                        <a:pos x="570" y="80"/>
                      </a:cxn>
                      <a:cxn ang="0">
                        <a:pos x="526" y="116"/>
                      </a:cxn>
                      <a:cxn ang="0">
                        <a:pos x="496" y="71"/>
                      </a:cxn>
                      <a:cxn ang="0">
                        <a:pos x="458" y="31"/>
                      </a:cxn>
                      <a:cxn ang="0">
                        <a:pos x="446" y="0"/>
                      </a:cxn>
                      <a:cxn ang="0">
                        <a:pos x="401" y="13"/>
                      </a:cxn>
                      <a:cxn ang="0">
                        <a:pos x="347" y="22"/>
                      </a:cxn>
                      <a:cxn ang="0">
                        <a:pos x="333" y="59"/>
                      </a:cxn>
                      <a:cxn ang="0">
                        <a:pos x="268" y="58"/>
                      </a:cxn>
                      <a:cxn ang="0">
                        <a:pos x="237" y="58"/>
                      </a:cxn>
                      <a:cxn ang="0">
                        <a:pos x="186" y="70"/>
                      </a:cxn>
                      <a:cxn ang="0">
                        <a:pos x="147" y="76"/>
                      </a:cxn>
                      <a:cxn ang="0">
                        <a:pos x="115" y="80"/>
                      </a:cxn>
                      <a:cxn ang="0">
                        <a:pos x="84" y="106"/>
                      </a:cxn>
                      <a:cxn ang="0">
                        <a:pos x="79" y="148"/>
                      </a:cxn>
                      <a:cxn ang="0">
                        <a:pos x="98" y="154"/>
                      </a:cxn>
                      <a:cxn ang="0">
                        <a:pos x="156" y="145"/>
                      </a:cxn>
                      <a:cxn ang="0">
                        <a:pos x="172" y="160"/>
                      </a:cxn>
                      <a:cxn ang="0">
                        <a:pos x="155" y="185"/>
                      </a:cxn>
                      <a:cxn ang="0">
                        <a:pos x="122" y="172"/>
                      </a:cxn>
                      <a:cxn ang="0">
                        <a:pos x="125" y="211"/>
                      </a:cxn>
                      <a:cxn ang="0">
                        <a:pos x="171" y="237"/>
                      </a:cxn>
                      <a:cxn ang="0">
                        <a:pos x="156" y="329"/>
                      </a:cxn>
                      <a:cxn ang="0">
                        <a:pos x="235" y="316"/>
                      </a:cxn>
                      <a:cxn ang="0">
                        <a:pos x="294" y="333"/>
                      </a:cxn>
                      <a:cxn ang="0">
                        <a:pos x="384" y="364"/>
                      </a:cxn>
                      <a:cxn ang="0">
                        <a:pos x="414" y="432"/>
                      </a:cxn>
                      <a:cxn ang="0">
                        <a:pos x="425" y="403"/>
                      </a:cxn>
                      <a:cxn ang="0">
                        <a:pos x="460" y="391"/>
                      </a:cxn>
                      <a:cxn ang="0">
                        <a:pos x="522" y="390"/>
                      </a:cxn>
                      <a:cxn ang="0">
                        <a:pos x="462" y="407"/>
                      </a:cxn>
                      <a:cxn ang="0">
                        <a:pos x="513" y="428"/>
                      </a:cxn>
                      <a:cxn ang="0">
                        <a:pos x="555" y="424"/>
                      </a:cxn>
                      <a:cxn ang="0">
                        <a:pos x="566" y="454"/>
                      </a:cxn>
                      <a:cxn ang="0">
                        <a:pos x="554" y="487"/>
                      </a:cxn>
                      <a:cxn ang="0">
                        <a:pos x="595" y="481"/>
                      </a:cxn>
                      <a:cxn ang="0">
                        <a:pos x="666" y="409"/>
                      </a:cxn>
                      <a:cxn ang="0">
                        <a:pos x="752" y="389"/>
                      </a:cxn>
                      <a:cxn ang="0">
                        <a:pos x="796" y="377"/>
                      </a:cxn>
                      <a:cxn ang="0">
                        <a:pos x="838" y="366"/>
                      </a:cxn>
                      <a:cxn ang="0">
                        <a:pos x="879" y="220"/>
                      </a:cxn>
                    </a:cxnLst>
                    <a:rect l="0" t="0" r="r" b="b"/>
                    <a:pathLst>
                      <a:path w="884" h="496">
                        <a:moveTo>
                          <a:pt x="459" y="18"/>
                        </a:moveTo>
                        <a:cubicBezTo>
                          <a:pt x="460" y="17"/>
                          <a:pt x="460" y="17"/>
                          <a:pt x="460" y="15"/>
                        </a:cubicBezTo>
                        <a:cubicBezTo>
                          <a:pt x="460" y="12"/>
                          <a:pt x="459" y="14"/>
                          <a:pt x="459" y="18"/>
                        </a:cubicBezTo>
                        <a:close/>
                        <a:moveTo>
                          <a:pt x="17" y="117"/>
                        </a:moveTo>
                        <a:cubicBezTo>
                          <a:pt x="11" y="117"/>
                          <a:pt x="0" y="125"/>
                          <a:pt x="0" y="125"/>
                        </a:cubicBezTo>
                        <a:cubicBezTo>
                          <a:pt x="5" y="133"/>
                          <a:pt x="5" y="133"/>
                          <a:pt x="5" y="133"/>
                        </a:cubicBezTo>
                        <a:cubicBezTo>
                          <a:pt x="21" y="123"/>
                          <a:pt x="21" y="123"/>
                          <a:pt x="21" y="123"/>
                        </a:cubicBezTo>
                        <a:cubicBezTo>
                          <a:pt x="21" y="123"/>
                          <a:pt x="23" y="117"/>
                          <a:pt x="17" y="117"/>
                        </a:cubicBezTo>
                        <a:close/>
                        <a:moveTo>
                          <a:pt x="355" y="388"/>
                        </a:moveTo>
                        <a:cubicBezTo>
                          <a:pt x="346" y="382"/>
                          <a:pt x="339" y="378"/>
                          <a:pt x="339" y="378"/>
                        </a:cubicBezTo>
                        <a:cubicBezTo>
                          <a:pt x="339" y="378"/>
                          <a:pt x="333" y="390"/>
                          <a:pt x="344" y="389"/>
                        </a:cubicBezTo>
                        <a:cubicBezTo>
                          <a:pt x="355" y="388"/>
                          <a:pt x="364" y="394"/>
                          <a:pt x="355" y="388"/>
                        </a:cubicBezTo>
                        <a:close/>
                        <a:moveTo>
                          <a:pt x="413" y="479"/>
                        </a:moveTo>
                        <a:cubicBezTo>
                          <a:pt x="409" y="469"/>
                          <a:pt x="409" y="469"/>
                          <a:pt x="409" y="469"/>
                        </a:cubicBezTo>
                        <a:cubicBezTo>
                          <a:pt x="394" y="465"/>
                          <a:pt x="394" y="465"/>
                          <a:pt x="394" y="465"/>
                        </a:cubicBezTo>
                        <a:cubicBezTo>
                          <a:pt x="384" y="466"/>
                          <a:pt x="393" y="490"/>
                          <a:pt x="393" y="490"/>
                        </a:cubicBezTo>
                        <a:cubicBezTo>
                          <a:pt x="413" y="490"/>
                          <a:pt x="413" y="490"/>
                          <a:pt x="413" y="490"/>
                        </a:cubicBezTo>
                        <a:cubicBezTo>
                          <a:pt x="422" y="494"/>
                          <a:pt x="422" y="494"/>
                          <a:pt x="422" y="494"/>
                        </a:cubicBezTo>
                        <a:cubicBezTo>
                          <a:pt x="427" y="485"/>
                          <a:pt x="427" y="485"/>
                          <a:pt x="427" y="485"/>
                        </a:cubicBezTo>
                        <a:cubicBezTo>
                          <a:pt x="425" y="480"/>
                          <a:pt x="425" y="480"/>
                          <a:pt x="425" y="480"/>
                        </a:cubicBezTo>
                        <a:lnTo>
                          <a:pt x="413" y="479"/>
                        </a:lnTo>
                        <a:close/>
                        <a:moveTo>
                          <a:pt x="448" y="462"/>
                        </a:moveTo>
                        <a:cubicBezTo>
                          <a:pt x="448" y="462"/>
                          <a:pt x="454" y="467"/>
                          <a:pt x="454" y="465"/>
                        </a:cubicBezTo>
                        <a:cubicBezTo>
                          <a:pt x="454" y="462"/>
                          <a:pt x="454" y="462"/>
                          <a:pt x="448" y="462"/>
                        </a:cubicBezTo>
                        <a:close/>
                        <a:moveTo>
                          <a:pt x="467" y="479"/>
                        </a:moveTo>
                        <a:cubicBezTo>
                          <a:pt x="467" y="479"/>
                          <a:pt x="473" y="479"/>
                          <a:pt x="473" y="476"/>
                        </a:cubicBezTo>
                        <a:cubicBezTo>
                          <a:pt x="473" y="473"/>
                          <a:pt x="467" y="479"/>
                          <a:pt x="467" y="479"/>
                        </a:cubicBezTo>
                        <a:close/>
                        <a:moveTo>
                          <a:pt x="55" y="259"/>
                        </a:moveTo>
                        <a:cubicBezTo>
                          <a:pt x="58" y="258"/>
                          <a:pt x="53" y="251"/>
                          <a:pt x="53" y="251"/>
                        </a:cubicBezTo>
                        <a:cubicBezTo>
                          <a:pt x="53" y="251"/>
                          <a:pt x="52" y="260"/>
                          <a:pt x="55" y="259"/>
                        </a:cubicBezTo>
                        <a:close/>
                        <a:moveTo>
                          <a:pt x="36" y="144"/>
                        </a:moveTo>
                        <a:cubicBezTo>
                          <a:pt x="41" y="150"/>
                          <a:pt x="40" y="142"/>
                          <a:pt x="40" y="142"/>
                        </a:cubicBezTo>
                        <a:cubicBezTo>
                          <a:pt x="40" y="142"/>
                          <a:pt x="31" y="139"/>
                          <a:pt x="36" y="144"/>
                        </a:cubicBezTo>
                        <a:close/>
                        <a:moveTo>
                          <a:pt x="56" y="163"/>
                        </a:moveTo>
                        <a:cubicBezTo>
                          <a:pt x="56" y="163"/>
                          <a:pt x="64" y="161"/>
                          <a:pt x="59" y="156"/>
                        </a:cubicBezTo>
                        <a:cubicBezTo>
                          <a:pt x="54" y="152"/>
                          <a:pt x="56" y="163"/>
                          <a:pt x="56" y="163"/>
                        </a:cubicBezTo>
                        <a:close/>
                        <a:moveTo>
                          <a:pt x="247" y="36"/>
                        </a:moveTo>
                        <a:cubicBezTo>
                          <a:pt x="242" y="39"/>
                          <a:pt x="242" y="39"/>
                          <a:pt x="242" y="39"/>
                        </a:cubicBezTo>
                        <a:cubicBezTo>
                          <a:pt x="246" y="42"/>
                          <a:pt x="246" y="42"/>
                          <a:pt x="246" y="42"/>
                        </a:cubicBezTo>
                        <a:lnTo>
                          <a:pt x="247" y="36"/>
                        </a:lnTo>
                        <a:close/>
                        <a:moveTo>
                          <a:pt x="872" y="188"/>
                        </a:moveTo>
                        <a:cubicBezTo>
                          <a:pt x="874" y="165"/>
                          <a:pt x="874" y="165"/>
                          <a:pt x="874" y="165"/>
                        </a:cubicBezTo>
                        <a:cubicBezTo>
                          <a:pt x="865" y="163"/>
                          <a:pt x="853" y="157"/>
                          <a:pt x="835" y="149"/>
                        </a:cubicBezTo>
                        <a:cubicBezTo>
                          <a:pt x="786" y="217"/>
                          <a:pt x="776" y="124"/>
                          <a:pt x="776" y="124"/>
                        </a:cubicBezTo>
                        <a:cubicBezTo>
                          <a:pt x="757" y="79"/>
                          <a:pt x="757" y="79"/>
                          <a:pt x="757" y="79"/>
                        </a:cubicBezTo>
                        <a:cubicBezTo>
                          <a:pt x="750" y="81"/>
                          <a:pt x="742" y="83"/>
                          <a:pt x="742" y="83"/>
                        </a:cubicBezTo>
                        <a:cubicBezTo>
                          <a:pt x="742" y="83"/>
                          <a:pt x="722" y="85"/>
                          <a:pt x="710" y="84"/>
                        </a:cubicBezTo>
                        <a:cubicBezTo>
                          <a:pt x="698" y="83"/>
                          <a:pt x="705" y="58"/>
                          <a:pt x="705" y="58"/>
                        </a:cubicBezTo>
                        <a:cubicBezTo>
                          <a:pt x="692" y="58"/>
                          <a:pt x="664" y="78"/>
                          <a:pt x="664" y="78"/>
                        </a:cubicBezTo>
                        <a:cubicBezTo>
                          <a:pt x="647" y="76"/>
                          <a:pt x="647" y="76"/>
                          <a:pt x="647" y="76"/>
                        </a:cubicBezTo>
                        <a:cubicBezTo>
                          <a:pt x="647" y="76"/>
                          <a:pt x="636" y="91"/>
                          <a:pt x="628" y="92"/>
                        </a:cubicBezTo>
                        <a:cubicBezTo>
                          <a:pt x="620" y="93"/>
                          <a:pt x="616" y="75"/>
                          <a:pt x="616" y="75"/>
                        </a:cubicBezTo>
                        <a:cubicBezTo>
                          <a:pt x="601" y="80"/>
                          <a:pt x="601" y="80"/>
                          <a:pt x="601" y="80"/>
                        </a:cubicBezTo>
                        <a:cubicBezTo>
                          <a:pt x="601" y="80"/>
                          <a:pt x="609" y="67"/>
                          <a:pt x="606" y="63"/>
                        </a:cubicBezTo>
                        <a:cubicBezTo>
                          <a:pt x="603" y="59"/>
                          <a:pt x="584" y="75"/>
                          <a:pt x="584" y="75"/>
                        </a:cubicBezTo>
                        <a:cubicBezTo>
                          <a:pt x="571" y="72"/>
                          <a:pt x="571" y="72"/>
                          <a:pt x="571" y="72"/>
                        </a:cubicBezTo>
                        <a:cubicBezTo>
                          <a:pt x="570" y="80"/>
                          <a:pt x="570" y="80"/>
                          <a:pt x="570" y="80"/>
                        </a:cubicBezTo>
                        <a:cubicBezTo>
                          <a:pt x="533" y="109"/>
                          <a:pt x="533" y="109"/>
                          <a:pt x="533" y="109"/>
                        </a:cubicBezTo>
                        <a:cubicBezTo>
                          <a:pt x="529" y="106"/>
                          <a:pt x="529" y="106"/>
                          <a:pt x="529" y="106"/>
                        </a:cubicBezTo>
                        <a:cubicBezTo>
                          <a:pt x="526" y="116"/>
                          <a:pt x="526" y="116"/>
                          <a:pt x="526" y="116"/>
                        </a:cubicBezTo>
                        <a:cubicBezTo>
                          <a:pt x="516" y="96"/>
                          <a:pt x="516" y="96"/>
                          <a:pt x="516" y="96"/>
                        </a:cubicBezTo>
                        <a:cubicBezTo>
                          <a:pt x="499" y="88"/>
                          <a:pt x="499" y="88"/>
                          <a:pt x="499" y="88"/>
                        </a:cubicBezTo>
                        <a:cubicBezTo>
                          <a:pt x="496" y="71"/>
                          <a:pt x="496" y="71"/>
                          <a:pt x="496" y="71"/>
                        </a:cubicBezTo>
                        <a:cubicBezTo>
                          <a:pt x="473" y="49"/>
                          <a:pt x="473" y="49"/>
                          <a:pt x="473" y="49"/>
                        </a:cubicBezTo>
                        <a:cubicBezTo>
                          <a:pt x="473" y="36"/>
                          <a:pt x="473" y="36"/>
                          <a:pt x="473" y="36"/>
                        </a:cubicBezTo>
                        <a:cubicBezTo>
                          <a:pt x="473" y="36"/>
                          <a:pt x="459" y="35"/>
                          <a:pt x="458" y="31"/>
                        </a:cubicBezTo>
                        <a:cubicBezTo>
                          <a:pt x="457" y="29"/>
                          <a:pt x="458" y="22"/>
                          <a:pt x="459" y="18"/>
                        </a:cubicBezTo>
                        <a:cubicBezTo>
                          <a:pt x="455" y="21"/>
                          <a:pt x="444" y="18"/>
                          <a:pt x="444" y="18"/>
                        </a:cubicBezTo>
                        <a:cubicBezTo>
                          <a:pt x="446" y="0"/>
                          <a:pt x="446" y="0"/>
                          <a:pt x="446" y="0"/>
                        </a:cubicBezTo>
                        <a:cubicBezTo>
                          <a:pt x="426" y="10"/>
                          <a:pt x="426" y="10"/>
                          <a:pt x="426" y="10"/>
                        </a:cubicBezTo>
                        <a:cubicBezTo>
                          <a:pt x="415" y="4"/>
                          <a:pt x="415" y="4"/>
                          <a:pt x="415" y="4"/>
                        </a:cubicBezTo>
                        <a:cubicBezTo>
                          <a:pt x="415" y="4"/>
                          <a:pt x="411" y="10"/>
                          <a:pt x="401" y="13"/>
                        </a:cubicBezTo>
                        <a:cubicBezTo>
                          <a:pt x="387" y="15"/>
                          <a:pt x="372" y="26"/>
                          <a:pt x="372" y="26"/>
                        </a:cubicBezTo>
                        <a:cubicBezTo>
                          <a:pt x="371" y="19"/>
                          <a:pt x="356" y="12"/>
                          <a:pt x="351" y="12"/>
                        </a:cubicBezTo>
                        <a:cubicBezTo>
                          <a:pt x="346" y="12"/>
                          <a:pt x="347" y="22"/>
                          <a:pt x="347" y="22"/>
                        </a:cubicBezTo>
                        <a:cubicBezTo>
                          <a:pt x="341" y="25"/>
                          <a:pt x="341" y="25"/>
                          <a:pt x="341" y="25"/>
                        </a:cubicBezTo>
                        <a:cubicBezTo>
                          <a:pt x="347" y="40"/>
                          <a:pt x="347" y="40"/>
                          <a:pt x="347" y="40"/>
                        </a:cubicBezTo>
                        <a:cubicBezTo>
                          <a:pt x="347" y="40"/>
                          <a:pt x="336" y="60"/>
                          <a:pt x="333" y="59"/>
                        </a:cubicBezTo>
                        <a:cubicBezTo>
                          <a:pt x="300" y="51"/>
                          <a:pt x="285" y="50"/>
                          <a:pt x="282" y="56"/>
                        </a:cubicBezTo>
                        <a:cubicBezTo>
                          <a:pt x="279" y="62"/>
                          <a:pt x="280" y="72"/>
                          <a:pt x="277" y="72"/>
                        </a:cubicBezTo>
                        <a:cubicBezTo>
                          <a:pt x="274" y="72"/>
                          <a:pt x="268" y="58"/>
                          <a:pt x="268" y="58"/>
                        </a:cubicBezTo>
                        <a:cubicBezTo>
                          <a:pt x="258" y="63"/>
                          <a:pt x="258" y="63"/>
                          <a:pt x="258" y="63"/>
                        </a:cubicBezTo>
                        <a:cubicBezTo>
                          <a:pt x="258" y="63"/>
                          <a:pt x="251" y="44"/>
                          <a:pt x="245" y="47"/>
                        </a:cubicBezTo>
                        <a:cubicBezTo>
                          <a:pt x="239" y="50"/>
                          <a:pt x="237" y="58"/>
                          <a:pt x="237" y="58"/>
                        </a:cubicBezTo>
                        <a:cubicBezTo>
                          <a:pt x="237" y="58"/>
                          <a:pt x="226" y="55"/>
                          <a:pt x="217" y="54"/>
                        </a:cubicBezTo>
                        <a:cubicBezTo>
                          <a:pt x="208" y="53"/>
                          <a:pt x="200" y="64"/>
                          <a:pt x="200" y="64"/>
                        </a:cubicBezTo>
                        <a:cubicBezTo>
                          <a:pt x="186" y="70"/>
                          <a:pt x="186" y="70"/>
                          <a:pt x="186" y="70"/>
                        </a:cubicBezTo>
                        <a:cubicBezTo>
                          <a:pt x="173" y="60"/>
                          <a:pt x="173" y="60"/>
                          <a:pt x="173" y="60"/>
                        </a:cubicBezTo>
                        <a:cubicBezTo>
                          <a:pt x="173" y="60"/>
                          <a:pt x="168" y="65"/>
                          <a:pt x="161" y="69"/>
                        </a:cubicBezTo>
                        <a:cubicBezTo>
                          <a:pt x="154" y="73"/>
                          <a:pt x="147" y="76"/>
                          <a:pt x="147" y="76"/>
                        </a:cubicBezTo>
                        <a:cubicBezTo>
                          <a:pt x="147" y="76"/>
                          <a:pt x="131" y="70"/>
                          <a:pt x="126" y="70"/>
                        </a:cubicBezTo>
                        <a:cubicBezTo>
                          <a:pt x="121" y="70"/>
                          <a:pt x="134" y="84"/>
                          <a:pt x="134" y="84"/>
                        </a:cubicBezTo>
                        <a:cubicBezTo>
                          <a:pt x="115" y="80"/>
                          <a:pt x="115" y="80"/>
                          <a:pt x="115" y="80"/>
                        </a:cubicBezTo>
                        <a:cubicBezTo>
                          <a:pt x="115" y="85"/>
                          <a:pt x="115" y="85"/>
                          <a:pt x="115" y="85"/>
                        </a:cubicBezTo>
                        <a:cubicBezTo>
                          <a:pt x="105" y="87"/>
                          <a:pt x="105" y="87"/>
                          <a:pt x="105" y="87"/>
                        </a:cubicBezTo>
                        <a:cubicBezTo>
                          <a:pt x="105" y="87"/>
                          <a:pt x="96" y="98"/>
                          <a:pt x="84" y="106"/>
                        </a:cubicBezTo>
                        <a:cubicBezTo>
                          <a:pt x="72" y="114"/>
                          <a:pt x="86" y="121"/>
                          <a:pt x="86" y="121"/>
                        </a:cubicBezTo>
                        <a:cubicBezTo>
                          <a:pt x="86" y="121"/>
                          <a:pt x="76" y="131"/>
                          <a:pt x="75" y="139"/>
                        </a:cubicBezTo>
                        <a:cubicBezTo>
                          <a:pt x="74" y="147"/>
                          <a:pt x="79" y="148"/>
                          <a:pt x="79" y="148"/>
                        </a:cubicBezTo>
                        <a:cubicBezTo>
                          <a:pt x="79" y="148"/>
                          <a:pt x="74" y="150"/>
                          <a:pt x="75" y="160"/>
                        </a:cubicBezTo>
                        <a:cubicBezTo>
                          <a:pt x="76" y="170"/>
                          <a:pt x="86" y="164"/>
                          <a:pt x="86" y="164"/>
                        </a:cubicBezTo>
                        <a:cubicBezTo>
                          <a:pt x="98" y="154"/>
                          <a:pt x="98" y="154"/>
                          <a:pt x="98" y="154"/>
                        </a:cubicBezTo>
                        <a:cubicBezTo>
                          <a:pt x="107" y="157"/>
                          <a:pt x="107" y="157"/>
                          <a:pt x="107" y="157"/>
                        </a:cubicBezTo>
                        <a:cubicBezTo>
                          <a:pt x="107" y="157"/>
                          <a:pt x="112" y="161"/>
                          <a:pt x="122" y="156"/>
                        </a:cubicBezTo>
                        <a:cubicBezTo>
                          <a:pt x="132" y="151"/>
                          <a:pt x="156" y="145"/>
                          <a:pt x="156" y="145"/>
                        </a:cubicBezTo>
                        <a:cubicBezTo>
                          <a:pt x="145" y="163"/>
                          <a:pt x="145" y="163"/>
                          <a:pt x="145" y="163"/>
                        </a:cubicBezTo>
                        <a:cubicBezTo>
                          <a:pt x="157" y="168"/>
                          <a:pt x="157" y="168"/>
                          <a:pt x="157" y="168"/>
                        </a:cubicBezTo>
                        <a:cubicBezTo>
                          <a:pt x="172" y="160"/>
                          <a:pt x="172" y="160"/>
                          <a:pt x="172" y="160"/>
                        </a:cubicBezTo>
                        <a:cubicBezTo>
                          <a:pt x="174" y="166"/>
                          <a:pt x="186" y="174"/>
                          <a:pt x="183" y="174"/>
                        </a:cubicBezTo>
                        <a:cubicBezTo>
                          <a:pt x="180" y="174"/>
                          <a:pt x="166" y="183"/>
                          <a:pt x="166" y="183"/>
                        </a:cubicBezTo>
                        <a:cubicBezTo>
                          <a:pt x="155" y="185"/>
                          <a:pt x="155" y="185"/>
                          <a:pt x="155" y="185"/>
                        </a:cubicBezTo>
                        <a:cubicBezTo>
                          <a:pt x="145" y="173"/>
                          <a:pt x="145" y="173"/>
                          <a:pt x="145" y="173"/>
                        </a:cubicBezTo>
                        <a:cubicBezTo>
                          <a:pt x="137" y="178"/>
                          <a:pt x="137" y="178"/>
                          <a:pt x="137" y="178"/>
                        </a:cubicBezTo>
                        <a:cubicBezTo>
                          <a:pt x="122" y="172"/>
                          <a:pt x="122" y="172"/>
                          <a:pt x="122" y="172"/>
                        </a:cubicBezTo>
                        <a:cubicBezTo>
                          <a:pt x="109" y="181"/>
                          <a:pt x="109" y="181"/>
                          <a:pt x="109" y="181"/>
                        </a:cubicBezTo>
                        <a:cubicBezTo>
                          <a:pt x="120" y="189"/>
                          <a:pt x="120" y="189"/>
                          <a:pt x="120" y="189"/>
                        </a:cubicBezTo>
                        <a:cubicBezTo>
                          <a:pt x="120" y="189"/>
                          <a:pt x="124" y="208"/>
                          <a:pt x="125" y="211"/>
                        </a:cubicBezTo>
                        <a:cubicBezTo>
                          <a:pt x="126" y="214"/>
                          <a:pt x="130" y="192"/>
                          <a:pt x="141" y="191"/>
                        </a:cubicBezTo>
                        <a:cubicBezTo>
                          <a:pt x="152" y="190"/>
                          <a:pt x="135" y="190"/>
                          <a:pt x="164" y="204"/>
                        </a:cubicBezTo>
                        <a:cubicBezTo>
                          <a:pt x="193" y="218"/>
                          <a:pt x="171" y="237"/>
                          <a:pt x="171" y="237"/>
                        </a:cubicBezTo>
                        <a:cubicBezTo>
                          <a:pt x="144" y="227"/>
                          <a:pt x="79" y="254"/>
                          <a:pt x="79" y="254"/>
                        </a:cubicBezTo>
                        <a:cubicBezTo>
                          <a:pt x="139" y="267"/>
                          <a:pt x="141" y="276"/>
                          <a:pt x="153" y="293"/>
                        </a:cubicBezTo>
                        <a:cubicBezTo>
                          <a:pt x="165" y="310"/>
                          <a:pt x="156" y="329"/>
                          <a:pt x="156" y="329"/>
                        </a:cubicBezTo>
                        <a:cubicBezTo>
                          <a:pt x="197" y="333"/>
                          <a:pt x="197" y="333"/>
                          <a:pt x="197" y="333"/>
                        </a:cubicBezTo>
                        <a:cubicBezTo>
                          <a:pt x="197" y="333"/>
                          <a:pt x="207" y="310"/>
                          <a:pt x="214" y="310"/>
                        </a:cubicBezTo>
                        <a:cubicBezTo>
                          <a:pt x="221" y="310"/>
                          <a:pt x="231" y="316"/>
                          <a:pt x="235" y="316"/>
                        </a:cubicBezTo>
                        <a:cubicBezTo>
                          <a:pt x="239" y="316"/>
                          <a:pt x="249" y="301"/>
                          <a:pt x="249" y="301"/>
                        </a:cubicBezTo>
                        <a:cubicBezTo>
                          <a:pt x="268" y="334"/>
                          <a:pt x="268" y="334"/>
                          <a:pt x="268" y="334"/>
                        </a:cubicBezTo>
                        <a:cubicBezTo>
                          <a:pt x="294" y="333"/>
                          <a:pt x="294" y="333"/>
                          <a:pt x="294" y="333"/>
                        </a:cubicBezTo>
                        <a:cubicBezTo>
                          <a:pt x="296" y="338"/>
                          <a:pt x="335" y="344"/>
                          <a:pt x="335" y="344"/>
                        </a:cubicBezTo>
                        <a:cubicBezTo>
                          <a:pt x="335" y="344"/>
                          <a:pt x="355" y="365"/>
                          <a:pt x="358" y="365"/>
                        </a:cubicBezTo>
                        <a:cubicBezTo>
                          <a:pt x="361" y="365"/>
                          <a:pt x="384" y="364"/>
                          <a:pt x="384" y="364"/>
                        </a:cubicBezTo>
                        <a:cubicBezTo>
                          <a:pt x="414" y="401"/>
                          <a:pt x="414" y="401"/>
                          <a:pt x="414" y="401"/>
                        </a:cubicBezTo>
                        <a:cubicBezTo>
                          <a:pt x="410" y="421"/>
                          <a:pt x="410" y="421"/>
                          <a:pt x="410" y="421"/>
                        </a:cubicBezTo>
                        <a:cubicBezTo>
                          <a:pt x="414" y="432"/>
                          <a:pt x="414" y="432"/>
                          <a:pt x="414" y="432"/>
                        </a:cubicBezTo>
                        <a:cubicBezTo>
                          <a:pt x="414" y="432"/>
                          <a:pt x="426" y="438"/>
                          <a:pt x="422" y="432"/>
                        </a:cubicBezTo>
                        <a:cubicBezTo>
                          <a:pt x="418" y="426"/>
                          <a:pt x="421" y="398"/>
                          <a:pt x="421" y="398"/>
                        </a:cubicBezTo>
                        <a:cubicBezTo>
                          <a:pt x="425" y="403"/>
                          <a:pt x="425" y="403"/>
                          <a:pt x="425" y="403"/>
                        </a:cubicBezTo>
                        <a:cubicBezTo>
                          <a:pt x="442" y="399"/>
                          <a:pt x="442" y="399"/>
                          <a:pt x="442" y="399"/>
                        </a:cubicBezTo>
                        <a:cubicBezTo>
                          <a:pt x="452" y="403"/>
                          <a:pt x="452" y="403"/>
                          <a:pt x="452" y="403"/>
                        </a:cubicBezTo>
                        <a:cubicBezTo>
                          <a:pt x="460" y="391"/>
                          <a:pt x="460" y="391"/>
                          <a:pt x="460" y="391"/>
                        </a:cubicBezTo>
                        <a:cubicBezTo>
                          <a:pt x="466" y="399"/>
                          <a:pt x="466" y="399"/>
                          <a:pt x="466" y="399"/>
                        </a:cubicBezTo>
                        <a:cubicBezTo>
                          <a:pt x="481" y="388"/>
                          <a:pt x="481" y="388"/>
                          <a:pt x="481" y="388"/>
                        </a:cubicBezTo>
                        <a:cubicBezTo>
                          <a:pt x="481" y="388"/>
                          <a:pt x="518" y="389"/>
                          <a:pt x="522" y="390"/>
                        </a:cubicBezTo>
                        <a:cubicBezTo>
                          <a:pt x="517" y="392"/>
                          <a:pt x="502" y="416"/>
                          <a:pt x="502" y="416"/>
                        </a:cubicBezTo>
                        <a:cubicBezTo>
                          <a:pt x="502" y="416"/>
                          <a:pt x="503" y="411"/>
                          <a:pt x="495" y="411"/>
                        </a:cubicBezTo>
                        <a:cubicBezTo>
                          <a:pt x="487" y="411"/>
                          <a:pt x="462" y="407"/>
                          <a:pt x="462" y="407"/>
                        </a:cubicBezTo>
                        <a:cubicBezTo>
                          <a:pt x="487" y="429"/>
                          <a:pt x="487" y="429"/>
                          <a:pt x="487" y="429"/>
                        </a:cubicBezTo>
                        <a:cubicBezTo>
                          <a:pt x="505" y="422"/>
                          <a:pt x="505" y="422"/>
                          <a:pt x="505" y="422"/>
                        </a:cubicBezTo>
                        <a:cubicBezTo>
                          <a:pt x="513" y="428"/>
                          <a:pt x="513" y="428"/>
                          <a:pt x="513" y="428"/>
                        </a:cubicBezTo>
                        <a:cubicBezTo>
                          <a:pt x="517" y="419"/>
                          <a:pt x="517" y="419"/>
                          <a:pt x="517" y="419"/>
                        </a:cubicBezTo>
                        <a:cubicBezTo>
                          <a:pt x="538" y="427"/>
                          <a:pt x="538" y="427"/>
                          <a:pt x="538" y="427"/>
                        </a:cubicBezTo>
                        <a:cubicBezTo>
                          <a:pt x="538" y="427"/>
                          <a:pt x="548" y="420"/>
                          <a:pt x="555" y="424"/>
                        </a:cubicBezTo>
                        <a:cubicBezTo>
                          <a:pt x="562" y="428"/>
                          <a:pt x="557" y="444"/>
                          <a:pt x="557" y="444"/>
                        </a:cubicBezTo>
                        <a:cubicBezTo>
                          <a:pt x="563" y="444"/>
                          <a:pt x="563" y="444"/>
                          <a:pt x="563" y="444"/>
                        </a:cubicBezTo>
                        <a:cubicBezTo>
                          <a:pt x="566" y="454"/>
                          <a:pt x="566" y="454"/>
                          <a:pt x="566" y="454"/>
                        </a:cubicBezTo>
                        <a:cubicBezTo>
                          <a:pt x="555" y="452"/>
                          <a:pt x="555" y="452"/>
                          <a:pt x="555" y="452"/>
                        </a:cubicBezTo>
                        <a:cubicBezTo>
                          <a:pt x="545" y="463"/>
                          <a:pt x="545" y="463"/>
                          <a:pt x="545" y="463"/>
                        </a:cubicBezTo>
                        <a:cubicBezTo>
                          <a:pt x="554" y="487"/>
                          <a:pt x="554" y="487"/>
                          <a:pt x="554" y="487"/>
                        </a:cubicBezTo>
                        <a:cubicBezTo>
                          <a:pt x="567" y="476"/>
                          <a:pt x="567" y="476"/>
                          <a:pt x="567" y="476"/>
                        </a:cubicBezTo>
                        <a:cubicBezTo>
                          <a:pt x="575" y="481"/>
                          <a:pt x="575" y="481"/>
                          <a:pt x="575" y="481"/>
                        </a:cubicBezTo>
                        <a:cubicBezTo>
                          <a:pt x="595" y="481"/>
                          <a:pt x="595" y="481"/>
                          <a:pt x="595" y="481"/>
                        </a:cubicBezTo>
                        <a:cubicBezTo>
                          <a:pt x="596" y="469"/>
                          <a:pt x="596" y="469"/>
                          <a:pt x="596" y="469"/>
                        </a:cubicBezTo>
                        <a:cubicBezTo>
                          <a:pt x="596" y="469"/>
                          <a:pt x="635" y="496"/>
                          <a:pt x="642" y="436"/>
                        </a:cubicBezTo>
                        <a:cubicBezTo>
                          <a:pt x="666" y="409"/>
                          <a:pt x="666" y="409"/>
                          <a:pt x="666" y="409"/>
                        </a:cubicBezTo>
                        <a:cubicBezTo>
                          <a:pt x="674" y="418"/>
                          <a:pt x="674" y="418"/>
                          <a:pt x="674" y="418"/>
                        </a:cubicBezTo>
                        <a:cubicBezTo>
                          <a:pt x="674" y="418"/>
                          <a:pt x="706" y="416"/>
                          <a:pt x="734" y="410"/>
                        </a:cubicBezTo>
                        <a:cubicBezTo>
                          <a:pt x="752" y="389"/>
                          <a:pt x="752" y="389"/>
                          <a:pt x="752" y="389"/>
                        </a:cubicBezTo>
                        <a:cubicBezTo>
                          <a:pt x="778" y="385"/>
                          <a:pt x="778" y="385"/>
                          <a:pt x="778" y="385"/>
                        </a:cubicBezTo>
                        <a:cubicBezTo>
                          <a:pt x="780" y="370"/>
                          <a:pt x="780" y="370"/>
                          <a:pt x="780" y="370"/>
                        </a:cubicBezTo>
                        <a:cubicBezTo>
                          <a:pt x="796" y="377"/>
                          <a:pt x="796" y="377"/>
                          <a:pt x="796" y="377"/>
                        </a:cubicBezTo>
                        <a:cubicBezTo>
                          <a:pt x="799" y="386"/>
                          <a:pt x="799" y="386"/>
                          <a:pt x="799" y="386"/>
                        </a:cubicBezTo>
                        <a:cubicBezTo>
                          <a:pt x="830" y="392"/>
                          <a:pt x="830" y="392"/>
                          <a:pt x="830" y="392"/>
                        </a:cubicBezTo>
                        <a:cubicBezTo>
                          <a:pt x="830" y="392"/>
                          <a:pt x="832" y="378"/>
                          <a:pt x="838" y="366"/>
                        </a:cubicBezTo>
                        <a:cubicBezTo>
                          <a:pt x="843" y="354"/>
                          <a:pt x="848" y="328"/>
                          <a:pt x="870" y="328"/>
                        </a:cubicBezTo>
                        <a:cubicBezTo>
                          <a:pt x="884" y="316"/>
                          <a:pt x="875" y="334"/>
                          <a:pt x="867" y="242"/>
                        </a:cubicBezTo>
                        <a:cubicBezTo>
                          <a:pt x="875" y="214"/>
                          <a:pt x="879" y="220"/>
                          <a:pt x="879" y="220"/>
                        </a:cubicBezTo>
                        <a:lnTo>
                          <a:pt x="872" y="188"/>
                        </a:ln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56" name="Pays-de-la-Loire" descr="© INSCALE GmbH, 05.05.2010&#10;http://www.presentationload.com/">
                    <a:extLst>
                      <a:ext uri="{FF2B5EF4-FFF2-40B4-BE49-F238E27FC236}">
                        <a16:creationId xmlns:a16="http://schemas.microsoft.com/office/drawing/2014/main" id="{5C7FFD84-BF08-4075-AF73-543DFC742786}"/>
                      </a:ext>
                    </a:extLst>
                  </p:cNvPr>
                  <p:cNvSpPr>
                    <a:spLocks noEditPoints="1"/>
                  </p:cNvSpPr>
                  <p:nvPr/>
                </p:nvSpPr>
                <p:spPr bwMode="gray">
                  <a:xfrm>
                    <a:off x="644" y="1006"/>
                    <a:ext cx="797" cy="790"/>
                  </a:xfrm>
                  <a:custGeom>
                    <a:avLst/>
                    <a:gdLst/>
                    <a:ahLst/>
                    <a:cxnLst>
                      <a:cxn ang="0">
                        <a:pos x="16" y="534"/>
                      </a:cxn>
                      <a:cxn ang="0">
                        <a:pos x="51" y="448"/>
                      </a:cxn>
                      <a:cxn ang="0">
                        <a:pos x="219" y="694"/>
                      </a:cxn>
                      <a:cxn ang="0">
                        <a:pos x="191" y="687"/>
                      </a:cxn>
                      <a:cxn ang="0">
                        <a:pos x="211" y="706"/>
                      </a:cxn>
                      <a:cxn ang="0">
                        <a:pos x="222" y="703"/>
                      </a:cxn>
                      <a:cxn ang="0">
                        <a:pos x="707" y="141"/>
                      </a:cxn>
                      <a:cxn ang="0">
                        <a:pos x="651" y="103"/>
                      </a:cxn>
                      <a:cxn ang="0">
                        <a:pos x="541" y="75"/>
                      </a:cxn>
                      <a:cxn ang="0">
                        <a:pos x="521" y="24"/>
                      </a:cxn>
                      <a:cxn ang="0">
                        <a:pos x="482" y="25"/>
                      </a:cxn>
                      <a:cxn ang="0">
                        <a:pos x="439" y="31"/>
                      </a:cxn>
                      <a:cxn ang="0">
                        <a:pos x="391" y="47"/>
                      </a:cxn>
                      <a:cxn ang="0">
                        <a:pos x="321" y="28"/>
                      </a:cxn>
                      <a:cxn ang="0">
                        <a:pos x="314" y="105"/>
                      </a:cxn>
                      <a:cxn ang="0">
                        <a:pos x="277" y="255"/>
                      </a:cxn>
                      <a:cxn ang="0">
                        <a:pos x="227" y="233"/>
                      </a:cxn>
                      <a:cxn ang="0">
                        <a:pos x="181" y="273"/>
                      </a:cxn>
                      <a:cxn ang="0">
                        <a:pos x="89" y="299"/>
                      </a:cxn>
                      <a:cxn ang="0">
                        <a:pos x="22" y="344"/>
                      </a:cxn>
                      <a:cxn ang="0">
                        <a:pos x="3" y="354"/>
                      </a:cxn>
                      <a:cxn ang="0">
                        <a:pos x="24" y="359"/>
                      </a:cxn>
                      <a:cxn ang="0">
                        <a:pos x="105" y="349"/>
                      </a:cxn>
                      <a:cxn ang="0">
                        <a:pos x="67" y="376"/>
                      </a:cxn>
                      <a:cxn ang="0">
                        <a:pos x="52" y="399"/>
                      </a:cxn>
                      <a:cxn ang="0">
                        <a:pos x="104" y="444"/>
                      </a:cxn>
                      <a:cxn ang="0">
                        <a:pos x="72" y="483"/>
                      </a:cxn>
                      <a:cxn ang="0">
                        <a:pos x="55" y="465"/>
                      </a:cxn>
                      <a:cxn ang="0">
                        <a:pos x="72" y="511"/>
                      </a:cxn>
                      <a:cxn ang="0">
                        <a:pos x="135" y="611"/>
                      </a:cxn>
                      <a:cxn ang="0">
                        <a:pos x="210" y="658"/>
                      </a:cxn>
                      <a:cxn ang="0">
                        <a:pos x="251" y="669"/>
                      </a:cxn>
                      <a:cxn ang="0">
                        <a:pos x="287" y="680"/>
                      </a:cxn>
                      <a:cxn ang="0">
                        <a:pos x="289" y="723"/>
                      </a:cxn>
                      <a:cxn ang="0">
                        <a:pos x="337" y="729"/>
                      </a:cxn>
                      <a:cxn ang="0">
                        <a:pos x="385" y="728"/>
                      </a:cxn>
                      <a:cxn ang="0">
                        <a:pos x="389" y="707"/>
                      </a:cxn>
                      <a:cxn ang="0">
                        <a:pos x="394" y="664"/>
                      </a:cxn>
                      <a:cxn ang="0">
                        <a:pos x="386" y="605"/>
                      </a:cxn>
                      <a:cxn ang="0">
                        <a:pos x="353" y="548"/>
                      </a:cxn>
                      <a:cxn ang="0">
                        <a:pos x="378" y="511"/>
                      </a:cxn>
                      <a:cxn ang="0">
                        <a:pos x="434" y="488"/>
                      </a:cxn>
                      <a:cxn ang="0">
                        <a:pos x="502" y="480"/>
                      </a:cxn>
                      <a:cxn ang="0">
                        <a:pos x="514" y="483"/>
                      </a:cxn>
                      <a:cxn ang="0">
                        <a:pos x="549" y="461"/>
                      </a:cxn>
                      <a:cxn ang="0">
                        <a:pos x="585" y="359"/>
                      </a:cxn>
                      <a:cxn ang="0">
                        <a:pos x="615" y="320"/>
                      </a:cxn>
                      <a:cxn ang="0">
                        <a:pos x="674" y="299"/>
                      </a:cxn>
                      <a:cxn ang="0">
                        <a:pos x="717" y="229"/>
                      </a:cxn>
                      <a:cxn ang="0">
                        <a:pos x="722" y="192"/>
                      </a:cxn>
                      <a:cxn ang="0">
                        <a:pos x="725" y="157"/>
                      </a:cxn>
                      <a:cxn ang="0">
                        <a:pos x="719" y="140"/>
                      </a:cxn>
                    </a:cxnLst>
                    <a:rect l="0" t="0" r="r" b="b"/>
                    <a:pathLst>
                      <a:path w="739" h="732">
                        <a:moveTo>
                          <a:pt x="16" y="534"/>
                        </a:moveTo>
                        <a:cubicBezTo>
                          <a:pt x="10" y="548"/>
                          <a:pt x="22" y="548"/>
                          <a:pt x="37" y="548"/>
                        </a:cubicBezTo>
                        <a:cubicBezTo>
                          <a:pt x="32" y="535"/>
                          <a:pt x="16" y="534"/>
                          <a:pt x="16" y="534"/>
                        </a:cubicBezTo>
                        <a:close/>
                        <a:moveTo>
                          <a:pt x="38" y="440"/>
                        </a:moveTo>
                        <a:cubicBezTo>
                          <a:pt x="36" y="461"/>
                          <a:pt x="44" y="460"/>
                          <a:pt x="47" y="462"/>
                        </a:cubicBezTo>
                        <a:cubicBezTo>
                          <a:pt x="50" y="464"/>
                          <a:pt x="51" y="458"/>
                          <a:pt x="51" y="448"/>
                        </a:cubicBezTo>
                        <a:cubicBezTo>
                          <a:pt x="51" y="438"/>
                          <a:pt x="38" y="440"/>
                          <a:pt x="38" y="440"/>
                        </a:cubicBezTo>
                        <a:close/>
                        <a:moveTo>
                          <a:pt x="222" y="703"/>
                        </a:moveTo>
                        <a:cubicBezTo>
                          <a:pt x="219" y="694"/>
                          <a:pt x="219" y="694"/>
                          <a:pt x="219" y="694"/>
                        </a:cubicBezTo>
                        <a:cubicBezTo>
                          <a:pt x="201" y="701"/>
                          <a:pt x="201" y="701"/>
                          <a:pt x="201" y="701"/>
                        </a:cubicBezTo>
                        <a:cubicBezTo>
                          <a:pt x="203" y="686"/>
                          <a:pt x="203" y="686"/>
                          <a:pt x="203" y="686"/>
                        </a:cubicBezTo>
                        <a:cubicBezTo>
                          <a:pt x="191" y="687"/>
                          <a:pt x="191" y="687"/>
                          <a:pt x="191" y="687"/>
                        </a:cubicBezTo>
                        <a:cubicBezTo>
                          <a:pt x="190" y="693"/>
                          <a:pt x="190" y="693"/>
                          <a:pt x="190" y="693"/>
                        </a:cubicBezTo>
                        <a:cubicBezTo>
                          <a:pt x="200" y="708"/>
                          <a:pt x="200" y="708"/>
                          <a:pt x="200" y="708"/>
                        </a:cubicBezTo>
                        <a:cubicBezTo>
                          <a:pt x="211" y="706"/>
                          <a:pt x="211" y="706"/>
                          <a:pt x="211" y="706"/>
                        </a:cubicBezTo>
                        <a:cubicBezTo>
                          <a:pt x="230" y="714"/>
                          <a:pt x="230" y="714"/>
                          <a:pt x="230" y="714"/>
                        </a:cubicBezTo>
                        <a:cubicBezTo>
                          <a:pt x="238" y="725"/>
                          <a:pt x="246" y="718"/>
                          <a:pt x="250" y="719"/>
                        </a:cubicBezTo>
                        <a:cubicBezTo>
                          <a:pt x="241" y="705"/>
                          <a:pt x="222" y="703"/>
                          <a:pt x="222" y="703"/>
                        </a:cubicBezTo>
                        <a:close/>
                        <a:moveTo>
                          <a:pt x="719" y="140"/>
                        </a:moveTo>
                        <a:cubicBezTo>
                          <a:pt x="719" y="139"/>
                          <a:pt x="719" y="139"/>
                          <a:pt x="719" y="139"/>
                        </a:cubicBezTo>
                        <a:cubicBezTo>
                          <a:pt x="707" y="141"/>
                          <a:pt x="707" y="141"/>
                          <a:pt x="707" y="141"/>
                        </a:cubicBezTo>
                        <a:cubicBezTo>
                          <a:pt x="683" y="117"/>
                          <a:pt x="683" y="117"/>
                          <a:pt x="683" y="117"/>
                        </a:cubicBezTo>
                        <a:cubicBezTo>
                          <a:pt x="658" y="123"/>
                          <a:pt x="658" y="123"/>
                          <a:pt x="658" y="123"/>
                        </a:cubicBezTo>
                        <a:cubicBezTo>
                          <a:pt x="651" y="103"/>
                          <a:pt x="651" y="103"/>
                          <a:pt x="651" y="103"/>
                        </a:cubicBezTo>
                        <a:cubicBezTo>
                          <a:pt x="651" y="103"/>
                          <a:pt x="638" y="96"/>
                          <a:pt x="631" y="91"/>
                        </a:cubicBezTo>
                        <a:cubicBezTo>
                          <a:pt x="623" y="0"/>
                          <a:pt x="561" y="75"/>
                          <a:pt x="561" y="75"/>
                        </a:cubicBezTo>
                        <a:cubicBezTo>
                          <a:pt x="541" y="75"/>
                          <a:pt x="541" y="75"/>
                          <a:pt x="541" y="75"/>
                        </a:cubicBezTo>
                        <a:cubicBezTo>
                          <a:pt x="537" y="48"/>
                          <a:pt x="537" y="48"/>
                          <a:pt x="537" y="48"/>
                        </a:cubicBezTo>
                        <a:cubicBezTo>
                          <a:pt x="537" y="48"/>
                          <a:pt x="531" y="49"/>
                          <a:pt x="519" y="49"/>
                        </a:cubicBezTo>
                        <a:cubicBezTo>
                          <a:pt x="507" y="49"/>
                          <a:pt x="521" y="24"/>
                          <a:pt x="521" y="24"/>
                        </a:cubicBezTo>
                        <a:cubicBezTo>
                          <a:pt x="521" y="24"/>
                          <a:pt x="498" y="15"/>
                          <a:pt x="494" y="15"/>
                        </a:cubicBezTo>
                        <a:cubicBezTo>
                          <a:pt x="490" y="15"/>
                          <a:pt x="498" y="20"/>
                          <a:pt x="494" y="28"/>
                        </a:cubicBezTo>
                        <a:cubicBezTo>
                          <a:pt x="490" y="36"/>
                          <a:pt x="482" y="25"/>
                          <a:pt x="482" y="25"/>
                        </a:cubicBezTo>
                        <a:cubicBezTo>
                          <a:pt x="467" y="37"/>
                          <a:pt x="467" y="37"/>
                          <a:pt x="467" y="37"/>
                        </a:cubicBezTo>
                        <a:cubicBezTo>
                          <a:pt x="461" y="32"/>
                          <a:pt x="461" y="32"/>
                          <a:pt x="461" y="32"/>
                        </a:cubicBezTo>
                        <a:cubicBezTo>
                          <a:pt x="461" y="32"/>
                          <a:pt x="446" y="31"/>
                          <a:pt x="439" y="31"/>
                        </a:cubicBezTo>
                        <a:cubicBezTo>
                          <a:pt x="434" y="45"/>
                          <a:pt x="411" y="45"/>
                          <a:pt x="411" y="45"/>
                        </a:cubicBezTo>
                        <a:cubicBezTo>
                          <a:pt x="407" y="36"/>
                          <a:pt x="407" y="36"/>
                          <a:pt x="407" y="36"/>
                        </a:cubicBezTo>
                        <a:cubicBezTo>
                          <a:pt x="407" y="36"/>
                          <a:pt x="391" y="37"/>
                          <a:pt x="391" y="47"/>
                        </a:cubicBezTo>
                        <a:cubicBezTo>
                          <a:pt x="391" y="56"/>
                          <a:pt x="366" y="32"/>
                          <a:pt x="366" y="32"/>
                        </a:cubicBezTo>
                        <a:cubicBezTo>
                          <a:pt x="366" y="32"/>
                          <a:pt x="353" y="28"/>
                          <a:pt x="343" y="23"/>
                        </a:cubicBezTo>
                        <a:cubicBezTo>
                          <a:pt x="338" y="30"/>
                          <a:pt x="331" y="31"/>
                          <a:pt x="321" y="28"/>
                        </a:cubicBezTo>
                        <a:cubicBezTo>
                          <a:pt x="319" y="51"/>
                          <a:pt x="319" y="51"/>
                          <a:pt x="319" y="51"/>
                        </a:cubicBezTo>
                        <a:cubicBezTo>
                          <a:pt x="326" y="83"/>
                          <a:pt x="326" y="83"/>
                          <a:pt x="326" y="83"/>
                        </a:cubicBezTo>
                        <a:cubicBezTo>
                          <a:pt x="326" y="83"/>
                          <a:pt x="322" y="77"/>
                          <a:pt x="314" y="105"/>
                        </a:cubicBezTo>
                        <a:cubicBezTo>
                          <a:pt x="322" y="197"/>
                          <a:pt x="331" y="179"/>
                          <a:pt x="317" y="191"/>
                        </a:cubicBezTo>
                        <a:cubicBezTo>
                          <a:pt x="295" y="191"/>
                          <a:pt x="290" y="217"/>
                          <a:pt x="285" y="229"/>
                        </a:cubicBezTo>
                        <a:cubicBezTo>
                          <a:pt x="279" y="241"/>
                          <a:pt x="277" y="255"/>
                          <a:pt x="277" y="255"/>
                        </a:cubicBezTo>
                        <a:cubicBezTo>
                          <a:pt x="246" y="249"/>
                          <a:pt x="246" y="249"/>
                          <a:pt x="246" y="249"/>
                        </a:cubicBezTo>
                        <a:cubicBezTo>
                          <a:pt x="243" y="240"/>
                          <a:pt x="243" y="240"/>
                          <a:pt x="243" y="240"/>
                        </a:cubicBezTo>
                        <a:cubicBezTo>
                          <a:pt x="227" y="233"/>
                          <a:pt x="227" y="233"/>
                          <a:pt x="227" y="233"/>
                        </a:cubicBezTo>
                        <a:cubicBezTo>
                          <a:pt x="225" y="248"/>
                          <a:pt x="225" y="248"/>
                          <a:pt x="225" y="248"/>
                        </a:cubicBezTo>
                        <a:cubicBezTo>
                          <a:pt x="199" y="252"/>
                          <a:pt x="199" y="252"/>
                          <a:pt x="199" y="252"/>
                        </a:cubicBezTo>
                        <a:cubicBezTo>
                          <a:pt x="199" y="252"/>
                          <a:pt x="199" y="252"/>
                          <a:pt x="181" y="273"/>
                        </a:cubicBezTo>
                        <a:cubicBezTo>
                          <a:pt x="153" y="279"/>
                          <a:pt x="121" y="281"/>
                          <a:pt x="121" y="281"/>
                        </a:cubicBezTo>
                        <a:cubicBezTo>
                          <a:pt x="113" y="272"/>
                          <a:pt x="113" y="272"/>
                          <a:pt x="113" y="272"/>
                        </a:cubicBezTo>
                        <a:cubicBezTo>
                          <a:pt x="113" y="272"/>
                          <a:pt x="113" y="272"/>
                          <a:pt x="89" y="299"/>
                        </a:cubicBezTo>
                        <a:cubicBezTo>
                          <a:pt x="82" y="359"/>
                          <a:pt x="43" y="332"/>
                          <a:pt x="43" y="332"/>
                        </a:cubicBezTo>
                        <a:cubicBezTo>
                          <a:pt x="42" y="344"/>
                          <a:pt x="42" y="344"/>
                          <a:pt x="42" y="344"/>
                        </a:cubicBezTo>
                        <a:cubicBezTo>
                          <a:pt x="22" y="344"/>
                          <a:pt x="22" y="344"/>
                          <a:pt x="22" y="344"/>
                        </a:cubicBezTo>
                        <a:cubicBezTo>
                          <a:pt x="14" y="339"/>
                          <a:pt x="14" y="339"/>
                          <a:pt x="14" y="339"/>
                        </a:cubicBezTo>
                        <a:cubicBezTo>
                          <a:pt x="1" y="350"/>
                          <a:pt x="1" y="350"/>
                          <a:pt x="1" y="350"/>
                        </a:cubicBezTo>
                        <a:cubicBezTo>
                          <a:pt x="3" y="354"/>
                          <a:pt x="3" y="354"/>
                          <a:pt x="3" y="354"/>
                        </a:cubicBezTo>
                        <a:cubicBezTo>
                          <a:pt x="0" y="355"/>
                          <a:pt x="0" y="355"/>
                          <a:pt x="0" y="355"/>
                        </a:cubicBezTo>
                        <a:cubicBezTo>
                          <a:pt x="2" y="357"/>
                          <a:pt x="4" y="360"/>
                          <a:pt x="7" y="364"/>
                        </a:cubicBezTo>
                        <a:cubicBezTo>
                          <a:pt x="14" y="363"/>
                          <a:pt x="24" y="359"/>
                          <a:pt x="24" y="359"/>
                        </a:cubicBezTo>
                        <a:cubicBezTo>
                          <a:pt x="24" y="359"/>
                          <a:pt x="39" y="374"/>
                          <a:pt x="45" y="374"/>
                        </a:cubicBezTo>
                        <a:cubicBezTo>
                          <a:pt x="51" y="374"/>
                          <a:pt x="70" y="351"/>
                          <a:pt x="70" y="351"/>
                        </a:cubicBezTo>
                        <a:cubicBezTo>
                          <a:pt x="70" y="351"/>
                          <a:pt x="103" y="344"/>
                          <a:pt x="105" y="349"/>
                        </a:cubicBezTo>
                        <a:cubicBezTo>
                          <a:pt x="107" y="354"/>
                          <a:pt x="96" y="361"/>
                          <a:pt x="96" y="361"/>
                        </a:cubicBezTo>
                        <a:cubicBezTo>
                          <a:pt x="72" y="363"/>
                          <a:pt x="72" y="363"/>
                          <a:pt x="72" y="363"/>
                        </a:cubicBezTo>
                        <a:cubicBezTo>
                          <a:pt x="67" y="376"/>
                          <a:pt x="67" y="376"/>
                          <a:pt x="67" y="376"/>
                        </a:cubicBezTo>
                        <a:cubicBezTo>
                          <a:pt x="71" y="385"/>
                          <a:pt x="71" y="385"/>
                          <a:pt x="71" y="385"/>
                        </a:cubicBezTo>
                        <a:cubicBezTo>
                          <a:pt x="65" y="399"/>
                          <a:pt x="65" y="399"/>
                          <a:pt x="65" y="399"/>
                        </a:cubicBezTo>
                        <a:cubicBezTo>
                          <a:pt x="52" y="399"/>
                          <a:pt x="52" y="399"/>
                          <a:pt x="52" y="399"/>
                        </a:cubicBezTo>
                        <a:cubicBezTo>
                          <a:pt x="52" y="408"/>
                          <a:pt x="52" y="408"/>
                          <a:pt x="52" y="408"/>
                        </a:cubicBezTo>
                        <a:cubicBezTo>
                          <a:pt x="91" y="415"/>
                          <a:pt x="91" y="415"/>
                          <a:pt x="91" y="415"/>
                        </a:cubicBezTo>
                        <a:cubicBezTo>
                          <a:pt x="104" y="444"/>
                          <a:pt x="104" y="444"/>
                          <a:pt x="104" y="444"/>
                        </a:cubicBezTo>
                        <a:cubicBezTo>
                          <a:pt x="95" y="445"/>
                          <a:pt x="95" y="445"/>
                          <a:pt x="95" y="445"/>
                        </a:cubicBezTo>
                        <a:cubicBezTo>
                          <a:pt x="92" y="462"/>
                          <a:pt x="92" y="462"/>
                          <a:pt x="92" y="462"/>
                        </a:cubicBezTo>
                        <a:cubicBezTo>
                          <a:pt x="72" y="483"/>
                          <a:pt x="72" y="483"/>
                          <a:pt x="72" y="483"/>
                        </a:cubicBezTo>
                        <a:cubicBezTo>
                          <a:pt x="69" y="468"/>
                          <a:pt x="69" y="468"/>
                          <a:pt x="69" y="468"/>
                        </a:cubicBezTo>
                        <a:cubicBezTo>
                          <a:pt x="55" y="458"/>
                          <a:pt x="55" y="458"/>
                          <a:pt x="55" y="458"/>
                        </a:cubicBezTo>
                        <a:cubicBezTo>
                          <a:pt x="55" y="465"/>
                          <a:pt x="55" y="465"/>
                          <a:pt x="55" y="465"/>
                        </a:cubicBezTo>
                        <a:cubicBezTo>
                          <a:pt x="55" y="465"/>
                          <a:pt x="62" y="463"/>
                          <a:pt x="63" y="469"/>
                        </a:cubicBezTo>
                        <a:cubicBezTo>
                          <a:pt x="64" y="475"/>
                          <a:pt x="68" y="489"/>
                          <a:pt x="68" y="489"/>
                        </a:cubicBezTo>
                        <a:cubicBezTo>
                          <a:pt x="68" y="489"/>
                          <a:pt x="73" y="508"/>
                          <a:pt x="72" y="511"/>
                        </a:cubicBezTo>
                        <a:cubicBezTo>
                          <a:pt x="91" y="521"/>
                          <a:pt x="103" y="549"/>
                          <a:pt x="103" y="549"/>
                        </a:cubicBezTo>
                        <a:cubicBezTo>
                          <a:pt x="111" y="549"/>
                          <a:pt x="111" y="549"/>
                          <a:pt x="111" y="549"/>
                        </a:cubicBezTo>
                        <a:cubicBezTo>
                          <a:pt x="126" y="569"/>
                          <a:pt x="135" y="611"/>
                          <a:pt x="135" y="611"/>
                        </a:cubicBezTo>
                        <a:cubicBezTo>
                          <a:pt x="135" y="611"/>
                          <a:pt x="135" y="603"/>
                          <a:pt x="149" y="617"/>
                        </a:cubicBezTo>
                        <a:cubicBezTo>
                          <a:pt x="163" y="631"/>
                          <a:pt x="200" y="642"/>
                          <a:pt x="200" y="642"/>
                        </a:cubicBezTo>
                        <a:cubicBezTo>
                          <a:pt x="210" y="658"/>
                          <a:pt x="210" y="658"/>
                          <a:pt x="210" y="658"/>
                        </a:cubicBezTo>
                        <a:cubicBezTo>
                          <a:pt x="210" y="658"/>
                          <a:pt x="229" y="658"/>
                          <a:pt x="235" y="660"/>
                        </a:cubicBezTo>
                        <a:cubicBezTo>
                          <a:pt x="241" y="662"/>
                          <a:pt x="248" y="678"/>
                          <a:pt x="248" y="678"/>
                        </a:cubicBezTo>
                        <a:cubicBezTo>
                          <a:pt x="251" y="669"/>
                          <a:pt x="251" y="669"/>
                          <a:pt x="251" y="669"/>
                        </a:cubicBezTo>
                        <a:cubicBezTo>
                          <a:pt x="265" y="682"/>
                          <a:pt x="265" y="682"/>
                          <a:pt x="265" y="682"/>
                        </a:cubicBezTo>
                        <a:cubicBezTo>
                          <a:pt x="274" y="666"/>
                          <a:pt x="274" y="666"/>
                          <a:pt x="274" y="666"/>
                        </a:cubicBezTo>
                        <a:cubicBezTo>
                          <a:pt x="274" y="666"/>
                          <a:pt x="284" y="675"/>
                          <a:pt x="287" y="680"/>
                        </a:cubicBezTo>
                        <a:cubicBezTo>
                          <a:pt x="290" y="685"/>
                          <a:pt x="262" y="717"/>
                          <a:pt x="262" y="717"/>
                        </a:cubicBezTo>
                        <a:cubicBezTo>
                          <a:pt x="267" y="720"/>
                          <a:pt x="271" y="724"/>
                          <a:pt x="275" y="728"/>
                        </a:cubicBezTo>
                        <a:cubicBezTo>
                          <a:pt x="289" y="723"/>
                          <a:pt x="289" y="723"/>
                          <a:pt x="289" y="723"/>
                        </a:cubicBezTo>
                        <a:cubicBezTo>
                          <a:pt x="322" y="712"/>
                          <a:pt x="322" y="712"/>
                          <a:pt x="322" y="712"/>
                        </a:cubicBezTo>
                        <a:cubicBezTo>
                          <a:pt x="322" y="728"/>
                          <a:pt x="322" y="728"/>
                          <a:pt x="322" y="728"/>
                        </a:cubicBezTo>
                        <a:cubicBezTo>
                          <a:pt x="337" y="729"/>
                          <a:pt x="337" y="729"/>
                          <a:pt x="337" y="729"/>
                        </a:cubicBezTo>
                        <a:cubicBezTo>
                          <a:pt x="346" y="723"/>
                          <a:pt x="346" y="723"/>
                          <a:pt x="346" y="723"/>
                        </a:cubicBezTo>
                        <a:cubicBezTo>
                          <a:pt x="361" y="732"/>
                          <a:pt x="361" y="732"/>
                          <a:pt x="361" y="732"/>
                        </a:cubicBezTo>
                        <a:cubicBezTo>
                          <a:pt x="361" y="732"/>
                          <a:pt x="378" y="728"/>
                          <a:pt x="385" y="728"/>
                        </a:cubicBezTo>
                        <a:cubicBezTo>
                          <a:pt x="391" y="728"/>
                          <a:pt x="391" y="717"/>
                          <a:pt x="391" y="717"/>
                        </a:cubicBezTo>
                        <a:cubicBezTo>
                          <a:pt x="391" y="717"/>
                          <a:pt x="421" y="719"/>
                          <a:pt x="398" y="699"/>
                        </a:cubicBezTo>
                        <a:cubicBezTo>
                          <a:pt x="389" y="707"/>
                          <a:pt x="389" y="707"/>
                          <a:pt x="389" y="707"/>
                        </a:cubicBezTo>
                        <a:cubicBezTo>
                          <a:pt x="393" y="684"/>
                          <a:pt x="393" y="684"/>
                          <a:pt x="393" y="684"/>
                        </a:cubicBezTo>
                        <a:cubicBezTo>
                          <a:pt x="383" y="664"/>
                          <a:pt x="383" y="664"/>
                          <a:pt x="383" y="664"/>
                        </a:cubicBezTo>
                        <a:cubicBezTo>
                          <a:pt x="394" y="664"/>
                          <a:pt x="394" y="664"/>
                          <a:pt x="394" y="664"/>
                        </a:cubicBezTo>
                        <a:cubicBezTo>
                          <a:pt x="394" y="627"/>
                          <a:pt x="394" y="627"/>
                          <a:pt x="394" y="627"/>
                        </a:cubicBezTo>
                        <a:cubicBezTo>
                          <a:pt x="383" y="627"/>
                          <a:pt x="383" y="627"/>
                          <a:pt x="383" y="627"/>
                        </a:cubicBezTo>
                        <a:cubicBezTo>
                          <a:pt x="386" y="605"/>
                          <a:pt x="386" y="605"/>
                          <a:pt x="386" y="605"/>
                        </a:cubicBezTo>
                        <a:cubicBezTo>
                          <a:pt x="371" y="585"/>
                          <a:pt x="371" y="585"/>
                          <a:pt x="371" y="585"/>
                        </a:cubicBezTo>
                        <a:cubicBezTo>
                          <a:pt x="378" y="573"/>
                          <a:pt x="378" y="573"/>
                          <a:pt x="378" y="573"/>
                        </a:cubicBezTo>
                        <a:cubicBezTo>
                          <a:pt x="353" y="548"/>
                          <a:pt x="353" y="548"/>
                          <a:pt x="353" y="548"/>
                        </a:cubicBezTo>
                        <a:cubicBezTo>
                          <a:pt x="357" y="537"/>
                          <a:pt x="357" y="537"/>
                          <a:pt x="357" y="537"/>
                        </a:cubicBezTo>
                        <a:cubicBezTo>
                          <a:pt x="357" y="537"/>
                          <a:pt x="337" y="532"/>
                          <a:pt x="339" y="523"/>
                        </a:cubicBezTo>
                        <a:cubicBezTo>
                          <a:pt x="342" y="513"/>
                          <a:pt x="371" y="503"/>
                          <a:pt x="378" y="511"/>
                        </a:cubicBezTo>
                        <a:cubicBezTo>
                          <a:pt x="385" y="519"/>
                          <a:pt x="413" y="501"/>
                          <a:pt x="413" y="501"/>
                        </a:cubicBezTo>
                        <a:cubicBezTo>
                          <a:pt x="415" y="485"/>
                          <a:pt x="415" y="485"/>
                          <a:pt x="415" y="485"/>
                        </a:cubicBezTo>
                        <a:cubicBezTo>
                          <a:pt x="434" y="488"/>
                          <a:pt x="434" y="488"/>
                          <a:pt x="434" y="488"/>
                        </a:cubicBezTo>
                        <a:cubicBezTo>
                          <a:pt x="433" y="496"/>
                          <a:pt x="433" y="496"/>
                          <a:pt x="433" y="496"/>
                        </a:cubicBezTo>
                        <a:cubicBezTo>
                          <a:pt x="459" y="481"/>
                          <a:pt x="459" y="481"/>
                          <a:pt x="459" y="481"/>
                        </a:cubicBezTo>
                        <a:cubicBezTo>
                          <a:pt x="502" y="480"/>
                          <a:pt x="502" y="480"/>
                          <a:pt x="502" y="480"/>
                        </a:cubicBezTo>
                        <a:cubicBezTo>
                          <a:pt x="499" y="492"/>
                          <a:pt x="499" y="492"/>
                          <a:pt x="499" y="492"/>
                        </a:cubicBezTo>
                        <a:cubicBezTo>
                          <a:pt x="509" y="492"/>
                          <a:pt x="509" y="492"/>
                          <a:pt x="509" y="492"/>
                        </a:cubicBezTo>
                        <a:cubicBezTo>
                          <a:pt x="514" y="483"/>
                          <a:pt x="514" y="483"/>
                          <a:pt x="514" y="483"/>
                        </a:cubicBezTo>
                        <a:cubicBezTo>
                          <a:pt x="519" y="484"/>
                          <a:pt x="519" y="484"/>
                          <a:pt x="519" y="484"/>
                        </a:cubicBezTo>
                        <a:cubicBezTo>
                          <a:pt x="519" y="484"/>
                          <a:pt x="518" y="464"/>
                          <a:pt x="549" y="464"/>
                        </a:cubicBezTo>
                        <a:cubicBezTo>
                          <a:pt x="549" y="463"/>
                          <a:pt x="549" y="462"/>
                          <a:pt x="549" y="461"/>
                        </a:cubicBezTo>
                        <a:cubicBezTo>
                          <a:pt x="546" y="433"/>
                          <a:pt x="575" y="399"/>
                          <a:pt x="575" y="399"/>
                        </a:cubicBezTo>
                        <a:cubicBezTo>
                          <a:pt x="569" y="387"/>
                          <a:pt x="569" y="387"/>
                          <a:pt x="569" y="387"/>
                        </a:cubicBezTo>
                        <a:cubicBezTo>
                          <a:pt x="569" y="387"/>
                          <a:pt x="581" y="369"/>
                          <a:pt x="585" y="359"/>
                        </a:cubicBezTo>
                        <a:cubicBezTo>
                          <a:pt x="578" y="351"/>
                          <a:pt x="589" y="323"/>
                          <a:pt x="589" y="323"/>
                        </a:cubicBezTo>
                        <a:cubicBezTo>
                          <a:pt x="626" y="335"/>
                          <a:pt x="626" y="335"/>
                          <a:pt x="626" y="335"/>
                        </a:cubicBezTo>
                        <a:cubicBezTo>
                          <a:pt x="615" y="320"/>
                          <a:pt x="615" y="320"/>
                          <a:pt x="615" y="320"/>
                        </a:cubicBezTo>
                        <a:cubicBezTo>
                          <a:pt x="615" y="320"/>
                          <a:pt x="626" y="313"/>
                          <a:pt x="625" y="311"/>
                        </a:cubicBezTo>
                        <a:cubicBezTo>
                          <a:pt x="642" y="329"/>
                          <a:pt x="641" y="307"/>
                          <a:pt x="641" y="307"/>
                        </a:cubicBezTo>
                        <a:cubicBezTo>
                          <a:pt x="641" y="307"/>
                          <a:pt x="670" y="300"/>
                          <a:pt x="674" y="299"/>
                        </a:cubicBezTo>
                        <a:cubicBezTo>
                          <a:pt x="658" y="293"/>
                          <a:pt x="690" y="272"/>
                          <a:pt x="690" y="272"/>
                        </a:cubicBezTo>
                        <a:cubicBezTo>
                          <a:pt x="690" y="272"/>
                          <a:pt x="703" y="252"/>
                          <a:pt x="707" y="248"/>
                        </a:cubicBezTo>
                        <a:cubicBezTo>
                          <a:pt x="707" y="233"/>
                          <a:pt x="717" y="229"/>
                          <a:pt x="717" y="229"/>
                        </a:cubicBezTo>
                        <a:cubicBezTo>
                          <a:pt x="725" y="219"/>
                          <a:pt x="725" y="219"/>
                          <a:pt x="725" y="219"/>
                        </a:cubicBezTo>
                        <a:cubicBezTo>
                          <a:pt x="718" y="205"/>
                          <a:pt x="718" y="205"/>
                          <a:pt x="718" y="205"/>
                        </a:cubicBezTo>
                        <a:cubicBezTo>
                          <a:pt x="722" y="192"/>
                          <a:pt x="722" y="192"/>
                          <a:pt x="722" y="192"/>
                        </a:cubicBezTo>
                        <a:cubicBezTo>
                          <a:pt x="714" y="180"/>
                          <a:pt x="714" y="180"/>
                          <a:pt x="714" y="180"/>
                        </a:cubicBezTo>
                        <a:cubicBezTo>
                          <a:pt x="725" y="175"/>
                          <a:pt x="725" y="175"/>
                          <a:pt x="725" y="175"/>
                        </a:cubicBezTo>
                        <a:cubicBezTo>
                          <a:pt x="725" y="157"/>
                          <a:pt x="725" y="157"/>
                          <a:pt x="725" y="157"/>
                        </a:cubicBezTo>
                        <a:cubicBezTo>
                          <a:pt x="739" y="156"/>
                          <a:pt x="739" y="156"/>
                          <a:pt x="739" y="156"/>
                        </a:cubicBezTo>
                        <a:cubicBezTo>
                          <a:pt x="739" y="147"/>
                          <a:pt x="739" y="147"/>
                          <a:pt x="739" y="147"/>
                        </a:cubicBezTo>
                        <a:lnTo>
                          <a:pt x="719" y="140"/>
                        </a:ln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57" name="POitou-Charentes" descr="© INSCALE GmbH, 05.05.2010&#10;http://www.presentationload.com/">
                    <a:extLst>
                      <a:ext uri="{FF2B5EF4-FFF2-40B4-BE49-F238E27FC236}">
                        <a16:creationId xmlns:a16="http://schemas.microsoft.com/office/drawing/2014/main" id="{1B0CDEE1-F353-4E5A-8EDC-D6B6DF3CDEC6}"/>
                      </a:ext>
                    </a:extLst>
                  </p:cNvPr>
                  <p:cNvSpPr>
                    <a:spLocks noEditPoints="1"/>
                  </p:cNvSpPr>
                  <p:nvPr/>
                </p:nvSpPr>
                <p:spPr bwMode="gray">
                  <a:xfrm>
                    <a:off x="881" y="1507"/>
                    <a:ext cx="619" cy="717"/>
                  </a:xfrm>
                  <a:custGeom>
                    <a:avLst/>
                    <a:gdLst/>
                    <a:ahLst/>
                    <a:cxnLst>
                      <a:cxn ang="0">
                        <a:pos x="39" y="333"/>
                      </a:cxn>
                      <a:cxn ang="0">
                        <a:pos x="19" y="308"/>
                      </a:cxn>
                      <a:cxn ang="0">
                        <a:pos x="6" y="327"/>
                      </a:cxn>
                      <a:cxn ang="0">
                        <a:pos x="32" y="355"/>
                      </a:cxn>
                      <a:cxn ang="0">
                        <a:pos x="46" y="345"/>
                      </a:cxn>
                      <a:cxn ang="0">
                        <a:pos x="559" y="229"/>
                      </a:cxn>
                      <a:cxn ang="0">
                        <a:pos x="533" y="197"/>
                      </a:cxn>
                      <a:cxn ang="0">
                        <a:pos x="486" y="111"/>
                      </a:cxn>
                      <a:cxn ang="0">
                        <a:pos x="434" y="52"/>
                      </a:cxn>
                      <a:cxn ang="0">
                        <a:pos x="419" y="65"/>
                      </a:cxn>
                      <a:cxn ang="0">
                        <a:pos x="393" y="67"/>
                      </a:cxn>
                      <a:cxn ang="0">
                        <a:pos x="382" y="39"/>
                      </a:cxn>
                      <a:cxn ang="0">
                        <a:pos x="369" y="28"/>
                      </a:cxn>
                      <a:cxn ang="0">
                        <a:pos x="355" y="21"/>
                      </a:cxn>
                      <a:cxn ang="0">
                        <a:pos x="299" y="20"/>
                      </a:cxn>
                      <a:cxn ang="0">
                        <a:pos x="289" y="28"/>
                      </a:cxn>
                      <a:cxn ang="0">
                        <a:pos x="282" y="16"/>
                      </a:cxn>
                      <a:cxn ang="0">
                        <a:pos x="213" y="32"/>
                      </a:cxn>
                      <a:cxn ang="0">
                        <a:pos x="195" y="21"/>
                      </a:cxn>
                      <a:cxn ang="0">
                        <a:pos x="158" y="47"/>
                      </a:cxn>
                      <a:cxn ang="0">
                        <a:pos x="137" y="73"/>
                      </a:cxn>
                      <a:cxn ang="0">
                        <a:pos x="158" y="109"/>
                      </a:cxn>
                      <a:cxn ang="0">
                        <a:pos x="166" y="141"/>
                      </a:cxn>
                      <a:cxn ang="0">
                        <a:pos x="174" y="163"/>
                      </a:cxn>
                      <a:cxn ang="0">
                        <a:pos x="163" y="200"/>
                      </a:cxn>
                      <a:cxn ang="0">
                        <a:pos x="169" y="243"/>
                      </a:cxn>
                      <a:cxn ang="0">
                        <a:pos x="171" y="253"/>
                      </a:cxn>
                      <a:cxn ang="0">
                        <a:pos x="141" y="268"/>
                      </a:cxn>
                      <a:cxn ang="0">
                        <a:pos x="117" y="265"/>
                      </a:cxn>
                      <a:cxn ang="0">
                        <a:pos x="102" y="248"/>
                      </a:cxn>
                      <a:cxn ang="0">
                        <a:pos x="55" y="264"/>
                      </a:cxn>
                      <a:cxn ang="0">
                        <a:pos x="64" y="309"/>
                      </a:cxn>
                      <a:cxn ang="0">
                        <a:pos x="69" y="324"/>
                      </a:cxn>
                      <a:cxn ang="0">
                        <a:pos x="63" y="352"/>
                      </a:cxn>
                      <a:cxn ang="0">
                        <a:pos x="58" y="367"/>
                      </a:cxn>
                      <a:cxn ang="0">
                        <a:pos x="44" y="372"/>
                      </a:cxn>
                      <a:cxn ang="0">
                        <a:pos x="37" y="406"/>
                      </a:cxn>
                      <a:cxn ang="0">
                        <a:pos x="80" y="427"/>
                      </a:cxn>
                      <a:cxn ang="0">
                        <a:pos x="103" y="454"/>
                      </a:cxn>
                      <a:cxn ang="0">
                        <a:pos x="147" y="539"/>
                      </a:cxn>
                      <a:cxn ang="0">
                        <a:pos x="152" y="564"/>
                      </a:cxn>
                      <a:cxn ang="0">
                        <a:pos x="151" y="581"/>
                      </a:cxn>
                      <a:cxn ang="0">
                        <a:pos x="171" y="593"/>
                      </a:cxn>
                      <a:cxn ang="0">
                        <a:pos x="210" y="643"/>
                      </a:cxn>
                      <a:cxn ang="0">
                        <a:pos x="293" y="652"/>
                      </a:cxn>
                      <a:cxn ang="0">
                        <a:pos x="327" y="625"/>
                      </a:cxn>
                      <a:cxn ang="0">
                        <a:pos x="357" y="597"/>
                      </a:cxn>
                      <a:cxn ang="0">
                        <a:pos x="405" y="524"/>
                      </a:cxn>
                      <a:cxn ang="0">
                        <a:pos x="411" y="495"/>
                      </a:cxn>
                      <a:cxn ang="0">
                        <a:pos x="461" y="451"/>
                      </a:cxn>
                      <a:cxn ang="0">
                        <a:pos x="481" y="439"/>
                      </a:cxn>
                      <a:cxn ang="0">
                        <a:pos x="487" y="395"/>
                      </a:cxn>
                      <a:cxn ang="0">
                        <a:pos x="513" y="391"/>
                      </a:cxn>
                      <a:cxn ang="0">
                        <a:pos x="490" y="332"/>
                      </a:cxn>
                      <a:cxn ang="0">
                        <a:pos x="494" y="301"/>
                      </a:cxn>
                      <a:cxn ang="0">
                        <a:pos x="529" y="287"/>
                      </a:cxn>
                      <a:cxn ang="0">
                        <a:pos x="555" y="263"/>
                      </a:cxn>
                      <a:cxn ang="0">
                        <a:pos x="570" y="252"/>
                      </a:cxn>
                    </a:cxnLst>
                    <a:rect l="0" t="0" r="r" b="b"/>
                    <a:pathLst>
                      <a:path w="574" h="665">
                        <a:moveTo>
                          <a:pt x="46" y="345"/>
                        </a:moveTo>
                        <a:cubicBezTo>
                          <a:pt x="39" y="333"/>
                          <a:pt x="39" y="333"/>
                          <a:pt x="39" y="333"/>
                        </a:cubicBezTo>
                        <a:cubicBezTo>
                          <a:pt x="38" y="311"/>
                          <a:pt x="38" y="311"/>
                          <a:pt x="38" y="311"/>
                        </a:cubicBezTo>
                        <a:cubicBezTo>
                          <a:pt x="19" y="308"/>
                          <a:pt x="19" y="308"/>
                          <a:pt x="19" y="308"/>
                        </a:cubicBezTo>
                        <a:cubicBezTo>
                          <a:pt x="4" y="289"/>
                          <a:pt x="4" y="289"/>
                          <a:pt x="4" y="289"/>
                        </a:cubicBezTo>
                        <a:cubicBezTo>
                          <a:pt x="0" y="293"/>
                          <a:pt x="6" y="327"/>
                          <a:pt x="6" y="327"/>
                        </a:cubicBezTo>
                        <a:cubicBezTo>
                          <a:pt x="19" y="337"/>
                          <a:pt x="19" y="337"/>
                          <a:pt x="19" y="337"/>
                        </a:cubicBezTo>
                        <a:cubicBezTo>
                          <a:pt x="32" y="355"/>
                          <a:pt x="32" y="355"/>
                          <a:pt x="32" y="355"/>
                        </a:cubicBezTo>
                        <a:cubicBezTo>
                          <a:pt x="36" y="368"/>
                          <a:pt x="36" y="368"/>
                          <a:pt x="36" y="368"/>
                        </a:cubicBezTo>
                        <a:lnTo>
                          <a:pt x="46" y="345"/>
                        </a:lnTo>
                        <a:close/>
                        <a:moveTo>
                          <a:pt x="574" y="241"/>
                        </a:moveTo>
                        <a:cubicBezTo>
                          <a:pt x="574" y="241"/>
                          <a:pt x="563" y="236"/>
                          <a:pt x="559" y="229"/>
                        </a:cubicBezTo>
                        <a:cubicBezTo>
                          <a:pt x="553" y="187"/>
                          <a:pt x="534" y="208"/>
                          <a:pt x="534" y="208"/>
                        </a:cubicBezTo>
                        <a:cubicBezTo>
                          <a:pt x="534" y="208"/>
                          <a:pt x="537" y="199"/>
                          <a:pt x="533" y="197"/>
                        </a:cubicBezTo>
                        <a:cubicBezTo>
                          <a:pt x="505" y="196"/>
                          <a:pt x="510" y="167"/>
                          <a:pt x="511" y="153"/>
                        </a:cubicBezTo>
                        <a:cubicBezTo>
                          <a:pt x="479" y="120"/>
                          <a:pt x="503" y="127"/>
                          <a:pt x="486" y="111"/>
                        </a:cubicBezTo>
                        <a:cubicBezTo>
                          <a:pt x="469" y="95"/>
                          <a:pt x="466" y="63"/>
                          <a:pt x="466" y="63"/>
                        </a:cubicBezTo>
                        <a:cubicBezTo>
                          <a:pt x="434" y="52"/>
                          <a:pt x="434" y="52"/>
                          <a:pt x="434" y="52"/>
                        </a:cubicBezTo>
                        <a:cubicBezTo>
                          <a:pt x="442" y="65"/>
                          <a:pt x="442" y="65"/>
                          <a:pt x="442" y="65"/>
                        </a:cubicBezTo>
                        <a:cubicBezTo>
                          <a:pt x="419" y="65"/>
                          <a:pt x="419" y="65"/>
                          <a:pt x="419" y="65"/>
                        </a:cubicBezTo>
                        <a:cubicBezTo>
                          <a:pt x="405" y="73"/>
                          <a:pt x="405" y="73"/>
                          <a:pt x="405" y="73"/>
                        </a:cubicBezTo>
                        <a:cubicBezTo>
                          <a:pt x="393" y="67"/>
                          <a:pt x="393" y="67"/>
                          <a:pt x="393" y="67"/>
                        </a:cubicBezTo>
                        <a:cubicBezTo>
                          <a:pt x="393" y="67"/>
                          <a:pt x="394" y="73"/>
                          <a:pt x="382" y="69"/>
                        </a:cubicBezTo>
                        <a:cubicBezTo>
                          <a:pt x="370" y="65"/>
                          <a:pt x="382" y="39"/>
                          <a:pt x="382" y="39"/>
                        </a:cubicBezTo>
                        <a:cubicBezTo>
                          <a:pt x="373" y="35"/>
                          <a:pt x="373" y="35"/>
                          <a:pt x="373" y="35"/>
                        </a:cubicBezTo>
                        <a:cubicBezTo>
                          <a:pt x="369" y="28"/>
                          <a:pt x="369" y="28"/>
                          <a:pt x="369" y="28"/>
                        </a:cubicBezTo>
                        <a:cubicBezTo>
                          <a:pt x="355" y="35"/>
                          <a:pt x="355" y="35"/>
                          <a:pt x="355" y="35"/>
                        </a:cubicBezTo>
                        <a:cubicBezTo>
                          <a:pt x="355" y="21"/>
                          <a:pt x="355" y="21"/>
                          <a:pt x="355" y="21"/>
                        </a:cubicBezTo>
                        <a:cubicBezTo>
                          <a:pt x="355" y="21"/>
                          <a:pt x="333" y="25"/>
                          <a:pt x="329" y="0"/>
                        </a:cubicBezTo>
                        <a:cubicBezTo>
                          <a:pt x="298" y="0"/>
                          <a:pt x="299" y="20"/>
                          <a:pt x="299" y="20"/>
                        </a:cubicBezTo>
                        <a:cubicBezTo>
                          <a:pt x="294" y="19"/>
                          <a:pt x="294" y="19"/>
                          <a:pt x="294" y="19"/>
                        </a:cubicBezTo>
                        <a:cubicBezTo>
                          <a:pt x="289" y="28"/>
                          <a:pt x="289" y="28"/>
                          <a:pt x="289" y="28"/>
                        </a:cubicBezTo>
                        <a:cubicBezTo>
                          <a:pt x="279" y="28"/>
                          <a:pt x="279" y="28"/>
                          <a:pt x="279" y="28"/>
                        </a:cubicBezTo>
                        <a:cubicBezTo>
                          <a:pt x="282" y="16"/>
                          <a:pt x="282" y="16"/>
                          <a:pt x="282" y="16"/>
                        </a:cubicBezTo>
                        <a:cubicBezTo>
                          <a:pt x="239" y="17"/>
                          <a:pt x="239" y="17"/>
                          <a:pt x="239" y="17"/>
                        </a:cubicBezTo>
                        <a:cubicBezTo>
                          <a:pt x="213" y="32"/>
                          <a:pt x="213" y="32"/>
                          <a:pt x="213" y="32"/>
                        </a:cubicBezTo>
                        <a:cubicBezTo>
                          <a:pt x="214" y="24"/>
                          <a:pt x="214" y="24"/>
                          <a:pt x="214" y="24"/>
                        </a:cubicBezTo>
                        <a:cubicBezTo>
                          <a:pt x="195" y="21"/>
                          <a:pt x="195" y="21"/>
                          <a:pt x="195" y="21"/>
                        </a:cubicBezTo>
                        <a:cubicBezTo>
                          <a:pt x="193" y="37"/>
                          <a:pt x="193" y="37"/>
                          <a:pt x="193" y="37"/>
                        </a:cubicBezTo>
                        <a:cubicBezTo>
                          <a:pt x="193" y="37"/>
                          <a:pt x="165" y="55"/>
                          <a:pt x="158" y="47"/>
                        </a:cubicBezTo>
                        <a:cubicBezTo>
                          <a:pt x="151" y="39"/>
                          <a:pt x="122" y="49"/>
                          <a:pt x="119" y="59"/>
                        </a:cubicBezTo>
                        <a:cubicBezTo>
                          <a:pt x="117" y="68"/>
                          <a:pt x="137" y="73"/>
                          <a:pt x="137" y="73"/>
                        </a:cubicBezTo>
                        <a:cubicBezTo>
                          <a:pt x="133" y="84"/>
                          <a:pt x="133" y="84"/>
                          <a:pt x="133" y="84"/>
                        </a:cubicBezTo>
                        <a:cubicBezTo>
                          <a:pt x="158" y="109"/>
                          <a:pt x="158" y="109"/>
                          <a:pt x="158" y="109"/>
                        </a:cubicBezTo>
                        <a:cubicBezTo>
                          <a:pt x="151" y="121"/>
                          <a:pt x="151" y="121"/>
                          <a:pt x="151" y="121"/>
                        </a:cubicBezTo>
                        <a:cubicBezTo>
                          <a:pt x="166" y="141"/>
                          <a:pt x="166" y="141"/>
                          <a:pt x="166" y="141"/>
                        </a:cubicBezTo>
                        <a:cubicBezTo>
                          <a:pt x="163" y="163"/>
                          <a:pt x="163" y="163"/>
                          <a:pt x="163" y="163"/>
                        </a:cubicBezTo>
                        <a:cubicBezTo>
                          <a:pt x="174" y="163"/>
                          <a:pt x="174" y="163"/>
                          <a:pt x="174" y="163"/>
                        </a:cubicBezTo>
                        <a:cubicBezTo>
                          <a:pt x="174" y="200"/>
                          <a:pt x="174" y="200"/>
                          <a:pt x="174" y="200"/>
                        </a:cubicBezTo>
                        <a:cubicBezTo>
                          <a:pt x="163" y="200"/>
                          <a:pt x="163" y="200"/>
                          <a:pt x="163" y="200"/>
                        </a:cubicBezTo>
                        <a:cubicBezTo>
                          <a:pt x="173" y="220"/>
                          <a:pt x="173" y="220"/>
                          <a:pt x="173" y="220"/>
                        </a:cubicBezTo>
                        <a:cubicBezTo>
                          <a:pt x="169" y="243"/>
                          <a:pt x="169" y="243"/>
                          <a:pt x="169" y="243"/>
                        </a:cubicBezTo>
                        <a:cubicBezTo>
                          <a:pt x="178" y="235"/>
                          <a:pt x="178" y="235"/>
                          <a:pt x="178" y="235"/>
                        </a:cubicBezTo>
                        <a:cubicBezTo>
                          <a:pt x="201" y="255"/>
                          <a:pt x="171" y="253"/>
                          <a:pt x="171" y="253"/>
                        </a:cubicBezTo>
                        <a:cubicBezTo>
                          <a:pt x="171" y="253"/>
                          <a:pt x="171" y="264"/>
                          <a:pt x="165" y="264"/>
                        </a:cubicBezTo>
                        <a:cubicBezTo>
                          <a:pt x="158" y="264"/>
                          <a:pt x="141" y="268"/>
                          <a:pt x="141" y="268"/>
                        </a:cubicBezTo>
                        <a:cubicBezTo>
                          <a:pt x="126" y="259"/>
                          <a:pt x="126" y="259"/>
                          <a:pt x="126" y="259"/>
                        </a:cubicBezTo>
                        <a:cubicBezTo>
                          <a:pt x="117" y="265"/>
                          <a:pt x="117" y="265"/>
                          <a:pt x="117" y="265"/>
                        </a:cubicBezTo>
                        <a:cubicBezTo>
                          <a:pt x="102" y="264"/>
                          <a:pt x="102" y="264"/>
                          <a:pt x="102" y="264"/>
                        </a:cubicBezTo>
                        <a:cubicBezTo>
                          <a:pt x="102" y="248"/>
                          <a:pt x="102" y="248"/>
                          <a:pt x="102" y="248"/>
                        </a:cubicBezTo>
                        <a:cubicBezTo>
                          <a:pt x="69" y="259"/>
                          <a:pt x="69" y="259"/>
                          <a:pt x="69" y="259"/>
                        </a:cubicBezTo>
                        <a:cubicBezTo>
                          <a:pt x="55" y="264"/>
                          <a:pt x="55" y="264"/>
                          <a:pt x="55" y="264"/>
                        </a:cubicBezTo>
                        <a:cubicBezTo>
                          <a:pt x="71" y="282"/>
                          <a:pt x="78" y="307"/>
                          <a:pt x="78" y="307"/>
                        </a:cubicBezTo>
                        <a:cubicBezTo>
                          <a:pt x="64" y="309"/>
                          <a:pt x="64" y="309"/>
                          <a:pt x="64" y="309"/>
                        </a:cubicBezTo>
                        <a:cubicBezTo>
                          <a:pt x="69" y="320"/>
                          <a:pt x="69" y="320"/>
                          <a:pt x="69" y="320"/>
                        </a:cubicBezTo>
                        <a:cubicBezTo>
                          <a:pt x="69" y="324"/>
                          <a:pt x="69" y="324"/>
                          <a:pt x="69" y="324"/>
                        </a:cubicBezTo>
                        <a:cubicBezTo>
                          <a:pt x="71" y="335"/>
                          <a:pt x="71" y="335"/>
                          <a:pt x="71" y="335"/>
                        </a:cubicBezTo>
                        <a:cubicBezTo>
                          <a:pt x="63" y="352"/>
                          <a:pt x="63" y="352"/>
                          <a:pt x="63" y="352"/>
                        </a:cubicBezTo>
                        <a:cubicBezTo>
                          <a:pt x="52" y="352"/>
                          <a:pt x="52" y="352"/>
                          <a:pt x="52" y="352"/>
                        </a:cubicBezTo>
                        <a:cubicBezTo>
                          <a:pt x="58" y="367"/>
                          <a:pt x="58" y="367"/>
                          <a:pt x="58" y="367"/>
                        </a:cubicBezTo>
                        <a:cubicBezTo>
                          <a:pt x="67" y="382"/>
                          <a:pt x="67" y="382"/>
                          <a:pt x="67" y="382"/>
                        </a:cubicBezTo>
                        <a:cubicBezTo>
                          <a:pt x="67" y="382"/>
                          <a:pt x="51" y="372"/>
                          <a:pt x="44" y="372"/>
                        </a:cubicBezTo>
                        <a:cubicBezTo>
                          <a:pt x="37" y="372"/>
                          <a:pt x="35" y="378"/>
                          <a:pt x="33" y="389"/>
                        </a:cubicBezTo>
                        <a:cubicBezTo>
                          <a:pt x="31" y="400"/>
                          <a:pt x="37" y="406"/>
                          <a:pt x="37" y="406"/>
                        </a:cubicBezTo>
                        <a:cubicBezTo>
                          <a:pt x="70" y="427"/>
                          <a:pt x="70" y="427"/>
                          <a:pt x="70" y="427"/>
                        </a:cubicBezTo>
                        <a:cubicBezTo>
                          <a:pt x="80" y="427"/>
                          <a:pt x="80" y="427"/>
                          <a:pt x="80" y="427"/>
                        </a:cubicBezTo>
                        <a:cubicBezTo>
                          <a:pt x="93" y="454"/>
                          <a:pt x="93" y="454"/>
                          <a:pt x="93" y="454"/>
                        </a:cubicBezTo>
                        <a:cubicBezTo>
                          <a:pt x="103" y="454"/>
                          <a:pt x="103" y="454"/>
                          <a:pt x="103" y="454"/>
                        </a:cubicBezTo>
                        <a:cubicBezTo>
                          <a:pt x="103" y="454"/>
                          <a:pt x="104" y="457"/>
                          <a:pt x="114" y="462"/>
                        </a:cubicBezTo>
                        <a:cubicBezTo>
                          <a:pt x="124" y="467"/>
                          <a:pt x="147" y="539"/>
                          <a:pt x="147" y="539"/>
                        </a:cubicBezTo>
                        <a:cubicBezTo>
                          <a:pt x="145" y="553"/>
                          <a:pt x="145" y="553"/>
                          <a:pt x="145" y="553"/>
                        </a:cubicBezTo>
                        <a:cubicBezTo>
                          <a:pt x="152" y="564"/>
                          <a:pt x="152" y="564"/>
                          <a:pt x="152" y="564"/>
                        </a:cubicBezTo>
                        <a:cubicBezTo>
                          <a:pt x="148" y="576"/>
                          <a:pt x="148" y="576"/>
                          <a:pt x="148" y="576"/>
                        </a:cubicBezTo>
                        <a:cubicBezTo>
                          <a:pt x="148" y="576"/>
                          <a:pt x="149" y="578"/>
                          <a:pt x="151" y="581"/>
                        </a:cubicBezTo>
                        <a:cubicBezTo>
                          <a:pt x="165" y="580"/>
                          <a:pt x="165" y="580"/>
                          <a:pt x="165" y="580"/>
                        </a:cubicBezTo>
                        <a:cubicBezTo>
                          <a:pt x="171" y="593"/>
                          <a:pt x="171" y="593"/>
                          <a:pt x="171" y="593"/>
                        </a:cubicBezTo>
                        <a:cubicBezTo>
                          <a:pt x="171" y="593"/>
                          <a:pt x="211" y="604"/>
                          <a:pt x="205" y="619"/>
                        </a:cubicBezTo>
                        <a:cubicBezTo>
                          <a:pt x="210" y="637"/>
                          <a:pt x="210" y="643"/>
                          <a:pt x="210" y="643"/>
                        </a:cubicBezTo>
                        <a:cubicBezTo>
                          <a:pt x="210" y="643"/>
                          <a:pt x="218" y="628"/>
                          <a:pt x="235" y="645"/>
                        </a:cubicBezTo>
                        <a:cubicBezTo>
                          <a:pt x="253" y="663"/>
                          <a:pt x="286" y="665"/>
                          <a:pt x="293" y="652"/>
                        </a:cubicBezTo>
                        <a:cubicBezTo>
                          <a:pt x="299" y="639"/>
                          <a:pt x="315" y="616"/>
                          <a:pt x="315" y="616"/>
                        </a:cubicBezTo>
                        <a:cubicBezTo>
                          <a:pt x="315" y="616"/>
                          <a:pt x="323" y="625"/>
                          <a:pt x="327" y="625"/>
                        </a:cubicBezTo>
                        <a:cubicBezTo>
                          <a:pt x="331" y="625"/>
                          <a:pt x="350" y="597"/>
                          <a:pt x="350" y="597"/>
                        </a:cubicBezTo>
                        <a:cubicBezTo>
                          <a:pt x="357" y="597"/>
                          <a:pt x="357" y="597"/>
                          <a:pt x="357" y="597"/>
                        </a:cubicBezTo>
                        <a:cubicBezTo>
                          <a:pt x="357" y="597"/>
                          <a:pt x="345" y="544"/>
                          <a:pt x="397" y="537"/>
                        </a:cubicBezTo>
                        <a:cubicBezTo>
                          <a:pt x="401" y="523"/>
                          <a:pt x="405" y="524"/>
                          <a:pt x="405" y="524"/>
                        </a:cubicBezTo>
                        <a:cubicBezTo>
                          <a:pt x="417" y="523"/>
                          <a:pt x="417" y="523"/>
                          <a:pt x="417" y="523"/>
                        </a:cubicBezTo>
                        <a:cubicBezTo>
                          <a:pt x="417" y="523"/>
                          <a:pt x="407" y="495"/>
                          <a:pt x="411" y="495"/>
                        </a:cubicBezTo>
                        <a:cubicBezTo>
                          <a:pt x="415" y="495"/>
                          <a:pt x="426" y="493"/>
                          <a:pt x="426" y="493"/>
                        </a:cubicBezTo>
                        <a:cubicBezTo>
                          <a:pt x="461" y="451"/>
                          <a:pt x="461" y="451"/>
                          <a:pt x="461" y="451"/>
                        </a:cubicBezTo>
                        <a:cubicBezTo>
                          <a:pt x="461" y="443"/>
                          <a:pt x="461" y="443"/>
                          <a:pt x="461" y="443"/>
                        </a:cubicBezTo>
                        <a:cubicBezTo>
                          <a:pt x="481" y="439"/>
                          <a:pt x="481" y="439"/>
                          <a:pt x="481" y="439"/>
                        </a:cubicBezTo>
                        <a:cubicBezTo>
                          <a:pt x="489" y="413"/>
                          <a:pt x="489" y="413"/>
                          <a:pt x="489" y="413"/>
                        </a:cubicBezTo>
                        <a:cubicBezTo>
                          <a:pt x="489" y="413"/>
                          <a:pt x="483" y="393"/>
                          <a:pt x="487" y="395"/>
                        </a:cubicBezTo>
                        <a:cubicBezTo>
                          <a:pt x="491" y="396"/>
                          <a:pt x="501" y="399"/>
                          <a:pt x="501" y="399"/>
                        </a:cubicBezTo>
                        <a:cubicBezTo>
                          <a:pt x="513" y="391"/>
                          <a:pt x="513" y="391"/>
                          <a:pt x="513" y="391"/>
                        </a:cubicBezTo>
                        <a:cubicBezTo>
                          <a:pt x="506" y="371"/>
                          <a:pt x="506" y="371"/>
                          <a:pt x="506" y="371"/>
                        </a:cubicBezTo>
                        <a:cubicBezTo>
                          <a:pt x="506" y="371"/>
                          <a:pt x="478" y="372"/>
                          <a:pt x="490" y="332"/>
                        </a:cubicBezTo>
                        <a:cubicBezTo>
                          <a:pt x="482" y="311"/>
                          <a:pt x="482" y="311"/>
                          <a:pt x="482" y="311"/>
                        </a:cubicBezTo>
                        <a:cubicBezTo>
                          <a:pt x="494" y="301"/>
                          <a:pt x="494" y="301"/>
                          <a:pt x="494" y="301"/>
                        </a:cubicBezTo>
                        <a:cubicBezTo>
                          <a:pt x="510" y="285"/>
                          <a:pt x="510" y="285"/>
                          <a:pt x="510" y="285"/>
                        </a:cubicBezTo>
                        <a:cubicBezTo>
                          <a:pt x="529" y="287"/>
                          <a:pt x="529" y="287"/>
                          <a:pt x="529" y="287"/>
                        </a:cubicBezTo>
                        <a:cubicBezTo>
                          <a:pt x="541" y="261"/>
                          <a:pt x="541" y="261"/>
                          <a:pt x="541" y="261"/>
                        </a:cubicBezTo>
                        <a:cubicBezTo>
                          <a:pt x="555" y="263"/>
                          <a:pt x="555" y="263"/>
                          <a:pt x="555" y="263"/>
                        </a:cubicBezTo>
                        <a:cubicBezTo>
                          <a:pt x="573" y="256"/>
                          <a:pt x="573" y="256"/>
                          <a:pt x="573" y="256"/>
                        </a:cubicBezTo>
                        <a:cubicBezTo>
                          <a:pt x="570" y="252"/>
                          <a:pt x="570" y="252"/>
                          <a:pt x="570" y="252"/>
                        </a:cubicBezTo>
                        <a:lnTo>
                          <a:pt x="574" y="241"/>
                        </a:ln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58" name="Limousin" descr="© INSCALE GmbH, 05.05.2010&#10;http://www.presentationload.com/">
                    <a:extLst>
                      <a:ext uri="{FF2B5EF4-FFF2-40B4-BE49-F238E27FC236}">
                        <a16:creationId xmlns:a16="http://schemas.microsoft.com/office/drawing/2014/main" id="{712EA8C8-7A05-44F4-9B11-3C07A30A88DD}"/>
                      </a:ext>
                    </a:extLst>
                  </p:cNvPr>
                  <p:cNvSpPr>
                    <a:spLocks/>
                  </p:cNvSpPr>
                  <p:nvPr/>
                </p:nvSpPr>
                <p:spPr bwMode="gray">
                  <a:xfrm>
                    <a:off x="1360" y="1756"/>
                    <a:ext cx="473" cy="536"/>
                  </a:xfrm>
                  <a:custGeom>
                    <a:avLst/>
                    <a:gdLst/>
                    <a:ahLst/>
                    <a:cxnLst>
                      <a:cxn ang="0">
                        <a:pos x="50" y="266"/>
                      </a:cxn>
                      <a:cxn ang="0">
                        <a:pos x="97" y="293"/>
                      </a:cxn>
                      <a:cxn ang="0">
                        <a:pos x="110" y="314"/>
                      </a:cxn>
                      <a:cxn ang="0">
                        <a:pos x="135" y="337"/>
                      </a:cxn>
                      <a:cxn ang="0">
                        <a:pos x="133" y="369"/>
                      </a:cxn>
                      <a:cxn ang="0">
                        <a:pos x="141" y="386"/>
                      </a:cxn>
                      <a:cxn ang="0">
                        <a:pos x="142" y="404"/>
                      </a:cxn>
                      <a:cxn ang="0">
                        <a:pos x="169" y="426"/>
                      </a:cxn>
                      <a:cxn ang="0">
                        <a:pos x="175" y="461"/>
                      </a:cxn>
                      <a:cxn ang="0">
                        <a:pos x="258" y="493"/>
                      </a:cxn>
                      <a:cxn ang="0">
                        <a:pos x="286" y="481"/>
                      </a:cxn>
                      <a:cxn ang="0">
                        <a:pos x="319" y="474"/>
                      </a:cxn>
                      <a:cxn ang="0">
                        <a:pos x="343" y="440"/>
                      </a:cxn>
                      <a:cxn ang="0">
                        <a:pos x="350" y="412"/>
                      </a:cxn>
                      <a:cxn ang="0">
                        <a:pos x="363" y="374"/>
                      </a:cxn>
                      <a:cxn ang="0">
                        <a:pos x="385" y="365"/>
                      </a:cxn>
                      <a:cxn ang="0">
                        <a:pos x="402" y="348"/>
                      </a:cxn>
                      <a:cxn ang="0">
                        <a:pos x="410" y="330"/>
                      </a:cxn>
                      <a:cxn ang="0">
                        <a:pos x="419" y="265"/>
                      </a:cxn>
                      <a:cxn ang="0">
                        <a:pos x="403" y="193"/>
                      </a:cxn>
                      <a:cxn ang="0">
                        <a:pos x="438" y="161"/>
                      </a:cxn>
                      <a:cxn ang="0">
                        <a:pos x="430" y="105"/>
                      </a:cxn>
                      <a:cxn ang="0">
                        <a:pos x="397" y="54"/>
                      </a:cxn>
                      <a:cxn ang="0">
                        <a:pos x="375" y="28"/>
                      </a:cxn>
                      <a:cxn ang="0">
                        <a:pos x="365" y="11"/>
                      </a:cxn>
                      <a:cxn ang="0">
                        <a:pos x="318" y="13"/>
                      </a:cxn>
                      <a:cxn ang="0">
                        <a:pos x="250" y="4"/>
                      </a:cxn>
                      <a:cxn ang="0">
                        <a:pos x="235" y="16"/>
                      </a:cxn>
                      <a:cxn ang="0">
                        <a:pos x="219" y="13"/>
                      </a:cxn>
                      <a:cxn ang="0">
                        <a:pos x="201" y="12"/>
                      </a:cxn>
                      <a:cxn ang="0">
                        <a:pos x="169" y="21"/>
                      </a:cxn>
                      <a:cxn ang="0">
                        <a:pos x="151" y="28"/>
                      </a:cxn>
                      <a:cxn ang="0">
                        <a:pos x="129" y="25"/>
                      </a:cxn>
                      <a:cxn ang="0">
                        <a:pos x="97" y="30"/>
                      </a:cxn>
                      <a:cxn ang="0">
                        <a:pos x="66" y="54"/>
                      </a:cxn>
                      <a:cxn ang="0">
                        <a:pos x="38" y="80"/>
                      </a:cxn>
                      <a:cxn ang="0">
                        <a:pos x="62" y="140"/>
                      </a:cxn>
                      <a:cxn ang="0">
                        <a:pos x="57" y="168"/>
                      </a:cxn>
                      <a:cxn ang="0">
                        <a:pos x="45" y="182"/>
                      </a:cxn>
                      <a:cxn ang="0">
                        <a:pos x="17" y="212"/>
                      </a:cxn>
                      <a:cxn ang="0">
                        <a:pos x="0" y="240"/>
                      </a:cxn>
                      <a:cxn ang="0">
                        <a:pos x="31" y="277"/>
                      </a:cxn>
                    </a:cxnLst>
                    <a:rect l="0" t="0" r="r" b="b"/>
                    <a:pathLst>
                      <a:path w="439" h="497">
                        <a:moveTo>
                          <a:pt x="31" y="277"/>
                        </a:moveTo>
                        <a:cubicBezTo>
                          <a:pt x="38" y="281"/>
                          <a:pt x="50" y="266"/>
                          <a:pt x="50" y="266"/>
                        </a:cubicBezTo>
                        <a:cubicBezTo>
                          <a:pt x="85" y="270"/>
                          <a:pt x="85" y="270"/>
                          <a:pt x="85" y="270"/>
                        </a:cubicBezTo>
                        <a:cubicBezTo>
                          <a:pt x="85" y="270"/>
                          <a:pt x="90" y="293"/>
                          <a:pt x="97" y="293"/>
                        </a:cubicBezTo>
                        <a:cubicBezTo>
                          <a:pt x="103" y="293"/>
                          <a:pt x="115" y="294"/>
                          <a:pt x="115" y="294"/>
                        </a:cubicBezTo>
                        <a:cubicBezTo>
                          <a:pt x="110" y="314"/>
                          <a:pt x="110" y="314"/>
                          <a:pt x="110" y="314"/>
                        </a:cubicBezTo>
                        <a:cubicBezTo>
                          <a:pt x="142" y="336"/>
                          <a:pt x="142" y="336"/>
                          <a:pt x="142" y="336"/>
                        </a:cubicBezTo>
                        <a:cubicBezTo>
                          <a:pt x="135" y="337"/>
                          <a:pt x="135" y="337"/>
                          <a:pt x="135" y="337"/>
                        </a:cubicBezTo>
                        <a:cubicBezTo>
                          <a:pt x="135" y="337"/>
                          <a:pt x="149" y="341"/>
                          <a:pt x="149" y="348"/>
                        </a:cubicBezTo>
                        <a:cubicBezTo>
                          <a:pt x="149" y="354"/>
                          <a:pt x="133" y="369"/>
                          <a:pt x="133" y="369"/>
                        </a:cubicBezTo>
                        <a:cubicBezTo>
                          <a:pt x="133" y="380"/>
                          <a:pt x="133" y="380"/>
                          <a:pt x="133" y="380"/>
                        </a:cubicBezTo>
                        <a:cubicBezTo>
                          <a:pt x="141" y="386"/>
                          <a:pt x="141" y="386"/>
                          <a:pt x="141" y="386"/>
                        </a:cubicBezTo>
                        <a:cubicBezTo>
                          <a:pt x="134" y="402"/>
                          <a:pt x="134" y="402"/>
                          <a:pt x="134" y="402"/>
                        </a:cubicBezTo>
                        <a:cubicBezTo>
                          <a:pt x="142" y="404"/>
                          <a:pt x="142" y="404"/>
                          <a:pt x="142" y="404"/>
                        </a:cubicBezTo>
                        <a:cubicBezTo>
                          <a:pt x="138" y="414"/>
                          <a:pt x="138" y="414"/>
                          <a:pt x="138" y="414"/>
                        </a:cubicBezTo>
                        <a:cubicBezTo>
                          <a:pt x="169" y="426"/>
                          <a:pt x="169" y="426"/>
                          <a:pt x="169" y="426"/>
                        </a:cubicBezTo>
                        <a:cubicBezTo>
                          <a:pt x="163" y="436"/>
                          <a:pt x="163" y="436"/>
                          <a:pt x="163" y="436"/>
                        </a:cubicBezTo>
                        <a:cubicBezTo>
                          <a:pt x="175" y="461"/>
                          <a:pt x="175" y="461"/>
                          <a:pt x="175" y="461"/>
                        </a:cubicBezTo>
                        <a:cubicBezTo>
                          <a:pt x="186" y="454"/>
                          <a:pt x="218" y="458"/>
                          <a:pt x="218" y="458"/>
                        </a:cubicBezTo>
                        <a:cubicBezTo>
                          <a:pt x="218" y="458"/>
                          <a:pt x="247" y="489"/>
                          <a:pt x="258" y="493"/>
                        </a:cubicBezTo>
                        <a:cubicBezTo>
                          <a:pt x="269" y="497"/>
                          <a:pt x="283" y="474"/>
                          <a:pt x="283" y="474"/>
                        </a:cubicBezTo>
                        <a:cubicBezTo>
                          <a:pt x="286" y="481"/>
                          <a:pt x="286" y="481"/>
                          <a:pt x="286" y="481"/>
                        </a:cubicBezTo>
                        <a:cubicBezTo>
                          <a:pt x="298" y="476"/>
                          <a:pt x="298" y="476"/>
                          <a:pt x="298" y="476"/>
                        </a:cubicBezTo>
                        <a:cubicBezTo>
                          <a:pt x="319" y="474"/>
                          <a:pt x="319" y="474"/>
                          <a:pt x="319" y="474"/>
                        </a:cubicBezTo>
                        <a:cubicBezTo>
                          <a:pt x="319" y="474"/>
                          <a:pt x="323" y="468"/>
                          <a:pt x="331" y="466"/>
                        </a:cubicBezTo>
                        <a:cubicBezTo>
                          <a:pt x="319" y="444"/>
                          <a:pt x="343" y="440"/>
                          <a:pt x="343" y="440"/>
                        </a:cubicBezTo>
                        <a:cubicBezTo>
                          <a:pt x="342" y="421"/>
                          <a:pt x="342" y="421"/>
                          <a:pt x="342" y="421"/>
                        </a:cubicBezTo>
                        <a:cubicBezTo>
                          <a:pt x="350" y="412"/>
                          <a:pt x="350" y="412"/>
                          <a:pt x="350" y="412"/>
                        </a:cubicBezTo>
                        <a:cubicBezTo>
                          <a:pt x="346" y="401"/>
                          <a:pt x="346" y="401"/>
                          <a:pt x="346" y="401"/>
                        </a:cubicBezTo>
                        <a:cubicBezTo>
                          <a:pt x="363" y="374"/>
                          <a:pt x="363" y="374"/>
                          <a:pt x="363" y="374"/>
                        </a:cubicBezTo>
                        <a:cubicBezTo>
                          <a:pt x="371" y="366"/>
                          <a:pt x="371" y="366"/>
                          <a:pt x="371" y="366"/>
                        </a:cubicBezTo>
                        <a:cubicBezTo>
                          <a:pt x="385" y="365"/>
                          <a:pt x="385" y="365"/>
                          <a:pt x="385" y="365"/>
                        </a:cubicBezTo>
                        <a:cubicBezTo>
                          <a:pt x="385" y="365"/>
                          <a:pt x="378" y="336"/>
                          <a:pt x="385" y="334"/>
                        </a:cubicBezTo>
                        <a:cubicBezTo>
                          <a:pt x="391" y="333"/>
                          <a:pt x="402" y="348"/>
                          <a:pt x="402" y="348"/>
                        </a:cubicBezTo>
                        <a:cubicBezTo>
                          <a:pt x="421" y="342"/>
                          <a:pt x="421" y="342"/>
                          <a:pt x="421" y="342"/>
                        </a:cubicBezTo>
                        <a:cubicBezTo>
                          <a:pt x="410" y="330"/>
                          <a:pt x="410" y="330"/>
                          <a:pt x="410" y="330"/>
                        </a:cubicBezTo>
                        <a:cubicBezTo>
                          <a:pt x="410" y="330"/>
                          <a:pt x="415" y="325"/>
                          <a:pt x="418" y="293"/>
                        </a:cubicBezTo>
                        <a:cubicBezTo>
                          <a:pt x="399" y="269"/>
                          <a:pt x="419" y="265"/>
                          <a:pt x="419" y="265"/>
                        </a:cubicBezTo>
                        <a:cubicBezTo>
                          <a:pt x="419" y="265"/>
                          <a:pt x="426" y="258"/>
                          <a:pt x="403" y="226"/>
                        </a:cubicBezTo>
                        <a:cubicBezTo>
                          <a:pt x="381" y="194"/>
                          <a:pt x="403" y="193"/>
                          <a:pt x="403" y="193"/>
                        </a:cubicBezTo>
                        <a:cubicBezTo>
                          <a:pt x="403" y="193"/>
                          <a:pt x="414" y="208"/>
                          <a:pt x="419" y="185"/>
                        </a:cubicBezTo>
                        <a:cubicBezTo>
                          <a:pt x="425" y="162"/>
                          <a:pt x="438" y="161"/>
                          <a:pt x="438" y="161"/>
                        </a:cubicBezTo>
                        <a:cubicBezTo>
                          <a:pt x="438" y="161"/>
                          <a:pt x="437" y="145"/>
                          <a:pt x="439" y="141"/>
                        </a:cubicBezTo>
                        <a:cubicBezTo>
                          <a:pt x="410" y="118"/>
                          <a:pt x="430" y="105"/>
                          <a:pt x="430" y="105"/>
                        </a:cubicBezTo>
                        <a:cubicBezTo>
                          <a:pt x="411" y="56"/>
                          <a:pt x="411" y="56"/>
                          <a:pt x="411" y="56"/>
                        </a:cubicBezTo>
                        <a:cubicBezTo>
                          <a:pt x="397" y="54"/>
                          <a:pt x="397" y="54"/>
                          <a:pt x="397" y="54"/>
                        </a:cubicBezTo>
                        <a:cubicBezTo>
                          <a:pt x="397" y="54"/>
                          <a:pt x="395" y="45"/>
                          <a:pt x="393" y="44"/>
                        </a:cubicBezTo>
                        <a:cubicBezTo>
                          <a:pt x="354" y="56"/>
                          <a:pt x="375" y="28"/>
                          <a:pt x="375" y="28"/>
                        </a:cubicBezTo>
                        <a:cubicBezTo>
                          <a:pt x="369" y="28"/>
                          <a:pt x="369" y="28"/>
                          <a:pt x="369" y="28"/>
                        </a:cubicBezTo>
                        <a:cubicBezTo>
                          <a:pt x="365" y="11"/>
                          <a:pt x="365" y="11"/>
                          <a:pt x="365" y="11"/>
                        </a:cubicBezTo>
                        <a:cubicBezTo>
                          <a:pt x="365" y="11"/>
                          <a:pt x="365" y="12"/>
                          <a:pt x="365" y="12"/>
                        </a:cubicBezTo>
                        <a:cubicBezTo>
                          <a:pt x="365" y="12"/>
                          <a:pt x="323" y="22"/>
                          <a:pt x="318" y="13"/>
                        </a:cubicBezTo>
                        <a:cubicBezTo>
                          <a:pt x="293" y="0"/>
                          <a:pt x="298" y="9"/>
                          <a:pt x="286" y="12"/>
                        </a:cubicBezTo>
                        <a:cubicBezTo>
                          <a:pt x="274" y="14"/>
                          <a:pt x="250" y="4"/>
                          <a:pt x="250" y="4"/>
                        </a:cubicBezTo>
                        <a:cubicBezTo>
                          <a:pt x="245" y="22"/>
                          <a:pt x="245" y="22"/>
                          <a:pt x="245" y="22"/>
                        </a:cubicBezTo>
                        <a:cubicBezTo>
                          <a:pt x="235" y="16"/>
                          <a:pt x="235" y="16"/>
                          <a:pt x="235" y="16"/>
                        </a:cubicBezTo>
                        <a:cubicBezTo>
                          <a:pt x="222" y="21"/>
                          <a:pt x="222" y="21"/>
                          <a:pt x="222" y="21"/>
                        </a:cubicBezTo>
                        <a:cubicBezTo>
                          <a:pt x="219" y="13"/>
                          <a:pt x="219" y="13"/>
                          <a:pt x="219" y="13"/>
                        </a:cubicBezTo>
                        <a:cubicBezTo>
                          <a:pt x="202" y="24"/>
                          <a:pt x="202" y="24"/>
                          <a:pt x="202" y="24"/>
                        </a:cubicBezTo>
                        <a:cubicBezTo>
                          <a:pt x="201" y="12"/>
                          <a:pt x="201" y="12"/>
                          <a:pt x="201" y="12"/>
                        </a:cubicBezTo>
                        <a:cubicBezTo>
                          <a:pt x="174" y="32"/>
                          <a:pt x="174" y="32"/>
                          <a:pt x="174" y="32"/>
                        </a:cubicBezTo>
                        <a:cubicBezTo>
                          <a:pt x="169" y="21"/>
                          <a:pt x="169" y="21"/>
                          <a:pt x="169" y="21"/>
                        </a:cubicBezTo>
                        <a:cubicBezTo>
                          <a:pt x="151" y="21"/>
                          <a:pt x="151" y="21"/>
                          <a:pt x="151" y="21"/>
                        </a:cubicBezTo>
                        <a:cubicBezTo>
                          <a:pt x="151" y="28"/>
                          <a:pt x="151" y="28"/>
                          <a:pt x="151" y="28"/>
                        </a:cubicBezTo>
                        <a:cubicBezTo>
                          <a:pt x="133" y="30"/>
                          <a:pt x="133" y="30"/>
                          <a:pt x="133" y="30"/>
                        </a:cubicBezTo>
                        <a:cubicBezTo>
                          <a:pt x="129" y="25"/>
                          <a:pt x="129" y="25"/>
                          <a:pt x="129" y="25"/>
                        </a:cubicBezTo>
                        <a:cubicBezTo>
                          <a:pt x="111" y="32"/>
                          <a:pt x="111" y="32"/>
                          <a:pt x="111" y="32"/>
                        </a:cubicBezTo>
                        <a:cubicBezTo>
                          <a:pt x="97" y="30"/>
                          <a:pt x="97" y="30"/>
                          <a:pt x="97" y="30"/>
                        </a:cubicBezTo>
                        <a:cubicBezTo>
                          <a:pt x="85" y="56"/>
                          <a:pt x="85" y="56"/>
                          <a:pt x="85" y="56"/>
                        </a:cubicBezTo>
                        <a:cubicBezTo>
                          <a:pt x="66" y="54"/>
                          <a:pt x="66" y="54"/>
                          <a:pt x="66" y="54"/>
                        </a:cubicBezTo>
                        <a:cubicBezTo>
                          <a:pt x="50" y="70"/>
                          <a:pt x="50" y="70"/>
                          <a:pt x="50" y="70"/>
                        </a:cubicBezTo>
                        <a:cubicBezTo>
                          <a:pt x="38" y="80"/>
                          <a:pt x="38" y="80"/>
                          <a:pt x="38" y="80"/>
                        </a:cubicBezTo>
                        <a:cubicBezTo>
                          <a:pt x="46" y="101"/>
                          <a:pt x="46" y="101"/>
                          <a:pt x="46" y="101"/>
                        </a:cubicBezTo>
                        <a:cubicBezTo>
                          <a:pt x="34" y="141"/>
                          <a:pt x="62" y="140"/>
                          <a:pt x="62" y="140"/>
                        </a:cubicBezTo>
                        <a:cubicBezTo>
                          <a:pt x="69" y="160"/>
                          <a:pt x="69" y="160"/>
                          <a:pt x="69" y="160"/>
                        </a:cubicBezTo>
                        <a:cubicBezTo>
                          <a:pt x="57" y="168"/>
                          <a:pt x="57" y="168"/>
                          <a:pt x="57" y="168"/>
                        </a:cubicBezTo>
                        <a:cubicBezTo>
                          <a:pt x="57" y="168"/>
                          <a:pt x="47" y="165"/>
                          <a:pt x="43" y="164"/>
                        </a:cubicBezTo>
                        <a:cubicBezTo>
                          <a:pt x="39" y="162"/>
                          <a:pt x="45" y="182"/>
                          <a:pt x="45" y="182"/>
                        </a:cubicBezTo>
                        <a:cubicBezTo>
                          <a:pt x="37" y="208"/>
                          <a:pt x="37" y="208"/>
                          <a:pt x="37" y="208"/>
                        </a:cubicBezTo>
                        <a:cubicBezTo>
                          <a:pt x="17" y="212"/>
                          <a:pt x="17" y="212"/>
                          <a:pt x="17" y="212"/>
                        </a:cubicBezTo>
                        <a:cubicBezTo>
                          <a:pt x="17" y="220"/>
                          <a:pt x="17" y="220"/>
                          <a:pt x="17" y="220"/>
                        </a:cubicBezTo>
                        <a:cubicBezTo>
                          <a:pt x="0" y="240"/>
                          <a:pt x="0" y="240"/>
                          <a:pt x="0" y="240"/>
                        </a:cubicBezTo>
                        <a:cubicBezTo>
                          <a:pt x="18" y="243"/>
                          <a:pt x="31" y="249"/>
                          <a:pt x="31" y="249"/>
                        </a:cubicBezTo>
                        <a:cubicBezTo>
                          <a:pt x="31" y="249"/>
                          <a:pt x="25" y="273"/>
                          <a:pt x="31" y="2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59" name="Auvergne" descr="© INSCALE GmbH, 05.05.2010&#10;http://www.presentationload.com/">
                    <a:extLst>
                      <a:ext uri="{FF2B5EF4-FFF2-40B4-BE49-F238E27FC236}">
                        <a16:creationId xmlns:a16="http://schemas.microsoft.com/office/drawing/2014/main" id="{E96A538B-BAAD-40F6-B268-8C641A572676}"/>
                      </a:ext>
                    </a:extLst>
                  </p:cNvPr>
                  <p:cNvSpPr>
                    <a:spLocks/>
                  </p:cNvSpPr>
                  <p:nvPr/>
                </p:nvSpPr>
                <p:spPr bwMode="gray">
                  <a:xfrm>
                    <a:off x="1704" y="1640"/>
                    <a:ext cx="593" cy="753"/>
                  </a:xfrm>
                  <a:custGeom>
                    <a:avLst/>
                    <a:gdLst/>
                    <a:ahLst/>
                    <a:cxnLst>
                      <a:cxn ang="0">
                        <a:pos x="15" y="669"/>
                      </a:cxn>
                      <a:cxn ang="0">
                        <a:pos x="31" y="697"/>
                      </a:cxn>
                      <a:cxn ang="0">
                        <a:pos x="60" y="689"/>
                      </a:cxn>
                      <a:cxn ang="0">
                        <a:pos x="111" y="665"/>
                      </a:cxn>
                      <a:cxn ang="0">
                        <a:pos x="122" y="617"/>
                      </a:cxn>
                      <a:cxn ang="0">
                        <a:pos x="186" y="636"/>
                      </a:cxn>
                      <a:cxn ang="0">
                        <a:pos x="218" y="663"/>
                      </a:cxn>
                      <a:cxn ang="0">
                        <a:pos x="231" y="607"/>
                      </a:cxn>
                      <a:cxn ang="0">
                        <a:pos x="266" y="611"/>
                      </a:cxn>
                      <a:cxn ang="0">
                        <a:pos x="266" y="603"/>
                      </a:cxn>
                      <a:cxn ang="0">
                        <a:pos x="318" y="635"/>
                      </a:cxn>
                      <a:cxn ang="0">
                        <a:pos x="378" y="629"/>
                      </a:cxn>
                      <a:cxn ang="0">
                        <a:pos x="424" y="628"/>
                      </a:cxn>
                      <a:cxn ang="0">
                        <a:pos x="472" y="612"/>
                      </a:cxn>
                      <a:cxn ang="0">
                        <a:pos x="504" y="560"/>
                      </a:cxn>
                      <a:cxn ang="0">
                        <a:pos x="522" y="535"/>
                      </a:cxn>
                      <a:cxn ang="0">
                        <a:pos x="536" y="517"/>
                      </a:cxn>
                      <a:cxn ang="0">
                        <a:pos x="507" y="467"/>
                      </a:cxn>
                      <a:cxn ang="0">
                        <a:pos x="450" y="463"/>
                      </a:cxn>
                      <a:cxn ang="0">
                        <a:pos x="430" y="449"/>
                      </a:cxn>
                      <a:cxn ang="0">
                        <a:pos x="408" y="445"/>
                      </a:cxn>
                      <a:cxn ang="0">
                        <a:pos x="364" y="320"/>
                      </a:cxn>
                      <a:cxn ang="0">
                        <a:pos x="362" y="273"/>
                      </a:cxn>
                      <a:cxn ang="0">
                        <a:pos x="386" y="217"/>
                      </a:cxn>
                      <a:cxn ang="0">
                        <a:pos x="378" y="176"/>
                      </a:cxn>
                      <a:cxn ang="0">
                        <a:pos x="411" y="159"/>
                      </a:cxn>
                      <a:cxn ang="0">
                        <a:pos x="424" y="101"/>
                      </a:cxn>
                      <a:cxn ang="0">
                        <a:pos x="370" y="81"/>
                      </a:cxn>
                      <a:cxn ang="0">
                        <a:pos x="327" y="32"/>
                      </a:cxn>
                      <a:cxn ang="0">
                        <a:pos x="306" y="31"/>
                      </a:cxn>
                      <a:cxn ang="0">
                        <a:pos x="263" y="25"/>
                      </a:cxn>
                      <a:cxn ang="0">
                        <a:pos x="171" y="23"/>
                      </a:cxn>
                      <a:cxn ang="0">
                        <a:pos x="115" y="49"/>
                      </a:cxn>
                      <a:cxn ang="0">
                        <a:pos x="46" y="118"/>
                      </a:cxn>
                      <a:cxn ang="0">
                        <a:pos x="74" y="151"/>
                      </a:cxn>
                      <a:cxn ang="0">
                        <a:pos x="111" y="212"/>
                      </a:cxn>
                      <a:cxn ang="0">
                        <a:pos x="100" y="292"/>
                      </a:cxn>
                      <a:cxn ang="0">
                        <a:pos x="100" y="372"/>
                      </a:cxn>
                      <a:cxn ang="0">
                        <a:pos x="102" y="449"/>
                      </a:cxn>
                      <a:cxn ang="0">
                        <a:pos x="66" y="472"/>
                      </a:cxn>
                      <a:cxn ang="0">
                        <a:pos x="27" y="508"/>
                      </a:cxn>
                      <a:cxn ang="0">
                        <a:pos x="24" y="547"/>
                      </a:cxn>
                      <a:cxn ang="0">
                        <a:pos x="4" y="608"/>
                      </a:cxn>
                    </a:cxnLst>
                    <a:rect l="0" t="0" r="r" b="b"/>
                    <a:pathLst>
                      <a:path w="550" h="697">
                        <a:moveTo>
                          <a:pt x="4" y="608"/>
                        </a:moveTo>
                        <a:cubicBezTo>
                          <a:pt x="20" y="635"/>
                          <a:pt x="20" y="635"/>
                          <a:pt x="20" y="635"/>
                        </a:cubicBezTo>
                        <a:cubicBezTo>
                          <a:pt x="15" y="669"/>
                          <a:pt x="15" y="669"/>
                          <a:pt x="15" y="669"/>
                        </a:cubicBezTo>
                        <a:cubicBezTo>
                          <a:pt x="24" y="675"/>
                          <a:pt x="24" y="675"/>
                          <a:pt x="24" y="675"/>
                        </a:cubicBezTo>
                        <a:cubicBezTo>
                          <a:pt x="26" y="691"/>
                          <a:pt x="26" y="691"/>
                          <a:pt x="26" y="691"/>
                        </a:cubicBezTo>
                        <a:cubicBezTo>
                          <a:pt x="31" y="697"/>
                          <a:pt x="31" y="697"/>
                          <a:pt x="31" y="697"/>
                        </a:cubicBezTo>
                        <a:cubicBezTo>
                          <a:pt x="30" y="685"/>
                          <a:pt x="30" y="685"/>
                          <a:pt x="30" y="685"/>
                        </a:cubicBezTo>
                        <a:cubicBezTo>
                          <a:pt x="59" y="684"/>
                          <a:pt x="59" y="684"/>
                          <a:pt x="59" y="684"/>
                        </a:cubicBezTo>
                        <a:cubicBezTo>
                          <a:pt x="60" y="689"/>
                          <a:pt x="60" y="689"/>
                          <a:pt x="60" y="689"/>
                        </a:cubicBezTo>
                        <a:cubicBezTo>
                          <a:pt x="94" y="687"/>
                          <a:pt x="94" y="687"/>
                          <a:pt x="94" y="687"/>
                        </a:cubicBezTo>
                        <a:cubicBezTo>
                          <a:pt x="98" y="675"/>
                          <a:pt x="98" y="675"/>
                          <a:pt x="98" y="675"/>
                        </a:cubicBezTo>
                        <a:cubicBezTo>
                          <a:pt x="111" y="665"/>
                          <a:pt x="111" y="665"/>
                          <a:pt x="111" y="665"/>
                        </a:cubicBezTo>
                        <a:cubicBezTo>
                          <a:pt x="112" y="645"/>
                          <a:pt x="112" y="645"/>
                          <a:pt x="112" y="645"/>
                        </a:cubicBezTo>
                        <a:cubicBezTo>
                          <a:pt x="120" y="639"/>
                          <a:pt x="120" y="639"/>
                          <a:pt x="120" y="639"/>
                        </a:cubicBezTo>
                        <a:cubicBezTo>
                          <a:pt x="122" y="617"/>
                          <a:pt x="122" y="617"/>
                          <a:pt x="122" y="617"/>
                        </a:cubicBezTo>
                        <a:cubicBezTo>
                          <a:pt x="122" y="617"/>
                          <a:pt x="122" y="624"/>
                          <a:pt x="131" y="616"/>
                        </a:cubicBezTo>
                        <a:cubicBezTo>
                          <a:pt x="157" y="579"/>
                          <a:pt x="163" y="607"/>
                          <a:pt x="161" y="614"/>
                        </a:cubicBezTo>
                        <a:cubicBezTo>
                          <a:pt x="172" y="606"/>
                          <a:pt x="186" y="636"/>
                          <a:pt x="186" y="636"/>
                        </a:cubicBezTo>
                        <a:cubicBezTo>
                          <a:pt x="195" y="647"/>
                          <a:pt x="195" y="647"/>
                          <a:pt x="195" y="647"/>
                        </a:cubicBezTo>
                        <a:cubicBezTo>
                          <a:pt x="204" y="687"/>
                          <a:pt x="204" y="687"/>
                          <a:pt x="204" y="687"/>
                        </a:cubicBezTo>
                        <a:cubicBezTo>
                          <a:pt x="218" y="663"/>
                          <a:pt x="218" y="663"/>
                          <a:pt x="218" y="663"/>
                        </a:cubicBezTo>
                        <a:cubicBezTo>
                          <a:pt x="224" y="636"/>
                          <a:pt x="224" y="636"/>
                          <a:pt x="224" y="636"/>
                        </a:cubicBezTo>
                        <a:cubicBezTo>
                          <a:pt x="232" y="627"/>
                          <a:pt x="232" y="627"/>
                          <a:pt x="232" y="627"/>
                        </a:cubicBezTo>
                        <a:cubicBezTo>
                          <a:pt x="231" y="607"/>
                          <a:pt x="231" y="607"/>
                          <a:pt x="231" y="607"/>
                        </a:cubicBezTo>
                        <a:cubicBezTo>
                          <a:pt x="240" y="603"/>
                          <a:pt x="240" y="603"/>
                          <a:pt x="240" y="603"/>
                        </a:cubicBezTo>
                        <a:cubicBezTo>
                          <a:pt x="248" y="616"/>
                          <a:pt x="248" y="616"/>
                          <a:pt x="248" y="616"/>
                        </a:cubicBezTo>
                        <a:cubicBezTo>
                          <a:pt x="266" y="611"/>
                          <a:pt x="266" y="611"/>
                          <a:pt x="266" y="611"/>
                        </a:cubicBezTo>
                        <a:cubicBezTo>
                          <a:pt x="266" y="603"/>
                          <a:pt x="266" y="603"/>
                          <a:pt x="266" y="603"/>
                        </a:cubicBezTo>
                        <a:cubicBezTo>
                          <a:pt x="263" y="603"/>
                          <a:pt x="267" y="593"/>
                          <a:pt x="267" y="593"/>
                        </a:cubicBezTo>
                        <a:cubicBezTo>
                          <a:pt x="266" y="603"/>
                          <a:pt x="266" y="603"/>
                          <a:pt x="266" y="603"/>
                        </a:cubicBezTo>
                        <a:cubicBezTo>
                          <a:pt x="267" y="603"/>
                          <a:pt x="269" y="602"/>
                          <a:pt x="271" y="600"/>
                        </a:cubicBezTo>
                        <a:cubicBezTo>
                          <a:pt x="282" y="591"/>
                          <a:pt x="300" y="584"/>
                          <a:pt x="300" y="584"/>
                        </a:cubicBezTo>
                        <a:cubicBezTo>
                          <a:pt x="318" y="635"/>
                          <a:pt x="318" y="635"/>
                          <a:pt x="318" y="635"/>
                        </a:cubicBezTo>
                        <a:cubicBezTo>
                          <a:pt x="318" y="635"/>
                          <a:pt x="318" y="635"/>
                          <a:pt x="342" y="627"/>
                        </a:cubicBezTo>
                        <a:cubicBezTo>
                          <a:pt x="346" y="600"/>
                          <a:pt x="356" y="624"/>
                          <a:pt x="356" y="624"/>
                        </a:cubicBezTo>
                        <a:cubicBezTo>
                          <a:pt x="378" y="629"/>
                          <a:pt x="378" y="629"/>
                          <a:pt x="378" y="629"/>
                        </a:cubicBezTo>
                        <a:cubicBezTo>
                          <a:pt x="399" y="655"/>
                          <a:pt x="399" y="655"/>
                          <a:pt x="399" y="655"/>
                        </a:cubicBezTo>
                        <a:cubicBezTo>
                          <a:pt x="424" y="644"/>
                          <a:pt x="424" y="644"/>
                          <a:pt x="424" y="644"/>
                        </a:cubicBezTo>
                        <a:cubicBezTo>
                          <a:pt x="424" y="628"/>
                          <a:pt x="424" y="628"/>
                          <a:pt x="424" y="628"/>
                        </a:cubicBezTo>
                        <a:cubicBezTo>
                          <a:pt x="443" y="619"/>
                          <a:pt x="443" y="619"/>
                          <a:pt x="443" y="619"/>
                        </a:cubicBezTo>
                        <a:cubicBezTo>
                          <a:pt x="444" y="613"/>
                          <a:pt x="444" y="613"/>
                          <a:pt x="444" y="613"/>
                        </a:cubicBezTo>
                        <a:cubicBezTo>
                          <a:pt x="472" y="612"/>
                          <a:pt x="472" y="612"/>
                          <a:pt x="472" y="612"/>
                        </a:cubicBezTo>
                        <a:cubicBezTo>
                          <a:pt x="484" y="584"/>
                          <a:pt x="484" y="584"/>
                          <a:pt x="484" y="584"/>
                        </a:cubicBezTo>
                        <a:cubicBezTo>
                          <a:pt x="504" y="580"/>
                          <a:pt x="504" y="580"/>
                          <a:pt x="504" y="580"/>
                        </a:cubicBezTo>
                        <a:cubicBezTo>
                          <a:pt x="504" y="560"/>
                          <a:pt x="504" y="560"/>
                          <a:pt x="504" y="560"/>
                        </a:cubicBezTo>
                        <a:cubicBezTo>
                          <a:pt x="519" y="560"/>
                          <a:pt x="519" y="560"/>
                          <a:pt x="519" y="560"/>
                        </a:cubicBezTo>
                        <a:cubicBezTo>
                          <a:pt x="519" y="560"/>
                          <a:pt x="512" y="548"/>
                          <a:pt x="512" y="544"/>
                        </a:cubicBezTo>
                        <a:cubicBezTo>
                          <a:pt x="512" y="540"/>
                          <a:pt x="522" y="535"/>
                          <a:pt x="522" y="535"/>
                        </a:cubicBezTo>
                        <a:cubicBezTo>
                          <a:pt x="519" y="523"/>
                          <a:pt x="519" y="523"/>
                          <a:pt x="519" y="523"/>
                        </a:cubicBezTo>
                        <a:cubicBezTo>
                          <a:pt x="533" y="534"/>
                          <a:pt x="533" y="534"/>
                          <a:pt x="533" y="534"/>
                        </a:cubicBezTo>
                        <a:cubicBezTo>
                          <a:pt x="532" y="533"/>
                          <a:pt x="532" y="529"/>
                          <a:pt x="536" y="517"/>
                        </a:cubicBezTo>
                        <a:cubicBezTo>
                          <a:pt x="550" y="468"/>
                          <a:pt x="519" y="489"/>
                          <a:pt x="519" y="489"/>
                        </a:cubicBezTo>
                        <a:cubicBezTo>
                          <a:pt x="512" y="471"/>
                          <a:pt x="512" y="471"/>
                          <a:pt x="512" y="471"/>
                        </a:cubicBezTo>
                        <a:cubicBezTo>
                          <a:pt x="507" y="467"/>
                          <a:pt x="507" y="467"/>
                          <a:pt x="507" y="467"/>
                        </a:cubicBezTo>
                        <a:cubicBezTo>
                          <a:pt x="520" y="456"/>
                          <a:pt x="495" y="459"/>
                          <a:pt x="488" y="449"/>
                        </a:cubicBezTo>
                        <a:cubicBezTo>
                          <a:pt x="482" y="440"/>
                          <a:pt x="452" y="455"/>
                          <a:pt x="452" y="455"/>
                        </a:cubicBezTo>
                        <a:cubicBezTo>
                          <a:pt x="450" y="463"/>
                          <a:pt x="450" y="463"/>
                          <a:pt x="450" y="463"/>
                        </a:cubicBezTo>
                        <a:cubicBezTo>
                          <a:pt x="444" y="456"/>
                          <a:pt x="444" y="456"/>
                          <a:pt x="444" y="456"/>
                        </a:cubicBezTo>
                        <a:cubicBezTo>
                          <a:pt x="434" y="461"/>
                          <a:pt x="434" y="461"/>
                          <a:pt x="434" y="461"/>
                        </a:cubicBezTo>
                        <a:cubicBezTo>
                          <a:pt x="430" y="449"/>
                          <a:pt x="430" y="449"/>
                          <a:pt x="430" y="449"/>
                        </a:cubicBezTo>
                        <a:cubicBezTo>
                          <a:pt x="418" y="449"/>
                          <a:pt x="418" y="449"/>
                          <a:pt x="418" y="449"/>
                        </a:cubicBezTo>
                        <a:cubicBezTo>
                          <a:pt x="412" y="468"/>
                          <a:pt x="412" y="468"/>
                          <a:pt x="412" y="468"/>
                        </a:cubicBezTo>
                        <a:cubicBezTo>
                          <a:pt x="408" y="445"/>
                          <a:pt x="408" y="445"/>
                          <a:pt x="408" y="445"/>
                        </a:cubicBezTo>
                        <a:cubicBezTo>
                          <a:pt x="408" y="445"/>
                          <a:pt x="422" y="439"/>
                          <a:pt x="424" y="432"/>
                        </a:cubicBezTo>
                        <a:cubicBezTo>
                          <a:pt x="436" y="412"/>
                          <a:pt x="396" y="376"/>
                          <a:pt x="391" y="376"/>
                        </a:cubicBezTo>
                        <a:cubicBezTo>
                          <a:pt x="387" y="356"/>
                          <a:pt x="364" y="320"/>
                          <a:pt x="364" y="320"/>
                        </a:cubicBezTo>
                        <a:cubicBezTo>
                          <a:pt x="366" y="292"/>
                          <a:pt x="366" y="292"/>
                          <a:pt x="366" y="292"/>
                        </a:cubicBezTo>
                        <a:cubicBezTo>
                          <a:pt x="374" y="289"/>
                          <a:pt x="374" y="289"/>
                          <a:pt x="374" y="289"/>
                        </a:cubicBezTo>
                        <a:cubicBezTo>
                          <a:pt x="362" y="273"/>
                          <a:pt x="362" y="273"/>
                          <a:pt x="362" y="273"/>
                        </a:cubicBezTo>
                        <a:cubicBezTo>
                          <a:pt x="362" y="261"/>
                          <a:pt x="362" y="261"/>
                          <a:pt x="362" y="261"/>
                        </a:cubicBezTo>
                        <a:cubicBezTo>
                          <a:pt x="387" y="252"/>
                          <a:pt x="387" y="252"/>
                          <a:pt x="387" y="252"/>
                        </a:cubicBezTo>
                        <a:cubicBezTo>
                          <a:pt x="386" y="217"/>
                          <a:pt x="386" y="217"/>
                          <a:pt x="386" y="217"/>
                        </a:cubicBezTo>
                        <a:cubicBezTo>
                          <a:pt x="379" y="204"/>
                          <a:pt x="379" y="204"/>
                          <a:pt x="379" y="204"/>
                        </a:cubicBezTo>
                        <a:cubicBezTo>
                          <a:pt x="383" y="189"/>
                          <a:pt x="383" y="189"/>
                          <a:pt x="383" y="189"/>
                        </a:cubicBezTo>
                        <a:cubicBezTo>
                          <a:pt x="378" y="176"/>
                          <a:pt x="378" y="176"/>
                          <a:pt x="378" y="176"/>
                        </a:cubicBezTo>
                        <a:cubicBezTo>
                          <a:pt x="403" y="165"/>
                          <a:pt x="403" y="165"/>
                          <a:pt x="403" y="165"/>
                        </a:cubicBezTo>
                        <a:cubicBezTo>
                          <a:pt x="403" y="156"/>
                          <a:pt x="403" y="156"/>
                          <a:pt x="403" y="156"/>
                        </a:cubicBezTo>
                        <a:cubicBezTo>
                          <a:pt x="411" y="159"/>
                          <a:pt x="411" y="159"/>
                          <a:pt x="411" y="159"/>
                        </a:cubicBezTo>
                        <a:cubicBezTo>
                          <a:pt x="416" y="145"/>
                          <a:pt x="416" y="145"/>
                          <a:pt x="416" y="145"/>
                        </a:cubicBezTo>
                        <a:cubicBezTo>
                          <a:pt x="423" y="145"/>
                          <a:pt x="423" y="145"/>
                          <a:pt x="423" y="145"/>
                        </a:cubicBezTo>
                        <a:cubicBezTo>
                          <a:pt x="423" y="145"/>
                          <a:pt x="423" y="116"/>
                          <a:pt x="424" y="101"/>
                        </a:cubicBezTo>
                        <a:cubicBezTo>
                          <a:pt x="426" y="87"/>
                          <a:pt x="398" y="97"/>
                          <a:pt x="398" y="97"/>
                        </a:cubicBezTo>
                        <a:cubicBezTo>
                          <a:pt x="387" y="84"/>
                          <a:pt x="387" y="84"/>
                          <a:pt x="387" y="84"/>
                        </a:cubicBezTo>
                        <a:cubicBezTo>
                          <a:pt x="370" y="81"/>
                          <a:pt x="370" y="81"/>
                          <a:pt x="370" y="81"/>
                        </a:cubicBezTo>
                        <a:cubicBezTo>
                          <a:pt x="366" y="63"/>
                          <a:pt x="366" y="63"/>
                          <a:pt x="366" y="63"/>
                        </a:cubicBezTo>
                        <a:cubicBezTo>
                          <a:pt x="366" y="63"/>
                          <a:pt x="336" y="12"/>
                          <a:pt x="332" y="8"/>
                        </a:cubicBezTo>
                        <a:cubicBezTo>
                          <a:pt x="328" y="4"/>
                          <a:pt x="327" y="32"/>
                          <a:pt x="327" y="32"/>
                        </a:cubicBezTo>
                        <a:cubicBezTo>
                          <a:pt x="318" y="31"/>
                          <a:pt x="318" y="31"/>
                          <a:pt x="318" y="31"/>
                        </a:cubicBezTo>
                        <a:cubicBezTo>
                          <a:pt x="306" y="45"/>
                          <a:pt x="306" y="45"/>
                          <a:pt x="306" y="45"/>
                        </a:cubicBezTo>
                        <a:cubicBezTo>
                          <a:pt x="306" y="31"/>
                          <a:pt x="306" y="31"/>
                          <a:pt x="306" y="31"/>
                        </a:cubicBezTo>
                        <a:cubicBezTo>
                          <a:pt x="294" y="24"/>
                          <a:pt x="294" y="24"/>
                          <a:pt x="294" y="24"/>
                        </a:cubicBezTo>
                        <a:cubicBezTo>
                          <a:pt x="294" y="24"/>
                          <a:pt x="283" y="32"/>
                          <a:pt x="279" y="32"/>
                        </a:cubicBezTo>
                        <a:cubicBezTo>
                          <a:pt x="275" y="32"/>
                          <a:pt x="267" y="25"/>
                          <a:pt x="263" y="25"/>
                        </a:cubicBezTo>
                        <a:cubicBezTo>
                          <a:pt x="259" y="25"/>
                          <a:pt x="254" y="36"/>
                          <a:pt x="244" y="35"/>
                        </a:cubicBezTo>
                        <a:cubicBezTo>
                          <a:pt x="236" y="34"/>
                          <a:pt x="220" y="9"/>
                          <a:pt x="213" y="1"/>
                        </a:cubicBezTo>
                        <a:cubicBezTo>
                          <a:pt x="188" y="0"/>
                          <a:pt x="178" y="8"/>
                          <a:pt x="171" y="23"/>
                        </a:cubicBezTo>
                        <a:cubicBezTo>
                          <a:pt x="163" y="39"/>
                          <a:pt x="148" y="17"/>
                          <a:pt x="144" y="17"/>
                        </a:cubicBezTo>
                        <a:cubicBezTo>
                          <a:pt x="140" y="17"/>
                          <a:pt x="122" y="36"/>
                          <a:pt x="122" y="36"/>
                        </a:cubicBezTo>
                        <a:cubicBezTo>
                          <a:pt x="122" y="36"/>
                          <a:pt x="122" y="44"/>
                          <a:pt x="115" y="49"/>
                        </a:cubicBezTo>
                        <a:cubicBezTo>
                          <a:pt x="108" y="55"/>
                          <a:pt x="118" y="77"/>
                          <a:pt x="118" y="77"/>
                        </a:cubicBezTo>
                        <a:cubicBezTo>
                          <a:pt x="118" y="77"/>
                          <a:pt x="118" y="77"/>
                          <a:pt x="102" y="88"/>
                        </a:cubicBezTo>
                        <a:cubicBezTo>
                          <a:pt x="72" y="77"/>
                          <a:pt x="50" y="111"/>
                          <a:pt x="46" y="118"/>
                        </a:cubicBezTo>
                        <a:cubicBezTo>
                          <a:pt x="50" y="135"/>
                          <a:pt x="50" y="135"/>
                          <a:pt x="50" y="135"/>
                        </a:cubicBezTo>
                        <a:cubicBezTo>
                          <a:pt x="56" y="135"/>
                          <a:pt x="56" y="135"/>
                          <a:pt x="56" y="135"/>
                        </a:cubicBezTo>
                        <a:cubicBezTo>
                          <a:pt x="56" y="135"/>
                          <a:pt x="35" y="163"/>
                          <a:pt x="74" y="151"/>
                        </a:cubicBezTo>
                        <a:cubicBezTo>
                          <a:pt x="76" y="152"/>
                          <a:pt x="78" y="161"/>
                          <a:pt x="78" y="161"/>
                        </a:cubicBezTo>
                        <a:cubicBezTo>
                          <a:pt x="92" y="163"/>
                          <a:pt x="92" y="163"/>
                          <a:pt x="92" y="163"/>
                        </a:cubicBezTo>
                        <a:cubicBezTo>
                          <a:pt x="111" y="212"/>
                          <a:pt x="111" y="212"/>
                          <a:pt x="111" y="212"/>
                        </a:cubicBezTo>
                        <a:cubicBezTo>
                          <a:pt x="111" y="212"/>
                          <a:pt x="91" y="225"/>
                          <a:pt x="120" y="248"/>
                        </a:cubicBezTo>
                        <a:cubicBezTo>
                          <a:pt x="118" y="252"/>
                          <a:pt x="119" y="268"/>
                          <a:pt x="119" y="268"/>
                        </a:cubicBezTo>
                        <a:cubicBezTo>
                          <a:pt x="119" y="268"/>
                          <a:pt x="106" y="269"/>
                          <a:pt x="100" y="292"/>
                        </a:cubicBezTo>
                        <a:cubicBezTo>
                          <a:pt x="95" y="315"/>
                          <a:pt x="84" y="300"/>
                          <a:pt x="84" y="300"/>
                        </a:cubicBezTo>
                        <a:cubicBezTo>
                          <a:pt x="84" y="300"/>
                          <a:pt x="62" y="301"/>
                          <a:pt x="84" y="333"/>
                        </a:cubicBezTo>
                        <a:cubicBezTo>
                          <a:pt x="107" y="365"/>
                          <a:pt x="100" y="372"/>
                          <a:pt x="100" y="372"/>
                        </a:cubicBezTo>
                        <a:cubicBezTo>
                          <a:pt x="100" y="372"/>
                          <a:pt x="80" y="376"/>
                          <a:pt x="99" y="400"/>
                        </a:cubicBezTo>
                        <a:cubicBezTo>
                          <a:pt x="96" y="432"/>
                          <a:pt x="91" y="437"/>
                          <a:pt x="91" y="437"/>
                        </a:cubicBezTo>
                        <a:cubicBezTo>
                          <a:pt x="102" y="449"/>
                          <a:pt x="102" y="449"/>
                          <a:pt x="102" y="449"/>
                        </a:cubicBezTo>
                        <a:cubicBezTo>
                          <a:pt x="83" y="455"/>
                          <a:pt x="83" y="455"/>
                          <a:pt x="83" y="455"/>
                        </a:cubicBezTo>
                        <a:cubicBezTo>
                          <a:pt x="83" y="455"/>
                          <a:pt x="72" y="440"/>
                          <a:pt x="66" y="441"/>
                        </a:cubicBezTo>
                        <a:cubicBezTo>
                          <a:pt x="59" y="443"/>
                          <a:pt x="66" y="472"/>
                          <a:pt x="66" y="472"/>
                        </a:cubicBezTo>
                        <a:cubicBezTo>
                          <a:pt x="52" y="473"/>
                          <a:pt x="52" y="473"/>
                          <a:pt x="52" y="473"/>
                        </a:cubicBezTo>
                        <a:cubicBezTo>
                          <a:pt x="44" y="481"/>
                          <a:pt x="44" y="481"/>
                          <a:pt x="44" y="481"/>
                        </a:cubicBezTo>
                        <a:cubicBezTo>
                          <a:pt x="27" y="508"/>
                          <a:pt x="27" y="508"/>
                          <a:pt x="27" y="508"/>
                        </a:cubicBezTo>
                        <a:cubicBezTo>
                          <a:pt x="31" y="519"/>
                          <a:pt x="31" y="519"/>
                          <a:pt x="31" y="519"/>
                        </a:cubicBezTo>
                        <a:cubicBezTo>
                          <a:pt x="23" y="528"/>
                          <a:pt x="23" y="528"/>
                          <a:pt x="23" y="528"/>
                        </a:cubicBezTo>
                        <a:cubicBezTo>
                          <a:pt x="24" y="547"/>
                          <a:pt x="24" y="547"/>
                          <a:pt x="24" y="547"/>
                        </a:cubicBezTo>
                        <a:cubicBezTo>
                          <a:pt x="24" y="547"/>
                          <a:pt x="0" y="551"/>
                          <a:pt x="12" y="573"/>
                        </a:cubicBezTo>
                        <a:cubicBezTo>
                          <a:pt x="8" y="574"/>
                          <a:pt x="5" y="576"/>
                          <a:pt x="3" y="578"/>
                        </a:cubicBezTo>
                        <a:cubicBezTo>
                          <a:pt x="6" y="591"/>
                          <a:pt x="4" y="608"/>
                          <a:pt x="4" y="608"/>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60" name="Provence" descr="© INSCALE GmbH, 05.05.2010&#10;http://www.presentationload.com/">
                    <a:extLst>
                      <a:ext uri="{FF2B5EF4-FFF2-40B4-BE49-F238E27FC236}">
                        <a16:creationId xmlns:a16="http://schemas.microsoft.com/office/drawing/2014/main" id="{F4D35B85-1D59-4289-AB8C-69FBF61ED349}"/>
                      </a:ext>
                    </a:extLst>
                  </p:cNvPr>
                  <p:cNvSpPr>
                    <a:spLocks/>
                  </p:cNvSpPr>
                  <p:nvPr/>
                </p:nvSpPr>
                <p:spPr bwMode="gray">
                  <a:xfrm>
                    <a:off x="2233" y="2198"/>
                    <a:ext cx="838" cy="739"/>
                  </a:xfrm>
                  <a:custGeom>
                    <a:avLst/>
                    <a:gdLst/>
                    <a:ahLst/>
                    <a:cxnLst>
                      <a:cxn ang="0">
                        <a:pos x="68" y="539"/>
                      </a:cxn>
                      <a:cxn ang="0">
                        <a:pos x="78" y="572"/>
                      </a:cxn>
                      <a:cxn ang="0">
                        <a:pos x="129" y="586"/>
                      </a:cxn>
                      <a:cxn ang="0">
                        <a:pos x="134" y="565"/>
                      </a:cxn>
                      <a:cxn ang="0">
                        <a:pos x="161" y="554"/>
                      </a:cxn>
                      <a:cxn ang="0">
                        <a:pos x="214" y="585"/>
                      </a:cxn>
                      <a:cxn ang="0">
                        <a:pos x="251" y="596"/>
                      </a:cxn>
                      <a:cxn ang="0">
                        <a:pos x="255" y="612"/>
                      </a:cxn>
                      <a:cxn ang="0">
                        <a:pos x="295" y="632"/>
                      </a:cxn>
                      <a:cxn ang="0">
                        <a:pos x="332" y="649"/>
                      </a:cxn>
                      <a:cxn ang="0">
                        <a:pos x="364" y="684"/>
                      </a:cxn>
                      <a:cxn ang="0">
                        <a:pos x="407" y="679"/>
                      </a:cxn>
                      <a:cxn ang="0">
                        <a:pos x="426" y="679"/>
                      </a:cxn>
                      <a:cxn ang="0">
                        <a:pos x="465" y="665"/>
                      </a:cxn>
                      <a:cxn ang="0">
                        <a:pos x="526" y="641"/>
                      </a:cxn>
                      <a:cxn ang="0">
                        <a:pos x="549" y="634"/>
                      </a:cxn>
                      <a:cxn ang="0">
                        <a:pos x="532" y="604"/>
                      </a:cxn>
                      <a:cxn ang="0">
                        <a:pos x="569" y="558"/>
                      </a:cxn>
                      <a:cxn ang="0">
                        <a:pos x="631" y="523"/>
                      </a:cxn>
                      <a:cxn ang="0">
                        <a:pos x="667" y="477"/>
                      </a:cxn>
                      <a:cxn ang="0">
                        <a:pos x="691" y="466"/>
                      </a:cxn>
                      <a:cxn ang="0">
                        <a:pos x="715" y="460"/>
                      </a:cxn>
                      <a:cxn ang="0">
                        <a:pos x="723" y="445"/>
                      </a:cxn>
                      <a:cxn ang="0">
                        <a:pos x="727" y="410"/>
                      </a:cxn>
                      <a:cxn ang="0">
                        <a:pos x="749" y="384"/>
                      </a:cxn>
                      <a:cxn ang="0">
                        <a:pos x="764" y="325"/>
                      </a:cxn>
                      <a:cxn ang="0">
                        <a:pos x="758" y="308"/>
                      </a:cxn>
                      <a:cxn ang="0">
                        <a:pos x="725" y="323"/>
                      </a:cxn>
                      <a:cxn ang="0">
                        <a:pos x="630" y="285"/>
                      </a:cxn>
                      <a:cxn ang="0">
                        <a:pos x="612" y="282"/>
                      </a:cxn>
                      <a:cxn ang="0">
                        <a:pos x="589" y="238"/>
                      </a:cxn>
                      <a:cxn ang="0">
                        <a:pos x="579" y="182"/>
                      </a:cxn>
                      <a:cxn ang="0">
                        <a:pos x="609" y="133"/>
                      </a:cxn>
                      <a:cxn ang="0">
                        <a:pos x="614" y="82"/>
                      </a:cxn>
                      <a:cxn ang="0">
                        <a:pos x="548" y="49"/>
                      </a:cxn>
                      <a:cxn ang="0">
                        <a:pos x="534" y="16"/>
                      </a:cxn>
                      <a:cxn ang="0">
                        <a:pos x="528" y="2"/>
                      </a:cxn>
                      <a:cxn ang="0">
                        <a:pos x="501" y="14"/>
                      </a:cxn>
                      <a:cxn ang="0">
                        <a:pos x="476" y="0"/>
                      </a:cxn>
                      <a:cxn ang="0">
                        <a:pos x="449" y="11"/>
                      </a:cxn>
                      <a:cxn ang="0">
                        <a:pos x="468" y="40"/>
                      </a:cxn>
                      <a:cxn ang="0">
                        <a:pos x="413" y="94"/>
                      </a:cxn>
                      <a:cxn ang="0">
                        <a:pos x="361" y="116"/>
                      </a:cxn>
                      <a:cxn ang="0">
                        <a:pos x="321" y="162"/>
                      </a:cxn>
                      <a:cxn ang="0">
                        <a:pos x="325" y="198"/>
                      </a:cxn>
                      <a:cxn ang="0">
                        <a:pos x="281" y="206"/>
                      </a:cxn>
                      <a:cxn ang="0">
                        <a:pos x="286" y="230"/>
                      </a:cxn>
                      <a:cxn ang="0">
                        <a:pos x="286" y="256"/>
                      </a:cxn>
                      <a:cxn ang="0">
                        <a:pos x="334" y="278"/>
                      </a:cxn>
                      <a:cxn ang="0">
                        <a:pos x="322" y="311"/>
                      </a:cxn>
                      <a:cxn ang="0">
                        <a:pos x="288" y="326"/>
                      </a:cxn>
                      <a:cxn ang="0">
                        <a:pos x="265" y="314"/>
                      </a:cxn>
                      <a:cxn ang="0">
                        <a:pos x="237" y="295"/>
                      </a:cxn>
                      <a:cxn ang="0">
                        <a:pos x="213" y="294"/>
                      </a:cxn>
                      <a:cxn ang="0">
                        <a:pos x="201" y="276"/>
                      </a:cxn>
                      <a:cxn ang="0">
                        <a:pos x="136" y="296"/>
                      </a:cxn>
                      <a:cxn ang="0">
                        <a:pos x="100" y="283"/>
                      </a:cxn>
                      <a:cxn ang="0">
                        <a:pos x="104" y="303"/>
                      </a:cxn>
                      <a:cxn ang="0">
                        <a:pos x="114" y="343"/>
                      </a:cxn>
                      <a:cxn ang="0">
                        <a:pos x="145" y="371"/>
                      </a:cxn>
                      <a:cxn ang="0">
                        <a:pos x="94" y="472"/>
                      </a:cxn>
                      <a:cxn ang="0">
                        <a:pos x="54" y="490"/>
                      </a:cxn>
                      <a:cxn ang="0">
                        <a:pos x="0" y="540"/>
                      </a:cxn>
                    </a:cxnLst>
                    <a:rect l="0" t="0" r="r" b="b"/>
                    <a:pathLst>
                      <a:path w="778" h="684">
                        <a:moveTo>
                          <a:pt x="2" y="541"/>
                        </a:moveTo>
                        <a:cubicBezTo>
                          <a:pt x="3" y="544"/>
                          <a:pt x="54" y="539"/>
                          <a:pt x="68" y="539"/>
                        </a:cubicBezTo>
                        <a:cubicBezTo>
                          <a:pt x="82" y="539"/>
                          <a:pt x="80" y="555"/>
                          <a:pt x="80" y="555"/>
                        </a:cubicBezTo>
                        <a:cubicBezTo>
                          <a:pt x="57" y="564"/>
                          <a:pt x="80" y="563"/>
                          <a:pt x="78" y="572"/>
                        </a:cubicBezTo>
                        <a:cubicBezTo>
                          <a:pt x="76" y="581"/>
                          <a:pt x="119" y="577"/>
                          <a:pt x="119" y="577"/>
                        </a:cubicBezTo>
                        <a:cubicBezTo>
                          <a:pt x="119" y="577"/>
                          <a:pt x="127" y="583"/>
                          <a:pt x="129" y="586"/>
                        </a:cubicBezTo>
                        <a:cubicBezTo>
                          <a:pt x="131" y="589"/>
                          <a:pt x="138" y="577"/>
                          <a:pt x="144" y="575"/>
                        </a:cubicBezTo>
                        <a:cubicBezTo>
                          <a:pt x="150" y="573"/>
                          <a:pt x="138" y="576"/>
                          <a:pt x="134" y="565"/>
                        </a:cubicBezTo>
                        <a:cubicBezTo>
                          <a:pt x="130" y="554"/>
                          <a:pt x="139" y="558"/>
                          <a:pt x="139" y="554"/>
                        </a:cubicBezTo>
                        <a:cubicBezTo>
                          <a:pt x="139" y="550"/>
                          <a:pt x="151" y="554"/>
                          <a:pt x="161" y="554"/>
                        </a:cubicBezTo>
                        <a:cubicBezTo>
                          <a:pt x="171" y="554"/>
                          <a:pt x="177" y="583"/>
                          <a:pt x="177" y="583"/>
                        </a:cubicBezTo>
                        <a:cubicBezTo>
                          <a:pt x="214" y="585"/>
                          <a:pt x="214" y="585"/>
                          <a:pt x="214" y="585"/>
                        </a:cubicBezTo>
                        <a:cubicBezTo>
                          <a:pt x="214" y="585"/>
                          <a:pt x="233" y="578"/>
                          <a:pt x="240" y="569"/>
                        </a:cubicBezTo>
                        <a:cubicBezTo>
                          <a:pt x="247" y="560"/>
                          <a:pt x="251" y="596"/>
                          <a:pt x="251" y="596"/>
                        </a:cubicBezTo>
                        <a:cubicBezTo>
                          <a:pt x="251" y="596"/>
                          <a:pt x="248" y="600"/>
                          <a:pt x="245" y="600"/>
                        </a:cubicBezTo>
                        <a:cubicBezTo>
                          <a:pt x="242" y="600"/>
                          <a:pt x="252" y="608"/>
                          <a:pt x="255" y="612"/>
                        </a:cubicBezTo>
                        <a:cubicBezTo>
                          <a:pt x="258" y="616"/>
                          <a:pt x="248" y="623"/>
                          <a:pt x="248" y="623"/>
                        </a:cubicBezTo>
                        <a:cubicBezTo>
                          <a:pt x="248" y="623"/>
                          <a:pt x="291" y="631"/>
                          <a:pt x="295" y="632"/>
                        </a:cubicBezTo>
                        <a:cubicBezTo>
                          <a:pt x="305" y="651"/>
                          <a:pt x="316" y="636"/>
                          <a:pt x="322" y="637"/>
                        </a:cubicBezTo>
                        <a:cubicBezTo>
                          <a:pt x="328" y="638"/>
                          <a:pt x="320" y="648"/>
                          <a:pt x="332" y="649"/>
                        </a:cubicBezTo>
                        <a:cubicBezTo>
                          <a:pt x="344" y="650"/>
                          <a:pt x="354" y="671"/>
                          <a:pt x="348" y="676"/>
                        </a:cubicBezTo>
                        <a:cubicBezTo>
                          <a:pt x="342" y="681"/>
                          <a:pt x="356" y="680"/>
                          <a:pt x="364" y="684"/>
                        </a:cubicBezTo>
                        <a:cubicBezTo>
                          <a:pt x="372" y="671"/>
                          <a:pt x="393" y="669"/>
                          <a:pt x="399" y="666"/>
                        </a:cubicBezTo>
                        <a:cubicBezTo>
                          <a:pt x="405" y="663"/>
                          <a:pt x="404" y="681"/>
                          <a:pt x="407" y="679"/>
                        </a:cubicBezTo>
                        <a:cubicBezTo>
                          <a:pt x="410" y="677"/>
                          <a:pt x="418" y="669"/>
                          <a:pt x="424" y="674"/>
                        </a:cubicBezTo>
                        <a:cubicBezTo>
                          <a:pt x="426" y="676"/>
                          <a:pt x="426" y="678"/>
                          <a:pt x="426" y="679"/>
                        </a:cubicBezTo>
                        <a:cubicBezTo>
                          <a:pt x="427" y="679"/>
                          <a:pt x="437" y="672"/>
                          <a:pt x="443" y="663"/>
                        </a:cubicBezTo>
                        <a:cubicBezTo>
                          <a:pt x="449" y="654"/>
                          <a:pt x="443" y="663"/>
                          <a:pt x="465" y="665"/>
                        </a:cubicBezTo>
                        <a:cubicBezTo>
                          <a:pt x="472" y="679"/>
                          <a:pt x="481" y="671"/>
                          <a:pt x="481" y="671"/>
                        </a:cubicBezTo>
                        <a:cubicBezTo>
                          <a:pt x="469" y="660"/>
                          <a:pt x="520" y="642"/>
                          <a:pt x="526" y="641"/>
                        </a:cubicBezTo>
                        <a:cubicBezTo>
                          <a:pt x="532" y="640"/>
                          <a:pt x="538" y="646"/>
                          <a:pt x="538" y="646"/>
                        </a:cubicBezTo>
                        <a:cubicBezTo>
                          <a:pt x="538" y="646"/>
                          <a:pt x="547" y="639"/>
                          <a:pt x="549" y="634"/>
                        </a:cubicBezTo>
                        <a:cubicBezTo>
                          <a:pt x="551" y="629"/>
                          <a:pt x="551" y="618"/>
                          <a:pt x="548" y="610"/>
                        </a:cubicBezTo>
                        <a:cubicBezTo>
                          <a:pt x="518" y="622"/>
                          <a:pt x="535" y="604"/>
                          <a:pt x="532" y="604"/>
                        </a:cubicBezTo>
                        <a:cubicBezTo>
                          <a:pt x="529" y="604"/>
                          <a:pt x="552" y="584"/>
                          <a:pt x="560" y="578"/>
                        </a:cubicBezTo>
                        <a:cubicBezTo>
                          <a:pt x="559" y="561"/>
                          <a:pt x="569" y="558"/>
                          <a:pt x="569" y="558"/>
                        </a:cubicBezTo>
                        <a:cubicBezTo>
                          <a:pt x="581" y="586"/>
                          <a:pt x="609" y="532"/>
                          <a:pt x="609" y="532"/>
                        </a:cubicBezTo>
                        <a:cubicBezTo>
                          <a:pt x="603" y="509"/>
                          <a:pt x="629" y="516"/>
                          <a:pt x="631" y="523"/>
                        </a:cubicBezTo>
                        <a:cubicBezTo>
                          <a:pt x="630" y="511"/>
                          <a:pt x="644" y="515"/>
                          <a:pt x="648" y="508"/>
                        </a:cubicBezTo>
                        <a:cubicBezTo>
                          <a:pt x="647" y="480"/>
                          <a:pt x="667" y="477"/>
                          <a:pt x="667" y="477"/>
                        </a:cubicBezTo>
                        <a:cubicBezTo>
                          <a:pt x="675" y="465"/>
                          <a:pt x="675" y="465"/>
                          <a:pt x="675" y="465"/>
                        </a:cubicBezTo>
                        <a:cubicBezTo>
                          <a:pt x="691" y="466"/>
                          <a:pt x="691" y="466"/>
                          <a:pt x="691" y="466"/>
                        </a:cubicBezTo>
                        <a:cubicBezTo>
                          <a:pt x="696" y="456"/>
                          <a:pt x="696" y="456"/>
                          <a:pt x="696" y="456"/>
                        </a:cubicBezTo>
                        <a:cubicBezTo>
                          <a:pt x="715" y="460"/>
                          <a:pt x="715" y="460"/>
                          <a:pt x="715" y="460"/>
                        </a:cubicBezTo>
                        <a:cubicBezTo>
                          <a:pt x="713" y="442"/>
                          <a:pt x="713" y="442"/>
                          <a:pt x="713" y="442"/>
                        </a:cubicBezTo>
                        <a:cubicBezTo>
                          <a:pt x="723" y="445"/>
                          <a:pt x="723" y="445"/>
                          <a:pt x="723" y="445"/>
                        </a:cubicBezTo>
                        <a:cubicBezTo>
                          <a:pt x="736" y="435"/>
                          <a:pt x="736" y="435"/>
                          <a:pt x="736" y="435"/>
                        </a:cubicBezTo>
                        <a:cubicBezTo>
                          <a:pt x="727" y="410"/>
                          <a:pt x="727" y="410"/>
                          <a:pt x="727" y="410"/>
                        </a:cubicBezTo>
                        <a:cubicBezTo>
                          <a:pt x="746" y="398"/>
                          <a:pt x="746" y="398"/>
                          <a:pt x="746" y="398"/>
                        </a:cubicBezTo>
                        <a:cubicBezTo>
                          <a:pt x="749" y="384"/>
                          <a:pt x="749" y="384"/>
                          <a:pt x="749" y="384"/>
                        </a:cubicBezTo>
                        <a:cubicBezTo>
                          <a:pt x="763" y="390"/>
                          <a:pt x="778" y="338"/>
                          <a:pt x="778" y="338"/>
                        </a:cubicBezTo>
                        <a:cubicBezTo>
                          <a:pt x="764" y="325"/>
                          <a:pt x="764" y="325"/>
                          <a:pt x="764" y="325"/>
                        </a:cubicBezTo>
                        <a:cubicBezTo>
                          <a:pt x="768" y="311"/>
                          <a:pt x="768" y="311"/>
                          <a:pt x="768" y="311"/>
                        </a:cubicBezTo>
                        <a:cubicBezTo>
                          <a:pt x="758" y="308"/>
                          <a:pt x="758" y="308"/>
                          <a:pt x="758" y="308"/>
                        </a:cubicBezTo>
                        <a:cubicBezTo>
                          <a:pt x="751" y="316"/>
                          <a:pt x="751" y="316"/>
                          <a:pt x="751" y="316"/>
                        </a:cubicBezTo>
                        <a:cubicBezTo>
                          <a:pt x="751" y="316"/>
                          <a:pt x="730" y="316"/>
                          <a:pt x="725" y="323"/>
                        </a:cubicBezTo>
                        <a:cubicBezTo>
                          <a:pt x="717" y="339"/>
                          <a:pt x="690" y="316"/>
                          <a:pt x="690" y="316"/>
                        </a:cubicBezTo>
                        <a:cubicBezTo>
                          <a:pt x="630" y="285"/>
                          <a:pt x="630" y="285"/>
                          <a:pt x="630" y="285"/>
                        </a:cubicBezTo>
                        <a:cubicBezTo>
                          <a:pt x="623" y="288"/>
                          <a:pt x="623" y="288"/>
                          <a:pt x="623" y="288"/>
                        </a:cubicBezTo>
                        <a:cubicBezTo>
                          <a:pt x="612" y="282"/>
                          <a:pt x="612" y="282"/>
                          <a:pt x="612" y="282"/>
                        </a:cubicBezTo>
                        <a:cubicBezTo>
                          <a:pt x="613" y="271"/>
                          <a:pt x="613" y="271"/>
                          <a:pt x="613" y="271"/>
                        </a:cubicBezTo>
                        <a:cubicBezTo>
                          <a:pt x="589" y="238"/>
                          <a:pt x="589" y="238"/>
                          <a:pt x="589" y="238"/>
                        </a:cubicBezTo>
                        <a:cubicBezTo>
                          <a:pt x="598" y="219"/>
                          <a:pt x="598" y="219"/>
                          <a:pt x="598" y="219"/>
                        </a:cubicBezTo>
                        <a:cubicBezTo>
                          <a:pt x="579" y="182"/>
                          <a:pt x="579" y="182"/>
                          <a:pt x="579" y="182"/>
                        </a:cubicBezTo>
                        <a:cubicBezTo>
                          <a:pt x="579" y="182"/>
                          <a:pt x="601" y="155"/>
                          <a:pt x="604" y="152"/>
                        </a:cubicBezTo>
                        <a:cubicBezTo>
                          <a:pt x="598" y="134"/>
                          <a:pt x="611" y="136"/>
                          <a:pt x="609" y="133"/>
                        </a:cubicBezTo>
                        <a:cubicBezTo>
                          <a:pt x="622" y="140"/>
                          <a:pt x="620" y="121"/>
                          <a:pt x="624" y="123"/>
                        </a:cubicBezTo>
                        <a:cubicBezTo>
                          <a:pt x="611" y="113"/>
                          <a:pt x="614" y="82"/>
                          <a:pt x="614" y="82"/>
                        </a:cubicBezTo>
                        <a:cubicBezTo>
                          <a:pt x="577" y="74"/>
                          <a:pt x="577" y="74"/>
                          <a:pt x="577" y="74"/>
                        </a:cubicBezTo>
                        <a:cubicBezTo>
                          <a:pt x="548" y="49"/>
                          <a:pt x="548" y="49"/>
                          <a:pt x="548" y="49"/>
                        </a:cubicBezTo>
                        <a:cubicBezTo>
                          <a:pt x="550" y="19"/>
                          <a:pt x="550" y="19"/>
                          <a:pt x="550" y="19"/>
                        </a:cubicBezTo>
                        <a:cubicBezTo>
                          <a:pt x="534" y="16"/>
                          <a:pt x="534" y="16"/>
                          <a:pt x="534" y="16"/>
                        </a:cubicBezTo>
                        <a:cubicBezTo>
                          <a:pt x="532" y="7"/>
                          <a:pt x="532" y="7"/>
                          <a:pt x="532" y="7"/>
                        </a:cubicBezTo>
                        <a:cubicBezTo>
                          <a:pt x="530" y="6"/>
                          <a:pt x="529" y="4"/>
                          <a:pt x="528" y="2"/>
                        </a:cubicBezTo>
                        <a:cubicBezTo>
                          <a:pt x="504" y="6"/>
                          <a:pt x="504" y="6"/>
                          <a:pt x="504" y="6"/>
                        </a:cubicBezTo>
                        <a:cubicBezTo>
                          <a:pt x="501" y="14"/>
                          <a:pt x="501" y="14"/>
                          <a:pt x="501" y="14"/>
                        </a:cubicBezTo>
                        <a:cubicBezTo>
                          <a:pt x="477" y="14"/>
                          <a:pt x="477" y="14"/>
                          <a:pt x="477" y="14"/>
                        </a:cubicBezTo>
                        <a:cubicBezTo>
                          <a:pt x="476" y="0"/>
                          <a:pt x="476" y="0"/>
                          <a:pt x="476" y="0"/>
                        </a:cubicBezTo>
                        <a:cubicBezTo>
                          <a:pt x="446" y="3"/>
                          <a:pt x="446" y="3"/>
                          <a:pt x="446" y="3"/>
                        </a:cubicBezTo>
                        <a:cubicBezTo>
                          <a:pt x="449" y="11"/>
                          <a:pt x="449" y="11"/>
                          <a:pt x="449" y="11"/>
                        </a:cubicBezTo>
                        <a:cubicBezTo>
                          <a:pt x="449" y="11"/>
                          <a:pt x="444" y="24"/>
                          <a:pt x="444" y="35"/>
                        </a:cubicBezTo>
                        <a:cubicBezTo>
                          <a:pt x="444" y="46"/>
                          <a:pt x="468" y="40"/>
                          <a:pt x="468" y="40"/>
                        </a:cubicBezTo>
                        <a:cubicBezTo>
                          <a:pt x="468" y="40"/>
                          <a:pt x="469" y="59"/>
                          <a:pt x="476" y="82"/>
                        </a:cubicBezTo>
                        <a:cubicBezTo>
                          <a:pt x="410" y="80"/>
                          <a:pt x="420" y="100"/>
                          <a:pt x="413" y="94"/>
                        </a:cubicBezTo>
                        <a:cubicBezTo>
                          <a:pt x="406" y="87"/>
                          <a:pt x="397" y="110"/>
                          <a:pt x="397" y="110"/>
                        </a:cubicBezTo>
                        <a:cubicBezTo>
                          <a:pt x="397" y="110"/>
                          <a:pt x="373" y="116"/>
                          <a:pt x="361" y="116"/>
                        </a:cubicBezTo>
                        <a:cubicBezTo>
                          <a:pt x="349" y="116"/>
                          <a:pt x="354" y="128"/>
                          <a:pt x="358" y="138"/>
                        </a:cubicBezTo>
                        <a:cubicBezTo>
                          <a:pt x="362" y="147"/>
                          <a:pt x="321" y="162"/>
                          <a:pt x="321" y="162"/>
                        </a:cubicBezTo>
                        <a:cubicBezTo>
                          <a:pt x="308" y="188"/>
                          <a:pt x="308" y="188"/>
                          <a:pt x="308" y="188"/>
                        </a:cubicBezTo>
                        <a:cubicBezTo>
                          <a:pt x="325" y="198"/>
                          <a:pt x="325" y="198"/>
                          <a:pt x="325" y="198"/>
                        </a:cubicBezTo>
                        <a:cubicBezTo>
                          <a:pt x="310" y="210"/>
                          <a:pt x="310" y="210"/>
                          <a:pt x="310" y="210"/>
                        </a:cubicBezTo>
                        <a:cubicBezTo>
                          <a:pt x="281" y="206"/>
                          <a:pt x="281" y="206"/>
                          <a:pt x="281" y="206"/>
                        </a:cubicBezTo>
                        <a:cubicBezTo>
                          <a:pt x="278" y="218"/>
                          <a:pt x="278" y="218"/>
                          <a:pt x="278" y="218"/>
                        </a:cubicBezTo>
                        <a:cubicBezTo>
                          <a:pt x="286" y="230"/>
                          <a:pt x="286" y="230"/>
                          <a:pt x="286" y="230"/>
                        </a:cubicBezTo>
                        <a:cubicBezTo>
                          <a:pt x="270" y="231"/>
                          <a:pt x="270" y="231"/>
                          <a:pt x="270" y="231"/>
                        </a:cubicBezTo>
                        <a:cubicBezTo>
                          <a:pt x="286" y="256"/>
                          <a:pt x="286" y="256"/>
                          <a:pt x="286" y="256"/>
                        </a:cubicBezTo>
                        <a:cubicBezTo>
                          <a:pt x="317" y="258"/>
                          <a:pt x="317" y="258"/>
                          <a:pt x="317" y="258"/>
                        </a:cubicBezTo>
                        <a:cubicBezTo>
                          <a:pt x="334" y="278"/>
                          <a:pt x="334" y="278"/>
                          <a:pt x="334" y="278"/>
                        </a:cubicBezTo>
                        <a:cubicBezTo>
                          <a:pt x="334" y="300"/>
                          <a:pt x="334" y="300"/>
                          <a:pt x="334" y="300"/>
                        </a:cubicBezTo>
                        <a:cubicBezTo>
                          <a:pt x="334" y="300"/>
                          <a:pt x="320" y="314"/>
                          <a:pt x="322" y="311"/>
                        </a:cubicBezTo>
                        <a:cubicBezTo>
                          <a:pt x="298" y="303"/>
                          <a:pt x="308" y="314"/>
                          <a:pt x="308" y="314"/>
                        </a:cubicBezTo>
                        <a:cubicBezTo>
                          <a:pt x="288" y="326"/>
                          <a:pt x="288" y="326"/>
                          <a:pt x="288" y="326"/>
                        </a:cubicBezTo>
                        <a:cubicBezTo>
                          <a:pt x="278" y="319"/>
                          <a:pt x="278" y="319"/>
                          <a:pt x="278" y="319"/>
                        </a:cubicBezTo>
                        <a:cubicBezTo>
                          <a:pt x="278" y="319"/>
                          <a:pt x="265" y="323"/>
                          <a:pt x="265" y="314"/>
                        </a:cubicBezTo>
                        <a:cubicBezTo>
                          <a:pt x="265" y="304"/>
                          <a:pt x="258" y="300"/>
                          <a:pt x="258" y="300"/>
                        </a:cubicBezTo>
                        <a:cubicBezTo>
                          <a:pt x="237" y="295"/>
                          <a:pt x="237" y="295"/>
                          <a:pt x="237" y="295"/>
                        </a:cubicBezTo>
                        <a:cubicBezTo>
                          <a:pt x="238" y="302"/>
                          <a:pt x="238" y="302"/>
                          <a:pt x="238" y="302"/>
                        </a:cubicBezTo>
                        <a:cubicBezTo>
                          <a:pt x="213" y="294"/>
                          <a:pt x="213" y="294"/>
                          <a:pt x="213" y="294"/>
                        </a:cubicBezTo>
                        <a:cubicBezTo>
                          <a:pt x="213" y="270"/>
                          <a:pt x="213" y="270"/>
                          <a:pt x="213" y="270"/>
                        </a:cubicBezTo>
                        <a:cubicBezTo>
                          <a:pt x="201" y="276"/>
                          <a:pt x="201" y="276"/>
                          <a:pt x="201" y="276"/>
                        </a:cubicBezTo>
                        <a:cubicBezTo>
                          <a:pt x="190" y="272"/>
                          <a:pt x="190" y="272"/>
                          <a:pt x="190" y="272"/>
                        </a:cubicBezTo>
                        <a:cubicBezTo>
                          <a:pt x="136" y="296"/>
                          <a:pt x="136" y="296"/>
                          <a:pt x="136" y="296"/>
                        </a:cubicBezTo>
                        <a:cubicBezTo>
                          <a:pt x="134" y="260"/>
                          <a:pt x="100" y="268"/>
                          <a:pt x="100" y="268"/>
                        </a:cubicBezTo>
                        <a:cubicBezTo>
                          <a:pt x="100" y="283"/>
                          <a:pt x="100" y="283"/>
                          <a:pt x="100" y="283"/>
                        </a:cubicBezTo>
                        <a:cubicBezTo>
                          <a:pt x="95" y="281"/>
                          <a:pt x="95" y="281"/>
                          <a:pt x="95" y="281"/>
                        </a:cubicBezTo>
                        <a:cubicBezTo>
                          <a:pt x="104" y="303"/>
                          <a:pt x="104" y="303"/>
                          <a:pt x="104" y="303"/>
                        </a:cubicBezTo>
                        <a:cubicBezTo>
                          <a:pt x="114" y="304"/>
                          <a:pt x="114" y="304"/>
                          <a:pt x="114" y="304"/>
                        </a:cubicBezTo>
                        <a:cubicBezTo>
                          <a:pt x="114" y="343"/>
                          <a:pt x="114" y="343"/>
                          <a:pt x="114" y="343"/>
                        </a:cubicBezTo>
                        <a:cubicBezTo>
                          <a:pt x="125" y="339"/>
                          <a:pt x="125" y="339"/>
                          <a:pt x="125" y="339"/>
                        </a:cubicBezTo>
                        <a:cubicBezTo>
                          <a:pt x="145" y="371"/>
                          <a:pt x="145" y="371"/>
                          <a:pt x="145" y="371"/>
                        </a:cubicBezTo>
                        <a:cubicBezTo>
                          <a:pt x="102" y="415"/>
                          <a:pt x="102" y="415"/>
                          <a:pt x="102" y="415"/>
                        </a:cubicBezTo>
                        <a:cubicBezTo>
                          <a:pt x="94" y="472"/>
                          <a:pt x="94" y="472"/>
                          <a:pt x="94" y="472"/>
                        </a:cubicBezTo>
                        <a:cubicBezTo>
                          <a:pt x="69" y="466"/>
                          <a:pt x="69" y="466"/>
                          <a:pt x="69" y="466"/>
                        </a:cubicBezTo>
                        <a:cubicBezTo>
                          <a:pt x="54" y="490"/>
                          <a:pt x="54" y="490"/>
                          <a:pt x="54" y="490"/>
                        </a:cubicBezTo>
                        <a:cubicBezTo>
                          <a:pt x="58" y="500"/>
                          <a:pt x="58" y="500"/>
                          <a:pt x="58" y="500"/>
                        </a:cubicBezTo>
                        <a:cubicBezTo>
                          <a:pt x="0" y="540"/>
                          <a:pt x="0" y="540"/>
                          <a:pt x="0" y="540"/>
                        </a:cubicBezTo>
                        <a:cubicBezTo>
                          <a:pt x="1" y="541"/>
                          <a:pt x="2" y="541"/>
                          <a:pt x="2" y="54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61" name="Languedoc-Roussillon" descr="© INSCALE GmbH, 05.05.2010&#10;http://www.presentationload.com/">
                    <a:extLst>
                      <a:ext uri="{FF2B5EF4-FFF2-40B4-BE49-F238E27FC236}">
                        <a16:creationId xmlns:a16="http://schemas.microsoft.com/office/drawing/2014/main" id="{844157DA-6D47-451A-8DDA-27CFDBF81801}"/>
                      </a:ext>
                    </a:extLst>
                  </p:cNvPr>
                  <p:cNvSpPr>
                    <a:spLocks/>
                  </p:cNvSpPr>
                  <p:nvPr/>
                </p:nvSpPr>
                <p:spPr bwMode="gray">
                  <a:xfrm>
                    <a:off x="1594" y="2270"/>
                    <a:ext cx="795" cy="930"/>
                  </a:xfrm>
                  <a:custGeom>
                    <a:avLst/>
                    <a:gdLst/>
                    <a:ahLst/>
                    <a:cxnLst>
                      <a:cxn ang="0">
                        <a:pos x="20" y="800"/>
                      </a:cxn>
                      <a:cxn ang="0">
                        <a:pos x="61" y="817"/>
                      </a:cxn>
                      <a:cxn ang="0">
                        <a:pos x="99" y="847"/>
                      </a:cxn>
                      <a:cxn ang="0">
                        <a:pos x="151" y="830"/>
                      </a:cxn>
                      <a:cxn ang="0">
                        <a:pos x="230" y="858"/>
                      </a:cxn>
                      <a:cxn ang="0">
                        <a:pos x="248" y="831"/>
                      </a:cxn>
                      <a:cxn ang="0">
                        <a:pos x="282" y="817"/>
                      </a:cxn>
                      <a:cxn ang="0">
                        <a:pos x="318" y="812"/>
                      </a:cxn>
                      <a:cxn ang="0">
                        <a:pos x="347" y="824"/>
                      </a:cxn>
                      <a:cxn ang="0">
                        <a:pos x="335" y="788"/>
                      </a:cxn>
                      <a:cxn ang="0">
                        <a:pos x="322" y="658"/>
                      </a:cxn>
                      <a:cxn ang="0">
                        <a:pos x="319" y="622"/>
                      </a:cxn>
                      <a:cxn ang="0">
                        <a:pos x="466" y="488"/>
                      </a:cxn>
                      <a:cxn ang="0">
                        <a:pos x="564" y="442"/>
                      </a:cxn>
                      <a:cxn ang="0">
                        <a:pos x="650" y="433"/>
                      </a:cxn>
                      <a:cxn ang="0">
                        <a:pos x="661" y="399"/>
                      </a:cxn>
                      <a:cxn ang="0">
                        <a:pos x="694" y="348"/>
                      </a:cxn>
                      <a:cxn ang="0">
                        <a:pos x="717" y="272"/>
                      </a:cxn>
                      <a:cxn ang="0">
                        <a:pos x="706" y="237"/>
                      </a:cxn>
                      <a:cxn ang="0">
                        <a:pos x="687" y="214"/>
                      </a:cxn>
                      <a:cxn ang="0">
                        <a:pos x="641" y="209"/>
                      </a:cxn>
                      <a:cxn ang="0">
                        <a:pos x="634" y="195"/>
                      </a:cxn>
                      <a:cxn ang="0">
                        <a:pos x="600" y="225"/>
                      </a:cxn>
                      <a:cxn ang="0">
                        <a:pos x="549" y="208"/>
                      </a:cxn>
                      <a:cxn ang="0">
                        <a:pos x="536" y="159"/>
                      </a:cxn>
                      <a:cxn ang="0">
                        <a:pos x="518" y="121"/>
                      </a:cxn>
                      <a:cxn ang="0">
                        <a:pos x="501" y="71"/>
                      </a:cxn>
                      <a:cxn ang="0">
                        <a:pos x="458" y="40"/>
                      </a:cxn>
                      <a:cxn ang="0">
                        <a:pos x="420" y="51"/>
                      </a:cxn>
                      <a:cxn ang="0">
                        <a:pos x="373" y="16"/>
                      </a:cxn>
                      <a:cxn ang="0">
                        <a:pos x="368" y="27"/>
                      </a:cxn>
                      <a:cxn ang="0">
                        <a:pos x="342" y="19"/>
                      </a:cxn>
                      <a:cxn ang="0">
                        <a:pos x="334" y="43"/>
                      </a:cxn>
                      <a:cxn ang="0">
                        <a:pos x="320" y="79"/>
                      </a:cxn>
                      <a:cxn ang="0">
                        <a:pos x="308" y="108"/>
                      </a:cxn>
                      <a:cxn ang="0">
                        <a:pos x="325" y="155"/>
                      </a:cxn>
                      <a:cxn ang="0">
                        <a:pos x="348" y="208"/>
                      </a:cxn>
                      <a:cxn ang="0">
                        <a:pos x="361" y="232"/>
                      </a:cxn>
                      <a:cxn ang="0">
                        <a:pos x="393" y="256"/>
                      </a:cxn>
                      <a:cxn ang="0">
                        <a:pos x="393" y="285"/>
                      </a:cxn>
                      <a:cxn ang="0">
                        <a:pos x="418" y="303"/>
                      </a:cxn>
                      <a:cxn ang="0">
                        <a:pos x="394" y="345"/>
                      </a:cxn>
                      <a:cxn ang="0">
                        <a:pos x="373" y="364"/>
                      </a:cxn>
                      <a:cxn ang="0">
                        <a:pos x="328" y="405"/>
                      </a:cxn>
                      <a:cxn ang="0">
                        <a:pos x="253" y="427"/>
                      </a:cxn>
                      <a:cxn ang="0">
                        <a:pos x="198" y="492"/>
                      </a:cxn>
                      <a:cxn ang="0">
                        <a:pos x="130" y="509"/>
                      </a:cxn>
                      <a:cxn ang="0">
                        <a:pos x="96" y="496"/>
                      </a:cxn>
                      <a:cxn ang="0">
                        <a:pos x="62" y="508"/>
                      </a:cxn>
                      <a:cxn ang="0">
                        <a:pos x="37" y="520"/>
                      </a:cxn>
                      <a:cxn ang="0">
                        <a:pos x="14" y="572"/>
                      </a:cxn>
                      <a:cxn ang="0">
                        <a:pos x="68" y="612"/>
                      </a:cxn>
                      <a:cxn ang="0">
                        <a:pos x="64" y="651"/>
                      </a:cxn>
                      <a:cxn ang="0">
                        <a:pos x="77" y="669"/>
                      </a:cxn>
                      <a:cxn ang="0">
                        <a:pos x="53" y="693"/>
                      </a:cxn>
                      <a:cxn ang="0">
                        <a:pos x="101" y="713"/>
                      </a:cxn>
                      <a:cxn ang="0">
                        <a:pos x="76" y="743"/>
                      </a:cxn>
                      <a:cxn ang="0">
                        <a:pos x="57" y="760"/>
                      </a:cxn>
                      <a:cxn ang="0">
                        <a:pos x="26" y="768"/>
                      </a:cxn>
                      <a:cxn ang="0">
                        <a:pos x="25" y="777"/>
                      </a:cxn>
                    </a:cxnLst>
                    <a:rect l="0" t="0" r="r" b="b"/>
                    <a:pathLst>
                      <a:path w="737" h="861">
                        <a:moveTo>
                          <a:pt x="25" y="777"/>
                        </a:moveTo>
                        <a:cubicBezTo>
                          <a:pt x="20" y="781"/>
                          <a:pt x="20" y="800"/>
                          <a:pt x="20" y="800"/>
                        </a:cubicBezTo>
                        <a:cubicBezTo>
                          <a:pt x="20" y="800"/>
                          <a:pt x="41" y="808"/>
                          <a:pt x="43" y="805"/>
                        </a:cubicBezTo>
                        <a:cubicBezTo>
                          <a:pt x="47" y="818"/>
                          <a:pt x="61" y="817"/>
                          <a:pt x="61" y="817"/>
                        </a:cubicBezTo>
                        <a:cubicBezTo>
                          <a:pt x="79" y="848"/>
                          <a:pt x="79" y="848"/>
                          <a:pt x="79" y="848"/>
                        </a:cubicBezTo>
                        <a:cubicBezTo>
                          <a:pt x="99" y="847"/>
                          <a:pt x="99" y="847"/>
                          <a:pt x="99" y="847"/>
                        </a:cubicBezTo>
                        <a:cubicBezTo>
                          <a:pt x="119" y="828"/>
                          <a:pt x="119" y="828"/>
                          <a:pt x="119" y="828"/>
                        </a:cubicBezTo>
                        <a:cubicBezTo>
                          <a:pt x="151" y="830"/>
                          <a:pt x="151" y="830"/>
                          <a:pt x="151" y="830"/>
                        </a:cubicBezTo>
                        <a:cubicBezTo>
                          <a:pt x="151" y="830"/>
                          <a:pt x="194" y="861"/>
                          <a:pt x="205" y="857"/>
                        </a:cubicBezTo>
                        <a:cubicBezTo>
                          <a:pt x="216" y="853"/>
                          <a:pt x="230" y="858"/>
                          <a:pt x="230" y="858"/>
                        </a:cubicBezTo>
                        <a:cubicBezTo>
                          <a:pt x="234" y="844"/>
                          <a:pt x="234" y="844"/>
                          <a:pt x="234" y="844"/>
                        </a:cubicBezTo>
                        <a:cubicBezTo>
                          <a:pt x="248" y="831"/>
                          <a:pt x="248" y="831"/>
                          <a:pt x="248" y="831"/>
                        </a:cubicBezTo>
                        <a:cubicBezTo>
                          <a:pt x="265" y="830"/>
                          <a:pt x="265" y="830"/>
                          <a:pt x="265" y="830"/>
                        </a:cubicBezTo>
                        <a:cubicBezTo>
                          <a:pt x="282" y="817"/>
                          <a:pt x="282" y="817"/>
                          <a:pt x="282" y="817"/>
                        </a:cubicBezTo>
                        <a:cubicBezTo>
                          <a:pt x="313" y="812"/>
                          <a:pt x="313" y="812"/>
                          <a:pt x="313" y="812"/>
                        </a:cubicBezTo>
                        <a:cubicBezTo>
                          <a:pt x="318" y="812"/>
                          <a:pt x="318" y="812"/>
                          <a:pt x="318" y="812"/>
                        </a:cubicBezTo>
                        <a:cubicBezTo>
                          <a:pt x="328" y="830"/>
                          <a:pt x="328" y="830"/>
                          <a:pt x="328" y="830"/>
                        </a:cubicBezTo>
                        <a:cubicBezTo>
                          <a:pt x="347" y="824"/>
                          <a:pt x="347" y="824"/>
                          <a:pt x="347" y="824"/>
                        </a:cubicBezTo>
                        <a:cubicBezTo>
                          <a:pt x="352" y="815"/>
                          <a:pt x="340" y="807"/>
                          <a:pt x="340" y="807"/>
                        </a:cubicBezTo>
                        <a:cubicBezTo>
                          <a:pt x="335" y="788"/>
                          <a:pt x="335" y="788"/>
                          <a:pt x="335" y="788"/>
                        </a:cubicBezTo>
                        <a:cubicBezTo>
                          <a:pt x="318" y="785"/>
                          <a:pt x="318" y="785"/>
                          <a:pt x="318" y="785"/>
                        </a:cubicBezTo>
                        <a:cubicBezTo>
                          <a:pt x="322" y="658"/>
                          <a:pt x="322" y="658"/>
                          <a:pt x="322" y="658"/>
                        </a:cubicBezTo>
                        <a:cubicBezTo>
                          <a:pt x="312" y="643"/>
                          <a:pt x="312" y="643"/>
                          <a:pt x="312" y="643"/>
                        </a:cubicBezTo>
                        <a:cubicBezTo>
                          <a:pt x="312" y="643"/>
                          <a:pt x="319" y="627"/>
                          <a:pt x="319" y="622"/>
                        </a:cubicBezTo>
                        <a:cubicBezTo>
                          <a:pt x="380" y="492"/>
                          <a:pt x="416" y="533"/>
                          <a:pt x="416" y="533"/>
                        </a:cubicBezTo>
                        <a:cubicBezTo>
                          <a:pt x="416" y="533"/>
                          <a:pt x="445" y="505"/>
                          <a:pt x="466" y="488"/>
                        </a:cubicBezTo>
                        <a:cubicBezTo>
                          <a:pt x="487" y="471"/>
                          <a:pt x="490" y="472"/>
                          <a:pt x="496" y="458"/>
                        </a:cubicBezTo>
                        <a:cubicBezTo>
                          <a:pt x="559" y="418"/>
                          <a:pt x="561" y="439"/>
                          <a:pt x="564" y="442"/>
                        </a:cubicBezTo>
                        <a:cubicBezTo>
                          <a:pt x="546" y="458"/>
                          <a:pt x="582" y="469"/>
                          <a:pt x="592" y="473"/>
                        </a:cubicBezTo>
                        <a:cubicBezTo>
                          <a:pt x="650" y="433"/>
                          <a:pt x="650" y="433"/>
                          <a:pt x="650" y="433"/>
                        </a:cubicBezTo>
                        <a:cubicBezTo>
                          <a:pt x="646" y="423"/>
                          <a:pt x="646" y="423"/>
                          <a:pt x="646" y="423"/>
                        </a:cubicBezTo>
                        <a:cubicBezTo>
                          <a:pt x="661" y="399"/>
                          <a:pt x="661" y="399"/>
                          <a:pt x="661" y="399"/>
                        </a:cubicBezTo>
                        <a:cubicBezTo>
                          <a:pt x="686" y="405"/>
                          <a:pt x="686" y="405"/>
                          <a:pt x="686" y="405"/>
                        </a:cubicBezTo>
                        <a:cubicBezTo>
                          <a:pt x="694" y="348"/>
                          <a:pt x="694" y="348"/>
                          <a:pt x="694" y="348"/>
                        </a:cubicBezTo>
                        <a:cubicBezTo>
                          <a:pt x="737" y="304"/>
                          <a:pt x="737" y="304"/>
                          <a:pt x="737" y="304"/>
                        </a:cubicBezTo>
                        <a:cubicBezTo>
                          <a:pt x="717" y="272"/>
                          <a:pt x="717" y="272"/>
                          <a:pt x="717" y="272"/>
                        </a:cubicBezTo>
                        <a:cubicBezTo>
                          <a:pt x="706" y="276"/>
                          <a:pt x="706" y="276"/>
                          <a:pt x="706" y="276"/>
                        </a:cubicBezTo>
                        <a:cubicBezTo>
                          <a:pt x="706" y="237"/>
                          <a:pt x="706" y="237"/>
                          <a:pt x="706" y="237"/>
                        </a:cubicBezTo>
                        <a:cubicBezTo>
                          <a:pt x="696" y="236"/>
                          <a:pt x="696" y="236"/>
                          <a:pt x="696" y="236"/>
                        </a:cubicBezTo>
                        <a:cubicBezTo>
                          <a:pt x="687" y="214"/>
                          <a:pt x="687" y="214"/>
                          <a:pt x="687" y="214"/>
                        </a:cubicBezTo>
                        <a:cubicBezTo>
                          <a:pt x="649" y="197"/>
                          <a:pt x="649" y="197"/>
                          <a:pt x="649" y="197"/>
                        </a:cubicBezTo>
                        <a:cubicBezTo>
                          <a:pt x="641" y="209"/>
                          <a:pt x="641" y="209"/>
                          <a:pt x="641" y="209"/>
                        </a:cubicBezTo>
                        <a:cubicBezTo>
                          <a:pt x="634" y="209"/>
                          <a:pt x="634" y="209"/>
                          <a:pt x="634" y="209"/>
                        </a:cubicBezTo>
                        <a:cubicBezTo>
                          <a:pt x="634" y="195"/>
                          <a:pt x="634" y="195"/>
                          <a:pt x="634" y="195"/>
                        </a:cubicBezTo>
                        <a:cubicBezTo>
                          <a:pt x="620" y="195"/>
                          <a:pt x="620" y="195"/>
                          <a:pt x="620" y="195"/>
                        </a:cubicBezTo>
                        <a:cubicBezTo>
                          <a:pt x="600" y="225"/>
                          <a:pt x="600" y="225"/>
                          <a:pt x="600" y="225"/>
                        </a:cubicBezTo>
                        <a:cubicBezTo>
                          <a:pt x="568" y="197"/>
                          <a:pt x="568" y="197"/>
                          <a:pt x="568" y="197"/>
                        </a:cubicBezTo>
                        <a:cubicBezTo>
                          <a:pt x="549" y="208"/>
                          <a:pt x="549" y="208"/>
                          <a:pt x="549" y="208"/>
                        </a:cubicBezTo>
                        <a:cubicBezTo>
                          <a:pt x="556" y="177"/>
                          <a:pt x="556" y="177"/>
                          <a:pt x="556" y="177"/>
                        </a:cubicBezTo>
                        <a:cubicBezTo>
                          <a:pt x="536" y="159"/>
                          <a:pt x="536" y="159"/>
                          <a:pt x="536" y="159"/>
                        </a:cubicBezTo>
                        <a:cubicBezTo>
                          <a:pt x="532" y="128"/>
                          <a:pt x="532" y="128"/>
                          <a:pt x="532" y="128"/>
                        </a:cubicBezTo>
                        <a:cubicBezTo>
                          <a:pt x="518" y="121"/>
                          <a:pt x="518" y="121"/>
                          <a:pt x="518" y="121"/>
                        </a:cubicBezTo>
                        <a:cubicBezTo>
                          <a:pt x="505" y="69"/>
                          <a:pt x="505" y="69"/>
                          <a:pt x="505" y="69"/>
                        </a:cubicBezTo>
                        <a:cubicBezTo>
                          <a:pt x="501" y="71"/>
                          <a:pt x="501" y="71"/>
                          <a:pt x="501" y="71"/>
                        </a:cubicBezTo>
                        <a:cubicBezTo>
                          <a:pt x="480" y="45"/>
                          <a:pt x="480" y="45"/>
                          <a:pt x="480" y="45"/>
                        </a:cubicBezTo>
                        <a:cubicBezTo>
                          <a:pt x="458" y="40"/>
                          <a:pt x="458" y="40"/>
                          <a:pt x="458" y="40"/>
                        </a:cubicBezTo>
                        <a:cubicBezTo>
                          <a:pt x="458" y="40"/>
                          <a:pt x="448" y="16"/>
                          <a:pt x="444" y="43"/>
                        </a:cubicBezTo>
                        <a:cubicBezTo>
                          <a:pt x="420" y="51"/>
                          <a:pt x="420" y="51"/>
                          <a:pt x="420" y="51"/>
                        </a:cubicBezTo>
                        <a:cubicBezTo>
                          <a:pt x="402" y="0"/>
                          <a:pt x="402" y="0"/>
                          <a:pt x="402" y="0"/>
                        </a:cubicBezTo>
                        <a:cubicBezTo>
                          <a:pt x="402" y="0"/>
                          <a:pt x="384" y="7"/>
                          <a:pt x="373" y="16"/>
                        </a:cubicBezTo>
                        <a:cubicBezTo>
                          <a:pt x="371" y="18"/>
                          <a:pt x="369" y="19"/>
                          <a:pt x="368" y="19"/>
                        </a:cubicBezTo>
                        <a:cubicBezTo>
                          <a:pt x="368" y="27"/>
                          <a:pt x="368" y="27"/>
                          <a:pt x="368" y="27"/>
                        </a:cubicBezTo>
                        <a:cubicBezTo>
                          <a:pt x="350" y="32"/>
                          <a:pt x="350" y="32"/>
                          <a:pt x="350" y="32"/>
                        </a:cubicBezTo>
                        <a:cubicBezTo>
                          <a:pt x="342" y="19"/>
                          <a:pt x="342" y="19"/>
                          <a:pt x="342" y="19"/>
                        </a:cubicBezTo>
                        <a:cubicBezTo>
                          <a:pt x="333" y="23"/>
                          <a:pt x="333" y="23"/>
                          <a:pt x="333" y="23"/>
                        </a:cubicBezTo>
                        <a:cubicBezTo>
                          <a:pt x="334" y="43"/>
                          <a:pt x="334" y="43"/>
                          <a:pt x="334" y="43"/>
                        </a:cubicBezTo>
                        <a:cubicBezTo>
                          <a:pt x="326" y="52"/>
                          <a:pt x="326" y="52"/>
                          <a:pt x="326" y="52"/>
                        </a:cubicBezTo>
                        <a:cubicBezTo>
                          <a:pt x="320" y="79"/>
                          <a:pt x="320" y="79"/>
                          <a:pt x="320" y="79"/>
                        </a:cubicBezTo>
                        <a:cubicBezTo>
                          <a:pt x="308" y="99"/>
                          <a:pt x="308" y="99"/>
                          <a:pt x="308" y="99"/>
                        </a:cubicBezTo>
                        <a:cubicBezTo>
                          <a:pt x="308" y="108"/>
                          <a:pt x="308" y="108"/>
                          <a:pt x="308" y="108"/>
                        </a:cubicBezTo>
                        <a:cubicBezTo>
                          <a:pt x="329" y="123"/>
                          <a:pt x="329" y="123"/>
                          <a:pt x="329" y="123"/>
                        </a:cubicBezTo>
                        <a:cubicBezTo>
                          <a:pt x="325" y="155"/>
                          <a:pt x="325" y="155"/>
                          <a:pt x="325" y="155"/>
                        </a:cubicBezTo>
                        <a:cubicBezTo>
                          <a:pt x="346" y="168"/>
                          <a:pt x="346" y="168"/>
                          <a:pt x="346" y="168"/>
                        </a:cubicBezTo>
                        <a:cubicBezTo>
                          <a:pt x="348" y="208"/>
                          <a:pt x="348" y="208"/>
                          <a:pt x="348" y="208"/>
                        </a:cubicBezTo>
                        <a:cubicBezTo>
                          <a:pt x="338" y="224"/>
                          <a:pt x="338" y="224"/>
                          <a:pt x="338" y="224"/>
                        </a:cubicBezTo>
                        <a:cubicBezTo>
                          <a:pt x="361" y="232"/>
                          <a:pt x="361" y="232"/>
                          <a:pt x="361" y="232"/>
                        </a:cubicBezTo>
                        <a:cubicBezTo>
                          <a:pt x="357" y="244"/>
                          <a:pt x="357" y="244"/>
                          <a:pt x="357" y="244"/>
                        </a:cubicBezTo>
                        <a:cubicBezTo>
                          <a:pt x="357" y="244"/>
                          <a:pt x="398" y="251"/>
                          <a:pt x="393" y="256"/>
                        </a:cubicBezTo>
                        <a:cubicBezTo>
                          <a:pt x="388" y="261"/>
                          <a:pt x="373" y="279"/>
                          <a:pt x="373" y="279"/>
                        </a:cubicBezTo>
                        <a:cubicBezTo>
                          <a:pt x="393" y="285"/>
                          <a:pt x="393" y="285"/>
                          <a:pt x="393" y="285"/>
                        </a:cubicBezTo>
                        <a:cubicBezTo>
                          <a:pt x="405" y="295"/>
                          <a:pt x="405" y="295"/>
                          <a:pt x="405" y="295"/>
                        </a:cubicBezTo>
                        <a:cubicBezTo>
                          <a:pt x="418" y="303"/>
                          <a:pt x="418" y="303"/>
                          <a:pt x="418" y="303"/>
                        </a:cubicBezTo>
                        <a:cubicBezTo>
                          <a:pt x="397" y="328"/>
                          <a:pt x="397" y="328"/>
                          <a:pt x="397" y="328"/>
                        </a:cubicBezTo>
                        <a:cubicBezTo>
                          <a:pt x="394" y="345"/>
                          <a:pt x="394" y="345"/>
                          <a:pt x="394" y="345"/>
                        </a:cubicBezTo>
                        <a:cubicBezTo>
                          <a:pt x="373" y="347"/>
                          <a:pt x="373" y="347"/>
                          <a:pt x="373" y="347"/>
                        </a:cubicBezTo>
                        <a:cubicBezTo>
                          <a:pt x="373" y="364"/>
                          <a:pt x="373" y="364"/>
                          <a:pt x="373" y="364"/>
                        </a:cubicBezTo>
                        <a:cubicBezTo>
                          <a:pt x="329" y="365"/>
                          <a:pt x="329" y="365"/>
                          <a:pt x="329" y="365"/>
                        </a:cubicBezTo>
                        <a:cubicBezTo>
                          <a:pt x="328" y="405"/>
                          <a:pt x="328" y="405"/>
                          <a:pt x="328" y="405"/>
                        </a:cubicBezTo>
                        <a:cubicBezTo>
                          <a:pt x="328" y="405"/>
                          <a:pt x="306" y="399"/>
                          <a:pt x="297" y="417"/>
                        </a:cubicBezTo>
                        <a:cubicBezTo>
                          <a:pt x="276" y="427"/>
                          <a:pt x="253" y="427"/>
                          <a:pt x="253" y="427"/>
                        </a:cubicBezTo>
                        <a:cubicBezTo>
                          <a:pt x="253" y="427"/>
                          <a:pt x="202" y="425"/>
                          <a:pt x="241" y="464"/>
                        </a:cubicBezTo>
                        <a:cubicBezTo>
                          <a:pt x="232" y="469"/>
                          <a:pt x="232" y="497"/>
                          <a:pt x="198" y="492"/>
                        </a:cubicBezTo>
                        <a:cubicBezTo>
                          <a:pt x="165" y="487"/>
                          <a:pt x="173" y="499"/>
                          <a:pt x="173" y="499"/>
                        </a:cubicBezTo>
                        <a:cubicBezTo>
                          <a:pt x="173" y="499"/>
                          <a:pt x="130" y="476"/>
                          <a:pt x="130" y="509"/>
                        </a:cubicBezTo>
                        <a:cubicBezTo>
                          <a:pt x="130" y="509"/>
                          <a:pt x="108" y="504"/>
                          <a:pt x="102" y="505"/>
                        </a:cubicBezTo>
                        <a:cubicBezTo>
                          <a:pt x="97" y="507"/>
                          <a:pt x="96" y="496"/>
                          <a:pt x="96" y="496"/>
                        </a:cubicBezTo>
                        <a:cubicBezTo>
                          <a:pt x="68" y="495"/>
                          <a:pt x="68" y="495"/>
                          <a:pt x="68" y="495"/>
                        </a:cubicBezTo>
                        <a:cubicBezTo>
                          <a:pt x="62" y="508"/>
                          <a:pt x="62" y="508"/>
                          <a:pt x="62" y="508"/>
                        </a:cubicBezTo>
                        <a:cubicBezTo>
                          <a:pt x="49" y="487"/>
                          <a:pt x="49" y="487"/>
                          <a:pt x="49" y="487"/>
                        </a:cubicBezTo>
                        <a:cubicBezTo>
                          <a:pt x="49" y="487"/>
                          <a:pt x="37" y="495"/>
                          <a:pt x="37" y="520"/>
                        </a:cubicBezTo>
                        <a:cubicBezTo>
                          <a:pt x="34" y="525"/>
                          <a:pt x="0" y="531"/>
                          <a:pt x="18" y="553"/>
                        </a:cubicBezTo>
                        <a:cubicBezTo>
                          <a:pt x="12" y="553"/>
                          <a:pt x="14" y="572"/>
                          <a:pt x="14" y="572"/>
                        </a:cubicBezTo>
                        <a:cubicBezTo>
                          <a:pt x="64" y="591"/>
                          <a:pt x="64" y="591"/>
                          <a:pt x="64" y="591"/>
                        </a:cubicBezTo>
                        <a:cubicBezTo>
                          <a:pt x="64" y="591"/>
                          <a:pt x="73" y="607"/>
                          <a:pt x="68" y="612"/>
                        </a:cubicBezTo>
                        <a:cubicBezTo>
                          <a:pt x="62" y="617"/>
                          <a:pt x="78" y="644"/>
                          <a:pt x="78" y="644"/>
                        </a:cubicBezTo>
                        <a:cubicBezTo>
                          <a:pt x="64" y="651"/>
                          <a:pt x="64" y="651"/>
                          <a:pt x="64" y="651"/>
                        </a:cubicBezTo>
                        <a:cubicBezTo>
                          <a:pt x="80" y="655"/>
                          <a:pt x="80" y="655"/>
                          <a:pt x="80" y="655"/>
                        </a:cubicBezTo>
                        <a:cubicBezTo>
                          <a:pt x="80" y="655"/>
                          <a:pt x="77" y="665"/>
                          <a:pt x="77" y="669"/>
                        </a:cubicBezTo>
                        <a:cubicBezTo>
                          <a:pt x="77" y="673"/>
                          <a:pt x="54" y="679"/>
                          <a:pt x="54" y="679"/>
                        </a:cubicBezTo>
                        <a:cubicBezTo>
                          <a:pt x="53" y="693"/>
                          <a:pt x="53" y="693"/>
                          <a:pt x="53" y="693"/>
                        </a:cubicBezTo>
                        <a:cubicBezTo>
                          <a:pt x="62" y="697"/>
                          <a:pt x="62" y="697"/>
                          <a:pt x="62" y="697"/>
                        </a:cubicBezTo>
                        <a:cubicBezTo>
                          <a:pt x="62" y="697"/>
                          <a:pt x="48" y="717"/>
                          <a:pt x="101" y="713"/>
                        </a:cubicBezTo>
                        <a:cubicBezTo>
                          <a:pt x="122" y="735"/>
                          <a:pt x="120" y="741"/>
                          <a:pt x="120" y="741"/>
                        </a:cubicBezTo>
                        <a:cubicBezTo>
                          <a:pt x="76" y="743"/>
                          <a:pt x="76" y="743"/>
                          <a:pt x="76" y="743"/>
                        </a:cubicBezTo>
                        <a:cubicBezTo>
                          <a:pt x="78" y="755"/>
                          <a:pt x="78" y="755"/>
                          <a:pt x="78" y="755"/>
                        </a:cubicBezTo>
                        <a:cubicBezTo>
                          <a:pt x="57" y="760"/>
                          <a:pt x="57" y="760"/>
                          <a:pt x="57" y="760"/>
                        </a:cubicBezTo>
                        <a:cubicBezTo>
                          <a:pt x="50" y="769"/>
                          <a:pt x="50" y="769"/>
                          <a:pt x="50" y="769"/>
                        </a:cubicBezTo>
                        <a:cubicBezTo>
                          <a:pt x="26" y="768"/>
                          <a:pt x="26" y="768"/>
                          <a:pt x="26" y="768"/>
                        </a:cubicBezTo>
                        <a:cubicBezTo>
                          <a:pt x="25" y="771"/>
                          <a:pt x="25" y="771"/>
                          <a:pt x="25" y="771"/>
                        </a:cubicBezTo>
                        <a:cubicBezTo>
                          <a:pt x="26" y="774"/>
                          <a:pt x="26" y="776"/>
                          <a:pt x="25" y="7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62" name="Midi-Pyrénnées" descr="© INSCALE GmbH, 05.05.2010&#10;http://www.presentationload.com/">
                    <a:extLst>
                      <a:ext uri="{FF2B5EF4-FFF2-40B4-BE49-F238E27FC236}">
                        <a16:creationId xmlns:a16="http://schemas.microsoft.com/office/drawing/2014/main" id="{9CEF7C57-1EF0-43D2-B487-3BB2BE247BE8}"/>
                      </a:ext>
                    </a:extLst>
                  </p:cNvPr>
                  <p:cNvSpPr>
                    <a:spLocks/>
                  </p:cNvSpPr>
                  <p:nvPr/>
                </p:nvSpPr>
                <p:spPr bwMode="gray">
                  <a:xfrm>
                    <a:off x="1092" y="2246"/>
                    <a:ext cx="953" cy="857"/>
                  </a:xfrm>
                  <a:custGeom>
                    <a:avLst/>
                    <a:gdLst/>
                    <a:ahLst/>
                    <a:cxnLst>
                      <a:cxn ang="0">
                        <a:pos x="839" y="302"/>
                      </a:cxn>
                      <a:cxn ang="0">
                        <a:pos x="827" y="255"/>
                      </a:cxn>
                      <a:cxn ang="0">
                        <a:pos x="812" y="191"/>
                      </a:cxn>
                      <a:cxn ang="0">
                        <a:pos x="774" y="131"/>
                      </a:cxn>
                      <a:cxn ang="0">
                        <a:pos x="763" y="86"/>
                      </a:cxn>
                      <a:cxn ang="0">
                        <a:pos x="727" y="55"/>
                      </a:cxn>
                      <a:cxn ang="0">
                        <a:pos x="690" y="56"/>
                      </a:cxn>
                      <a:cxn ang="0">
                        <a:pos x="679" y="104"/>
                      </a:cxn>
                      <a:cxn ang="0">
                        <a:pos x="628" y="128"/>
                      </a:cxn>
                      <a:cxn ang="0">
                        <a:pos x="599" y="136"/>
                      </a:cxn>
                      <a:cxn ang="0">
                        <a:pos x="583" y="108"/>
                      </a:cxn>
                      <a:cxn ang="0">
                        <a:pos x="571" y="17"/>
                      </a:cxn>
                      <a:cxn ang="0">
                        <a:pos x="535" y="27"/>
                      </a:cxn>
                      <a:cxn ang="0">
                        <a:pos x="467" y="4"/>
                      </a:cxn>
                      <a:cxn ang="0">
                        <a:pos x="420" y="8"/>
                      </a:cxn>
                      <a:cxn ang="0">
                        <a:pos x="424" y="54"/>
                      </a:cxn>
                      <a:cxn ang="0">
                        <a:pos x="390" y="75"/>
                      </a:cxn>
                      <a:cxn ang="0">
                        <a:pos x="363" y="118"/>
                      </a:cxn>
                      <a:cxn ang="0">
                        <a:pos x="327" y="190"/>
                      </a:cxn>
                      <a:cxn ang="0">
                        <a:pos x="291" y="234"/>
                      </a:cxn>
                      <a:cxn ang="0">
                        <a:pos x="296" y="287"/>
                      </a:cxn>
                      <a:cxn ang="0">
                        <a:pos x="227" y="306"/>
                      </a:cxn>
                      <a:cxn ang="0">
                        <a:pos x="140" y="319"/>
                      </a:cxn>
                      <a:cxn ang="0">
                        <a:pos x="104" y="343"/>
                      </a:cxn>
                      <a:cxn ang="0">
                        <a:pos x="83" y="335"/>
                      </a:cxn>
                      <a:cxn ang="0">
                        <a:pos x="42" y="390"/>
                      </a:cxn>
                      <a:cxn ang="0">
                        <a:pos x="30" y="423"/>
                      </a:cxn>
                      <a:cxn ang="0">
                        <a:pos x="34" y="458"/>
                      </a:cxn>
                      <a:cxn ang="0">
                        <a:pos x="72" y="498"/>
                      </a:cxn>
                      <a:cxn ang="0">
                        <a:pos x="90" y="538"/>
                      </a:cxn>
                      <a:cxn ang="0">
                        <a:pos x="67" y="578"/>
                      </a:cxn>
                      <a:cxn ang="0">
                        <a:pos x="38" y="614"/>
                      </a:cxn>
                      <a:cxn ang="0">
                        <a:pos x="0" y="699"/>
                      </a:cxn>
                      <a:cxn ang="0">
                        <a:pos x="53" y="712"/>
                      </a:cxn>
                      <a:cxn ang="0">
                        <a:pos x="129" y="735"/>
                      </a:cxn>
                      <a:cxn ang="0">
                        <a:pos x="245" y="753"/>
                      </a:cxn>
                      <a:cxn ang="0">
                        <a:pos x="321" y="721"/>
                      </a:cxn>
                      <a:cxn ang="0">
                        <a:pos x="467" y="782"/>
                      </a:cxn>
                      <a:cxn ang="0">
                        <a:pos x="492" y="791"/>
                      </a:cxn>
                      <a:cxn ang="0">
                        <a:pos x="544" y="778"/>
                      </a:cxn>
                      <a:cxn ang="0">
                        <a:pos x="567" y="736"/>
                      </a:cxn>
                      <a:cxn ang="0">
                        <a:pos x="520" y="702"/>
                      </a:cxn>
                      <a:cxn ang="0">
                        <a:pos x="530" y="674"/>
                      </a:cxn>
                      <a:cxn ang="0">
                        <a:pos x="530" y="614"/>
                      </a:cxn>
                      <a:cxn ang="0">
                        <a:pos x="503" y="543"/>
                      </a:cxn>
                      <a:cxn ang="0">
                        <a:pos x="534" y="518"/>
                      </a:cxn>
                      <a:cxn ang="0">
                        <a:pos x="596" y="532"/>
                      </a:cxn>
                      <a:cxn ang="0">
                        <a:pos x="707" y="487"/>
                      </a:cxn>
                      <a:cxn ang="0">
                        <a:pos x="794" y="428"/>
                      </a:cxn>
                      <a:cxn ang="0">
                        <a:pos x="839" y="370"/>
                      </a:cxn>
                      <a:cxn ang="0">
                        <a:pos x="884" y="326"/>
                      </a:cxn>
                    </a:cxnLst>
                    <a:rect l="0" t="0" r="r" b="b"/>
                    <a:pathLst>
                      <a:path w="884" h="794">
                        <a:moveTo>
                          <a:pt x="871" y="318"/>
                        </a:moveTo>
                        <a:cubicBezTo>
                          <a:pt x="859" y="308"/>
                          <a:pt x="859" y="308"/>
                          <a:pt x="859" y="308"/>
                        </a:cubicBezTo>
                        <a:cubicBezTo>
                          <a:pt x="839" y="302"/>
                          <a:pt x="839" y="302"/>
                          <a:pt x="839" y="302"/>
                        </a:cubicBezTo>
                        <a:cubicBezTo>
                          <a:pt x="839" y="302"/>
                          <a:pt x="854" y="284"/>
                          <a:pt x="859" y="279"/>
                        </a:cubicBezTo>
                        <a:cubicBezTo>
                          <a:pt x="864" y="274"/>
                          <a:pt x="823" y="267"/>
                          <a:pt x="823" y="267"/>
                        </a:cubicBezTo>
                        <a:cubicBezTo>
                          <a:pt x="827" y="255"/>
                          <a:pt x="827" y="255"/>
                          <a:pt x="827" y="255"/>
                        </a:cubicBezTo>
                        <a:cubicBezTo>
                          <a:pt x="804" y="247"/>
                          <a:pt x="804" y="247"/>
                          <a:pt x="804" y="247"/>
                        </a:cubicBezTo>
                        <a:cubicBezTo>
                          <a:pt x="814" y="231"/>
                          <a:pt x="814" y="231"/>
                          <a:pt x="814" y="231"/>
                        </a:cubicBezTo>
                        <a:cubicBezTo>
                          <a:pt x="812" y="191"/>
                          <a:pt x="812" y="191"/>
                          <a:pt x="812" y="191"/>
                        </a:cubicBezTo>
                        <a:cubicBezTo>
                          <a:pt x="791" y="178"/>
                          <a:pt x="791" y="178"/>
                          <a:pt x="791" y="178"/>
                        </a:cubicBezTo>
                        <a:cubicBezTo>
                          <a:pt x="795" y="146"/>
                          <a:pt x="795" y="146"/>
                          <a:pt x="795" y="146"/>
                        </a:cubicBezTo>
                        <a:cubicBezTo>
                          <a:pt x="774" y="131"/>
                          <a:pt x="774" y="131"/>
                          <a:pt x="774" y="131"/>
                        </a:cubicBezTo>
                        <a:cubicBezTo>
                          <a:pt x="774" y="122"/>
                          <a:pt x="774" y="122"/>
                          <a:pt x="774" y="122"/>
                        </a:cubicBezTo>
                        <a:cubicBezTo>
                          <a:pt x="772" y="126"/>
                          <a:pt x="772" y="126"/>
                          <a:pt x="772" y="126"/>
                        </a:cubicBezTo>
                        <a:cubicBezTo>
                          <a:pt x="763" y="86"/>
                          <a:pt x="763" y="86"/>
                          <a:pt x="763" y="86"/>
                        </a:cubicBezTo>
                        <a:cubicBezTo>
                          <a:pt x="754" y="75"/>
                          <a:pt x="754" y="75"/>
                          <a:pt x="754" y="75"/>
                        </a:cubicBezTo>
                        <a:cubicBezTo>
                          <a:pt x="754" y="75"/>
                          <a:pt x="740" y="45"/>
                          <a:pt x="729" y="53"/>
                        </a:cubicBezTo>
                        <a:cubicBezTo>
                          <a:pt x="729" y="55"/>
                          <a:pt x="728" y="56"/>
                          <a:pt x="727" y="55"/>
                        </a:cubicBezTo>
                        <a:cubicBezTo>
                          <a:pt x="728" y="54"/>
                          <a:pt x="728" y="54"/>
                          <a:pt x="729" y="53"/>
                        </a:cubicBezTo>
                        <a:cubicBezTo>
                          <a:pt x="731" y="46"/>
                          <a:pt x="725" y="18"/>
                          <a:pt x="699" y="55"/>
                        </a:cubicBezTo>
                        <a:cubicBezTo>
                          <a:pt x="690" y="63"/>
                          <a:pt x="690" y="56"/>
                          <a:pt x="690" y="56"/>
                        </a:cubicBezTo>
                        <a:cubicBezTo>
                          <a:pt x="688" y="78"/>
                          <a:pt x="688" y="78"/>
                          <a:pt x="688" y="78"/>
                        </a:cubicBezTo>
                        <a:cubicBezTo>
                          <a:pt x="680" y="84"/>
                          <a:pt x="680" y="84"/>
                          <a:pt x="680" y="84"/>
                        </a:cubicBezTo>
                        <a:cubicBezTo>
                          <a:pt x="679" y="104"/>
                          <a:pt x="679" y="104"/>
                          <a:pt x="679" y="104"/>
                        </a:cubicBezTo>
                        <a:cubicBezTo>
                          <a:pt x="666" y="114"/>
                          <a:pt x="666" y="114"/>
                          <a:pt x="666" y="114"/>
                        </a:cubicBezTo>
                        <a:cubicBezTo>
                          <a:pt x="662" y="126"/>
                          <a:pt x="662" y="126"/>
                          <a:pt x="662" y="126"/>
                        </a:cubicBezTo>
                        <a:cubicBezTo>
                          <a:pt x="628" y="128"/>
                          <a:pt x="628" y="128"/>
                          <a:pt x="628" y="128"/>
                        </a:cubicBezTo>
                        <a:cubicBezTo>
                          <a:pt x="627" y="123"/>
                          <a:pt x="627" y="123"/>
                          <a:pt x="627" y="123"/>
                        </a:cubicBezTo>
                        <a:cubicBezTo>
                          <a:pt x="598" y="124"/>
                          <a:pt x="598" y="124"/>
                          <a:pt x="598" y="124"/>
                        </a:cubicBezTo>
                        <a:cubicBezTo>
                          <a:pt x="599" y="136"/>
                          <a:pt x="599" y="136"/>
                          <a:pt x="599" y="136"/>
                        </a:cubicBezTo>
                        <a:cubicBezTo>
                          <a:pt x="594" y="130"/>
                          <a:pt x="594" y="130"/>
                          <a:pt x="594" y="130"/>
                        </a:cubicBezTo>
                        <a:cubicBezTo>
                          <a:pt x="592" y="114"/>
                          <a:pt x="592" y="114"/>
                          <a:pt x="592" y="114"/>
                        </a:cubicBezTo>
                        <a:cubicBezTo>
                          <a:pt x="583" y="108"/>
                          <a:pt x="583" y="108"/>
                          <a:pt x="583" y="108"/>
                        </a:cubicBezTo>
                        <a:cubicBezTo>
                          <a:pt x="588" y="74"/>
                          <a:pt x="588" y="74"/>
                          <a:pt x="588" y="74"/>
                        </a:cubicBezTo>
                        <a:cubicBezTo>
                          <a:pt x="572" y="47"/>
                          <a:pt x="572" y="47"/>
                          <a:pt x="572" y="47"/>
                        </a:cubicBezTo>
                        <a:cubicBezTo>
                          <a:pt x="572" y="47"/>
                          <a:pt x="574" y="30"/>
                          <a:pt x="571" y="17"/>
                        </a:cubicBezTo>
                        <a:cubicBezTo>
                          <a:pt x="569" y="19"/>
                          <a:pt x="568" y="20"/>
                          <a:pt x="568" y="20"/>
                        </a:cubicBezTo>
                        <a:cubicBezTo>
                          <a:pt x="547" y="22"/>
                          <a:pt x="547" y="22"/>
                          <a:pt x="547" y="22"/>
                        </a:cubicBezTo>
                        <a:cubicBezTo>
                          <a:pt x="535" y="27"/>
                          <a:pt x="535" y="27"/>
                          <a:pt x="535" y="27"/>
                        </a:cubicBezTo>
                        <a:cubicBezTo>
                          <a:pt x="532" y="20"/>
                          <a:pt x="532" y="20"/>
                          <a:pt x="532" y="20"/>
                        </a:cubicBezTo>
                        <a:cubicBezTo>
                          <a:pt x="532" y="20"/>
                          <a:pt x="518" y="43"/>
                          <a:pt x="507" y="39"/>
                        </a:cubicBezTo>
                        <a:cubicBezTo>
                          <a:pt x="496" y="35"/>
                          <a:pt x="467" y="4"/>
                          <a:pt x="467" y="4"/>
                        </a:cubicBezTo>
                        <a:cubicBezTo>
                          <a:pt x="467" y="4"/>
                          <a:pt x="435" y="0"/>
                          <a:pt x="424" y="7"/>
                        </a:cubicBezTo>
                        <a:cubicBezTo>
                          <a:pt x="423" y="4"/>
                          <a:pt x="423" y="4"/>
                          <a:pt x="423" y="4"/>
                        </a:cubicBezTo>
                        <a:cubicBezTo>
                          <a:pt x="420" y="8"/>
                          <a:pt x="420" y="8"/>
                          <a:pt x="420" y="8"/>
                        </a:cubicBezTo>
                        <a:cubicBezTo>
                          <a:pt x="426" y="39"/>
                          <a:pt x="426" y="39"/>
                          <a:pt x="426" y="39"/>
                        </a:cubicBezTo>
                        <a:cubicBezTo>
                          <a:pt x="419" y="44"/>
                          <a:pt x="419" y="44"/>
                          <a:pt x="419" y="44"/>
                        </a:cubicBezTo>
                        <a:cubicBezTo>
                          <a:pt x="424" y="54"/>
                          <a:pt x="424" y="54"/>
                          <a:pt x="424" y="54"/>
                        </a:cubicBezTo>
                        <a:cubicBezTo>
                          <a:pt x="407" y="60"/>
                          <a:pt x="407" y="60"/>
                          <a:pt x="407" y="60"/>
                        </a:cubicBezTo>
                        <a:cubicBezTo>
                          <a:pt x="406" y="74"/>
                          <a:pt x="406" y="74"/>
                          <a:pt x="406" y="74"/>
                        </a:cubicBezTo>
                        <a:cubicBezTo>
                          <a:pt x="390" y="75"/>
                          <a:pt x="390" y="75"/>
                          <a:pt x="390" y="75"/>
                        </a:cubicBezTo>
                        <a:cubicBezTo>
                          <a:pt x="398" y="92"/>
                          <a:pt x="398" y="92"/>
                          <a:pt x="398" y="92"/>
                        </a:cubicBezTo>
                        <a:cubicBezTo>
                          <a:pt x="384" y="112"/>
                          <a:pt x="384" y="112"/>
                          <a:pt x="384" y="112"/>
                        </a:cubicBezTo>
                        <a:cubicBezTo>
                          <a:pt x="363" y="118"/>
                          <a:pt x="363" y="118"/>
                          <a:pt x="363" y="118"/>
                        </a:cubicBezTo>
                        <a:cubicBezTo>
                          <a:pt x="344" y="147"/>
                          <a:pt x="344" y="147"/>
                          <a:pt x="344" y="147"/>
                        </a:cubicBezTo>
                        <a:cubicBezTo>
                          <a:pt x="316" y="156"/>
                          <a:pt x="316" y="156"/>
                          <a:pt x="316" y="156"/>
                        </a:cubicBezTo>
                        <a:cubicBezTo>
                          <a:pt x="316" y="156"/>
                          <a:pt x="327" y="186"/>
                          <a:pt x="327" y="190"/>
                        </a:cubicBezTo>
                        <a:cubicBezTo>
                          <a:pt x="327" y="194"/>
                          <a:pt x="334" y="198"/>
                          <a:pt x="334" y="198"/>
                        </a:cubicBezTo>
                        <a:cubicBezTo>
                          <a:pt x="334" y="198"/>
                          <a:pt x="331" y="223"/>
                          <a:pt x="312" y="216"/>
                        </a:cubicBezTo>
                        <a:cubicBezTo>
                          <a:pt x="294" y="210"/>
                          <a:pt x="291" y="234"/>
                          <a:pt x="291" y="234"/>
                        </a:cubicBezTo>
                        <a:cubicBezTo>
                          <a:pt x="308" y="246"/>
                          <a:pt x="308" y="246"/>
                          <a:pt x="308" y="246"/>
                        </a:cubicBezTo>
                        <a:cubicBezTo>
                          <a:pt x="291" y="270"/>
                          <a:pt x="291" y="270"/>
                          <a:pt x="291" y="270"/>
                        </a:cubicBezTo>
                        <a:cubicBezTo>
                          <a:pt x="296" y="287"/>
                          <a:pt x="296" y="287"/>
                          <a:pt x="296" y="287"/>
                        </a:cubicBezTo>
                        <a:cubicBezTo>
                          <a:pt x="274" y="286"/>
                          <a:pt x="274" y="286"/>
                          <a:pt x="274" y="286"/>
                        </a:cubicBezTo>
                        <a:cubicBezTo>
                          <a:pt x="274" y="286"/>
                          <a:pt x="262" y="322"/>
                          <a:pt x="247" y="322"/>
                        </a:cubicBezTo>
                        <a:cubicBezTo>
                          <a:pt x="232" y="322"/>
                          <a:pt x="227" y="306"/>
                          <a:pt x="227" y="306"/>
                        </a:cubicBezTo>
                        <a:cubicBezTo>
                          <a:pt x="214" y="311"/>
                          <a:pt x="214" y="311"/>
                          <a:pt x="214" y="311"/>
                        </a:cubicBezTo>
                        <a:cubicBezTo>
                          <a:pt x="214" y="311"/>
                          <a:pt x="183" y="326"/>
                          <a:pt x="168" y="327"/>
                        </a:cubicBezTo>
                        <a:cubicBezTo>
                          <a:pt x="154" y="328"/>
                          <a:pt x="140" y="319"/>
                          <a:pt x="140" y="319"/>
                        </a:cubicBezTo>
                        <a:cubicBezTo>
                          <a:pt x="127" y="328"/>
                          <a:pt x="127" y="328"/>
                          <a:pt x="127" y="328"/>
                        </a:cubicBezTo>
                        <a:cubicBezTo>
                          <a:pt x="118" y="326"/>
                          <a:pt x="118" y="326"/>
                          <a:pt x="118" y="326"/>
                        </a:cubicBezTo>
                        <a:cubicBezTo>
                          <a:pt x="118" y="326"/>
                          <a:pt x="103" y="338"/>
                          <a:pt x="104" y="343"/>
                        </a:cubicBezTo>
                        <a:cubicBezTo>
                          <a:pt x="106" y="348"/>
                          <a:pt x="112" y="362"/>
                          <a:pt x="104" y="359"/>
                        </a:cubicBezTo>
                        <a:cubicBezTo>
                          <a:pt x="96" y="356"/>
                          <a:pt x="91" y="348"/>
                          <a:pt x="88" y="342"/>
                        </a:cubicBezTo>
                        <a:cubicBezTo>
                          <a:pt x="86" y="335"/>
                          <a:pt x="83" y="335"/>
                          <a:pt x="83" y="335"/>
                        </a:cubicBezTo>
                        <a:cubicBezTo>
                          <a:pt x="83" y="335"/>
                          <a:pt x="74" y="344"/>
                          <a:pt x="67" y="344"/>
                        </a:cubicBezTo>
                        <a:cubicBezTo>
                          <a:pt x="60" y="344"/>
                          <a:pt x="38" y="358"/>
                          <a:pt x="38" y="358"/>
                        </a:cubicBezTo>
                        <a:cubicBezTo>
                          <a:pt x="42" y="390"/>
                          <a:pt x="42" y="390"/>
                          <a:pt x="42" y="390"/>
                        </a:cubicBezTo>
                        <a:cubicBezTo>
                          <a:pt x="38" y="387"/>
                          <a:pt x="38" y="387"/>
                          <a:pt x="38" y="387"/>
                        </a:cubicBezTo>
                        <a:cubicBezTo>
                          <a:pt x="43" y="408"/>
                          <a:pt x="43" y="408"/>
                          <a:pt x="43" y="408"/>
                        </a:cubicBezTo>
                        <a:cubicBezTo>
                          <a:pt x="30" y="423"/>
                          <a:pt x="30" y="423"/>
                          <a:pt x="30" y="423"/>
                        </a:cubicBezTo>
                        <a:cubicBezTo>
                          <a:pt x="31" y="442"/>
                          <a:pt x="31" y="442"/>
                          <a:pt x="31" y="442"/>
                        </a:cubicBezTo>
                        <a:cubicBezTo>
                          <a:pt x="22" y="446"/>
                          <a:pt x="22" y="446"/>
                          <a:pt x="22" y="446"/>
                        </a:cubicBezTo>
                        <a:cubicBezTo>
                          <a:pt x="34" y="458"/>
                          <a:pt x="34" y="458"/>
                          <a:pt x="34" y="458"/>
                        </a:cubicBezTo>
                        <a:cubicBezTo>
                          <a:pt x="34" y="458"/>
                          <a:pt x="72" y="471"/>
                          <a:pt x="76" y="480"/>
                        </a:cubicBezTo>
                        <a:cubicBezTo>
                          <a:pt x="80" y="490"/>
                          <a:pt x="83" y="494"/>
                          <a:pt x="83" y="494"/>
                        </a:cubicBezTo>
                        <a:cubicBezTo>
                          <a:pt x="72" y="498"/>
                          <a:pt x="72" y="498"/>
                          <a:pt x="72" y="498"/>
                        </a:cubicBezTo>
                        <a:cubicBezTo>
                          <a:pt x="72" y="514"/>
                          <a:pt x="72" y="514"/>
                          <a:pt x="72" y="514"/>
                        </a:cubicBezTo>
                        <a:cubicBezTo>
                          <a:pt x="88" y="508"/>
                          <a:pt x="88" y="508"/>
                          <a:pt x="88" y="508"/>
                        </a:cubicBezTo>
                        <a:cubicBezTo>
                          <a:pt x="90" y="538"/>
                          <a:pt x="90" y="538"/>
                          <a:pt x="90" y="538"/>
                        </a:cubicBezTo>
                        <a:cubicBezTo>
                          <a:pt x="78" y="543"/>
                          <a:pt x="78" y="543"/>
                          <a:pt x="78" y="543"/>
                        </a:cubicBezTo>
                        <a:cubicBezTo>
                          <a:pt x="78" y="543"/>
                          <a:pt x="72" y="555"/>
                          <a:pt x="79" y="563"/>
                        </a:cubicBezTo>
                        <a:cubicBezTo>
                          <a:pt x="79" y="568"/>
                          <a:pt x="67" y="578"/>
                          <a:pt x="67" y="578"/>
                        </a:cubicBezTo>
                        <a:cubicBezTo>
                          <a:pt x="67" y="588"/>
                          <a:pt x="67" y="588"/>
                          <a:pt x="67" y="588"/>
                        </a:cubicBezTo>
                        <a:cubicBezTo>
                          <a:pt x="58" y="588"/>
                          <a:pt x="58" y="588"/>
                          <a:pt x="58" y="588"/>
                        </a:cubicBezTo>
                        <a:cubicBezTo>
                          <a:pt x="38" y="614"/>
                          <a:pt x="38" y="614"/>
                          <a:pt x="38" y="614"/>
                        </a:cubicBezTo>
                        <a:cubicBezTo>
                          <a:pt x="38" y="632"/>
                          <a:pt x="38" y="632"/>
                          <a:pt x="38" y="632"/>
                        </a:cubicBezTo>
                        <a:cubicBezTo>
                          <a:pt x="22" y="634"/>
                          <a:pt x="22" y="634"/>
                          <a:pt x="22" y="634"/>
                        </a:cubicBezTo>
                        <a:cubicBezTo>
                          <a:pt x="0" y="699"/>
                          <a:pt x="0" y="699"/>
                          <a:pt x="0" y="699"/>
                        </a:cubicBezTo>
                        <a:cubicBezTo>
                          <a:pt x="0" y="699"/>
                          <a:pt x="1" y="701"/>
                          <a:pt x="1" y="705"/>
                        </a:cubicBezTo>
                        <a:cubicBezTo>
                          <a:pt x="24" y="689"/>
                          <a:pt x="48" y="712"/>
                          <a:pt x="48" y="712"/>
                        </a:cubicBezTo>
                        <a:cubicBezTo>
                          <a:pt x="53" y="712"/>
                          <a:pt x="53" y="712"/>
                          <a:pt x="53" y="712"/>
                        </a:cubicBezTo>
                        <a:cubicBezTo>
                          <a:pt x="79" y="748"/>
                          <a:pt x="79" y="748"/>
                          <a:pt x="79" y="748"/>
                        </a:cubicBezTo>
                        <a:cubicBezTo>
                          <a:pt x="119" y="746"/>
                          <a:pt x="119" y="746"/>
                          <a:pt x="119" y="746"/>
                        </a:cubicBezTo>
                        <a:cubicBezTo>
                          <a:pt x="129" y="735"/>
                          <a:pt x="129" y="735"/>
                          <a:pt x="129" y="735"/>
                        </a:cubicBezTo>
                        <a:cubicBezTo>
                          <a:pt x="129" y="735"/>
                          <a:pt x="153" y="752"/>
                          <a:pt x="162" y="757"/>
                        </a:cubicBezTo>
                        <a:cubicBezTo>
                          <a:pt x="170" y="733"/>
                          <a:pt x="192" y="748"/>
                          <a:pt x="192" y="748"/>
                        </a:cubicBezTo>
                        <a:cubicBezTo>
                          <a:pt x="192" y="748"/>
                          <a:pt x="239" y="752"/>
                          <a:pt x="245" y="753"/>
                        </a:cubicBezTo>
                        <a:cubicBezTo>
                          <a:pt x="251" y="754"/>
                          <a:pt x="245" y="741"/>
                          <a:pt x="245" y="741"/>
                        </a:cubicBezTo>
                        <a:cubicBezTo>
                          <a:pt x="234" y="718"/>
                          <a:pt x="253" y="691"/>
                          <a:pt x="253" y="691"/>
                        </a:cubicBezTo>
                        <a:cubicBezTo>
                          <a:pt x="253" y="691"/>
                          <a:pt x="302" y="721"/>
                          <a:pt x="321" y="721"/>
                        </a:cubicBezTo>
                        <a:cubicBezTo>
                          <a:pt x="340" y="721"/>
                          <a:pt x="364" y="744"/>
                          <a:pt x="364" y="744"/>
                        </a:cubicBezTo>
                        <a:cubicBezTo>
                          <a:pt x="398" y="728"/>
                          <a:pt x="420" y="779"/>
                          <a:pt x="421" y="782"/>
                        </a:cubicBezTo>
                        <a:cubicBezTo>
                          <a:pt x="442" y="756"/>
                          <a:pt x="467" y="782"/>
                          <a:pt x="467" y="782"/>
                        </a:cubicBezTo>
                        <a:cubicBezTo>
                          <a:pt x="479" y="774"/>
                          <a:pt x="479" y="774"/>
                          <a:pt x="479" y="774"/>
                        </a:cubicBezTo>
                        <a:cubicBezTo>
                          <a:pt x="479" y="774"/>
                          <a:pt x="488" y="786"/>
                          <a:pt x="491" y="794"/>
                        </a:cubicBezTo>
                        <a:cubicBezTo>
                          <a:pt x="492" y="791"/>
                          <a:pt x="492" y="791"/>
                          <a:pt x="492" y="791"/>
                        </a:cubicBezTo>
                        <a:cubicBezTo>
                          <a:pt x="516" y="792"/>
                          <a:pt x="516" y="792"/>
                          <a:pt x="516" y="792"/>
                        </a:cubicBezTo>
                        <a:cubicBezTo>
                          <a:pt x="523" y="783"/>
                          <a:pt x="523" y="783"/>
                          <a:pt x="523" y="783"/>
                        </a:cubicBezTo>
                        <a:cubicBezTo>
                          <a:pt x="544" y="778"/>
                          <a:pt x="544" y="778"/>
                          <a:pt x="544" y="778"/>
                        </a:cubicBezTo>
                        <a:cubicBezTo>
                          <a:pt x="542" y="766"/>
                          <a:pt x="542" y="766"/>
                          <a:pt x="542" y="766"/>
                        </a:cubicBezTo>
                        <a:cubicBezTo>
                          <a:pt x="586" y="764"/>
                          <a:pt x="586" y="764"/>
                          <a:pt x="586" y="764"/>
                        </a:cubicBezTo>
                        <a:cubicBezTo>
                          <a:pt x="586" y="764"/>
                          <a:pt x="588" y="758"/>
                          <a:pt x="567" y="736"/>
                        </a:cubicBezTo>
                        <a:cubicBezTo>
                          <a:pt x="514" y="740"/>
                          <a:pt x="528" y="720"/>
                          <a:pt x="528" y="720"/>
                        </a:cubicBezTo>
                        <a:cubicBezTo>
                          <a:pt x="519" y="716"/>
                          <a:pt x="519" y="716"/>
                          <a:pt x="519" y="716"/>
                        </a:cubicBezTo>
                        <a:cubicBezTo>
                          <a:pt x="520" y="702"/>
                          <a:pt x="520" y="702"/>
                          <a:pt x="520" y="702"/>
                        </a:cubicBezTo>
                        <a:cubicBezTo>
                          <a:pt x="520" y="702"/>
                          <a:pt x="543" y="696"/>
                          <a:pt x="543" y="692"/>
                        </a:cubicBezTo>
                        <a:cubicBezTo>
                          <a:pt x="543" y="688"/>
                          <a:pt x="546" y="678"/>
                          <a:pt x="546" y="678"/>
                        </a:cubicBezTo>
                        <a:cubicBezTo>
                          <a:pt x="530" y="674"/>
                          <a:pt x="530" y="674"/>
                          <a:pt x="530" y="674"/>
                        </a:cubicBezTo>
                        <a:cubicBezTo>
                          <a:pt x="544" y="667"/>
                          <a:pt x="544" y="667"/>
                          <a:pt x="544" y="667"/>
                        </a:cubicBezTo>
                        <a:cubicBezTo>
                          <a:pt x="544" y="667"/>
                          <a:pt x="528" y="640"/>
                          <a:pt x="534" y="635"/>
                        </a:cubicBezTo>
                        <a:cubicBezTo>
                          <a:pt x="539" y="630"/>
                          <a:pt x="530" y="614"/>
                          <a:pt x="530" y="614"/>
                        </a:cubicBezTo>
                        <a:cubicBezTo>
                          <a:pt x="480" y="595"/>
                          <a:pt x="480" y="595"/>
                          <a:pt x="480" y="595"/>
                        </a:cubicBezTo>
                        <a:cubicBezTo>
                          <a:pt x="480" y="595"/>
                          <a:pt x="478" y="576"/>
                          <a:pt x="484" y="576"/>
                        </a:cubicBezTo>
                        <a:cubicBezTo>
                          <a:pt x="466" y="554"/>
                          <a:pt x="500" y="548"/>
                          <a:pt x="503" y="543"/>
                        </a:cubicBezTo>
                        <a:cubicBezTo>
                          <a:pt x="503" y="518"/>
                          <a:pt x="515" y="510"/>
                          <a:pt x="515" y="510"/>
                        </a:cubicBezTo>
                        <a:cubicBezTo>
                          <a:pt x="528" y="531"/>
                          <a:pt x="528" y="531"/>
                          <a:pt x="528" y="531"/>
                        </a:cubicBezTo>
                        <a:cubicBezTo>
                          <a:pt x="534" y="518"/>
                          <a:pt x="534" y="518"/>
                          <a:pt x="534" y="518"/>
                        </a:cubicBezTo>
                        <a:cubicBezTo>
                          <a:pt x="562" y="519"/>
                          <a:pt x="562" y="519"/>
                          <a:pt x="562" y="519"/>
                        </a:cubicBezTo>
                        <a:cubicBezTo>
                          <a:pt x="562" y="519"/>
                          <a:pt x="563" y="530"/>
                          <a:pt x="568" y="528"/>
                        </a:cubicBezTo>
                        <a:cubicBezTo>
                          <a:pt x="574" y="527"/>
                          <a:pt x="596" y="532"/>
                          <a:pt x="596" y="532"/>
                        </a:cubicBezTo>
                        <a:cubicBezTo>
                          <a:pt x="596" y="499"/>
                          <a:pt x="639" y="522"/>
                          <a:pt x="639" y="522"/>
                        </a:cubicBezTo>
                        <a:cubicBezTo>
                          <a:pt x="639" y="522"/>
                          <a:pt x="631" y="510"/>
                          <a:pt x="664" y="515"/>
                        </a:cubicBezTo>
                        <a:cubicBezTo>
                          <a:pt x="698" y="520"/>
                          <a:pt x="698" y="492"/>
                          <a:pt x="707" y="487"/>
                        </a:cubicBezTo>
                        <a:cubicBezTo>
                          <a:pt x="668" y="448"/>
                          <a:pt x="719" y="450"/>
                          <a:pt x="719" y="450"/>
                        </a:cubicBezTo>
                        <a:cubicBezTo>
                          <a:pt x="719" y="450"/>
                          <a:pt x="742" y="450"/>
                          <a:pt x="763" y="440"/>
                        </a:cubicBezTo>
                        <a:cubicBezTo>
                          <a:pt x="772" y="422"/>
                          <a:pt x="794" y="428"/>
                          <a:pt x="794" y="428"/>
                        </a:cubicBezTo>
                        <a:cubicBezTo>
                          <a:pt x="795" y="388"/>
                          <a:pt x="795" y="388"/>
                          <a:pt x="795" y="388"/>
                        </a:cubicBezTo>
                        <a:cubicBezTo>
                          <a:pt x="839" y="387"/>
                          <a:pt x="839" y="387"/>
                          <a:pt x="839" y="387"/>
                        </a:cubicBezTo>
                        <a:cubicBezTo>
                          <a:pt x="839" y="370"/>
                          <a:pt x="839" y="370"/>
                          <a:pt x="839" y="370"/>
                        </a:cubicBezTo>
                        <a:cubicBezTo>
                          <a:pt x="860" y="368"/>
                          <a:pt x="860" y="368"/>
                          <a:pt x="860" y="368"/>
                        </a:cubicBezTo>
                        <a:cubicBezTo>
                          <a:pt x="863" y="351"/>
                          <a:pt x="863" y="351"/>
                          <a:pt x="863" y="351"/>
                        </a:cubicBezTo>
                        <a:cubicBezTo>
                          <a:pt x="884" y="326"/>
                          <a:pt x="884" y="326"/>
                          <a:pt x="884" y="326"/>
                        </a:cubicBezTo>
                        <a:lnTo>
                          <a:pt x="871" y="318"/>
                        </a:ln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63" name="Aquitaine" descr="© INSCALE GmbH, 05.05.2010&#10;http://www.presentationload.com/">
                    <a:extLst>
                      <a:ext uri="{FF2B5EF4-FFF2-40B4-BE49-F238E27FC236}">
                        <a16:creationId xmlns:a16="http://schemas.microsoft.com/office/drawing/2014/main" id="{652DBE87-5D61-4D22-8CFE-FBEC42EBD118}"/>
                      </a:ext>
                    </a:extLst>
                  </p:cNvPr>
                  <p:cNvSpPr>
                    <a:spLocks/>
                  </p:cNvSpPr>
                  <p:nvPr/>
                </p:nvSpPr>
                <p:spPr bwMode="gray">
                  <a:xfrm>
                    <a:off x="758" y="1992"/>
                    <a:ext cx="793" cy="1021"/>
                  </a:xfrm>
                  <a:custGeom>
                    <a:avLst/>
                    <a:gdLst/>
                    <a:ahLst/>
                    <a:cxnLst>
                      <a:cxn ang="0">
                        <a:pos x="347" y="849"/>
                      </a:cxn>
                      <a:cxn ang="0">
                        <a:pos x="376" y="813"/>
                      </a:cxn>
                      <a:cxn ang="0">
                        <a:pos x="399" y="773"/>
                      </a:cxn>
                      <a:cxn ang="0">
                        <a:pos x="381" y="733"/>
                      </a:cxn>
                      <a:cxn ang="0">
                        <a:pos x="343" y="693"/>
                      </a:cxn>
                      <a:cxn ang="0">
                        <a:pos x="339" y="658"/>
                      </a:cxn>
                      <a:cxn ang="0">
                        <a:pos x="351" y="625"/>
                      </a:cxn>
                      <a:cxn ang="0">
                        <a:pos x="392" y="570"/>
                      </a:cxn>
                      <a:cxn ang="0">
                        <a:pos x="413" y="578"/>
                      </a:cxn>
                      <a:cxn ang="0">
                        <a:pos x="449" y="554"/>
                      </a:cxn>
                      <a:cxn ang="0">
                        <a:pos x="536" y="541"/>
                      </a:cxn>
                      <a:cxn ang="0">
                        <a:pos x="605" y="522"/>
                      </a:cxn>
                      <a:cxn ang="0">
                        <a:pos x="600" y="469"/>
                      </a:cxn>
                      <a:cxn ang="0">
                        <a:pos x="636" y="425"/>
                      </a:cxn>
                      <a:cxn ang="0">
                        <a:pos x="672" y="353"/>
                      </a:cxn>
                      <a:cxn ang="0">
                        <a:pos x="699" y="310"/>
                      </a:cxn>
                      <a:cxn ang="0">
                        <a:pos x="733" y="289"/>
                      </a:cxn>
                      <a:cxn ang="0">
                        <a:pos x="729" y="243"/>
                      </a:cxn>
                      <a:cxn ang="0">
                        <a:pos x="727" y="207"/>
                      </a:cxn>
                      <a:cxn ang="0">
                        <a:pos x="692" y="183"/>
                      </a:cxn>
                      <a:cxn ang="0">
                        <a:pos x="691" y="150"/>
                      </a:cxn>
                      <a:cxn ang="0">
                        <a:pos x="700" y="117"/>
                      </a:cxn>
                      <a:cxn ang="0">
                        <a:pos x="655" y="74"/>
                      </a:cxn>
                      <a:cxn ang="0">
                        <a:pos x="589" y="58"/>
                      </a:cxn>
                      <a:cxn ang="0">
                        <a:pos x="540" y="43"/>
                      </a:cxn>
                      <a:cxn ang="0">
                        <a:pos x="519" y="74"/>
                      </a:cxn>
                      <a:cxn ang="0">
                        <a:pos x="464" y="147"/>
                      </a:cxn>
                      <a:cxn ang="0">
                        <a:pos x="407" y="202"/>
                      </a:cxn>
                      <a:cxn ang="0">
                        <a:pos x="319" y="169"/>
                      </a:cxn>
                      <a:cxn ang="0">
                        <a:pos x="265" y="131"/>
                      </a:cxn>
                      <a:cxn ang="0">
                        <a:pos x="279" y="178"/>
                      </a:cxn>
                      <a:cxn ang="0">
                        <a:pos x="239" y="76"/>
                      </a:cxn>
                      <a:cxn ang="0">
                        <a:pos x="185" y="0"/>
                      </a:cxn>
                      <a:cxn ang="0">
                        <a:pos x="133" y="309"/>
                      </a:cxn>
                      <a:cxn ang="0">
                        <a:pos x="147" y="302"/>
                      </a:cxn>
                      <a:cxn ang="0">
                        <a:pos x="23" y="730"/>
                      </a:cxn>
                      <a:cxn ang="0">
                        <a:pos x="34" y="764"/>
                      </a:cxn>
                      <a:cxn ang="0">
                        <a:pos x="86" y="787"/>
                      </a:cxn>
                      <a:cxn ang="0">
                        <a:pos x="110" y="831"/>
                      </a:cxn>
                      <a:cxn ang="0">
                        <a:pos x="142" y="869"/>
                      </a:cxn>
                      <a:cxn ang="0">
                        <a:pos x="228" y="882"/>
                      </a:cxn>
                      <a:cxn ang="0">
                        <a:pos x="293" y="943"/>
                      </a:cxn>
                      <a:cxn ang="0">
                        <a:pos x="309" y="934"/>
                      </a:cxn>
                    </a:cxnLst>
                    <a:rect l="0" t="0" r="r" b="b"/>
                    <a:pathLst>
                      <a:path w="735" h="946">
                        <a:moveTo>
                          <a:pt x="331" y="869"/>
                        </a:moveTo>
                        <a:cubicBezTo>
                          <a:pt x="347" y="867"/>
                          <a:pt x="347" y="867"/>
                          <a:pt x="347" y="867"/>
                        </a:cubicBezTo>
                        <a:cubicBezTo>
                          <a:pt x="347" y="849"/>
                          <a:pt x="347" y="849"/>
                          <a:pt x="347" y="849"/>
                        </a:cubicBezTo>
                        <a:cubicBezTo>
                          <a:pt x="367" y="823"/>
                          <a:pt x="367" y="823"/>
                          <a:pt x="367" y="823"/>
                        </a:cubicBezTo>
                        <a:cubicBezTo>
                          <a:pt x="376" y="823"/>
                          <a:pt x="376" y="823"/>
                          <a:pt x="376" y="823"/>
                        </a:cubicBezTo>
                        <a:cubicBezTo>
                          <a:pt x="376" y="813"/>
                          <a:pt x="376" y="813"/>
                          <a:pt x="376" y="813"/>
                        </a:cubicBezTo>
                        <a:cubicBezTo>
                          <a:pt x="376" y="813"/>
                          <a:pt x="388" y="803"/>
                          <a:pt x="388" y="798"/>
                        </a:cubicBezTo>
                        <a:cubicBezTo>
                          <a:pt x="381" y="790"/>
                          <a:pt x="387" y="778"/>
                          <a:pt x="387" y="778"/>
                        </a:cubicBezTo>
                        <a:cubicBezTo>
                          <a:pt x="399" y="773"/>
                          <a:pt x="399" y="773"/>
                          <a:pt x="399" y="773"/>
                        </a:cubicBezTo>
                        <a:cubicBezTo>
                          <a:pt x="397" y="743"/>
                          <a:pt x="397" y="743"/>
                          <a:pt x="397" y="743"/>
                        </a:cubicBezTo>
                        <a:cubicBezTo>
                          <a:pt x="381" y="749"/>
                          <a:pt x="381" y="749"/>
                          <a:pt x="381" y="749"/>
                        </a:cubicBezTo>
                        <a:cubicBezTo>
                          <a:pt x="381" y="733"/>
                          <a:pt x="381" y="733"/>
                          <a:pt x="381" y="733"/>
                        </a:cubicBezTo>
                        <a:cubicBezTo>
                          <a:pt x="392" y="729"/>
                          <a:pt x="392" y="729"/>
                          <a:pt x="392" y="729"/>
                        </a:cubicBezTo>
                        <a:cubicBezTo>
                          <a:pt x="392" y="729"/>
                          <a:pt x="389" y="725"/>
                          <a:pt x="385" y="715"/>
                        </a:cubicBezTo>
                        <a:cubicBezTo>
                          <a:pt x="381" y="706"/>
                          <a:pt x="343" y="693"/>
                          <a:pt x="343" y="693"/>
                        </a:cubicBezTo>
                        <a:cubicBezTo>
                          <a:pt x="331" y="681"/>
                          <a:pt x="331" y="681"/>
                          <a:pt x="331" y="681"/>
                        </a:cubicBezTo>
                        <a:cubicBezTo>
                          <a:pt x="340" y="677"/>
                          <a:pt x="340" y="677"/>
                          <a:pt x="340" y="677"/>
                        </a:cubicBezTo>
                        <a:cubicBezTo>
                          <a:pt x="339" y="658"/>
                          <a:pt x="339" y="658"/>
                          <a:pt x="339" y="658"/>
                        </a:cubicBezTo>
                        <a:cubicBezTo>
                          <a:pt x="352" y="643"/>
                          <a:pt x="352" y="643"/>
                          <a:pt x="352" y="643"/>
                        </a:cubicBezTo>
                        <a:cubicBezTo>
                          <a:pt x="347" y="622"/>
                          <a:pt x="347" y="622"/>
                          <a:pt x="347" y="622"/>
                        </a:cubicBezTo>
                        <a:cubicBezTo>
                          <a:pt x="351" y="625"/>
                          <a:pt x="351" y="625"/>
                          <a:pt x="351" y="625"/>
                        </a:cubicBezTo>
                        <a:cubicBezTo>
                          <a:pt x="347" y="593"/>
                          <a:pt x="347" y="593"/>
                          <a:pt x="347" y="593"/>
                        </a:cubicBezTo>
                        <a:cubicBezTo>
                          <a:pt x="347" y="593"/>
                          <a:pt x="369" y="579"/>
                          <a:pt x="376" y="579"/>
                        </a:cubicBezTo>
                        <a:cubicBezTo>
                          <a:pt x="383" y="579"/>
                          <a:pt x="392" y="570"/>
                          <a:pt x="392" y="570"/>
                        </a:cubicBezTo>
                        <a:cubicBezTo>
                          <a:pt x="392" y="570"/>
                          <a:pt x="395" y="570"/>
                          <a:pt x="397" y="577"/>
                        </a:cubicBezTo>
                        <a:cubicBezTo>
                          <a:pt x="400" y="583"/>
                          <a:pt x="405" y="591"/>
                          <a:pt x="413" y="594"/>
                        </a:cubicBezTo>
                        <a:cubicBezTo>
                          <a:pt x="421" y="597"/>
                          <a:pt x="415" y="583"/>
                          <a:pt x="413" y="578"/>
                        </a:cubicBezTo>
                        <a:cubicBezTo>
                          <a:pt x="412" y="573"/>
                          <a:pt x="427" y="561"/>
                          <a:pt x="427" y="561"/>
                        </a:cubicBezTo>
                        <a:cubicBezTo>
                          <a:pt x="436" y="563"/>
                          <a:pt x="436" y="563"/>
                          <a:pt x="436" y="563"/>
                        </a:cubicBezTo>
                        <a:cubicBezTo>
                          <a:pt x="449" y="554"/>
                          <a:pt x="449" y="554"/>
                          <a:pt x="449" y="554"/>
                        </a:cubicBezTo>
                        <a:cubicBezTo>
                          <a:pt x="449" y="554"/>
                          <a:pt x="463" y="563"/>
                          <a:pt x="477" y="562"/>
                        </a:cubicBezTo>
                        <a:cubicBezTo>
                          <a:pt x="492" y="561"/>
                          <a:pt x="523" y="546"/>
                          <a:pt x="523" y="546"/>
                        </a:cubicBezTo>
                        <a:cubicBezTo>
                          <a:pt x="536" y="541"/>
                          <a:pt x="536" y="541"/>
                          <a:pt x="536" y="541"/>
                        </a:cubicBezTo>
                        <a:cubicBezTo>
                          <a:pt x="536" y="541"/>
                          <a:pt x="541" y="557"/>
                          <a:pt x="556" y="557"/>
                        </a:cubicBezTo>
                        <a:cubicBezTo>
                          <a:pt x="571" y="557"/>
                          <a:pt x="583" y="521"/>
                          <a:pt x="583" y="521"/>
                        </a:cubicBezTo>
                        <a:cubicBezTo>
                          <a:pt x="605" y="522"/>
                          <a:pt x="605" y="522"/>
                          <a:pt x="605" y="522"/>
                        </a:cubicBezTo>
                        <a:cubicBezTo>
                          <a:pt x="600" y="505"/>
                          <a:pt x="600" y="505"/>
                          <a:pt x="600" y="505"/>
                        </a:cubicBezTo>
                        <a:cubicBezTo>
                          <a:pt x="617" y="481"/>
                          <a:pt x="617" y="481"/>
                          <a:pt x="617" y="481"/>
                        </a:cubicBezTo>
                        <a:cubicBezTo>
                          <a:pt x="600" y="469"/>
                          <a:pt x="600" y="469"/>
                          <a:pt x="600" y="469"/>
                        </a:cubicBezTo>
                        <a:cubicBezTo>
                          <a:pt x="600" y="469"/>
                          <a:pt x="603" y="445"/>
                          <a:pt x="621" y="451"/>
                        </a:cubicBezTo>
                        <a:cubicBezTo>
                          <a:pt x="640" y="458"/>
                          <a:pt x="643" y="433"/>
                          <a:pt x="643" y="433"/>
                        </a:cubicBezTo>
                        <a:cubicBezTo>
                          <a:pt x="643" y="433"/>
                          <a:pt x="636" y="429"/>
                          <a:pt x="636" y="425"/>
                        </a:cubicBezTo>
                        <a:cubicBezTo>
                          <a:pt x="636" y="421"/>
                          <a:pt x="625" y="391"/>
                          <a:pt x="625" y="391"/>
                        </a:cubicBezTo>
                        <a:cubicBezTo>
                          <a:pt x="653" y="382"/>
                          <a:pt x="653" y="382"/>
                          <a:pt x="653" y="382"/>
                        </a:cubicBezTo>
                        <a:cubicBezTo>
                          <a:pt x="672" y="353"/>
                          <a:pt x="672" y="353"/>
                          <a:pt x="672" y="353"/>
                        </a:cubicBezTo>
                        <a:cubicBezTo>
                          <a:pt x="693" y="347"/>
                          <a:pt x="693" y="347"/>
                          <a:pt x="693" y="347"/>
                        </a:cubicBezTo>
                        <a:cubicBezTo>
                          <a:pt x="707" y="327"/>
                          <a:pt x="707" y="327"/>
                          <a:pt x="707" y="327"/>
                        </a:cubicBezTo>
                        <a:cubicBezTo>
                          <a:pt x="699" y="310"/>
                          <a:pt x="699" y="310"/>
                          <a:pt x="699" y="310"/>
                        </a:cubicBezTo>
                        <a:cubicBezTo>
                          <a:pt x="715" y="309"/>
                          <a:pt x="715" y="309"/>
                          <a:pt x="715" y="309"/>
                        </a:cubicBezTo>
                        <a:cubicBezTo>
                          <a:pt x="716" y="295"/>
                          <a:pt x="716" y="295"/>
                          <a:pt x="716" y="295"/>
                        </a:cubicBezTo>
                        <a:cubicBezTo>
                          <a:pt x="733" y="289"/>
                          <a:pt x="733" y="289"/>
                          <a:pt x="733" y="289"/>
                        </a:cubicBezTo>
                        <a:cubicBezTo>
                          <a:pt x="728" y="279"/>
                          <a:pt x="728" y="279"/>
                          <a:pt x="728" y="279"/>
                        </a:cubicBezTo>
                        <a:cubicBezTo>
                          <a:pt x="735" y="274"/>
                          <a:pt x="735" y="274"/>
                          <a:pt x="735" y="274"/>
                        </a:cubicBezTo>
                        <a:cubicBezTo>
                          <a:pt x="729" y="243"/>
                          <a:pt x="729" y="243"/>
                          <a:pt x="729" y="243"/>
                        </a:cubicBezTo>
                        <a:cubicBezTo>
                          <a:pt x="732" y="239"/>
                          <a:pt x="732" y="239"/>
                          <a:pt x="732" y="239"/>
                        </a:cubicBezTo>
                        <a:cubicBezTo>
                          <a:pt x="721" y="217"/>
                          <a:pt x="721" y="217"/>
                          <a:pt x="721" y="217"/>
                        </a:cubicBezTo>
                        <a:cubicBezTo>
                          <a:pt x="727" y="207"/>
                          <a:pt x="727" y="207"/>
                          <a:pt x="727" y="207"/>
                        </a:cubicBezTo>
                        <a:cubicBezTo>
                          <a:pt x="696" y="195"/>
                          <a:pt x="696" y="195"/>
                          <a:pt x="696" y="195"/>
                        </a:cubicBezTo>
                        <a:cubicBezTo>
                          <a:pt x="700" y="185"/>
                          <a:pt x="700" y="185"/>
                          <a:pt x="700" y="185"/>
                        </a:cubicBezTo>
                        <a:cubicBezTo>
                          <a:pt x="692" y="183"/>
                          <a:pt x="692" y="183"/>
                          <a:pt x="692" y="183"/>
                        </a:cubicBezTo>
                        <a:cubicBezTo>
                          <a:pt x="699" y="167"/>
                          <a:pt x="699" y="167"/>
                          <a:pt x="699" y="167"/>
                        </a:cubicBezTo>
                        <a:cubicBezTo>
                          <a:pt x="691" y="161"/>
                          <a:pt x="691" y="161"/>
                          <a:pt x="691" y="161"/>
                        </a:cubicBezTo>
                        <a:cubicBezTo>
                          <a:pt x="691" y="150"/>
                          <a:pt x="691" y="150"/>
                          <a:pt x="691" y="150"/>
                        </a:cubicBezTo>
                        <a:cubicBezTo>
                          <a:pt x="691" y="150"/>
                          <a:pt x="707" y="135"/>
                          <a:pt x="707" y="129"/>
                        </a:cubicBezTo>
                        <a:cubicBezTo>
                          <a:pt x="707" y="122"/>
                          <a:pt x="693" y="118"/>
                          <a:pt x="693" y="118"/>
                        </a:cubicBezTo>
                        <a:cubicBezTo>
                          <a:pt x="700" y="117"/>
                          <a:pt x="700" y="117"/>
                          <a:pt x="700" y="117"/>
                        </a:cubicBezTo>
                        <a:cubicBezTo>
                          <a:pt x="668" y="95"/>
                          <a:pt x="668" y="95"/>
                          <a:pt x="668" y="95"/>
                        </a:cubicBezTo>
                        <a:cubicBezTo>
                          <a:pt x="673" y="75"/>
                          <a:pt x="673" y="75"/>
                          <a:pt x="673" y="75"/>
                        </a:cubicBezTo>
                        <a:cubicBezTo>
                          <a:pt x="673" y="75"/>
                          <a:pt x="661" y="74"/>
                          <a:pt x="655" y="74"/>
                        </a:cubicBezTo>
                        <a:cubicBezTo>
                          <a:pt x="648" y="74"/>
                          <a:pt x="643" y="51"/>
                          <a:pt x="643" y="51"/>
                        </a:cubicBezTo>
                        <a:cubicBezTo>
                          <a:pt x="608" y="47"/>
                          <a:pt x="608" y="47"/>
                          <a:pt x="608" y="47"/>
                        </a:cubicBezTo>
                        <a:cubicBezTo>
                          <a:pt x="608" y="47"/>
                          <a:pt x="596" y="62"/>
                          <a:pt x="589" y="58"/>
                        </a:cubicBezTo>
                        <a:cubicBezTo>
                          <a:pt x="583" y="54"/>
                          <a:pt x="589" y="30"/>
                          <a:pt x="589" y="30"/>
                        </a:cubicBezTo>
                        <a:cubicBezTo>
                          <a:pt x="589" y="30"/>
                          <a:pt x="576" y="24"/>
                          <a:pt x="558" y="21"/>
                        </a:cubicBezTo>
                        <a:cubicBezTo>
                          <a:pt x="540" y="43"/>
                          <a:pt x="540" y="43"/>
                          <a:pt x="540" y="43"/>
                        </a:cubicBezTo>
                        <a:cubicBezTo>
                          <a:pt x="540" y="43"/>
                          <a:pt x="529" y="45"/>
                          <a:pt x="525" y="45"/>
                        </a:cubicBezTo>
                        <a:cubicBezTo>
                          <a:pt x="521" y="45"/>
                          <a:pt x="531" y="73"/>
                          <a:pt x="531" y="73"/>
                        </a:cubicBezTo>
                        <a:cubicBezTo>
                          <a:pt x="519" y="74"/>
                          <a:pt x="519" y="74"/>
                          <a:pt x="519" y="74"/>
                        </a:cubicBezTo>
                        <a:cubicBezTo>
                          <a:pt x="519" y="74"/>
                          <a:pt x="515" y="73"/>
                          <a:pt x="511" y="87"/>
                        </a:cubicBezTo>
                        <a:cubicBezTo>
                          <a:pt x="459" y="94"/>
                          <a:pt x="471" y="147"/>
                          <a:pt x="471" y="147"/>
                        </a:cubicBezTo>
                        <a:cubicBezTo>
                          <a:pt x="464" y="147"/>
                          <a:pt x="464" y="147"/>
                          <a:pt x="464" y="147"/>
                        </a:cubicBezTo>
                        <a:cubicBezTo>
                          <a:pt x="464" y="147"/>
                          <a:pt x="445" y="175"/>
                          <a:pt x="441" y="175"/>
                        </a:cubicBezTo>
                        <a:cubicBezTo>
                          <a:pt x="437" y="175"/>
                          <a:pt x="429" y="166"/>
                          <a:pt x="429" y="166"/>
                        </a:cubicBezTo>
                        <a:cubicBezTo>
                          <a:pt x="429" y="166"/>
                          <a:pt x="413" y="189"/>
                          <a:pt x="407" y="202"/>
                        </a:cubicBezTo>
                        <a:cubicBezTo>
                          <a:pt x="400" y="215"/>
                          <a:pt x="367" y="213"/>
                          <a:pt x="349" y="195"/>
                        </a:cubicBezTo>
                        <a:cubicBezTo>
                          <a:pt x="332" y="178"/>
                          <a:pt x="324" y="193"/>
                          <a:pt x="324" y="193"/>
                        </a:cubicBezTo>
                        <a:cubicBezTo>
                          <a:pt x="324" y="193"/>
                          <a:pt x="324" y="187"/>
                          <a:pt x="319" y="169"/>
                        </a:cubicBezTo>
                        <a:cubicBezTo>
                          <a:pt x="325" y="154"/>
                          <a:pt x="285" y="143"/>
                          <a:pt x="285" y="143"/>
                        </a:cubicBezTo>
                        <a:cubicBezTo>
                          <a:pt x="279" y="130"/>
                          <a:pt x="279" y="130"/>
                          <a:pt x="279" y="130"/>
                        </a:cubicBezTo>
                        <a:cubicBezTo>
                          <a:pt x="265" y="131"/>
                          <a:pt x="265" y="131"/>
                          <a:pt x="265" y="131"/>
                        </a:cubicBezTo>
                        <a:cubicBezTo>
                          <a:pt x="267" y="136"/>
                          <a:pt x="270" y="143"/>
                          <a:pt x="272" y="153"/>
                        </a:cubicBezTo>
                        <a:cubicBezTo>
                          <a:pt x="276" y="171"/>
                          <a:pt x="290" y="171"/>
                          <a:pt x="290" y="171"/>
                        </a:cubicBezTo>
                        <a:cubicBezTo>
                          <a:pt x="279" y="178"/>
                          <a:pt x="279" y="178"/>
                          <a:pt x="279" y="178"/>
                        </a:cubicBezTo>
                        <a:cubicBezTo>
                          <a:pt x="279" y="178"/>
                          <a:pt x="262" y="147"/>
                          <a:pt x="258" y="143"/>
                        </a:cubicBezTo>
                        <a:cubicBezTo>
                          <a:pt x="254" y="140"/>
                          <a:pt x="250" y="104"/>
                          <a:pt x="242" y="83"/>
                        </a:cubicBezTo>
                        <a:cubicBezTo>
                          <a:pt x="239" y="76"/>
                          <a:pt x="239" y="76"/>
                          <a:pt x="239" y="76"/>
                        </a:cubicBezTo>
                        <a:cubicBezTo>
                          <a:pt x="239" y="75"/>
                          <a:pt x="239" y="75"/>
                          <a:pt x="239" y="75"/>
                        </a:cubicBezTo>
                        <a:cubicBezTo>
                          <a:pt x="229" y="55"/>
                          <a:pt x="184" y="19"/>
                          <a:pt x="184" y="19"/>
                        </a:cubicBezTo>
                        <a:cubicBezTo>
                          <a:pt x="185" y="0"/>
                          <a:pt x="185" y="0"/>
                          <a:pt x="185" y="0"/>
                        </a:cubicBezTo>
                        <a:cubicBezTo>
                          <a:pt x="162" y="28"/>
                          <a:pt x="162" y="28"/>
                          <a:pt x="162" y="28"/>
                        </a:cubicBezTo>
                        <a:cubicBezTo>
                          <a:pt x="162" y="28"/>
                          <a:pt x="164" y="82"/>
                          <a:pt x="159" y="107"/>
                        </a:cubicBezTo>
                        <a:cubicBezTo>
                          <a:pt x="155" y="130"/>
                          <a:pt x="136" y="279"/>
                          <a:pt x="133" y="309"/>
                        </a:cubicBezTo>
                        <a:cubicBezTo>
                          <a:pt x="136" y="291"/>
                          <a:pt x="155" y="262"/>
                          <a:pt x="155" y="262"/>
                        </a:cubicBezTo>
                        <a:cubicBezTo>
                          <a:pt x="155" y="262"/>
                          <a:pt x="187" y="292"/>
                          <a:pt x="180" y="304"/>
                        </a:cubicBezTo>
                        <a:cubicBezTo>
                          <a:pt x="173" y="316"/>
                          <a:pt x="147" y="302"/>
                          <a:pt x="147" y="302"/>
                        </a:cubicBezTo>
                        <a:cubicBezTo>
                          <a:pt x="145" y="322"/>
                          <a:pt x="131" y="339"/>
                          <a:pt x="131" y="339"/>
                        </a:cubicBezTo>
                        <a:cubicBezTo>
                          <a:pt x="131" y="339"/>
                          <a:pt x="115" y="435"/>
                          <a:pt x="93" y="567"/>
                        </a:cubicBezTo>
                        <a:cubicBezTo>
                          <a:pt x="71" y="699"/>
                          <a:pt x="23" y="730"/>
                          <a:pt x="23" y="730"/>
                        </a:cubicBezTo>
                        <a:cubicBezTo>
                          <a:pt x="0" y="733"/>
                          <a:pt x="0" y="733"/>
                          <a:pt x="0" y="733"/>
                        </a:cubicBezTo>
                        <a:cubicBezTo>
                          <a:pt x="13" y="763"/>
                          <a:pt x="13" y="763"/>
                          <a:pt x="13" y="763"/>
                        </a:cubicBezTo>
                        <a:cubicBezTo>
                          <a:pt x="34" y="764"/>
                          <a:pt x="34" y="764"/>
                          <a:pt x="34" y="764"/>
                        </a:cubicBezTo>
                        <a:cubicBezTo>
                          <a:pt x="34" y="764"/>
                          <a:pt x="37" y="773"/>
                          <a:pt x="42" y="779"/>
                        </a:cubicBezTo>
                        <a:cubicBezTo>
                          <a:pt x="47" y="785"/>
                          <a:pt x="48" y="774"/>
                          <a:pt x="56" y="771"/>
                        </a:cubicBezTo>
                        <a:cubicBezTo>
                          <a:pt x="64" y="768"/>
                          <a:pt x="74" y="776"/>
                          <a:pt x="86" y="787"/>
                        </a:cubicBezTo>
                        <a:cubicBezTo>
                          <a:pt x="98" y="798"/>
                          <a:pt x="71" y="830"/>
                          <a:pt x="69" y="843"/>
                        </a:cubicBezTo>
                        <a:cubicBezTo>
                          <a:pt x="67" y="856"/>
                          <a:pt x="92" y="859"/>
                          <a:pt x="92" y="859"/>
                        </a:cubicBezTo>
                        <a:cubicBezTo>
                          <a:pt x="92" y="859"/>
                          <a:pt x="100" y="831"/>
                          <a:pt x="110" y="831"/>
                        </a:cubicBezTo>
                        <a:cubicBezTo>
                          <a:pt x="120" y="831"/>
                          <a:pt x="107" y="846"/>
                          <a:pt x="107" y="846"/>
                        </a:cubicBezTo>
                        <a:cubicBezTo>
                          <a:pt x="136" y="857"/>
                          <a:pt x="136" y="857"/>
                          <a:pt x="136" y="857"/>
                        </a:cubicBezTo>
                        <a:cubicBezTo>
                          <a:pt x="142" y="869"/>
                          <a:pt x="142" y="869"/>
                          <a:pt x="142" y="869"/>
                        </a:cubicBezTo>
                        <a:cubicBezTo>
                          <a:pt x="149" y="864"/>
                          <a:pt x="149" y="864"/>
                          <a:pt x="149" y="864"/>
                        </a:cubicBezTo>
                        <a:cubicBezTo>
                          <a:pt x="182" y="884"/>
                          <a:pt x="182" y="884"/>
                          <a:pt x="182" y="884"/>
                        </a:cubicBezTo>
                        <a:cubicBezTo>
                          <a:pt x="228" y="882"/>
                          <a:pt x="228" y="882"/>
                          <a:pt x="228" y="882"/>
                        </a:cubicBezTo>
                        <a:cubicBezTo>
                          <a:pt x="228" y="882"/>
                          <a:pt x="230" y="909"/>
                          <a:pt x="239" y="912"/>
                        </a:cubicBezTo>
                        <a:cubicBezTo>
                          <a:pt x="248" y="915"/>
                          <a:pt x="277" y="946"/>
                          <a:pt x="277" y="946"/>
                        </a:cubicBezTo>
                        <a:cubicBezTo>
                          <a:pt x="293" y="936"/>
                          <a:pt x="293" y="943"/>
                          <a:pt x="293" y="943"/>
                        </a:cubicBezTo>
                        <a:cubicBezTo>
                          <a:pt x="293" y="943"/>
                          <a:pt x="309" y="946"/>
                          <a:pt x="306" y="942"/>
                        </a:cubicBezTo>
                        <a:cubicBezTo>
                          <a:pt x="307" y="941"/>
                          <a:pt x="308" y="940"/>
                          <a:pt x="310" y="940"/>
                        </a:cubicBezTo>
                        <a:cubicBezTo>
                          <a:pt x="310" y="936"/>
                          <a:pt x="309" y="934"/>
                          <a:pt x="309" y="934"/>
                        </a:cubicBezTo>
                        <a:lnTo>
                          <a:pt x="331" y="869"/>
                        </a:lnTo>
                        <a:close/>
                      </a:path>
                    </a:pathLst>
                  </a:custGeom>
                  <a:grp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sp>
                <p:nvSpPr>
                  <p:cNvPr id="164" name="Rhône-Alpes" descr="© INSCALE GmbH, 05.05.2010&#10;http://www.presentationload.com/">
                    <a:extLst>
                      <a:ext uri="{FF2B5EF4-FFF2-40B4-BE49-F238E27FC236}">
                        <a16:creationId xmlns:a16="http://schemas.microsoft.com/office/drawing/2014/main" id="{66FE0DB4-3416-4F46-A34A-7CDE45F9BB93}"/>
                      </a:ext>
                    </a:extLst>
                  </p:cNvPr>
                  <p:cNvSpPr>
                    <a:spLocks/>
                  </p:cNvSpPr>
                  <p:nvPr/>
                </p:nvSpPr>
                <p:spPr bwMode="gray">
                  <a:xfrm>
                    <a:off x="2094" y="1710"/>
                    <a:ext cx="833" cy="840"/>
                  </a:xfrm>
                  <a:custGeom>
                    <a:avLst/>
                    <a:gdLst/>
                    <a:ahLst/>
                    <a:cxnLst>
                      <a:cxn ang="0">
                        <a:pos x="92" y="696"/>
                      </a:cxn>
                      <a:cxn ang="0">
                        <a:pos x="136" y="744"/>
                      </a:cxn>
                      <a:cxn ang="0">
                        <a:pos x="170" y="728"/>
                      </a:cxn>
                      <a:cxn ang="0">
                        <a:pos x="228" y="735"/>
                      </a:cxn>
                      <a:cxn ang="0">
                        <a:pos x="318" y="724"/>
                      </a:cxn>
                      <a:cxn ang="0">
                        <a:pos x="341" y="746"/>
                      </a:cxn>
                      <a:cxn ang="0">
                        <a:pos x="386" y="752"/>
                      </a:cxn>
                      <a:cxn ang="0">
                        <a:pos x="416" y="778"/>
                      </a:cxn>
                      <a:cxn ang="0">
                        <a:pos x="462" y="752"/>
                      </a:cxn>
                      <a:cxn ang="0">
                        <a:pos x="414" y="708"/>
                      </a:cxn>
                      <a:cxn ang="0">
                        <a:pos x="406" y="670"/>
                      </a:cxn>
                      <a:cxn ang="0">
                        <a:pos x="453" y="650"/>
                      </a:cxn>
                      <a:cxn ang="0">
                        <a:pos x="486" y="590"/>
                      </a:cxn>
                      <a:cxn ang="0">
                        <a:pos x="541" y="546"/>
                      </a:cxn>
                      <a:cxn ang="0">
                        <a:pos x="572" y="487"/>
                      </a:cxn>
                      <a:cxn ang="0">
                        <a:pos x="604" y="452"/>
                      </a:cxn>
                      <a:cxn ang="0">
                        <a:pos x="632" y="458"/>
                      </a:cxn>
                      <a:cxn ang="0">
                        <a:pos x="685" y="426"/>
                      </a:cxn>
                      <a:cxn ang="0">
                        <a:pos x="772" y="342"/>
                      </a:cxn>
                      <a:cxn ang="0">
                        <a:pos x="686" y="232"/>
                      </a:cxn>
                      <a:cxn ang="0">
                        <a:pos x="706" y="121"/>
                      </a:cxn>
                      <a:cxn ang="0">
                        <a:pos x="684" y="108"/>
                      </a:cxn>
                      <a:cxn ang="0">
                        <a:pos x="670" y="33"/>
                      </a:cxn>
                      <a:cxn ang="0">
                        <a:pos x="611" y="0"/>
                      </a:cxn>
                      <a:cxn ang="0">
                        <a:pos x="560" y="31"/>
                      </a:cxn>
                      <a:cxn ang="0">
                        <a:pos x="569" y="68"/>
                      </a:cxn>
                      <a:cxn ang="0">
                        <a:pos x="517" y="99"/>
                      </a:cxn>
                      <a:cxn ang="0">
                        <a:pos x="512" y="67"/>
                      </a:cxn>
                      <a:cxn ang="0">
                        <a:pos x="534" y="29"/>
                      </a:cxn>
                      <a:cxn ang="0">
                        <a:pos x="441" y="74"/>
                      </a:cxn>
                      <a:cxn ang="0">
                        <a:pos x="388" y="79"/>
                      </a:cxn>
                      <a:cxn ang="0">
                        <a:pos x="350" y="50"/>
                      </a:cxn>
                      <a:cxn ang="0">
                        <a:pos x="326" y="16"/>
                      </a:cxn>
                      <a:cxn ang="0">
                        <a:pos x="237" y="126"/>
                      </a:cxn>
                      <a:cxn ang="0">
                        <a:pos x="217" y="100"/>
                      </a:cxn>
                      <a:cxn ang="0">
                        <a:pos x="188" y="88"/>
                      </a:cxn>
                      <a:cxn ang="0">
                        <a:pos x="152" y="88"/>
                      </a:cxn>
                      <a:cxn ang="0">
                        <a:pos x="125" y="136"/>
                      </a:cxn>
                      <a:cxn ang="0">
                        <a:pos x="86" y="126"/>
                      </a:cxn>
                      <a:cxn ang="0">
                        <a:pos x="42" y="119"/>
                      </a:cxn>
                      <a:cxn ang="0">
                        <a:pos x="21" y="124"/>
                      </a:cxn>
                      <a:cxn ang="0">
                        <a:pos x="25" y="187"/>
                      </a:cxn>
                      <a:cxn ang="0">
                        <a:pos x="12" y="224"/>
                      </a:cxn>
                      <a:cxn ang="0">
                        <a:pos x="29" y="311"/>
                      </a:cxn>
                      <a:cxn ang="0">
                        <a:pos x="50" y="403"/>
                      </a:cxn>
                      <a:cxn ang="0">
                        <a:pos x="72" y="396"/>
                      </a:cxn>
                      <a:cxn ang="0">
                        <a:pos x="90" y="390"/>
                      </a:cxn>
                      <a:cxn ang="0">
                        <a:pos x="150" y="406"/>
                      </a:cxn>
                      <a:cxn ang="0">
                        <a:pos x="171" y="469"/>
                      </a:cxn>
                      <a:cxn ang="0">
                        <a:pos x="157" y="458"/>
                      </a:cxn>
                      <a:cxn ang="0">
                        <a:pos x="157" y="495"/>
                      </a:cxn>
                      <a:cxn ang="0">
                        <a:pos x="122" y="519"/>
                      </a:cxn>
                      <a:cxn ang="0">
                        <a:pos x="81" y="554"/>
                      </a:cxn>
                      <a:cxn ang="0">
                        <a:pos x="41" y="588"/>
                      </a:cxn>
                    </a:cxnLst>
                    <a:rect l="0" t="0" r="r" b="b"/>
                    <a:pathLst>
                      <a:path w="772" h="778">
                        <a:moveTo>
                          <a:pt x="68" y="647"/>
                        </a:moveTo>
                        <a:cubicBezTo>
                          <a:pt x="72" y="678"/>
                          <a:pt x="72" y="678"/>
                          <a:pt x="72" y="678"/>
                        </a:cubicBezTo>
                        <a:cubicBezTo>
                          <a:pt x="92" y="696"/>
                          <a:pt x="92" y="696"/>
                          <a:pt x="92" y="696"/>
                        </a:cubicBezTo>
                        <a:cubicBezTo>
                          <a:pt x="85" y="727"/>
                          <a:pt x="85" y="727"/>
                          <a:pt x="85" y="727"/>
                        </a:cubicBezTo>
                        <a:cubicBezTo>
                          <a:pt x="104" y="716"/>
                          <a:pt x="104" y="716"/>
                          <a:pt x="104" y="716"/>
                        </a:cubicBezTo>
                        <a:cubicBezTo>
                          <a:pt x="136" y="744"/>
                          <a:pt x="136" y="744"/>
                          <a:pt x="136" y="744"/>
                        </a:cubicBezTo>
                        <a:cubicBezTo>
                          <a:pt x="156" y="714"/>
                          <a:pt x="156" y="714"/>
                          <a:pt x="156" y="714"/>
                        </a:cubicBezTo>
                        <a:cubicBezTo>
                          <a:pt x="170" y="714"/>
                          <a:pt x="170" y="714"/>
                          <a:pt x="170" y="714"/>
                        </a:cubicBezTo>
                        <a:cubicBezTo>
                          <a:pt x="170" y="728"/>
                          <a:pt x="170" y="728"/>
                          <a:pt x="170" y="728"/>
                        </a:cubicBezTo>
                        <a:cubicBezTo>
                          <a:pt x="177" y="728"/>
                          <a:pt x="177" y="728"/>
                          <a:pt x="177" y="728"/>
                        </a:cubicBezTo>
                        <a:cubicBezTo>
                          <a:pt x="185" y="716"/>
                          <a:pt x="185" y="716"/>
                          <a:pt x="185" y="716"/>
                        </a:cubicBezTo>
                        <a:cubicBezTo>
                          <a:pt x="228" y="735"/>
                          <a:pt x="228" y="735"/>
                          <a:pt x="228" y="735"/>
                        </a:cubicBezTo>
                        <a:cubicBezTo>
                          <a:pt x="228" y="720"/>
                          <a:pt x="228" y="720"/>
                          <a:pt x="228" y="720"/>
                        </a:cubicBezTo>
                        <a:cubicBezTo>
                          <a:pt x="228" y="720"/>
                          <a:pt x="262" y="712"/>
                          <a:pt x="264" y="748"/>
                        </a:cubicBezTo>
                        <a:cubicBezTo>
                          <a:pt x="318" y="724"/>
                          <a:pt x="318" y="724"/>
                          <a:pt x="318" y="724"/>
                        </a:cubicBezTo>
                        <a:cubicBezTo>
                          <a:pt x="329" y="728"/>
                          <a:pt x="329" y="728"/>
                          <a:pt x="329" y="728"/>
                        </a:cubicBezTo>
                        <a:cubicBezTo>
                          <a:pt x="341" y="722"/>
                          <a:pt x="341" y="722"/>
                          <a:pt x="341" y="722"/>
                        </a:cubicBezTo>
                        <a:cubicBezTo>
                          <a:pt x="341" y="746"/>
                          <a:pt x="341" y="746"/>
                          <a:pt x="341" y="746"/>
                        </a:cubicBezTo>
                        <a:cubicBezTo>
                          <a:pt x="366" y="754"/>
                          <a:pt x="366" y="754"/>
                          <a:pt x="366" y="754"/>
                        </a:cubicBezTo>
                        <a:cubicBezTo>
                          <a:pt x="365" y="747"/>
                          <a:pt x="365" y="747"/>
                          <a:pt x="365" y="747"/>
                        </a:cubicBezTo>
                        <a:cubicBezTo>
                          <a:pt x="386" y="752"/>
                          <a:pt x="386" y="752"/>
                          <a:pt x="386" y="752"/>
                        </a:cubicBezTo>
                        <a:cubicBezTo>
                          <a:pt x="386" y="752"/>
                          <a:pt x="393" y="756"/>
                          <a:pt x="393" y="766"/>
                        </a:cubicBezTo>
                        <a:cubicBezTo>
                          <a:pt x="393" y="775"/>
                          <a:pt x="406" y="771"/>
                          <a:pt x="406" y="771"/>
                        </a:cubicBezTo>
                        <a:cubicBezTo>
                          <a:pt x="416" y="778"/>
                          <a:pt x="416" y="778"/>
                          <a:pt x="416" y="778"/>
                        </a:cubicBezTo>
                        <a:cubicBezTo>
                          <a:pt x="436" y="766"/>
                          <a:pt x="436" y="766"/>
                          <a:pt x="436" y="766"/>
                        </a:cubicBezTo>
                        <a:cubicBezTo>
                          <a:pt x="436" y="766"/>
                          <a:pt x="426" y="755"/>
                          <a:pt x="450" y="763"/>
                        </a:cubicBezTo>
                        <a:cubicBezTo>
                          <a:pt x="448" y="766"/>
                          <a:pt x="462" y="752"/>
                          <a:pt x="462" y="752"/>
                        </a:cubicBezTo>
                        <a:cubicBezTo>
                          <a:pt x="462" y="730"/>
                          <a:pt x="462" y="730"/>
                          <a:pt x="462" y="730"/>
                        </a:cubicBezTo>
                        <a:cubicBezTo>
                          <a:pt x="445" y="710"/>
                          <a:pt x="445" y="710"/>
                          <a:pt x="445" y="710"/>
                        </a:cubicBezTo>
                        <a:cubicBezTo>
                          <a:pt x="414" y="708"/>
                          <a:pt x="414" y="708"/>
                          <a:pt x="414" y="708"/>
                        </a:cubicBezTo>
                        <a:cubicBezTo>
                          <a:pt x="398" y="683"/>
                          <a:pt x="398" y="683"/>
                          <a:pt x="398" y="683"/>
                        </a:cubicBezTo>
                        <a:cubicBezTo>
                          <a:pt x="414" y="682"/>
                          <a:pt x="414" y="682"/>
                          <a:pt x="414" y="682"/>
                        </a:cubicBezTo>
                        <a:cubicBezTo>
                          <a:pt x="406" y="670"/>
                          <a:pt x="406" y="670"/>
                          <a:pt x="406" y="670"/>
                        </a:cubicBezTo>
                        <a:cubicBezTo>
                          <a:pt x="409" y="658"/>
                          <a:pt x="409" y="658"/>
                          <a:pt x="409" y="658"/>
                        </a:cubicBezTo>
                        <a:cubicBezTo>
                          <a:pt x="438" y="662"/>
                          <a:pt x="438" y="662"/>
                          <a:pt x="438" y="662"/>
                        </a:cubicBezTo>
                        <a:cubicBezTo>
                          <a:pt x="453" y="650"/>
                          <a:pt x="453" y="650"/>
                          <a:pt x="453" y="650"/>
                        </a:cubicBezTo>
                        <a:cubicBezTo>
                          <a:pt x="436" y="640"/>
                          <a:pt x="436" y="640"/>
                          <a:pt x="436" y="640"/>
                        </a:cubicBezTo>
                        <a:cubicBezTo>
                          <a:pt x="449" y="614"/>
                          <a:pt x="449" y="614"/>
                          <a:pt x="449" y="614"/>
                        </a:cubicBezTo>
                        <a:cubicBezTo>
                          <a:pt x="449" y="614"/>
                          <a:pt x="490" y="599"/>
                          <a:pt x="486" y="590"/>
                        </a:cubicBezTo>
                        <a:cubicBezTo>
                          <a:pt x="482" y="580"/>
                          <a:pt x="477" y="568"/>
                          <a:pt x="489" y="568"/>
                        </a:cubicBezTo>
                        <a:cubicBezTo>
                          <a:pt x="501" y="568"/>
                          <a:pt x="525" y="562"/>
                          <a:pt x="525" y="562"/>
                        </a:cubicBezTo>
                        <a:cubicBezTo>
                          <a:pt x="525" y="562"/>
                          <a:pt x="534" y="539"/>
                          <a:pt x="541" y="546"/>
                        </a:cubicBezTo>
                        <a:cubicBezTo>
                          <a:pt x="548" y="552"/>
                          <a:pt x="538" y="532"/>
                          <a:pt x="604" y="534"/>
                        </a:cubicBezTo>
                        <a:cubicBezTo>
                          <a:pt x="597" y="511"/>
                          <a:pt x="596" y="492"/>
                          <a:pt x="596" y="492"/>
                        </a:cubicBezTo>
                        <a:cubicBezTo>
                          <a:pt x="596" y="492"/>
                          <a:pt x="572" y="498"/>
                          <a:pt x="572" y="487"/>
                        </a:cubicBezTo>
                        <a:cubicBezTo>
                          <a:pt x="572" y="476"/>
                          <a:pt x="577" y="463"/>
                          <a:pt x="577" y="463"/>
                        </a:cubicBezTo>
                        <a:cubicBezTo>
                          <a:pt x="574" y="455"/>
                          <a:pt x="574" y="455"/>
                          <a:pt x="574" y="455"/>
                        </a:cubicBezTo>
                        <a:cubicBezTo>
                          <a:pt x="604" y="452"/>
                          <a:pt x="604" y="452"/>
                          <a:pt x="604" y="452"/>
                        </a:cubicBezTo>
                        <a:cubicBezTo>
                          <a:pt x="605" y="466"/>
                          <a:pt x="605" y="466"/>
                          <a:pt x="605" y="466"/>
                        </a:cubicBezTo>
                        <a:cubicBezTo>
                          <a:pt x="629" y="466"/>
                          <a:pt x="629" y="466"/>
                          <a:pt x="629" y="466"/>
                        </a:cubicBezTo>
                        <a:cubicBezTo>
                          <a:pt x="632" y="458"/>
                          <a:pt x="632" y="458"/>
                          <a:pt x="632" y="458"/>
                        </a:cubicBezTo>
                        <a:cubicBezTo>
                          <a:pt x="656" y="454"/>
                          <a:pt x="656" y="454"/>
                          <a:pt x="656" y="454"/>
                        </a:cubicBezTo>
                        <a:cubicBezTo>
                          <a:pt x="648" y="442"/>
                          <a:pt x="660" y="431"/>
                          <a:pt x="660" y="431"/>
                        </a:cubicBezTo>
                        <a:cubicBezTo>
                          <a:pt x="670" y="445"/>
                          <a:pt x="685" y="426"/>
                          <a:pt x="685" y="426"/>
                        </a:cubicBezTo>
                        <a:cubicBezTo>
                          <a:pt x="704" y="448"/>
                          <a:pt x="725" y="407"/>
                          <a:pt x="725" y="407"/>
                        </a:cubicBezTo>
                        <a:cubicBezTo>
                          <a:pt x="725" y="407"/>
                          <a:pt x="757" y="400"/>
                          <a:pt x="758" y="394"/>
                        </a:cubicBezTo>
                        <a:cubicBezTo>
                          <a:pt x="755" y="371"/>
                          <a:pt x="772" y="342"/>
                          <a:pt x="772" y="342"/>
                        </a:cubicBezTo>
                        <a:cubicBezTo>
                          <a:pt x="764" y="342"/>
                          <a:pt x="744" y="317"/>
                          <a:pt x="741" y="313"/>
                        </a:cubicBezTo>
                        <a:cubicBezTo>
                          <a:pt x="705" y="284"/>
                          <a:pt x="737" y="269"/>
                          <a:pt x="733" y="267"/>
                        </a:cubicBezTo>
                        <a:cubicBezTo>
                          <a:pt x="704" y="274"/>
                          <a:pt x="688" y="235"/>
                          <a:pt x="686" y="232"/>
                        </a:cubicBezTo>
                        <a:cubicBezTo>
                          <a:pt x="678" y="230"/>
                          <a:pt x="684" y="206"/>
                          <a:pt x="684" y="200"/>
                        </a:cubicBezTo>
                        <a:cubicBezTo>
                          <a:pt x="698" y="224"/>
                          <a:pt x="737" y="172"/>
                          <a:pt x="737" y="172"/>
                        </a:cubicBezTo>
                        <a:cubicBezTo>
                          <a:pt x="706" y="121"/>
                          <a:pt x="706" y="121"/>
                          <a:pt x="706" y="121"/>
                        </a:cubicBezTo>
                        <a:cubicBezTo>
                          <a:pt x="701" y="129"/>
                          <a:pt x="701" y="129"/>
                          <a:pt x="701" y="129"/>
                        </a:cubicBezTo>
                        <a:cubicBezTo>
                          <a:pt x="698" y="120"/>
                          <a:pt x="698" y="120"/>
                          <a:pt x="698" y="120"/>
                        </a:cubicBezTo>
                        <a:cubicBezTo>
                          <a:pt x="706" y="98"/>
                          <a:pt x="684" y="108"/>
                          <a:pt x="684" y="108"/>
                        </a:cubicBezTo>
                        <a:cubicBezTo>
                          <a:pt x="675" y="97"/>
                          <a:pt x="675" y="97"/>
                          <a:pt x="675" y="97"/>
                        </a:cubicBezTo>
                        <a:cubicBezTo>
                          <a:pt x="691" y="55"/>
                          <a:pt x="691" y="55"/>
                          <a:pt x="691" y="55"/>
                        </a:cubicBezTo>
                        <a:cubicBezTo>
                          <a:pt x="670" y="33"/>
                          <a:pt x="670" y="33"/>
                          <a:pt x="670" y="33"/>
                        </a:cubicBezTo>
                        <a:cubicBezTo>
                          <a:pt x="680" y="10"/>
                          <a:pt x="680" y="10"/>
                          <a:pt x="680" y="10"/>
                        </a:cubicBezTo>
                        <a:cubicBezTo>
                          <a:pt x="674" y="3"/>
                          <a:pt x="674" y="3"/>
                          <a:pt x="674" y="3"/>
                        </a:cubicBezTo>
                        <a:cubicBezTo>
                          <a:pt x="611" y="0"/>
                          <a:pt x="611" y="0"/>
                          <a:pt x="611" y="0"/>
                        </a:cubicBezTo>
                        <a:cubicBezTo>
                          <a:pt x="593" y="12"/>
                          <a:pt x="593" y="12"/>
                          <a:pt x="593" y="12"/>
                        </a:cubicBezTo>
                        <a:cubicBezTo>
                          <a:pt x="577" y="12"/>
                          <a:pt x="577" y="12"/>
                          <a:pt x="577" y="12"/>
                        </a:cubicBezTo>
                        <a:cubicBezTo>
                          <a:pt x="577" y="12"/>
                          <a:pt x="570" y="21"/>
                          <a:pt x="560" y="31"/>
                        </a:cubicBezTo>
                        <a:cubicBezTo>
                          <a:pt x="550" y="30"/>
                          <a:pt x="553" y="57"/>
                          <a:pt x="553" y="57"/>
                        </a:cubicBezTo>
                        <a:cubicBezTo>
                          <a:pt x="559" y="63"/>
                          <a:pt x="559" y="63"/>
                          <a:pt x="559" y="63"/>
                        </a:cubicBezTo>
                        <a:cubicBezTo>
                          <a:pt x="559" y="63"/>
                          <a:pt x="564" y="60"/>
                          <a:pt x="569" y="68"/>
                        </a:cubicBezTo>
                        <a:cubicBezTo>
                          <a:pt x="574" y="76"/>
                          <a:pt x="558" y="76"/>
                          <a:pt x="558" y="76"/>
                        </a:cubicBezTo>
                        <a:cubicBezTo>
                          <a:pt x="527" y="100"/>
                          <a:pt x="527" y="100"/>
                          <a:pt x="527" y="100"/>
                        </a:cubicBezTo>
                        <a:cubicBezTo>
                          <a:pt x="521" y="93"/>
                          <a:pt x="517" y="99"/>
                          <a:pt x="517" y="99"/>
                        </a:cubicBezTo>
                        <a:cubicBezTo>
                          <a:pt x="499" y="98"/>
                          <a:pt x="499" y="98"/>
                          <a:pt x="499" y="98"/>
                        </a:cubicBezTo>
                        <a:cubicBezTo>
                          <a:pt x="497" y="82"/>
                          <a:pt x="497" y="82"/>
                          <a:pt x="497" y="82"/>
                        </a:cubicBezTo>
                        <a:cubicBezTo>
                          <a:pt x="512" y="67"/>
                          <a:pt x="512" y="67"/>
                          <a:pt x="512" y="67"/>
                        </a:cubicBezTo>
                        <a:cubicBezTo>
                          <a:pt x="525" y="66"/>
                          <a:pt x="525" y="66"/>
                          <a:pt x="525" y="66"/>
                        </a:cubicBezTo>
                        <a:cubicBezTo>
                          <a:pt x="525" y="48"/>
                          <a:pt x="525" y="48"/>
                          <a:pt x="525" y="48"/>
                        </a:cubicBezTo>
                        <a:cubicBezTo>
                          <a:pt x="534" y="41"/>
                          <a:pt x="535" y="34"/>
                          <a:pt x="534" y="29"/>
                        </a:cubicBezTo>
                        <a:cubicBezTo>
                          <a:pt x="477" y="88"/>
                          <a:pt x="477" y="88"/>
                          <a:pt x="477" y="88"/>
                        </a:cubicBezTo>
                        <a:cubicBezTo>
                          <a:pt x="445" y="90"/>
                          <a:pt x="445" y="90"/>
                          <a:pt x="445" y="90"/>
                        </a:cubicBezTo>
                        <a:cubicBezTo>
                          <a:pt x="441" y="74"/>
                          <a:pt x="441" y="74"/>
                          <a:pt x="441" y="74"/>
                        </a:cubicBezTo>
                        <a:cubicBezTo>
                          <a:pt x="441" y="74"/>
                          <a:pt x="421" y="71"/>
                          <a:pt x="425" y="64"/>
                        </a:cubicBezTo>
                        <a:cubicBezTo>
                          <a:pt x="408" y="103"/>
                          <a:pt x="385" y="92"/>
                          <a:pt x="385" y="92"/>
                        </a:cubicBezTo>
                        <a:cubicBezTo>
                          <a:pt x="388" y="79"/>
                          <a:pt x="388" y="79"/>
                          <a:pt x="388" y="79"/>
                        </a:cubicBezTo>
                        <a:cubicBezTo>
                          <a:pt x="364" y="68"/>
                          <a:pt x="364" y="68"/>
                          <a:pt x="364" y="68"/>
                        </a:cubicBezTo>
                        <a:cubicBezTo>
                          <a:pt x="364" y="55"/>
                          <a:pt x="364" y="55"/>
                          <a:pt x="364" y="55"/>
                        </a:cubicBezTo>
                        <a:cubicBezTo>
                          <a:pt x="350" y="50"/>
                          <a:pt x="350" y="50"/>
                          <a:pt x="350" y="50"/>
                        </a:cubicBezTo>
                        <a:cubicBezTo>
                          <a:pt x="352" y="36"/>
                          <a:pt x="352" y="36"/>
                          <a:pt x="352" y="36"/>
                        </a:cubicBezTo>
                        <a:cubicBezTo>
                          <a:pt x="344" y="35"/>
                          <a:pt x="336" y="34"/>
                          <a:pt x="334" y="34"/>
                        </a:cubicBezTo>
                        <a:cubicBezTo>
                          <a:pt x="330" y="34"/>
                          <a:pt x="329" y="22"/>
                          <a:pt x="326" y="16"/>
                        </a:cubicBezTo>
                        <a:cubicBezTo>
                          <a:pt x="324" y="11"/>
                          <a:pt x="309" y="24"/>
                          <a:pt x="296" y="24"/>
                        </a:cubicBezTo>
                        <a:cubicBezTo>
                          <a:pt x="282" y="24"/>
                          <a:pt x="265" y="18"/>
                          <a:pt x="265" y="18"/>
                        </a:cubicBezTo>
                        <a:cubicBezTo>
                          <a:pt x="237" y="126"/>
                          <a:pt x="237" y="126"/>
                          <a:pt x="237" y="126"/>
                        </a:cubicBezTo>
                        <a:cubicBezTo>
                          <a:pt x="226" y="124"/>
                          <a:pt x="226" y="124"/>
                          <a:pt x="226" y="124"/>
                        </a:cubicBezTo>
                        <a:cubicBezTo>
                          <a:pt x="225" y="108"/>
                          <a:pt x="225" y="108"/>
                          <a:pt x="225" y="108"/>
                        </a:cubicBezTo>
                        <a:cubicBezTo>
                          <a:pt x="217" y="100"/>
                          <a:pt x="217" y="100"/>
                          <a:pt x="217" y="100"/>
                        </a:cubicBezTo>
                        <a:cubicBezTo>
                          <a:pt x="217" y="100"/>
                          <a:pt x="218" y="90"/>
                          <a:pt x="208" y="86"/>
                        </a:cubicBezTo>
                        <a:cubicBezTo>
                          <a:pt x="197" y="82"/>
                          <a:pt x="198" y="98"/>
                          <a:pt x="193" y="98"/>
                        </a:cubicBezTo>
                        <a:cubicBezTo>
                          <a:pt x="188" y="98"/>
                          <a:pt x="188" y="88"/>
                          <a:pt x="188" y="88"/>
                        </a:cubicBezTo>
                        <a:cubicBezTo>
                          <a:pt x="173" y="100"/>
                          <a:pt x="173" y="100"/>
                          <a:pt x="173" y="100"/>
                        </a:cubicBezTo>
                        <a:cubicBezTo>
                          <a:pt x="164" y="87"/>
                          <a:pt x="164" y="87"/>
                          <a:pt x="164" y="87"/>
                        </a:cubicBezTo>
                        <a:cubicBezTo>
                          <a:pt x="152" y="88"/>
                          <a:pt x="152" y="88"/>
                          <a:pt x="152" y="88"/>
                        </a:cubicBezTo>
                        <a:cubicBezTo>
                          <a:pt x="148" y="127"/>
                          <a:pt x="148" y="127"/>
                          <a:pt x="148" y="127"/>
                        </a:cubicBezTo>
                        <a:cubicBezTo>
                          <a:pt x="148" y="127"/>
                          <a:pt x="137" y="128"/>
                          <a:pt x="132" y="128"/>
                        </a:cubicBezTo>
                        <a:cubicBezTo>
                          <a:pt x="126" y="128"/>
                          <a:pt x="132" y="135"/>
                          <a:pt x="125" y="136"/>
                        </a:cubicBezTo>
                        <a:cubicBezTo>
                          <a:pt x="120" y="137"/>
                          <a:pt x="113" y="129"/>
                          <a:pt x="110" y="125"/>
                        </a:cubicBezTo>
                        <a:cubicBezTo>
                          <a:pt x="111" y="127"/>
                          <a:pt x="111" y="129"/>
                          <a:pt x="101" y="128"/>
                        </a:cubicBezTo>
                        <a:cubicBezTo>
                          <a:pt x="86" y="127"/>
                          <a:pt x="86" y="126"/>
                          <a:pt x="86" y="126"/>
                        </a:cubicBezTo>
                        <a:cubicBezTo>
                          <a:pt x="62" y="132"/>
                          <a:pt x="62" y="132"/>
                          <a:pt x="62" y="132"/>
                        </a:cubicBezTo>
                        <a:cubicBezTo>
                          <a:pt x="56" y="119"/>
                          <a:pt x="56" y="119"/>
                          <a:pt x="56" y="119"/>
                        </a:cubicBezTo>
                        <a:cubicBezTo>
                          <a:pt x="42" y="119"/>
                          <a:pt x="42" y="119"/>
                          <a:pt x="42" y="119"/>
                        </a:cubicBezTo>
                        <a:cubicBezTo>
                          <a:pt x="41" y="100"/>
                          <a:pt x="41" y="100"/>
                          <a:pt x="41" y="100"/>
                        </a:cubicBezTo>
                        <a:cubicBezTo>
                          <a:pt x="16" y="111"/>
                          <a:pt x="16" y="111"/>
                          <a:pt x="16" y="111"/>
                        </a:cubicBezTo>
                        <a:cubicBezTo>
                          <a:pt x="21" y="124"/>
                          <a:pt x="21" y="124"/>
                          <a:pt x="21" y="124"/>
                        </a:cubicBezTo>
                        <a:cubicBezTo>
                          <a:pt x="17" y="139"/>
                          <a:pt x="17" y="139"/>
                          <a:pt x="17" y="139"/>
                        </a:cubicBezTo>
                        <a:cubicBezTo>
                          <a:pt x="24" y="152"/>
                          <a:pt x="24" y="152"/>
                          <a:pt x="24" y="152"/>
                        </a:cubicBezTo>
                        <a:cubicBezTo>
                          <a:pt x="25" y="187"/>
                          <a:pt x="25" y="187"/>
                          <a:pt x="25" y="187"/>
                        </a:cubicBezTo>
                        <a:cubicBezTo>
                          <a:pt x="0" y="196"/>
                          <a:pt x="0" y="196"/>
                          <a:pt x="0" y="196"/>
                        </a:cubicBezTo>
                        <a:cubicBezTo>
                          <a:pt x="0" y="208"/>
                          <a:pt x="0" y="208"/>
                          <a:pt x="0" y="208"/>
                        </a:cubicBezTo>
                        <a:cubicBezTo>
                          <a:pt x="12" y="224"/>
                          <a:pt x="12" y="224"/>
                          <a:pt x="12" y="224"/>
                        </a:cubicBezTo>
                        <a:cubicBezTo>
                          <a:pt x="4" y="227"/>
                          <a:pt x="4" y="227"/>
                          <a:pt x="4" y="227"/>
                        </a:cubicBezTo>
                        <a:cubicBezTo>
                          <a:pt x="2" y="255"/>
                          <a:pt x="2" y="255"/>
                          <a:pt x="2" y="255"/>
                        </a:cubicBezTo>
                        <a:cubicBezTo>
                          <a:pt x="2" y="255"/>
                          <a:pt x="25" y="291"/>
                          <a:pt x="29" y="311"/>
                        </a:cubicBezTo>
                        <a:cubicBezTo>
                          <a:pt x="34" y="311"/>
                          <a:pt x="74" y="347"/>
                          <a:pt x="62" y="367"/>
                        </a:cubicBezTo>
                        <a:cubicBezTo>
                          <a:pt x="60" y="374"/>
                          <a:pt x="46" y="380"/>
                          <a:pt x="46" y="380"/>
                        </a:cubicBezTo>
                        <a:cubicBezTo>
                          <a:pt x="50" y="403"/>
                          <a:pt x="50" y="403"/>
                          <a:pt x="50" y="403"/>
                        </a:cubicBezTo>
                        <a:cubicBezTo>
                          <a:pt x="56" y="384"/>
                          <a:pt x="56" y="384"/>
                          <a:pt x="56" y="384"/>
                        </a:cubicBezTo>
                        <a:cubicBezTo>
                          <a:pt x="68" y="384"/>
                          <a:pt x="68" y="384"/>
                          <a:pt x="68" y="384"/>
                        </a:cubicBezTo>
                        <a:cubicBezTo>
                          <a:pt x="72" y="396"/>
                          <a:pt x="72" y="396"/>
                          <a:pt x="72" y="396"/>
                        </a:cubicBezTo>
                        <a:cubicBezTo>
                          <a:pt x="82" y="391"/>
                          <a:pt x="82" y="391"/>
                          <a:pt x="82" y="391"/>
                        </a:cubicBezTo>
                        <a:cubicBezTo>
                          <a:pt x="88" y="398"/>
                          <a:pt x="88" y="398"/>
                          <a:pt x="88" y="398"/>
                        </a:cubicBezTo>
                        <a:cubicBezTo>
                          <a:pt x="90" y="390"/>
                          <a:pt x="90" y="390"/>
                          <a:pt x="90" y="390"/>
                        </a:cubicBezTo>
                        <a:cubicBezTo>
                          <a:pt x="90" y="390"/>
                          <a:pt x="120" y="375"/>
                          <a:pt x="126" y="384"/>
                        </a:cubicBezTo>
                        <a:cubicBezTo>
                          <a:pt x="133" y="394"/>
                          <a:pt x="158" y="391"/>
                          <a:pt x="145" y="402"/>
                        </a:cubicBezTo>
                        <a:cubicBezTo>
                          <a:pt x="150" y="406"/>
                          <a:pt x="150" y="406"/>
                          <a:pt x="150" y="406"/>
                        </a:cubicBezTo>
                        <a:cubicBezTo>
                          <a:pt x="157" y="424"/>
                          <a:pt x="157" y="424"/>
                          <a:pt x="157" y="424"/>
                        </a:cubicBezTo>
                        <a:cubicBezTo>
                          <a:pt x="157" y="424"/>
                          <a:pt x="188" y="403"/>
                          <a:pt x="174" y="452"/>
                        </a:cubicBezTo>
                        <a:cubicBezTo>
                          <a:pt x="170" y="464"/>
                          <a:pt x="170" y="468"/>
                          <a:pt x="171" y="469"/>
                        </a:cubicBezTo>
                        <a:cubicBezTo>
                          <a:pt x="172" y="470"/>
                          <a:pt x="172" y="470"/>
                          <a:pt x="172" y="470"/>
                        </a:cubicBezTo>
                        <a:cubicBezTo>
                          <a:pt x="172" y="470"/>
                          <a:pt x="171" y="470"/>
                          <a:pt x="171" y="469"/>
                        </a:cubicBezTo>
                        <a:cubicBezTo>
                          <a:pt x="157" y="458"/>
                          <a:pt x="157" y="458"/>
                          <a:pt x="157" y="458"/>
                        </a:cubicBezTo>
                        <a:cubicBezTo>
                          <a:pt x="160" y="470"/>
                          <a:pt x="160" y="470"/>
                          <a:pt x="160" y="470"/>
                        </a:cubicBezTo>
                        <a:cubicBezTo>
                          <a:pt x="160" y="470"/>
                          <a:pt x="150" y="475"/>
                          <a:pt x="150" y="479"/>
                        </a:cubicBezTo>
                        <a:cubicBezTo>
                          <a:pt x="150" y="483"/>
                          <a:pt x="157" y="495"/>
                          <a:pt x="157" y="495"/>
                        </a:cubicBezTo>
                        <a:cubicBezTo>
                          <a:pt x="142" y="495"/>
                          <a:pt x="142" y="495"/>
                          <a:pt x="142" y="495"/>
                        </a:cubicBezTo>
                        <a:cubicBezTo>
                          <a:pt x="142" y="515"/>
                          <a:pt x="142" y="515"/>
                          <a:pt x="142" y="515"/>
                        </a:cubicBezTo>
                        <a:cubicBezTo>
                          <a:pt x="122" y="519"/>
                          <a:pt x="122" y="519"/>
                          <a:pt x="122" y="519"/>
                        </a:cubicBezTo>
                        <a:cubicBezTo>
                          <a:pt x="110" y="547"/>
                          <a:pt x="110" y="547"/>
                          <a:pt x="110" y="547"/>
                        </a:cubicBezTo>
                        <a:cubicBezTo>
                          <a:pt x="82" y="548"/>
                          <a:pt x="82" y="548"/>
                          <a:pt x="82" y="548"/>
                        </a:cubicBezTo>
                        <a:cubicBezTo>
                          <a:pt x="81" y="554"/>
                          <a:pt x="81" y="554"/>
                          <a:pt x="81" y="554"/>
                        </a:cubicBezTo>
                        <a:cubicBezTo>
                          <a:pt x="62" y="563"/>
                          <a:pt x="62" y="563"/>
                          <a:pt x="62" y="563"/>
                        </a:cubicBezTo>
                        <a:cubicBezTo>
                          <a:pt x="62" y="579"/>
                          <a:pt x="62" y="579"/>
                          <a:pt x="62" y="579"/>
                        </a:cubicBezTo>
                        <a:cubicBezTo>
                          <a:pt x="41" y="588"/>
                          <a:pt x="41" y="588"/>
                          <a:pt x="41" y="588"/>
                        </a:cubicBezTo>
                        <a:cubicBezTo>
                          <a:pt x="54" y="640"/>
                          <a:pt x="54" y="640"/>
                          <a:pt x="54" y="640"/>
                        </a:cubicBezTo>
                        <a:lnTo>
                          <a:pt x="68" y="647"/>
                        </a:lnTo>
                        <a:close/>
                      </a:path>
                    </a:pathLst>
                  </a:custGeom>
                  <a:solidFill>
                    <a:srgbClr val="F4F3F0"/>
                  </a:solidFill>
                  <a:ln w="3175" cap="flat" cmpd="sng">
                    <a:solidFill>
                      <a:schemeClr val="accent2"/>
                    </a:solidFill>
                    <a:prstDash val="solid"/>
                    <a:round/>
                    <a:headEnd type="none" w="med" len="med"/>
                    <a:tailEnd type="none" w="med" len="med"/>
                  </a:ln>
                  <a:effectLst/>
                </p:spPr>
                <p:txBody>
                  <a:bodyPr/>
                  <a:lstStyle/>
                  <a:p>
                    <a:endParaRPr lang="en-US" sz="1600">
                      <a:solidFill>
                        <a:srgbClr val="5F5F5F"/>
                      </a:solidFill>
                      <a:latin typeface="Tahoma"/>
                    </a:endParaRPr>
                  </a:p>
                </p:txBody>
              </p:sp>
            </p:grpSp>
          </p:grpSp>
          <p:pic>
            <p:nvPicPr>
              <p:cNvPr id="112" name="Location-White-Background">
                <a:extLst>
                  <a:ext uri="{FF2B5EF4-FFF2-40B4-BE49-F238E27FC236}">
                    <a16:creationId xmlns:a16="http://schemas.microsoft.com/office/drawing/2014/main" id="{4E75B5D4-FF17-4528-8F1B-A848B09BF8A3}"/>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7391737" y="4099915"/>
                <a:ext cx="161684" cy="161684"/>
              </a:xfrm>
              <a:prstGeom prst="rect">
                <a:avLst/>
              </a:prstGeom>
            </p:spPr>
          </p:pic>
          <p:sp>
            <p:nvSpPr>
              <p:cNvPr id="113" name="ZoneTexte 112">
                <a:extLst>
                  <a:ext uri="{FF2B5EF4-FFF2-40B4-BE49-F238E27FC236}">
                    <a16:creationId xmlns:a16="http://schemas.microsoft.com/office/drawing/2014/main" id="{FAEA4696-E35A-4BD4-BB89-18292677A021}"/>
                  </a:ext>
                </a:extLst>
              </p:cNvPr>
              <p:cNvSpPr txBox="1"/>
              <p:nvPr/>
            </p:nvSpPr>
            <p:spPr>
              <a:xfrm>
                <a:off x="6932446" y="3661458"/>
                <a:ext cx="1021291" cy="766524"/>
              </a:xfrm>
              <a:prstGeom prst="rect">
                <a:avLst/>
              </a:prstGeom>
              <a:noFill/>
            </p:spPr>
            <p:txBody>
              <a:bodyPr wrap="square" lIns="108000" rIns="108000" rtlCol="0">
                <a:spAutoFit/>
              </a:bodyPr>
              <a:lstStyle/>
              <a:p>
                <a:endParaRPr lang="fr-FR" sz="600">
                  <a:solidFill>
                    <a:srgbClr val="5F5F5F"/>
                  </a:solidFill>
                  <a:latin typeface="Tahoma"/>
                </a:endParaRPr>
              </a:p>
              <a:p>
                <a:pPr algn="ctr"/>
                <a:r>
                  <a:rPr lang="fr-FR" sz="600" b="1">
                    <a:solidFill>
                      <a:srgbClr val="503078"/>
                    </a:solidFill>
                    <a:latin typeface="Tahoma"/>
                  </a:rPr>
                  <a:t>La Chataigneraie</a:t>
                </a:r>
              </a:p>
              <a:p>
                <a:pPr algn="ctr"/>
                <a:r>
                  <a:rPr lang="fr-FR" sz="600">
                    <a:solidFill>
                      <a:srgbClr val="5F5F5F"/>
                    </a:solidFill>
                    <a:latin typeface="Tahoma"/>
                  </a:rPr>
                  <a:t>Maurs-La-Jolie (15)</a:t>
                </a:r>
              </a:p>
              <a:p>
                <a:endParaRPr lang="fr-FR" sz="600">
                  <a:solidFill>
                    <a:srgbClr val="5F5F5F"/>
                  </a:solidFill>
                  <a:latin typeface="Tahoma"/>
                </a:endParaRPr>
              </a:p>
            </p:txBody>
          </p:sp>
          <p:pic>
            <p:nvPicPr>
              <p:cNvPr id="127" name="Location-White-Background">
                <a:extLst>
                  <a:ext uri="{FF2B5EF4-FFF2-40B4-BE49-F238E27FC236}">
                    <a16:creationId xmlns:a16="http://schemas.microsoft.com/office/drawing/2014/main" id="{62287785-5310-403A-B720-74CAF1F6CD9F}"/>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7637213" y="3966264"/>
                <a:ext cx="161684" cy="161684"/>
              </a:xfrm>
              <a:prstGeom prst="rect">
                <a:avLst/>
              </a:prstGeom>
            </p:spPr>
          </p:pic>
        </p:grpSp>
        <p:pic>
          <p:nvPicPr>
            <p:cNvPr id="165" name="Location-White-Background">
              <a:extLst>
                <a:ext uri="{FF2B5EF4-FFF2-40B4-BE49-F238E27FC236}">
                  <a16:creationId xmlns:a16="http://schemas.microsoft.com/office/drawing/2014/main" id="{A0544F43-B54D-48A2-8198-525AF65DBA02}"/>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5020759" y="2292297"/>
              <a:ext cx="186199" cy="182268"/>
            </a:xfrm>
            <a:prstGeom prst="rect">
              <a:avLst/>
            </a:prstGeom>
          </p:spPr>
        </p:pic>
        <p:sp>
          <p:nvSpPr>
            <p:cNvPr id="166" name="ZoneTexte 165">
              <a:extLst>
                <a:ext uri="{FF2B5EF4-FFF2-40B4-BE49-F238E27FC236}">
                  <a16:creationId xmlns:a16="http://schemas.microsoft.com/office/drawing/2014/main" id="{3BD969F7-BBEA-44B3-A2D3-D656960E0186}"/>
                </a:ext>
              </a:extLst>
            </p:cNvPr>
            <p:cNvSpPr txBox="1"/>
            <p:nvPr/>
          </p:nvSpPr>
          <p:spPr>
            <a:xfrm>
              <a:off x="5011409" y="2136928"/>
              <a:ext cx="1176141" cy="740668"/>
            </a:xfrm>
            <a:prstGeom prst="rect">
              <a:avLst/>
            </a:prstGeom>
            <a:noFill/>
          </p:spPr>
          <p:txBody>
            <a:bodyPr wrap="square" lIns="108000" rIns="108000" rtlCol="0">
              <a:spAutoFit/>
            </a:bodyPr>
            <a:lstStyle/>
            <a:p>
              <a:endParaRPr lang="fr-FR" sz="600">
                <a:solidFill>
                  <a:srgbClr val="5F5F5F"/>
                </a:solidFill>
                <a:latin typeface="Tahoma"/>
              </a:endParaRPr>
            </a:p>
            <a:p>
              <a:pPr algn="ctr"/>
              <a:r>
                <a:rPr lang="fr-FR" sz="600" b="1">
                  <a:solidFill>
                    <a:srgbClr val="503078"/>
                  </a:solidFill>
                  <a:latin typeface="Tahoma"/>
                </a:rPr>
                <a:t>Lou </a:t>
              </a:r>
              <a:r>
                <a:rPr lang="fr-FR" sz="600" b="1" err="1">
                  <a:solidFill>
                    <a:srgbClr val="503078"/>
                  </a:solidFill>
                  <a:latin typeface="Tahoma"/>
                </a:rPr>
                <a:t>Capitelle</a:t>
              </a:r>
              <a:r>
                <a:rPr lang="fr-FR" sz="600" b="1">
                  <a:solidFill>
                    <a:srgbClr val="503078"/>
                  </a:solidFill>
                  <a:latin typeface="Tahoma"/>
                </a:rPr>
                <a:t> &amp; spa</a:t>
              </a:r>
            </a:p>
            <a:p>
              <a:pPr algn="ctr"/>
              <a:r>
                <a:rPr lang="fr-FR" sz="600">
                  <a:solidFill>
                    <a:srgbClr val="5F5F5F"/>
                  </a:solidFill>
                  <a:latin typeface="Tahoma"/>
                </a:rPr>
                <a:t>Vogüé (07)</a:t>
              </a:r>
            </a:p>
            <a:p>
              <a:endParaRPr lang="fr-FR" sz="600">
                <a:solidFill>
                  <a:srgbClr val="5F5F5F"/>
                </a:solidFill>
                <a:latin typeface="Tahoma"/>
              </a:endParaRPr>
            </a:p>
          </p:txBody>
        </p:sp>
        <p:sp>
          <p:nvSpPr>
            <p:cNvPr id="167" name="ZoneTexte 166">
              <a:extLst>
                <a:ext uri="{FF2B5EF4-FFF2-40B4-BE49-F238E27FC236}">
                  <a16:creationId xmlns:a16="http://schemas.microsoft.com/office/drawing/2014/main" id="{F48FD845-80F1-4547-8A25-7B04C7E65349}"/>
                </a:ext>
              </a:extLst>
            </p:cNvPr>
            <p:cNvSpPr txBox="1"/>
            <p:nvPr/>
          </p:nvSpPr>
          <p:spPr>
            <a:xfrm>
              <a:off x="3503029" y="2351487"/>
              <a:ext cx="1141236" cy="740668"/>
            </a:xfrm>
            <a:prstGeom prst="rect">
              <a:avLst/>
            </a:prstGeom>
            <a:noFill/>
          </p:spPr>
          <p:txBody>
            <a:bodyPr wrap="square" lIns="108000" rIns="108000" rtlCol="0">
              <a:spAutoFit/>
            </a:bodyPr>
            <a:lstStyle/>
            <a:p>
              <a:endParaRPr lang="fr-FR" sz="600">
                <a:solidFill>
                  <a:srgbClr val="5F5F5F"/>
                </a:solidFill>
                <a:latin typeface="Tahoma"/>
              </a:endParaRPr>
            </a:p>
            <a:p>
              <a:pPr algn="ctr"/>
              <a:r>
                <a:rPr lang="fr-FR" sz="600" b="1">
                  <a:solidFill>
                    <a:srgbClr val="503078"/>
                  </a:solidFill>
                  <a:latin typeface="Tahoma"/>
                </a:rPr>
                <a:t>Domaine de Pyrène</a:t>
              </a:r>
            </a:p>
            <a:p>
              <a:pPr algn="ctr"/>
              <a:r>
                <a:rPr lang="fr-FR" sz="600">
                  <a:solidFill>
                    <a:srgbClr val="5F5F5F"/>
                  </a:solidFill>
                  <a:latin typeface="Tahoma"/>
                </a:rPr>
                <a:t>Cauterets (65)</a:t>
              </a:r>
            </a:p>
            <a:p>
              <a:endParaRPr lang="fr-FR" sz="600">
                <a:solidFill>
                  <a:srgbClr val="5F5F5F"/>
                </a:solidFill>
                <a:latin typeface="Tahoma"/>
              </a:endParaRPr>
            </a:p>
          </p:txBody>
        </p:sp>
        <p:sp>
          <p:nvSpPr>
            <p:cNvPr id="168" name="ZoneTexte 167">
              <a:extLst>
                <a:ext uri="{FF2B5EF4-FFF2-40B4-BE49-F238E27FC236}">
                  <a16:creationId xmlns:a16="http://schemas.microsoft.com/office/drawing/2014/main" id="{2F4564EA-5073-43EE-872B-9F5ED3408B8F}"/>
                </a:ext>
              </a:extLst>
            </p:cNvPr>
            <p:cNvSpPr txBox="1"/>
            <p:nvPr/>
          </p:nvSpPr>
          <p:spPr>
            <a:xfrm>
              <a:off x="4129042" y="1123635"/>
              <a:ext cx="1176140" cy="617223"/>
            </a:xfrm>
            <a:prstGeom prst="rect">
              <a:avLst/>
            </a:prstGeom>
            <a:noFill/>
          </p:spPr>
          <p:txBody>
            <a:bodyPr wrap="square" lIns="108000" rIns="108000" rtlCol="0">
              <a:spAutoFit/>
            </a:bodyPr>
            <a:lstStyle/>
            <a:p>
              <a:endParaRPr lang="fr-FR" sz="600">
                <a:solidFill>
                  <a:srgbClr val="5F5F5F"/>
                </a:solidFill>
                <a:latin typeface="Tahoma"/>
              </a:endParaRPr>
            </a:p>
            <a:p>
              <a:pPr algn="ctr"/>
              <a:r>
                <a:rPr lang="fr-FR" sz="600" b="1">
                  <a:solidFill>
                    <a:srgbClr val="048B9A"/>
                  </a:solidFill>
                  <a:latin typeface="Tahoma"/>
                </a:rPr>
                <a:t>Sweet Home</a:t>
              </a:r>
            </a:p>
            <a:p>
              <a:pPr algn="ctr"/>
              <a:r>
                <a:rPr lang="fr-FR" sz="600">
                  <a:solidFill>
                    <a:srgbClr val="5F5F5F"/>
                  </a:solidFill>
                  <a:latin typeface="Tahoma"/>
                </a:rPr>
                <a:t>Cabourg (14)</a:t>
              </a:r>
            </a:p>
            <a:p>
              <a:endParaRPr lang="fr-FR" sz="600">
                <a:solidFill>
                  <a:srgbClr val="5F5F5F"/>
                </a:solidFill>
                <a:latin typeface="Tahoma"/>
              </a:endParaRPr>
            </a:p>
          </p:txBody>
        </p:sp>
        <p:pic>
          <p:nvPicPr>
            <p:cNvPr id="169" name="Location-White-Background">
              <a:extLst>
                <a:ext uri="{FF2B5EF4-FFF2-40B4-BE49-F238E27FC236}">
                  <a16:creationId xmlns:a16="http://schemas.microsoft.com/office/drawing/2014/main" id="{98DE38D8-9CAC-4588-BD4E-76761A4E3FF0}"/>
                </a:ext>
              </a:extLst>
            </p:cNvPr>
            <p:cNvPicPr>
              <a:picLocks noChangeAspect="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4570133" y="1494544"/>
              <a:ext cx="186199" cy="182268"/>
            </a:xfrm>
            <a:prstGeom prst="rect">
              <a:avLst/>
            </a:prstGeom>
          </p:spPr>
        </p:pic>
        <p:pic>
          <p:nvPicPr>
            <p:cNvPr id="170" name="Location-White-Background">
              <a:extLst>
                <a:ext uri="{FF2B5EF4-FFF2-40B4-BE49-F238E27FC236}">
                  <a16:creationId xmlns:a16="http://schemas.microsoft.com/office/drawing/2014/main" id="{088FC3C0-1492-44F5-A216-C71C5B7E8C88}"/>
                </a:ext>
              </a:extLst>
            </p:cNvPr>
            <p:cNvPicPr>
              <a:picLocks noChangeAspect="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4171043" y="1673542"/>
              <a:ext cx="186199" cy="182268"/>
            </a:xfrm>
            <a:prstGeom prst="rect">
              <a:avLst/>
            </a:prstGeom>
          </p:spPr>
        </p:pic>
        <p:sp>
          <p:nvSpPr>
            <p:cNvPr id="171" name="ZoneTexte 170">
              <a:extLst>
                <a:ext uri="{FF2B5EF4-FFF2-40B4-BE49-F238E27FC236}">
                  <a16:creationId xmlns:a16="http://schemas.microsoft.com/office/drawing/2014/main" id="{F7B7CBC1-E120-45E8-A593-D4FABF397770}"/>
                </a:ext>
              </a:extLst>
            </p:cNvPr>
            <p:cNvSpPr txBox="1"/>
            <p:nvPr/>
          </p:nvSpPr>
          <p:spPr>
            <a:xfrm>
              <a:off x="3446846" y="1330106"/>
              <a:ext cx="1176140" cy="617223"/>
            </a:xfrm>
            <a:prstGeom prst="rect">
              <a:avLst/>
            </a:prstGeom>
            <a:noFill/>
          </p:spPr>
          <p:txBody>
            <a:bodyPr wrap="square" lIns="108000" rIns="108000" rtlCol="0">
              <a:spAutoFit/>
            </a:bodyPr>
            <a:lstStyle/>
            <a:p>
              <a:endParaRPr lang="fr-FR" sz="600">
                <a:solidFill>
                  <a:srgbClr val="5F5F5F"/>
                </a:solidFill>
                <a:latin typeface="Tahoma"/>
              </a:endParaRPr>
            </a:p>
            <a:p>
              <a:pPr algn="ctr"/>
              <a:r>
                <a:rPr lang="fr-FR" sz="600" b="1" err="1">
                  <a:solidFill>
                    <a:srgbClr val="048B9A"/>
                  </a:solidFill>
                  <a:latin typeface="Tahoma"/>
                </a:rPr>
                <a:t>Beg</a:t>
              </a:r>
              <a:r>
                <a:rPr lang="fr-FR" sz="600" b="1">
                  <a:solidFill>
                    <a:srgbClr val="048B9A"/>
                  </a:solidFill>
                  <a:latin typeface="Tahoma"/>
                </a:rPr>
                <a:t> </a:t>
              </a:r>
              <a:r>
                <a:rPr lang="fr-FR" sz="600" b="1" err="1">
                  <a:solidFill>
                    <a:srgbClr val="048B9A"/>
                  </a:solidFill>
                  <a:latin typeface="Tahoma"/>
                </a:rPr>
                <a:t>Porz</a:t>
              </a:r>
              <a:endParaRPr lang="fr-FR" sz="600" b="1">
                <a:solidFill>
                  <a:srgbClr val="048B9A"/>
                </a:solidFill>
                <a:latin typeface="Tahoma"/>
              </a:endParaRPr>
            </a:p>
            <a:p>
              <a:pPr algn="ctr"/>
              <a:r>
                <a:rPr lang="fr-FR" sz="600">
                  <a:solidFill>
                    <a:srgbClr val="5F5F5F"/>
                  </a:solidFill>
                  <a:latin typeface="Tahoma"/>
                </a:rPr>
                <a:t>Moëlan-sur-Mer (29)</a:t>
              </a:r>
            </a:p>
          </p:txBody>
        </p:sp>
        <p:pic>
          <p:nvPicPr>
            <p:cNvPr id="172" name="Location-White-Background">
              <a:extLst>
                <a:ext uri="{FF2B5EF4-FFF2-40B4-BE49-F238E27FC236}">
                  <a16:creationId xmlns:a16="http://schemas.microsoft.com/office/drawing/2014/main" id="{5D9697A9-232C-48B2-A155-78FAD68B278B}"/>
                </a:ext>
              </a:extLst>
            </p:cNvPr>
            <p:cNvPicPr>
              <a:picLocks noChangeAspect="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4401835" y="1899708"/>
              <a:ext cx="186199" cy="182268"/>
            </a:xfrm>
            <a:prstGeom prst="rect">
              <a:avLst/>
            </a:prstGeom>
          </p:spPr>
        </p:pic>
        <p:sp>
          <p:nvSpPr>
            <p:cNvPr id="173" name="ZoneTexte 172">
              <a:extLst>
                <a:ext uri="{FF2B5EF4-FFF2-40B4-BE49-F238E27FC236}">
                  <a16:creationId xmlns:a16="http://schemas.microsoft.com/office/drawing/2014/main" id="{58481C9F-B51E-4D47-8CC3-BE31CF4BD232}"/>
                </a:ext>
              </a:extLst>
            </p:cNvPr>
            <p:cNvSpPr txBox="1"/>
            <p:nvPr/>
          </p:nvSpPr>
          <p:spPr>
            <a:xfrm>
              <a:off x="4511028" y="1745396"/>
              <a:ext cx="1176140" cy="617223"/>
            </a:xfrm>
            <a:prstGeom prst="rect">
              <a:avLst/>
            </a:prstGeom>
            <a:noFill/>
          </p:spPr>
          <p:txBody>
            <a:bodyPr wrap="square" lIns="108000" rIns="108000" rtlCol="0">
              <a:spAutoFit/>
            </a:bodyPr>
            <a:lstStyle/>
            <a:p>
              <a:endParaRPr lang="fr-FR" sz="600">
                <a:solidFill>
                  <a:srgbClr val="5F5F5F"/>
                </a:solidFill>
                <a:latin typeface="Tahoma"/>
              </a:endParaRPr>
            </a:p>
            <a:p>
              <a:r>
                <a:rPr lang="fr-FR" sz="600" b="1">
                  <a:solidFill>
                    <a:srgbClr val="048B9A"/>
                  </a:solidFill>
                  <a:latin typeface="Tahoma"/>
                </a:rPr>
                <a:t>Les 4 Vents</a:t>
              </a:r>
            </a:p>
            <a:p>
              <a:r>
                <a:rPr lang="fr-FR" sz="600">
                  <a:solidFill>
                    <a:srgbClr val="5F5F5F"/>
                  </a:solidFill>
                  <a:latin typeface="Tahoma"/>
                </a:rPr>
                <a:t>Noirmoutier  (85)</a:t>
              </a:r>
            </a:p>
          </p:txBody>
        </p:sp>
        <p:pic>
          <p:nvPicPr>
            <p:cNvPr id="174" name="Location-White-Background">
              <a:extLst>
                <a:ext uri="{FF2B5EF4-FFF2-40B4-BE49-F238E27FC236}">
                  <a16:creationId xmlns:a16="http://schemas.microsoft.com/office/drawing/2014/main" id="{481FAEC9-479C-4EB6-BFE4-460AA4ED92ED}"/>
                </a:ext>
              </a:extLst>
            </p:cNvPr>
            <p:cNvPicPr>
              <a:picLocks noChangeAspect="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4292643" y="1749636"/>
              <a:ext cx="186199" cy="182268"/>
            </a:xfrm>
            <a:prstGeom prst="rect">
              <a:avLst/>
            </a:prstGeom>
          </p:spPr>
        </p:pic>
        <p:sp>
          <p:nvSpPr>
            <p:cNvPr id="175" name="ZoneTexte 174">
              <a:extLst>
                <a:ext uri="{FF2B5EF4-FFF2-40B4-BE49-F238E27FC236}">
                  <a16:creationId xmlns:a16="http://schemas.microsoft.com/office/drawing/2014/main" id="{9DBEEAF6-1586-4D9E-883E-F19A53B17970}"/>
                </a:ext>
              </a:extLst>
            </p:cNvPr>
            <p:cNvSpPr txBox="1"/>
            <p:nvPr/>
          </p:nvSpPr>
          <p:spPr>
            <a:xfrm>
              <a:off x="4365493" y="1621247"/>
              <a:ext cx="1176140" cy="370334"/>
            </a:xfrm>
            <a:prstGeom prst="rect">
              <a:avLst/>
            </a:prstGeom>
            <a:noFill/>
          </p:spPr>
          <p:txBody>
            <a:bodyPr wrap="square" lIns="108000" rIns="108000" rtlCol="0">
              <a:spAutoFit/>
            </a:bodyPr>
            <a:lstStyle/>
            <a:p>
              <a:r>
                <a:rPr lang="fr-FR" sz="600" b="1">
                  <a:solidFill>
                    <a:srgbClr val="048B9A"/>
                  </a:solidFill>
                  <a:latin typeface="Tahoma"/>
                </a:rPr>
                <a:t>Port aux Rocs</a:t>
              </a:r>
            </a:p>
            <a:p>
              <a:r>
                <a:rPr lang="fr-FR" sz="600">
                  <a:solidFill>
                    <a:srgbClr val="5F5F5F"/>
                  </a:solidFill>
                  <a:latin typeface="Tahoma"/>
                </a:rPr>
                <a:t>Le Croisic (44)</a:t>
              </a:r>
            </a:p>
          </p:txBody>
        </p:sp>
        <p:pic>
          <p:nvPicPr>
            <p:cNvPr id="176" name="Location-White-Background">
              <a:extLst>
                <a:ext uri="{FF2B5EF4-FFF2-40B4-BE49-F238E27FC236}">
                  <a16:creationId xmlns:a16="http://schemas.microsoft.com/office/drawing/2014/main" id="{8D6BF2C6-5C36-494F-ADD7-4F2031EC468A}"/>
                </a:ext>
              </a:extLst>
            </p:cNvPr>
            <p:cNvPicPr>
              <a:picLocks noChangeAspect="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5383455" y="1650457"/>
              <a:ext cx="186199" cy="182268"/>
            </a:xfrm>
            <a:prstGeom prst="rect">
              <a:avLst/>
            </a:prstGeom>
          </p:spPr>
        </p:pic>
        <p:sp>
          <p:nvSpPr>
            <p:cNvPr id="177" name="ZoneTexte 176">
              <a:extLst>
                <a:ext uri="{FF2B5EF4-FFF2-40B4-BE49-F238E27FC236}">
                  <a16:creationId xmlns:a16="http://schemas.microsoft.com/office/drawing/2014/main" id="{5973E284-06E4-4682-959D-E4A5F42DD793}"/>
                </a:ext>
              </a:extLst>
            </p:cNvPr>
            <p:cNvSpPr txBox="1"/>
            <p:nvPr/>
          </p:nvSpPr>
          <p:spPr>
            <a:xfrm>
              <a:off x="4961918" y="1307308"/>
              <a:ext cx="1176140" cy="617223"/>
            </a:xfrm>
            <a:prstGeom prst="rect">
              <a:avLst/>
            </a:prstGeom>
            <a:noFill/>
          </p:spPr>
          <p:txBody>
            <a:bodyPr wrap="square" lIns="108000" rIns="108000" rtlCol="0">
              <a:spAutoFit/>
            </a:bodyPr>
            <a:lstStyle/>
            <a:p>
              <a:endParaRPr lang="fr-FR" sz="600">
                <a:solidFill>
                  <a:srgbClr val="5F5F5F"/>
                </a:solidFill>
                <a:latin typeface="Tahoma"/>
              </a:endParaRPr>
            </a:p>
            <a:p>
              <a:pPr algn="ctr"/>
              <a:r>
                <a:rPr lang="fr-FR" sz="600" b="1">
                  <a:solidFill>
                    <a:srgbClr val="048B9A"/>
                  </a:solidFill>
                  <a:latin typeface="Tahoma"/>
                </a:rPr>
                <a:t>Lé </a:t>
              </a:r>
              <a:r>
                <a:rPr lang="fr-FR" sz="600" b="1" err="1">
                  <a:solidFill>
                    <a:srgbClr val="048B9A"/>
                  </a:solidFill>
                  <a:latin typeface="Tahoma"/>
                </a:rPr>
                <a:t>Quoette</a:t>
              </a:r>
              <a:r>
                <a:rPr lang="fr-FR" sz="600" b="1">
                  <a:solidFill>
                    <a:srgbClr val="048B9A"/>
                  </a:solidFill>
                  <a:latin typeface="Tahoma"/>
                </a:rPr>
                <a:t> Vo</a:t>
              </a:r>
            </a:p>
            <a:p>
              <a:pPr algn="ctr"/>
              <a:r>
                <a:rPr lang="fr-FR" sz="600">
                  <a:solidFill>
                    <a:srgbClr val="5F5F5F"/>
                  </a:solidFill>
                  <a:latin typeface="Tahoma"/>
                </a:rPr>
                <a:t>Ramonchamp (88)</a:t>
              </a:r>
            </a:p>
          </p:txBody>
        </p:sp>
        <p:pic>
          <p:nvPicPr>
            <p:cNvPr id="178" name="Location-White-Background">
              <a:extLst>
                <a:ext uri="{FF2B5EF4-FFF2-40B4-BE49-F238E27FC236}">
                  <a16:creationId xmlns:a16="http://schemas.microsoft.com/office/drawing/2014/main" id="{17B0BBD4-2A20-41FC-8C4D-7CCD0EC25FBA}"/>
                </a:ext>
              </a:extLst>
            </p:cNvPr>
            <p:cNvPicPr>
              <a:picLocks noChangeAspect="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4459785" y="2472425"/>
              <a:ext cx="186199" cy="182268"/>
            </a:xfrm>
            <a:prstGeom prst="rect">
              <a:avLst/>
            </a:prstGeom>
          </p:spPr>
        </p:pic>
      </p:grpSp>
      <p:sp>
        <p:nvSpPr>
          <p:cNvPr id="179" name="ZoneTexte 178">
            <a:extLst>
              <a:ext uri="{FF2B5EF4-FFF2-40B4-BE49-F238E27FC236}">
                <a16:creationId xmlns:a16="http://schemas.microsoft.com/office/drawing/2014/main" id="{CB3EEC77-413C-49F4-AA2D-9DE64BF4CA86}"/>
              </a:ext>
            </a:extLst>
          </p:cNvPr>
          <p:cNvSpPr txBox="1"/>
          <p:nvPr/>
        </p:nvSpPr>
        <p:spPr>
          <a:xfrm>
            <a:off x="1298538" y="2619290"/>
            <a:ext cx="9633208" cy="1061829"/>
          </a:xfrm>
          <a:prstGeom prst="rect">
            <a:avLst/>
          </a:prstGeom>
          <a:noFill/>
        </p:spPr>
        <p:txBody>
          <a:bodyPr wrap="square">
            <a:spAutoFit/>
          </a:bodyPr>
          <a:lstStyle/>
          <a:p>
            <a:pPr algn="just"/>
            <a:r>
              <a:rPr lang="fr-FR" sz="1050">
                <a:solidFill>
                  <a:srgbClr val="5F5F5F"/>
                </a:solidFill>
                <a:latin typeface="Tahoma"/>
              </a:rPr>
              <a:t>L'AVMA est une association à but non lucratif, initiée par le régime de protection sociale agricole de la MSA et qui a pour vocation de promouvoir un tourisme associatif de qualité. L'AVMA s'adresse à tous publics (familles, enfants, groupes, publics fragilisés, personnes handicapées, personnes âgées, ...). L'association est un acteur du tourisme social ayant pour objectifs de promouvoir les vacances des personnes vivant en milieu rural et de développer un réseau de villages de vacances. L’association organise des séjours de répit dans plusieurs de ses villages : </a:t>
            </a:r>
          </a:p>
          <a:p>
            <a:pPr marL="171450" indent="-171450" algn="just">
              <a:buFontTx/>
              <a:buChar char="-"/>
            </a:pPr>
            <a:r>
              <a:rPr lang="fr-FR" sz="1050">
                <a:solidFill>
                  <a:srgbClr val="5F5F5F"/>
                </a:solidFill>
                <a:latin typeface="Tahoma"/>
              </a:rPr>
              <a:t>À destination des familles avec enfants en situation de handicap (</a:t>
            </a:r>
            <a:r>
              <a:rPr lang="fr-FR" sz="1050" b="1">
                <a:solidFill>
                  <a:srgbClr val="503078"/>
                </a:solidFill>
                <a:latin typeface="Tahoma"/>
              </a:rPr>
              <a:t>3 villages vacances</a:t>
            </a:r>
            <a:r>
              <a:rPr lang="fr-FR" sz="1050">
                <a:solidFill>
                  <a:srgbClr val="5F5F5F"/>
                </a:solidFill>
                <a:latin typeface="Tahoma"/>
              </a:rPr>
              <a:t>)</a:t>
            </a:r>
          </a:p>
          <a:p>
            <a:pPr marL="171450" indent="-171450" algn="just">
              <a:buFontTx/>
              <a:buChar char="-"/>
            </a:pPr>
            <a:r>
              <a:rPr lang="fr-FR" sz="1050">
                <a:solidFill>
                  <a:srgbClr val="5F5F5F"/>
                </a:solidFill>
                <a:latin typeface="Tahoma"/>
              </a:rPr>
              <a:t>A destination des aidants / aidés (</a:t>
            </a:r>
            <a:r>
              <a:rPr lang="fr-FR" sz="1050" b="1">
                <a:solidFill>
                  <a:srgbClr val="048B9A"/>
                </a:solidFill>
                <a:latin typeface="Tahoma"/>
              </a:rPr>
              <a:t>6 villages AVMA</a:t>
            </a:r>
            <a:r>
              <a:rPr lang="fr-FR" sz="1050">
                <a:solidFill>
                  <a:srgbClr val="5F5F5F"/>
                </a:solidFill>
                <a:latin typeface="Tahoma"/>
              </a:rPr>
              <a:t>) </a:t>
            </a:r>
          </a:p>
        </p:txBody>
      </p:sp>
      <p:sp>
        <p:nvSpPr>
          <p:cNvPr id="180" name="ZoneTexte 179">
            <a:extLst>
              <a:ext uri="{FF2B5EF4-FFF2-40B4-BE49-F238E27FC236}">
                <a16:creationId xmlns:a16="http://schemas.microsoft.com/office/drawing/2014/main" id="{DB788514-3156-4D8E-9C0D-BC42F46E2FE7}"/>
              </a:ext>
            </a:extLst>
          </p:cNvPr>
          <p:cNvSpPr txBox="1"/>
          <p:nvPr/>
        </p:nvSpPr>
        <p:spPr>
          <a:xfrm>
            <a:off x="1226216" y="2372044"/>
            <a:ext cx="5982318" cy="307777"/>
          </a:xfrm>
          <a:prstGeom prst="rect">
            <a:avLst/>
          </a:prstGeom>
          <a:noFill/>
          <a:ln>
            <a:solidFill>
              <a:schemeClr val="bg1"/>
            </a:solidFill>
          </a:ln>
        </p:spPr>
        <p:txBody>
          <a:bodyPr wrap="square" lIns="108000" rIns="108000" rtlCol="0">
            <a:spAutoFit/>
          </a:bodyPr>
          <a:lstStyle/>
          <a:p>
            <a:r>
              <a:rPr lang="fr-FR" sz="1400" b="1">
                <a:solidFill>
                  <a:srgbClr val="503078"/>
                </a:solidFill>
                <a:latin typeface="Tahoma"/>
              </a:rPr>
              <a:t>Description</a:t>
            </a:r>
          </a:p>
        </p:txBody>
      </p:sp>
      <p:sp>
        <p:nvSpPr>
          <p:cNvPr id="181" name="Rectangle 180">
            <a:extLst>
              <a:ext uri="{FF2B5EF4-FFF2-40B4-BE49-F238E27FC236}">
                <a16:creationId xmlns:a16="http://schemas.microsoft.com/office/drawing/2014/main" id="{047811AB-4BB0-49EB-8C8E-E5607435E742}"/>
              </a:ext>
            </a:extLst>
          </p:cNvPr>
          <p:cNvSpPr/>
          <p:nvPr/>
        </p:nvSpPr>
        <p:spPr>
          <a:xfrm>
            <a:off x="1226216" y="2372044"/>
            <a:ext cx="9705530" cy="134307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83" name="ZoneTexte 182">
            <a:extLst>
              <a:ext uri="{FF2B5EF4-FFF2-40B4-BE49-F238E27FC236}">
                <a16:creationId xmlns:a16="http://schemas.microsoft.com/office/drawing/2014/main" id="{A31386A6-C455-48C1-A3E4-8165F91EAFDE}"/>
              </a:ext>
            </a:extLst>
          </p:cNvPr>
          <p:cNvSpPr txBox="1"/>
          <p:nvPr/>
        </p:nvSpPr>
        <p:spPr>
          <a:xfrm>
            <a:off x="2634259" y="4154581"/>
            <a:ext cx="3376602" cy="485706"/>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84" name="ZoneTexte 183">
            <a:extLst>
              <a:ext uri="{FF2B5EF4-FFF2-40B4-BE49-F238E27FC236}">
                <a16:creationId xmlns:a16="http://schemas.microsoft.com/office/drawing/2014/main" id="{BD132CFE-E286-4C5B-B6D6-18221DE7A4BD}"/>
              </a:ext>
            </a:extLst>
          </p:cNvPr>
          <p:cNvSpPr txBox="1"/>
          <p:nvPr/>
        </p:nvSpPr>
        <p:spPr>
          <a:xfrm>
            <a:off x="2619871" y="5452437"/>
            <a:ext cx="3376602" cy="1220854"/>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85" name="ZoneTexte 184">
            <a:extLst>
              <a:ext uri="{FF2B5EF4-FFF2-40B4-BE49-F238E27FC236}">
                <a16:creationId xmlns:a16="http://schemas.microsoft.com/office/drawing/2014/main" id="{AED7B030-3F73-40DE-989C-509D458CC349}"/>
              </a:ext>
            </a:extLst>
          </p:cNvPr>
          <p:cNvSpPr txBox="1"/>
          <p:nvPr/>
        </p:nvSpPr>
        <p:spPr>
          <a:xfrm>
            <a:off x="2634259" y="4700860"/>
            <a:ext cx="3376602" cy="685551"/>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86" name="Rectangle 185">
            <a:extLst>
              <a:ext uri="{FF2B5EF4-FFF2-40B4-BE49-F238E27FC236}">
                <a16:creationId xmlns:a16="http://schemas.microsoft.com/office/drawing/2014/main" id="{76D78D31-92AE-44FF-AE01-80C7ECE69D12}"/>
              </a:ext>
            </a:extLst>
          </p:cNvPr>
          <p:cNvSpPr/>
          <p:nvPr/>
        </p:nvSpPr>
        <p:spPr>
          <a:xfrm>
            <a:off x="1263601" y="3774397"/>
            <a:ext cx="4825165" cy="2964938"/>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87" name="ZoneTexte 186">
            <a:extLst>
              <a:ext uri="{FF2B5EF4-FFF2-40B4-BE49-F238E27FC236}">
                <a16:creationId xmlns:a16="http://schemas.microsoft.com/office/drawing/2014/main" id="{C7B08FDE-97A3-4016-BE59-3AEDB137824D}"/>
              </a:ext>
            </a:extLst>
          </p:cNvPr>
          <p:cNvSpPr txBox="1"/>
          <p:nvPr/>
        </p:nvSpPr>
        <p:spPr>
          <a:xfrm>
            <a:off x="1263217" y="3774476"/>
            <a:ext cx="4815764" cy="307777"/>
          </a:xfrm>
          <a:prstGeom prst="rect">
            <a:avLst/>
          </a:prstGeom>
          <a:solidFill>
            <a:srgbClr val="B0ADCC"/>
          </a:solidFill>
          <a:ln>
            <a:noFill/>
          </a:ln>
        </p:spPr>
        <p:txBody>
          <a:bodyPr wrap="square" lIns="108000" rIns="108000" rtlCol="0">
            <a:spAutoFit/>
          </a:bodyPr>
          <a:lstStyle/>
          <a:p>
            <a:pPr algn="ctr"/>
            <a:r>
              <a:rPr lang="fr-FR" sz="1400" b="1">
                <a:solidFill>
                  <a:srgbClr val="FFFFFF"/>
                </a:solidFill>
                <a:latin typeface="Tahoma"/>
              </a:rPr>
              <a:t>Modèle opérationnel </a:t>
            </a:r>
          </a:p>
        </p:txBody>
      </p:sp>
      <p:sp>
        <p:nvSpPr>
          <p:cNvPr id="188" name="Rectangle 187">
            <a:extLst>
              <a:ext uri="{FF2B5EF4-FFF2-40B4-BE49-F238E27FC236}">
                <a16:creationId xmlns:a16="http://schemas.microsoft.com/office/drawing/2014/main" id="{1B9F6D6D-5568-4FC3-867C-A2DB217434F1}"/>
              </a:ext>
            </a:extLst>
          </p:cNvPr>
          <p:cNvSpPr/>
          <p:nvPr/>
        </p:nvSpPr>
        <p:spPr>
          <a:xfrm>
            <a:off x="6132206" y="3774397"/>
            <a:ext cx="4824000" cy="2964937"/>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89" name="ZoneTexte 188">
            <a:extLst>
              <a:ext uri="{FF2B5EF4-FFF2-40B4-BE49-F238E27FC236}">
                <a16:creationId xmlns:a16="http://schemas.microsoft.com/office/drawing/2014/main" id="{6814EBDC-029B-4D92-B187-CEB0BA63534A}"/>
              </a:ext>
            </a:extLst>
          </p:cNvPr>
          <p:cNvSpPr txBox="1"/>
          <p:nvPr/>
        </p:nvSpPr>
        <p:spPr>
          <a:xfrm>
            <a:off x="6134358" y="3783708"/>
            <a:ext cx="4824000" cy="307777"/>
          </a:xfrm>
          <a:prstGeom prst="rect">
            <a:avLst/>
          </a:prstGeom>
          <a:solidFill>
            <a:srgbClr val="B24669"/>
          </a:solidFill>
          <a:ln>
            <a:noFill/>
          </a:ln>
        </p:spPr>
        <p:txBody>
          <a:bodyPr wrap="square" lIns="108000" rIns="108000" rtlCol="0">
            <a:spAutoFit/>
          </a:bodyPr>
          <a:lstStyle/>
          <a:p>
            <a:pPr algn="ctr"/>
            <a:r>
              <a:rPr lang="fr-FR" sz="1400" b="1">
                <a:solidFill>
                  <a:srgbClr val="FFFFFF"/>
                </a:solidFill>
                <a:latin typeface="Tahoma"/>
              </a:rPr>
              <a:t>Modèle économique </a:t>
            </a:r>
          </a:p>
        </p:txBody>
      </p:sp>
      <p:sp>
        <p:nvSpPr>
          <p:cNvPr id="190" name="ZoneTexte 189">
            <a:extLst>
              <a:ext uri="{FF2B5EF4-FFF2-40B4-BE49-F238E27FC236}">
                <a16:creationId xmlns:a16="http://schemas.microsoft.com/office/drawing/2014/main" id="{0CFC58FA-1A83-444D-8A60-3D750DE48F0A}"/>
              </a:ext>
            </a:extLst>
          </p:cNvPr>
          <p:cNvSpPr txBox="1"/>
          <p:nvPr/>
        </p:nvSpPr>
        <p:spPr>
          <a:xfrm>
            <a:off x="2636931" y="4138405"/>
            <a:ext cx="3197058" cy="406843"/>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en-US" sz="1000">
                <a:solidFill>
                  <a:srgbClr val="5F5F5F"/>
                </a:solidFill>
                <a:latin typeface="Tahoma"/>
              </a:rPr>
              <a:t>H</a:t>
            </a:r>
            <a:r>
              <a:rPr lang="fr-FR" sz="1000">
                <a:solidFill>
                  <a:srgbClr val="5F5F5F"/>
                </a:solidFill>
                <a:latin typeface="Tahoma"/>
              </a:rPr>
              <a:t>ébergement dans des chambres simples ou doubles ou dans des gîtes de vacance</a:t>
            </a:r>
          </a:p>
        </p:txBody>
      </p:sp>
      <p:sp>
        <p:nvSpPr>
          <p:cNvPr id="191" name="ZoneTexte 190">
            <a:extLst>
              <a:ext uri="{FF2B5EF4-FFF2-40B4-BE49-F238E27FC236}">
                <a16:creationId xmlns:a16="http://schemas.microsoft.com/office/drawing/2014/main" id="{38F2D371-B44F-4530-8BA9-68BA8646CCCC}"/>
              </a:ext>
            </a:extLst>
          </p:cNvPr>
          <p:cNvSpPr txBox="1"/>
          <p:nvPr/>
        </p:nvSpPr>
        <p:spPr>
          <a:xfrm>
            <a:off x="2619872" y="5468934"/>
            <a:ext cx="3366617" cy="1142429"/>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Demi-pension ou pension complète</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quipements de bien-être (piscine, spa, balnéothérapie, fitnes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rogramme d’activités touristiques et physiques, choix d’activités partagées avec la personne accompagnée, groupe de parole pour les aidants</a:t>
            </a:r>
          </a:p>
        </p:txBody>
      </p:sp>
      <p:sp>
        <p:nvSpPr>
          <p:cNvPr id="192" name="ZoneTexte 191">
            <a:extLst>
              <a:ext uri="{FF2B5EF4-FFF2-40B4-BE49-F238E27FC236}">
                <a16:creationId xmlns:a16="http://schemas.microsoft.com/office/drawing/2014/main" id="{9B4D6DD7-1F93-4267-9B3C-19519B447355}"/>
              </a:ext>
            </a:extLst>
          </p:cNvPr>
          <p:cNvSpPr txBox="1"/>
          <p:nvPr/>
        </p:nvSpPr>
        <p:spPr>
          <a:xfrm>
            <a:off x="2661477" y="4710209"/>
            <a:ext cx="3334996" cy="571503"/>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our les aidés : accompagnement dans tous les actes de la vie quotidienne, Hébergements et équipements adaptés </a:t>
            </a:r>
          </a:p>
        </p:txBody>
      </p:sp>
      <p:sp>
        <p:nvSpPr>
          <p:cNvPr id="193" name="ZoneTexte 192">
            <a:extLst>
              <a:ext uri="{FF2B5EF4-FFF2-40B4-BE49-F238E27FC236}">
                <a16:creationId xmlns:a16="http://schemas.microsoft.com/office/drawing/2014/main" id="{9CA1D6A2-0EE7-4530-A197-D7CD01A5C362}"/>
              </a:ext>
            </a:extLst>
          </p:cNvPr>
          <p:cNvSpPr txBox="1"/>
          <p:nvPr/>
        </p:nvSpPr>
        <p:spPr>
          <a:xfrm>
            <a:off x="6193150" y="4154582"/>
            <a:ext cx="3751654" cy="479832"/>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194" name="ZoneTexte 193">
            <a:extLst>
              <a:ext uri="{FF2B5EF4-FFF2-40B4-BE49-F238E27FC236}">
                <a16:creationId xmlns:a16="http://schemas.microsoft.com/office/drawing/2014/main" id="{4BAFE1DE-950B-4A40-B4F2-537CE125B4ED}"/>
              </a:ext>
            </a:extLst>
          </p:cNvPr>
          <p:cNvSpPr txBox="1"/>
          <p:nvPr/>
        </p:nvSpPr>
        <p:spPr>
          <a:xfrm>
            <a:off x="6185627" y="4713441"/>
            <a:ext cx="3751654" cy="672969"/>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pic>
        <p:nvPicPr>
          <p:cNvPr id="195" name="Graphique 194" descr="Logement avec un remplissage uni">
            <a:extLst>
              <a:ext uri="{FF2B5EF4-FFF2-40B4-BE49-F238E27FC236}">
                <a16:creationId xmlns:a16="http://schemas.microsoft.com/office/drawing/2014/main" id="{7CF9212C-022F-41AF-8AC9-351B4AF87F0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28943" y="4237554"/>
            <a:ext cx="447721" cy="447721"/>
          </a:xfrm>
          <a:prstGeom prst="rect">
            <a:avLst/>
          </a:prstGeom>
        </p:spPr>
      </p:pic>
      <p:sp>
        <p:nvSpPr>
          <p:cNvPr id="196" name="ZoneTexte 195">
            <a:extLst>
              <a:ext uri="{FF2B5EF4-FFF2-40B4-BE49-F238E27FC236}">
                <a16:creationId xmlns:a16="http://schemas.microsoft.com/office/drawing/2014/main" id="{61DDE3DB-B520-48E2-B4BB-3E70AE8A1B54}"/>
              </a:ext>
            </a:extLst>
          </p:cNvPr>
          <p:cNvSpPr txBox="1"/>
          <p:nvPr/>
        </p:nvSpPr>
        <p:spPr>
          <a:xfrm>
            <a:off x="9925966" y="4069772"/>
            <a:ext cx="1124611" cy="446276"/>
          </a:xfrm>
          <a:prstGeom prst="rect">
            <a:avLst/>
          </a:prstGeom>
          <a:noFill/>
          <a:ln>
            <a:noFill/>
          </a:ln>
        </p:spPr>
        <p:txBody>
          <a:bodyPr wrap="square" lIns="108000" rIns="108000" rtlCol="0">
            <a:spAutoFit/>
          </a:bodyPr>
          <a:lstStyle/>
          <a:p>
            <a:pPr algn="ctr"/>
            <a:r>
              <a:rPr lang="fr-FR" sz="1100" b="1">
                <a:solidFill>
                  <a:srgbClr val="B24669"/>
                </a:solidFill>
                <a:latin typeface="Tahoma"/>
              </a:rPr>
              <a:t>Immobilier</a:t>
            </a:r>
          </a:p>
          <a:p>
            <a:pPr marL="171450" indent="-171450" algn="ctr">
              <a:buFontTx/>
              <a:buChar char="-"/>
            </a:pPr>
            <a:endParaRPr lang="fr-FR" sz="1200">
              <a:solidFill>
                <a:srgbClr val="B24669"/>
              </a:solidFill>
              <a:latin typeface="Tahoma"/>
            </a:endParaRPr>
          </a:p>
        </p:txBody>
      </p:sp>
      <p:sp>
        <p:nvSpPr>
          <p:cNvPr id="197" name="ZoneTexte 196">
            <a:extLst>
              <a:ext uri="{FF2B5EF4-FFF2-40B4-BE49-F238E27FC236}">
                <a16:creationId xmlns:a16="http://schemas.microsoft.com/office/drawing/2014/main" id="{FA52A0D3-319A-4132-870C-CBCE17ADE007}"/>
              </a:ext>
            </a:extLst>
          </p:cNvPr>
          <p:cNvSpPr txBox="1"/>
          <p:nvPr/>
        </p:nvSpPr>
        <p:spPr>
          <a:xfrm>
            <a:off x="6168376" y="4202192"/>
            <a:ext cx="3545627" cy="400110"/>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defRPr/>
            </a:pPr>
            <a:r>
              <a:rPr lang="fr-FR" sz="1000">
                <a:solidFill>
                  <a:srgbClr val="5F5F5F"/>
                </a:solidFill>
                <a:latin typeface="Tahoma"/>
              </a:rPr>
              <a:t>Villages-vacances appartenant à la MSA – pas d’information sur la provenance du foncier </a:t>
            </a:r>
          </a:p>
        </p:txBody>
      </p:sp>
      <p:sp>
        <p:nvSpPr>
          <p:cNvPr id="198" name="ZoneTexte 197">
            <a:extLst>
              <a:ext uri="{FF2B5EF4-FFF2-40B4-BE49-F238E27FC236}">
                <a16:creationId xmlns:a16="http://schemas.microsoft.com/office/drawing/2014/main" id="{C4493B03-5D8D-4059-BD27-2BC9EA36B215}"/>
              </a:ext>
            </a:extLst>
          </p:cNvPr>
          <p:cNvSpPr txBox="1"/>
          <p:nvPr/>
        </p:nvSpPr>
        <p:spPr>
          <a:xfrm>
            <a:off x="9956475" y="4669669"/>
            <a:ext cx="998185"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Frais de </a:t>
            </a:r>
            <a:r>
              <a:rPr lang="fr-FR" sz="1100" b="1" err="1">
                <a:solidFill>
                  <a:srgbClr val="B24669"/>
                </a:solidFill>
                <a:latin typeface="Tahoma"/>
              </a:rPr>
              <a:t>fonct</a:t>
            </a:r>
            <a:r>
              <a:rPr lang="fr-FR" sz="1100" b="1">
                <a:solidFill>
                  <a:srgbClr val="B24669"/>
                </a:solidFill>
                <a:latin typeface="Tahoma"/>
              </a:rPr>
              <a:t>.</a:t>
            </a:r>
          </a:p>
        </p:txBody>
      </p:sp>
      <p:sp>
        <p:nvSpPr>
          <p:cNvPr id="199" name="ZoneTexte 198">
            <a:extLst>
              <a:ext uri="{FF2B5EF4-FFF2-40B4-BE49-F238E27FC236}">
                <a16:creationId xmlns:a16="http://schemas.microsoft.com/office/drawing/2014/main" id="{1EBDC089-E74A-4752-9078-84CB5E9E758F}"/>
              </a:ext>
            </a:extLst>
          </p:cNvPr>
          <p:cNvSpPr txBox="1"/>
          <p:nvPr/>
        </p:nvSpPr>
        <p:spPr>
          <a:xfrm>
            <a:off x="6168375" y="4740399"/>
            <a:ext cx="3744658" cy="438582"/>
          </a:xfrm>
          <a:prstGeom prst="rect">
            <a:avLst/>
          </a:prstGeom>
          <a:noFill/>
          <a:ln>
            <a:noFill/>
          </a:ln>
        </p:spPr>
        <p:txBody>
          <a:bodyPr wrap="square" lIns="108000" rIns="108000" rtlCol="0">
            <a:spAutoFit/>
          </a:bodyPr>
          <a:lstStyle/>
          <a:p>
            <a:pPr marL="171450" indent="-171450">
              <a:spcAft>
                <a:spcPts val="300"/>
              </a:spcAft>
              <a:buClr>
                <a:srgbClr val="503078"/>
              </a:buClr>
              <a:buFont typeface="Tahoma" panose="020B0604030504040204" pitchFamily="34" charset="0"/>
              <a:buChar char="⁄"/>
              <a:defRPr/>
            </a:pPr>
            <a:r>
              <a:rPr lang="fr-FR" sz="1000">
                <a:solidFill>
                  <a:srgbClr val="5F5F5F"/>
                </a:solidFill>
                <a:latin typeface="Tahoma"/>
              </a:rPr>
              <a:t>Frais d’exploitation portés par la MSA </a:t>
            </a:r>
          </a:p>
          <a:p>
            <a:pPr marL="171450" indent="-171450">
              <a:spcAft>
                <a:spcPts val="300"/>
              </a:spcAft>
              <a:buClr>
                <a:srgbClr val="503078"/>
              </a:buClr>
              <a:buFont typeface="Tahoma" panose="020B0604030504040204" pitchFamily="34" charset="0"/>
              <a:buChar char="⁄"/>
              <a:defRPr/>
            </a:pPr>
            <a:r>
              <a:rPr lang="fr-FR" sz="1000">
                <a:solidFill>
                  <a:srgbClr val="5F5F5F"/>
                </a:solidFill>
                <a:latin typeface="Tahoma"/>
              </a:rPr>
              <a:t>Recettes des séjours</a:t>
            </a:r>
          </a:p>
        </p:txBody>
      </p:sp>
      <p:sp>
        <p:nvSpPr>
          <p:cNvPr id="200" name="ZoneTexte 199">
            <a:extLst>
              <a:ext uri="{FF2B5EF4-FFF2-40B4-BE49-F238E27FC236}">
                <a16:creationId xmlns:a16="http://schemas.microsoft.com/office/drawing/2014/main" id="{0B95575E-C091-4CF5-878A-F599C3D40D14}"/>
              </a:ext>
            </a:extLst>
          </p:cNvPr>
          <p:cNvSpPr txBox="1"/>
          <p:nvPr/>
        </p:nvSpPr>
        <p:spPr>
          <a:xfrm>
            <a:off x="6176080" y="5452438"/>
            <a:ext cx="3768724" cy="1195553"/>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201" name="ZoneTexte 200">
            <a:extLst>
              <a:ext uri="{FF2B5EF4-FFF2-40B4-BE49-F238E27FC236}">
                <a16:creationId xmlns:a16="http://schemas.microsoft.com/office/drawing/2014/main" id="{25C517A2-33E2-4E9E-9105-7C6562A93547}"/>
              </a:ext>
            </a:extLst>
          </p:cNvPr>
          <p:cNvSpPr txBox="1"/>
          <p:nvPr/>
        </p:nvSpPr>
        <p:spPr>
          <a:xfrm>
            <a:off x="9872941" y="5821261"/>
            <a:ext cx="1141769" cy="261610"/>
          </a:xfrm>
          <a:prstGeom prst="rect">
            <a:avLst/>
          </a:prstGeom>
          <a:noFill/>
          <a:ln>
            <a:noFill/>
          </a:ln>
        </p:spPr>
        <p:txBody>
          <a:bodyPr wrap="square" lIns="108000" rIns="108000" rtlCol="0">
            <a:spAutoFit/>
          </a:bodyPr>
          <a:lstStyle/>
          <a:p>
            <a:pPr algn="ctr"/>
            <a:r>
              <a:rPr lang="fr-FR" sz="1100" b="1">
                <a:solidFill>
                  <a:srgbClr val="B24669"/>
                </a:solidFill>
                <a:latin typeface="Tahoma"/>
              </a:rPr>
              <a:t>Tarifs</a:t>
            </a:r>
          </a:p>
        </p:txBody>
      </p:sp>
      <p:pic>
        <p:nvPicPr>
          <p:cNvPr id="202" name="Graphique 201" descr="Tirelire avec un remplissage uni">
            <a:extLst>
              <a:ext uri="{FF2B5EF4-FFF2-40B4-BE49-F238E27FC236}">
                <a16:creationId xmlns:a16="http://schemas.microsoft.com/office/drawing/2014/main" id="{6E41BD49-D43D-4FF5-AD6E-FD98F0A5B49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02313" y="5034054"/>
            <a:ext cx="514426" cy="514426"/>
          </a:xfrm>
          <a:prstGeom prst="rect">
            <a:avLst/>
          </a:prstGeom>
        </p:spPr>
      </p:pic>
      <p:sp>
        <p:nvSpPr>
          <p:cNvPr id="203" name="ZoneTexte 202">
            <a:extLst>
              <a:ext uri="{FF2B5EF4-FFF2-40B4-BE49-F238E27FC236}">
                <a16:creationId xmlns:a16="http://schemas.microsoft.com/office/drawing/2014/main" id="{CC2C4FB6-9FEF-4BE9-9A84-E98F04C7EB4E}"/>
              </a:ext>
            </a:extLst>
          </p:cNvPr>
          <p:cNvSpPr txBox="1"/>
          <p:nvPr/>
        </p:nvSpPr>
        <p:spPr>
          <a:xfrm>
            <a:off x="6168375" y="5470882"/>
            <a:ext cx="3757590" cy="1345561"/>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ntre 800 et 1500€ par semaine pour un couple aidant / aidé</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ides possibles via la CAF et l’ANCV (chèques vacances + partenariats d’Aide Aux Vacances </a:t>
            </a:r>
            <a:r>
              <a:rPr lang="fr-FR" sz="1000" err="1">
                <a:solidFill>
                  <a:srgbClr val="5F5F5F"/>
                </a:solidFill>
                <a:latin typeface="Tahoma"/>
              </a:rPr>
              <a:t>co</a:t>
            </a:r>
            <a:r>
              <a:rPr lang="fr-FR" sz="1000">
                <a:solidFill>
                  <a:srgbClr val="5F5F5F"/>
                </a:solidFill>
                <a:latin typeface="Tahoma"/>
              </a:rPr>
              <a:t>-porté par la CCAH à destination des travailleurs d’ESAT)</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Réduction de 10% pour les adhérents MSA</a:t>
            </a:r>
          </a:p>
          <a:p>
            <a:pPr algn="just">
              <a:lnSpc>
                <a:spcPct val="107000"/>
              </a:lnSpc>
              <a:spcAft>
                <a:spcPts val="300"/>
              </a:spcAft>
              <a:buClr>
                <a:srgbClr val="503078"/>
              </a:buClr>
            </a:pPr>
            <a:endParaRPr lang="fr-FR" sz="1000">
              <a:solidFill>
                <a:srgbClr val="5F5F5F"/>
              </a:solidFill>
              <a:latin typeface="Tahoma"/>
            </a:endParaRPr>
          </a:p>
        </p:txBody>
      </p:sp>
      <p:pic>
        <p:nvPicPr>
          <p:cNvPr id="204" name="Graphique 203" descr="Pièces avec un remplissage uni">
            <a:extLst>
              <a:ext uri="{FF2B5EF4-FFF2-40B4-BE49-F238E27FC236}">
                <a16:creationId xmlns:a16="http://schemas.microsoft.com/office/drawing/2014/main" id="{0173FA37-A03C-4E15-A755-74C9E54ACAD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239789" y="6008585"/>
            <a:ext cx="457966" cy="457966"/>
          </a:xfrm>
          <a:prstGeom prst="rect">
            <a:avLst/>
          </a:prstGeom>
        </p:spPr>
      </p:pic>
      <p:pic>
        <p:nvPicPr>
          <p:cNvPr id="205" name="Graphique 204" descr="Dormir avec un remplissage uni">
            <a:extLst>
              <a:ext uri="{FF2B5EF4-FFF2-40B4-BE49-F238E27FC236}">
                <a16:creationId xmlns:a16="http://schemas.microsoft.com/office/drawing/2014/main" id="{75BDB1EA-B122-44E8-A322-830C6470EA4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658054" y="4186655"/>
            <a:ext cx="565198" cy="565198"/>
          </a:xfrm>
          <a:prstGeom prst="rect">
            <a:avLst/>
          </a:prstGeom>
        </p:spPr>
      </p:pic>
      <p:pic>
        <p:nvPicPr>
          <p:cNvPr id="206" name="Graphique 205" descr="Trousse de premiers secours avec un remplissage uni">
            <a:extLst>
              <a:ext uri="{FF2B5EF4-FFF2-40B4-BE49-F238E27FC236}">
                <a16:creationId xmlns:a16="http://schemas.microsoft.com/office/drawing/2014/main" id="{EC0F08D3-2A48-4D22-827D-550CF91DE04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681150" y="4953225"/>
            <a:ext cx="557136" cy="557136"/>
          </a:xfrm>
          <a:prstGeom prst="rect">
            <a:avLst/>
          </a:prstGeom>
        </p:spPr>
      </p:pic>
      <p:pic>
        <p:nvPicPr>
          <p:cNvPr id="207" name="Graphique 206" descr="Assiette couverte avec un remplissage uni">
            <a:extLst>
              <a:ext uri="{FF2B5EF4-FFF2-40B4-BE49-F238E27FC236}">
                <a16:creationId xmlns:a16="http://schemas.microsoft.com/office/drawing/2014/main" id="{53598248-8642-4BD3-83C0-73FF896719F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672639" y="5977045"/>
            <a:ext cx="565199" cy="565199"/>
          </a:xfrm>
          <a:prstGeom prst="rect">
            <a:avLst/>
          </a:prstGeom>
        </p:spPr>
      </p:pic>
      <p:sp>
        <p:nvSpPr>
          <p:cNvPr id="208" name="ZoneTexte 207">
            <a:extLst>
              <a:ext uri="{FF2B5EF4-FFF2-40B4-BE49-F238E27FC236}">
                <a16:creationId xmlns:a16="http://schemas.microsoft.com/office/drawing/2014/main" id="{CE85B33A-650C-4BC3-ABF4-11051BA1E53F}"/>
              </a:ext>
            </a:extLst>
          </p:cNvPr>
          <p:cNvSpPr txBox="1"/>
          <p:nvPr/>
        </p:nvSpPr>
        <p:spPr>
          <a:xfrm>
            <a:off x="1263599" y="4108711"/>
            <a:ext cx="1376242" cy="446276"/>
          </a:xfrm>
          <a:prstGeom prst="rect">
            <a:avLst/>
          </a:prstGeom>
          <a:noFill/>
          <a:ln>
            <a:noFill/>
          </a:ln>
        </p:spPr>
        <p:txBody>
          <a:bodyPr wrap="square" lIns="108000" rIns="108000" rtlCol="0">
            <a:spAutoFit/>
          </a:bodyPr>
          <a:lstStyle/>
          <a:p>
            <a:pPr algn="ctr"/>
            <a:r>
              <a:rPr lang="fr-FR" sz="1100" b="1">
                <a:solidFill>
                  <a:srgbClr val="B0ADCC"/>
                </a:solidFill>
                <a:latin typeface="Tahoma"/>
              </a:rPr>
              <a:t>Hébergement</a:t>
            </a:r>
          </a:p>
          <a:p>
            <a:pPr marL="171450" indent="-171450" algn="ctr">
              <a:buFontTx/>
              <a:buChar char="-"/>
            </a:pPr>
            <a:endParaRPr lang="fr-FR" sz="1200">
              <a:solidFill>
                <a:srgbClr val="B0ADCC"/>
              </a:solidFill>
              <a:latin typeface="Tahoma"/>
            </a:endParaRPr>
          </a:p>
        </p:txBody>
      </p:sp>
      <p:sp>
        <p:nvSpPr>
          <p:cNvPr id="209" name="ZoneTexte 208">
            <a:extLst>
              <a:ext uri="{FF2B5EF4-FFF2-40B4-BE49-F238E27FC236}">
                <a16:creationId xmlns:a16="http://schemas.microsoft.com/office/drawing/2014/main" id="{376FC76C-CD01-459C-9CAA-E4628E736A61}"/>
              </a:ext>
            </a:extLst>
          </p:cNvPr>
          <p:cNvSpPr txBox="1"/>
          <p:nvPr/>
        </p:nvSpPr>
        <p:spPr>
          <a:xfrm>
            <a:off x="1452572" y="5692178"/>
            <a:ext cx="965590" cy="430887"/>
          </a:xfrm>
          <a:prstGeom prst="rect">
            <a:avLst/>
          </a:prstGeom>
          <a:noFill/>
          <a:ln>
            <a:noFill/>
          </a:ln>
        </p:spPr>
        <p:txBody>
          <a:bodyPr wrap="square" lIns="108000" rIns="108000" rtlCol="0">
            <a:spAutoFit/>
          </a:bodyPr>
          <a:lstStyle/>
          <a:p>
            <a:pPr algn="ctr"/>
            <a:r>
              <a:rPr lang="fr-FR" sz="1100" b="1">
                <a:solidFill>
                  <a:srgbClr val="B0ADCC"/>
                </a:solidFill>
                <a:latin typeface="Tahoma"/>
              </a:rPr>
              <a:t>Services </a:t>
            </a:r>
          </a:p>
          <a:p>
            <a:pPr algn="ctr"/>
            <a:r>
              <a:rPr lang="fr-FR" sz="1100" b="1">
                <a:solidFill>
                  <a:srgbClr val="B0ADCC"/>
                </a:solidFill>
                <a:latin typeface="Tahoma"/>
              </a:rPr>
              <a:t>hôteliers </a:t>
            </a:r>
          </a:p>
        </p:txBody>
      </p:sp>
      <p:sp>
        <p:nvSpPr>
          <p:cNvPr id="210" name="ZoneTexte 209">
            <a:extLst>
              <a:ext uri="{FF2B5EF4-FFF2-40B4-BE49-F238E27FC236}">
                <a16:creationId xmlns:a16="http://schemas.microsoft.com/office/drawing/2014/main" id="{83C3981C-8E96-433C-86C5-4AD11F7867BF}"/>
              </a:ext>
            </a:extLst>
          </p:cNvPr>
          <p:cNvSpPr txBox="1"/>
          <p:nvPr/>
        </p:nvSpPr>
        <p:spPr>
          <a:xfrm>
            <a:off x="1083995" y="4664173"/>
            <a:ext cx="1743708" cy="615553"/>
          </a:xfrm>
          <a:prstGeom prst="rect">
            <a:avLst/>
          </a:prstGeom>
          <a:noFill/>
          <a:ln>
            <a:noFill/>
          </a:ln>
        </p:spPr>
        <p:txBody>
          <a:bodyPr wrap="square" lIns="108000" rIns="108000" rtlCol="0">
            <a:spAutoFit/>
          </a:bodyPr>
          <a:lstStyle/>
          <a:p>
            <a:pPr algn="ctr"/>
            <a:r>
              <a:rPr lang="fr-FR" sz="1100" b="1">
                <a:solidFill>
                  <a:srgbClr val="B0ADCC"/>
                </a:solidFill>
                <a:latin typeface="Tahoma"/>
              </a:rPr>
              <a:t>Accompagnement médico-social</a:t>
            </a:r>
          </a:p>
          <a:p>
            <a:pPr marL="171450" indent="-171450" algn="ctr">
              <a:buFontTx/>
              <a:buChar char="-"/>
            </a:pPr>
            <a:endParaRPr lang="fr-FR" sz="1200">
              <a:solidFill>
                <a:srgbClr val="B0ADCC"/>
              </a:solidFill>
              <a:latin typeface="Tahoma"/>
            </a:endParaRPr>
          </a:p>
        </p:txBody>
      </p:sp>
      <p:sp>
        <p:nvSpPr>
          <p:cNvPr id="211" name="ZoneTexte 210">
            <a:extLst>
              <a:ext uri="{FF2B5EF4-FFF2-40B4-BE49-F238E27FC236}">
                <a16:creationId xmlns:a16="http://schemas.microsoft.com/office/drawing/2014/main" id="{C7F18332-3E19-424D-8EEF-350EB01F0774}"/>
              </a:ext>
            </a:extLst>
          </p:cNvPr>
          <p:cNvSpPr txBox="1"/>
          <p:nvPr/>
        </p:nvSpPr>
        <p:spPr>
          <a:xfrm>
            <a:off x="5690402" y="1252629"/>
            <a:ext cx="2770132" cy="249620"/>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Association de tourisme social</a:t>
            </a:r>
          </a:p>
        </p:txBody>
      </p:sp>
      <p:pic>
        <p:nvPicPr>
          <p:cNvPr id="2050" name="Picture 2" descr="AVMA - Home | Facebook">
            <a:extLst>
              <a:ext uri="{FF2B5EF4-FFF2-40B4-BE49-F238E27FC236}">
                <a16:creationId xmlns:a16="http://schemas.microsoft.com/office/drawing/2014/main" id="{F3961B82-D3F6-4DCE-B514-3FFBCCD8182C}"/>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b="43533"/>
          <a:stretch/>
        </p:blipFill>
        <p:spPr bwMode="auto">
          <a:xfrm>
            <a:off x="9714003" y="149017"/>
            <a:ext cx="1108257" cy="62579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MSA salariés, la retraite de base des salariés agricoles">
            <a:extLst>
              <a:ext uri="{FF2B5EF4-FFF2-40B4-BE49-F238E27FC236}">
                <a16:creationId xmlns:a16="http://schemas.microsoft.com/office/drawing/2014/main" id="{A9C5CE1F-7835-4B22-A475-65128C75F557}"/>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611658" y="161979"/>
            <a:ext cx="1263861" cy="711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4005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DDB96D-5870-433E-8224-8BA70AB31D5A}"/>
              </a:ext>
            </a:extLst>
          </p:cNvPr>
          <p:cNvSpPr>
            <a:spLocks noGrp="1"/>
          </p:cNvSpPr>
          <p:nvPr>
            <p:ph type="title"/>
          </p:nvPr>
        </p:nvSpPr>
        <p:spPr/>
        <p:txBody>
          <a:bodyPr/>
          <a:lstStyle/>
          <a:p>
            <a:r>
              <a:rPr lang="fr-FR"/>
              <a:t>Méthodologie utilisée</a:t>
            </a:r>
          </a:p>
        </p:txBody>
      </p:sp>
      <p:sp>
        <p:nvSpPr>
          <p:cNvPr id="3" name="Espace réservé du texte 2">
            <a:extLst>
              <a:ext uri="{FF2B5EF4-FFF2-40B4-BE49-F238E27FC236}">
                <a16:creationId xmlns:a16="http://schemas.microsoft.com/office/drawing/2014/main" id="{9C630387-01A6-4667-A171-E57EE95EAA8D}"/>
              </a:ext>
            </a:extLst>
          </p:cNvPr>
          <p:cNvSpPr>
            <a:spLocks noGrp="1"/>
          </p:cNvSpPr>
          <p:nvPr>
            <p:ph type="body" sz="quarter" idx="13"/>
          </p:nvPr>
        </p:nvSpPr>
        <p:spPr/>
        <p:txBody>
          <a:bodyPr/>
          <a:lstStyle/>
          <a:p>
            <a:r>
              <a:rPr lang="fr-FR"/>
              <a:t>Introduction</a:t>
            </a:r>
          </a:p>
        </p:txBody>
      </p:sp>
      <p:grpSp>
        <p:nvGrpSpPr>
          <p:cNvPr id="4" name="Groupe 3">
            <a:extLst>
              <a:ext uri="{FF2B5EF4-FFF2-40B4-BE49-F238E27FC236}">
                <a16:creationId xmlns:a16="http://schemas.microsoft.com/office/drawing/2014/main" id="{9C09ACA2-2BF7-44D7-A173-F1B105EE5FE5}"/>
              </a:ext>
            </a:extLst>
          </p:cNvPr>
          <p:cNvGrpSpPr/>
          <p:nvPr/>
        </p:nvGrpSpPr>
        <p:grpSpPr>
          <a:xfrm>
            <a:off x="1487400" y="2427118"/>
            <a:ext cx="9216000" cy="4286569"/>
            <a:chOff x="319015" y="1241741"/>
            <a:chExt cx="8621319" cy="5256689"/>
          </a:xfrm>
        </p:grpSpPr>
        <p:grpSp>
          <p:nvGrpSpPr>
            <p:cNvPr id="5" name="Groupe 4">
              <a:extLst>
                <a:ext uri="{FF2B5EF4-FFF2-40B4-BE49-F238E27FC236}">
                  <a16:creationId xmlns:a16="http://schemas.microsoft.com/office/drawing/2014/main" id="{2778D29D-016F-424A-AA1A-ACA8BD16B3F1}"/>
                </a:ext>
              </a:extLst>
            </p:cNvPr>
            <p:cNvGrpSpPr/>
            <p:nvPr/>
          </p:nvGrpSpPr>
          <p:grpSpPr>
            <a:xfrm>
              <a:off x="2511913" y="1242794"/>
              <a:ext cx="6428421" cy="1665179"/>
              <a:chOff x="2658994" y="1324657"/>
              <a:chExt cx="6336725" cy="1665179"/>
            </a:xfrm>
          </p:grpSpPr>
          <p:sp>
            <p:nvSpPr>
              <p:cNvPr id="21" name="Rectangle 20">
                <a:extLst>
                  <a:ext uri="{FF2B5EF4-FFF2-40B4-BE49-F238E27FC236}">
                    <a16:creationId xmlns:a16="http://schemas.microsoft.com/office/drawing/2014/main" id="{D72B645D-4F8B-4903-8EC0-403783CE660E}"/>
                  </a:ext>
                </a:extLst>
              </p:cNvPr>
              <p:cNvSpPr>
                <a:spLocks/>
              </p:cNvSpPr>
              <p:nvPr/>
            </p:nvSpPr>
            <p:spPr>
              <a:xfrm>
                <a:off x="2658994" y="1324657"/>
                <a:ext cx="6336725" cy="1665179"/>
              </a:xfrm>
              <a:prstGeom prst="rect">
                <a:avLst/>
              </a:prstGeom>
              <a:solidFill>
                <a:srgbClr val="FFFFFF"/>
              </a:solidFill>
              <a:ln w="6350" cap="flat" cmpd="sng" algn="ctr">
                <a:solidFill>
                  <a:srgbClr val="503078"/>
                </a:solidFill>
                <a:prstDash val="dash"/>
                <a:miter lim="800000"/>
              </a:ln>
              <a:effectLst/>
            </p:spPr>
            <p:txBody>
              <a:bodyPr rtlCol="0" anchor="ctr"/>
              <a:lstStyle/>
              <a:p>
                <a:pPr marL="171450" indent="-171450">
                  <a:spcAft>
                    <a:spcPts val="300"/>
                  </a:spcAft>
                  <a:buClr>
                    <a:srgbClr val="503078"/>
                  </a:buClr>
                  <a:buFont typeface="Tahoma" panose="020B0604030504040204" pitchFamily="34" charset="0"/>
                  <a:buChar char="⁄"/>
                  <a:defRPr/>
                </a:pPr>
                <a:endParaRPr lang="fr-FR" sz="850" kern="0">
                  <a:solidFill>
                    <a:srgbClr val="5F5F5F"/>
                  </a:solidFill>
                  <a:latin typeface="Tahoma"/>
                  <a:ea typeface="Tahoma"/>
                  <a:cs typeface="Tahoma"/>
                </a:endParaRPr>
              </a:p>
            </p:txBody>
          </p:sp>
          <p:sp>
            <p:nvSpPr>
              <p:cNvPr id="22" name="ZoneTexte 21">
                <a:extLst>
                  <a:ext uri="{FF2B5EF4-FFF2-40B4-BE49-F238E27FC236}">
                    <a16:creationId xmlns:a16="http://schemas.microsoft.com/office/drawing/2014/main" id="{E48DF1E1-2662-4CBC-93A7-22749D681586}"/>
                  </a:ext>
                </a:extLst>
              </p:cNvPr>
              <p:cNvSpPr txBox="1"/>
              <p:nvPr/>
            </p:nvSpPr>
            <p:spPr>
              <a:xfrm>
                <a:off x="2724642" y="1563232"/>
                <a:ext cx="6157373" cy="1292703"/>
              </a:xfrm>
              <a:prstGeom prst="rect">
                <a:avLst/>
              </a:prstGeom>
              <a:noFill/>
            </p:spPr>
            <p:txBody>
              <a:bodyPr wrap="square">
                <a:spAutoFit/>
              </a:bodyPr>
              <a:lstStyle/>
              <a:p>
                <a:pPr marL="171450" indent="-171450" algn="just">
                  <a:spcAft>
                    <a:spcPts val="300"/>
                  </a:spcAft>
                  <a:buClr>
                    <a:srgbClr val="503078"/>
                  </a:buClr>
                  <a:buFont typeface="Tahoma" panose="020B0604030504040204" pitchFamily="34" charset="0"/>
                  <a:buChar char="⁄"/>
                  <a:defRPr/>
                </a:pPr>
                <a:r>
                  <a:rPr lang="fr-FR" sz="1100" kern="0">
                    <a:solidFill>
                      <a:srgbClr val="5F5F5F"/>
                    </a:solidFill>
                    <a:latin typeface="Tahoma"/>
                  </a:rPr>
                  <a:t>Validation de la méthodologie, du planning et du périmètre de l’analyse</a:t>
                </a:r>
              </a:p>
              <a:p>
                <a:pPr marL="171450" indent="-171450" algn="just">
                  <a:spcAft>
                    <a:spcPts val="300"/>
                  </a:spcAft>
                  <a:buClr>
                    <a:srgbClr val="503078"/>
                  </a:buClr>
                  <a:buFont typeface="Tahoma" panose="020B0604030504040204" pitchFamily="34" charset="0"/>
                  <a:buChar char="⁄"/>
                  <a:defRPr/>
                </a:pPr>
                <a:r>
                  <a:rPr lang="fr-FR" sz="1100" kern="0">
                    <a:solidFill>
                      <a:srgbClr val="5F5F5F"/>
                    </a:solidFill>
                    <a:latin typeface="Tahoma"/>
                    <a:ea typeface="Tahoma"/>
                    <a:cs typeface="Tahoma"/>
                  </a:rPr>
                  <a:t>Identification des interlocuteurs à solliciter pour la phase d’entretiens (porteurs de projets, financeurs, acteurs institutionnels)</a:t>
                </a:r>
              </a:p>
              <a:p>
                <a:pPr marL="171450" indent="-171450" algn="just">
                  <a:spcAft>
                    <a:spcPts val="300"/>
                  </a:spcAft>
                  <a:buClr>
                    <a:srgbClr val="503078"/>
                  </a:buClr>
                  <a:buFont typeface="Tahoma" panose="020B0604030504040204" pitchFamily="34" charset="0"/>
                  <a:buChar char="⁄"/>
                  <a:defRPr/>
                </a:pPr>
                <a:r>
                  <a:rPr lang="fr-FR" sz="1100">
                    <a:solidFill>
                      <a:srgbClr val="5F5F5F"/>
                    </a:solidFill>
                    <a:latin typeface="Tahoma" panose="020B0604030504040204" pitchFamily="34" charset="0"/>
                  </a:rPr>
                  <a:t>Cadrage des initiatives françaises et européennes à étudier (critères à définir) </a:t>
                </a:r>
                <a:endParaRPr lang="fr-FR" sz="1100" kern="0">
                  <a:solidFill>
                    <a:srgbClr val="5F5F5F"/>
                  </a:solidFill>
                  <a:latin typeface="Tahoma"/>
                  <a:ea typeface="Tahoma"/>
                  <a:cs typeface="Tahoma"/>
                </a:endParaRPr>
              </a:p>
              <a:p>
                <a:pPr marL="171450" indent="-171450" algn="just">
                  <a:spcAft>
                    <a:spcPts val="300"/>
                  </a:spcAft>
                  <a:buClr>
                    <a:srgbClr val="503078"/>
                  </a:buClr>
                  <a:buFont typeface="Tahoma" panose="020B0604030504040204" pitchFamily="34" charset="0"/>
                  <a:buChar char="⁄"/>
                  <a:defRPr/>
                </a:pPr>
                <a:r>
                  <a:rPr lang="fr-FR" sz="1100" kern="0">
                    <a:solidFill>
                      <a:srgbClr val="5F5F5F"/>
                    </a:solidFill>
                    <a:latin typeface="Tahoma"/>
                    <a:ea typeface="Tahoma"/>
                    <a:cs typeface="Tahoma"/>
                  </a:rPr>
                  <a:t>Préparation et validation d’un guide d’entretien</a:t>
                </a:r>
              </a:p>
            </p:txBody>
          </p:sp>
        </p:grpSp>
        <p:grpSp>
          <p:nvGrpSpPr>
            <p:cNvPr id="6" name="Groupe 5">
              <a:extLst>
                <a:ext uri="{FF2B5EF4-FFF2-40B4-BE49-F238E27FC236}">
                  <a16:creationId xmlns:a16="http://schemas.microsoft.com/office/drawing/2014/main" id="{BFD31906-D8C9-4AB8-BC2B-0266196A5374}"/>
                </a:ext>
              </a:extLst>
            </p:cNvPr>
            <p:cNvGrpSpPr/>
            <p:nvPr/>
          </p:nvGrpSpPr>
          <p:grpSpPr>
            <a:xfrm>
              <a:off x="2511913" y="3025238"/>
              <a:ext cx="6428421" cy="1691999"/>
              <a:chOff x="2658994" y="3190358"/>
              <a:chExt cx="6428421" cy="1691999"/>
            </a:xfrm>
          </p:grpSpPr>
          <p:sp>
            <p:nvSpPr>
              <p:cNvPr id="19" name="Rectangle 18">
                <a:extLst>
                  <a:ext uri="{FF2B5EF4-FFF2-40B4-BE49-F238E27FC236}">
                    <a16:creationId xmlns:a16="http://schemas.microsoft.com/office/drawing/2014/main" id="{4FB931CB-F526-4CA0-82D7-913F3380D465}"/>
                  </a:ext>
                </a:extLst>
              </p:cNvPr>
              <p:cNvSpPr>
                <a:spLocks/>
              </p:cNvSpPr>
              <p:nvPr/>
            </p:nvSpPr>
            <p:spPr>
              <a:xfrm>
                <a:off x="2658994" y="3190358"/>
                <a:ext cx="6428421" cy="1691999"/>
              </a:xfrm>
              <a:prstGeom prst="rect">
                <a:avLst/>
              </a:prstGeom>
              <a:solidFill>
                <a:srgbClr val="FFFFFF"/>
              </a:solidFill>
              <a:ln w="6350" cap="flat" cmpd="sng" algn="ctr">
                <a:solidFill>
                  <a:srgbClr val="503078">
                    <a:lumMod val="60000"/>
                    <a:lumOff val="40000"/>
                  </a:srgbClr>
                </a:solidFill>
                <a:prstDash val="dash"/>
                <a:miter lim="800000"/>
              </a:ln>
              <a:effectLst/>
            </p:spPr>
            <p:txBody>
              <a:bodyPr rtlCol="0" anchor="ctr"/>
              <a:lstStyle/>
              <a:p>
                <a:pPr marL="180975" lvl="1" indent="-180975" algn="just">
                  <a:spcAft>
                    <a:spcPts val="300"/>
                  </a:spcAft>
                  <a:buClr>
                    <a:srgbClr val="503078"/>
                  </a:buClr>
                  <a:buFont typeface="Tahoma" panose="020B0604030504040204" pitchFamily="34" charset="0"/>
                  <a:buChar char="⁄"/>
                  <a:defRPr/>
                </a:pPr>
                <a:endParaRPr lang="fr-FR" sz="850" kern="0">
                  <a:solidFill>
                    <a:srgbClr val="5F5F5F"/>
                  </a:solidFill>
                  <a:latin typeface="Tahoma"/>
                </a:endParaRPr>
              </a:p>
            </p:txBody>
          </p:sp>
          <p:sp>
            <p:nvSpPr>
              <p:cNvPr id="20" name="ZoneTexte 19">
                <a:extLst>
                  <a:ext uri="{FF2B5EF4-FFF2-40B4-BE49-F238E27FC236}">
                    <a16:creationId xmlns:a16="http://schemas.microsoft.com/office/drawing/2014/main" id="{6AFC00F5-23C6-4A13-8376-44346D1A64D9}"/>
                  </a:ext>
                </a:extLst>
              </p:cNvPr>
              <p:cNvSpPr txBox="1"/>
              <p:nvPr/>
            </p:nvSpPr>
            <p:spPr>
              <a:xfrm>
                <a:off x="2725592" y="3408827"/>
                <a:ext cx="6309097" cy="1292703"/>
              </a:xfrm>
              <a:prstGeom prst="rect">
                <a:avLst/>
              </a:prstGeom>
              <a:noFill/>
            </p:spPr>
            <p:txBody>
              <a:bodyPr wrap="square">
                <a:spAutoFit/>
              </a:bodyPr>
              <a:lstStyle/>
              <a:p>
                <a:pPr marL="171450" indent="-171450" algn="just">
                  <a:spcAft>
                    <a:spcPts val="300"/>
                  </a:spcAft>
                  <a:buClr>
                    <a:srgbClr val="503078"/>
                  </a:buClr>
                  <a:buFont typeface="Tahoma" panose="020B0604030504040204" pitchFamily="34" charset="0"/>
                  <a:buChar char="⁄"/>
                  <a:defRPr/>
                </a:pPr>
                <a:r>
                  <a:rPr lang="fr-FR" sz="1100" kern="0">
                    <a:solidFill>
                      <a:srgbClr val="5F5F5F"/>
                    </a:solidFill>
                    <a:latin typeface="Tahoma"/>
                  </a:rPr>
                  <a:t>Conduite de 10 à 12 entretiens auprès des interlocuteurs identifiés avec la Banque des Territoires </a:t>
                </a:r>
              </a:p>
              <a:p>
                <a:pPr marL="171450" indent="-171450" algn="just">
                  <a:spcAft>
                    <a:spcPts val="300"/>
                  </a:spcAft>
                  <a:buClr>
                    <a:srgbClr val="503078"/>
                  </a:buClr>
                  <a:buFont typeface="Tahoma" panose="020B0604030504040204" pitchFamily="34" charset="0"/>
                  <a:buChar char="⁄"/>
                  <a:defRPr/>
                </a:pPr>
                <a:r>
                  <a:rPr lang="fr-FR" sz="1100" kern="0">
                    <a:solidFill>
                      <a:srgbClr val="5F5F5F"/>
                    </a:solidFill>
                    <a:latin typeface="Tahoma"/>
                    <a:ea typeface="Tahoma"/>
                    <a:cs typeface="Tahoma"/>
                  </a:rPr>
                  <a:t>Analyse documentaire (retours d’expériences, analyse de l’écosystème institutionnel, parangonnage de modèles étrangers)</a:t>
                </a:r>
              </a:p>
              <a:p>
                <a:pPr marL="171450" indent="-171450" algn="just">
                  <a:spcAft>
                    <a:spcPts val="300"/>
                  </a:spcAft>
                  <a:buClr>
                    <a:srgbClr val="503078"/>
                  </a:buClr>
                  <a:buFont typeface="Tahoma" panose="020B0604030504040204" pitchFamily="34" charset="0"/>
                  <a:buChar char="⁄"/>
                  <a:defRPr/>
                </a:pPr>
                <a:r>
                  <a:rPr lang="fr-FR" sz="1100">
                    <a:solidFill>
                      <a:srgbClr val="5F5F5F"/>
                    </a:solidFill>
                    <a:latin typeface="Tahoma" panose="020B0604030504040204" pitchFamily="34" charset="0"/>
                  </a:rPr>
                  <a:t>Formalisation d’une synthèse des entretiens et cartographie des parties prenantes / acteurs impliqués</a:t>
                </a:r>
                <a:r>
                  <a:rPr lang="fr-FR" sz="1100">
                    <a:solidFill>
                      <a:srgbClr val="000000"/>
                    </a:solidFill>
                    <a:latin typeface="Tahoma" panose="020B0604030504040204" pitchFamily="34" charset="0"/>
                  </a:rPr>
                  <a:t>​</a:t>
                </a:r>
                <a:endParaRPr lang="fr-FR" sz="1100" kern="0">
                  <a:solidFill>
                    <a:srgbClr val="5F5F5F"/>
                  </a:solidFill>
                  <a:latin typeface="Tahoma"/>
                  <a:ea typeface="Tahoma"/>
                  <a:cs typeface="Tahoma"/>
                </a:endParaRPr>
              </a:p>
              <a:p>
                <a:pPr marL="171450" indent="-171450" algn="just">
                  <a:spcAft>
                    <a:spcPts val="300"/>
                  </a:spcAft>
                  <a:buClr>
                    <a:srgbClr val="503078"/>
                  </a:buClr>
                  <a:buFont typeface="Tahoma" panose="020B0604030504040204" pitchFamily="34" charset="0"/>
                  <a:buChar char="⁄"/>
                  <a:defRPr/>
                </a:pPr>
                <a:r>
                  <a:rPr lang="fr-FR" sz="1100" kern="0">
                    <a:solidFill>
                      <a:srgbClr val="5F5F5F"/>
                    </a:solidFill>
                    <a:latin typeface="Tahoma"/>
                  </a:rPr>
                  <a:t>Construction du panorama des initiatives existantes</a:t>
                </a:r>
              </a:p>
            </p:txBody>
          </p:sp>
        </p:grpSp>
        <p:grpSp>
          <p:nvGrpSpPr>
            <p:cNvPr id="7" name="Groupe 6">
              <a:extLst>
                <a:ext uri="{FF2B5EF4-FFF2-40B4-BE49-F238E27FC236}">
                  <a16:creationId xmlns:a16="http://schemas.microsoft.com/office/drawing/2014/main" id="{AE9A8A63-5E1E-4A05-B80C-D2CDEF1E32DC}"/>
                </a:ext>
              </a:extLst>
            </p:cNvPr>
            <p:cNvGrpSpPr/>
            <p:nvPr/>
          </p:nvGrpSpPr>
          <p:grpSpPr>
            <a:xfrm>
              <a:off x="2511913" y="4806428"/>
              <a:ext cx="6428421" cy="1691999"/>
              <a:chOff x="2658994" y="4808439"/>
              <a:chExt cx="6385541" cy="1691999"/>
            </a:xfrm>
          </p:grpSpPr>
          <p:sp>
            <p:nvSpPr>
              <p:cNvPr id="17" name="Rectangle 16">
                <a:extLst>
                  <a:ext uri="{FF2B5EF4-FFF2-40B4-BE49-F238E27FC236}">
                    <a16:creationId xmlns:a16="http://schemas.microsoft.com/office/drawing/2014/main" id="{B61368A6-FDD8-4308-8A97-D09E0058833E}"/>
                  </a:ext>
                </a:extLst>
              </p:cNvPr>
              <p:cNvSpPr>
                <a:spLocks/>
              </p:cNvSpPr>
              <p:nvPr/>
            </p:nvSpPr>
            <p:spPr>
              <a:xfrm>
                <a:off x="2658994" y="4808439"/>
                <a:ext cx="6385541" cy="1691999"/>
              </a:xfrm>
              <a:prstGeom prst="rect">
                <a:avLst/>
              </a:prstGeom>
              <a:solidFill>
                <a:srgbClr val="FFFFFF"/>
              </a:solidFill>
              <a:ln w="6350" cap="flat" cmpd="sng" algn="ctr">
                <a:solidFill>
                  <a:srgbClr val="B0ADCC"/>
                </a:solidFill>
                <a:prstDash val="dash"/>
                <a:miter lim="800000"/>
              </a:ln>
              <a:effectLst/>
            </p:spPr>
            <p:txBody>
              <a:bodyPr rtlCol="0" anchor="ctr"/>
              <a:lstStyle/>
              <a:p>
                <a:pPr marL="171450" indent="-171450" algn="just">
                  <a:spcAft>
                    <a:spcPts val="300"/>
                  </a:spcAft>
                  <a:buClr>
                    <a:srgbClr val="503078"/>
                  </a:buClr>
                  <a:buFont typeface="Tahoma" panose="020B0604030504040204" pitchFamily="34" charset="0"/>
                  <a:buChar char="⁄"/>
                  <a:defRPr/>
                </a:pPr>
                <a:endParaRPr lang="fr-FR" sz="850" kern="0">
                  <a:solidFill>
                    <a:srgbClr val="5F5F5F"/>
                  </a:solidFill>
                  <a:latin typeface="Tahoma"/>
                  <a:ea typeface="Tahoma"/>
                  <a:cs typeface="Tahoma"/>
                </a:endParaRPr>
              </a:p>
            </p:txBody>
          </p:sp>
          <p:sp>
            <p:nvSpPr>
              <p:cNvPr id="18" name="ZoneTexte 17">
                <a:extLst>
                  <a:ext uri="{FF2B5EF4-FFF2-40B4-BE49-F238E27FC236}">
                    <a16:creationId xmlns:a16="http://schemas.microsoft.com/office/drawing/2014/main" id="{2EA534EC-0480-49C5-8BF9-D67D20BACFAD}"/>
                  </a:ext>
                </a:extLst>
              </p:cNvPr>
              <p:cNvSpPr txBox="1"/>
              <p:nvPr/>
            </p:nvSpPr>
            <p:spPr>
              <a:xfrm>
                <a:off x="2725148" y="5027952"/>
                <a:ext cx="6252189" cy="1292702"/>
              </a:xfrm>
              <a:prstGeom prst="rect">
                <a:avLst/>
              </a:prstGeom>
              <a:noFill/>
            </p:spPr>
            <p:txBody>
              <a:bodyPr wrap="square">
                <a:spAutoFit/>
              </a:bodyPr>
              <a:lstStyle/>
              <a:p>
                <a:pPr marL="171450" indent="-171450" algn="just">
                  <a:spcAft>
                    <a:spcPts val="300"/>
                  </a:spcAft>
                  <a:buClr>
                    <a:srgbClr val="503078"/>
                  </a:buClr>
                  <a:buFont typeface="Tahoma" panose="020B0604030504040204" pitchFamily="34" charset="0"/>
                  <a:buChar char="⁄"/>
                  <a:defRPr/>
                </a:pPr>
                <a:r>
                  <a:rPr lang="fr-FR" sz="1100" kern="0">
                    <a:solidFill>
                      <a:srgbClr val="5F5F5F"/>
                    </a:solidFill>
                    <a:latin typeface="Tahoma"/>
                  </a:rPr>
                  <a:t>Sur la base des éléments précédemment collectés, dimensionnement des segments de marché / analyse populationnelle</a:t>
                </a:r>
              </a:p>
              <a:p>
                <a:pPr marL="171450" indent="-171450" algn="just">
                  <a:spcAft>
                    <a:spcPts val="300"/>
                  </a:spcAft>
                  <a:buClr>
                    <a:srgbClr val="503078"/>
                  </a:buClr>
                  <a:buFont typeface="Tahoma" panose="020B0604030504040204" pitchFamily="34" charset="0"/>
                  <a:buChar char="⁄"/>
                  <a:defRPr/>
                </a:pPr>
                <a:r>
                  <a:rPr lang="fr-FR" sz="1100" kern="0">
                    <a:solidFill>
                      <a:srgbClr val="5F5F5F"/>
                    </a:solidFill>
                    <a:latin typeface="Tahoma"/>
                  </a:rPr>
                  <a:t>Formalisation d’une synthèse globale comprenant l’analyse des potentiels de marché </a:t>
                </a:r>
              </a:p>
              <a:p>
                <a:pPr marL="171450" indent="-171450" algn="just">
                  <a:spcAft>
                    <a:spcPts val="300"/>
                  </a:spcAft>
                  <a:buClr>
                    <a:srgbClr val="503078"/>
                  </a:buClr>
                  <a:buFont typeface="Tahoma" panose="020B0604030504040204" pitchFamily="34" charset="0"/>
                  <a:buChar char="⁄"/>
                  <a:defRPr/>
                </a:pPr>
                <a:r>
                  <a:rPr lang="fr-FR" sz="1100" kern="0">
                    <a:solidFill>
                      <a:srgbClr val="5F5F5F"/>
                    </a:solidFill>
                    <a:latin typeface="Tahoma"/>
                  </a:rPr>
                  <a:t>Organisation d’une réunion de restitution avec le référent Banque des Territoires </a:t>
                </a:r>
              </a:p>
              <a:p>
                <a:pPr marL="171450" indent="-171450" algn="just">
                  <a:spcAft>
                    <a:spcPts val="300"/>
                  </a:spcAft>
                  <a:buClr>
                    <a:srgbClr val="503078"/>
                  </a:buClr>
                  <a:buFont typeface="Tahoma" panose="020B0604030504040204" pitchFamily="34" charset="0"/>
                  <a:buChar char="⁄"/>
                  <a:defRPr/>
                </a:pPr>
                <a:r>
                  <a:rPr lang="fr-FR" sz="1100" kern="0">
                    <a:solidFill>
                      <a:srgbClr val="5F5F5F"/>
                    </a:solidFill>
                    <a:latin typeface="Tahoma"/>
                  </a:rPr>
                  <a:t>(Option) Restitution de l’analyse à l’écosystème </a:t>
                </a:r>
              </a:p>
            </p:txBody>
          </p:sp>
        </p:grpSp>
        <p:grpSp>
          <p:nvGrpSpPr>
            <p:cNvPr id="8" name="Groupe 7">
              <a:extLst>
                <a:ext uri="{FF2B5EF4-FFF2-40B4-BE49-F238E27FC236}">
                  <a16:creationId xmlns:a16="http://schemas.microsoft.com/office/drawing/2014/main" id="{38AE1A68-9704-4C88-9C80-C50107F6DA2E}"/>
                </a:ext>
              </a:extLst>
            </p:cNvPr>
            <p:cNvGrpSpPr/>
            <p:nvPr/>
          </p:nvGrpSpPr>
          <p:grpSpPr>
            <a:xfrm>
              <a:off x="319015" y="1241741"/>
              <a:ext cx="2084595" cy="1692000"/>
              <a:chOff x="374400" y="1337573"/>
              <a:chExt cx="2084595" cy="379623"/>
            </a:xfrm>
          </p:grpSpPr>
          <p:sp>
            <p:nvSpPr>
              <p:cNvPr id="15" name="Rectangle 14">
                <a:extLst>
                  <a:ext uri="{FF2B5EF4-FFF2-40B4-BE49-F238E27FC236}">
                    <a16:creationId xmlns:a16="http://schemas.microsoft.com/office/drawing/2014/main" id="{2A029430-2391-479D-8E4B-11DA2D11527F}"/>
                  </a:ext>
                </a:extLst>
              </p:cNvPr>
              <p:cNvSpPr>
                <a:spLocks/>
              </p:cNvSpPr>
              <p:nvPr/>
            </p:nvSpPr>
            <p:spPr>
              <a:xfrm>
                <a:off x="374400" y="1337573"/>
                <a:ext cx="2084595" cy="379623"/>
              </a:xfrm>
              <a:prstGeom prst="rect">
                <a:avLst/>
              </a:prstGeom>
              <a:solidFill>
                <a:srgbClr val="503078"/>
              </a:solidFill>
              <a:ln w="12700" cap="flat" cmpd="sng" algn="ctr">
                <a:noFill/>
                <a:prstDash val="solid"/>
                <a:miter lim="800000"/>
              </a:ln>
              <a:effectLst/>
            </p:spPr>
            <p:txBody>
              <a:bodyPr rtlCol="0" anchor="ctr"/>
              <a:lstStyle/>
              <a:p>
                <a:pPr algn="ctr">
                  <a:defRPr/>
                </a:pPr>
                <a:endParaRPr lang="fr-FR" sz="1000" kern="0">
                  <a:solidFill>
                    <a:srgbClr val="FFFFFF"/>
                  </a:solidFill>
                  <a:latin typeface="Tahoma"/>
                </a:endParaRPr>
              </a:p>
            </p:txBody>
          </p:sp>
          <p:sp>
            <p:nvSpPr>
              <p:cNvPr id="16" name="TextBox 14">
                <a:extLst>
                  <a:ext uri="{FF2B5EF4-FFF2-40B4-BE49-F238E27FC236}">
                    <a16:creationId xmlns:a16="http://schemas.microsoft.com/office/drawing/2014/main" id="{98C636E8-2D26-41F9-B101-F681F025C440}"/>
                  </a:ext>
                </a:extLst>
              </p:cNvPr>
              <p:cNvSpPr txBox="1">
                <a:spLocks/>
              </p:cNvSpPr>
              <p:nvPr/>
            </p:nvSpPr>
            <p:spPr bwMode="gray">
              <a:xfrm>
                <a:off x="426351" y="1464622"/>
                <a:ext cx="2005404" cy="141817"/>
              </a:xfrm>
              <a:prstGeom prst="rect">
                <a:avLst/>
              </a:prstGeom>
              <a:noFill/>
              <a:ln>
                <a:noFill/>
              </a:ln>
            </p:spPr>
            <p:txBody>
              <a:bodyPr wrap="square" lIns="46800" tIns="36000" rIns="46800" bIns="36000" rtlCol="0" anchor="ctr">
                <a:noAutofit/>
              </a:bodyPr>
              <a:lstStyle/>
              <a:p>
                <a:pPr algn="ctr">
                  <a:defRPr/>
                </a:pPr>
                <a:r>
                  <a:rPr lang="fr-FR" sz="1200" b="1" kern="0">
                    <a:solidFill>
                      <a:srgbClr val="FFFFFF"/>
                    </a:solidFill>
                    <a:latin typeface="Tahoma"/>
                  </a:rPr>
                  <a:t>Phase 1 –</a:t>
                </a:r>
              </a:p>
              <a:p>
                <a:pPr algn="ctr">
                  <a:defRPr/>
                </a:pPr>
                <a:r>
                  <a:rPr lang="fr-FR" sz="1200" b="1" kern="0">
                    <a:solidFill>
                      <a:srgbClr val="FFFFFF"/>
                    </a:solidFill>
                    <a:latin typeface="Tahoma"/>
                  </a:rPr>
                  <a:t>Lancement et cadrage </a:t>
                </a:r>
              </a:p>
            </p:txBody>
          </p:sp>
        </p:grpSp>
        <p:grpSp>
          <p:nvGrpSpPr>
            <p:cNvPr id="9" name="Groupe 8">
              <a:extLst>
                <a:ext uri="{FF2B5EF4-FFF2-40B4-BE49-F238E27FC236}">
                  <a16:creationId xmlns:a16="http://schemas.microsoft.com/office/drawing/2014/main" id="{FE63C8EA-F534-4CD0-A6C1-93DFD8511CE4}"/>
                </a:ext>
              </a:extLst>
            </p:cNvPr>
            <p:cNvGrpSpPr/>
            <p:nvPr/>
          </p:nvGrpSpPr>
          <p:grpSpPr>
            <a:xfrm>
              <a:off x="319015" y="3011728"/>
              <a:ext cx="2109309" cy="1691999"/>
              <a:chOff x="317908" y="2138627"/>
              <a:chExt cx="2109309" cy="609267"/>
            </a:xfrm>
          </p:grpSpPr>
          <p:sp>
            <p:nvSpPr>
              <p:cNvPr id="13" name="Rectangle 12">
                <a:extLst>
                  <a:ext uri="{FF2B5EF4-FFF2-40B4-BE49-F238E27FC236}">
                    <a16:creationId xmlns:a16="http://schemas.microsoft.com/office/drawing/2014/main" id="{8203DF13-EC66-4FEE-A839-CB41722ED084}"/>
                  </a:ext>
                </a:extLst>
              </p:cNvPr>
              <p:cNvSpPr>
                <a:spLocks/>
              </p:cNvSpPr>
              <p:nvPr/>
            </p:nvSpPr>
            <p:spPr>
              <a:xfrm>
                <a:off x="317908" y="2138627"/>
                <a:ext cx="2084595" cy="609267"/>
              </a:xfrm>
              <a:prstGeom prst="rect">
                <a:avLst/>
              </a:prstGeom>
              <a:solidFill>
                <a:srgbClr val="503078">
                  <a:lumMod val="60000"/>
                  <a:lumOff val="40000"/>
                </a:srgbClr>
              </a:solidFill>
              <a:ln w="12700" cap="flat" cmpd="sng" algn="ctr">
                <a:noFill/>
                <a:prstDash val="solid"/>
                <a:miter lim="800000"/>
              </a:ln>
              <a:effectLst/>
            </p:spPr>
            <p:txBody>
              <a:bodyPr rtlCol="0" anchor="ctr"/>
              <a:lstStyle/>
              <a:p>
                <a:pPr algn="ctr">
                  <a:defRPr/>
                </a:pPr>
                <a:endParaRPr lang="fr-FR" sz="1000" kern="0">
                  <a:solidFill>
                    <a:srgbClr val="FFFFFF"/>
                  </a:solidFill>
                  <a:latin typeface="Tahoma"/>
                </a:endParaRPr>
              </a:p>
            </p:txBody>
          </p:sp>
          <p:sp>
            <p:nvSpPr>
              <p:cNvPr id="14" name="TextBox 14">
                <a:extLst>
                  <a:ext uri="{FF2B5EF4-FFF2-40B4-BE49-F238E27FC236}">
                    <a16:creationId xmlns:a16="http://schemas.microsoft.com/office/drawing/2014/main" id="{722FF50B-8DCA-482E-AB3A-0D332E23A309}"/>
                  </a:ext>
                </a:extLst>
              </p:cNvPr>
              <p:cNvSpPr txBox="1">
                <a:spLocks/>
              </p:cNvSpPr>
              <p:nvPr/>
            </p:nvSpPr>
            <p:spPr bwMode="gray">
              <a:xfrm>
                <a:off x="317908" y="2332928"/>
                <a:ext cx="2109309" cy="209127"/>
              </a:xfrm>
              <a:prstGeom prst="rect">
                <a:avLst/>
              </a:prstGeom>
              <a:noFill/>
              <a:ln>
                <a:noFill/>
              </a:ln>
            </p:spPr>
            <p:txBody>
              <a:bodyPr wrap="square" lIns="46800" tIns="36000" rIns="46800" bIns="36000" rtlCol="0" anchor="ctr">
                <a:noAutofit/>
              </a:bodyPr>
              <a:lstStyle/>
              <a:p>
                <a:pPr algn="ctr">
                  <a:defRPr/>
                </a:pPr>
                <a:r>
                  <a:rPr lang="fr-FR" sz="1200" b="1" kern="0">
                    <a:solidFill>
                      <a:srgbClr val="FFFFFF"/>
                    </a:solidFill>
                    <a:latin typeface="Tahoma"/>
                  </a:rPr>
                  <a:t>Phase 2 - Panorama des initiatives existantes</a:t>
                </a:r>
              </a:p>
            </p:txBody>
          </p:sp>
        </p:grpSp>
        <p:grpSp>
          <p:nvGrpSpPr>
            <p:cNvPr id="10" name="Groupe 9">
              <a:extLst>
                <a:ext uri="{FF2B5EF4-FFF2-40B4-BE49-F238E27FC236}">
                  <a16:creationId xmlns:a16="http://schemas.microsoft.com/office/drawing/2014/main" id="{5BF489C3-CFF4-429E-B5CB-FF3C963B8339}"/>
                </a:ext>
              </a:extLst>
            </p:cNvPr>
            <p:cNvGrpSpPr/>
            <p:nvPr/>
          </p:nvGrpSpPr>
          <p:grpSpPr>
            <a:xfrm>
              <a:off x="319015" y="4806429"/>
              <a:ext cx="2084595" cy="1692001"/>
              <a:chOff x="97693" y="5140800"/>
              <a:chExt cx="2835291" cy="1016839"/>
            </a:xfrm>
          </p:grpSpPr>
          <p:sp>
            <p:nvSpPr>
              <p:cNvPr id="11" name="Rectangle 10">
                <a:extLst>
                  <a:ext uri="{FF2B5EF4-FFF2-40B4-BE49-F238E27FC236}">
                    <a16:creationId xmlns:a16="http://schemas.microsoft.com/office/drawing/2014/main" id="{11C629BF-65D4-4E1E-8B5F-4FC3493849E9}"/>
                  </a:ext>
                </a:extLst>
              </p:cNvPr>
              <p:cNvSpPr>
                <a:spLocks/>
              </p:cNvSpPr>
              <p:nvPr/>
            </p:nvSpPr>
            <p:spPr>
              <a:xfrm>
                <a:off x="97693" y="5140800"/>
                <a:ext cx="2835291" cy="1016839"/>
              </a:xfrm>
              <a:prstGeom prst="rect">
                <a:avLst/>
              </a:prstGeom>
              <a:solidFill>
                <a:srgbClr val="B0ADCC"/>
              </a:solidFill>
              <a:ln w="12700" cap="flat" cmpd="sng" algn="ctr">
                <a:noFill/>
                <a:prstDash val="solid"/>
                <a:miter lim="800000"/>
              </a:ln>
              <a:effectLst/>
            </p:spPr>
            <p:txBody>
              <a:bodyPr rtlCol="0" anchor="ctr"/>
              <a:lstStyle/>
              <a:p>
                <a:pPr algn="ctr">
                  <a:defRPr/>
                </a:pPr>
                <a:endParaRPr lang="fr-FR" sz="1000" kern="0">
                  <a:solidFill>
                    <a:srgbClr val="FFFFFF"/>
                  </a:solidFill>
                  <a:latin typeface="Tahoma"/>
                </a:endParaRPr>
              </a:p>
            </p:txBody>
          </p:sp>
          <p:sp>
            <p:nvSpPr>
              <p:cNvPr id="12" name="TextBox 14">
                <a:extLst>
                  <a:ext uri="{FF2B5EF4-FFF2-40B4-BE49-F238E27FC236}">
                    <a16:creationId xmlns:a16="http://schemas.microsoft.com/office/drawing/2014/main" id="{6100B746-8020-40FC-A865-20CFC84BAA2B}"/>
                  </a:ext>
                </a:extLst>
              </p:cNvPr>
              <p:cNvSpPr txBox="1">
                <a:spLocks/>
              </p:cNvSpPr>
              <p:nvPr/>
            </p:nvSpPr>
            <p:spPr bwMode="gray">
              <a:xfrm>
                <a:off x="184332" y="5481193"/>
                <a:ext cx="2695623" cy="384724"/>
              </a:xfrm>
              <a:prstGeom prst="rect">
                <a:avLst/>
              </a:prstGeom>
              <a:noFill/>
              <a:ln>
                <a:noFill/>
              </a:ln>
            </p:spPr>
            <p:txBody>
              <a:bodyPr wrap="square" lIns="46800" tIns="36000" rIns="46800" bIns="36000" rtlCol="0" anchor="ctr">
                <a:noAutofit/>
              </a:bodyPr>
              <a:lstStyle/>
              <a:p>
                <a:pPr algn="ctr">
                  <a:defRPr/>
                </a:pPr>
                <a:r>
                  <a:rPr lang="fr-FR" sz="1200" b="1" kern="0">
                    <a:solidFill>
                      <a:srgbClr val="FFFFFF"/>
                    </a:solidFill>
                    <a:latin typeface="Tahoma"/>
                  </a:rPr>
                  <a:t>Phase 3 - Analyse des potentiels de marché et synthèse </a:t>
                </a:r>
              </a:p>
            </p:txBody>
          </p:sp>
        </p:grpSp>
      </p:grpSp>
      <p:grpSp>
        <p:nvGrpSpPr>
          <p:cNvPr id="23" name="Groupe 22">
            <a:extLst>
              <a:ext uri="{FF2B5EF4-FFF2-40B4-BE49-F238E27FC236}">
                <a16:creationId xmlns:a16="http://schemas.microsoft.com/office/drawing/2014/main" id="{5A93B0B2-1D54-4B31-B498-88B63FE339BD}"/>
              </a:ext>
            </a:extLst>
          </p:cNvPr>
          <p:cNvGrpSpPr/>
          <p:nvPr/>
        </p:nvGrpSpPr>
        <p:grpSpPr>
          <a:xfrm>
            <a:off x="1487400" y="866429"/>
            <a:ext cx="9240542" cy="1345819"/>
            <a:chOff x="317908" y="967759"/>
            <a:chExt cx="8644277" cy="1323856"/>
          </a:xfrm>
        </p:grpSpPr>
        <p:sp>
          <p:nvSpPr>
            <p:cNvPr id="24" name="Arrondir un rectangle avec un coin diagonal 25">
              <a:extLst>
                <a:ext uri="{FF2B5EF4-FFF2-40B4-BE49-F238E27FC236}">
                  <a16:creationId xmlns:a16="http://schemas.microsoft.com/office/drawing/2014/main" id="{9106F776-FE68-49B9-AE58-7F33E00ACD6D}"/>
                </a:ext>
              </a:extLst>
            </p:cNvPr>
            <p:cNvSpPr/>
            <p:nvPr/>
          </p:nvSpPr>
          <p:spPr bwMode="gray">
            <a:xfrm>
              <a:off x="317908" y="967759"/>
              <a:ext cx="8644277" cy="1323856"/>
            </a:xfrm>
            <a:prstGeom prst="round2DiagRect">
              <a:avLst>
                <a:gd name="adj1" fmla="val 0"/>
                <a:gd name="adj2" fmla="val 9264"/>
              </a:avLst>
            </a:prstGeom>
            <a:solidFill>
              <a:schemeClr val="bg1"/>
            </a:solid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indent="-205978" algn="just" defTabSz="685800">
                <a:lnSpc>
                  <a:spcPts val="1200"/>
                </a:lnSpc>
                <a:buClr>
                  <a:srgbClr val="1F497D"/>
                </a:buClr>
                <a:defRPr/>
              </a:pPr>
              <a:endParaRPr lang="fr-FR" sz="1000" kern="0">
                <a:solidFill>
                  <a:srgbClr val="5F5F5F"/>
                </a:solidFill>
                <a:latin typeface="Tahoma"/>
              </a:endParaRPr>
            </a:p>
          </p:txBody>
        </p:sp>
        <p:sp>
          <p:nvSpPr>
            <p:cNvPr id="25" name="Rectangle 24">
              <a:extLst>
                <a:ext uri="{FF2B5EF4-FFF2-40B4-BE49-F238E27FC236}">
                  <a16:creationId xmlns:a16="http://schemas.microsoft.com/office/drawing/2014/main" id="{EDB94023-2EE5-4A76-AE31-3B85F567CB7D}"/>
                </a:ext>
              </a:extLst>
            </p:cNvPr>
            <p:cNvSpPr/>
            <p:nvPr/>
          </p:nvSpPr>
          <p:spPr>
            <a:xfrm>
              <a:off x="402236" y="1034233"/>
              <a:ext cx="8507077" cy="1226153"/>
            </a:xfrm>
            <a:prstGeom prst="rect">
              <a:avLst/>
            </a:prstGeom>
            <a:noFill/>
            <a:ln w="9525" cap="flat" cmpd="sng" algn="ctr">
              <a:noFill/>
              <a:prstDash val="solid"/>
              <a:round/>
              <a:headEnd type="none" w="med" len="med"/>
              <a:tailEnd type="none" w="med" len="med"/>
            </a:ln>
          </p:spPr>
          <p:txBody>
            <a:bodyPr wrap="square" anchor="t">
              <a:spAutoFit/>
            </a:bodyPr>
            <a:lstStyle/>
            <a:p>
              <a:pPr algn="just">
                <a:lnSpc>
                  <a:spcPts val="1200"/>
                </a:lnSpc>
                <a:spcBef>
                  <a:spcPts val="225"/>
                </a:spcBef>
                <a:buClr>
                  <a:srgbClr val="1F497D"/>
                </a:buClr>
                <a:defRPr/>
              </a:pPr>
              <a:r>
                <a:rPr lang="fr-FR" sz="1200">
                  <a:solidFill>
                    <a:srgbClr val="5F5F5F"/>
                  </a:solidFill>
                  <a:latin typeface="Tahoma"/>
                </a:rPr>
                <a:t>L’objectif de l’accompagnement réalisé par Wavestone est de permettre à la Banque des Territoires : </a:t>
              </a:r>
            </a:p>
            <a:p>
              <a:pPr marL="171450" indent="-171450" algn="just">
                <a:lnSpc>
                  <a:spcPts val="1200"/>
                </a:lnSpc>
                <a:spcBef>
                  <a:spcPts val="600"/>
                </a:spcBef>
                <a:buClr>
                  <a:srgbClr val="503078"/>
                </a:buClr>
                <a:buFont typeface="Tahoma" panose="020B0604030504040204" pitchFamily="34" charset="0"/>
                <a:buChar char="⁄"/>
                <a:defRPr/>
              </a:pPr>
              <a:r>
                <a:rPr lang="fr-FR" sz="1200" kern="0">
                  <a:solidFill>
                    <a:srgbClr val="5F5F5F">
                      <a:lumMod val="100000"/>
                    </a:srgbClr>
                  </a:solidFill>
                  <a:latin typeface="Tahoma"/>
                </a:rPr>
                <a:t>De disposer d’une </a:t>
              </a:r>
              <a:r>
                <a:rPr lang="fr-FR" sz="1200" b="1" kern="0">
                  <a:solidFill>
                    <a:srgbClr val="503078"/>
                  </a:solidFill>
                  <a:latin typeface="Tahoma"/>
                </a:rPr>
                <a:t>meilleure compréhension du fonctionnement, de la gestion et du financement des centres de répit </a:t>
              </a:r>
              <a:r>
                <a:rPr lang="fr-FR" sz="1200" kern="0">
                  <a:solidFill>
                    <a:srgbClr val="5F5F5F"/>
                  </a:solidFill>
                  <a:latin typeface="Tahoma"/>
                </a:rPr>
                <a:t>à travers les initiatives associatives et territoriales existantes,</a:t>
              </a:r>
            </a:p>
            <a:p>
              <a:pPr marL="171450" indent="-171450" algn="just">
                <a:lnSpc>
                  <a:spcPts val="1200"/>
                </a:lnSpc>
                <a:spcBef>
                  <a:spcPts val="600"/>
                </a:spcBef>
                <a:buClr>
                  <a:srgbClr val="503078"/>
                </a:buClr>
                <a:buFont typeface="Tahoma" panose="020B0604030504040204" pitchFamily="34" charset="0"/>
                <a:buChar char="⁄"/>
                <a:defRPr/>
              </a:pPr>
              <a:r>
                <a:rPr lang="fr-FR" sz="1200" kern="0">
                  <a:solidFill>
                    <a:srgbClr val="5F5F5F">
                      <a:lumMod val="100000"/>
                    </a:srgbClr>
                  </a:solidFill>
                  <a:latin typeface="Tahoma"/>
                </a:rPr>
                <a:t>De déterminer le</a:t>
              </a:r>
              <a:r>
                <a:rPr lang="fr-FR" sz="1200" b="1" kern="0">
                  <a:solidFill>
                    <a:srgbClr val="503078"/>
                  </a:solidFill>
                  <a:latin typeface="Tahoma"/>
                </a:rPr>
                <a:t> positionnement des pouvoirs publics et des différentes parties prenantes </a:t>
              </a:r>
              <a:r>
                <a:rPr lang="fr-FR" sz="1200" kern="0">
                  <a:solidFill>
                    <a:srgbClr val="5F5F5F">
                      <a:lumMod val="100000"/>
                    </a:srgbClr>
                  </a:solidFill>
                  <a:latin typeface="Tahoma"/>
                </a:rPr>
                <a:t>vis-à-vis des centres de répit,</a:t>
              </a:r>
              <a:endParaRPr lang="fr-FR" sz="1200" b="1" kern="0">
                <a:solidFill>
                  <a:srgbClr val="503078"/>
                </a:solidFill>
                <a:latin typeface="Tahoma"/>
              </a:endParaRPr>
            </a:p>
            <a:p>
              <a:pPr marL="171450" indent="-171450" algn="just">
                <a:lnSpc>
                  <a:spcPts val="1200"/>
                </a:lnSpc>
                <a:spcBef>
                  <a:spcPts val="600"/>
                </a:spcBef>
                <a:buClr>
                  <a:srgbClr val="503078"/>
                </a:buClr>
                <a:buFont typeface="Tahoma" panose="020B0604030504040204" pitchFamily="34" charset="0"/>
                <a:buChar char="⁄"/>
                <a:defRPr/>
              </a:pPr>
              <a:r>
                <a:rPr lang="fr-FR" sz="1200" kern="0">
                  <a:solidFill>
                    <a:srgbClr val="5F5F5F">
                      <a:lumMod val="100000"/>
                    </a:srgbClr>
                  </a:solidFill>
                  <a:latin typeface="Tahoma"/>
                </a:rPr>
                <a:t>D’évaluer </a:t>
              </a:r>
              <a:r>
                <a:rPr lang="fr-FR" sz="1200" b="1" kern="0">
                  <a:solidFill>
                    <a:srgbClr val="503078"/>
                  </a:solidFill>
                  <a:latin typeface="Tahoma"/>
                </a:rPr>
                <a:t>les potentiels de marchés </a:t>
              </a:r>
              <a:r>
                <a:rPr lang="fr-FR" sz="1200" kern="0">
                  <a:solidFill>
                    <a:srgbClr val="5F5F5F">
                      <a:lumMod val="100000"/>
                    </a:srgbClr>
                  </a:solidFill>
                  <a:latin typeface="Tahoma"/>
                </a:rPr>
                <a:t>pour les centres de répit.</a:t>
              </a:r>
              <a:endParaRPr lang="fr-FR" sz="1200">
                <a:solidFill>
                  <a:srgbClr val="5F5F5F"/>
                </a:solidFill>
                <a:latin typeface="Tahoma"/>
              </a:endParaRPr>
            </a:p>
          </p:txBody>
        </p:sp>
      </p:grpSp>
    </p:spTree>
    <p:extLst>
      <p:ext uri="{BB962C8B-B14F-4D97-AF65-F5344CB8AC3E}">
        <p14:creationId xmlns:p14="http://schemas.microsoft.com/office/powerpoint/2010/main" val="151736658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45E749-14D8-42BA-A566-C272C57C4B42}"/>
              </a:ext>
            </a:extLst>
          </p:cNvPr>
          <p:cNvSpPr>
            <a:spLocks noGrp="1"/>
          </p:cNvSpPr>
          <p:nvPr>
            <p:ph type="title"/>
          </p:nvPr>
        </p:nvSpPr>
        <p:spPr/>
        <p:txBody>
          <a:bodyPr/>
          <a:lstStyle/>
          <a:p>
            <a:r>
              <a:rPr lang="fr-FR">
                <a:latin typeface="Tahoma"/>
                <a:ea typeface="+mn-ea"/>
                <a:cs typeface="+mn-cs"/>
              </a:rPr>
              <a:t>Fiches initiatives</a:t>
            </a:r>
            <a:br>
              <a:rPr lang="fr-FR">
                <a:latin typeface="Tahoma"/>
                <a:ea typeface="+mn-ea"/>
                <a:cs typeface="+mn-cs"/>
              </a:rPr>
            </a:br>
            <a:endParaRPr lang="fr-FR"/>
          </a:p>
        </p:txBody>
      </p:sp>
      <p:sp>
        <p:nvSpPr>
          <p:cNvPr id="3" name="Espace réservé du texte 2">
            <a:extLst>
              <a:ext uri="{FF2B5EF4-FFF2-40B4-BE49-F238E27FC236}">
                <a16:creationId xmlns:a16="http://schemas.microsoft.com/office/drawing/2014/main" id="{56CE6F7E-B7E2-4D0A-84E0-E9105A72B01A}"/>
              </a:ext>
            </a:extLst>
          </p:cNvPr>
          <p:cNvSpPr>
            <a:spLocks noGrp="1"/>
          </p:cNvSpPr>
          <p:nvPr>
            <p:ph type="body" sz="quarter" idx="38"/>
          </p:nvPr>
        </p:nvSpPr>
        <p:spPr/>
        <p:txBody>
          <a:bodyPr/>
          <a:lstStyle/>
          <a:p>
            <a:r>
              <a:rPr lang="fr-FR"/>
              <a:t>A</a:t>
            </a:r>
          </a:p>
        </p:txBody>
      </p:sp>
      <p:sp>
        <p:nvSpPr>
          <p:cNvPr id="4" name="Titre 1">
            <a:extLst>
              <a:ext uri="{FF2B5EF4-FFF2-40B4-BE49-F238E27FC236}">
                <a16:creationId xmlns:a16="http://schemas.microsoft.com/office/drawing/2014/main" id="{194C32C5-5DBB-403E-A7AF-719FF8062640}"/>
              </a:ext>
            </a:extLst>
          </p:cNvPr>
          <p:cNvSpPr txBox="1">
            <a:spLocks/>
          </p:cNvSpPr>
          <p:nvPr/>
        </p:nvSpPr>
        <p:spPr bwMode="gray">
          <a:xfrm>
            <a:off x="4260050" y="3816823"/>
            <a:ext cx="6300000" cy="964800"/>
          </a:xfrm>
          <a:prstGeom prst="rect">
            <a:avLst/>
          </a:prstGeom>
          <a:noFill/>
        </p:spPr>
        <p:txBody>
          <a:bodyPr vert="horz" lIns="108000" tIns="108000" rIns="0" bIns="0" rtlCol="0" anchor="t">
            <a:noAutofit/>
          </a:bodyPr>
          <a:lstStyle>
            <a:lvl1pPr algn="r" defTabSz="914400" rtl="0" eaLnBrk="1" latinLnBrk="0" hangingPunct="1">
              <a:lnSpc>
                <a:spcPct val="100000"/>
              </a:lnSpc>
              <a:spcBef>
                <a:spcPct val="0"/>
              </a:spcBef>
              <a:buNone/>
              <a:defRPr sz="2400" kern="1200" cap="none" baseline="0">
                <a:solidFill>
                  <a:schemeClr val="bg2"/>
                </a:solidFill>
                <a:latin typeface="+mj-lt"/>
                <a:ea typeface="+mj-ea"/>
                <a:cs typeface="+mj-cs"/>
              </a:defRPr>
            </a:lvl1pPr>
          </a:lstStyle>
          <a:p>
            <a:r>
              <a:rPr lang="fr-FR" i="1">
                <a:solidFill>
                  <a:srgbClr val="048B9A"/>
                </a:solidFill>
                <a:latin typeface="Tahoma"/>
              </a:rPr>
              <a:t>Projets de centres de répit en cours</a:t>
            </a:r>
          </a:p>
        </p:txBody>
      </p:sp>
    </p:spTree>
    <p:extLst>
      <p:ext uri="{BB962C8B-B14F-4D97-AF65-F5344CB8AC3E}">
        <p14:creationId xmlns:p14="http://schemas.microsoft.com/office/powerpoint/2010/main" val="19044904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DDB96D-5870-433E-8224-8BA70AB31D5A}"/>
              </a:ext>
            </a:extLst>
          </p:cNvPr>
          <p:cNvSpPr>
            <a:spLocks noGrp="1"/>
          </p:cNvSpPr>
          <p:nvPr>
            <p:ph type="title"/>
          </p:nvPr>
        </p:nvSpPr>
        <p:spPr/>
        <p:txBody>
          <a:bodyPr/>
          <a:lstStyle/>
          <a:p>
            <a:r>
              <a:rPr lang="fr-FR"/>
              <a:t>Centre de Répit de Laruns</a:t>
            </a:r>
          </a:p>
        </p:txBody>
      </p:sp>
      <p:sp>
        <p:nvSpPr>
          <p:cNvPr id="3" name="Espace réservé du texte 2">
            <a:extLst>
              <a:ext uri="{FF2B5EF4-FFF2-40B4-BE49-F238E27FC236}">
                <a16:creationId xmlns:a16="http://schemas.microsoft.com/office/drawing/2014/main" id="{9C630387-01A6-4667-A171-E57EE95EAA8D}"/>
              </a:ext>
            </a:extLst>
          </p:cNvPr>
          <p:cNvSpPr>
            <a:spLocks noGrp="1"/>
          </p:cNvSpPr>
          <p:nvPr>
            <p:ph type="body" sz="quarter" idx="13"/>
          </p:nvPr>
        </p:nvSpPr>
        <p:spPr/>
        <p:txBody>
          <a:bodyPr/>
          <a:lstStyle/>
          <a:p>
            <a:r>
              <a:rPr lang="fr-FR"/>
              <a:t>fiches initiatives</a:t>
            </a:r>
          </a:p>
        </p:txBody>
      </p:sp>
      <p:grpSp>
        <p:nvGrpSpPr>
          <p:cNvPr id="89" name="Group 219">
            <a:extLst>
              <a:ext uri="{FF2B5EF4-FFF2-40B4-BE49-F238E27FC236}">
                <a16:creationId xmlns:a16="http://schemas.microsoft.com/office/drawing/2014/main" id="{23563D0E-A6E2-449B-BBEF-8098E393884C}"/>
              </a:ext>
            </a:extLst>
          </p:cNvPr>
          <p:cNvGrpSpPr>
            <a:grpSpLocks/>
          </p:cNvGrpSpPr>
          <p:nvPr/>
        </p:nvGrpSpPr>
        <p:grpSpPr bwMode="gray">
          <a:xfrm>
            <a:off x="1498106" y="972493"/>
            <a:ext cx="1015402" cy="933665"/>
            <a:chOff x="48" y="168"/>
            <a:chExt cx="3077" cy="3032"/>
          </a:xfrm>
          <a:solidFill>
            <a:schemeClr val="tx2"/>
          </a:solidFill>
          <a:effectLst>
            <a:outerShdw blurRad="127000" dist="50800" dir="2700000" algn="ctr" rotWithShape="0">
              <a:schemeClr val="tx1">
                <a:alpha val="40000"/>
              </a:schemeClr>
            </a:outerShdw>
          </a:effectLst>
        </p:grpSpPr>
        <p:sp>
          <p:nvSpPr>
            <p:cNvPr id="90" name="Nord-Pas-de-Calais" descr="© INSCALE GmbH, 05.05.2010&#10;http://www.presentationload.com/">
              <a:extLst>
                <a:ext uri="{FF2B5EF4-FFF2-40B4-BE49-F238E27FC236}">
                  <a16:creationId xmlns:a16="http://schemas.microsoft.com/office/drawing/2014/main" id="{AB720DBB-1E99-4155-8615-016531D8396C}"/>
                </a:ext>
              </a:extLst>
            </p:cNvPr>
            <p:cNvSpPr>
              <a:spLocks/>
            </p:cNvSpPr>
            <p:nvPr/>
          </p:nvSpPr>
          <p:spPr bwMode="gray">
            <a:xfrm>
              <a:off x="1600" y="168"/>
              <a:ext cx="608" cy="383"/>
            </a:xfrm>
            <a:custGeom>
              <a:avLst/>
              <a:gdLst/>
              <a:ahLst/>
              <a:cxnLst>
                <a:cxn ang="0">
                  <a:pos x="77" y="236"/>
                </a:cxn>
                <a:cxn ang="0">
                  <a:pos x="101" y="257"/>
                </a:cxn>
                <a:cxn ang="0">
                  <a:pos x="117" y="279"/>
                </a:cxn>
                <a:cxn ang="0">
                  <a:pos x="159" y="269"/>
                </a:cxn>
                <a:cxn ang="0">
                  <a:pos x="187" y="273"/>
                </a:cxn>
                <a:cxn ang="0">
                  <a:pos x="173" y="309"/>
                </a:cxn>
                <a:cxn ang="0">
                  <a:pos x="208" y="304"/>
                </a:cxn>
                <a:cxn ang="0">
                  <a:pos x="232" y="300"/>
                </a:cxn>
                <a:cxn ang="0">
                  <a:pos x="244" y="323"/>
                </a:cxn>
                <a:cxn ang="0">
                  <a:pos x="272" y="324"/>
                </a:cxn>
                <a:cxn ang="0">
                  <a:pos x="279" y="321"/>
                </a:cxn>
                <a:cxn ang="0">
                  <a:pos x="343" y="329"/>
                </a:cxn>
                <a:cxn ang="0">
                  <a:pos x="364" y="327"/>
                </a:cxn>
                <a:cxn ang="0">
                  <a:pos x="440" y="317"/>
                </a:cxn>
                <a:cxn ang="0">
                  <a:pos x="473" y="333"/>
                </a:cxn>
                <a:cxn ang="0">
                  <a:pos x="492" y="335"/>
                </a:cxn>
                <a:cxn ang="0">
                  <a:pos x="548" y="320"/>
                </a:cxn>
                <a:cxn ang="0">
                  <a:pos x="556" y="283"/>
                </a:cxn>
                <a:cxn ang="0">
                  <a:pos x="545" y="269"/>
                </a:cxn>
                <a:cxn ang="0">
                  <a:pos x="559" y="243"/>
                </a:cxn>
                <a:cxn ang="0">
                  <a:pos x="543" y="243"/>
                </a:cxn>
                <a:cxn ang="0">
                  <a:pos x="517" y="215"/>
                </a:cxn>
                <a:cxn ang="0">
                  <a:pos x="500" y="219"/>
                </a:cxn>
                <a:cxn ang="0">
                  <a:pos x="486" y="217"/>
                </a:cxn>
                <a:cxn ang="0">
                  <a:pos x="452" y="228"/>
                </a:cxn>
                <a:cxn ang="0">
                  <a:pos x="442" y="201"/>
                </a:cxn>
                <a:cxn ang="0">
                  <a:pos x="436" y="174"/>
                </a:cxn>
                <a:cxn ang="0">
                  <a:pos x="409" y="165"/>
                </a:cxn>
                <a:cxn ang="0">
                  <a:pos x="362" y="157"/>
                </a:cxn>
                <a:cxn ang="0">
                  <a:pos x="353" y="124"/>
                </a:cxn>
                <a:cxn ang="0">
                  <a:pos x="350" y="110"/>
                </a:cxn>
                <a:cxn ang="0">
                  <a:pos x="325" y="90"/>
                </a:cxn>
                <a:cxn ang="0">
                  <a:pos x="283" y="114"/>
                </a:cxn>
                <a:cxn ang="0">
                  <a:pos x="262" y="106"/>
                </a:cxn>
                <a:cxn ang="0">
                  <a:pos x="245" y="76"/>
                </a:cxn>
                <a:cxn ang="0">
                  <a:pos x="221" y="67"/>
                </a:cxn>
                <a:cxn ang="0">
                  <a:pos x="224" y="42"/>
                </a:cxn>
                <a:cxn ang="0">
                  <a:pos x="212" y="9"/>
                </a:cxn>
                <a:cxn ang="0">
                  <a:pos x="157" y="7"/>
                </a:cxn>
                <a:cxn ang="0">
                  <a:pos x="54" y="31"/>
                </a:cxn>
                <a:cxn ang="0">
                  <a:pos x="7" y="57"/>
                </a:cxn>
                <a:cxn ang="0">
                  <a:pos x="5" y="106"/>
                </a:cxn>
                <a:cxn ang="0">
                  <a:pos x="4" y="192"/>
                </a:cxn>
                <a:cxn ang="0">
                  <a:pos x="1" y="228"/>
                </a:cxn>
                <a:cxn ang="0">
                  <a:pos x="12" y="235"/>
                </a:cxn>
                <a:cxn ang="0">
                  <a:pos x="65" y="237"/>
                </a:cxn>
              </a:cxnLst>
              <a:rect l="0" t="0" r="r" b="b"/>
              <a:pathLst>
                <a:path w="564" h="355">
                  <a:moveTo>
                    <a:pt x="65" y="237"/>
                  </a:moveTo>
                  <a:cubicBezTo>
                    <a:pt x="77" y="236"/>
                    <a:pt x="77" y="236"/>
                    <a:pt x="77" y="236"/>
                  </a:cubicBezTo>
                  <a:cubicBezTo>
                    <a:pt x="79" y="247"/>
                    <a:pt x="79" y="247"/>
                    <a:pt x="79" y="247"/>
                  </a:cubicBezTo>
                  <a:cubicBezTo>
                    <a:pt x="101" y="257"/>
                    <a:pt x="101" y="257"/>
                    <a:pt x="101" y="257"/>
                  </a:cubicBezTo>
                  <a:cubicBezTo>
                    <a:pt x="109" y="275"/>
                    <a:pt x="109" y="275"/>
                    <a:pt x="109" y="275"/>
                  </a:cubicBezTo>
                  <a:cubicBezTo>
                    <a:pt x="117" y="279"/>
                    <a:pt x="117" y="279"/>
                    <a:pt x="117" y="279"/>
                  </a:cubicBezTo>
                  <a:cubicBezTo>
                    <a:pt x="143" y="265"/>
                    <a:pt x="143" y="265"/>
                    <a:pt x="143" y="265"/>
                  </a:cubicBezTo>
                  <a:cubicBezTo>
                    <a:pt x="159" y="269"/>
                    <a:pt x="159" y="269"/>
                    <a:pt x="159" y="269"/>
                  </a:cubicBezTo>
                  <a:cubicBezTo>
                    <a:pt x="180" y="263"/>
                    <a:pt x="180" y="263"/>
                    <a:pt x="180" y="263"/>
                  </a:cubicBezTo>
                  <a:cubicBezTo>
                    <a:pt x="187" y="273"/>
                    <a:pt x="187" y="273"/>
                    <a:pt x="187" y="273"/>
                  </a:cubicBezTo>
                  <a:cubicBezTo>
                    <a:pt x="187" y="273"/>
                    <a:pt x="163" y="293"/>
                    <a:pt x="163" y="304"/>
                  </a:cubicBezTo>
                  <a:cubicBezTo>
                    <a:pt x="163" y="315"/>
                    <a:pt x="173" y="309"/>
                    <a:pt x="173" y="309"/>
                  </a:cubicBezTo>
                  <a:cubicBezTo>
                    <a:pt x="173" y="309"/>
                    <a:pt x="193" y="289"/>
                    <a:pt x="193" y="300"/>
                  </a:cubicBezTo>
                  <a:cubicBezTo>
                    <a:pt x="193" y="300"/>
                    <a:pt x="208" y="297"/>
                    <a:pt x="208" y="304"/>
                  </a:cubicBezTo>
                  <a:cubicBezTo>
                    <a:pt x="208" y="311"/>
                    <a:pt x="227" y="313"/>
                    <a:pt x="227" y="313"/>
                  </a:cubicBezTo>
                  <a:cubicBezTo>
                    <a:pt x="232" y="300"/>
                    <a:pt x="232" y="300"/>
                    <a:pt x="232" y="300"/>
                  </a:cubicBezTo>
                  <a:cubicBezTo>
                    <a:pt x="248" y="303"/>
                    <a:pt x="248" y="303"/>
                    <a:pt x="248" y="303"/>
                  </a:cubicBezTo>
                  <a:cubicBezTo>
                    <a:pt x="244" y="323"/>
                    <a:pt x="244" y="323"/>
                    <a:pt x="244" y="323"/>
                  </a:cubicBezTo>
                  <a:cubicBezTo>
                    <a:pt x="263" y="313"/>
                    <a:pt x="263" y="313"/>
                    <a:pt x="263" y="313"/>
                  </a:cubicBezTo>
                  <a:cubicBezTo>
                    <a:pt x="272" y="324"/>
                    <a:pt x="272" y="324"/>
                    <a:pt x="272" y="324"/>
                  </a:cubicBezTo>
                  <a:cubicBezTo>
                    <a:pt x="265" y="332"/>
                    <a:pt x="265" y="332"/>
                    <a:pt x="265" y="332"/>
                  </a:cubicBezTo>
                  <a:cubicBezTo>
                    <a:pt x="279" y="321"/>
                    <a:pt x="279" y="321"/>
                    <a:pt x="279" y="321"/>
                  </a:cubicBezTo>
                  <a:cubicBezTo>
                    <a:pt x="313" y="321"/>
                    <a:pt x="313" y="321"/>
                    <a:pt x="313" y="321"/>
                  </a:cubicBezTo>
                  <a:cubicBezTo>
                    <a:pt x="313" y="321"/>
                    <a:pt x="320" y="341"/>
                    <a:pt x="343" y="329"/>
                  </a:cubicBezTo>
                  <a:cubicBezTo>
                    <a:pt x="348" y="331"/>
                    <a:pt x="348" y="335"/>
                    <a:pt x="348" y="335"/>
                  </a:cubicBezTo>
                  <a:cubicBezTo>
                    <a:pt x="348" y="335"/>
                    <a:pt x="359" y="339"/>
                    <a:pt x="364" y="327"/>
                  </a:cubicBezTo>
                  <a:cubicBezTo>
                    <a:pt x="364" y="327"/>
                    <a:pt x="400" y="337"/>
                    <a:pt x="404" y="319"/>
                  </a:cubicBezTo>
                  <a:cubicBezTo>
                    <a:pt x="403" y="323"/>
                    <a:pt x="413" y="339"/>
                    <a:pt x="440" y="317"/>
                  </a:cubicBezTo>
                  <a:cubicBezTo>
                    <a:pt x="473" y="327"/>
                    <a:pt x="473" y="327"/>
                    <a:pt x="473" y="327"/>
                  </a:cubicBezTo>
                  <a:cubicBezTo>
                    <a:pt x="473" y="333"/>
                    <a:pt x="473" y="333"/>
                    <a:pt x="473" y="333"/>
                  </a:cubicBezTo>
                  <a:cubicBezTo>
                    <a:pt x="492" y="321"/>
                    <a:pt x="492" y="321"/>
                    <a:pt x="492" y="321"/>
                  </a:cubicBezTo>
                  <a:cubicBezTo>
                    <a:pt x="492" y="335"/>
                    <a:pt x="492" y="335"/>
                    <a:pt x="492" y="335"/>
                  </a:cubicBezTo>
                  <a:cubicBezTo>
                    <a:pt x="492" y="335"/>
                    <a:pt x="522" y="355"/>
                    <a:pt x="554" y="333"/>
                  </a:cubicBezTo>
                  <a:cubicBezTo>
                    <a:pt x="551" y="330"/>
                    <a:pt x="549" y="325"/>
                    <a:pt x="548" y="320"/>
                  </a:cubicBezTo>
                  <a:cubicBezTo>
                    <a:pt x="547" y="313"/>
                    <a:pt x="558" y="305"/>
                    <a:pt x="561" y="303"/>
                  </a:cubicBezTo>
                  <a:cubicBezTo>
                    <a:pt x="564" y="301"/>
                    <a:pt x="556" y="283"/>
                    <a:pt x="556" y="283"/>
                  </a:cubicBezTo>
                  <a:cubicBezTo>
                    <a:pt x="556" y="283"/>
                    <a:pt x="553" y="283"/>
                    <a:pt x="547" y="283"/>
                  </a:cubicBezTo>
                  <a:cubicBezTo>
                    <a:pt x="541" y="283"/>
                    <a:pt x="545" y="269"/>
                    <a:pt x="545" y="269"/>
                  </a:cubicBezTo>
                  <a:cubicBezTo>
                    <a:pt x="547" y="260"/>
                    <a:pt x="547" y="260"/>
                    <a:pt x="547" y="260"/>
                  </a:cubicBezTo>
                  <a:cubicBezTo>
                    <a:pt x="547" y="260"/>
                    <a:pt x="558" y="246"/>
                    <a:pt x="559" y="243"/>
                  </a:cubicBezTo>
                  <a:cubicBezTo>
                    <a:pt x="560" y="240"/>
                    <a:pt x="554" y="236"/>
                    <a:pt x="554" y="236"/>
                  </a:cubicBezTo>
                  <a:cubicBezTo>
                    <a:pt x="543" y="243"/>
                    <a:pt x="543" y="243"/>
                    <a:pt x="543" y="243"/>
                  </a:cubicBezTo>
                  <a:cubicBezTo>
                    <a:pt x="542" y="233"/>
                    <a:pt x="542" y="233"/>
                    <a:pt x="542" y="233"/>
                  </a:cubicBezTo>
                  <a:cubicBezTo>
                    <a:pt x="517" y="215"/>
                    <a:pt x="517" y="215"/>
                    <a:pt x="517" y="215"/>
                  </a:cubicBezTo>
                  <a:cubicBezTo>
                    <a:pt x="514" y="219"/>
                    <a:pt x="514" y="219"/>
                    <a:pt x="514" y="219"/>
                  </a:cubicBezTo>
                  <a:cubicBezTo>
                    <a:pt x="500" y="219"/>
                    <a:pt x="500" y="219"/>
                    <a:pt x="500" y="219"/>
                  </a:cubicBezTo>
                  <a:cubicBezTo>
                    <a:pt x="493" y="225"/>
                    <a:pt x="493" y="225"/>
                    <a:pt x="493" y="225"/>
                  </a:cubicBezTo>
                  <a:cubicBezTo>
                    <a:pt x="486" y="217"/>
                    <a:pt x="486" y="217"/>
                    <a:pt x="486" y="217"/>
                  </a:cubicBezTo>
                  <a:cubicBezTo>
                    <a:pt x="460" y="216"/>
                    <a:pt x="460" y="216"/>
                    <a:pt x="460" y="216"/>
                  </a:cubicBezTo>
                  <a:cubicBezTo>
                    <a:pt x="452" y="228"/>
                    <a:pt x="452" y="228"/>
                    <a:pt x="452" y="228"/>
                  </a:cubicBezTo>
                  <a:cubicBezTo>
                    <a:pt x="443" y="216"/>
                    <a:pt x="443" y="216"/>
                    <a:pt x="443" y="216"/>
                  </a:cubicBezTo>
                  <a:cubicBezTo>
                    <a:pt x="442" y="201"/>
                    <a:pt x="442" y="201"/>
                    <a:pt x="442" y="201"/>
                  </a:cubicBezTo>
                  <a:cubicBezTo>
                    <a:pt x="449" y="195"/>
                    <a:pt x="449" y="195"/>
                    <a:pt x="449" y="195"/>
                  </a:cubicBezTo>
                  <a:cubicBezTo>
                    <a:pt x="436" y="174"/>
                    <a:pt x="436" y="174"/>
                    <a:pt x="436" y="174"/>
                  </a:cubicBezTo>
                  <a:cubicBezTo>
                    <a:pt x="410" y="172"/>
                    <a:pt x="410" y="172"/>
                    <a:pt x="410" y="172"/>
                  </a:cubicBezTo>
                  <a:cubicBezTo>
                    <a:pt x="409" y="165"/>
                    <a:pt x="409" y="165"/>
                    <a:pt x="409" y="165"/>
                  </a:cubicBezTo>
                  <a:cubicBezTo>
                    <a:pt x="409" y="165"/>
                    <a:pt x="390" y="174"/>
                    <a:pt x="383" y="174"/>
                  </a:cubicBezTo>
                  <a:cubicBezTo>
                    <a:pt x="376" y="174"/>
                    <a:pt x="362" y="157"/>
                    <a:pt x="362" y="157"/>
                  </a:cubicBezTo>
                  <a:cubicBezTo>
                    <a:pt x="362" y="141"/>
                    <a:pt x="362" y="141"/>
                    <a:pt x="362" y="141"/>
                  </a:cubicBezTo>
                  <a:cubicBezTo>
                    <a:pt x="353" y="124"/>
                    <a:pt x="353" y="124"/>
                    <a:pt x="353" y="124"/>
                  </a:cubicBezTo>
                  <a:cubicBezTo>
                    <a:pt x="353" y="124"/>
                    <a:pt x="360" y="119"/>
                    <a:pt x="359" y="116"/>
                  </a:cubicBezTo>
                  <a:cubicBezTo>
                    <a:pt x="358" y="113"/>
                    <a:pt x="350" y="110"/>
                    <a:pt x="350" y="110"/>
                  </a:cubicBezTo>
                  <a:cubicBezTo>
                    <a:pt x="335" y="85"/>
                    <a:pt x="335" y="85"/>
                    <a:pt x="335" y="85"/>
                  </a:cubicBezTo>
                  <a:cubicBezTo>
                    <a:pt x="325" y="90"/>
                    <a:pt x="325" y="90"/>
                    <a:pt x="325" y="90"/>
                  </a:cubicBezTo>
                  <a:cubicBezTo>
                    <a:pt x="325" y="90"/>
                    <a:pt x="291" y="99"/>
                    <a:pt x="291" y="106"/>
                  </a:cubicBezTo>
                  <a:cubicBezTo>
                    <a:pt x="291" y="113"/>
                    <a:pt x="283" y="114"/>
                    <a:pt x="283" y="114"/>
                  </a:cubicBezTo>
                  <a:cubicBezTo>
                    <a:pt x="273" y="106"/>
                    <a:pt x="273" y="106"/>
                    <a:pt x="273" y="106"/>
                  </a:cubicBezTo>
                  <a:cubicBezTo>
                    <a:pt x="262" y="106"/>
                    <a:pt x="262" y="106"/>
                    <a:pt x="262" y="106"/>
                  </a:cubicBezTo>
                  <a:cubicBezTo>
                    <a:pt x="262" y="106"/>
                    <a:pt x="253" y="99"/>
                    <a:pt x="253" y="95"/>
                  </a:cubicBezTo>
                  <a:cubicBezTo>
                    <a:pt x="253" y="91"/>
                    <a:pt x="245" y="76"/>
                    <a:pt x="245" y="76"/>
                  </a:cubicBezTo>
                  <a:cubicBezTo>
                    <a:pt x="231" y="77"/>
                    <a:pt x="231" y="77"/>
                    <a:pt x="231" y="77"/>
                  </a:cubicBezTo>
                  <a:cubicBezTo>
                    <a:pt x="221" y="67"/>
                    <a:pt x="221" y="67"/>
                    <a:pt x="221" y="67"/>
                  </a:cubicBezTo>
                  <a:cubicBezTo>
                    <a:pt x="223" y="56"/>
                    <a:pt x="223" y="56"/>
                    <a:pt x="223" y="56"/>
                  </a:cubicBezTo>
                  <a:cubicBezTo>
                    <a:pt x="223" y="56"/>
                    <a:pt x="221" y="42"/>
                    <a:pt x="224" y="42"/>
                  </a:cubicBezTo>
                  <a:cubicBezTo>
                    <a:pt x="227" y="42"/>
                    <a:pt x="221" y="27"/>
                    <a:pt x="221" y="27"/>
                  </a:cubicBezTo>
                  <a:cubicBezTo>
                    <a:pt x="221" y="27"/>
                    <a:pt x="212" y="15"/>
                    <a:pt x="212" y="9"/>
                  </a:cubicBezTo>
                  <a:cubicBezTo>
                    <a:pt x="212" y="3"/>
                    <a:pt x="207" y="0"/>
                    <a:pt x="207" y="0"/>
                  </a:cubicBezTo>
                  <a:cubicBezTo>
                    <a:pt x="207" y="0"/>
                    <a:pt x="174" y="6"/>
                    <a:pt x="157" y="7"/>
                  </a:cubicBezTo>
                  <a:cubicBezTo>
                    <a:pt x="140" y="8"/>
                    <a:pt x="143" y="8"/>
                    <a:pt x="115" y="17"/>
                  </a:cubicBezTo>
                  <a:cubicBezTo>
                    <a:pt x="87" y="26"/>
                    <a:pt x="75" y="27"/>
                    <a:pt x="54" y="31"/>
                  </a:cubicBezTo>
                  <a:cubicBezTo>
                    <a:pt x="33" y="35"/>
                    <a:pt x="26" y="54"/>
                    <a:pt x="26" y="54"/>
                  </a:cubicBezTo>
                  <a:cubicBezTo>
                    <a:pt x="7" y="57"/>
                    <a:pt x="7" y="57"/>
                    <a:pt x="7" y="57"/>
                  </a:cubicBezTo>
                  <a:cubicBezTo>
                    <a:pt x="7" y="57"/>
                    <a:pt x="16" y="74"/>
                    <a:pt x="15" y="87"/>
                  </a:cubicBezTo>
                  <a:cubicBezTo>
                    <a:pt x="14" y="100"/>
                    <a:pt x="5" y="100"/>
                    <a:pt x="5" y="106"/>
                  </a:cubicBezTo>
                  <a:cubicBezTo>
                    <a:pt x="5" y="112"/>
                    <a:pt x="14" y="157"/>
                    <a:pt x="14" y="157"/>
                  </a:cubicBezTo>
                  <a:cubicBezTo>
                    <a:pt x="4" y="192"/>
                    <a:pt x="4" y="192"/>
                    <a:pt x="4" y="192"/>
                  </a:cubicBezTo>
                  <a:cubicBezTo>
                    <a:pt x="4" y="192"/>
                    <a:pt x="7" y="201"/>
                    <a:pt x="12" y="203"/>
                  </a:cubicBezTo>
                  <a:cubicBezTo>
                    <a:pt x="4" y="203"/>
                    <a:pt x="0" y="217"/>
                    <a:pt x="1" y="228"/>
                  </a:cubicBezTo>
                  <a:cubicBezTo>
                    <a:pt x="2" y="239"/>
                    <a:pt x="9" y="232"/>
                    <a:pt x="9" y="232"/>
                  </a:cubicBezTo>
                  <a:cubicBezTo>
                    <a:pt x="9" y="232"/>
                    <a:pt x="10" y="233"/>
                    <a:pt x="12" y="235"/>
                  </a:cubicBezTo>
                  <a:cubicBezTo>
                    <a:pt x="21" y="231"/>
                    <a:pt x="35" y="224"/>
                    <a:pt x="39" y="224"/>
                  </a:cubicBezTo>
                  <a:cubicBezTo>
                    <a:pt x="44" y="224"/>
                    <a:pt x="65" y="237"/>
                    <a:pt x="65" y="23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1" name="Picardie" descr="© INSCALE GmbH, 05.05.2010&#10;http://www.presentationload.com/">
              <a:extLst>
                <a:ext uri="{FF2B5EF4-FFF2-40B4-BE49-F238E27FC236}">
                  <a16:creationId xmlns:a16="http://schemas.microsoft.com/office/drawing/2014/main" id="{2A78403A-7F28-4A1F-B641-DECB4BC24BE4}"/>
                </a:ext>
              </a:extLst>
            </p:cNvPr>
            <p:cNvSpPr>
              <a:spLocks/>
            </p:cNvSpPr>
            <p:nvPr/>
          </p:nvSpPr>
          <p:spPr bwMode="gray">
            <a:xfrm>
              <a:off x="1552" y="410"/>
              <a:ext cx="644" cy="519"/>
            </a:xfrm>
            <a:custGeom>
              <a:avLst/>
              <a:gdLst/>
              <a:ahLst/>
              <a:cxnLst>
                <a:cxn ang="0">
                  <a:pos x="17" y="99"/>
                </a:cxn>
                <a:cxn ang="0">
                  <a:pos x="85" y="189"/>
                </a:cxn>
                <a:cxn ang="0">
                  <a:pos x="79" y="213"/>
                </a:cxn>
                <a:cxn ang="0">
                  <a:pos x="79" y="264"/>
                </a:cxn>
                <a:cxn ang="0">
                  <a:pos x="83" y="275"/>
                </a:cxn>
                <a:cxn ang="0">
                  <a:pos x="84" y="355"/>
                </a:cxn>
                <a:cxn ang="0">
                  <a:pos x="76" y="379"/>
                </a:cxn>
                <a:cxn ang="0">
                  <a:pos x="144" y="371"/>
                </a:cxn>
                <a:cxn ang="0">
                  <a:pos x="160" y="373"/>
                </a:cxn>
                <a:cxn ang="0">
                  <a:pos x="173" y="376"/>
                </a:cxn>
                <a:cxn ang="0">
                  <a:pos x="196" y="375"/>
                </a:cxn>
                <a:cxn ang="0">
                  <a:pos x="196" y="375"/>
                </a:cxn>
                <a:cxn ang="0">
                  <a:pos x="232" y="403"/>
                </a:cxn>
                <a:cxn ang="0">
                  <a:pos x="251" y="409"/>
                </a:cxn>
                <a:cxn ang="0">
                  <a:pos x="280" y="412"/>
                </a:cxn>
                <a:cxn ang="0">
                  <a:pos x="311" y="413"/>
                </a:cxn>
                <a:cxn ang="0">
                  <a:pos x="356" y="397"/>
                </a:cxn>
                <a:cxn ang="0">
                  <a:pos x="392" y="451"/>
                </a:cxn>
                <a:cxn ang="0">
                  <a:pos x="407" y="457"/>
                </a:cxn>
                <a:cxn ang="0">
                  <a:pos x="421" y="476"/>
                </a:cxn>
                <a:cxn ang="0">
                  <a:pos x="451" y="461"/>
                </a:cxn>
                <a:cxn ang="0">
                  <a:pos x="480" y="424"/>
                </a:cxn>
                <a:cxn ang="0">
                  <a:pos x="463" y="415"/>
                </a:cxn>
                <a:cxn ang="0">
                  <a:pos x="465" y="391"/>
                </a:cxn>
                <a:cxn ang="0">
                  <a:pos x="473" y="364"/>
                </a:cxn>
                <a:cxn ang="0">
                  <a:pos x="473" y="333"/>
                </a:cxn>
                <a:cxn ang="0">
                  <a:pos x="517" y="309"/>
                </a:cxn>
                <a:cxn ang="0">
                  <a:pos x="552" y="316"/>
                </a:cxn>
                <a:cxn ang="0">
                  <a:pos x="560" y="260"/>
                </a:cxn>
                <a:cxn ang="0">
                  <a:pos x="564" y="229"/>
                </a:cxn>
                <a:cxn ang="0">
                  <a:pos x="593" y="187"/>
                </a:cxn>
                <a:cxn ang="0">
                  <a:pos x="592" y="143"/>
                </a:cxn>
                <a:cxn ang="0">
                  <a:pos x="536" y="111"/>
                </a:cxn>
                <a:cxn ang="0">
                  <a:pos x="517" y="109"/>
                </a:cxn>
                <a:cxn ang="0">
                  <a:pos x="484" y="93"/>
                </a:cxn>
                <a:cxn ang="0">
                  <a:pos x="408" y="103"/>
                </a:cxn>
                <a:cxn ang="0">
                  <a:pos x="387" y="105"/>
                </a:cxn>
                <a:cxn ang="0">
                  <a:pos x="323" y="97"/>
                </a:cxn>
                <a:cxn ang="0">
                  <a:pos x="316" y="100"/>
                </a:cxn>
                <a:cxn ang="0">
                  <a:pos x="288" y="99"/>
                </a:cxn>
                <a:cxn ang="0">
                  <a:pos x="276" y="76"/>
                </a:cxn>
                <a:cxn ang="0">
                  <a:pos x="252" y="80"/>
                </a:cxn>
                <a:cxn ang="0">
                  <a:pos x="217" y="85"/>
                </a:cxn>
                <a:cxn ang="0">
                  <a:pos x="231" y="49"/>
                </a:cxn>
                <a:cxn ang="0">
                  <a:pos x="203" y="45"/>
                </a:cxn>
                <a:cxn ang="0">
                  <a:pos x="161" y="55"/>
                </a:cxn>
                <a:cxn ang="0">
                  <a:pos x="145" y="33"/>
                </a:cxn>
                <a:cxn ang="0">
                  <a:pos x="121" y="12"/>
                </a:cxn>
                <a:cxn ang="0">
                  <a:pos x="83" y="0"/>
                </a:cxn>
                <a:cxn ang="0">
                  <a:pos x="63" y="30"/>
                </a:cxn>
                <a:cxn ang="0">
                  <a:pos x="25" y="60"/>
                </a:cxn>
                <a:cxn ang="0">
                  <a:pos x="5" y="92"/>
                </a:cxn>
              </a:cxnLst>
              <a:rect l="0" t="0" r="r" b="b"/>
              <a:pathLst>
                <a:path w="597" h="481">
                  <a:moveTo>
                    <a:pt x="17" y="95"/>
                  </a:moveTo>
                  <a:cubicBezTo>
                    <a:pt x="17" y="99"/>
                    <a:pt x="17" y="99"/>
                    <a:pt x="17" y="99"/>
                  </a:cubicBezTo>
                  <a:cubicBezTo>
                    <a:pt x="17" y="99"/>
                    <a:pt x="43" y="136"/>
                    <a:pt x="61" y="139"/>
                  </a:cubicBezTo>
                  <a:cubicBezTo>
                    <a:pt x="85" y="189"/>
                    <a:pt x="85" y="189"/>
                    <a:pt x="85" y="189"/>
                  </a:cubicBezTo>
                  <a:cubicBezTo>
                    <a:pt x="85" y="189"/>
                    <a:pt x="64" y="211"/>
                    <a:pt x="68" y="212"/>
                  </a:cubicBezTo>
                  <a:cubicBezTo>
                    <a:pt x="72" y="213"/>
                    <a:pt x="79" y="213"/>
                    <a:pt x="79" y="213"/>
                  </a:cubicBezTo>
                  <a:cubicBezTo>
                    <a:pt x="69" y="244"/>
                    <a:pt x="69" y="244"/>
                    <a:pt x="69" y="244"/>
                  </a:cubicBezTo>
                  <a:cubicBezTo>
                    <a:pt x="79" y="264"/>
                    <a:pt x="79" y="264"/>
                    <a:pt x="79" y="264"/>
                  </a:cubicBezTo>
                  <a:cubicBezTo>
                    <a:pt x="73" y="276"/>
                    <a:pt x="73" y="276"/>
                    <a:pt x="73" y="276"/>
                  </a:cubicBezTo>
                  <a:cubicBezTo>
                    <a:pt x="83" y="275"/>
                    <a:pt x="83" y="275"/>
                    <a:pt x="83" y="275"/>
                  </a:cubicBezTo>
                  <a:cubicBezTo>
                    <a:pt x="73" y="303"/>
                    <a:pt x="73" y="303"/>
                    <a:pt x="73" y="303"/>
                  </a:cubicBezTo>
                  <a:cubicBezTo>
                    <a:pt x="73" y="303"/>
                    <a:pt x="85" y="340"/>
                    <a:pt x="84" y="355"/>
                  </a:cubicBezTo>
                  <a:cubicBezTo>
                    <a:pt x="65" y="349"/>
                    <a:pt x="65" y="349"/>
                    <a:pt x="65" y="349"/>
                  </a:cubicBezTo>
                  <a:cubicBezTo>
                    <a:pt x="76" y="379"/>
                    <a:pt x="76" y="379"/>
                    <a:pt x="76" y="379"/>
                  </a:cubicBezTo>
                  <a:cubicBezTo>
                    <a:pt x="128" y="375"/>
                    <a:pt x="128" y="375"/>
                    <a:pt x="128" y="375"/>
                  </a:cubicBezTo>
                  <a:cubicBezTo>
                    <a:pt x="144" y="371"/>
                    <a:pt x="144" y="371"/>
                    <a:pt x="144" y="371"/>
                  </a:cubicBezTo>
                  <a:cubicBezTo>
                    <a:pt x="151" y="376"/>
                    <a:pt x="151" y="376"/>
                    <a:pt x="151" y="376"/>
                  </a:cubicBezTo>
                  <a:cubicBezTo>
                    <a:pt x="160" y="373"/>
                    <a:pt x="160" y="373"/>
                    <a:pt x="160" y="373"/>
                  </a:cubicBezTo>
                  <a:cubicBezTo>
                    <a:pt x="169" y="383"/>
                    <a:pt x="169" y="383"/>
                    <a:pt x="169" y="383"/>
                  </a:cubicBezTo>
                  <a:cubicBezTo>
                    <a:pt x="173" y="376"/>
                    <a:pt x="173" y="376"/>
                    <a:pt x="173" y="376"/>
                  </a:cubicBezTo>
                  <a:cubicBezTo>
                    <a:pt x="177" y="384"/>
                    <a:pt x="177" y="384"/>
                    <a:pt x="177" y="384"/>
                  </a:cubicBezTo>
                  <a:cubicBezTo>
                    <a:pt x="196" y="375"/>
                    <a:pt x="196" y="375"/>
                    <a:pt x="196" y="375"/>
                  </a:cubicBezTo>
                  <a:cubicBezTo>
                    <a:pt x="197" y="375"/>
                    <a:pt x="197" y="375"/>
                    <a:pt x="197" y="375"/>
                  </a:cubicBezTo>
                  <a:cubicBezTo>
                    <a:pt x="196" y="375"/>
                    <a:pt x="196" y="375"/>
                    <a:pt x="196" y="375"/>
                  </a:cubicBezTo>
                  <a:cubicBezTo>
                    <a:pt x="194" y="376"/>
                    <a:pt x="190" y="380"/>
                    <a:pt x="203" y="383"/>
                  </a:cubicBezTo>
                  <a:cubicBezTo>
                    <a:pt x="219" y="387"/>
                    <a:pt x="237" y="399"/>
                    <a:pt x="232" y="403"/>
                  </a:cubicBezTo>
                  <a:cubicBezTo>
                    <a:pt x="227" y="407"/>
                    <a:pt x="245" y="399"/>
                    <a:pt x="245" y="399"/>
                  </a:cubicBezTo>
                  <a:cubicBezTo>
                    <a:pt x="251" y="409"/>
                    <a:pt x="251" y="409"/>
                    <a:pt x="251" y="409"/>
                  </a:cubicBezTo>
                  <a:cubicBezTo>
                    <a:pt x="251" y="409"/>
                    <a:pt x="253" y="397"/>
                    <a:pt x="260" y="401"/>
                  </a:cubicBezTo>
                  <a:cubicBezTo>
                    <a:pt x="267" y="405"/>
                    <a:pt x="272" y="409"/>
                    <a:pt x="280" y="412"/>
                  </a:cubicBezTo>
                  <a:cubicBezTo>
                    <a:pt x="288" y="415"/>
                    <a:pt x="297" y="405"/>
                    <a:pt x="297" y="405"/>
                  </a:cubicBezTo>
                  <a:cubicBezTo>
                    <a:pt x="311" y="413"/>
                    <a:pt x="311" y="413"/>
                    <a:pt x="311" y="413"/>
                  </a:cubicBezTo>
                  <a:cubicBezTo>
                    <a:pt x="349" y="403"/>
                    <a:pt x="349" y="403"/>
                    <a:pt x="349" y="403"/>
                  </a:cubicBezTo>
                  <a:cubicBezTo>
                    <a:pt x="356" y="397"/>
                    <a:pt x="356" y="397"/>
                    <a:pt x="356" y="397"/>
                  </a:cubicBezTo>
                  <a:cubicBezTo>
                    <a:pt x="356" y="397"/>
                    <a:pt x="380" y="399"/>
                    <a:pt x="376" y="431"/>
                  </a:cubicBezTo>
                  <a:cubicBezTo>
                    <a:pt x="377" y="436"/>
                    <a:pt x="393" y="443"/>
                    <a:pt x="392" y="451"/>
                  </a:cubicBezTo>
                  <a:cubicBezTo>
                    <a:pt x="391" y="459"/>
                    <a:pt x="404" y="449"/>
                    <a:pt x="404" y="449"/>
                  </a:cubicBezTo>
                  <a:cubicBezTo>
                    <a:pt x="407" y="457"/>
                    <a:pt x="407" y="457"/>
                    <a:pt x="407" y="457"/>
                  </a:cubicBezTo>
                  <a:cubicBezTo>
                    <a:pt x="417" y="457"/>
                    <a:pt x="417" y="457"/>
                    <a:pt x="417" y="457"/>
                  </a:cubicBezTo>
                  <a:cubicBezTo>
                    <a:pt x="417" y="457"/>
                    <a:pt x="417" y="476"/>
                    <a:pt x="421" y="476"/>
                  </a:cubicBezTo>
                  <a:cubicBezTo>
                    <a:pt x="425" y="476"/>
                    <a:pt x="441" y="481"/>
                    <a:pt x="441" y="481"/>
                  </a:cubicBezTo>
                  <a:cubicBezTo>
                    <a:pt x="451" y="461"/>
                    <a:pt x="451" y="461"/>
                    <a:pt x="451" y="461"/>
                  </a:cubicBezTo>
                  <a:cubicBezTo>
                    <a:pt x="457" y="459"/>
                    <a:pt x="457" y="459"/>
                    <a:pt x="457" y="459"/>
                  </a:cubicBezTo>
                  <a:cubicBezTo>
                    <a:pt x="457" y="459"/>
                    <a:pt x="487" y="429"/>
                    <a:pt x="480" y="424"/>
                  </a:cubicBezTo>
                  <a:cubicBezTo>
                    <a:pt x="473" y="419"/>
                    <a:pt x="461" y="420"/>
                    <a:pt x="461" y="420"/>
                  </a:cubicBezTo>
                  <a:cubicBezTo>
                    <a:pt x="463" y="415"/>
                    <a:pt x="463" y="415"/>
                    <a:pt x="463" y="415"/>
                  </a:cubicBezTo>
                  <a:cubicBezTo>
                    <a:pt x="471" y="408"/>
                    <a:pt x="471" y="408"/>
                    <a:pt x="471" y="408"/>
                  </a:cubicBezTo>
                  <a:cubicBezTo>
                    <a:pt x="471" y="408"/>
                    <a:pt x="463" y="396"/>
                    <a:pt x="465" y="391"/>
                  </a:cubicBezTo>
                  <a:cubicBezTo>
                    <a:pt x="468" y="385"/>
                    <a:pt x="492" y="380"/>
                    <a:pt x="492" y="380"/>
                  </a:cubicBezTo>
                  <a:cubicBezTo>
                    <a:pt x="473" y="364"/>
                    <a:pt x="473" y="364"/>
                    <a:pt x="473" y="364"/>
                  </a:cubicBezTo>
                  <a:cubicBezTo>
                    <a:pt x="479" y="353"/>
                    <a:pt x="479" y="353"/>
                    <a:pt x="479" y="353"/>
                  </a:cubicBezTo>
                  <a:cubicBezTo>
                    <a:pt x="473" y="333"/>
                    <a:pt x="473" y="333"/>
                    <a:pt x="473" y="333"/>
                  </a:cubicBezTo>
                  <a:cubicBezTo>
                    <a:pt x="473" y="333"/>
                    <a:pt x="495" y="315"/>
                    <a:pt x="512" y="320"/>
                  </a:cubicBezTo>
                  <a:cubicBezTo>
                    <a:pt x="516" y="319"/>
                    <a:pt x="517" y="309"/>
                    <a:pt x="517" y="309"/>
                  </a:cubicBezTo>
                  <a:cubicBezTo>
                    <a:pt x="528" y="303"/>
                    <a:pt x="528" y="303"/>
                    <a:pt x="528" y="303"/>
                  </a:cubicBezTo>
                  <a:cubicBezTo>
                    <a:pt x="528" y="303"/>
                    <a:pt x="547" y="316"/>
                    <a:pt x="552" y="316"/>
                  </a:cubicBezTo>
                  <a:cubicBezTo>
                    <a:pt x="557" y="316"/>
                    <a:pt x="552" y="267"/>
                    <a:pt x="552" y="267"/>
                  </a:cubicBezTo>
                  <a:cubicBezTo>
                    <a:pt x="560" y="260"/>
                    <a:pt x="560" y="260"/>
                    <a:pt x="560" y="260"/>
                  </a:cubicBezTo>
                  <a:cubicBezTo>
                    <a:pt x="548" y="231"/>
                    <a:pt x="548" y="231"/>
                    <a:pt x="548" y="231"/>
                  </a:cubicBezTo>
                  <a:cubicBezTo>
                    <a:pt x="564" y="229"/>
                    <a:pt x="564" y="229"/>
                    <a:pt x="564" y="229"/>
                  </a:cubicBezTo>
                  <a:cubicBezTo>
                    <a:pt x="571" y="215"/>
                    <a:pt x="571" y="215"/>
                    <a:pt x="571" y="215"/>
                  </a:cubicBezTo>
                  <a:cubicBezTo>
                    <a:pt x="593" y="187"/>
                    <a:pt x="593" y="187"/>
                    <a:pt x="593" y="187"/>
                  </a:cubicBezTo>
                  <a:cubicBezTo>
                    <a:pt x="587" y="180"/>
                    <a:pt x="587" y="180"/>
                    <a:pt x="587" y="180"/>
                  </a:cubicBezTo>
                  <a:cubicBezTo>
                    <a:pt x="592" y="143"/>
                    <a:pt x="592" y="143"/>
                    <a:pt x="592" y="143"/>
                  </a:cubicBezTo>
                  <a:cubicBezTo>
                    <a:pt x="592" y="143"/>
                    <a:pt x="583" y="130"/>
                    <a:pt x="597" y="110"/>
                  </a:cubicBezTo>
                  <a:cubicBezTo>
                    <a:pt x="566" y="131"/>
                    <a:pt x="536" y="111"/>
                    <a:pt x="536" y="111"/>
                  </a:cubicBezTo>
                  <a:cubicBezTo>
                    <a:pt x="536" y="97"/>
                    <a:pt x="536" y="97"/>
                    <a:pt x="536" y="97"/>
                  </a:cubicBezTo>
                  <a:cubicBezTo>
                    <a:pt x="517" y="109"/>
                    <a:pt x="517" y="109"/>
                    <a:pt x="517" y="109"/>
                  </a:cubicBezTo>
                  <a:cubicBezTo>
                    <a:pt x="517" y="103"/>
                    <a:pt x="517" y="103"/>
                    <a:pt x="517" y="103"/>
                  </a:cubicBezTo>
                  <a:cubicBezTo>
                    <a:pt x="484" y="93"/>
                    <a:pt x="484" y="93"/>
                    <a:pt x="484" y="93"/>
                  </a:cubicBezTo>
                  <a:cubicBezTo>
                    <a:pt x="457" y="115"/>
                    <a:pt x="447" y="99"/>
                    <a:pt x="448" y="95"/>
                  </a:cubicBezTo>
                  <a:cubicBezTo>
                    <a:pt x="444" y="113"/>
                    <a:pt x="408" y="103"/>
                    <a:pt x="408" y="103"/>
                  </a:cubicBezTo>
                  <a:cubicBezTo>
                    <a:pt x="403" y="115"/>
                    <a:pt x="392" y="111"/>
                    <a:pt x="392" y="111"/>
                  </a:cubicBezTo>
                  <a:cubicBezTo>
                    <a:pt x="392" y="111"/>
                    <a:pt x="392" y="107"/>
                    <a:pt x="387" y="105"/>
                  </a:cubicBezTo>
                  <a:cubicBezTo>
                    <a:pt x="364" y="117"/>
                    <a:pt x="357" y="97"/>
                    <a:pt x="357" y="97"/>
                  </a:cubicBezTo>
                  <a:cubicBezTo>
                    <a:pt x="323" y="97"/>
                    <a:pt x="323" y="97"/>
                    <a:pt x="323" y="97"/>
                  </a:cubicBezTo>
                  <a:cubicBezTo>
                    <a:pt x="309" y="108"/>
                    <a:pt x="309" y="108"/>
                    <a:pt x="309" y="108"/>
                  </a:cubicBezTo>
                  <a:cubicBezTo>
                    <a:pt x="316" y="100"/>
                    <a:pt x="316" y="100"/>
                    <a:pt x="316" y="100"/>
                  </a:cubicBezTo>
                  <a:cubicBezTo>
                    <a:pt x="307" y="89"/>
                    <a:pt x="307" y="89"/>
                    <a:pt x="307" y="89"/>
                  </a:cubicBezTo>
                  <a:cubicBezTo>
                    <a:pt x="288" y="99"/>
                    <a:pt x="288" y="99"/>
                    <a:pt x="288" y="99"/>
                  </a:cubicBezTo>
                  <a:cubicBezTo>
                    <a:pt x="292" y="79"/>
                    <a:pt x="292" y="79"/>
                    <a:pt x="292" y="79"/>
                  </a:cubicBezTo>
                  <a:cubicBezTo>
                    <a:pt x="276" y="76"/>
                    <a:pt x="276" y="76"/>
                    <a:pt x="276" y="76"/>
                  </a:cubicBezTo>
                  <a:cubicBezTo>
                    <a:pt x="271" y="89"/>
                    <a:pt x="271" y="89"/>
                    <a:pt x="271" y="89"/>
                  </a:cubicBezTo>
                  <a:cubicBezTo>
                    <a:pt x="271" y="89"/>
                    <a:pt x="252" y="87"/>
                    <a:pt x="252" y="80"/>
                  </a:cubicBezTo>
                  <a:cubicBezTo>
                    <a:pt x="252" y="73"/>
                    <a:pt x="237" y="76"/>
                    <a:pt x="237" y="76"/>
                  </a:cubicBezTo>
                  <a:cubicBezTo>
                    <a:pt x="237" y="65"/>
                    <a:pt x="217" y="85"/>
                    <a:pt x="217" y="85"/>
                  </a:cubicBezTo>
                  <a:cubicBezTo>
                    <a:pt x="217" y="85"/>
                    <a:pt x="207" y="91"/>
                    <a:pt x="207" y="80"/>
                  </a:cubicBezTo>
                  <a:cubicBezTo>
                    <a:pt x="207" y="69"/>
                    <a:pt x="231" y="49"/>
                    <a:pt x="231" y="49"/>
                  </a:cubicBezTo>
                  <a:cubicBezTo>
                    <a:pt x="224" y="39"/>
                    <a:pt x="224" y="39"/>
                    <a:pt x="224" y="39"/>
                  </a:cubicBezTo>
                  <a:cubicBezTo>
                    <a:pt x="203" y="45"/>
                    <a:pt x="203" y="45"/>
                    <a:pt x="203" y="45"/>
                  </a:cubicBezTo>
                  <a:cubicBezTo>
                    <a:pt x="187" y="41"/>
                    <a:pt x="187" y="41"/>
                    <a:pt x="187" y="41"/>
                  </a:cubicBezTo>
                  <a:cubicBezTo>
                    <a:pt x="161" y="55"/>
                    <a:pt x="161" y="55"/>
                    <a:pt x="161" y="55"/>
                  </a:cubicBezTo>
                  <a:cubicBezTo>
                    <a:pt x="153" y="51"/>
                    <a:pt x="153" y="51"/>
                    <a:pt x="153" y="51"/>
                  </a:cubicBezTo>
                  <a:cubicBezTo>
                    <a:pt x="145" y="33"/>
                    <a:pt x="145" y="33"/>
                    <a:pt x="145" y="33"/>
                  </a:cubicBezTo>
                  <a:cubicBezTo>
                    <a:pt x="123" y="23"/>
                    <a:pt x="123" y="23"/>
                    <a:pt x="123" y="23"/>
                  </a:cubicBezTo>
                  <a:cubicBezTo>
                    <a:pt x="121" y="12"/>
                    <a:pt x="121" y="12"/>
                    <a:pt x="121" y="12"/>
                  </a:cubicBezTo>
                  <a:cubicBezTo>
                    <a:pt x="109" y="13"/>
                    <a:pt x="109" y="13"/>
                    <a:pt x="109" y="13"/>
                  </a:cubicBezTo>
                  <a:cubicBezTo>
                    <a:pt x="109" y="13"/>
                    <a:pt x="88" y="0"/>
                    <a:pt x="83" y="0"/>
                  </a:cubicBezTo>
                  <a:cubicBezTo>
                    <a:pt x="79" y="0"/>
                    <a:pt x="65" y="7"/>
                    <a:pt x="56" y="11"/>
                  </a:cubicBezTo>
                  <a:cubicBezTo>
                    <a:pt x="60" y="16"/>
                    <a:pt x="69" y="27"/>
                    <a:pt x="63" y="30"/>
                  </a:cubicBezTo>
                  <a:cubicBezTo>
                    <a:pt x="55" y="34"/>
                    <a:pt x="45" y="21"/>
                    <a:pt x="45" y="21"/>
                  </a:cubicBezTo>
                  <a:cubicBezTo>
                    <a:pt x="35" y="27"/>
                    <a:pt x="25" y="60"/>
                    <a:pt x="25" y="60"/>
                  </a:cubicBezTo>
                  <a:cubicBezTo>
                    <a:pt x="25" y="60"/>
                    <a:pt x="14" y="68"/>
                    <a:pt x="0" y="77"/>
                  </a:cubicBezTo>
                  <a:cubicBezTo>
                    <a:pt x="5" y="92"/>
                    <a:pt x="5" y="92"/>
                    <a:pt x="5" y="92"/>
                  </a:cubicBezTo>
                  <a:lnTo>
                    <a:pt x="17" y="9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2" name="Haute Normandie" descr="© INSCALE GmbH, 05.05.2010&#10;http://www.presentationload.com/">
              <a:extLst>
                <a:ext uri="{FF2B5EF4-FFF2-40B4-BE49-F238E27FC236}">
                  <a16:creationId xmlns:a16="http://schemas.microsoft.com/office/drawing/2014/main" id="{67DE9D41-AD0D-42D6-AE91-CBB98FF22C82}"/>
                </a:ext>
              </a:extLst>
            </p:cNvPr>
            <p:cNvSpPr>
              <a:spLocks/>
            </p:cNvSpPr>
            <p:nvPr/>
          </p:nvSpPr>
          <p:spPr bwMode="gray">
            <a:xfrm>
              <a:off x="1259" y="493"/>
              <a:ext cx="385" cy="503"/>
            </a:xfrm>
            <a:custGeom>
              <a:avLst/>
              <a:gdLst/>
              <a:ahLst/>
              <a:cxnLst>
                <a:cxn ang="0">
                  <a:pos x="355" y="198"/>
                </a:cxn>
                <a:cxn ang="0">
                  <a:pos x="345" y="199"/>
                </a:cxn>
                <a:cxn ang="0">
                  <a:pos x="351" y="187"/>
                </a:cxn>
                <a:cxn ang="0">
                  <a:pos x="341" y="167"/>
                </a:cxn>
                <a:cxn ang="0">
                  <a:pos x="351" y="136"/>
                </a:cxn>
                <a:cxn ang="0">
                  <a:pos x="340" y="135"/>
                </a:cxn>
                <a:cxn ang="0">
                  <a:pos x="357" y="112"/>
                </a:cxn>
                <a:cxn ang="0">
                  <a:pos x="333" y="62"/>
                </a:cxn>
                <a:cxn ang="0">
                  <a:pos x="289" y="22"/>
                </a:cxn>
                <a:cxn ang="0">
                  <a:pos x="289" y="18"/>
                </a:cxn>
                <a:cxn ang="0">
                  <a:pos x="277" y="15"/>
                </a:cxn>
                <a:cxn ang="0">
                  <a:pos x="272" y="0"/>
                </a:cxn>
                <a:cxn ang="0">
                  <a:pos x="220" y="29"/>
                </a:cxn>
                <a:cxn ang="0">
                  <a:pos x="155" y="47"/>
                </a:cxn>
                <a:cxn ang="0">
                  <a:pos x="108" y="50"/>
                </a:cxn>
                <a:cxn ang="0">
                  <a:pos x="30" y="93"/>
                </a:cxn>
                <a:cxn ang="0">
                  <a:pos x="0" y="150"/>
                </a:cxn>
                <a:cxn ang="0">
                  <a:pos x="10" y="167"/>
                </a:cxn>
                <a:cxn ang="0">
                  <a:pos x="39" y="178"/>
                </a:cxn>
                <a:cxn ang="0">
                  <a:pos x="52" y="263"/>
                </a:cxn>
                <a:cxn ang="0">
                  <a:pos x="53" y="271"/>
                </a:cxn>
                <a:cxn ang="0">
                  <a:pos x="67" y="288"/>
                </a:cxn>
                <a:cxn ang="0">
                  <a:pos x="67" y="303"/>
                </a:cxn>
                <a:cxn ang="0">
                  <a:pos x="72" y="311"/>
                </a:cxn>
                <a:cxn ang="0">
                  <a:pos x="71" y="331"/>
                </a:cxn>
                <a:cxn ang="0">
                  <a:pos x="63" y="332"/>
                </a:cxn>
                <a:cxn ang="0">
                  <a:pos x="72" y="344"/>
                </a:cxn>
                <a:cxn ang="0">
                  <a:pos x="65" y="379"/>
                </a:cxn>
                <a:cxn ang="0">
                  <a:pos x="72" y="388"/>
                </a:cxn>
                <a:cxn ang="0">
                  <a:pos x="105" y="390"/>
                </a:cxn>
                <a:cxn ang="0">
                  <a:pos x="112" y="410"/>
                </a:cxn>
                <a:cxn ang="0">
                  <a:pos x="136" y="448"/>
                </a:cxn>
                <a:cxn ang="0">
                  <a:pos x="139" y="459"/>
                </a:cxn>
                <a:cxn ang="0">
                  <a:pos x="167" y="444"/>
                </a:cxn>
                <a:cxn ang="0">
                  <a:pos x="201" y="434"/>
                </a:cxn>
                <a:cxn ang="0">
                  <a:pos x="211" y="438"/>
                </a:cxn>
                <a:cxn ang="0">
                  <a:pos x="212" y="427"/>
                </a:cxn>
                <a:cxn ang="0">
                  <a:pos x="263" y="431"/>
                </a:cxn>
                <a:cxn ang="0">
                  <a:pos x="268" y="408"/>
                </a:cxn>
                <a:cxn ang="0">
                  <a:pos x="288" y="395"/>
                </a:cxn>
                <a:cxn ang="0">
                  <a:pos x="288" y="383"/>
                </a:cxn>
                <a:cxn ang="0">
                  <a:pos x="297" y="379"/>
                </a:cxn>
                <a:cxn ang="0">
                  <a:pos x="284" y="343"/>
                </a:cxn>
                <a:cxn ang="0">
                  <a:pos x="297" y="338"/>
                </a:cxn>
                <a:cxn ang="0">
                  <a:pos x="295" y="331"/>
                </a:cxn>
                <a:cxn ang="0">
                  <a:pos x="323" y="328"/>
                </a:cxn>
                <a:cxn ang="0">
                  <a:pos x="340" y="281"/>
                </a:cxn>
                <a:cxn ang="0">
                  <a:pos x="337" y="272"/>
                </a:cxn>
                <a:cxn ang="0">
                  <a:pos x="354" y="277"/>
                </a:cxn>
                <a:cxn ang="0">
                  <a:pos x="356" y="278"/>
                </a:cxn>
                <a:cxn ang="0">
                  <a:pos x="356" y="277"/>
                </a:cxn>
                <a:cxn ang="0">
                  <a:pos x="345" y="226"/>
                </a:cxn>
                <a:cxn ang="0">
                  <a:pos x="355" y="198"/>
                </a:cxn>
              </a:cxnLst>
              <a:rect l="0" t="0" r="r" b="b"/>
              <a:pathLst>
                <a:path w="357" h="466">
                  <a:moveTo>
                    <a:pt x="355" y="198"/>
                  </a:moveTo>
                  <a:cubicBezTo>
                    <a:pt x="345" y="199"/>
                    <a:pt x="345" y="199"/>
                    <a:pt x="345" y="199"/>
                  </a:cubicBezTo>
                  <a:cubicBezTo>
                    <a:pt x="351" y="187"/>
                    <a:pt x="351" y="187"/>
                    <a:pt x="351" y="187"/>
                  </a:cubicBezTo>
                  <a:cubicBezTo>
                    <a:pt x="341" y="167"/>
                    <a:pt x="341" y="167"/>
                    <a:pt x="341" y="167"/>
                  </a:cubicBezTo>
                  <a:cubicBezTo>
                    <a:pt x="351" y="136"/>
                    <a:pt x="351" y="136"/>
                    <a:pt x="351" y="136"/>
                  </a:cubicBezTo>
                  <a:cubicBezTo>
                    <a:pt x="351" y="136"/>
                    <a:pt x="344" y="136"/>
                    <a:pt x="340" y="135"/>
                  </a:cubicBezTo>
                  <a:cubicBezTo>
                    <a:pt x="336" y="134"/>
                    <a:pt x="357" y="112"/>
                    <a:pt x="357" y="112"/>
                  </a:cubicBezTo>
                  <a:cubicBezTo>
                    <a:pt x="333" y="62"/>
                    <a:pt x="333" y="62"/>
                    <a:pt x="333" y="62"/>
                  </a:cubicBezTo>
                  <a:cubicBezTo>
                    <a:pt x="315" y="59"/>
                    <a:pt x="289" y="22"/>
                    <a:pt x="289" y="22"/>
                  </a:cubicBezTo>
                  <a:cubicBezTo>
                    <a:pt x="289" y="18"/>
                    <a:pt x="289" y="18"/>
                    <a:pt x="289" y="18"/>
                  </a:cubicBezTo>
                  <a:cubicBezTo>
                    <a:pt x="277" y="15"/>
                    <a:pt x="277" y="15"/>
                    <a:pt x="277" y="15"/>
                  </a:cubicBezTo>
                  <a:cubicBezTo>
                    <a:pt x="272" y="0"/>
                    <a:pt x="272" y="0"/>
                    <a:pt x="272" y="0"/>
                  </a:cubicBezTo>
                  <a:cubicBezTo>
                    <a:pt x="255" y="11"/>
                    <a:pt x="233" y="25"/>
                    <a:pt x="220" y="29"/>
                  </a:cubicBezTo>
                  <a:cubicBezTo>
                    <a:pt x="196" y="38"/>
                    <a:pt x="155" y="47"/>
                    <a:pt x="155" y="47"/>
                  </a:cubicBezTo>
                  <a:cubicBezTo>
                    <a:pt x="155" y="47"/>
                    <a:pt x="110" y="54"/>
                    <a:pt x="108" y="50"/>
                  </a:cubicBezTo>
                  <a:cubicBezTo>
                    <a:pt x="81" y="78"/>
                    <a:pt x="30" y="93"/>
                    <a:pt x="30" y="93"/>
                  </a:cubicBezTo>
                  <a:cubicBezTo>
                    <a:pt x="0" y="150"/>
                    <a:pt x="0" y="150"/>
                    <a:pt x="0" y="150"/>
                  </a:cubicBezTo>
                  <a:cubicBezTo>
                    <a:pt x="10" y="167"/>
                    <a:pt x="10" y="167"/>
                    <a:pt x="10" y="167"/>
                  </a:cubicBezTo>
                  <a:cubicBezTo>
                    <a:pt x="10" y="167"/>
                    <a:pt x="44" y="176"/>
                    <a:pt x="39" y="178"/>
                  </a:cubicBezTo>
                  <a:cubicBezTo>
                    <a:pt x="52" y="263"/>
                    <a:pt x="52" y="263"/>
                    <a:pt x="52" y="263"/>
                  </a:cubicBezTo>
                  <a:cubicBezTo>
                    <a:pt x="52" y="263"/>
                    <a:pt x="84" y="260"/>
                    <a:pt x="53" y="271"/>
                  </a:cubicBezTo>
                  <a:cubicBezTo>
                    <a:pt x="51" y="278"/>
                    <a:pt x="67" y="288"/>
                    <a:pt x="67" y="288"/>
                  </a:cubicBezTo>
                  <a:cubicBezTo>
                    <a:pt x="67" y="303"/>
                    <a:pt x="67" y="303"/>
                    <a:pt x="67" y="303"/>
                  </a:cubicBezTo>
                  <a:cubicBezTo>
                    <a:pt x="72" y="311"/>
                    <a:pt x="72" y="311"/>
                    <a:pt x="72" y="311"/>
                  </a:cubicBezTo>
                  <a:cubicBezTo>
                    <a:pt x="71" y="331"/>
                    <a:pt x="71" y="331"/>
                    <a:pt x="71" y="331"/>
                  </a:cubicBezTo>
                  <a:cubicBezTo>
                    <a:pt x="63" y="332"/>
                    <a:pt x="63" y="332"/>
                    <a:pt x="63" y="332"/>
                  </a:cubicBezTo>
                  <a:cubicBezTo>
                    <a:pt x="72" y="344"/>
                    <a:pt x="72" y="344"/>
                    <a:pt x="72" y="344"/>
                  </a:cubicBezTo>
                  <a:cubicBezTo>
                    <a:pt x="72" y="344"/>
                    <a:pt x="72" y="374"/>
                    <a:pt x="65" y="379"/>
                  </a:cubicBezTo>
                  <a:cubicBezTo>
                    <a:pt x="59" y="384"/>
                    <a:pt x="72" y="388"/>
                    <a:pt x="72" y="388"/>
                  </a:cubicBezTo>
                  <a:cubicBezTo>
                    <a:pt x="105" y="390"/>
                    <a:pt x="105" y="390"/>
                    <a:pt x="105" y="390"/>
                  </a:cubicBezTo>
                  <a:cubicBezTo>
                    <a:pt x="112" y="410"/>
                    <a:pt x="112" y="410"/>
                    <a:pt x="112" y="410"/>
                  </a:cubicBezTo>
                  <a:cubicBezTo>
                    <a:pt x="112" y="410"/>
                    <a:pt x="157" y="434"/>
                    <a:pt x="136" y="448"/>
                  </a:cubicBezTo>
                  <a:cubicBezTo>
                    <a:pt x="132" y="448"/>
                    <a:pt x="139" y="459"/>
                    <a:pt x="139" y="459"/>
                  </a:cubicBezTo>
                  <a:cubicBezTo>
                    <a:pt x="139" y="459"/>
                    <a:pt x="159" y="466"/>
                    <a:pt x="167" y="444"/>
                  </a:cubicBezTo>
                  <a:cubicBezTo>
                    <a:pt x="171" y="444"/>
                    <a:pt x="179" y="456"/>
                    <a:pt x="201" y="434"/>
                  </a:cubicBezTo>
                  <a:cubicBezTo>
                    <a:pt x="203" y="438"/>
                    <a:pt x="211" y="438"/>
                    <a:pt x="211" y="438"/>
                  </a:cubicBezTo>
                  <a:cubicBezTo>
                    <a:pt x="212" y="427"/>
                    <a:pt x="212" y="427"/>
                    <a:pt x="212" y="427"/>
                  </a:cubicBezTo>
                  <a:cubicBezTo>
                    <a:pt x="212" y="427"/>
                    <a:pt x="256" y="442"/>
                    <a:pt x="263" y="431"/>
                  </a:cubicBezTo>
                  <a:cubicBezTo>
                    <a:pt x="269" y="420"/>
                    <a:pt x="268" y="408"/>
                    <a:pt x="268" y="408"/>
                  </a:cubicBezTo>
                  <a:cubicBezTo>
                    <a:pt x="268" y="408"/>
                    <a:pt x="287" y="400"/>
                    <a:pt x="288" y="395"/>
                  </a:cubicBezTo>
                  <a:cubicBezTo>
                    <a:pt x="289" y="390"/>
                    <a:pt x="288" y="383"/>
                    <a:pt x="288" y="383"/>
                  </a:cubicBezTo>
                  <a:cubicBezTo>
                    <a:pt x="297" y="379"/>
                    <a:pt x="297" y="379"/>
                    <a:pt x="297" y="379"/>
                  </a:cubicBezTo>
                  <a:cubicBezTo>
                    <a:pt x="284" y="343"/>
                    <a:pt x="284" y="343"/>
                    <a:pt x="284" y="343"/>
                  </a:cubicBezTo>
                  <a:cubicBezTo>
                    <a:pt x="284" y="343"/>
                    <a:pt x="301" y="338"/>
                    <a:pt x="297" y="338"/>
                  </a:cubicBezTo>
                  <a:cubicBezTo>
                    <a:pt x="293" y="338"/>
                    <a:pt x="295" y="331"/>
                    <a:pt x="295" y="331"/>
                  </a:cubicBezTo>
                  <a:cubicBezTo>
                    <a:pt x="323" y="328"/>
                    <a:pt x="323" y="328"/>
                    <a:pt x="323" y="328"/>
                  </a:cubicBezTo>
                  <a:cubicBezTo>
                    <a:pt x="340" y="281"/>
                    <a:pt x="340" y="281"/>
                    <a:pt x="340" y="281"/>
                  </a:cubicBezTo>
                  <a:cubicBezTo>
                    <a:pt x="337" y="272"/>
                    <a:pt x="337" y="272"/>
                    <a:pt x="337" y="272"/>
                  </a:cubicBezTo>
                  <a:cubicBezTo>
                    <a:pt x="354" y="277"/>
                    <a:pt x="354" y="277"/>
                    <a:pt x="354" y="277"/>
                  </a:cubicBezTo>
                  <a:cubicBezTo>
                    <a:pt x="356" y="278"/>
                    <a:pt x="356" y="278"/>
                    <a:pt x="356" y="278"/>
                  </a:cubicBezTo>
                  <a:cubicBezTo>
                    <a:pt x="356" y="278"/>
                    <a:pt x="356" y="277"/>
                    <a:pt x="356" y="277"/>
                  </a:cubicBezTo>
                  <a:cubicBezTo>
                    <a:pt x="357" y="262"/>
                    <a:pt x="345" y="226"/>
                    <a:pt x="345" y="226"/>
                  </a:cubicBezTo>
                  <a:lnTo>
                    <a:pt x="355" y="19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3" name="Ile-de-France" descr="© INSCALE GmbH, 05.05.2010&#10;http://www.presentationload.com/">
              <a:extLst>
                <a:ext uri="{FF2B5EF4-FFF2-40B4-BE49-F238E27FC236}">
                  <a16:creationId xmlns:a16="http://schemas.microsoft.com/office/drawing/2014/main" id="{AC31993E-D426-4B7A-9900-2091A79541F4}"/>
                </a:ext>
              </a:extLst>
            </p:cNvPr>
            <p:cNvSpPr>
              <a:spLocks/>
            </p:cNvSpPr>
            <p:nvPr/>
          </p:nvSpPr>
          <p:spPr bwMode="gray">
            <a:xfrm>
              <a:off x="1565" y="796"/>
              <a:ext cx="483" cy="386"/>
            </a:xfrm>
            <a:custGeom>
              <a:avLst/>
              <a:gdLst/>
              <a:ahLst/>
              <a:cxnLst>
                <a:cxn ang="0">
                  <a:pos x="31" y="127"/>
                </a:cxn>
                <a:cxn ang="0">
                  <a:pos x="36" y="158"/>
                </a:cxn>
                <a:cxn ang="0">
                  <a:pos x="35" y="177"/>
                </a:cxn>
                <a:cxn ang="0">
                  <a:pos x="48" y="199"/>
                </a:cxn>
                <a:cxn ang="0">
                  <a:pos x="56" y="214"/>
                </a:cxn>
                <a:cxn ang="0">
                  <a:pos x="71" y="246"/>
                </a:cxn>
                <a:cxn ang="0">
                  <a:pos x="103" y="267"/>
                </a:cxn>
                <a:cxn ang="0">
                  <a:pos x="111" y="303"/>
                </a:cxn>
                <a:cxn ang="0">
                  <a:pos x="153" y="301"/>
                </a:cxn>
                <a:cxn ang="0">
                  <a:pos x="167" y="290"/>
                </a:cxn>
                <a:cxn ang="0">
                  <a:pos x="183" y="293"/>
                </a:cxn>
                <a:cxn ang="0">
                  <a:pos x="201" y="297"/>
                </a:cxn>
                <a:cxn ang="0">
                  <a:pos x="229" y="338"/>
                </a:cxn>
                <a:cxn ang="0">
                  <a:pos x="273" y="354"/>
                </a:cxn>
                <a:cxn ang="0">
                  <a:pos x="285" y="346"/>
                </a:cxn>
                <a:cxn ang="0">
                  <a:pos x="316" y="345"/>
                </a:cxn>
                <a:cxn ang="0">
                  <a:pos x="333" y="297"/>
                </a:cxn>
                <a:cxn ang="0">
                  <a:pos x="400" y="277"/>
                </a:cxn>
                <a:cxn ang="0">
                  <a:pos x="411" y="243"/>
                </a:cxn>
                <a:cxn ang="0">
                  <a:pos x="413" y="225"/>
                </a:cxn>
                <a:cxn ang="0">
                  <a:pos x="424" y="210"/>
                </a:cxn>
                <a:cxn ang="0">
                  <a:pos x="437" y="199"/>
                </a:cxn>
                <a:cxn ang="0">
                  <a:pos x="440" y="191"/>
                </a:cxn>
                <a:cxn ang="0">
                  <a:pos x="425" y="158"/>
                </a:cxn>
                <a:cxn ang="0">
                  <a:pos x="411" y="147"/>
                </a:cxn>
                <a:cxn ang="0">
                  <a:pos x="412" y="137"/>
                </a:cxn>
                <a:cxn ang="0">
                  <a:pos x="428" y="123"/>
                </a:cxn>
                <a:cxn ang="0">
                  <a:pos x="405" y="99"/>
                </a:cxn>
                <a:cxn ang="0">
                  <a:pos x="392" y="91"/>
                </a:cxn>
                <a:cxn ang="0">
                  <a:pos x="364" y="73"/>
                </a:cxn>
                <a:cxn ang="0">
                  <a:pos x="337" y="45"/>
                </a:cxn>
                <a:cxn ang="0">
                  <a:pos x="285" y="47"/>
                </a:cxn>
                <a:cxn ang="0">
                  <a:pos x="248" y="43"/>
                </a:cxn>
                <a:cxn ang="0">
                  <a:pos x="233" y="41"/>
                </a:cxn>
                <a:cxn ang="0">
                  <a:pos x="191" y="25"/>
                </a:cxn>
                <a:cxn ang="0">
                  <a:pos x="165" y="26"/>
                </a:cxn>
                <a:cxn ang="0">
                  <a:pos x="157" y="25"/>
                </a:cxn>
                <a:cxn ang="0">
                  <a:pos x="139" y="18"/>
                </a:cxn>
                <a:cxn ang="0">
                  <a:pos x="116" y="17"/>
                </a:cxn>
                <a:cxn ang="0">
                  <a:pos x="56" y="0"/>
                </a:cxn>
                <a:cxn ang="0">
                  <a:pos x="11" y="50"/>
                </a:cxn>
                <a:cxn ang="0">
                  <a:pos x="0" y="62"/>
                </a:cxn>
                <a:cxn ang="0">
                  <a:pos x="12" y="99"/>
                </a:cxn>
                <a:cxn ang="0">
                  <a:pos x="23" y="122"/>
                </a:cxn>
              </a:cxnLst>
              <a:rect l="0" t="0" r="r" b="b"/>
              <a:pathLst>
                <a:path w="448" h="357">
                  <a:moveTo>
                    <a:pt x="23" y="122"/>
                  </a:moveTo>
                  <a:cubicBezTo>
                    <a:pt x="31" y="127"/>
                    <a:pt x="31" y="127"/>
                    <a:pt x="31" y="127"/>
                  </a:cubicBezTo>
                  <a:cubicBezTo>
                    <a:pt x="29" y="151"/>
                    <a:pt x="29" y="151"/>
                    <a:pt x="29" y="151"/>
                  </a:cubicBezTo>
                  <a:cubicBezTo>
                    <a:pt x="36" y="158"/>
                    <a:pt x="36" y="158"/>
                    <a:pt x="36" y="158"/>
                  </a:cubicBezTo>
                  <a:cubicBezTo>
                    <a:pt x="25" y="173"/>
                    <a:pt x="25" y="173"/>
                    <a:pt x="25" y="173"/>
                  </a:cubicBezTo>
                  <a:cubicBezTo>
                    <a:pt x="35" y="177"/>
                    <a:pt x="35" y="177"/>
                    <a:pt x="35" y="177"/>
                  </a:cubicBezTo>
                  <a:cubicBezTo>
                    <a:pt x="33" y="187"/>
                    <a:pt x="33" y="187"/>
                    <a:pt x="33" y="187"/>
                  </a:cubicBezTo>
                  <a:cubicBezTo>
                    <a:pt x="48" y="199"/>
                    <a:pt x="48" y="199"/>
                    <a:pt x="48" y="199"/>
                  </a:cubicBezTo>
                  <a:cubicBezTo>
                    <a:pt x="57" y="202"/>
                    <a:pt x="57" y="202"/>
                    <a:pt x="57" y="202"/>
                  </a:cubicBezTo>
                  <a:cubicBezTo>
                    <a:pt x="56" y="214"/>
                    <a:pt x="56" y="214"/>
                    <a:pt x="56" y="214"/>
                  </a:cubicBezTo>
                  <a:cubicBezTo>
                    <a:pt x="69" y="221"/>
                    <a:pt x="69" y="221"/>
                    <a:pt x="69" y="221"/>
                  </a:cubicBezTo>
                  <a:cubicBezTo>
                    <a:pt x="71" y="246"/>
                    <a:pt x="71" y="246"/>
                    <a:pt x="71" y="246"/>
                  </a:cubicBezTo>
                  <a:cubicBezTo>
                    <a:pt x="71" y="246"/>
                    <a:pt x="95" y="261"/>
                    <a:pt x="97" y="253"/>
                  </a:cubicBezTo>
                  <a:cubicBezTo>
                    <a:pt x="101" y="254"/>
                    <a:pt x="103" y="267"/>
                    <a:pt x="103" y="267"/>
                  </a:cubicBezTo>
                  <a:cubicBezTo>
                    <a:pt x="113" y="269"/>
                    <a:pt x="113" y="269"/>
                    <a:pt x="113" y="269"/>
                  </a:cubicBezTo>
                  <a:cubicBezTo>
                    <a:pt x="113" y="269"/>
                    <a:pt x="101" y="295"/>
                    <a:pt x="111" y="303"/>
                  </a:cubicBezTo>
                  <a:cubicBezTo>
                    <a:pt x="120" y="311"/>
                    <a:pt x="127" y="301"/>
                    <a:pt x="135" y="301"/>
                  </a:cubicBezTo>
                  <a:cubicBezTo>
                    <a:pt x="143" y="301"/>
                    <a:pt x="153" y="301"/>
                    <a:pt x="153" y="301"/>
                  </a:cubicBezTo>
                  <a:cubicBezTo>
                    <a:pt x="160" y="287"/>
                    <a:pt x="160" y="287"/>
                    <a:pt x="160" y="287"/>
                  </a:cubicBezTo>
                  <a:cubicBezTo>
                    <a:pt x="167" y="290"/>
                    <a:pt x="167" y="290"/>
                    <a:pt x="167" y="290"/>
                  </a:cubicBezTo>
                  <a:cubicBezTo>
                    <a:pt x="169" y="301"/>
                    <a:pt x="169" y="301"/>
                    <a:pt x="169" y="301"/>
                  </a:cubicBezTo>
                  <a:cubicBezTo>
                    <a:pt x="183" y="293"/>
                    <a:pt x="183" y="293"/>
                    <a:pt x="183" y="293"/>
                  </a:cubicBezTo>
                  <a:cubicBezTo>
                    <a:pt x="199" y="298"/>
                    <a:pt x="199" y="298"/>
                    <a:pt x="199" y="298"/>
                  </a:cubicBezTo>
                  <a:cubicBezTo>
                    <a:pt x="201" y="297"/>
                    <a:pt x="201" y="297"/>
                    <a:pt x="201" y="297"/>
                  </a:cubicBezTo>
                  <a:cubicBezTo>
                    <a:pt x="205" y="313"/>
                    <a:pt x="205" y="313"/>
                    <a:pt x="205" y="313"/>
                  </a:cubicBezTo>
                  <a:cubicBezTo>
                    <a:pt x="205" y="313"/>
                    <a:pt x="232" y="319"/>
                    <a:pt x="229" y="338"/>
                  </a:cubicBezTo>
                  <a:cubicBezTo>
                    <a:pt x="228" y="349"/>
                    <a:pt x="222" y="352"/>
                    <a:pt x="218" y="353"/>
                  </a:cubicBezTo>
                  <a:cubicBezTo>
                    <a:pt x="273" y="354"/>
                    <a:pt x="273" y="354"/>
                    <a:pt x="273" y="354"/>
                  </a:cubicBezTo>
                  <a:cubicBezTo>
                    <a:pt x="273" y="346"/>
                    <a:pt x="273" y="346"/>
                    <a:pt x="273" y="346"/>
                  </a:cubicBezTo>
                  <a:cubicBezTo>
                    <a:pt x="285" y="346"/>
                    <a:pt x="285" y="346"/>
                    <a:pt x="285" y="346"/>
                  </a:cubicBezTo>
                  <a:cubicBezTo>
                    <a:pt x="285" y="357"/>
                    <a:pt x="285" y="357"/>
                    <a:pt x="285" y="357"/>
                  </a:cubicBezTo>
                  <a:cubicBezTo>
                    <a:pt x="285" y="357"/>
                    <a:pt x="308" y="353"/>
                    <a:pt x="316" y="345"/>
                  </a:cubicBezTo>
                  <a:cubicBezTo>
                    <a:pt x="324" y="337"/>
                    <a:pt x="339" y="313"/>
                    <a:pt x="339" y="313"/>
                  </a:cubicBezTo>
                  <a:cubicBezTo>
                    <a:pt x="333" y="297"/>
                    <a:pt x="333" y="297"/>
                    <a:pt x="333" y="297"/>
                  </a:cubicBezTo>
                  <a:cubicBezTo>
                    <a:pt x="341" y="277"/>
                    <a:pt x="341" y="277"/>
                    <a:pt x="341" y="277"/>
                  </a:cubicBezTo>
                  <a:cubicBezTo>
                    <a:pt x="400" y="277"/>
                    <a:pt x="400" y="277"/>
                    <a:pt x="400" y="277"/>
                  </a:cubicBezTo>
                  <a:cubicBezTo>
                    <a:pt x="415" y="269"/>
                    <a:pt x="415" y="269"/>
                    <a:pt x="415" y="269"/>
                  </a:cubicBezTo>
                  <a:cubicBezTo>
                    <a:pt x="411" y="243"/>
                    <a:pt x="411" y="243"/>
                    <a:pt x="411" y="243"/>
                  </a:cubicBezTo>
                  <a:cubicBezTo>
                    <a:pt x="420" y="234"/>
                    <a:pt x="420" y="234"/>
                    <a:pt x="420" y="234"/>
                  </a:cubicBezTo>
                  <a:cubicBezTo>
                    <a:pt x="413" y="225"/>
                    <a:pt x="413" y="225"/>
                    <a:pt x="413" y="225"/>
                  </a:cubicBezTo>
                  <a:cubicBezTo>
                    <a:pt x="428" y="222"/>
                    <a:pt x="428" y="222"/>
                    <a:pt x="428" y="222"/>
                  </a:cubicBezTo>
                  <a:cubicBezTo>
                    <a:pt x="424" y="210"/>
                    <a:pt x="424" y="210"/>
                    <a:pt x="424" y="210"/>
                  </a:cubicBezTo>
                  <a:cubicBezTo>
                    <a:pt x="436" y="210"/>
                    <a:pt x="436" y="210"/>
                    <a:pt x="436" y="210"/>
                  </a:cubicBezTo>
                  <a:cubicBezTo>
                    <a:pt x="437" y="199"/>
                    <a:pt x="437" y="199"/>
                    <a:pt x="437" y="199"/>
                  </a:cubicBezTo>
                  <a:cubicBezTo>
                    <a:pt x="448" y="201"/>
                    <a:pt x="448" y="201"/>
                    <a:pt x="448" y="201"/>
                  </a:cubicBezTo>
                  <a:cubicBezTo>
                    <a:pt x="440" y="191"/>
                    <a:pt x="440" y="191"/>
                    <a:pt x="440" y="191"/>
                  </a:cubicBezTo>
                  <a:cubicBezTo>
                    <a:pt x="424" y="190"/>
                    <a:pt x="424" y="190"/>
                    <a:pt x="424" y="190"/>
                  </a:cubicBezTo>
                  <a:cubicBezTo>
                    <a:pt x="425" y="158"/>
                    <a:pt x="425" y="158"/>
                    <a:pt x="425" y="158"/>
                  </a:cubicBezTo>
                  <a:cubicBezTo>
                    <a:pt x="411" y="157"/>
                    <a:pt x="411" y="157"/>
                    <a:pt x="411" y="157"/>
                  </a:cubicBezTo>
                  <a:cubicBezTo>
                    <a:pt x="411" y="147"/>
                    <a:pt x="411" y="147"/>
                    <a:pt x="411" y="147"/>
                  </a:cubicBezTo>
                  <a:cubicBezTo>
                    <a:pt x="419" y="146"/>
                    <a:pt x="419" y="146"/>
                    <a:pt x="419" y="146"/>
                  </a:cubicBezTo>
                  <a:cubicBezTo>
                    <a:pt x="412" y="137"/>
                    <a:pt x="412" y="137"/>
                    <a:pt x="412" y="137"/>
                  </a:cubicBezTo>
                  <a:cubicBezTo>
                    <a:pt x="428" y="130"/>
                    <a:pt x="428" y="130"/>
                    <a:pt x="428" y="130"/>
                  </a:cubicBezTo>
                  <a:cubicBezTo>
                    <a:pt x="428" y="123"/>
                    <a:pt x="428" y="123"/>
                    <a:pt x="428" y="123"/>
                  </a:cubicBezTo>
                  <a:cubicBezTo>
                    <a:pt x="424" y="122"/>
                    <a:pt x="413" y="118"/>
                    <a:pt x="409" y="118"/>
                  </a:cubicBezTo>
                  <a:cubicBezTo>
                    <a:pt x="405" y="118"/>
                    <a:pt x="405" y="99"/>
                    <a:pt x="405" y="99"/>
                  </a:cubicBezTo>
                  <a:cubicBezTo>
                    <a:pt x="395" y="99"/>
                    <a:pt x="395" y="99"/>
                    <a:pt x="395" y="99"/>
                  </a:cubicBezTo>
                  <a:cubicBezTo>
                    <a:pt x="392" y="91"/>
                    <a:pt x="392" y="91"/>
                    <a:pt x="392" y="91"/>
                  </a:cubicBezTo>
                  <a:cubicBezTo>
                    <a:pt x="392" y="91"/>
                    <a:pt x="379" y="101"/>
                    <a:pt x="380" y="93"/>
                  </a:cubicBezTo>
                  <a:cubicBezTo>
                    <a:pt x="381" y="85"/>
                    <a:pt x="365" y="78"/>
                    <a:pt x="364" y="73"/>
                  </a:cubicBezTo>
                  <a:cubicBezTo>
                    <a:pt x="368" y="41"/>
                    <a:pt x="344" y="39"/>
                    <a:pt x="344" y="39"/>
                  </a:cubicBezTo>
                  <a:cubicBezTo>
                    <a:pt x="337" y="45"/>
                    <a:pt x="337" y="45"/>
                    <a:pt x="337" y="45"/>
                  </a:cubicBezTo>
                  <a:cubicBezTo>
                    <a:pt x="299" y="55"/>
                    <a:pt x="299" y="55"/>
                    <a:pt x="299" y="55"/>
                  </a:cubicBezTo>
                  <a:cubicBezTo>
                    <a:pt x="285" y="47"/>
                    <a:pt x="285" y="47"/>
                    <a:pt x="285" y="47"/>
                  </a:cubicBezTo>
                  <a:cubicBezTo>
                    <a:pt x="285" y="47"/>
                    <a:pt x="276" y="57"/>
                    <a:pt x="268" y="54"/>
                  </a:cubicBezTo>
                  <a:cubicBezTo>
                    <a:pt x="260" y="51"/>
                    <a:pt x="255" y="47"/>
                    <a:pt x="248" y="43"/>
                  </a:cubicBezTo>
                  <a:cubicBezTo>
                    <a:pt x="241" y="39"/>
                    <a:pt x="239" y="51"/>
                    <a:pt x="239" y="51"/>
                  </a:cubicBezTo>
                  <a:cubicBezTo>
                    <a:pt x="233" y="41"/>
                    <a:pt x="233" y="41"/>
                    <a:pt x="233" y="41"/>
                  </a:cubicBezTo>
                  <a:cubicBezTo>
                    <a:pt x="233" y="41"/>
                    <a:pt x="215" y="49"/>
                    <a:pt x="220" y="45"/>
                  </a:cubicBezTo>
                  <a:cubicBezTo>
                    <a:pt x="225" y="41"/>
                    <a:pt x="207" y="29"/>
                    <a:pt x="191" y="25"/>
                  </a:cubicBezTo>
                  <a:cubicBezTo>
                    <a:pt x="178" y="22"/>
                    <a:pt x="182" y="18"/>
                    <a:pt x="184" y="17"/>
                  </a:cubicBezTo>
                  <a:cubicBezTo>
                    <a:pt x="165" y="26"/>
                    <a:pt x="165" y="26"/>
                    <a:pt x="165" y="26"/>
                  </a:cubicBezTo>
                  <a:cubicBezTo>
                    <a:pt x="161" y="18"/>
                    <a:pt x="161" y="18"/>
                    <a:pt x="161" y="18"/>
                  </a:cubicBezTo>
                  <a:cubicBezTo>
                    <a:pt x="157" y="25"/>
                    <a:pt x="157" y="25"/>
                    <a:pt x="157" y="25"/>
                  </a:cubicBezTo>
                  <a:cubicBezTo>
                    <a:pt x="148" y="15"/>
                    <a:pt x="148" y="15"/>
                    <a:pt x="148" y="15"/>
                  </a:cubicBezTo>
                  <a:cubicBezTo>
                    <a:pt x="139" y="18"/>
                    <a:pt x="139" y="18"/>
                    <a:pt x="139" y="18"/>
                  </a:cubicBezTo>
                  <a:cubicBezTo>
                    <a:pt x="132" y="13"/>
                    <a:pt x="132" y="13"/>
                    <a:pt x="132" y="13"/>
                  </a:cubicBezTo>
                  <a:cubicBezTo>
                    <a:pt x="116" y="17"/>
                    <a:pt x="116" y="17"/>
                    <a:pt x="116" y="17"/>
                  </a:cubicBezTo>
                  <a:cubicBezTo>
                    <a:pt x="64" y="21"/>
                    <a:pt x="64" y="21"/>
                    <a:pt x="64" y="21"/>
                  </a:cubicBezTo>
                  <a:cubicBezTo>
                    <a:pt x="56" y="0"/>
                    <a:pt x="56" y="0"/>
                    <a:pt x="56" y="0"/>
                  </a:cubicBezTo>
                  <a:cubicBezTo>
                    <a:pt x="39" y="47"/>
                    <a:pt x="39" y="47"/>
                    <a:pt x="39" y="47"/>
                  </a:cubicBezTo>
                  <a:cubicBezTo>
                    <a:pt x="11" y="50"/>
                    <a:pt x="11" y="50"/>
                    <a:pt x="11" y="50"/>
                  </a:cubicBezTo>
                  <a:cubicBezTo>
                    <a:pt x="11" y="50"/>
                    <a:pt x="9" y="57"/>
                    <a:pt x="13" y="57"/>
                  </a:cubicBezTo>
                  <a:cubicBezTo>
                    <a:pt x="17" y="57"/>
                    <a:pt x="0" y="62"/>
                    <a:pt x="0" y="62"/>
                  </a:cubicBezTo>
                  <a:cubicBezTo>
                    <a:pt x="13" y="98"/>
                    <a:pt x="13" y="98"/>
                    <a:pt x="13" y="98"/>
                  </a:cubicBezTo>
                  <a:cubicBezTo>
                    <a:pt x="12" y="99"/>
                    <a:pt x="12" y="99"/>
                    <a:pt x="12" y="99"/>
                  </a:cubicBezTo>
                  <a:cubicBezTo>
                    <a:pt x="27" y="113"/>
                    <a:pt x="27" y="113"/>
                    <a:pt x="27" y="113"/>
                  </a:cubicBezTo>
                  <a:lnTo>
                    <a:pt x="23" y="12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4" name="Champagne-Ardenne" descr="© INSCALE GmbH, 05.05.2010&#10;http://www.presentationload.com/">
              <a:extLst>
                <a:ext uri="{FF2B5EF4-FFF2-40B4-BE49-F238E27FC236}">
                  <a16:creationId xmlns:a16="http://schemas.microsoft.com/office/drawing/2014/main" id="{42702F3F-420E-4857-A133-B4AD3E556CC4}"/>
                </a:ext>
              </a:extLst>
            </p:cNvPr>
            <p:cNvSpPr>
              <a:spLocks/>
            </p:cNvSpPr>
            <p:nvPr/>
          </p:nvSpPr>
          <p:spPr bwMode="gray">
            <a:xfrm>
              <a:off x="2008" y="466"/>
              <a:ext cx="578" cy="893"/>
            </a:xfrm>
            <a:custGeom>
              <a:avLst/>
              <a:gdLst/>
              <a:ahLst/>
              <a:cxnLst>
                <a:cxn ang="0">
                  <a:pos x="514" y="699"/>
                </a:cxn>
                <a:cxn ang="0">
                  <a:pos x="493" y="668"/>
                </a:cxn>
                <a:cxn ang="0">
                  <a:pos x="497" y="623"/>
                </a:cxn>
                <a:cxn ang="0">
                  <a:pos x="465" y="599"/>
                </a:cxn>
                <a:cxn ang="0">
                  <a:pos x="432" y="580"/>
                </a:cxn>
                <a:cxn ang="0">
                  <a:pos x="429" y="563"/>
                </a:cxn>
                <a:cxn ang="0">
                  <a:pos x="381" y="521"/>
                </a:cxn>
                <a:cxn ang="0">
                  <a:pos x="341" y="497"/>
                </a:cxn>
                <a:cxn ang="0">
                  <a:pos x="322" y="425"/>
                </a:cxn>
                <a:cxn ang="0">
                  <a:pos x="333" y="363"/>
                </a:cxn>
                <a:cxn ang="0">
                  <a:pos x="324" y="299"/>
                </a:cxn>
                <a:cxn ang="0">
                  <a:pos x="354" y="240"/>
                </a:cxn>
                <a:cxn ang="0">
                  <a:pos x="365" y="192"/>
                </a:cxn>
                <a:cxn ang="0">
                  <a:pos x="394" y="184"/>
                </a:cxn>
                <a:cxn ang="0">
                  <a:pos x="416" y="161"/>
                </a:cxn>
                <a:cxn ang="0">
                  <a:pos x="351" y="115"/>
                </a:cxn>
                <a:cxn ang="0">
                  <a:pos x="321" y="99"/>
                </a:cxn>
                <a:cxn ang="0">
                  <a:pos x="301" y="55"/>
                </a:cxn>
                <a:cxn ang="0">
                  <a:pos x="320" y="8"/>
                </a:cxn>
                <a:cxn ang="0">
                  <a:pos x="282" y="21"/>
                </a:cxn>
                <a:cxn ang="0">
                  <a:pos x="230" y="63"/>
                </a:cxn>
                <a:cxn ang="0">
                  <a:pos x="175" y="57"/>
                </a:cxn>
                <a:cxn ang="0">
                  <a:pos x="164" y="128"/>
                </a:cxn>
                <a:cxn ang="0">
                  <a:pos x="141" y="177"/>
                </a:cxn>
                <a:cxn ang="0">
                  <a:pos x="129" y="215"/>
                </a:cxn>
                <a:cxn ang="0">
                  <a:pos x="94" y="257"/>
                </a:cxn>
                <a:cxn ang="0">
                  <a:pos x="56" y="301"/>
                </a:cxn>
                <a:cxn ang="0">
                  <a:pos x="42" y="339"/>
                </a:cxn>
                <a:cxn ang="0">
                  <a:pos x="38" y="368"/>
                </a:cxn>
                <a:cxn ang="0">
                  <a:pos x="28" y="409"/>
                </a:cxn>
                <a:cxn ang="0">
                  <a:pos x="17" y="436"/>
                </a:cxn>
                <a:cxn ang="0">
                  <a:pos x="0" y="453"/>
                </a:cxn>
                <a:cxn ang="0">
                  <a:pos x="13" y="496"/>
                </a:cxn>
                <a:cxn ang="0">
                  <a:pos x="26" y="505"/>
                </a:cxn>
                <a:cxn ang="0">
                  <a:pos x="17" y="528"/>
                </a:cxn>
                <a:cxn ang="0">
                  <a:pos x="0" y="549"/>
                </a:cxn>
                <a:cxn ang="0">
                  <a:pos x="14" y="583"/>
                </a:cxn>
                <a:cxn ang="0">
                  <a:pos x="44" y="644"/>
                </a:cxn>
                <a:cxn ang="0">
                  <a:pos x="68" y="653"/>
                </a:cxn>
                <a:cxn ang="0">
                  <a:pos x="76" y="656"/>
                </a:cxn>
                <a:cxn ang="0">
                  <a:pos x="108" y="720"/>
                </a:cxn>
                <a:cxn ang="0">
                  <a:pos x="156" y="723"/>
                </a:cxn>
                <a:cxn ang="0">
                  <a:pos x="173" y="707"/>
                </a:cxn>
                <a:cxn ang="0">
                  <a:pos x="197" y="723"/>
                </a:cxn>
                <a:cxn ang="0">
                  <a:pos x="301" y="691"/>
                </a:cxn>
                <a:cxn ang="0">
                  <a:pos x="318" y="713"/>
                </a:cxn>
                <a:cxn ang="0">
                  <a:pos x="325" y="719"/>
                </a:cxn>
                <a:cxn ang="0">
                  <a:pos x="332" y="767"/>
                </a:cxn>
                <a:cxn ang="0">
                  <a:pos x="353" y="787"/>
                </a:cxn>
                <a:cxn ang="0">
                  <a:pos x="388" y="807"/>
                </a:cxn>
                <a:cxn ang="0">
                  <a:pos x="421" y="816"/>
                </a:cxn>
                <a:cxn ang="0">
                  <a:pos x="468" y="792"/>
                </a:cxn>
                <a:cxn ang="0">
                  <a:pos x="500" y="788"/>
                </a:cxn>
                <a:cxn ang="0">
                  <a:pos x="497" y="747"/>
                </a:cxn>
                <a:cxn ang="0">
                  <a:pos x="525" y="735"/>
                </a:cxn>
                <a:cxn ang="0">
                  <a:pos x="530" y="697"/>
                </a:cxn>
              </a:cxnLst>
              <a:rect l="0" t="0" r="r" b="b"/>
              <a:pathLst>
                <a:path w="536" h="828">
                  <a:moveTo>
                    <a:pt x="530" y="697"/>
                  </a:moveTo>
                  <a:cubicBezTo>
                    <a:pt x="517" y="701"/>
                    <a:pt x="517" y="701"/>
                    <a:pt x="517" y="701"/>
                  </a:cubicBezTo>
                  <a:cubicBezTo>
                    <a:pt x="514" y="699"/>
                    <a:pt x="514" y="699"/>
                    <a:pt x="514" y="699"/>
                  </a:cubicBezTo>
                  <a:cubicBezTo>
                    <a:pt x="514" y="701"/>
                    <a:pt x="514" y="701"/>
                    <a:pt x="514" y="701"/>
                  </a:cubicBezTo>
                  <a:cubicBezTo>
                    <a:pt x="513" y="681"/>
                    <a:pt x="513" y="681"/>
                    <a:pt x="513" y="681"/>
                  </a:cubicBezTo>
                  <a:cubicBezTo>
                    <a:pt x="493" y="668"/>
                    <a:pt x="493" y="668"/>
                    <a:pt x="493" y="668"/>
                  </a:cubicBezTo>
                  <a:cubicBezTo>
                    <a:pt x="476" y="664"/>
                    <a:pt x="476" y="664"/>
                    <a:pt x="476" y="664"/>
                  </a:cubicBezTo>
                  <a:cubicBezTo>
                    <a:pt x="486" y="652"/>
                    <a:pt x="486" y="652"/>
                    <a:pt x="486" y="652"/>
                  </a:cubicBezTo>
                  <a:cubicBezTo>
                    <a:pt x="486" y="652"/>
                    <a:pt x="486" y="628"/>
                    <a:pt x="497" y="623"/>
                  </a:cubicBezTo>
                  <a:cubicBezTo>
                    <a:pt x="490" y="612"/>
                    <a:pt x="490" y="612"/>
                    <a:pt x="490" y="612"/>
                  </a:cubicBezTo>
                  <a:cubicBezTo>
                    <a:pt x="481" y="611"/>
                    <a:pt x="481" y="611"/>
                    <a:pt x="481" y="611"/>
                  </a:cubicBezTo>
                  <a:cubicBezTo>
                    <a:pt x="481" y="611"/>
                    <a:pt x="481" y="588"/>
                    <a:pt x="465" y="599"/>
                  </a:cubicBezTo>
                  <a:cubicBezTo>
                    <a:pt x="452" y="576"/>
                    <a:pt x="452" y="576"/>
                    <a:pt x="452" y="576"/>
                  </a:cubicBezTo>
                  <a:cubicBezTo>
                    <a:pt x="452" y="576"/>
                    <a:pt x="442" y="573"/>
                    <a:pt x="436" y="577"/>
                  </a:cubicBezTo>
                  <a:cubicBezTo>
                    <a:pt x="435" y="579"/>
                    <a:pt x="434" y="581"/>
                    <a:pt x="432" y="580"/>
                  </a:cubicBezTo>
                  <a:cubicBezTo>
                    <a:pt x="433" y="579"/>
                    <a:pt x="434" y="578"/>
                    <a:pt x="436" y="577"/>
                  </a:cubicBezTo>
                  <a:cubicBezTo>
                    <a:pt x="436" y="574"/>
                    <a:pt x="434" y="571"/>
                    <a:pt x="434" y="571"/>
                  </a:cubicBezTo>
                  <a:cubicBezTo>
                    <a:pt x="429" y="563"/>
                    <a:pt x="429" y="563"/>
                    <a:pt x="429" y="563"/>
                  </a:cubicBezTo>
                  <a:cubicBezTo>
                    <a:pt x="441" y="557"/>
                    <a:pt x="441" y="557"/>
                    <a:pt x="441" y="557"/>
                  </a:cubicBezTo>
                  <a:cubicBezTo>
                    <a:pt x="441" y="557"/>
                    <a:pt x="400" y="521"/>
                    <a:pt x="383" y="521"/>
                  </a:cubicBezTo>
                  <a:cubicBezTo>
                    <a:pt x="383" y="522"/>
                    <a:pt x="382" y="522"/>
                    <a:pt x="381" y="521"/>
                  </a:cubicBezTo>
                  <a:cubicBezTo>
                    <a:pt x="382" y="521"/>
                    <a:pt x="382" y="521"/>
                    <a:pt x="383" y="521"/>
                  </a:cubicBezTo>
                  <a:cubicBezTo>
                    <a:pt x="384" y="518"/>
                    <a:pt x="349" y="491"/>
                    <a:pt x="349" y="491"/>
                  </a:cubicBezTo>
                  <a:cubicBezTo>
                    <a:pt x="341" y="497"/>
                    <a:pt x="341" y="497"/>
                    <a:pt x="341" y="497"/>
                  </a:cubicBezTo>
                  <a:cubicBezTo>
                    <a:pt x="342" y="457"/>
                    <a:pt x="342" y="457"/>
                    <a:pt x="342" y="457"/>
                  </a:cubicBezTo>
                  <a:cubicBezTo>
                    <a:pt x="316" y="439"/>
                    <a:pt x="316" y="439"/>
                    <a:pt x="316" y="439"/>
                  </a:cubicBezTo>
                  <a:cubicBezTo>
                    <a:pt x="322" y="425"/>
                    <a:pt x="322" y="425"/>
                    <a:pt x="322" y="425"/>
                  </a:cubicBezTo>
                  <a:cubicBezTo>
                    <a:pt x="320" y="404"/>
                    <a:pt x="320" y="404"/>
                    <a:pt x="320" y="404"/>
                  </a:cubicBezTo>
                  <a:cubicBezTo>
                    <a:pt x="320" y="404"/>
                    <a:pt x="344" y="395"/>
                    <a:pt x="342" y="385"/>
                  </a:cubicBezTo>
                  <a:cubicBezTo>
                    <a:pt x="341" y="376"/>
                    <a:pt x="344" y="357"/>
                    <a:pt x="333" y="363"/>
                  </a:cubicBezTo>
                  <a:cubicBezTo>
                    <a:pt x="336" y="359"/>
                    <a:pt x="320" y="313"/>
                    <a:pt x="320" y="313"/>
                  </a:cubicBezTo>
                  <a:cubicBezTo>
                    <a:pt x="330" y="305"/>
                    <a:pt x="330" y="305"/>
                    <a:pt x="330" y="305"/>
                  </a:cubicBezTo>
                  <a:cubicBezTo>
                    <a:pt x="324" y="299"/>
                    <a:pt x="324" y="299"/>
                    <a:pt x="324" y="299"/>
                  </a:cubicBezTo>
                  <a:cubicBezTo>
                    <a:pt x="341" y="287"/>
                    <a:pt x="341" y="287"/>
                    <a:pt x="341" y="287"/>
                  </a:cubicBezTo>
                  <a:cubicBezTo>
                    <a:pt x="341" y="287"/>
                    <a:pt x="333" y="275"/>
                    <a:pt x="337" y="269"/>
                  </a:cubicBezTo>
                  <a:cubicBezTo>
                    <a:pt x="341" y="264"/>
                    <a:pt x="354" y="240"/>
                    <a:pt x="354" y="240"/>
                  </a:cubicBezTo>
                  <a:cubicBezTo>
                    <a:pt x="354" y="240"/>
                    <a:pt x="354" y="225"/>
                    <a:pt x="342" y="211"/>
                  </a:cubicBezTo>
                  <a:cubicBezTo>
                    <a:pt x="346" y="213"/>
                    <a:pt x="348" y="187"/>
                    <a:pt x="348" y="187"/>
                  </a:cubicBezTo>
                  <a:cubicBezTo>
                    <a:pt x="365" y="192"/>
                    <a:pt x="365" y="192"/>
                    <a:pt x="365" y="192"/>
                  </a:cubicBezTo>
                  <a:cubicBezTo>
                    <a:pt x="374" y="192"/>
                    <a:pt x="374" y="192"/>
                    <a:pt x="374" y="192"/>
                  </a:cubicBezTo>
                  <a:cubicBezTo>
                    <a:pt x="386" y="199"/>
                    <a:pt x="386" y="199"/>
                    <a:pt x="386" y="199"/>
                  </a:cubicBezTo>
                  <a:cubicBezTo>
                    <a:pt x="394" y="184"/>
                    <a:pt x="394" y="184"/>
                    <a:pt x="394" y="184"/>
                  </a:cubicBezTo>
                  <a:cubicBezTo>
                    <a:pt x="408" y="183"/>
                    <a:pt x="408" y="183"/>
                    <a:pt x="408" y="183"/>
                  </a:cubicBezTo>
                  <a:cubicBezTo>
                    <a:pt x="420" y="162"/>
                    <a:pt x="420" y="162"/>
                    <a:pt x="420" y="162"/>
                  </a:cubicBezTo>
                  <a:cubicBezTo>
                    <a:pt x="417" y="162"/>
                    <a:pt x="416" y="161"/>
                    <a:pt x="416" y="161"/>
                  </a:cubicBezTo>
                  <a:cubicBezTo>
                    <a:pt x="420" y="146"/>
                    <a:pt x="412" y="145"/>
                    <a:pt x="412" y="145"/>
                  </a:cubicBezTo>
                  <a:cubicBezTo>
                    <a:pt x="412" y="145"/>
                    <a:pt x="402" y="139"/>
                    <a:pt x="385" y="140"/>
                  </a:cubicBezTo>
                  <a:cubicBezTo>
                    <a:pt x="369" y="118"/>
                    <a:pt x="358" y="115"/>
                    <a:pt x="351" y="115"/>
                  </a:cubicBezTo>
                  <a:cubicBezTo>
                    <a:pt x="346" y="106"/>
                    <a:pt x="344" y="108"/>
                    <a:pt x="334" y="109"/>
                  </a:cubicBezTo>
                  <a:cubicBezTo>
                    <a:pt x="325" y="118"/>
                    <a:pt x="316" y="104"/>
                    <a:pt x="316" y="104"/>
                  </a:cubicBezTo>
                  <a:cubicBezTo>
                    <a:pt x="321" y="99"/>
                    <a:pt x="321" y="99"/>
                    <a:pt x="321" y="99"/>
                  </a:cubicBezTo>
                  <a:cubicBezTo>
                    <a:pt x="321" y="99"/>
                    <a:pt x="319" y="96"/>
                    <a:pt x="315" y="89"/>
                  </a:cubicBezTo>
                  <a:cubicBezTo>
                    <a:pt x="322" y="83"/>
                    <a:pt x="321" y="72"/>
                    <a:pt x="321" y="72"/>
                  </a:cubicBezTo>
                  <a:cubicBezTo>
                    <a:pt x="321" y="72"/>
                    <a:pt x="296" y="57"/>
                    <a:pt x="301" y="55"/>
                  </a:cubicBezTo>
                  <a:cubicBezTo>
                    <a:pt x="306" y="53"/>
                    <a:pt x="311" y="35"/>
                    <a:pt x="311" y="35"/>
                  </a:cubicBezTo>
                  <a:cubicBezTo>
                    <a:pt x="308" y="25"/>
                    <a:pt x="308" y="25"/>
                    <a:pt x="308" y="25"/>
                  </a:cubicBezTo>
                  <a:cubicBezTo>
                    <a:pt x="308" y="25"/>
                    <a:pt x="319" y="13"/>
                    <a:pt x="320" y="8"/>
                  </a:cubicBezTo>
                  <a:cubicBezTo>
                    <a:pt x="321" y="3"/>
                    <a:pt x="311" y="0"/>
                    <a:pt x="303" y="0"/>
                  </a:cubicBezTo>
                  <a:cubicBezTo>
                    <a:pt x="295" y="0"/>
                    <a:pt x="289" y="17"/>
                    <a:pt x="289" y="17"/>
                  </a:cubicBezTo>
                  <a:cubicBezTo>
                    <a:pt x="289" y="17"/>
                    <a:pt x="286" y="17"/>
                    <a:pt x="282" y="21"/>
                  </a:cubicBezTo>
                  <a:cubicBezTo>
                    <a:pt x="278" y="25"/>
                    <a:pt x="280" y="45"/>
                    <a:pt x="279" y="49"/>
                  </a:cubicBezTo>
                  <a:cubicBezTo>
                    <a:pt x="278" y="53"/>
                    <a:pt x="263" y="50"/>
                    <a:pt x="254" y="49"/>
                  </a:cubicBezTo>
                  <a:cubicBezTo>
                    <a:pt x="249" y="63"/>
                    <a:pt x="236" y="63"/>
                    <a:pt x="230" y="63"/>
                  </a:cubicBezTo>
                  <a:cubicBezTo>
                    <a:pt x="224" y="63"/>
                    <a:pt x="207" y="56"/>
                    <a:pt x="199" y="55"/>
                  </a:cubicBezTo>
                  <a:cubicBezTo>
                    <a:pt x="191" y="54"/>
                    <a:pt x="187" y="59"/>
                    <a:pt x="181" y="60"/>
                  </a:cubicBezTo>
                  <a:cubicBezTo>
                    <a:pt x="179" y="61"/>
                    <a:pt x="176" y="59"/>
                    <a:pt x="175" y="57"/>
                  </a:cubicBezTo>
                  <a:cubicBezTo>
                    <a:pt x="174" y="57"/>
                    <a:pt x="174" y="58"/>
                    <a:pt x="174" y="58"/>
                  </a:cubicBezTo>
                  <a:cubicBezTo>
                    <a:pt x="160" y="78"/>
                    <a:pt x="169" y="91"/>
                    <a:pt x="169" y="91"/>
                  </a:cubicBezTo>
                  <a:cubicBezTo>
                    <a:pt x="164" y="128"/>
                    <a:pt x="164" y="128"/>
                    <a:pt x="164" y="128"/>
                  </a:cubicBezTo>
                  <a:cubicBezTo>
                    <a:pt x="170" y="135"/>
                    <a:pt x="170" y="135"/>
                    <a:pt x="170" y="135"/>
                  </a:cubicBezTo>
                  <a:cubicBezTo>
                    <a:pt x="148" y="163"/>
                    <a:pt x="148" y="163"/>
                    <a:pt x="148" y="163"/>
                  </a:cubicBezTo>
                  <a:cubicBezTo>
                    <a:pt x="141" y="177"/>
                    <a:pt x="141" y="177"/>
                    <a:pt x="141" y="177"/>
                  </a:cubicBezTo>
                  <a:cubicBezTo>
                    <a:pt x="125" y="179"/>
                    <a:pt x="125" y="179"/>
                    <a:pt x="125" y="179"/>
                  </a:cubicBezTo>
                  <a:cubicBezTo>
                    <a:pt x="137" y="208"/>
                    <a:pt x="137" y="208"/>
                    <a:pt x="137" y="208"/>
                  </a:cubicBezTo>
                  <a:cubicBezTo>
                    <a:pt x="129" y="215"/>
                    <a:pt x="129" y="215"/>
                    <a:pt x="129" y="215"/>
                  </a:cubicBezTo>
                  <a:cubicBezTo>
                    <a:pt x="129" y="215"/>
                    <a:pt x="134" y="264"/>
                    <a:pt x="129" y="264"/>
                  </a:cubicBezTo>
                  <a:cubicBezTo>
                    <a:pt x="124" y="264"/>
                    <a:pt x="105" y="251"/>
                    <a:pt x="105" y="251"/>
                  </a:cubicBezTo>
                  <a:cubicBezTo>
                    <a:pt x="94" y="257"/>
                    <a:pt x="94" y="257"/>
                    <a:pt x="94" y="257"/>
                  </a:cubicBezTo>
                  <a:cubicBezTo>
                    <a:pt x="94" y="257"/>
                    <a:pt x="93" y="267"/>
                    <a:pt x="89" y="268"/>
                  </a:cubicBezTo>
                  <a:cubicBezTo>
                    <a:pt x="72" y="263"/>
                    <a:pt x="50" y="281"/>
                    <a:pt x="50" y="281"/>
                  </a:cubicBezTo>
                  <a:cubicBezTo>
                    <a:pt x="56" y="301"/>
                    <a:pt x="56" y="301"/>
                    <a:pt x="56" y="301"/>
                  </a:cubicBezTo>
                  <a:cubicBezTo>
                    <a:pt x="50" y="312"/>
                    <a:pt x="50" y="312"/>
                    <a:pt x="50" y="312"/>
                  </a:cubicBezTo>
                  <a:cubicBezTo>
                    <a:pt x="69" y="328"/>
                    <a:pt x="69" y="328"/>
                    <a:pt x="69" y="328"/>
                  </a:cubicBezTo>
                  <a:cubicBezTo>
                    <a:pt x="69" y="328"/>
                    <a:pt x="45" y="333"/>
                    <a:pt x="42" y="339"/>
                  </a:cubicBezTo>
                  <a:cubicBezTo>
                    <a:pt x="40" y="344"/>
                    <a:pt x="48" y="356"/>
                    <a:pt x="48" y="356"/>
                  </a:cubicBezTo>
                  <a:cubicBezTo>
                    <a:pt x="40" y="363"/>
                    <a:pt x="40" y="363"/>
                    <a:pt x="40" y="363"/>
                  </a:cubicBezTo>
                  <a:cubicBezTo>
                    <a:pt x="38" y="368"/>
                    <a:pt x="38" y="368"/>
                    <a:pt x="38" y="368"/>
                  </a:cubicBezTo>
                  <a:cubicBezTo>
                    <a:pt x="38" y="368"/>
                    <a:pt x="50" y="367"/>
                    <a:pt x="57" y="372"/>
                  </a:cubicBezTo>
                  <a:cubicBezTo>
                    <a:pt x="64" y="377"/>
                    <a:pt x="34" y="407"/>
                    <a:pt x="34" y="407"/>
                  </a:cubicBezTo>
                  <a:cubicBezTo>
                    <a:pt x="28" y="409"/>
                    <a:pt x="28" y="409"/>
                    <a:pt x="28" y="409"/>
                  </a:cubicBezTo>
                  <a:cubicBezTo>
                    <a:pt x="18" y="429"/>
                    <a:pt x="18" y="429"/>
                    <a:pt x="18" y="429"/>
                  </a:cubicBezTo>
                  <a:cubicBezTo>
                    <a:pt x="18" y="429"/>
                    <a:pt x="18" y="429"/>
                    <a:pt x="17" y="429"/>
                  </a:cubicBezTo>
                  <a:cubicBezTo>
                    <a:pt x="17" y="436"/>
                    <a:pt x="17" y="436"/>
                    <a:pt x="17" y="436"/>
                  </a:cubicBezTo>
                  <a:cubicBezTo>
                    <a:pt x="1" y="443"/>
                    <a:pt x="1" y="443"/>
                    <a:pt x="1" y="443"/>
                  </a:cubicBezTo>
                  <a:cubicBezTo>
                    <a:pt x="8" y="452"/>
                    <a:pt x="8" y="452"/>
                    <a:pt x="8" y="452"/>
                  </a:cubicBezTo>
                  <a:cubicBezTo>
                    <a:pt x="0" y="453"/>
                    <a:pt x="0" y="453"/>
                    <a:pt x="0" y="453"/>
                  </a:cubicBezTo>
                  <a:cubicBezTo>
                    <a:pt x="0" y="463"/>
                    <a:pt x="0" y="463"/>
                    <a:pt x="0" y="463"/>
                  </a:cubicBezTo>
                  <a:cubicBezTo>
                    <a:pt x="14" y="464"/>
                    <a:pt x="14" y="464"/>
                    <a:pt x="14" y="464"/>
                  </a:cubicBezTo>
                  <a:cubicBezTo>
                    <a:pt x="13" y="496"/>
                    <a:pt x="13" y="496"/>
                    <a:pt x="13" y="496"/>
                  </a:cubicBezTo>
                  <a:cubicBezTo>
                    <a:pt x="29" y="497"/>
                    <a:pt x="29" y="497"/>
                    <a:pt x="29" y="497"/>
                  </a:cubicBezTo>
                  <a:cubicBezTo>
                    <a:pt x="37" y="507"/>
                    <a:pt x="37" y="507"/>
                    <a:pt x="37" y="507"/>
                  </a:cubicBezTo>
                  <a:cubicBezTo>
                    <a:pt x="26" y="505"/>
                    <a:pt x="26" y="505"/>
                    <a:pt x="26" y="505"/>
                  </a:cubicBezTo>
                  <a:cubicBezTo>
                    <a:pt x="25" y="516"/>
                    <a:pt x="25" y="516"/>
                    <a:pt x="25" y="516"/>
                  </a:cubicBezTo>
                  <a:cubicBezTo>
                    <a:pt x="13" y="516"/>
                    <a:pt x="13" y="516"/>
                    <a:pt x="13" y="516"/>
                  </a:cubicBezTo>
                  <a:cubicBezTo>
                    <a:pt x="17" y="528"/>
                    <a:pt x="17" y="528"/>
                    <a:pt x="17" y="528"/>
                  </a:cubicBezTo>
                  <a:cubicBezTo>
                    <a:pt x="2" y="531"/>
                    <a:pt x="2" y="531"/>
                    <a:pt x="2" y="531"/>
                  </a:cubicBezTo>
                  <a:cubicBezTo>
                    <a:pt x="9" y="540"/>
                    <a:pt x="9" y="540"/>
                    <a:pt x="9" y="540"/>
                  </a:cubicBezTo>
                  <a:cubicBezTo>
                    <a:pt x="0" y="549"/>
                    <a:pt x="0" y="549"/>
                    <a:pt x="0" y="549"/>
                  </a:cubicBezTo>
                  <a:cubicBezTo>
                    <a:pt x="4" y="575"/>
                    <a:pt x="4" y="575"/>
                    <a:pt x="4" y="575"/>
                  </a:cubicBezTo>
                  <a:cubicBezTo>
                    <a:pt x="8" y="585"/>
                    <a:pt x="8" y="585"/>
                    <a:pt x="8" y="585"/>
                  </a:cubicBezTo>
                  <a:cubicBezTo>
                    <a:pt x="14" y="583"/>
                    <a:pt x="14" y="583"/>
                    <a:pt x="14" y="583"/>
                  </a:cubicBezTo>
                  <a:cubicBezTo>
                    <a:pt x="14" y="583"/>
                    <a:pt x="41" y="593"/>
                    <a:pt x="41" y="608"/>
                  </a:cubicBezTo>
                  <a:cubicBezTo>
                    <a:pt x="45" y="613"/>
                    <a:pt x="45" y="613"/>
                    <a:pt x="45" y="613"/>
                  </a:cubicBezTo>
                  <a:cubicBezTo>
                    <a:pt x="45" y="613"/>
                    <a:pt x="53" y="635"/>
                    <a:pt x="44" y="644"/>
                  </a:cubicBezTo>
                  <a:cubicBezTo>
                    <a:pt x="53" y="641"/>
                    <a:pt x="53" y="641"/>
                    <a:pt x="53" y="641"/>
                  </a:cubicBezTo>
                  <a:cubicBezTo>
                    <a:pt x="62" y="656"/>
                    <a:pt x="62" y="656"/>
                    <a:pt x="62" y="656"/>
                  </a:cubicBezTo>
                  <a:cubicBezTo>
                    <a:pt x="68" y="653"/>
                    <a:pt x="68" y="653"/>
                    <a:pt x="68" y="653"/>
                  </a:cubicBezTo>
                  <a:cubicBezTo>
                    <a:pt x="68" y="644"/>
                    <a:pt x="68" y="644"/>
                    <a:pt x="68" y="644"/>
                  </a:cubicBezTo>
                  <a:cubicBezTo>
                    <a:pt x="76" y="645"/>
                    <a:pt x="76" y="645"/>
                    <a:pt x="76" y="645"/>
                  </a:cubicBezTo>
                  <a:cubicBezTo>
                    <a:pt x="76" y="656"/>
                    <a:pt x="76" y="656"/>
                    <a:pt x="76" y="656"/>
                  </a:cubicBezTo>
                  <a:cubicBezTo>
                    <a:pt x="76" y="656"/>
                    <a:pt x="85" y="664"/>
                    <a:pt x="94" y="684"/>
                  </a:cubicBezTo>
                  <a:cubicBezTo>
                    <a:pt x="104" y="704"/>
                    <a:pt x="102" y="708"/>
                    <a:pt x="112" y="700"/>
                  </a:cubicBezTo>
                  <a:cubicBezTo>
                    <a:pt x="112" y="703"/>
                    <a:pt x="108" y="720"/>
                    <a:pt x="108" y="720"/>
                  </a:cubicBezTo>
                  <a:cubicBezTo>
                    <a:pt x="142" y="721"/>
                    <a:pt x="142" y="721"/>
                    <a:pt x="142" y="721"/>
                  </a:cubicBezTo>
                  <a:cubicBezTo>
                    <a:pt x="144" y="716"/>
                    <a:pt x="144" y="716"/>
                    <a:pt x="144" y="716"/>
                  </a:cubicBezTo>
                  <a:cubicBezTo>
                    <a:pt x="156" y="723"/>
                    <a:pt x="156" y="723"/>
                    <a:pt x="156" y="723"/>
                  </a:cubicBezTo>
                  <a:cubicBezTo>
                    <a:pt x="169" y="712"/>
                    <a:pt x="169" y="712"/>
                    <a:pt x="169" y="712"/>
                  </a:cubicBezTo>
                  <a:cubicBezTo>
                    <a:pt x="176" y="716"/>
                    <a:pt x="176" y="716"/>
                    <a:pt x="176" y="716"/>
                  </a:cubicBezTo>
                  <a:cubicBezTo>
                    <a:pt x="173" y="707"/>
                    <a:pt x="173" y="707"/>
                    <a:pt x="173" y="707"/>
                  </a:cubicBezTo>
                  <a:cubicBezTo>
                    <a:pt x="182" y="707"/>
                    <a:pt x="182" y="707"/>
                    <a:pt x="182" y="707"/>
                  </a:cubicBezTo>
                  <a:cubicBezTo>
                    <a:pt x="188" y="720"/>
                    <a:pt x="188" y="720"/>
                    <a:pt x="188" y="720"/>
                  </a:cubicBezTo>
                  <a:cubicBezTo>
                    <a:pt x="197" y="723"/>
                    <a:pt x="197" y="723"/>
                    <a:pt x="197" y="723"/>
                  </a:cubicBezTo>
                  <a:cubicBezTo>
                    <a:pt x="197" y="711"/>
                    <a:pt x="197" y="711"/>
                    <a:pt x="197" y="711"/>
                  </a:cubicBezTo>
                  <a:cubicBezTo>
                    <a:pt x="252" y="709"/>
                    <a:pt x="252" y="709"/>
                    <a:pt x="252" y="709"/>
                  </a:cubicBezTo>
                  <a:cubicBezTo>
                    <a:pt x="252" y="709"/>
                    <a:pt x="220" y="675"/>
                    <a:pt x="301" y="691"/>
                  </a:cubicBezTo>
                  <a:cubicBezTo>
                    <a:pt x="300" y="708"/>
                    <a:pt x="300" y="708"/>
                    <a:pt x="300" y="708"/>
                  </a:cubicBezTo>
                  <a:cubicBezTo>
                    <a:pt x="313" y="708"/>
                    <a:pt x="313" y="708"/>
                    <a:pt x="313" y="708"/>
                  </a:cubicBezTo>
                  <a:cubicBezTo>
                    <a:pt x="318" y="713"/>
                    <a:pt x="318" y="713"/>
                    <a:pt x="318" y="713"/>
                  </a:cubicBezTo>
                  <a:cubicBezTo>
                    <a:pt x="312" y="721"/>
                    <a:pt x="312" y="721"/>
                    <a:pt x="312" y="721"/>
                  </a:cubicBezTo>
                  <a:cubicBezTo>
                    <a:pt x="318" y="725"/>
                    <a:pt x="318" y="725"/>
                    <a:pt x="318" y="725"/>
                  </a:cubicBezTo>
                  <a:cubicBezTo>
                    <a:pt x="325" y="719"/>
                    <a:pt x="325" y="719"/>
                    <a:pt x="325" y="719"/>
                  </a:cubicBezTo>
                  <a:cubicBezTo>
                    <a:pt x="325" y="719"/>
                    <a:pt x="336" y="740"/>
                    <a:pt x="342" y="748"/>
                  </a:cubicBezTo>
                  <a:cubicBezTo>
                    <a:pt x="332" y="766"/>
                    <a:pt x="332" y="766"/>
                    <a:pt x="332" y="766"/>
                  </a:cubicBezTo>
                  <a:cubicBezTo>
                    <a:pt x="332" y="767"/>
                    <a:pt x="332" y="767"/>
                    <a:pt x="332" y="767"/>
                  </a:cubicBezTo>
                  <a:cubicBezTo>
                    <a:pt x="341" y="769"/>
                    <a:pt x="341" y="769"/>
                    <a:pt x="341" y="769"/>
                  </a:cubicBezTo>
                  <a:cubicBezTo>
                    <a:pt x="341" y="792"/>
                    <a:pt x="341" y="792"/>
                    <a:pt x="341" y="792"/>
                  </a:cubicBezTo>
                  <a:cubicBezTo>
                    <a:pt x="353" y="787"/>
                    <a:pt x="353" y="787"/>
                    <a:pt x="353" y="787"/>
                  </a:cubicBezTo>
                  <a:cubicBezTo>
                    <a:pt x="353" y="787"/>
                    <a:pt x="365" y="801"/>
                    <a:pt x="374" y="801"/>
                  </a:cubicBezTo>
                  <a:cubicBezTo>
                    <a:pt x="384" y="801"/>
                    <a:pt x="388" y="797"/>
                    <a:pt x="388" y="797"/>
                  </a:cubicBezTo>
                  <a:cubicBezTo>
                    <a:pt x="388" y="807"/>
                    <a:pt x="388" y="807"/>
                    <a:pt x="388" y="807"/>
                  </a:cubicBezTo>
                  <a:cubicBezTo>
                    <a:pt x="404" y="815"/>
                    <a:pt x="404" y="815"/>
                    <a:pt x="404" y="815"/>
                  </a:cubicBezTo>
                  <a:cubicBezTo>
                    <a:pt x="404" y="828"/>
                    <a:pt x="404" y="828"/>
                    <a:pt x="404" y="828"/>
                  </a:cubicBezTo>
                  <a:cubicBezTo>
                    <a:pt x="421" y="816"/>
                    <a:pt x="421" y="816"/>
                    <a:pt x="421" y="816"/>
                  </a:cubicBezTo>
                  <a:cubicBezTo>
                    <a:pt x="421" y="816"/>
                    <a:pt x="426" y="819"/>
                    <a:pt x="430" y="819"/>
                  </a:cubicBezTo>
                  <a:cubicBezTo>
                    <a:pt x="434" y="819"/>
                    <a:pt x="438" y="791"/>
                    <a:pt x="438" y="791"/>
                  </a:cubicBezTo>
                  <a:cubicBezTo>
                    <a:pt x="468" y="792"/>
                    <a:pt x="468" y="792"/>
                    <a:pt x="468" y="792"/>
                  </a:cubicBezTo>
                  <a:cubicBezTo>
                    <a:pt x="469" y="785"/>
                    <a:pt x="469" y="785"/>
                    <a:pt x="469" y="785"/>
                  </a:cubicBezTo>
                  <a:cubicBezTo>
                    <a:pt x="481" y="793"/>
                    <a:pt x="481" y="793"/>
                    <a:pt x="481" y="793"/>
                  </a:cubicBezTo>
                  <a:cubicBezTo>
                    <a:pt x="500" y="788"/>
                    <a:pt x="500" y="788"/>
                    <a:pt x="500" y="788"/>
                  </a:cubicBezTo>
                  <a:cubicBezTo>
                    <a:pt x="502" y="757"/>
                    <a:pt x="502" y="757"/>
                    <a:pt x="502" y="757"/>
                  </a:cubicBezTo>
                  <a:cubicBezTo>
                    <a:pt x="492" y="757"/>
                    <a:pt x="492" y="757"/>
                    <a:pt x="492" y="757"/>
                  </a:cubicBezTo>
                  <a:cubicBezTo>
                    <a:pt x="497" y="747"/>
                    <a:pt x="497" y="747"/>
                    <a:pt x="497" y="747"/>
                  </a:cubicBezTo>
                  <a:cubicBezTo>
                    <a:pt x="505" y="748"/>
                    <a:pt x="505" y="748"/>
                    <a:pt x="505" y="748"/>
                  </a:cubicBezTo>
                  <a:cubicBezTo>
                    <a:pt x="512" y="733"/>
                    <a:pt x="512" y="733"/>
                    <a:pt x="512" y="733"/>
                  </a:cubicBezTo>
                  <a:cubicBezTo>
                    <a:pt x="525" y="735"/>
                    <a:pt x="525" y="735"/>
                    <a:pt x="525" y="735"/>
                  </a:cubicBezTo>
                  <a:cubicBezTo>
                    <a:pt x="528" y="720"/>
                    <a:pt x="528" y="720"/>
                    <a:pt x="528" y="720"/>
                  </a:cubicBezTo>
                  <a:cubicBezTo>
                    <a:pt x="536" y="715"/>
                    <a:pt x="536" y="715"/>
                    <a:pt x="536" y="715"/>
                  </a:cubicBezTo>
                  <a:lnTo>
                    <a:pt x="530" y="697"/>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5" name="Lorraine" descr="© INSCALE GmbH, 05.05.2010&#10;http://www.presentationload.com/">
              <a:extLst>
                <a:ext uri="{FF2B5EF4-FFF2-40B4-BE49-F238E27FC236}">
                  <a16:creationId xmlns:a16="http://schemas.microsoft.com/office/drawing/2014/main" id="{2ACB0F13-E462-48F4-A8B6-FD41570E9DC6}"/>
                </a:ext>
              </a:extLst>
            </p:cNvPr>
            <p:cNvSpPr>
              <a:spLocks/>
            </p:cNvSpPr>
            <p:nvPr/>
          </p:nvSpPr>
          <p:spPr bwMode="gray">
            <a:xfrm>
              <a:off x="2349" y="641"/>
              <a:ext cx="619" cy="618"/>
            </a:xfrm>
            <a:custGeom>
              <a:avLst/>
              <a:gdLst/>
              <a:ahLst/>
              <a:cxnLst>
                <a:cxn ang="0">
                  <a:pos x="552" y="140"/>
                </a:cxn>
                <a:cxn ang="0">
                  <a:pos x="524" y="152"/>
                </a:cxn>
                <a:cxn ang="0">
                  <a:pos x="482" y="143"/>
                </a:cxn>
                <a:cxn ang="0">
                  <a:pos x="464" y="142"/>
                </a:cxn>
                <a:cxn ang="0">
                  <a:pos x="429" y="124"/>
                </a:cxn>
                <a:cxn ang="0">
                  <a:pos x="423" y="143"/>
                </a:cxn>
                <a:cxn ang="0">
                  <a:pos x="395" y="131"/>
                </a:cxn>
                <a:cxn ang="0">
                  <a:pos x="388" y="114"/>
                </a:cxn>
                <a:cxn ang="0">
                  <a:pos x="365" y="84"/>
                </a:cxn>
                <a:cxn ang="0">
                  <a:pos x="368" y="71"/>
                </a:cxn>
                <a:cxn ang="0">
                  <a:pos x="333" y="43"/>
                </a:cxn>
                <a:cxn ang="0">
                  <a:pos x="281" y="38"/>
                </a:cxn>
                <a:cxn ang="0">
                  <a:pos x="233" y="36"/>
                </a:cxn>
                <a:cxn ang="0">
                  <a:pos x="191" y="20"/>
                </a:cxn>
                <a:cxn ang="0">
                  <a:pos x="165" y="33"/>
                </a:cxn>
                <a:cxn ang="0">
                  <a:pos x="128" y="21"/>
                </a:cxn>
                <a:cxn ang="0">
                  <a:pos x="92" y="21"/>
                </a:cxn>
                <a:cxn ang="0">
                  <a:pos x="70" y="37"/>
                </a:cxn>
                <a:cxn ang="0">
                  <a:pos x="49" y="30"/>
                </a:cxn>
                <a:cxn ang="0">
                  <a:pos x="26" y="49"/>
                </a:cxn>
                <a:cxn ang="0">
                  <a:pos x="21" y="107"/>
                </a:cxn>
                <a:cxn ang="0">
                  <a:pos x="8" y="137"/>
                </a:cxn>
                <a:cxn ang="0">
                  <a:pos x="4" y="151"/>
                </a:cxn>
                <a:cxn ang="0">
                  <a:pos x="26" y="223"/>
                </a:cxn>
                <a:cxn ang="0">
                  <a:pos x="6" y="263"/>
                </a:cxn>
                <a:cxn ang="0">
                  <a:pos x="26" y="295"/>
                </a:cxn>
                <a:cxn ang="0">
                  <a:pos x="33" y="329"/>
                </a:cxn>
                <a:cxn ang="0">
                  <a:pos x="125" y="395"/>
                </a:cxn>
                <a:cxn ang="0">
                  <a:pos x="118" y="409"/>
                </a:cxn>
                <a:cxn ang="0">
                  <a:pos x="136" y="414"/>
                </a:cxn>
                <a:cxn ang="0">
                  <a:pos x="165" y="449"/>
                </a:cxn>
                <a:cxn ang="0">
                  <a:pos x="181" y="461"/>
                </a:cxn>
                <a:cxn ang="0">
                  <a:pos x="160" y="502"/>
                </a:cxn>
                <a:cxn ang="0">
                  <a:pos x="197" y="519"/>
                </a:cxn>
                <a:cxn ang="0">
                  <a:pos x="201" y="539"/>
                </a:cxn>
                <a:cxn ang="0">
                  <a:pos x="217" y="544"/>
                </a:cxn>
                <a:cxn ang="0">
                  <a:pos x="234" y="534"/>
                </a:cxn>
                <a:cxn ang="0">
                  <a:pos x="244" y="537"/>
                </a:cxn>
                <a:cxn ang="0">
                  <a:pos x="274" y="517"/>
                </a:cxn>
                <a:cxn ang="0">
                  <a:pos x="286" y="534"/>
                </a:cxn>
                <a:cxn ang="0">
                  <a:pos x="337" y="537"/>
                </a:cxn>
                <a:cxn ang="0">
                  <a:pos x="372" y="537"/>
                </a:cxn>
                <a:cxn ang="0">
                  <a:pos x="414" y="562"/>
                </a:cxn>
                <a:cxn ang="0">
                  <a:pos x="442" y="559"/>
                </a:cxn>
                <a:cxn ang="0">
                  <a:pos x="441" y="545"/>
                </a:cxn>
                <a:cxn ang="0">
                  <a:pos x="472" y="470"/>
                </a:cxn>
                <a:cxn ang="0">
                  <a:pos x="490" y="411"/>
                </a:cxn>
                <a:cxn ang="0">
                  <a:pos x="469" y="399"/>
                </a:cxn>
                <a:cxn ang="0">
                  <a:pos x="458" y="343"/>
                </a:cxn>
                <a:cxn ang="0">
                  <a:pos x="508" y="299"/>
                </a:cxn>
                <a:cxn ang="0">
                  <a:pos x="477" y="242"/>
                </a:cxn>
                <a:cxn ang="0">
                  <a:pos x="449" y="243"/>
                </a:cxn>
                <a:cxn ang="0">
                  <a:pos x="429" y="223"/>
                </a:cxn>
                <a:cxn ang="0">
                  <a:pos x="450" y="166"/>
                </a:cxn>
                <a:cxn ang="0">
                  <a:pos x="465" y="189"/>
                </a:cxn>
                <a:cxn ang="0">
                  <a:pos x="533" y="197"/>
                </a:cxn>
                <a:cxn ang="0">
                  <a:pos x="563" y="150"/>
                </a:cxn>
              </a:cxnLst>
              <a:rect l="0" t="0" r="r" b="b"/>
              <a:pathLst>
                <a:path w="574" h="573">
                  <a:moveTo>
                    <a:pt x="563" y="150"/>
                  </a:moveTo>
                  <a:cubicBezTo>
                    <a:pt x="569" y="145"/>
                    <a:pt x="561" y="142"/>
                    <a:pt x="552" y="140"/>
                  </a:cubicBezTo>
                  <a:cubicBezTo>
                    <a:pt x="542" y="130"/>
                    <a:pt x="536" y="147"/>
                    <a:pt x="536" y="147"/>
                  </a:cubicBezTo>
                  <a:cubicBezTo>
                    <a:pt x="524" y="152"/>
                    <a:pt x="524" y="152"/>
                    <a:pt x="524" y="152"/>
                  </a:cubicBezTo>
                  <a:cubicBezTo>
                    <a:pt x="489" y="154"/>
                    <a:pt x="489" y="154"/>
                    <a:pt x="489" y="154"/>
                  </a:cubicBezTo>
                  <a:cubicBezTo>
                    <a:pt x="482" y="143"/>
                    <a:pt x="482" y="143"/>
                    <a:pt x="482" y="143"/>
                  </a:cubicBezTo>
                  <a:cubicBezTo>
                    <a:pt x="471" y="154"/>
                    <a:pt x="471" y="154"/>
                    <a:pt x="471" y="154"/>
                  </a:cubicBezTo>
                  <a:cubicBezTo>
                    <a:pt x="464" y="142"/>
                    <a:pt x="464" y="142"/>
                    <a:pt x="464" y="142"/>
                  </a:cubicBezTo>
                  <a:cubicBezTo>
                    <a:pt x="464" y="122"/>
                    <a:pt x="438" y="126"/>
                    <a:pt x="438" y="126"/>
                  </a:cubicBezTo>
                  <a:cubicBezTo>
                    <a:pt x="429" y="124"/>
                    <a:pt x="429" y="124"/>
                    <a:pt x="429" y="124"/>
                  </a:cubicBezTo>
                  <a:cubicBezTo>
                    <a:pt x="431" y="135"/>
                    <a:pt x="431" y="135"/>
                    <a:pt x="431" y="135"/>
                  </a:cubicBezTo>
                  <a:cubicBezTo>
                    <a:pt x="423" y="143"/>
                    <a:pt x="423" y="143"/>
                    <a:pt x="423" y="143"/>
                  </a:cubicBezTo>
                  <a:cubicBezTo>
                    <a:pt x="419" y="140"/>
                    <a:pt x="419" y="140"/>
                    <a:pt x="419" y="140"/>
                  </a:cubicBezTo>
                  <a:cubicBezTo>
                    <a:pt x="397" y="145"/>
                    <a:pt x="395" y="131"/>
                    <a:pt x="395" y="131"/>
                  </a:cubicBezTo>
                  <a:cubicBezTo>
                    <a:pt x="403" y="125"/>
                    <a:pt x="397" y="121"/>
                    <a:pt x="397" y="121"/>
                  </a:cubicBezTo>
                  <a:cubicBezTo>
                    <a:pt x="392" y="126"/>
                    <a:pt x="388" y="114"/>
                    <a:pt x="388" y="114"/>
                  </a:cubicBezTo>
                  <a:cubicBezTo>
                    <a:pt x="389" y="107"/>
                    <a:pt x="377" y="99"/>
                    <a:pt x="370" y="96"/>
                  </a:cubicBezTo>
                  <a:cubicBezTo>
                    <a:pt x="370" y="88"/>
                    <a:pt x="365" y="84"/>
                    <a:pt x="365" y="84"/>
                  </a:cubicBezTo>
                  <a:cubicBezTo>
                    <a:pt x="371" y="79"/>
                    <a:pt x="371" y="79"/>
                    <a:pt x="371" y="79"/>
                  </a:cubicBezTo>
                  <a:cubicBezTo>
                    <a:pt x="368" y="71"/>
                    <a:pt x="368" y="71"/>
                    <a:pt x="368" y="71"/>
                  </a:cubicBezTo>
                  <a:cubicBezTo>
                    <a:pt x="361" y="71"/>
                    <a:pt x="358" y="59"/>
                    <a:pt x="358" y="59"/>
                  </a:cubicBezTo>
                  <a:cubicBezTo>
                    <a:pt x="333" y="43"/>
                    <a:pt x="333" y="43"/>
                    <a:pt x="333" y="43"/>
                  </a:cubicBezTo>
                  <a:cubicBezTo>
                    <a:pt x="317" y="61"/>
                    <a:pt x="297" y="38"/>
                    <a:pt x="297" y="38"/>
                  </a:cubicBezTo>
                  <a:cubicBezTo>
                    <a:pt x="297" y="38"/>
                    <a:pt x="297" y="38"/>
                    <a:pt x="281" y="38"/>
                  </a:cubicBezTo>
                  <a:cubicBezTo>
                    <a:pt x="272" y="54"/>
                    <a:pt x="245" y="52"/>
                    <a:pt x="243" y="48"/>
                  </a:cubicBezTo>
                  <a:cubicBezTo>
                    <a:pt x="241" y="44"/>
                    <a:pt x="233" y="36"/>
                    <a:pt x="233" y="36"/>
                  </a:cubicBezTo>
                  <a:cubicBezTo>
                    <a:pt x="233" y="36"/>
                    <a:pt x="223" y="33"/>
                    <a:pt x="212" y="31"/>
                  </a:cubicBezTo>
                  <a:cubicBezTo>
                    <a:pt x="206" y="20"/>
                    <a:pt x="191" y="20"/>
                    <a:pt x="191" y="20"/>
                  </a:cubicBezTo>
                  <a:cubicBezTo>
                    <a:pt x="175" y="19"/>
                    <a:pt x="175" y="19"/>
                    <a:pt x="175" y="19"/>
                  </a:cubicBezTo>
                  <a:cubicBezTo>
                    <a:pt x="165" y="33"/>
                    <a:pt x="165" y="33"/>
                    <a:pt x="165" y="33"/>
                  </a:cubicBezTo>
                  <a:cubicBezTo>
                    <a:pt x="165" y="33"/>
                    <a:pt x="162" y="29"/>
                    <a:pt x="145" y="30"/>
                  </a:cubicBezTo>
                  <a:cubicBezTo>
                    <a:pt x="126" y="45"/>
                    <a:pt x="129" y="24"/>
                    <a:pt x="128" y="21"/>
                  </a:cubicBezTo>
                  <a:cubicBezTo>
                    <a:pt x="128" y="5"/>
                    <a:pt x="111" y="1"/>
                    <a:pt x="104" y="0"/>
                  </a:cubicBezTo>
                  <a:cubicBezTo>
                    <a:pt x="92" y="21"/>
                    <a:pt x="92" y="21"/>
                    <a:pt x="92" y="21"/>
                  </a:cubicBezTo>
                  <a:cubicBezTo>
                    <a:pt x="78" y="22"/>
                    <a:pt x="78" y="22"/>
                    <a:pt x="78" y="22"/>
                  </a:cubicBezTo>
                  <a:cubicBezTo>
                    <a:pt x="70" y="37"/>
                    <a:pt x="70" y="37"/>
                    <a:pt x="70" y="37"/>
                  </a:cubicBezTo>
                  <a:cubicBezTo>
                    <a:pt x="58" y="30"/>
                    <a:pt x="58" y="30"/>
                    <a:pt x="58" y="30"/>
                  </a:cubicBezTo>
                  <a:cubicBezTo>
                    <a:pt x="49" y="30"/>
                    <a:pt x="49" y="30"/>
                    <a:pt x="49" y="30"/>
                  </a:cubicBezTo>
                  <a:cubicBezTo>
                    <a:pt x="32" y="25"/>
                    <a:pt x="32" y="25"/>
                    <a:pt x="32" y="25"/>
                  </a:cubicBezTo>
                  <a:cubicBezTo>
                    <a:pt x="32" y="25"/>
                    <a:pt x="30" y="51"/>
                    <a:pt x="26" y="49"/>
                  </a:cubicBezTo>
                  <a:cubicBezTo>
                    <a:pt x="38" y="63"/>
                    <a:pt x="38" y="78"/>
                    <a:pt x="38" y="78"/>
                  </a:cubicBezTo>
                  <a:cubicBezTo>
                    <a:pt x="38" y="78"/>
                    <a:pt x="25" y="102"/>
                    <a:pt x="21" y="107"/>
                  </a:cubicBezTo>
                  <a:cubicBezTo>
                    <a:pt x="17" y="113"/>
                    <a:pt x="25" y="125"/>
                    <a:pt x="25" y="125"/>
                  </a:cubicBezTo>
                  <a:cubicBezTo>
                    <a:pt x="8" y="137"/>
                    <a:pt x="8" y="137"/>
                    <a:pt x="8" y="137"/>
                  </a:cubicBezTo>
                  <a:cubicBezTo>
                    <a:pt x="14" y="143"/>
                    <a:pt x="14" y="143"/>
                    <a:pt x="14" y="143"/>
                  </a:cubicBezTo>
                  <a:cubicBezTo>
                    <a:pt x="4" y="151"/>
                    <a:pt x="4" y="151"/>
                    <a:pt x="4" y="151"/>
                  </a:cubicBezTo>
                  <a:cubicBezTo>
                    <a:pt x="4" y="151"/>
                    <a:pt x="20" y="197"/>
                    <a:pt x="17" y="201"/>
                  </a:cubicBezTo>
                  <a:cubicBezTo>
                    <a:pt x="28" y="195"/>
                    <a:pt x="25" y="214"/>
                    <a:pt x="26" y="223"/>
                  </a:cubicBezTo>
                  <a:cubicBezTo>
                    <a:pt x="28" y="233"/>
                    <a:pt x="4" y="242"/>
                    <a:pt x="4" y="242"/>
                  </a:cubicBezTo>
                  <a:cubicBezTo>
                    <a:pt x="6" y="263"/>
                    <a:pt x="6" y="263"/>
                    <a:pt x="6" y="263"/>
                  </a:cubicBezTo>
                  <a:cubicBezTo>
                    <a:pt x="0" y="277"/>
                    <a:pt x="0" y="277"/>
                    <a:pt x="0" y="277"/>
                  </a:cubicBezTo>
                  <a:cubicBezTo>
                    <a:pt x="26" y="295"/>
                    <a:pt x="26" y="295"/>
                    <a:pt x="26" y="295"/>
                  </a:cubicBezTo>
                  <a:cubicBezTo>
                    <a:pt x="25" y="335"/>
                    <a:pt x="25" y="335"/>
                    <a:pt x="25" y="335"/>
                  </a:cubicBezTo>
                  <a:cubicBezTo>
                    <a:pt x="33" y="329"/>
                    <a:pt x="33" y="329"/>
                    <a:pt x="33" y="329"/>
                  </a:cubicBezTo>
                  <a:cubicBezTo>
                    <a:pt x="33" y="329"/>
                    <a:pt x="68" y="356"/>
                    <a:pt x="67" y="359"/>
                  </a:cubicBezTo>
                  <a:cubicBezTo>
                    <a:pt x="84" y="359"/>
                    <a:pt x="125" y="395"/>
                    <a:pt x="125" y="395"/>
                  </a:cubicBezTo>
                  <a:cubicBezTo>
                    <a:pt x="113" y="401"/>
                    <a:pt x="113" y="401"/>
                    <a:pt x="113" y="401"/>
                  </a:cubicBezTo>
                  <a:cubicBezTo>
                    <a:pt x="118" y="409"/>
                    <a:pt x="118" y="409"/>
                    <a:pt x="118" y="409"/>
                  </a:cubicBezTo>
                  <a:cubicBezTo>
                    <a:pt x="118" y="409"/>
                    <a:pt x="120" y="412"/>
                    <a:pt x="120" y="415"/>
                  </a:cubicBezTo>
                  <a:cubicBezTo>
                    <a:pt x="126" y="411"/>
                    <a:pt x="136" y="414"/>
                    <a:pt x="136" y="414"/>
                  </a:cubicBezTo>
                  <a:cubicBezTo>
                    <a:pt x="149" y="437"/>
                    <a:pt x="149" y="437"/>
                    <a:pt x="149" y="437"/>
                  </a:cubicBezTo>
                  <a:cubicBezTo>
                    <a:pt x="165" y="426"/>
                    <a:pt x="165" y="449"/>
                    <a:pt x="165" y="449"/>
                  </a:cubicBezTo>
                  <a:cubicBezTo>
                    <a:pt x="174" y="450"/>
                    <a:pt x="174" y="450"/>
                    <a:pt x="174" y="450"/>
                  </a:cubicBezTo>
                  <a:cubicBezTo>
                    <a:pt x="181" y="461"/>
                    <a:pt x="181" y="461"/>
                    <a:pt x="181" y="461"/>
                  </a:cubicBezTo>
                  <a:cubicBezTo>
                    <a:pt x="170" y="466"/>
                    <a:pt x="170" y="490"/>
                    <a:pt x="170" y="490"/>
                  </a:cubicBezTo>
                  <a:cubicBezTo>
                    <a:pt x="160" y="502"/>
                    <a:pt x="160" y="502"/>
                    <a:pt x="160" y="502"/>
                  </a:cubicBezTo>
                  <a:cubicBezTo>
                    <a:pt x="177" y="506"/>
                    <a:pt x="177" y="506"/>
                    <a:pt x="177" y="506"/>
                  </a:cubicBezTo>
                  <a:cubicBezTo>
                    <a:pt x="197" y="519"/>
                    <a:pt x="197" y="519"/>
                    <a:pt x="197" y="519"/>
                  </a:cubicBezTo>
                  <a:cubicBezTo>
                    <a:pt x="198" y="537"/>
                    <a:pt x="198" y="537"/>
                    <a:pt x="198" y="537"/>
                  </a:cubicBezTo>
                  <a:cubicBezTo>
                    <a:pt x="201" y="539"/>
                    <a:pt x="201" y="539"/>
                    <a:pt x="201" y="539"/>
                  </a:cubicBezTo>
                  <a:cubicBezTo>
                    <a:pt x="214" y="547"/>
                    <a:pt x="214" y="547"/>
                    <a:pt x="214" y="547"/>
                  </a:cubicBezTo>
                  <a:cubicBezTo>
                    <a:pt x="217" y="544"/>
                    <a:pt x="217" y="544"/>
                    <a:pt x="217" y="544"/>
                  </a:cubicBezTo>
                  <a:cubicBezTo>
                    <a:pt x="224" y="533"/>
                    <a:pt x="224" y="533"/>
                    <a:pt x="224" y="533"/>
                  </a:cubicBezTo>
                  <a:cubicBezTo>
                    <a:pt x="234" y="534"/>
                    <a:pt x="234" y="534"/>
                    <a:pt x="234" y="534"/>
                  </a:cubicBezTo>
                  <a:cubicBezTo>
                    <a:pt x="230" y="543"/>
                    <a:pt x="230" y="543"/>
                    <a:pt x="230" y="543"/>
                  </a:cubicBezTo>
                  <a:cubicBezTo>
                    <a:pt x="244" y="537"/>
                    <a:pt x="244" y="537"/>
                    <a:pt x="244" y="537"/>
                  </a:cubicBezTo>
                  <a:cubicBezTo>
                    <a:pt x="249" y="523"/>
                    <a:pt x="249" y="523"/>
                    <a:pt x="249" y="523"/>
                  </a:cubicBezTo>
                  <a:cubicBezTo>
                    <a:pt x="274" y="517"/>
                    <a:pt x="274" y="517"/>
                    <a:pt x="274" y="517"/>
                  </a:cubicBezTo>
                  <a:cubicBezTo>
                    <a:pt x="273" y="533"/>
                    <a:pt x="273" y="533"/>
                    <a:pt x="273" y="533"/>
                  </a:cubicBezTo>
                  <a:cubicBezTo>
                    <a:pt x="286" y="534"/>
                    <a:pt x="286" y="534"/>
                    <a:pt x="286" y="534"/>
                  </a:cubicBezTo>
                  <a:cubicBezTo>
                    <a:pt x="285" y="543"/>
                    <a:pt x="285" y="543"/>
                    <a:pt x="285" y="543"/>
                  </a:cubicBezTo>
                  <a:cubicBezTo>
                    <a:pt x="285" y="543"/>
                    <a:pt x="333" y="526"/>
                    <a:pt x="337" y="537"/>
                  </a:cubicBezTo>
                  <a:cubicBezTo>
                    <a:pt x="341" y="547"/>
                    <a:pt x="346" y="554"/>
                    <a:pt x="346" y="554"/>
                  </a:cubicBezTo>
                  <a:cubicBezTo>
                    <a:pt x="372" y="537"/>
                    <a:pt x="372" y="537"/>
                    <a:pt x="372" y="537"/>
                  </a:cubicBezTo>
                  <a:cubicBezTo>
                    <a:pt x="381" y="549"/>
                    <a:pt x="381" y="549"/>
                    <a:pt x="381" y="549"/>
                  </a:cubicBezTo>
                  <a:cubicBezTo>
                    <a:pt x="414" y="562"/>
                    <a:pt x="414" y="562"/>
                    <a:pt x="414" y="562"/>
                  </a:cubicBezTo>
                  <a:cubicBezTo>
                    <a:pt x="414" y="562"/>
                    <a:pt x="422" y="573"/>
                    <a:pt x="428" y="570"/>
                  </a:cubicBezTo>
                  <a:cubicBezTo>
                    <a:pt x="433" y="567"/>
                    <a:pt x="442" y="559"/>
                    <a:pt x="442" y="559"/>
                  </a:cubicBezTo>
                  <a:cubicBezTo>
                    <a:pt x="437" y="550"/>
                    <a:pt x="437" y="550"/>
                    <a:pt x="437" y="550"/>
                  </a:cubicBezTo>
                  <a:cubicBezTo>
                    <a:pt x="441" y="545"/>
                    <a:pt x="441" y="545"/>
                    <a:pt x="441" y="545"/>
                  </a:cubicBezTo>
                  <a:cubicBezTo>
                    <a:pt x="442" y="514"/>
                    <a:pt x="442" y="514"/>
                    <a:pt x="442" y="514"/>
                  </a:cubicBezTo>
                  <a:cubicBezTo>
                    <a:pt x="442" y="514"/>
                    <a:pt x="460" y="511"/>
                    <a:pt x="472" y="470"/>
                  </a:cubicBezTo>
                  <a:cubicBezTo>
                    <a:pt x="476" y="470"/>
                    <a:pt x="469" y="466"/>
                    <a:pt x="469" y="466"/>
                  </a:cubicBezTo>
                  <a:cubicBezTo>
                    <a:pt x="490" y="411"/>
                    <a:pt x="490" y="411"/>
                    <a:pt x="490" y="411"/>
                  </a:cubicBezTo>
                  <a:cubicBezTo>
                    <a:pt x="489" y="402"/>
                    <a:pt x="489" y="402"/>
                    <a:pt x="489" y="402"/>
                  </a:cubicBezTo>
                  <a:cubicBezTo>
                    <a:pt x="489" y="402"/>
                    <a:pt x="469" y="411"/>
                    <a:pt x="469" y="399"/>
                  </a:cubicBezTo>
                  <a:cubicBezTo>
                    <a:pt x="469" y="387"/>
                    <a:pt x="472" y="349"/>
                    <a:pt x="472" y="349"/>
                  </a:cubicBezTo>
                  <a:cubicBezTo>
                    <a:pt x="458" y="343"/>
                    <a:pt x="458" y="343"/>
                    <a:pt x="458" y="343"/>
                  </a:cubicBezTo>
                  <a:cubicBezTo>
                    <a:pt x="480" y="338"/>
                    <a:pt x="480" y="338"/>
                    <a:pt x="480" y="338"/>
                  </a:cubicBezTo>
                  <a:cubicBezTo>
                    <a:pt x="480" y="338"/>
                    <a:pt x="505" y="337"/>
                    <a:pt x="508" y="299"/>
                  </a:cubicBezTo>
                  <a:cubicBezTo>
                    <a:pt x="506" y="304"/>
                    <a:pt x="487" y="294"/>
                    <a:pt x="505" y="262"/>
                  </a:cubicBezTo>
                  <a:cubicBezTo>
                    <a:pt x="502" y="260"/>
                    <a:pt x="483" y="244"/>
                    <a:pt x="477" y="242"/>
                  </a:cubicBezTo>
                  <a:cubicBezTo>
                    <a:pt x="470" y="239"/>
                    <a:pt x="457" y="258"/>
                    <a:pt x="457" y="258"/>
                  </a:cubicBezTo>
                  <a:cubicBezTo>
                    <a:pt x="449" y="243"/>
                    <a:pt x="449" y="243"/>
                    <a:pt x="449" y="243"/>
                  </a:cubicBezTo>
                  <a:cubicBezTo>
                    <a:pt x="457" y="233"/>
                    <a:pt x="457" y="233"/>
                    <a:pt x="457" y="233"/>
                  </a:cubicBezTo>
                  <a:cubicBezTo>
                    <a:pt x="429" y="223"/>
                    <a:pt x="429" y="223"/>
                    <a:pt x="429" y="223"/>
                  </a:cubicBezTo>
                  <a:cubicBezTo>
                    <a:pt x="429" y="223"/>
                    <a:pt x="434" y="203"/>
                    <a:pt x="444" y="205"/>
                  </a:cubicBezTo>
                  <a:cubicBezTo>
                    <a:pt x="450" y="166"/>
                    <a:pt x="450" y="166"/>
                    <a:pt x="450" y="166"/>
                  </a:cubicBezTo>
                  <a:cubicBezTo>
                    <a:pt x="456" y="167"/>
                    <a:pt x="456" y="167"/>
                    <a:pt x="456" y="167"/>
                  </a:cubicBezTo>
                  <a:cubicBezTo>
                    <a:pt x="465" y="189"/>
                    <a:pt x="465" y="189"/>
                    <a:pt x="465" y="189"/>
                  </a:cubicBezTo>
                  <a:cubicBezTo>
                    <a:pt x="493" y="193"/>
                    <a:pt x="493" y="193"/>
                    <a:pt x="493" y="193"/>
                  </a:cubicBezTo>
                  <a:cubicBezTo>
                    <a:pt x="493" y="193"/>
                    <a:pt x="498" y="217"/>
                    <a:pt x="533" y="197"/>
                  </a:cubicBezTo>
                  <a:cubicBezTo>
                    <a:pt x="533" y="197"/>
                    <a:pt x="553" y="229"/>
                    <a:pt x="574" y="164"/>
                  </a:cubicBezTo>
                  <a:lnTo>
                    <a:pt x="563" y="15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6" name="Alsace" descr="© INSCALE GmbH, 05.05.2010&#10;http://www.presentationload.com/">
              <a:extLst>
                <a:ext uri="{FF2B5EF4-FFF2-40B4-BE49-F238E27FC236}">
                  <a16:creationId xmlns:a16="http://schemas.microsoft.com/office/drawing/2014/main" id="{F0F39AF0-5E77-4803-A309-B0A4DD2EAFF8}"/>
                </a:ext>
              </a:extLst>
            </p:cNvPr>
            <p:cNvSpPr>
              <a:spLocks/>
            </p:cNvSpPr>
            <p:nvPr/>
          </p:nvSpPr>
          <p:spPr bwMode="gray">
            <a:xfrm>
              <a:off x="2808" y="818"/>
              <a:ext cx="317" cy="567"/>
            </a:xfrm>
            <a:custGeom>
              <a:avLst/>
              <a:gdLst/>
              <a:ahLst/>
              <a:cxnLst>
                <a:cxn ang="0">
                  <a:pos x="271" y="35"/>
                </a:cxn>
                <a:cxn ang="0">
                  <a:pos x="250" y="20"/>
                </a:cxn>
                <a:cxn ang="0">
                  <a:pos x="242" y="22"/>
                </a:cxn>
                <a:cxn ang="0">
                  <a:pos x="225" y="13"/>
                </a:cxn>
                <a:cxn ang="0">
                  <a:pos x="206" y="12"/>
                </a:cxn>
                <a:cxn ang="0">
                  <a:pos x="172" y="14"/>
                </a:cxn>
                <a:cxn ang="0">
                  <a:pos x="164" y="2"/>
                </a:cxn>
                <a:cxn ang="0">
                  <a:pos x="152" y="4"/>
                </a:cxn>
                <a:cxn ang="0">
                  <a:pos x="148" y="0"/>
                </a:cxn>
                <a:cxn ang="0">
                  <a:pos x="107" y="33"/>
                </a:cxn>
                <a:cxn ang="0">
                  <a:pos x="67" y="29"/>
                </a:cxn>
                <a:cxn ang="0">
                  <a:pos x="39" y="25"/>
                </a:cxn>
                <a:cxn ang="0">
                  <a:pos x="30" y="3"/>
                </a:cxn>
                <a:cxn ang="0">
                  <a:pos x="24" y="2"/>
                </a:cxn>
                <a:cxn ang="0">
                  <a:pos x="18" y="41"/>
                </a:cxn>
                <a:cxn ang="0">
                  <a:pos x="3" y="59"/>
                </a:cxn>
                <a:cxn ang="0">
                  <a:pos x="31" y="69"/>
                </a:cxn>
                <a:cxn ang="0">
                  <a:pos x="23" y="79"/>
                </a:cxn>
                <a:cxn ang="0">
                  <a:pos x="31" y="94"/>
                </a:cxn>
                <a:cxn ang="0">
                  <a:pos x="51" y="78"/>
                </a:cxn>
                <a:cxn ang="0">
                  <a:pos x="79" y="98"/>
                </a:cxn>
                <a:cxn ang="0">
                  <a:pos x="82" y="135"/>
                </a:cxn>
                <a:cxn ang="0">
                  <a:pos x="54" y="174"/>
                </a:cxn>
                <a:cxn ang="0">
                  <a:pos x="32" y="179"/>
                </a:cxn>
                <a:cxn ang="0">
                  <a:pos x="46" y="185"/>
                </a:cxn>
                <a:cxn ang="0">
                  <a:pos x="43" y="235"/>
                </a:cxn>
                <a:cxn ang="0">
                  <a:pos x="63" y="238"/>
                </a:cxn>
                <a:cxn ang="0">
                  <a:pos x="64" y="247"/>
                </a:cxn>
                <a:cxn ang="0">
                  <a:pos x="43" y="302"/>
                </a:cxn>
                <a:cxn ang="0">
                  <a:pos x="46" y="306"/>
                </a:cxn>
                <a:cxn ang="0">
                  <a:pos x="16" y="350"/>
                </a:cxn>
                <a:cxn ang="0">
                  <a:pos x="15" y="381"/>
                </a:cxn>
                <a:cxn ang="0">
                  <a:pos x="11" y="386"/>
                </a:cxn>
                <a:cxn ang="0">
                  <a:pos x="16" y="395"/>
                </a:cxn>
                <a:cxn ang="0">
                  <a:pos x="2" y="406"/>
                </a:cxn>
                <a:cxn ang="0">
                  <a:pos x="0" y="406"/>
                </a:cxn>
                <a:cxn ang="0">
                  <a:pos x="4" y="417"/>
                </a:cxn>
                <a:cxn ang="0">
                  <a:pos x="43" y="471"/>
                </a:cxn>
                <a:cxn ang="0">
                  <a:pos x="66" y="496"/>
                </a:cxn>
                <a:cxn ang="0">
                  <a:pos x="90" y="499"/>
                </a:cxn>
                <a:cxn ang="0">
                  <a:pos x="113" y="510"/>
                </a:cxn>
                <a:cxn ang="0">
                  <a:pos x="143" y="491"/>
                </a:cxn>
                <a:cxn ang="0">
                  <a:pos x="152" y="503"/>
                </a:cxn>
                <a:cxn ang="0">
                  <a:pos x="161" y="493"/>
                </a:cxn>
                <a:cxn ang="0">
                  <a:pos x="174" y="463"/>
                </a:cxn>
                <a:cxn ang="0">
                  <a:pos x="165" y="419"/>
                </a:cxn>
                <a:cxn ang="0">
                  <a:pos x="167" y="386"/>
                </a:cxn>
                <a:cxn ang="0">
                  <a:pos x="176" y="349"/>
                </a:cxn>
                <a:cxn ang="0">
                  <a:pos x="176" y="336"/>
                </a:cxn>
                <a:cxn ang="0">
                  <a:pos x="185" y="262"/>
                </a:cxn>
                <a:cxn ang="0">
                  <a:pos x="199" y="229"/>
                </a:cxn>
                <a:cxn ang="0">
                  <a:pos x="209" y="177"/>
                </a:cxn>
                <a:cxn ang="0">
                  <a:pos x="218" y="138"/>
                </a:cxn>
                <a:cxn ang="0">
                  <a:pos x="245" y="104"/>
                </a:cxn>
                <a:cxn ang="0">
                  <a:pos x="261" y="93"/>
                </a:cxn>
                <a:cxn ang="0">
                  <a:pos x="279" y="58"/>
                </a:cxn>
                <a:cxn ang="0">
                  <a:pos x="294" y="35"/>
                </a:cxn>
                <a:cxn ang="0">
                  <a:pos x="271" y="35"/>
                </a:cxn>
              </a:cxnLst>
              <a:rect l="0" t="0" r="r" b="b"/>
              <a:pathLst>
                <a:path w="294" h="526">
                  <a:moveTo>
                    <a:pt x="271" y="35"/>
                  </a:moveTo>
                  <a:cubicBezTo>
                    <a:pt x="250" y="20"/>
                    <a:pt x="250" y="20"/>
                    <a:pt x="250" y="20"/>
                  </a:cubicBezTo>
                  <a:cubicBezTo>
                    <a:pt x="242" y="22"/>
                    <a:pt x="242" y="22"/>
                    <a:pt x="242" y="22"/>
                  </a:cubicBezTo>
                  <a:cubicBezTo>
                    <a:pt x="233" y="7"/>
                    <a:pt x="232" y="15"/>
                    <a:pt x="225" y="13"/>
                  </a:cubicBezTo>
                  <a:cubicBezTo>
                    <a:pt x="215" y="25"/>
                    <a:pt x="206" y="12"/>
                    <a:pt x="206" y="12"/>
                  </a:cubicBezTo>
                  <a:cubicBezTo>
                    <a:pt x="172" y="14"/>
                    <a:pt x="172" y="14"/>
                    <a:pt x="172" y="14"/>
                  </a:cubicBezTo>
                  <a:cubicBezTo>
                    <a:pt x="164" y="2"/>
                    <a:pt x="164" y="2"/>
                    <a:pt x="164" y="2"/>
                  </a:cubicBezTo>
                  <a:cubicBezTo>
                    <a:pt x="152" y="4"/>
                    <a:pt x="152" y="4"/>
                    <a:pt x="152" y="4"/>
                  </a:cubicBezTo>
                  <a:cubicBezTo>
                    <a:pt x="148" y="0"/>
                    <a:pt x="148" y="0"/>
                    <a:pt x="148" y="0"/>
                  </a:cubicBezTo>
                  <a:cubicBezTo>
                    <a:pt x="127" y="65"/>
                    <a:pt x="107" y="33"/>
                    <a:pt x="107" y="33"/>
                  </a:cubicBezTo>
                  <a:cubicBezTo>
                    <a:pt x="72" y="53"/>
                    <a:pt x="67" y="29"/>
                    <a:pt x="67" y="29"/>
                  </a:cubicBezTo>
                  <a:cubicBezTo>
                    <a:pt x="39" y="25"/>
                    <a:pt x="39" y="25"/>
                    <a:pt x="39" y="25"/>
                  </a:cubicBezTo>
                  <a:cubicBezTo>
                    <a:pt x="30" y="3"/>
                    <a:pt x="30" y="3"/>
                    <a:pt x="30" y="3"/>
                  </a:cubicBezTo>
                  <a:cubicBezTo>
                    <a:pt x="24" y="2"/>
                    <a:pt x="24" y="2"/>
                    <a:pt x="24" y="2"/>
                  </a:cubicBezTo>
                  <a:cubicBezTo>
                    <a:pt x="18" y="41"/>
                    <a:pt x="18" y="41"/>
                    <a:pt x="18" y="41"/>
                  </a:cubicBezTo>
                  <a:cubicBezTo>
                    <a:pt x="8" y="39"/>
                    <a:pt x="3" y="59"/>
                    <a:pt x="3" y="59"/>
                  </a:cubicBezTo>
                  <a:cubicBezTo>
                    <a:pt x="31" y="69"/>
                    <a:pt x="31" y="69"/>
                    <a:pt x="31" y="69"/>
                  </a:cubicBezTo>
                  <a:cubicBezTo>
                    <a:pt x="23" y="79"/>
                    <a:pt x="23" y="79"/>
                    <a:pt x="23" y="79"/>
                  </a:cubicBezTo>
                  <a:cubicBezTo>
                    <a:pt x="31" y="94"/>
                    <a:pt x="31" y="94"/>
                    <a:pt x="31" y="94"/>
                  </a:cubicBezTo>
                  <a:cubicBezTo>
                    <a:pt x="31" y="94"/>
                    <a:pt x="44" y="75"/>
                    <a:pt x="51" y="78"/>
                  </a:cubicBezTo>
                  <a:cubicBezTo>
                    <a:pt x="57" y="80"/>
                    <a:pt x="76" y="96"/>
                    <a:pt x="79" y="98"/>
                  </a:cubicBezTo>
                  <a:cubicBezTo>
                    <a:pt x="61" y="130"/>
                    <a:pt x="80" y="140"/>
                    <a:pt x="82" y="135"/>
                  </a:cubicBezTo>
                  <a:cubicBezTo>
                    <a:pt x="79" y="173"/>
                    <a:pt x="54" y="174"/>
                    <a:pt x="54" y="174"/>
                  </a:cubicBezTo>
                  <a:cubicBezTo>
                    <a:pt x="32" y="179"/>
                    <a:pt x="32" y="179"/>
                    <a:pt x="32" y="179"/>
                  </a:cubicBezTo>
                  <a:cubicBezTo>
                    <a:pt x="46" y="185"/>
                    <a:pt x="46" y="185"/>
                    <a:pt x="46" y="185"/>
                  </a:cubicBezTo>
                  <a:cubicBezTo>
                    <a:pt x="46" y="185"/>
                    <a:pt x="43" y="223"/>
                    <a:pt x="43" y="235"/>
                  </a:cubicBezTo>
                  <a:cubicBezTo>
                    <a:pt x="43" y="247"/>
                    <a:pt x="63" y="238"/>
                    <a:pt x="63" y="238"/>
                  </a:cubicBezTo>
                  <a:cubicBezTo>
                    <a:pt x="64" y="247"/>
                    <a:pt x="64" y="247"/>
                    <a:pt x="64" y="247"/>
                  </a:cubicBezTo>
                  <a:cubicBezTo>
                    <a:pt x="43" y="302"/>
                    <a:pt x="43" y="302"/>
                    <a:pt x="43" y="302"/>
                  </a:cubicBezTo>
                  <a:cubicBezTo>
                    <a:pt x="43" y="302"/>
                    <a:pt x="50" y="306"/>
                    <a:pt x="46" y="306"/>
                  </a:cubicBezTo>
                  <a:cubicBezTo>
                    <a:pt x="34" y="347"/>
                    <a:pt x="16" y="350"/>
                    <a:pt x="16" y="350"/>
                  </a:cubicBezTo>
                  <a:cubicBezTo>
                    <a:pt x="15" y="381"/>
                    <a:pt x="15" y="381"/>
                    <a:pt x="15" y="381"/>
                  </a:cubicBezTo>
                  <a:cubicBezTo>
                    <a:pt x="11" y="386"/>
                    <a:pt x="11" y="386"/>
                    <a:pt x="11" y="386"/>
                  </a:cubicBezTo>
                  <a:cubicBezTo>
                    <a:pt x="16" y="395"/>
                    <a:pt x="16" y="395"/>
                    <a:pt x="16" y="395"/>
                  </a:cubicBezTo>
                  <a:cubicBezTo>
                    <a:pt x="16" y="395"/>
                    <a:pt x="7" y="403"/>
                    <a:pt x="2" y="406"/>
                  </a:cubicBezTo>
                  <a:cubicBezTo>
                    <a:pt x="1" y="406"/>
                    <a:pt x="1" y="406"/>
                    <a:pt x="0" y="406"/>
                  </a:cubicBezTo>
                  <a:cubicBezTo>
                    <a:pt x="4" y="417"/>
                    <a:pt x="4" y="417"/>
                    <a:pt x="4" y="417"/>
                  </a:cubicBezTo>
                  <a:cubicBezTo>
                    <a:pt x="4" y="417"/>
                    <a:pt x="52" y="414"/>
                    <a:pt x="43" y="471"/>
                  </a:cubicBezTo>
                  <a:cubicBezTo>
                    <a:pt x="45" y="477"/>
                    <a:pt x="61" y="476"/>
                    <a:pt x="66" y="496"/>
                  </a:cubicBezTo>
                  <a:cubicBezTo>
                    <a:pt x="76" y="498"/>
                    <a:pt x="87" y="500"/>
                    <a:pt x="90" y="499"/>
                  </a:cubicBezTo>
                  <a:cubicBezTo>
                    <a:pt x="92" y="526"/>
                    <a:pt x="116" y="512"/>
                    <a:pt x="113" y="510"/>
                  </a:cubicBezTo>
                  <a:cubicBezTo>
                    <a:pt x="153" y="521"/>
                    <a:pt x="143" y="491"/>
                    <a:pt x="143" y="491"/>
                  </a:cubicBezTo>
                  <a:cubicBezTo>
                    <a:pt x="152" y="503"/>
                    <a:pt x="152" y="503"/>
                    <a:pt x="152" y="503"/>
                  </a:cubicBezTo>
                  <a:cubicBezTo>
                    <a:pt x="152" y="503"/>
                    <a:pt x="152" y="503"/>
                    <a:pt x="161" y="493"/>
                  </a:cubicBezTo>
                  <a:cubicBezTo>
                    <a:pt x="158" y="468"/>
                    <a:pt x="174" y="468"/>
                    <a:pt x="174" y="463"/>
                  </a:cubicBezTo>
                  <a:cubicBezTo>
                    <a:pt x="154" y="435"/>
                    <a:pt x="165" y="419"/>
                    <a:pt x="165" y="419"/>
                  </a:cubicBezTo>
                  <a:cubicBezTo>
                    <a:pt x="165" y="419"/>
                    <a:pt x="159" y="406"/>
                    <a:pt x="167" y="386"/>
                  </a:cubicBezTo>
                  <a:cubicBezTo>
                    <a:pt x="166" y="363"/>
                    <a:pt x="176" y="349"/>
                    <a:pt x="176" y="349"/>
                  </a:cubicBezTo>
                  <a:cubicBezTo>
                    <a:pt x="176" y="336"/>
                    <a:pt x="176" y="336"/>
                    <a:pt x="176" y="336"/>
                  </a:cubicBezTo>
                  <a:cubicBezTo>
                    <a:pt x="144" y="322"/>
                    <a:pt x="179" y="281"/>
                    <a:pt x="185" y="262"/>
                  </a:cubicBezTo>
                  <a:cubicBezTo>
                    <a:pt x="180" y="238"/>
                    <a:pt x="199" y="232"/>
                    <a:pt x="199" y="229"/>
                  </a:cubicBezTo>
                  <a:cubicBezTo>
                    <a:pt x="191" y="200"/>
                    <a:pt x="207" y="183"/>
                    <a:pt x="209" y="177"/>
                  </a:cubicBezTo>
                  <a:cubicBezTo>
                    <a:pt x="200" y="156"/>
                    <a:pt x="215" y="141"/>
                    <a:pt x="218" y="138"/>
                  </a:cubicBezTo>
                  <a:cubicBezTo>
                    <a:pt x="247" y="113"/>
                    <a:pt x="245" y="104"/>
                    <a:pt x="245" y="104"/>
                  </a:cubicBezTo>
                  <a:cubicBezTo>
                    <a:pt x="251" y="104"/>
                    <a:pt x="261" y="93"/>
                    <a:pt x="261" y="93"/>
                  </a:cubicBezTo>
                  <a:cubicBezTo>
                    <a:pt x="270" y="94"/>
                    <a:pt x="279" y="58"/>
                    <a:pt x="279" y="58"/>
                  </a:cubicBezTo>
                  <a:cubicBezTo>
                    <a:pt x="294" y="35"/>
                    <a:pt x="294" y="35"/>
                    <a:pt x="294" y="35"/>
                  </a:cubicBezTo>
                  <a:lnTo>
                    <a:pt x="271" y="3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7" name="Franche-Comté" descr="© INSCALE GmbH, 05.05.2010&#10;http://www.presentationload.com/">
              <a:extLst>
                <a:ext uri="{FF2B5EF4-FFF2-40B4-BE49-F238E27FC236}">
                  <a16:creationId xmlns:a16="http://schemas.microsoft.com/office/drawing/2014/main" id="{1F490D34-6D95-4776-8198-C2E5920D6864}"/>
                </a:ext>
              </a:extLst>
            </p:cNvPr>
            <p:cNvSpPr>
              <a:spLocks/>
            </p:cNvSpPr>
            <p:nvPr/>
          </p:nvSpPr>
          <p:spPr bwMode="gray">
            <a:xfrm>
              <a:off x="2452" y="1199"/>
              <a:ext cx="435" cy="623"/>
            </a:xfrm>
            <a:custGeom>
              <a:avLst/>
              <a:gdLst/>
              <a:ahLst/>
              <a:cxnLst>
                <a:cxn ang="0">
                  <a:pos x="40" y="136"/>
                </a:cxn>
                <a:cxn ang="0">
                  <a:pos x="17" y="186"/>
                </a:cxn>
                <a:cxn ang="0">
                  <a:pos x="30" y="212"/>
                </a:cxn>
                <a:cxn ang="0">
                  <a:pos x="46" y="228"/>
                </a:cxn>
                <a:cxn ang="0">
                  <a:pos x="13" y="312"/>
                </a:cxn>
                <a:cxn ang="0">
                  <a:pos x="12" y="326"/>
                </a:cxn>
                <a:cxn ang="0">
                  <a:pos x="14" y="353"/>
                </a:cxn>
                <a:cxn ang="0">
                  <a:pos x="46" y="380"/>
                </a:cxn>
                <a:cxn ang="0">
                  <a:pos x="25" y="402"/>
                </a:cxn>
                <a:cxn ang="0">
                  <a:pos x="36" y="418"/>
                </a:cxn>
                <a:cxn ang="0">
                  <a:pos x="37" y="465"/>
                </a:cxn>
                <a:cxn ang="0">
                  <a:pos x="40" y="498"/>
                </a:cxn>
                <a:cxn ang="0">
                  <a:pos x="18" y="524"/>
                </a:cxn>
                <a:cxn ang="0">
                  <a:pos x="32" y="542"/>
                </a:cxn>
                <a:cxn ang="0">
                  <a:pos x="53" y="566"/>
                </a:cxn>
                <a:cxn ang="0">
                  <a:pos x="109" y="548"/>
                </a:cxn>
                <a:cxn ang="0">
                  <a:pos x="145" y="562"/>
                </a:cxn>
                <a:cxn ang="0">
                  <a:pos x="200" y="497"/>
                </a:cxn>
                <a:cxn ang="0">
                  <a:pos x="201" y="425"/>
                </a:cxn>
                <a:cxn ang="0">
                  <a:pos x="257" y="358"/>
                </a:cxn>
                <a:cxn ang="0">
                  <a:pos x="272" y="305"/>
                </a:cxn>
                <a:cxn ang="0">
                  <a:pos x="312" y="288"/>
                </a:cxn>
                <a:cxn ang="0">
                  <a:pos x="370" y="218"/>
                </a:cxn>
                <a:cxn ang="0">
                  <a:pos x="373" y="202"/>
                </a:cxn>
                <a:cxn ang="0">
                  <a:pos x="386" y="180"/>
                </a:cxn>
                <a:cxn ang="0">
                  <a:pos x="364" y="161"/>
                </a:cxn>
                <a:cxn ang="0">
                  <a:pos x="378" y="139"/>
                </a:cxn>
                <a:cxn ang="0">
                  <a:pos x="373" y="118"/>
                </a:cxn>
                <a:cxn ang="0">
                  <a:pos x="330" y="53"/>
                </a:cxn>
                <a:cxn ang="0">
                  <a:pos x="285" y="32"/>
                </a:cxn>
                <a:cxn ang="0">
                  <a:pos x="250" y="37"/>
                </a:cxn>
                <a:cxn ang="0">
                  <a:pos x="189" y="26"/>
                </a:cxn>
                <a:cxn ang="0">
                  <a:pos x="177" y="16"/>
                </a:cxn>
                <a:cxn ang="0">
                  <a:pos x="153" y="6"/>
                </a:cxn>
                <a:cxn ang="0">
                  <a:pos x="134" y="26"/>
                </a:cxn>
                <a:cxn ang="0">
                  <a:pos x="128" y="16"/>
                </a:cxn>
                <a:cxn ang="0">
                  <a:pos x="124" y="36"/>
                </a:cxn>
                <a:cxn ang="0">
                  <a:pos x="113" y="56"/>
                </a:cxn>
                <a:cxn ang="0">
                  <a:pos x="93" y="69"/>
                </a:cxn>
                <a:cxn ang="0">
                  <a:pos x="80" y="78"/>
                </a:cxn>
                <a:cxn ang="0">
                  <a:pos x="88" y="109"/>
                </a:cxn>
                <a:cxn ang="0">
                  <a:pos x="57" y="106"/>
                </a:cxn>
                <a:cxn ang="0">
                  <a:pos x="26" y="112"/>
                </a:cxn>
                <a:cxn ang="0">
                  <a:pos x="24" y="140"/>
                </a:cxn>
              </a:cxnLst>
              <a:rect l="0" t="0" r="r" b="b"/>
              <a:pathLst>
                <a:path w="403" h="577">
                  <a:moveTo>
                    <a:pt x="32" y="132"/>
                  </a:moveTo>
                  <a:cubicBezTo>
                    <a:pt x="40" y="136"/>
                    <a:pt x="40" y="136"/>
                    <a:pt x="40" y="136"/>
                  </a:cubicBezTo>
                  <a:cubicBezTo>
                    <a:pt x="40" y="136"/>
                    <a:pt x="45" y="176"/>
                    <a:pt x="29" y="176"/>
                  </a:cubicBezTo>
                  <a:cubicBezTo>
                    <a:pt x="13" y="176"/>
                    <a:pt x="25" y="186"/>
                    <a:pt x="17" y="186"/>
                  </a:cubicBezTo>
                  <a:cubicBezTo>
                    <a:pt x="9" y="186"/>
                    <a:pt x="30" y="190"/>
                    <a:pt x="30" y="190"/>
                  </a:cubicBezTo>
                  <a:cubicBezTo>
                    <a:pt x="30" y="212"/>
                    <a:pt x="30" y="212"/>
                    <a:pt x="30" y="212"/>
                  </a:cubicBezTo>
                  <a:cubicBezTo>
                    <a:pt x="49" y="208"/>
                    <a:pt x="49" y="208"/>
                    <a:pt x="49" y="208"/>
                  </a:cubicBezTo>
                  <a:cubicBezTo>
                    <a:pt x="46" y="228"/>
                    <a:pt x="46" y="228"/>
                    <a:pt x="46" y="228"/>
                  </a:cubicBezTo>
                  <a:cubicBezTo>
                    <a:pt x="54" y="236"/>
                    <a:pt x="54" y="236"/>
                    <a:pt x="54" y="236"/>
                  </a:cubicBezTo>
                  <a:cubicBezTo>
                    <a:pt x="54" y="236"/>
                    <a:pt x="34" y="301"/>
                    <a:pt x="13" y="312"/>
                  </a:cubicBezTo>
                  <a:cubicBezTo>
                    <a:pt x="10" y="316"/>
                    <a:pt x="5" y="325"/>
                    <a:pt x="5" y="325"/>
                  </a:cubicBezTo>
                  <a:cubicBezTo>
                    <a:pt x="12" y="326"/>
                    <a:pt x="12" y="326"/>
                    <a:pt x="12" y="326"/>
                  </a:cubicBezTo>
                  <a:cubicBezTo>
                    <a:pt x="12" y="326"/>
                    <a:pt x="0" y="340"/>
                    <a:pt x="0" y="352"/>
                  </a:cubicBezTo>
                  <a:cubicBezTo>
                    <a:pt x="14" y="353"/>
                    <a:pt x="14" y="353"/>
                    <a:pt x="14" y="353"/>
                  </a:cubicBezTo>
                  <a:cubicBezTo>
                    <a:pt x="18" y="364"/>
                    <a:pt x="18" y="364"/>
                    <a:pt x="18" y="364"/>
                  </a:cubicBezTo>
                  <a:cubicBezTo>
                    <a:pt x="18" y="364"/>
                    <a:pt x="30" y="368"/>
                    <a:pt x="46" y="380"/>
                  </a:cubicBezTo>
                  <a:cubicBezTo>
                    <a:pt x="13" y="392"/>
                    <a:pt x="13" y="392"/>
                    <a:pt x="13" y="392"/>
                  </a:cubicBezTo>
                  <a:cubicBezTo>
                    <a:pt x="25" y="402"/>
                    <a:pt x="25" y="402"/>
                    <a:pt x="25" y="402"/>
                  </a:cubicBezTo>
                  <a:cubicBezTo>
                    <a:pt x="25" y="422"/>
                    <a:pt x="25" y="422"/>
                    <a:pt x="25" y="422"/>
                  </a:cubicBezTo>
                  <a:cubicBezTo>
                    <a:pt x="36" y="418"/>
                    <a:pt x="36" y="418"/>
                    <a:pt x="36" y="418"/>
                  </a:cubicBezTo>
                  <a:cubicBezTo>
                    <a:pt x="36" y="418"/>
                    <a:pt x="28" y="436"/>
                    <a:pt x="45" y="445"/>
                  </a:cubicBezTo>
                  <a:cubicBezTo>
                    <a:pt x="40" y="445"/>
                    <a:pt x="37" y="465"/>
                    <a:pt x="37" y="465"/>
                  </a:cubicBezTo>
                  <a:cubicBezTo>
                    <a:pt x="37" y="465"/>
                    <a:pt x="16" y="484"/>
                    <a:pt x="41" y="490"/>
                  </a:cubicBezTo>
                  <a:cubicBezTo>
                    <a:pt x="44" y="492"/>
                    <a:pt x="40" y="498"/>
                    <a:pt x="40" y="498"/>
                  </a:cubicBezTo>
                  <a:cubicBezTo>
                    <a:pt x="21" y="504"/>
                    <a:pt x="21" y="504"/>
                    <a:pt x="21" y="504"/>
                  </a:cubicBezTo>
                  <a:cubicBezTo>
                    <a:pt x="18" y="524"/>
                    <a:pt x="18" y="524"/>
                    <a:pt x="18" y="524"/>
                  </a:cubicBezTo>
                  <a:cubicBezTo>
                    <a:pt x="32" y="529"/>
                    <a:pt x="32" y="529"/>
                    <a:pt x="32" y="529"/>
                  </a:cubicBezTo>
                  <a:cubicBezTo>
                    <a:pt x="32" y="542"/>
                    <a:pt x="32" y="542"/>
                    <a:pt x="32" y="542"/>
                  </a:cubicBezTo>
                  <a:cubicBezTo>
                    <a:pt x="56" y="553"/>
                    <a:pt x="56" y="553"/>
                    <a:pt x="56" y="553"/>
                  </a:cubicBezTo>
                  <a:cubicBezTo>
                    <a:pt x="53" y="566"/>
                    <a:pt x="53" y="566"/>
                    <a:pt x="53" y="566"/>
                  </a:cubicBezTo>
                  <a:cubicBezTo>
                    <a:pt x="53" y="566"/>
                    <a:pt x="76" y="577"/>
                    <a:pt x="93" y="538"/>
                  </a:cubicBezTo>
                  <a:cubicBezTo>
                    <a:pt x="89" y="545"/>
                    <a:pt x="109" y="548"/>
                    <a:pt x="109" y="548"/>
                  </a:cubicBezTo>
                  <a:cubicBezTo>
                    <a:pt x="113" y="564"/>
                    <a:pt x="113" y="564"/>
                    <a:pt x="113" y="564"/>
                  </a:cubicBezTo>
                  <a:cubicBezTo>
                    <a:pt x="145" y="562"/>
                    <a:pt x="145" y="562"/>
                    <a:pt x="145" y="562"/>
                  </a:cubicBezTo>
                  <a:cubicBezTo>
                    <a:pt x="202" y="503"/>
                    <a:pt x="202" y="503"/>
                    <a:pt x="202" y="503"/>
                  </a:cubicBezTo>
                  <a:cubicBezTo>
                    <a:pt x="201" y="500"/>
                    <a:pt x="200" y="497"/>
                    <a:pt x="200" y="497"/>
                  </a:cubicBezTo>
                  <a:cubicBezTo>
                    <a:pt x="166" y="487"/>
                    <a:pt x="201" y="445"/>
                    <a:pt x="201" y="445"/>
                  </a:cubicBezTo>
                  <a:cubicBezTo>
                    <a:pt x="188" y="434"/>
                    <a:pt x="201" y="425"/>
                    <a:pt x="201" y="425"/>
                  </a:cubicBezTo>
                  <a:cubicBezTo>
                    <a:pt x="201" y="425"/>
                    <a:pt x="253" y="379"/>
                    <a:pt x="253" y="376"/>
                  </a:cubicBezTo>
                  <a:cubicBezTo>
                    <a:pt x="261" y="375"/>
                    <a:pt x="271" y="367"/>
                    <a:pt x="257" y="358"/>
                  </a:cubicBezTo>
                  <a:cubicBezTo>
                    <a:pt x="276" y="339"/>
                    <a:pt x="259" y="323"/>
                    <a:pt x="259" y="323"/>
                  </a:cubicBezTo>
                  <a:cubicBezTo>
                    <a:pt x="272" y="305"/>
                    <a:pt x="272" y="305"/>
                    <a:pt x="272" y="305"/>
                  </a:cubicBezTo>
                  <a:cubicBezTo>
                    <a:pt x="302" y="298"/>
                    <a:pt x="302" y="298"/>
                    <a:pt x="302" y="298"/>
                  </a:cubicBezTo>
                  <a:cubicBezTo>
                    <a:pt x="312" y="288"/>
                    <a:pt x="312" y="288"/>
                    <a:pt x="312" y="288"/>
                  </a:cubicBezTo>
                  <a:cubicBezTo>
                    <a:pt x="315" y="277"/>
                    <a:pt x="315" y="277"/>
                    <a:pt x="315" y="277"/>
                  </a:cubicBezTo>
                  <a:cubicBezTo>
                    <a:pt x="315" y="277"/>
                    <a:pt x="368" y="222"/>
                    <a:pt x="370" y="218"/>
                  </a:cubicBezTo>
                  <a:cubicBezTo>
                    <a:pt x="365" y="210"/>
                    <a:pt x="376" y="203"/>
                    <a:pt x="375" y="202"/>
                  </a:cubicBezTo>
                  <a:cubicBezTo>
                    <a:pt x="374" y="202"/>
                    <a:pt x="374" y="202"/>
                    <a:pt x="373" y="202"/>
                  </a:cubicBezTo>
                  <a:cubicBezTo>
                    <a:pt x="374" y="202"/>
                    <a:pt x="374" y="202"/>
                    <a:pt x="375" y="202"/>
                  </a:cubicBezTo>
                  <a:cubicBezTo>
                    <a:pt x="403" y="203"/>
                    <a:pt x="386" y="180"/>
                    <a:pt x="386" y="180"/>
                  </a:cubicBezTo>
                  <a:cubicBezTo>
                    <a:pt x="354" y="184"/>
                    <a:pt x="354" y="184"/>
                    <a:pt x="354" y="184"/>
                  </a:cubicBezTo>
                  <a:cubicBezTo>
                    <a:pt x="364" y="161"/>
                    <a:pt x="364" y="161"/>
                    <a:pt x="364" y="161"/>
                  </a:cubicBezTo>
                  <a:cubicBezTo>
                    <a:pt x="380" y="152"/>
                    <a:pt x="380" y="152"/>
                    <a:pt x="380" y="152"/>
                  </a:cubicBezTo>
                  <a:cubicBezTo>
                    <a:pt x="378" y="139"/>
                    <a:pt x="378" y="139"/>
                    <a:pt x="378" y="139"/>
                  </a:cubicBezTo>
                  <a:cubicBezTo>
                    <a:pt x="378" y="139"/>
                    <a:pt x="387" y="141"/>
                    <a:pt x="396" y="143"/>
                  </a:cubicBezTo>
                  <a:cubicBezTo>
                    <a:pt x="391" y="123"/>
                    <a:pt x="375" y="124"/>
                    <a:pt x="373" y="118"/>
                  </a:cubicBezTo>
                  <a:cubicBezTo>
                    <a:pt x="382" y="61"/>
                    <a:pt x="334" y="64"/>
                    <a:pt x="334" y="64"/>
                  </a:cubicBezTo>
                  <a:cubicBezTo>
                    <a:pt x="330" y="53"/>
                    <a:pt x="330" y="53"/>
                    <a:pt x="330" y="53"/>
                  </a:cubicBezTo>
                  <a:cubicBezTo>
                    <a:pt x="325" y="54"/>
                    <a:pt x="318" y="45"/>
                    <a:pt x="318" y="45"/>
                  </a:cubicBezTo>
                  <a:cubicBezTo>
                    <a:pt x="285" y="32"/>
                    <a:pt x="285" y="32"/>
                    <a:pt x="285" y="32"/>
                  </a:cubicBezTo>
                  <a:cubicBezTo>
                    <a:pt x="276" y="20"/>
                    <a:pt x="276" y="20"/>
                    <a:pt x="276" y="20"/>
                  </a:cubicBezTo>
                  <a:cubicBezTo>
                    <a:pt x="250" y="37"/>
                    <a:pt x="250" y="37"/>
                    <a:pt x="250" y="37"/>
                  </a:cubicBezTo>
                  <a:cubicBezTo>
                    <a:pt x="250" y="37"/>
                    <a:pt x="245" y="30"/>
                    <a:pt x="241" y="20"/>
                  </a:cubicBezTo>
                  <a:cubicBezTo>
                    <a:pt x="237" y="9"/>
                    <a:pt x="189" y="26"/>
                    <a:pt x="189" y="26"/>
                  </a:cubicBezTo>
                  <a:cubicBezTo>
                    <a:pt x="190" y="17"/>
                    <a:pt x="190" y="17"/>
                    <a:pt x="190" y="17"/>
                  </a:cubicBezTo>
                  <a:cubicBezTo>
                    <a:pt x="177" y="16"/>
                    <a:pt x="177" y="16"/>
                    <a:pt x="177" y="16"/>
                  </a:cubicBezTo>
                  <a:cubicBezTo>
                    <a:pt x="178" y="0"/>
                    <a:pt x="178" y="0"/>
                    <a:pt x="178" y="0"/>
                  </a:cubicBezTo>
                  <a:cubicBezTo>
                    <a:pt x="153" y="6"/>
                    <a:pt x="153" y="6"/>
                    <a:pt x="153" y="6"/>
                  </a:cubicBezTo>
                  <a:cubicBezTo>
                    <a:pt x="148" y="20"/>
                    <a:pt x="148" y="20"/>
                    <a:pt x="148" y="20"/>
                  </a:cubicBezTo>
                  <a:cubicBezTo>
                    <a:pt x="134" y="26"/>
                    <a:pt x="134" y="26"/>
                    <a:pt x="134" y="26"/>
                  </a:cubicBezTo>
                  <a:cubicBezTo>
                    <a:pt x="138" y="17"/>
                    <a:pt x="138" y="17"/>
                    <a:pt x="138" y="17"/>
                  </a:cubicBezTo>
                  <a:cubicBezTo>
                    <a:pt x="128" y="16"/>
                    <a:pt x="128" y="16"/>
                    <a:pt x="128" y="16"/>
                  </a:cubicBezTo>
                  <a:cubicBezTo>
                    <a:pt x="121" y="27"/>
                    <a:pt x="121" y="27"/>
                    <a:pt x="121" y="27"/>
                  </a:cubicBezTo>
                  <a:cubicBezTo>
                    <a:pt x="124" y="36"/>
                    <a:pt x="124" y="36"/>
                    <a:pt x="124" y="36"/>
                  </a:cubicBezTo>
                  <a:cubicBezTo>
                    <a:pt x="116" y="41"/>
                    <a:pt x="116" y="41"/>
                    <a:pt x="116" y="41"/>
                  </a:cubicBezTo>
                  <a:cubicBezTo>
                    <a:pt x="113" y="56"/>
                    <a:pt x="113" y="56"/>
                    <a:pt x="113" y="56"/>
                  </a:cubicBezTo>
                  <a:cubicBezTo>
                    <a:pt x="100" y="54"/>
                    <a:pt x="100" y="54"/>
                    <a:pt x="100" y="54"/>
                  </a:cubicBezTo>
                  <a:cubicBezTo>
                    <a:pt x="93" y="69"/>
                    <a:pt x="93" y="69"/>
                    <a:pt x="93" y="69"/>
                  </a:cubicBezTo>
                  <a:cubicBezTo>
                    <a:pt x="85" y="68"/>
                    <a:pt x="85" y="68"/>
                    <a:pt x="85" y="68"/>
                  </a:cubicBezTo>
                  <a:cubicBezTo>
                    <a:pt x="80" y="78"/>
                    <a:pt x="80" y="78"/>
                    <a:pt x="80" y="78"/>
                  </a:cubicBezTo>
                  <a:cubicBezTo>
                    <a:pt x="90" y="78"/>
                    <a:pt x="90" y="78"/>
                    <a:pt x="90" y="78"/>
                  </a:cubicBezTo>
                  <a:cubicBezTo>
                    <a:pt x="88" y="109"/>
                    <a:pt x="88" y="109"/>
                    <a:pt x="88" y="109"/>
                  </a:cubicBezTo>
                  <a:cubicBezTo>
                    <a:pt x="69" y="114"/>
                    <a:pt x="69" y="114"/>
                    <a:pt x="69" y="114"/>
                  </a:cubicBezTo>
                  <a:cubicBezTo>
                    <a:pt x="57" y="106"/>
                    <a:pt x="57" y="106"/>
                    <a:pt x="57" y="106"/>
                  </a:cubicBezTo>
                  <a:cubicBezTo>
                    <a:pt x="56" y="113"/>
                    <a:pt x="56" y="113"/>
                    <a:pt x="56" y="113"/>
                  </a:cubicBezTo>
                  <a:cubicBezTo>
                    <a:pt x="26" y="112"/>
                    <a:pt x="26" y="112"/>
                    <a:pt x="26" y="112"/>
                  </a:cubicBezTo>
                  <a:cubicBezTo>
                    <a:pt x="26" y="112"/>
                    <a:pt x="24" y="129"/>
                    <a:pt x="21" y="136"/>
                  </a:cubicBezTo>
                  <a:cubicBezTo>
                    <a:pt x="24" y="140"/>
                    <a:pt x="24" y="140"/>
                    <a:pt x="24" y="140"/>
                  </a:cubicBezTo>
                  <a:lnTo>
                    <a:pt x="32" y="13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8" name="Bourgogne" descr="© INSCALE GmbH, 05.05.2010&#10;http://www.presentationload.com/">
              <a:extLst>
                <a:ext uri="{FF2B5EF4-FFF2-40B4-BE49-F238E27FC236}">
                  <a16:creationId xmlns:a16="http://schemas.microsoft.com/office/drawing/2014/main" id="{67CEE325-8000-4C18-B665-933A28B6F9A2}"/>
                </a:ext>
              </a:extLst>
            </p:cNvPr>
            <p:cNvSpPr>
              <a:spLocks/>
            </p:cNvSpPr>
            <p:nvPr/>
          </p:nvSpPr>
          <p:spPr bwMode="gray">
            <a:xfrm>
              <a:off x="1885" y="1086"/>
              <a:ext cx="625" cy="772"/>
            </a:xfrm>
            <a:custGeom>
              <a:avLst/>
              <a:gdLst/>
              <a:ahLst/>
              <a:cxnLst>
                <a:cxn ang="0">
                  <a:pos x="43" y="156"/>
                </a:cxn>
                <a:cxn ang="0">
                  <a:pos x="36" y="170"/>
                </a:cxn>
                <a:cxn ang="0">
                  <a:pos x="0" y="220"/>
                </a:cxn>
                <a:cxn ang="0">
                  <a:pos x="19" y="253"/>
                </a:cxn>
                <a:cxn ang="0">
                  <a:pos x="20" y="309"/>
                </a:cxn>
                <a:cxn ang="0">
                  <a:pos x="40" y="429"/>
                </a:cxn>
                <a:cxn ang="0">
                  <a:pos x="43" y="512"/>
                </a:cxn>
                <a:cxn ang="0">
                  <a:pos x="111" y="545"/>
                </a:cxn>
                <a:cxn ang="0">
                  <a:pos x="138" y="558"/>
                </a:cxn>
                <a:cxn ang="0">
                  <a:pos x="164" y="521"/>
                </a:cxn>
                <a:cxn ang="0">
                  <a:pos x="219" y="597"/>
                </a:cxn>
                <a:cxn ang="0">
                  <a:pos x="255" y="658"/>
                </a:cxn>
                <a:cxn ang="0">
                  <a:pos x="235" y="669"/>
                </a:cxn>
                <a:cxn ang="0">
                  <a:pos x="256" y="710"/>
                </a:cxn>
                <a:cxn ang="0">
                  <a:pos x="304" y="703"/>
                </a:cxn>
                <a:cxn ang="0">
                  <a:pos x="319" y="714"/>
                </a:cxn>
                <a:cxn ang="0">
                  <a:pos x="346" y="666"/>
                </a:cxn>
                <a:cxn ang="0">
                  <a:pos x="382" y="666"/>
                </a:cxn>
                <a:cxn ang="0">
                  <a:pos x="411" y="678"/>
                </a:cxn>
                <a:cxn ang="0">
                  <a:pos x="431" y="704"/>
                </a:cxn>
                <a:cxn ang="0">
                  <a:pos x="520" y="594"/>
                </a:cxn>
                <a:cxn ang="0">
                  <a:pos x="547" y="608"/>
                </a:cxn>
                <a:cxn ang="0">
                  <a:pos x="563" y="569"/>
                </a:cxn>
                <a:cxn ang="0">
                  <a:pos x="551" y="526"/>
                </a:cxn>
                <a:cxn ang="0">
                  <a:pos x="572" y="484"/>
                </a:cxn>
                <a:cxn ang="0">
                  <a:pos x="526" y="456"/>
                </a:cxn>
                <a:cxn ang="0">
                  <a:pos x="539" y="416"/>
                </a:cxn>
                <a:cxn ang="0">
                  <a:pos x="575" y="312"/>
                </a:cxn>
                <a:cxn ang="0">
                  <a:pos x="543" y="290"/>
                </a:cxn>
                <a:cxn ang="0">
                  <a:pos x="558" y="236"/>
                </a:cxn>
                <a:cxn ang="0">
                  <a:pos x="544" y="244"/>
                </a:cxn>
                <a:cxn ang="0">
                  <a:pos x="518" y="240"/>
                </a:cxn>
                <a:cxn ang="0">
                  <a:pos x="488" y="226"/>
                </a:cxn>
                <a:cxn ang="0">
                  <a:pos x="455" y="194"/>
                </a:cxn>
                <a:cxn ang="0">
                  <a:pos x="456" y="173"/>
                </a:cxn>
                <a:cxn ang="0">
                  <a:pos x="426" y="146"/>
                </a:cxn>
                <a:cxn ang="0">
                  <a:pos x="414" y="133"/>
                </a:cxn>
                <a:cxn ang="0">
                  <a:pos x="311" y="136"/>
                </a:cxn>
                <a:cxn ang="0">
                  <a:pos x="296" y="132"/>
                </a:cxn>
                <a:cxn ang="0">
                  <a:pos x="283" y="137"/>
                </a:cxn>
                <a:cxn ang="0">
                  <a:pos x="256" y="146"/>
                </a:cxn>
                <a:cxn ang="0">
                  <a:pos x="208" y="109"/>
                </a:cxn>
                <a:cxn ang="0">
                  <a:pos x="182" y="69"/>
                </a:cxn>
                <a:cxn ang="0">
                  <a:pos x="167" y="66"/>
                </a:cxn>
                <a:cxn ang="0">
                  <a:pos x="155" y="33"/>
                </a:cxn>
                <a:cxn ang="0">
                  <a:pos x="118" y="0"/>
                </a:cxn>
                <a:cxn ang="0">
                  <a:pos x="36" y="28"/>
                </a:cxn>
                <a:cxn ang="0">
                  <a:pos x="39" y="84"/>
                </a:cxn>
              </a:cxnLst>
              <a:rect l="0" t="0" r="r" b="b"/>
              <a:pathLst>
                <a:path w="580" h="715">
                  <a:moveTo>
                    <a:pt x="58" y="114"/>
                  </a:moveTo>
                  <a:cubicBezTo>
                    <a:pt x="59" y="133"/>
                    <a:pt x="59" y="133"/>
                    <a:pt x="59" y="133"/>
                  </a:cubicBezTo>
                  <a:cubicBezTo>
                    <a:pt x="43" y="156"/>
                    <a:pt x="43" y="156"/>
                    <a:pt x="43" y="156"/>
                  </a:cubicBezTo>
                  <a:cubicBezTo>
                    <a:pt x="34" y="157"/>
                    <a:pt x="34" y="157"/>
                    <a:pt x="34" y="157"/>
                  </a:cubicBezTo>
                  <a:cubicBezTo>
                    <a:pt x="31" y="170"/>
                    <a:pt x="31" y="170"/>
                    <a:pt x="31" y="170"/>
                  </a:cubicBezTo>
                  <a:cubicBezTo>
                    <a:pt x="36" y="170"/>
                    <a:pt x="36" y="170"/>
                    <a:pt x="36" y="170"/>
                  </a:cubicBezTo>
                  <a:cubicBezTo>
                    <a:pt x="36" y="194"/>
                    <a:pt x="36" y="194"/>
                    <a:pt x="36" y="194"/>
                  </a:cubicBezTo>
                  <a:cubicBezTo>
                    <a:pt x="2" y="204"/>
                    <a:pt x="2" y="204"/>
                    <a:pt x="2" y="204"/>
                  </a:cubicBezTo>
                  <a:cubicBezTo>
                    <a:pt x="0" y="220"/>
                    <a:pt x="0" y="220"/>
                    <a:pt x="0" y="220"/>
                  </a:cubicBezTo>
                  <a:cubicBezTo>
                    <a:pt x="10" y="218"/>
                    <a:pt x="10" y="218"/>
                    <a:pt x="10" y="218"/>
                  </a:cubicBezTo>
                  <a:cubicBezTo>
                    <a:pt x="23" y="240"/>
                    <a:pt x="23" y="240"/>
                    <a:pt x="23" y="240"/>
                  </a:cubicBezTo>
                  <a:cubicBezTo>
                    <a:pt x="19" y="253"/>
                    <a:pt x="19" y="253"/>
                    <a:pt x="19" y="253"/>
                  </a:cubicBezTo>
                  <a:cubicBezTo>
                    <a:pt x="27" y="265"/>
                    <a:pt x="27" y="265"/>
                    <a:pt x="27" y="265"/>
                  </a:cubicBezTo>
                  <a:cubicBezTo>
                    <a:pt x="4" y="270"/>
                    <a:pt x="4" y="270"/>
                    <a:pt x="4" y="270"/>
                  </a:cubicBezTo>
                  <a:cubicBezTo>
                    <a:pt x="20" y="309"/>
                    <a:pt x="20" y="309"/>
                    <a:pt x="20" y="309"/>
                  </a:cubicBezTo>
                  <a:cubicBezTo>
                    <a:pt x="6" y="344"/>
                    <a:pt x="6" y="344"/>
                    <a:pt x="6" y="344"/>
                  </a:cubicBezTo>
                  <a:cubicBezTo>
                    <a:pt x="31" y="365"/>
                    <a:pt x="31" y="365"/>
                    <a:pt x="31" y="365"/>
                  </a:cubicBezTo>
                  <a:cubicBezTo>
                    <a:pt x="31" y="365"/>
                    <a:pt x="40" y="385"/>
                    <a:pt x="40" y="429"/>
                  </a:cubicBezTo>
                  <a:cubicBezTo>
                    <a:pt x="50" y="437"/>
                    <a:pt x="50" y="437"/>
                    <a:pt x="50" y="437"/>
                  </a:cubicBezTo>
                  <a:cubicBezTo>
                    <a:pt x="50" y="437"/>
                    <a:pt x="51" y="469"/>
                    <a:pt x="46" y="474"/>
                  </a:cubicBezTo>
                  <a:cubicBezTo>
                    <a:pt x="40" y="480"/>
                    <a:pt x="56" y="497"/>
                    <a:pt x="43" y="512"/>
                  </a:cubicBezTo>
                  <a:cubicBezTo>
                    <a:pt x="47" y="514"/>
                    <a:pt x="67" y="546"/>
                    <a:pt x="76" y="548"/>
                  </a:cubicBezTo>
                  <a:cubicBezTo>
                    <a:pt x="86" y="549"/>
                    <a:pt x="91" y="538"/>
                    <a:pt x="95" y="538"/>
                  </a:cubicBezTo>
                  <a:cubicBezTo>
                    <a:pt x="99" y="538"/>
                    <a:pt x="107" y="545"/>
                    <a:pt x="111" y="545"/>
                  </a:cubicBezTo>
                  <a:cubicBezTo>
                    <a:pt x="115" y="545"/>
                    <a:pt x="126" y="537"/>
                    <a:pt x="126" y="537"/>
                  </a:cubicBezTo>
                  <a:cubicBezTo>
                    <a:pt x="138" y="544"/>
                    <a:pt x="138" y="544"/>
                    <a:pt x="138" y="544"/>
                  </a:cubicBezTo>
                  <a:cubicBezTo>
                    <a:pt x="138" y="558"/>
                    <a:pt x="138" y="558"/>
                    <a:pt x="138" y="558"/>
                  </a:cubicBezTo>
                  <a:cubicBezTo>
                    <a:pt x="150" y="544"/>
                    <a:pt x="150" y="544"/>
                    <a:pt x="150" y="544"/>
                  </a:cubicBezTo>
                  <a:cubicBezTo>
                    <a:pt x="159" y="545"/>
                    <a:pt x="159" y="545"/>
                    <a:pt x="159" y="545"/>
                  </a:cubicBezTo>
                  <a:cubicBezTo>
                    <a:pt x="159" y="545"/>
                    <a:pt x="160" y="517"/>
                    <a:pt x="164" y="521"/>
                  </a:cubicBezTo>
                  <a:cubicBezTo>
                    <a:pt x="168" y="525"/>
                    <a:pt x="198" y="576"/>
                    <a:pt x="198" y="576"/>
                  </a:cubicBezTo>
                  <a:cubicBezTo>
                    <a:pt x="202" y="594"/>
                    <a:pt x="202" y="594"/>
                    <a:pt x="202" y="594"/>
                  </a:cubicBezTo>
                  <a:cubicBezTo>
                    <a:pt x="219" y="597"/>
                    <a:pt x="219" y="597"/>
                    <a:pt x="219" y="597"/>
                  </a:cubicBezTo>
                  <a:cubicBezTo>
                    <a:pt x="230" y="610"/>
                    <a:pt x="230" y="610"/>
                    <a:pt x="230" y="610"/>
                  </a:cubicBezTo>
                  <a:cubicBezTo>
                    <a:pt x="230" y="610"/>
                    <a:pt x="258" y="600"/>
                    <a:pt x="256" y="614"/>
                  </a:cubicBezTo>
                  <a:cubicBezTo>
                    <a:pt x="255" y="629"/>
                    <a:pt x="255" y="658"/>
                    <a:pt x="255" y="658"/>
                  </a:cubicBezTo>
                  <a:cubicBezTo>
                    <a:pt x="248" y="658"/>
                    <a:pt x="248" y="658"/>
                    <a:pt x="248" y="658"/>
                  </a:cubicBezTo>
                  <a:cubicBezTo>
                    <a:pt x="243" y="672"/>
                    <a:pt x="243" y="672"/>
                    <a:pt x="243" y="672"/>
                  </a:cubicBezTo>
                  <a:cubicBezTo>
                    <a:pt x="235" y="669"/>
                    <a:pt x="235" y="669"/>
                    <a:pt x="235" y="669"/>
                  </a:cubicBezTo>
                  <a:cubicBezTo>
                    <a:pt x="236" y="697"/>
                    <a:pt x="236" y="697"/>
                    <a:pt x="236" y="697"/>
                  </a:cubicBezTo>
                  <a:cubicBezTo>
                    <a:pt x="250" y="697"/>
                    <a:pt x="250" y="697"/>
                    <a:pt x="250" y="697"/>
                  </a:cubicBezTo>
                  <a:cubicBezTo>
                    <a:pt x="256" y="710"/>
                    <a:pt x="256" y="710"/>
                    <a:pt x="256" y="710"/>
                  </a:cubicBezTo>
                  <a:cubicBezTo>
                    <a:pt x="280" y="704"/>
                    <a:pt x="280" y="704"/>
                    <a:pt x="280" y="704"/>
                  </a:cubicBezTo>
                  <a:cubicBezTo>
                    <a:pt x="280" y="704"/>
                    <a:pt x="280" y="705"/>
                    <a:pt x="295" y="706"/>
                  </a:cubicBezTo>
                  <a:cubicBezTo>
                    <a:pt x="305" y="707"/>
                    <a:pt x="305" y="705"/>
                    <a:pt x="304" y="703"/>
                  </a:cubicBezTo>
                  <a:cubicBezTo>
                    <a:pt x="303" y="702"/>
                    <a:pt x="303" y="701"/>
                    <a:pt x="303" y="701"/>
                  </a:cubicBezTo>
                  <a:cubicBezTo>
                    <a:pt x="303" y="701"/>
                    <a:pt x="304" y="702"/>
                    <a:pt x="304" y="703"/>
                  </a:cubicBezTo>
                  <a:cubicBezTo>
                    <a:pt x="307" y="707"/>
                    <a:pt x="314" y="715"/>
                    <a:pt x="319" y="714"/>
                  </a:cubicBezTo>
                  <a:cubicBezTo>
                    <a:pt x="326" y="713"/>
                    <a:pt x="320" y="706"/>
                    <a:pt x="326" y="706"/>
                  </a:cubicBezTo>
                  <a:cubicBezTo>
                    <a:pt x="331" y="706"/>
                    <a:pt x="342" y="705"/>
                    <a:pt x="342" y="705"/>
                  </a:cubicBezTo>
                  <a:cubicBezTo>
                    <a:pt x="346" y="666"/>
                    <a:pt x="346" y="666"/>
                    <a:pt x="346" y="666"/>
                  </a:cubicBezTo>
                  <a:cubicBezTo>
                    <a:pt x="358" y="665"/>
                    <a:pt x="358" y="665"/>
                    <a:pt x="358" y="665"/>
                  </a:cubicBezTo>
                  <a:cubicBezTo>
                    <a:pt x="367" y="678"/>
                    <a:pt x="367" y="678"/>
                    <a:pt x="367" y="678"/>
                  </a:cubicBezTo>
                  <a:cubicBezTo>
                    <a:pt x="382" y="666"/>
                    <a:pt x="382" y="666"/>
                    <a:pt x="382" y="666"/>
                  </a:cubicBezTo>
                  <a:cubicBezTo>
                    <a:pt x="382" y="666"/>
                    <a:pt x="382" y="676"/>
                    <a:pt x="387" y="676"/>
                  </a:cubicBezTo>
                  <a:cubicBezTo>
                    <a:pt x="392" y="676"/>
                    <a:pt x="391" y="660"/>
                    <a:pt x="402" y="664"/>
                  </a:cubicBezTo>
                  <a:cubicBezTo>
                    <a:pt x="412" y="668"/>
                    <a:pt x="411" y="678"/>
                    <a:pt x="411" y="678"/>
                  </a:cubicBezTo>
                  <a:cubicBezTo>
                    <a:pt x="419" y="686"/>
                    <a:pt x="419" y="686"/>
                    <a:pt x="419" y="686"/>
                  </a:cubicBezTo>
                  <a:cubicBezTo>
                    <a:pt x="420" y="702"/>
                    <a:pt x="420" y="702"/>
                    <a:pt x="420" y="702"/>
                  </a:cubicBezTo>
                  <a:cubicBezTo>
                    <a:pt x="431" y="704"/>
                    <a:pt x="431" y="704"/>
                    <a:pt x="431" y="704"/>
                  </a:cubicBezTo>
                  <a:cubicBezTo>
                    <a:pt x="459" y="596"/>
                    <a:pt x="459" y="596"/>
                    <a:pt x="459" y="596"/>
                  </a:cubicBezTo>
                  <a:cubicBezTo>
                    <a:pt x="459" y="596"/>
                    <a:pt x="476" y="602"/>
                    <a:pt x="490" y="602"/>
                  </a:cubicBezTo>
                  <a:cubicBezTo>
                    <a:pt x="503" y="602"/>
                    <a:pt x="518" y="589"/>
                    <a:pt x="520" y="594"/>
                  </a:cubicBezTo>
                  <a:cubicBezTo>
                    <a:pt x="523" y="600"/>
                    <a:pt x="524" y="612"/>
                    <a:pt x="528" y="612"/>
                  </a:cubicBezTo>
                  <a:cubicBezTo>
                    <a:pt x="530" y="612"/>
                    <a:pt x="538" y="613"/>
                    <a:pt x="546" y="614"/>
                  </a:cubicBezTo>
                  <a:cubicBezTo>
                    <a:pt x="547" y="608"/>
                    <a:pt x="547" y="608"/>
                    <a:pt x="547" y="608"/>
                  </a:cubicBezTo>
                  <a:cubicBezTo>
                    <a:pt x="566" y="602"/>
                    <a:pt x="566" y="602"/>
                    <a:pt x="566" y="602"/>
                  </a:cubicBezTo>
                  <a:cubicBezTo>
                    <a:pt x="566" y="602"/>
                    <a:pt x="570" y="596"/>
                    <a:pt x="567" y="594"/>
                  </a:cubicBezTo>
                  <a:cubicBezTo>
                    <a:pt x="542" y="588"/>
                    <a:pt x="563" y="569"/>
                    <a:pt x="563" y="569"/>
                  </a:cubicBezTo>
                  <a:cubicBezTo>
                    <a:pt x="563" y="569"/>
                    <a:pt x="566" y="549"/>
                    <a:pt x="571" y="549"/>
                  </a:cubicBezTo>
                  <a:cubicBezTo>
                    <a:pt x="554" y="540"/>
                    <a:pt x="562" y="522"/>
                    <a:pt x="562" y="522"/>
                  </a:cubicBezTo>
                  <a:cubicBezTo>
                    <a:pt x="551" y="526"/>
                    <a:pt x="551" y="526"/>
                    <a:pt x="551" y="526"/>
                  </a:cubicBezTo>
                  <a:cubicBezTo>
                    <a:pt x="551" y="506"/>
                    <a:pt x="551" y="506"/>
                    <a:pt x="551" y="506"/>
                  </a:cubicBezTo>
                  <a:cubicBezTo>
                    <a:pt x="539" y="496"/>
                    <a:pt x="539" y="496"/>
                    <a:pt x="539" y="496"/>
                  </a:cubicBezTo>
                  <a:cubicBezTo>
                    <a:pt x="572" y="484"/>
                    <a:pt x="572" y="484"/>
                    <a:pt x="572" y="484"/>
                  </a:cubicBezTo>
                  <a:cubicBezTo>
                    <a:pt x="556" y="472"/>
                    <a:pt x="544" y="468"/>
                    <a:pt x="544" y="468"/>
                  </a:cubicBezTo>
                  <a:cubicBezTo>
                    <a:pt x="540" y="457"/>
                    <a:pt x="540" y="457"/>
                    <a:pt x="540" y="457"/>
                  </a:cubicBezTo>
                  <a:cubicBezTo>
                    <a:pt x="526" y="456"/>
                    <a:pt x="526" y="456"/>
                    <a:pt x="526" y="456"/>
                  </a:cubicBezTo>
                  <a:cubicBezTo>
                    <a:pt x="526" y="444"/>
                    <a:pt x="538" y="430"/>
                    <a:pt x="538" y="430"/>
                  </a:cubicBezTo>
                  <a:cubicBezTo>
                    <a:pt x="531" y="429"/>
                    <a:pt x="531" y="429"/>
                    <a:pt x="531" y="429"/>
                  </a:cubicBezTo>
                  <a:cubicBezTo>
                    <a:pt x="531" y="429"/>
                    <a:pt x="536" y="420"/>
                    <a:pt x="539" y="416"/>
                  </a:cubicBezTo>
                  <a:cubicBezTo>
                    <a:pt x="560" y="405"/>
                    <a:pt x="580" y="340"/>
                    <a:pt x="580" y="340"/>
                  </a:cubicBezTo>
                  <a:cubicBezTo>
                    <a:pt x="572" y="332"/>
                    <a:pt x="572" y="332"/>
                    <a:pt x="572" y="332"/>
                  </a:cubicBezTo>
                  <a:cubicBezTo>
                    <a:pt x="575" y="312"/>
                    <a:pt x="575" y="312"/>
                    <a:pt x="575" y="312"/>
                  </a:cubicBezTo>
                  <a:cubicBezTo>
                    <a:pt x="556" y="316"/>
                    <a:pt x="556" y="316"/>
                    <a:pt x="556" y="316"/>
                  </a:cubicBezTo>
                  <a:cubicBezTo>
                    <a:pt x="556" y="294"/>
                    <a:pt x="556" y="294"/>
                    <a:pt x="556" y="294"/>
                  </a:cubicBezTo>
                  <a:cubicBezTo>
                    <a:pt x="556" y="294"/>
                    <a:pt x="535" y="290"/>
                    <a:pt x="543" y="290"/>
                  </a:cubicBezTo>
                  <a:cubicBezTo>
                    <a:pt x="551" y="290"/>
                    <a:pt x="539" y="280"/>
                    <a:pt x="555" y="280"/>
                  </a:cubicBezTo>
                  <a:cubicBezTo>
                    <a:pt x="571" y="280"/>
                    <a:pt x="566" y="240"/>
                    <a:pt x="566" y="240"/>
                  </a:cubicBezTo>
                  <a:cubicBezTo>
                    <a:pt x="558" y="236"/>
                    <a:pt x="558" y="236"/>
                    <a:pt x="558" y="236"/>
                  </a:cubicBezTo>
                  <a:cubicBezTo>
                    <a:pt x="550" y="244"/>
                    <a:pt x="550" y="244"/>
                    <a:pt x="550" y="244"/>
                  </a:cubicBezTo>
                  <a:cubicBezTo>
                    <a:pt x="547" y="240"/>
                    <a:pt x="547" y="240"/>
                    <a:pt x="547" y="240"/>
                  </a:cubicBezTo>
                  <a:cubicBezTo>
                    <a:pt x="546" y="242"/>
                    <a:pt x="545" y="244"/>
                    <a:pt x="544" y="244"/>
                  </a:cubicBezTo>
                  <a:cubicBezTo>
                    <a:pt x="540" y="244"/>
                    <a:pt x="535" y="241"/>
                    <a:pt x="535" y="241"/>
                  </a:cubicBezTo>
                  <a:cubicBezTo>
                    <a:pt x="518" y="253"/>
                    <a:pt x="518" y="253"/>
                    <a:pt x="518" y="253"/>
                  </a:cubicBezTo>
                  <a:cubicBezTo>
                    <a:pt x="518" y="240"/>
                    <a:pt x="518" y="240"/>
                    <a:pt x="518" y="240"/>
                  </a:cubicBezTo>
                  <a:cubicBezTo>
                    <a:pt x="502" y="232"/>
                    <a:pt x="502" y="232"/>
                    <a:pt x="502" y="232"/>
                  </a:cubicBezTo>
                  <a:cubicBezTo>
                    <a:pt x="502" y="222"/>
                    <a:pt x="502" y="222"/>
                    <a:pt x="502" y="222"/>
                  </a:cubicBezTo>
                  <a:cubicBezTo>
                    <a:pt x="502" y="222"/>
                    <a:pt x="498" y="226"/>
                    <a:pt x="488" y="226"/>
                  </a:cubicBezTo>
                  <a:cubicBezTo>
                    <a:pt x="479" y="226"/>
                    <a:pt x="467" y="212"/>
                    <a:pt x="467" y="212"/>
                  </a:cubicBezTo>
                  <a:cubicBezTo>
                    <a:pt x="455" y="217"/>
                    <a:pt x="455" y="217"/>
                    <a:pt x="455" y="217"/>
                  </a:cubicBezTo>
                  <a:cubicBezTo>
                    <a:pt x="455" y="194"/>
                    <a:pt x="455" y="194"/>
                    <a:pt x="455" y="194"/>
                  </a:cubicBezTo>
                  <a:cubicBezTo>
                    <a:pt x="446" y="192"/>
                    <a:pt x="446" y="192"/>
                    <a:pt x="446" y="192"/>
                  </a:cubicBezTo>
                  <a:cubicBezTo>
                    <a:pt x="446" y="191"/>
                    <a:pt x="446" y="191"/>
                    <a:pt x="446" y="191"/>
                  </a:cubicBezTo>
                  <a:cubicBezTo>
                    <a:pt x="456" y="173"/>
                    <a:pt x="456" y="173"/>
                    <a:pt x="456" y="173"/>
                  </a:cubicBezTo>
                  <a:cubicBezTo>
                    <a:pt x="450" y="165"/>
                    <a:pt x="439" y="144"/>
                    <a:pt x="439" y="144"/>
                  </a:cubicBezTo>
                  <a:cubicBezTo>
                    <a:pt x="432" y="150"/>
                    <a:pt x="432" y="150"/>
                    <a:pt x="432" y="150"/>
                  </a:cubicBezTo>
                  <a:cubicBezTo>
                    <a:pt x="426" y="146"/>
                    <a:pt x="426" y="146"/>
                    <a:pt x="426" y="146"/>
                  </a:cubicBezTo>
                  <a:cubicBezTo>
                    <a:pt x="432" y="138"/>
                    <a:pt x="432" y="138"/>
                    <a:pt x="432" y="138"/>
                  </a:cubicBezTo>
                  <a:cubicBezTo>
                    <a:pt x="427" y="133"/>
                    <a:pt x="427" y="133"/>
                    <a:pt x="427" y="133"/>
                  </a:cubicBezTo>
                  <a:cubicBezTo>
                    <a:pt x="414" y="133"/>
                    <a:pt x="414" y="133"/>
                    <a:pt x="414" y="133"/>
                  </a:cubicBezTo>
                  <a:cubicBezTo>
                    <a:pt x="414" y="133"/>
                    <a:pt x="414" y="133"/>
                    <a:pt x="415" y="116"/>
                  </a:cubicBezTo>
                  <a:cubicBezTo>
                    <a:pt x="334" y="100"/>
                    <a:pt x="366" y="134"/>
                    <a:pt x="366" y="134"/>
                  </a:cubicBezTo>
                  <a:cubicBezTo>
                    <a:pt x="311" y="136"/>
                    <a:pt x="311" y="136"/>
                    <a:pt x="311" y="136"/>
                  </a:cubicBezTo>
                  <a:cubicBezTo>
                    <a:pt x="311" y="148"/>
                    <a:pt x="311" y="148"/>
                    <a:pt x="311" y="148"/>
                  </a:cubicBezTo>
                  <a:cubicBezTo>
                    <a:pt x="302" y="145"/>
                    <a:pt x="302" y="145"/>
                    <a:pt x="302" y="145"/>
                  </a:cubicBezTo>
                  <a:cubicBezTo>
                    <a:pt x="296" y="132"/>
                    <a:pt x="296" y="132"/>
                    <a:pt x="296" y="132"/>
                  </a:cubicBezTo>
                  <a:cubicBezTo>
                    <a:pt x="287" y="132"/>
                    <a:pt x="287" y="132"/>
                    <a:pt x="287" y="132"/>
                  </a:cubicBezTo>
                  <a:cubicBezTo>
                    <a:pt x="290" y="141"/>
                    <a:pt x="290" y="141"/>
                    <a:pt x="290" y="141"/>
                  </a:cubicBezTo>
                  <a:cubicBezTo>
                    <a:pt x="283" y="137"/>
                    <a:pt x="283" y="137"/>
                    <a:pt x="283" y="137"/>
                  </a:cubicBezTo>
                  <a:cubicBezTo>
                    <a:pt x="270" y="148"/>
                    <a:pt x="270" y="148"/>
                    <a:pt x="270" y="148"/>
                  </a:cubicBezTo>
                  <a:cubicBezTo>
                    <a:pt x="258" y="141"/>
                    <a:pt x="258" y="141"/>
                    <a:pt x="258" y="141"/>
                  </a:cubicBezTo>
                  <a:cubicBezTo>
                    <a:pt x="256" y="146"/>
                    <a:pt x="256" y="146"/>
                    <a:pt x="256" y="146"/>
                  </a:cubicBezTo>
                  <a:cubicBezTo>
                    <a:pt x="222" y="145"/>
                    <a:pt x="222" y="145"/>
                    <a:pt x="222" y="145"/>
                  </a:cubicBezTo>
                  <a:cubicBezTo>
                    <a:pt x="222" y="145"/>
                    <a:pt x="226" y="128"/>
                    <a:pt x="226" y="125"/>
                  </a:cubicBezTo>
                  <a:cubicBezTo>
                    <a:pt x="216" y="133"/>
                    <a:pt x="218" y="129"/>
                    <a:pt x="208" y="109"/>
                  </a:cubicBezTo>
                  <a:cubicBezTo>
                    <a:pt x="199" y="89"/>
                    <a:pt x="190" y="81"/>
                    <a:pt x="190" y="81"/>
                  </a:cubicBezTo>
                  <a:cubicBezTo>
                    <a:pt x="190" y="70"/>
                    <a:pt x="190" y="70"/>
                    <a:pt x="190" y="70"/>
                  </a:cubicBezTo>
                  <a:cubicBezTo>
                    <a:pt x="182" y="69"/>
                    <a:pt x="182" y="69"/>
                    <a:pt x="182" y="69"/>
                  </a:cubicBezTo>
                  <a:cubicBezTo>
                    <a:pt x="182" y="78"/>
                    <a:pt x="182" y="78"/>
                    <a:pt x="182" y="78"/>
                  </a:cubicBezTo>
                  <a:cubicBezTo>
                    <a:pt x="176" y="81"/>
                    <a:pt x="176" y="81"/>
                    <a:pt x="176" y="81"/>
                  </a:cubicBezTo>
                  <a:cubicBezTo>
                    <a:pt x="167" y="66"/>
                    <a:pt x="167" y="66"/>
                    <a:pt x="167" y="66"/>
                  </a:cubicBezTo>
                  <a:cubicBezTo>
                    <a:pt x="158" y="69"/>
                    <a:pt x="158" y="69"/>
                    <a:pt x="158" y="69"/>
                  </a:cubicBezTo>
                  <a:cubicBezTo>
                    <a:pt x="167" y="60"/>
                    <a:pt x="159" y="38"/>
                    <a:pt x="159" y="38"/>
                  </a:cubicBezTo>
                  <a:cubicBezTo>
                    <a:pt x="155" y="33"/>
                    <a:pt x="155" y="33"/>
                    <a:pt x="155" y="33"/>
                  </a:cubicBezTo>
                  <a:cubicBezTo>
                    <a:pt x="155" y="18"/>
                    <a:pt x="128" y="8"/>
                    <a:pt x="128" y="8"/>
                  </a:cubicBezTo>
                  <a:cubicBezTo>
                    <a:pt x="122" y="10"/>
                    <a:pt x="122" y="10"/>
                    <a:pt x="122" y="10"/>
                  </a:cubicBezTo>
                  <a:cubicBezTo>
                    <a:pt x="118" y="0"/>
                    <a:pt x="118" y="0"/>
                    <a:pt x="118" y="0"/>
                  </a:cubicBezTo>
                  <a:cubicBezTo>
                    <a:pt x="103" y="8"/>
                    <a:pt x="103" y="8"/>
                    <a:pt x="103" y="8"/>
                  </a:cubicBezTo>
                  <a:cubicBezTo>
                    <a:pt x="44" y="8"/>
                    <a:pt x="44" y="8"/>
                    <a:pt x="44" y="8"/>
                  </a:cubicBezTo>
                  <a:cubicBezTo>
                    <a:pt x="36" y="28"/>
                    <a:pt x="36" y="28"/>
                    <a:pt x="36" y="28"/>
                  </a:cubicBezTo>
                  <a:cubicBezTo>
                    <a:pt x="42" y="44"/>
                    <a:pt x="42" y="44"/>
                    <a:pt x="42" y="44"/>
                  </a:cubicBezTo>
                  <a:cubicBezTo>
                    <a:pt x="42" y="44"/>
                    <a:pt x="28" y="66"/>
                    <a:pt x="20" y="75"/>
                  </a:cubicBezTo>
                  <a:cubicBezTo>
                    <a:pt x="39" y="84"/>
                    <a:pt x="39" y="84"/>
                    <a:pt x="39" y="84"/>
                  </a:cubicBezTo>
                  <a:cubicBezTo>
                    <a:pt x="39" y="84"/>
                    <a:pt x="28" y="104"/>
                    <a:pt x="58" y="114"/>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9" name="Centre" descr="© INSCALE GmbH, 05.05.2010&#10;http://www.presentationload.com/">
              <a:extLst>
                <a:ext uri="{FF2B5EF4-FFF2-40B4-BE49-F238E27FC236}">
                  <a16:creationId xmlns:a16="http://schemas.microsoft.com/office/drawing/2014/main" id="{2F93616E-9714-40DC-8DC4-1824DBEBEE72}"/>
                </a:ext>
              </a:extLst>
            </p:cNvPr>
            <p:cNvSpPr>
              <a:spLocks/>
            </p:cNvSpPr>
            <p:nvPr/>
          </p:nvSpPr>
          <p:spPr bwMode="gray">
            <a:xfrm>
              <a:off x="1233" y="903"/>
              <a:ext cx="716" cy="887"/>
            </a:xfrm>
            <a:custGeom>
              <a:avLst/>
              <a:gdLst/>
              <a:ahLst/>
              <a:cxnLst>
                <a:cxn ang="0">
                  <a:pos x="209" y="158"/>
                </a:cxn>
                <a:cxn ang="0">
                  <a:pos x="173" y="227"/>
                </a:cxn>
                <a:cxn ang="0">
                  <a:pos x="193" y="251"/>
                </a:cxn>
                <a:cxn ang="0">
                  <a:pos x="168" y="275"/>
                </a:cxn>
                <a:cxn ang="0">
                  <a:pos x="179" y="314"/>
                </a:cxn>
                <a:cxn ang="0">
                  <a:pos x="144" y="367"/>
                </a:cxn>
                <a:cxn ang="0">
                  <a:pos x="79" y="406"/>
                </a:cxn>
                <a:cxn ang="0">
                  <a:pos x="43" y="418"/>
                </a:cxn>
                <a:cxn ang="0">
                  <a:pos x="29" y="494"/>
                </a:cxn>
                <a:cxn ang="0">
                  <a:pos x="29" y="594"/>
                </a:cxn>
                <a:cxn ang="0">
                  <a:pos x="56" y="598"/>
                </a:cxn>
                <a:cxn ang="0">
                  <a:pos x="79" y="632"/>
                </a:cxn>
                <a:cxn ang="0">
                  <a:pos x="108" y="611"/>
                </a:cxn>
                <a:cxn ang="0">
                  <a:pos x="185" y="712"/>
                </a:cxn>
                <a:cxn ang="0">
                  <a:pos x="233" y="788"/>
                </a:cxn>
                <a:cxn ang="0">
                  <a:pos x="251" y="820"/>
                </a:cxn>
                <a:cxn ang="0">
                  <a:pos x="287" y="811"/>
                </a:cxn>
                <a:cxn ang="0">
                  <a:pos x="320" y="814"/>
                </a:cxn>
                <a:cxn ang="0">
                  <a:pos x="353" y="806"/>
                </a:cxn>
                <a:cxn ang="0">
                  <a:pos x="404" y="802"/>
                </a:cxn>
                <a:cxn ang="0">
                  <a:pos x="539" y="771"/>
                </a:cxn>
                <a:cxn ang="0">
                  <a:pos x="559" y="719"/>
                </a:cxn>
                <a:cxn ang="0">
                  <a:pos x="650" y="684"/>
                </a:cxn>
                <a:cxn ang="0">
                  <a:pos x="655" y="607"/>
                </a:cxn>
                <a:cxn ang="0">
                  <a:pos x="611" y="514"/>
                </a:cxn>
                <a:cxn ang="0">
                  <a:pos x="632" y="435"/>
                </a:cxn>
                <a:cxn ang="0">
                  <a:pos x="615" y="388"/>
                </a:cxn>
                <a:cxn ang="0">
                  <a:pos x="641" y="364"/>
                </a:cxn>
                <a:cxn ang="0">
                  <a:pos x="639" y="327"/>
                </a:cxn>
                <a:cxn ang="0">
                  <a:pos x="663" y="284"/>
                </a:cxn>
                <a:cxn ang="0">
                  <a:pos x="624" y="246"/>
                </a:cxn>
                <a:cxn ang="0">
                  <a:pos x="581" y="247"/>
                </a:cxn>
                <a:cxn ang="0">
                  <a:pos x="520" y="254"/>
                </a:cxn>
                <a:cxn ang="0">
                  <a:pos x="513" y="214"/>
                </a:cxn>
                <a:cxn ang="0">
                  <a:pos x="491" y="194"/>
                </a:cxn>
                <a:cxn ang="0">
                  <a:pos x="468" y="188"/>
                </a:cxn>
                <a:cxn ang="0">
                  <a:pos x="419" y="204"/>
                </a:cxn>
                <a:cxn ang="0">
                  <a:pos x="405" y="154"/>
                </a:cxn>
                <a:cxn ang="0">
                  <a:pos x="364" y="115"/>
                </a:cxn>
                <a:cxn ang="0">
                  <a:pos x="341" y="88"/>
                </a:cxn>
                <a:cxn ang="0">
                  <a:pos x="344" y="59"/>
                </a:cxn>
                <a:cxn ang="0">
                  <a:pos x="331" y="23"/>
                </a:cxn>
                <a:cxn ang="0">
                  <a:pos x="312" y="3"/>
                </a:cxn>
                <a:cxn ang="0">
                  <a:pos x="287" y="51"/>
                </a:cxn>
                <a:cxn ang="0">
                  <a:pos x="225" y="54"/>
                </a:cxn>
                <a:cxn ang="0">
                  <a:pos x="177" y="98"/>
                </a:cxn>
              </a:cxnLst>
              <a:rect l="0" t="0" r="r" b="b"/>
              <a:pathLst>
                <a:path w="664" h="822">
                  <a:moveTo>
                    <a:pt x="205" y="131"/>
                  </a:moveTo>
                  <a:cubicBezTo>
                    <a:pt x="205" y="136"/>
                    <a:pt x="201" y="144"/>
                    <a:pt x="201" y="144"/>
                  </a:cubicBezTo>
                  <a:cubicBezTo>
                    <a:pt x="209" y="158"/>
                    <a:pt x="209" y="158"/>
                    <a:pt x="209" y="158"/>
                  </a:cubicBezTo>
                  <a:cubicBezTo>
                    <a:pt x="197" y="172"/>
                    <a:pt x="197" y="172"/>
                    <a:pt x="197" y="172"/>
                  </a:cubicBezTo>
                  <a:cubicBezTo>
                    <a:pt x="197" y="172"/>
                    <a:pt x="171" y="179"/>
                    <a:pt x="168" y="190"/>
                  </a:cubicBezTo>
                  <a:cubicBezTo>
                    <a:pt x="165" y="200"/>
                    <a:pt x="173" y="227"/>
                    <a:pt x="173" y="227"/>
                  </a:cubicBezTo>
                  <a:cubicBezTo>
                    <a:pt x="173" y="235"/>
                    <a:pt x="173" y="235"/>
                    <a:pt x="173" y="235"/>
                  </a:cubicBezTo>
                  <a:cubicBezTo>
                    <a:pt x="193" y="242"/>
                    <a:pt x="193" y="242"/>
                    <a:pt x="193" y="242"/>
                  </a:cubicBezTo>
                  <a:cubicBezTo>
                    <a:pt x="193" y="251"/>
                    <a:pt x="193" y="251"/>
                    <a:pt x="193" y="251"/>
                  </a:cubicBezTo>
                  <a:cubicBezTo>
                    <a:pt x="179" y="252"/>
                    <a:pt x="179" y="252"/>
                    <a:pt x="179" y="252"/>
                  </a:cubicBezTo>
                  <a:cubicBezTo>
                    <a:pt x="179" y="270"/>
                    <a:pt x="179" y="270"/>
                    <a:pt x="179" y="270"/>
                  </a:cubicBezTo>
                  <a:cubicBezTo>
                    <a:pt x="168" y="275"/>
                    <a:pt x="168" y="275"/>
                    <a:pt x="168" y="275"/>
                  </a:cubicBezTo>
                  <a:cubicBezTo>
                    <a:pt x="176" y="287"/>
                    <a:pt x="176" y="287"/>
                    <a:pt x="176" y="287"/>
                  </a:cubicBezTo>
                  <a:cubicBezTo>
                    <a:pt x="172" y="300"/>
                    <a:pt x="172" y="300"/>
                    <a:pt x="172" y="300"/>
                  </a:cubicBezTo>
                  <a:cubicBezTo>
                    <a:pt x="179" y="314"/>
                    <a:pt x="179" y="314"/>
                    <a:pt x="179" y="314"/>
                  </a:cubicBezTo>
                  <a:cubicBezTo>
                    <a:pt x="171" y="324"/>
                    <a:pt x="171" y="324"/>
                    <a:pt x="171" y="324"/>
                  </a:cubicBezTo>
                  <a:cubicBezTo>
                    <a:pt x="171" y="324"/>
                    <a:pt x="161" y="328"/>
                    <a:pt x="161" y="343"/>
                  </a:cubicBezTo>
                  <a:cubicBezTo>
                    <a:pt x="157" y="347"/>
                    <a:pt x="144" y="367"/>
                    <a:pt x="144" y="367"/>
                  </a:cubicBezTo>
                  <a:cubicBezTo>
                    <a:pt x="144" y="367"/>
                    <a:pt x="112" y="388"/>
                    <a:pt x="128" y="394"/>
                  </a:cubicBezTo>
                  <a:cubicBezTo>
                    <a:pt x="124" y="395"/>
                    <a:pt x="95" y="402"/>
                    <a:pt x="95" y="402"/>
                  </a:cubicBezTo>
                  <a:cubicBezTo>
                    <a:pt x="95" y="402"/>
                    <a:pt x="96" y="424"/>
                    <a:pt x="79" y="406"/>
                  </a:cubicBezTo>
                  <a:cubicBezTo>
                    <a:pt x="80" y="408"/>
                    <a:pt x="69" y="415"/>
                    <a:pt x="69" y="415"/>
                  </a:cubicBezTo>
                  <a:cubicBezTo>
                    <a:pt x="80" y="430"/>
                    <a:pt x="80" y="430"/>
                    <a:pt x="80" y="430"/>
                  </a:cubicBezTo>
                  <a:cubicBezTo>
                    <a:pt x="43" y="418"/>
                    <a:pt x="43" y="418"/>
                    <a:pt x="43" y="418"/>
                  </a:cubicBezTo>
                  <a:cubicBezTo>
                    <a:pt x="43" y="418"/>
                    <a:pt x="32" y="446"/>
                    <a:pt x="39" y="454"/>
                  </a:cubicBezTo>
                  <a:cubicBezTo>
                    <a:pt x="35" y="464"/>
                    <a:pt x="23" y="482"/>
                    <a:pt x="23" y="482"/>
                  </a:cubicBezTo>
                  <a:cubicBezTo>
                    <a:pt x="29" y="494"/>
                    <a:pt x="29" y="494"/>
                    <a:pt x="29" y="494"/>
                  </a:cubicBezTo>
                  <a:cubicBezTo>
                    <a:pt x="29" y="494"/>
                    <a:pt x="0" y="528"/>
                    <a:pt x="3" y="556"/>
                  </a:cubicBezTo>
                  <a:cubicBezTo>
                    <a:pt x="5" y="584"/>
                    <a:pt x="29" y="580"/>
                    <a:pt x="29" y="580"/>
                  </a:cubicBezTo>
                  <a:cubicBezTo>
                    <a:pt x="29" y="594"/>
                    <a:pt x="29" y="594"/>
                    <a:pt x="29" y="594"/>
                  </a:cubicBezTo>
                  <a:cubicBezTo>
                    <a:pt x="43" y="587"/>
                    <a:pt x="43" y="587"/>
                    <a:pt x="43" y="587"/>
                  </a:cubicBezTo>
                  <a:cubicBezTo>
                    <a:pt x="47" y="594"/>
                    <a:pt x="47" y="594"/>
                    <a:pt x="47" y="594"/>
                  </a:cubicBezTo>
                  <a:cubicBezTo>
                    <a:pt x="56" y="598"/>
                    <a:pt x="56" y="598"/>
                    <a:pt x="56" y="598"/>
                  </a:cubicBezTo>
                  <a:cubicBezTo>
                    <a:pt x="56" y="598"/>
                    <a:pt x="44" y="624"/>
                    <a:pt x="56" y="628"/>
                  </a:cubicBezTo>
                  <a:cubicBezTo>
                    <a:pt x="68" y="632"/>
                    <a:pt x="67" y="626"/>
                    <a:pt x="67" y="626"/>
                  </a:cubicBezTo>
                  <a:cubicBezTo>
                    <a:pt x="79" y="632"/>
                    <a:pt x="79" y="632"/>
                    <a:pt x="79" y="632"/>
                  </a:cubicBezTo>
                  <a:cubicBezTo>
                    <a:pt x="93" y="624"/>
                    <a:pt x="93" y="624"/>
                    <a:pt x="93" y="624"/>
                  </a:cubicBezTo>
                  <a:cubicBezTo>
                    <a:pt x="116" y="624"/>
                    <a:pt x="116" y="624"/>
                    <a:pt x="116" y="624"/>
                  </a:cubicBezTo>
                  <a:cubicBezTo>
                    <a:pt x="108" y="611"/>
                    <a:pt x="108" y="611"/>
                    <a:pt x="108" y="611"/>
                  </a:cubicBezTo>
                  <a:cubicBezTo>
                    <a:pt x="140" y="622"/>
                    <a:pt x="140" y="622"/>
                    <a:pt x="140" y="622"/>
                  </a:cubicBezTo>
                  <a:cubicBezTo>
                    <a:pt x="140" y="622"/>
                    <a:pt x="143" y="654"/>
                    <a:pt x="160" y="670"/>
                  </a:cubicBezTo>
                  <a:cubicBezTo>
                    <a:pt x="177" y="686"/>
                    <a:pt x="153" y="679"/>
                    <a:pt x="185" y="712"/>
                  </a:cubicBezTo>
                  <a:cubicBezTo>
                    <a:pt x="184" y="726"/>
                    <a:pt x="179" y="755"/>
                    <a:pt x="207" y="756"/>
                  </a:cubicBezTo>
                  <a:cubicBezTo>
                    <a:pt x="211" y="758"/>
                    <a:pt x="208" y="767"/>
                    <a:pt x="208" y="767"/>
                  </a:cubicBezTo>
                  <a:cubicBezTo>
                    <a:pt x="208" y="767"/>
                    <a:pt x="227" y="746"/>
                    <a:pt x="233" y="788"/>
                  </a:cubicBezTo>
                  <a:cubicBezTo>
                    <a:pt x="237" y="795"/>
                    <a:pt x="248" y="800"/>
                    <a:pt x="248" y="800"/>
                  </a:cubicBezTo>
                  <a:cubicBezTo>
                    <a:pt x="244" y="811"/>
                    <a:pt x="244" y="811"/>
                    <a:pt x="244" y="811"/>
                  </a:cubicBezTo>
                  <a:cubicBezTo>
                    <a:pt x="251" y="820"/>
                    <a:pt x="251" y="820"/>
                    <a:pt x="251" y="820"/>
                  </a:cubicBezTo>
                  <a:cubicBezTo>
                    <a:pt x="269" y="818"/>
                    <a:pt x="269" y="818"/>
                    <a:pt x="269" y="818"/>
                  </a:cubicBezTo>
                  <a:cubicBezTo>
                    <a:pt x="269" y="811"/>
                    <a:pt x="269" y="811"/>
                    <a:pt x="269" y="811"/>
                  </a:cubicBezTo>
                  <a:cubicBezTo>
                    <a:pt x="287" y="811"/>
                    <a:pt x="287" y="811"/>
                    <a:pt x="287" y="811"/>
                  </a:cubicBezTo>
                  <a:cubicBezTo>
                    <a:pt x="292" y="822"/>
                    <a:pt x="292" y="822"/>
                    <a:pt x="292" y="822"/>
                  </a:cubicBezTo>
                  <a:cubicBezTo>
                    <a:pt x="319" y="802"/>
                    <a:pt x="319" y="802"/>
                    <a:pt x="319" y="802"/>
                  </a:cubicBezTo>
                  <a:cubicBezTo>
                    <a:pt x="320" y="814"/>
                    <a:pt x="320" y="814"/>
                    <a:pt x="320" y="814"/>
                  </a:cubicBezTo>
                  <a:cubicBezTo>
                    <a:pt x="337" y="803"/>
                    <a:pt x="337" y="803"/>
                    <a:pt x="337" y="803"/>
                  </a:cubicBezTo>
                  <a:cubicBezTo>
                    <a:pt x="340" y="811"/>
                    <a:pt x="340" y="811"/>
                    <a:pt x="340" y="811"/>
                  </a:cubicBezTo>
                  <a:cubicBezTo>
                    <a:pt x="353" y="806"/>
                    <a:pt x="353" y="806"/>
                    <a:pt x="353" y="806"/>
                  </a:cubicBezTo>
                  <a:cubicBezTo>
                    <a:pt x="363" y="812"/>
                    <a:pt x="363" y="812"/>
                    <a:pt x="363" y="812"/>
                  </a:cubicBezTo>
                  <a:cubicBezTo>
                    <a:pt x="368" y="794"/>
                    <a:pt x="368" y="794"/>
                    <a:pt x="368" y="794"/>
                  </a:cubicBezTo>
                  <a:cubicBezTo>
                    <a:pt x="368" y="794"/>
                    <a:pt x="392" y="804"/>
                    <a:pt x="404" y="802"/>
                  </a:cubicBezTo>
                  <a:cubicBezTo>
                    <a:pt x="416" y="799"/>
                    <a:pt x="411" y="790"/>
                    <a:pt x="436" y="803"/>
                  </a:cubicBezTo>
                  <a:cubicBezTo>
                    <a:pt x="441" y="812"/>
                    <a:pt x="483" y="802"/>
                    <a:pt x="483" y="802"/>
                  </a:cubicBezTo>
                  <a:cubicBezTo>
                    <a:pt x="483" y="802"/>
                    <a:pt x="505" y="759"/>
                    <a:pt x="539" y="771"/>
                  </a:cubicBezTo>
                  <a:cubicBezTo>
                    <a:pt x="555" y="760"/>
                    <a:pt x="555" y="760"/>
                    <a:pt x="555" y="760"/>
                  </a:cubicBezTo>
                  <a:cubicBezTo>
                    <a:pt x="555" y="760"/>
                    <a:pt x="545" y="738"/>
                    <a:pt x="552" y="732"/>
                  </a:cubicBezTo>
                  <a:cubicBezTo>
                    <a:pt x="559" y="727"/>
                    <a:pt x="559" y="719"/>
                    <a:pt x="559" y="719"/>
                  </a:cubicBezTo>
                  <a:cubicBezTo>
                    <a:pt x="559" y="719"/>
                    <a:pt x="577" y="700"/>
                    <a:pt x="581" y="700"/>
                  </a:cubicBezTo>
                  <a:cubicBezTo>
                    <a:pt x="585" y="700"/>
                    <a:pt x="600" y="722"/>
                    <a:pt x="608" y="706"/>
                  </a:cubicBezTo>
                  <a:cubicBezTo>
                    <a:pt x="615" y="691"/>
                    <a:pt x="625" y="683"/>
                    <a:pt x="650" y="684"/>
                  </a:cubicBezTo>
                  <a:cubicBezTo>
                    <a:pt x="649" y="683"/>
                    <a:pt x="649" y="682"/>
                    <a:pt x="648" y="682"/>
                  </a:cubicBezTo>
                  <a:cubicBezTo>
                    <a:pt x="661" y="667"/>
                    <a:pt x="645" y="650"/>
                    <a:pt x="651" y="644"/>
                  </a:cubicBezTo>
                  <a:cubicBezTo>
                    <a:pt x="656" y="639"/>
                    <a:pt x="655" y="607"/>
                    <a:pt x="655" y="607"/>
                  </a:cubicBezTo>
                  <a:cubicBezTo>
                    <a:pt x="645" y="599"/>
                    <a:pt x="645" y="599"/>
                    <a:pt x="645" y="599"/>
                  </a:cubicBezTo>
                  <a:cubicBezTo>
                    <a:pt x="645" y="555"/>
                    <a:pt x="636" y="535"/>
                    <a:pt x="636" y="535"/>
                  </a:cubicBezTo>
                  <a:cubicBezTo>
                    <a:pt x="611" y="514"/>
                    <a:pt x="611" y="514"/>
                    <a:pt x="611" y="514"/>
                  </a:cubicBezTo>
                  <a:cubicBezTo>
                    <a:pt x="625" y="479"/>
                    <a:pt x="625" y="479"/>
                    <a:pt x="625" y="479"/>
                  </a:cubicBezTo>
                  <a:cubicBezTo>
                    <a:pt x="609" y="440"/>
                    <a:pt x="609" y="440"/>
                    <a:pt x="609" y="440"/>
                  </a:cubicBezTo>
                  <a:cubicBezTo>
                    <a:pt x="632" y="435"/>
                    <a:pt x="632" y="435"/>
                    <a:pt x="632" y="435"/>
                  </a:cubicBezTo>
                  <a:cubicBezTo>
                    <a:pt x="624" y="423"/>
                    <a:pt x="624" y="423"/>
                    <a:pt x="624" y="423"/>
                  </a:cubicBezTo>
                  <a:cubicBezTo>
                    <a:pt x="628" y="410"/>
                    <a:pt x="628" y="410"/>
                    <a:pt x="628" y="410"/>
                  </a:cubicBezTo>
                  <a:cubicBezTo>
                    <a:pt x="615" y="388"/>
                    <a:pt x="615" y="388"/>
                    <a:pt x="615" y="388"/>
                  </a:cubicBezTo>
                  <a:cubicBezTo>
                    <a:pt x="605" y="390"/>
                    <a:pt x="605" y="390"/>
                    <a:pt x="605" y="390"/>
                  </a:cubicBezTo>
                  <a:cubicBezTo>
                    <a:pt x="607" y="374"/>
                    <a:pt x="607" y="374"/>
                    <a:pt x="607" y="374"/>
                  </a:cubicBezTo>
                  <a:cubicBezTo>
                    <a:pt x="641" y="364"/>
                    <a:pt x="641" y="364"/>
                    <a:pt x="641" y="364"/>
                  </a:cubicBezTo>
                  <a:cubicBezTo>
                    <a:pt x="641" y="340"/>
                    <a:pt x="641" y="340"/>
                    <a:pt x="641" y="340"/>
                  </a:cubicBezTo>
                  <a:cubicBezTo>
                    <a:pt x="636" y="340"/>
                    <a:pt x="636" y="340"/>
                    <a:pt x="636" y="340"/>
                  </a:cubicBezTo>
                  <a:cubicBezTo>
                    <a:pt x="639" y="327"/>
                    <a:pt x="639" y="327"/>
                    <a:pt x="639" y="327"/>
                  </a:cubicBezTo>
                  <a:cubicBezTo>
                    <a:pt x="648" y="326"/>
                    <a:pt x="648" y="326"/>
                    <a:pt x="648" y="326"/>
                  </a:cubicBezTo>
                  <a:cubicBezTo>
                    <a:pt x="664" y="303"/>
                    <a:pt x="664" y="303"/>
                    <a:pt x="664" y="303"/>
                  </a:cubicBezTo>
                  <a:cubicBezTo>
                    <a:pt x="663" y="284"/>
                    <a:pt x="663" y="284"/>
                    <a:pt x="663" y="284"/>
                  </a:cubicBezTo>
                  <a:cubicBezTo>
                    <a:pt x="633" y="274"/>
                    <a:pt x="644" y="254"/>
                    <a:pt x="644" y="254"/>
                  </a:cubicBezTo>
                  <a:cubicBezTo>
                    <a:pt x="625" y="245"/>
                    <a:pt x="625" y="245"/>
                    <a:pt x="625" y="245"/>
                  </a:cubicBezTo>
                  <a:cubicBezTo>
                    <a:pt x="625" y="245"/>
                    <a:pt x="624" y="246"/>
                    <a:pt x="624" y="246"/>
                  </a:cubicBezTo>
                  <a:cubicBezTo>
                    <a:pt x="616" y="254"/>
                    <a:pt x="593" y="258"/>
                    <a:pt x="593" y="258"/>
                  </a:cubicBezTo>
                  <a:cubicBezTo>
                    <a:pt x="593" y="247"/>
                    <a:pt x="593" y="247"/>
                    <a:pt x="593" y="247"/>
                  </a:cubicBezTo>
                  <a:cubicBezTo>
                    <a:pt x="581" y="247"/>
                    <a:pt x="581" y="247"/>
                    <a:pt x="581" y="247"/>
                  </a:cubicBezTo>
                  <a:cubicBezTo>
                    <a:pt x="581" y="255"/>
                    <a:pt x="581" y="255"/>
                    <a:pt x="581" y="255"/>
                  </a:cubicBezTo>
                  <a:cubicBezTo>
                    <a:pt x="526" y="254"/>
                    <a:pt x="526" y="254"/>
                    <a:pt x="526" y="254"/>
                  </a:cubicBezTo>
                  <a:cubicBezTo>
                    <a:pt x="523" y="254"/>
                    <a:pt x="520" y="254"/>
                    <a:pt x="520" y="254"/>
                  </a:cubicBezTo>
                  <a:cubicBezTo>
                    <a:pt x="526" y="254"/>
                    <a:pt x="526" y="254"/>
                    <a:pt x="526" y="254"/>
                  </a:cubicBezTo>
                  <a:cubicBezTo>
                    <a:pt x="530" y="253"/>
                    <a:pt x="536" y="250"/>
                    <a:pt x="537" y="239"/>
                  </a:cubicBezTo>
                  <a:cubicBezTo>
                    <a:pt x="540" y="220"/>
                    <a:pt x="513" y="214"/>
                    <a:pt x="513" y="214"/>
                  </a:cubicBezTo>
                  <a:cubicBezTo>
                    <a:pt x="509" y="198"/>
                    <a:pt x="509" y="198"/>
                    <a:pt x="509" y="198"/>
                  </a:cubicBezTo>
                  <a:cubicBezTo>
                    <a:pt x="507" y="199"/>
                    <a:pt x="507" y="199"/>
                    <a:pt x="507" y="199"/>
                  </a:cubicBezTo>
                  <a:cubicBezTo>
                    <a:pt x="491" y="194"/>
                    <a:pt x="491" y="194"/>
                    <a:pt x="491" y="194"/>
                  </a:cubicBezTo>
                  <a:cubicBezTo>
                    <a:pt x="477" y="202"/>
                    <a:pt x="477" y="202"/>
                    <a:pt x="477" y="202"/>
                  </a:cubicBezTo>
                  <a:cubicBezTo>
                    <a:pt x="475" y="191"/>
                    <a:pt x="475" y="191"/>
                    <a:pt x="475" y="191"/>
                  </a:cubicBezTo>
                  <a:cubicBezTo>
                    <a:pt x="468" y="188"/>
                    <a:pt x="468" y="188"/>
                    <a:pt x="468" y="188"/>
                  </a:cubicBezTo>
                  <a:cubicBezTo>
                    <a:pt x="461" y="202"/>
                    <a:pt x="461" y="202"/>
                    <a:pt x="461" y="202"/>
                  </a:cubicBezTo>
                  <a:cubicBezTo>
                    <a:pt x="461" y="202"/>
                    <a:pt x="451" y="202"/>
                    <a:pt x="443" y="202"/>
                  </a:cubicBezTo>
                  <a:cubicBezTo>
                    <a:pt x="435" y="202"/>
                    <a:pt x="428" y="212"/>
                    <a:pt x="419" y="204"/>
                  </a:cubicBezTo>
                  <a:cubicBezTo>
                    <a:pt x="409" y="196"/>
                    <a:pt x="421" y="170"/>
                    <a:pt x="421" y="170"/>
                  </a:cubicBezTo>
                  <a:cubicBezTo>
                    <a:pt x="411" y="168"/>
                    <a:pt x="411" y="168"/>
                    <a:pt x="411" y="168"/>
                  </a:cubicBezTo>
                  <a:cubicBezTo>
                    <a:pt x="411" y="168"/>
                    <a:pt x="409" y="155"/>
                    <a:pt x="405" y="154"/>
                  </a:cubicBezTo>
                  <a:cubicBezTo>
                    <a:pt x="403" y="162"/>
                    <a:pt x="379" y="147"/>
                    <a:pt x="379" y="147"/>
                  </a:cubicBezTo>
                  <a:cubicBezTo>
                    <a:pt x="377" y="122"/>
                    <a:pt x="377" y="122"/>
                    <a:pt x="377" y="122"/>
                  </a:cubicBezTo>
                  <a:cubicBezTo>
                    <a:pt x="364" y="115"/>
                    <a:pt x="364" y="115"/>
                    <a:pt x="364" y="115"/>
                  </a:cubicBezTo>
                  <a:cubicBezTo>
                    <a:pt x="365" y="103"/>
                    <a:pt x="365" y="103"/>
                    <a:pt x="365" y="103"/>
                  </a:cubicBezTo>
                  <a:cubicBezTo>
                    <a:pt x="356" y="100"/>
                    <a:pt x="356" y="100"/>
                    <a:pt x="356" y="100"/>
                  </a:cubicBezTo>
                  <a:cubicBezTo>
                    <a:pt x="341" y="88"/>
                    <a:pt x="341" y="88"/>
                    <a:pt x="341" y="88"/>
                  </a:cubicBezTo>
                  <a:cubicBezTo>
                    <a:pt x="343" y="78"/>
                    <a:pt x="343" y="78"/>
                    <a:pt x="343" y="78"/>
                  </a:cubicBezTo>
                  <a:cubicBezTo>
                    <a:pt x="333" y="74"/>
                    <a:pt x="333" y="74"/>
                    <a:pt x="333" y="74"/>
                  </a:cubicBezTo>
                  <a:cubicBezTo>
                    <a:pt x="344" y="59"/>
                    <a:pt x="344" y="59"/>
                    <a:pt x="344" y="59"/>
                  </a:cubicBezTo>
                  <a:cubicBezTo>
                    <a:pt x="337" y="52"/>
                    <a:pt x="337" y="52"/>
                    <a:pt x="337" y="52"/>
                  </a:cubicBezTo>
                  <a:cubicBezTo>
                    <a:pt x="339" y="28"/>
                    <a:pt x="339" y="28"/>
                    <a:pt x="339" y="28"/>
                  </a:cubicBezTo>
                  <a:cubicBezTo>
                    <a:pt x="331" y="23"/>
                    <a:pt x="331" y="23"/>
                    <a:pt x="331" y="23"/>
                  </a:cubicBezTo>
                  <a:cubicBezTo>
                    <a:pt x="335" y="14"/>
                    <a:pt x="335" y="14"/>
                    <a:pt x="335" y="14"/>
                  </a:cubicBezTo>
                  <a:cubicBezTo>
                    <a:pt x="320" y="0"/>
                    <a:pt x="320" y="0"/>
                    <a:pt x="320" y="0"/>
                  </a:cubicBezTo>
                  <a:cubicBezTo>
                    <a:pt x="312" y="3"/>
                    <a:pt x="312" y="3"/>
                    <a:pt x="312" y="3"/>
                  </a:cubicBezTo>
                  <a:cubicBezTo>
                    <a:pt x="312" y="3"/>
                    <a:pt x="313" y="10"/>
                    <a:pt x="312" y="15"/>
                  </a:cubicBezTo>
                  <a:cubicBezTo>
                    <a:pt x="311" y="20"/>
                    <a:pt x="292" y="28"/>
                    <a:pt x="292" y="28"/>
                  </a:cubicBezTo>
                  <a:cubicBezTo>
                    <a:pt x="292" y="28"/>
                    <a:pt x="293" y="40"/>
                    <a:pt x="287" y="51"/>
                  </a:cubicBezTo>
                  <a:cubicBezTo>
                    <a:pt x="280" y="62"/>
                    <a:pt x="236" y="47"/>
                    <a:pt x="236" y="47"/>
                  </a:cubicBezTo>
                  <a:cubicBezTo>
                    <a:pt x="235" y="58"/>
                    <a:pt x="235" y="58"/>
                    <a:pt x="235" y="58"/>
                  </a:cubicBezTo>
                  <a:cubicBezTo>
                    <a:pt x="235" y="58"/>
                    <a:pt x="227" y="58"/>
                    <a:pt x="225" y="54"/>
                  </a:cubicBezTo>
                  <a:cubicBezTo>
                    <a:pt x="203" y="76"/>
                    <a:pt x="195" y="64"/>
                    <a:pt x="191" y="64"/>
                  </a:cubicBezTo>
                  <a:cubicBezTo>
                    <a:pt x="187" y="74"/>
                    <a:pt x="182" y="78"/>
                    <a:pt x="176" y="79"/>
                  </a:cubicBezTo>
                  <a:cubicBezTo>
                    <a:pt x="177" y="98"/>
                    <a:pt x="177" y="98"/>
                    <a:pt x="177" y="98"/>
                  </a:cubicBezTo>
                  <a:cubicBezTo>
                    <a:pt x="177" y="98"/>
                    <a:pt x="205" y="126"/>
                    <a:pt x="205" y="13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0" name="Basse Normandie" descr="© INSCALE GmbH, 05.05.2010&#10;http://www.presentationload.com/">
              <a:extLst>
                <a:ext uri="{FF2B5EF4-FFF2-40B4-BE49-F238E27FC236}">
                  <a16:creationId xmlns:a16="http://schemas.microsoft.com/office/drawing/2014/main" id="{96C755B5-878D-43B1-9DB9-C3827DF7190E}"/>
                </a:ext>
              </a:extLst>
            </p:cNvPr>
            <p:cNvSpPr>
              <a:spLocks/>
            </p:cNvSpPr>
            <p:nvPr/>
          </p:nvSpPr>
          <p:spPr bwMode="gray">
            <a:xfrm>
              <a:off x="801" y="585"/>
              <a:ext cx="657" cy="573"/>
            </a:xfrm>
            <a:custGeom>
              <a:avLst/>
              <a:gdLst/>
              <a:ahLst/>
              <a:cxnLst>
                <a:cxn ang="0">
                  <a:pos x="197" y="413"/>
                </a:cxn>
                <a:cxn ang="0">
                  <a:pos x="245" y="437"/>
                </a:cxn>
                <a:cxn ang="0">
                  <a:pos x="265" y="435"/>
                </a:cxn>
                <a:cxn ang="0">
                  <a:pos x="315" y="422"/>
                </a:cxn>
                <a:cxn ang="0">
                  <a:pos x="336" y="415"/>
                </a:cxn>
                <a:cxn ang="0">
                  <a:pos x="348" y="405"/>
                </a:cxn>
                <a:cxn ang="0">
                  <a:pos x="373" y="439"/>
                </a:cxn>
                <a:cxn ang="0">
                  <a:pos x="395" y="465"/>
                </a:cxn>
                <a:cxn ang="0">
                  <a:pos x="485" y="481"/>
                </a:cxn>
                <a:cxn ang="0">
                  <a:pos x="512" y="513"/>
                </a:cxn>
                <a:cxn ang="0">
                  <a:pos x="561" y="531"/>
                </a:cxn>
                <a:cxn ang="0">
                  <a:pos x="573" y="522"/>
                </a:cxn>
                <a:cxn ang="0">
                  <a:pos x="597" y="467"/>
                </a:cxn>
                <a:cxn ang="0">
                  <a:pos x="601" y="439"/>
                </a:cxn>
                <a:cxn ang="0">
                  <a:pos x="577" y="393"/>
                </a:cxn>
                <a:cxn ang="0">
                  <a:pos x="563" y="374"/>
                </a:cxn>
                <a:cxn ang="0">
                  <a:pos x="536" y="325"/>
                </a:cxn>
                <a:cxn ang="0">
                  <a:pos x="496" y="303"/>
                </a:cxn>
                <a:cxn ang="0">
                  <a:pos x="496" y="259"/>
                </a:cxn>
                <a:cxn ang="0">
                  <a:pos x="495" y="246"/>
                </a:cxn>
                <a:cxn ang="0">
                  <a:pos x="491" y="218"/>
                </a:cxn>
                <a:cxn ang="0">
                  <a:pos x="477" y="186"/>
                </a:cxn>
                <a:cxn ang="0">
                  <a:pos x="463" y="93"/>
                </a:cxn>
                <a:cxn ang="0">
                  <a:pos x="357" y="137"/>
                </a:cxn>
                <a:cxn ang="0">
                  <a:pos x="239" y="114"/>
                </a:cxn>
                <a:cxn ang="0">
                  <a:pos x="168" y="123"/>
                </a:cxn>
                <a:cxn ang="0">
                  <a:pos x="157" y="102"/>
                </a:cxn>
                <a:cxn ang="0">
                  <a:pos x="130" y="51"/>
                </a:cxn>
                <a:cxn ang="0">
                  <a:pos x="140" y="11"/>
                </a:cxn>
                <a:cxn ang="0">
                  <a:pos x="91" y="21"/>
                </a:cxn>
                <a:cxn ang="0">
                  <a:pos x="1" y="0"/>
                </a:cxn>
                <a:cxn ang="0">
                  <a:pos x="16" y="23"/>
                </a:cxn>
                <a:cxn ang="0">
                  <a:pos x="22" y="85"/>
                </a:cxn>
                <a:cxn ang="0">
                  <a:pos x="66" y="158"/>
                </a:cxn>
                <a:cxn ang="0">
                  <a:pos x="73" y="216"/>
                </a:cxn>
                <a:cxn ang="0">
                  <a:pos x="78" y="239"/>
                </a:cxn>
                <a:cxn ang="0">
                  <a:pos x="69" y="294"/>
                </a:cxn>
                <a:cxn ang="0">
                  <a:pos x="83" y="331"/>
                </a:cxn>
                <a:cxn ang="0">
                  <a:pos x="58" y="332"/>
                </a:cxn>
                <a:cxn ang="0">
                  <a:pos x="136" y="402"/>
                </a:cxn>
              </a:cxnLst>
              <a:rect l="0" t="0" r="r" b="b"/>
              <a:pathLst>
                <a:path w="609" h="531">
                  <a:moveTo>
                    <a:pt x="136" y="402"/>
                  </a:moveTo>
                  <a:cubicBezTo>
                    <a:pt x="173" y="418"/>
                    <a:pt x="187" y="426"/>
                    <a:pt x="197" y="413"/>
                  </a:cubicBezTo>
                  <a:cubicBezTo>
                    <a:pt x="207" y="418"/>
                    <a:pt x="220" y="422"/>
                    <a:pt x="220" y="422"/>
                  </a:cubicBezTo>
                  <a:cubicBezTo>
                    <a:pt x="220" y="422"/>
                    <a:pt x="245" y="446"/>
                    <a:pt x="245" y="437"/>
                  </a:cubicBezTo>
                  <a:cubicBezTo>
                    <a:pt x="245" y="427"/>
                    <a:pt x="261" y="426"/>
                    <a:pt x="261" y="426"/>
                  </a:cubicBezTo>
                  <a:cubicBezTo>
                    <a:pt x="265" y="435"/>
                    <a:pt x="265" y="435"/>
                    <a:pt x="265" y="435"/>
                  </a:cubicBezTo>
                  <a:cubicBezTo>
                    <a:pt x="265" y="435"/>
                    <a:pt x="288" y="435"/>
                    <a:pt x="293" y="421"/>
                  </a:cubicBezTo>
                  <a:cubicBezTo>
                    <a:pt x="300" y="421"/>
                    <a:pt x="315" y="422"/>
                    <a:pt x="315" y="422"/>
                  </a:cubicBezTo>
                  <a:cubicBezTo>
                    <a:pt x="321" y="427"/>
                    <a:pt x="321" y="427"/>
                    <a:pt x="321" y="427"/>
                  </a:cubicBezTo>
                  <a:cubicBezTo>
                    <a:pt x="336" y="415"/>
                    <a:pt x="336" y="415"/>
                    <a:pt x="336" y="415"/>
                  </a:cubicBezTo>
                  <a:cubicBezTo>
                    <a:pt x="336" y="415"/>
                    <a:pt x="344" y="426"/>
                    <a:pt x="348" y="418"/>
                  </a:cubicBezTo>
                  <a:cubicBezTo>
                    <a:pt x="352" y="410"/>
                    <a:pt x="344" y="405"/>
                    <a:pt x="348" y="405"/>
                  </a:cubicBezTo>
                  <a:cubicBezTo>
                    <a:pt x="352" y="405"/>
                    <a:pt x="375" y="414"/>
                    <a:pt x="375" y="414"/>
                  </a:cubicBezTo>
                  <a:cubicBezTo>
                    <a:pt x="375" y="414"/>
                    <a:pt x="361" y="439"/>
                    <a:pt x="373" y="439"/>
                  </a:cubicBezTo>
                  <a:cubicBezTo>
                    <a:pt x="385" y="439"/>
                    <a:pt x="391" y="438"/>
                    <a:pt x="391" y="438"/>
                  </a:cubicBezTo>
                  <a:cubicBezTo>
                    <a:pt x="395" y="465"/>
                    <a:pt x="395" y="465"/>
                    <a:pt x="395" y="465"/>
                  </a:cubicBezTo>
                  <a:cubicBezTo>
                    <a:pt x="415" y="465"/>
                    <a:pt x="415" y="465"/>
                    <a:pt x="415" y="465"/>
                  </a:cubicBezTo>
                  <a:cubicBezTo>
                    <a:pt x="415" y="465"/>
                    <a:pt x="477" y="390"/>
                    <a:pt x="485" y="481"/>
                  </a:cubicBezTo>
                  <a:cubicBezTo>
                    <a:pt x="492" y="486"/>
                    <a:pt x="505" y="493"/>
                    <a:pt x="505" y="493"/>
                  </a:cubicBezTo>
                  <a:cubicBezTo>
                    <a:pt x="512" y="513"/>
                    <a:pt x="512" y="513"/>
                    <a:pt x="512" y="513"/>
                  </a:cubicBezTo>
                  <a:cubicBezTo>
                    <a:pt x="537" y="507"/>
                    <a:pt x="537" y="507"/>
                    <a:pt x="537" y="507"/>
                  </a:cubicBezTo>
                  <a:cubicBezTo>
                    <a:pt x="561" y="531"/>
                    <a:pt x="561" y="531"/>
                    <a:pt x="561" y="531"/>
                  </a:cubicBezTo>
                  <a:cubicBezTo>
                    <a:pt x="573" y="529"/>
                    <a:pt x="573" y="529"/>
                    <a:pt x="573" y="529"/>
                  </a:cubicBezTo>
                  <a:cubicBezTo>
                    <a:pt x="573" y="522"/>
                    <a:pt x="573" y="522"/>
                    <a:pt x="573" y="522"/>
                  </a:cubicBezTo>
                  <a:cubicBezTo>
                    <a:pt x="573" y="522"/>
                    <a:pt x="565" y="495"/>
                    <a:pt x="568" y="485"/>
                  </a:cubicBezTo>
                  <a:cubicBezTo>
                    <a:pt x="571" y="474"/>
                    <a:pt x="597" y="467"/>
                    <a:pt x="597" y="467"/>
                  </a:cubicBezTo>
                  <a:cubicBezTo>
                    <a:pt x="609" y="453"/>
                    <a:pt x="609" y="453"/>
                    <a:pt x="609" y="453"/>
                  </a:cubicBezTo>
                  <a:cubicBezTo>
                    <a:pt x="601" y="439"/>
                    <a:pt x="601" y="439"/>
                    <a:pt x="601" y="439"/>
                  </a:cubicBezTo>
                  <a:cubicBezTo>
                    <a:pt x="601" y="439"/>
                    <a:pt x="605" y="431"/>
                    <a:pt x="605" y="426"/>
                  </a:cubicBezTo>
                  <a:cubicBezTo>
                    <a:pt x="605" y="421"/>
                    <a:pt x="577" y="393"/>
                    <a:pt x="577" y="393"/>
                  </a:cubicBezTo>
                  <a:cubicBezTo>
                    <a:pt x="576" y="374"/>
                    <a:pt x="576" y="374"/>
                    <a:pt x="576" y="374"/>
                  </a:cubicBezTo>
                  <a:cubicBezTo>
                    <a:pt x="569" y="376"/>
                    <a:pt x="563" y="374"/>
                    <a:pt x="563" y="374"/>
                  </a:cubicBezTo>
                  <a:cubicBezTo>
                    <a:pt x="563" y="374"/>
                    <a:pt x="556" y="363"/>
                    <a:pt x="560" y="363"/>
                  </a:cubicBezTo>
                  <a:cubicBezTo>
                    <a:pt x="581" y="349"/>
                    <a:pt x="536" y="325"/>
                    <a:pt x="536" y="325"/>
                  </a:cubicBezTo>
                  <a:cubicBezTo>
                    <a:pt x="529" y="305"/>
                    <a:pt x="529" y="305"/>
                    <a:pt x="529" y="305"/>
                  </a:cubicBezTo>
                  <a:cubicBezTo>
                    <a:pt x="496" y="303"/>
                    <a:pt x="496" y="303"/>
                    <a:pt x="496" y="303"/>
                  </a:cubicBezTo>
                  <a:cubicBezTo>
                    <a:pt x="496" y="303"/>
                    <a:pt x="483" y="299"/>
                    <a:pt x="489" y="294"/>
                  </a:cubicBezTo>
                  <a:cubicBezTo>
                    <a:pt x="496" y="289"/>
                    <a:pt x="496" y="259"/>
                    <a:pt x="496" y="259"/>
                  </a:cubicBezTo>
                  <a:cubicBezTo>
                    <a:pt x="487" y="247"/>
                    <a:pt x="487" y="247"/>
                    <a:pt x="487" y="247"/>
                  </a:cubicBezTo>
                  <a:cubicBezTo>
                    <a:pt x="495" y="246"/>
                    <a:pt x="495" y="246"/>
                    <a:pt x="495" y="246"/>
                  </a:cubicBezTo>
                  <a:cubicBezTo>
                    <a:pt x="496" y="226"/>
                    <a:pt x="496" y="226"/>
                    <a:pt x="496" y="226"/>
                  </a:cubicBezTo>
                  <a:cubicBezTo>
                    <a:pt x="491" y="218"/>
                    <a:pt x="491" y="218"/>
                    <a:pt x="491" y="218"/>
                  </a:cubicBezTo>
                  <a:cubicBezTo>
                    <a:pt x="491" y="203"/>
                    <a:pt x="491" y="203"/>
                    <a:pt x="491" y="203"/>
                  </a:cubicBezTo>
                  <a:cubicBezTo>
                    <a:pt x="491" y="203"/>
                    <a:pt x="475" y="193"/>
                    <a:pt x="477" y="186"/>
                  </a:cubicBezTo>
                  <a:cubicBezTo>
                    <a:pt x="508" y="175"/>
                    <a:pt x="476" y="178"/>
                    <a:pt x="476" y="178"/>
                  </a:cubicBezTo>
                  <a:cubicBezTo>
                    <a:pt x="463" y="93"/>
                    <a:pt x="463" y="93"/>
                    <a:pt x="463" y="93"/>
                  </a:cubicBezTo>
                  <a:cubicBezTo>
                    <a:pt x="458" y="95"/>
                    <a:pt x="436" y="105"/>
                    <a:pt x="435" y="102"/>
                  </a:cubicBezTo>
                  <a:cubicBezTo>
                    <a:pt x="418" y="138"/>
                    <a:pt x="357" y="137"/>
                    <a:pt x="357" y="137"/>
                  </a:cubicBezTo>
                  <a:cubicBezTo>
                    <a:pt x="325" y="122"/>
                    <a:pt x="325" y="122"/>
                    <a:pt x="325" y="122"/>
                  </a:cubicBezTo>
                  <a:cubicBezTo>
                    <a:pt x="325" y="122"/>
                    <a:pt x="286" y="117"/>
                    <a:pt x="239" y="114"/>
                  </a:cubicBezTo>
                  <a:cubicBezTo>
                    <a:pt x="194" y="93"/>
                    <a:pt x="170" y="107"/>
                    <a:pt x="170" y="107"/>
                  </a:cubicBezTo>
                  <a:cubicBezTo>
                    <a:pt x="168" y="123"/>
                    <a:pt x="168" y="123"/>
                    <a:pt x="168" y="123"/>
                  </a:cubicBezTo>
                  <a:cubicBezTo>
                    <a:pt x="160" y="116"/>
                    <a:pt x="160" y="116"/>
                    <a:pt x="160" y="116"/>
                  </a:cubicBezTo>
                  <a:cubicBezTo>
                    <a:pt x="160" y="116"/>
                    <a:pt x="150" y="108"/>
                    <a:pt x="157" y="102"/>
                  </a:cubicBezTo>
                  <a:cubicBezTo>
                    <a:pt x="164" y="96"/>
                    <a:pt x="152" y="88"/>
                    <a:pt x="152" y="88"/>
                  </a:cubicBezTo>
                  <a:cubicBezTo>
                    <a:pt x="130" y="51"/>
                    <a:pt x="130" y="51"/>
                    <a:pt x="130" y="51"/>
                  </a:cubicBezTo>
                  <a:cubicBezTo>
                    <a:pt x="150" y="35"/>
                    <a:pt x="150" y="35"/>
                    <a:pt x="150" y="35"/>
                  </a:cubicBezTo>
                  <a:cubicBezTo>
                    <a:pt x="140" y="11"/>
                    <a:pt x="140" y="11"/>
                    <a:pt x="140" y="11"/>
                  </a:cubicBezTo>
                  <a:cubicBezTo>
                    <a:pt x="104" y="7"/>
                    <a:pt x="104" y="7"/>
                    <a:pt x="104" y="7"/>
                  </a:cubicBezTo>
                  <a:cubicBezTo>
                    <a:pt x="91" y="21"/>
                    <a:pt x="91" y="21"/>
                    <a:pt x="91" y="21"/>
                  </a:cubicBezTo>
                  <a:cubicBezTo>
                    <a:pt x="91" y="21"/>
                    <a:pt x="82" y="30"/>
                    <a:pt x="59" y="24"/>
                  </a:cubicBezTo>
                  <a:cubicBezTo>
                    <a:pt x="36" y="18"/>
                    <a:pt x="1" y="0"/>
                    <a:pt x="1" y="0"/>
                  </a:cubicBezTo>
                  <a:cubicBezTo>
                    <a:pt x="0" y="16"/>
                    <a:pt x="0" y="16"/>
                    <a:pt x="0" y="16"/>
                  </a:cubicBezTo>
                  <a:cubicBezTo>
                    <a:pt x="0" y="16"/>
                    <a:pt x="4" y="16"/>
                    <a:pt x="16" y="23"/>
                  </a:cubicBezTo>
                  <a:cubicBezTo>
                    <a:pt x="28" y="30"/>
                    <a:pt x="12" y="63"/>
                    <a:pt x="12" y="63"/>
                  </a:cubicBezTo>
                  <a:cubicBezTo>
                    <a:pt x="12" y="63"/>
                    <a:pt x="21" y="81"/>
                    <a:pt x="22" y="85"/>
                  </a:cubicBezTo>
                  <a:cubicBezTo>
                    <a:pt x="22" y="112"/>
                    <a:pt x="34" y="108"/>
                    <a:pt x="34" y="108"/>
                  </a:cubicBezTo>
                  <a:cubicBezTo>
                    <a:pt x="66" y="158"/>
                    <a:pt x="66" y="158"/>
                    <a:pt x="66" y="158"/>
                  </a:cubicBezTo>
                  <a:cubicBezTo>
                    <a:pt x="65" y="214"/>
                    <a:pt x="65" y="214"/>
                    <a:pt x="65" y="214"/>
                  </a:cubicBezTo>
                  <a:cubicBezTo>
                    <a:pt x="73" y="216"/>
                    <a:pt x="73" y="216"/>
                    <a:pt x="73" y="216"/>
                  </a:cubicBezTo>
                  <a:cubicBezTo>
                    <a:pt x="69" y="232"/>
                    <a:pt x="69" y="232"/>
                    <a:pt x="69" y="232"/>
                  </a:cubicBezTo>
                  <a:cubicBezTo>
                    <a:pt x="78" y="239"/>
                    <a:pt x="78" y="239"/>
                    <a:pt x="78" y="239"/>
                  </a:cubicBezTo>
                  <a:cubicBezTo>
                    <a:pt x="70" y="245"/>
                    <a:pt x="70" y="245"/>
                    <a:pt x="70" y="245"/>
                  </a:cubicBezTo>
                  <a:cubicBezTo>
                    <a:pt x="70" y="245"/>
                    <a:pt x="66" y="280"/>
                    <a:pt x="69" y="294"/>
                  </a:cubicBezTo>
                  <a:cubicBezTo>
                    <a:pt x="71" y="315"/>
                    <a:pt x="108" y="326"/>
                    <a:pt x="108" y="326"/>
                  </a:cubicBezTo>
                  <a:cubicBezTo>
                    <a:pt x="83" y="331"/>
                    <a:pt x="83" y="331"/>
                    <a:pt x="83" y="331"/>
                  </a:cubicBezTo>
                  <a:cubicBezTo>
                    <a:pt x="83" y="331"/>
                    <a:pt x="75" y="328"/>
                    <a:pt x="68" y="329"/>
                  </a:cubicBezTo>
                  <a:cubicBezTo>
                    <a:pt x="66" y="330"/>
                    <a:pt x="62" y="331"/>
                    <a:pt x="58" y="332"/>
                  </a:cubicBezTo>
                  <a:cubicBezTo>
                    <a:pt x="77" y="377"/>
                    <a:pt x="77" y="377"/>
                    <a:pt x="77" y="377"/>
                  </a:cubicBezTo>
                  <a:cubicBezTo>
                    <a:pt x="77" y="377"/>
                    <a:pt x="87" y="470"/>
                    <a:pt x="136" y="402"/>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1" name="Bretagne" descr="© INSCALE GmbH, 05.05.2010&#10;http://www.presentationload.com/">
              <a:extLst>
                <a:ext uri="{FF2B5EF4-FFF2-40B4-BE49-F238E27FC236}">
                  <a16:creationId xmlns:a16="http://schemas.microsoft.com/office/drawing/2014/main" id="{F823883D-B803-4C7E-982B-A6EA279E0036}"/>
                </a:ext>
              </a:extLst>
            </p:cNvPr>
            <p:cNvSpPr>
              <a:spLocks noEditPoints="1"/>
            </p:cNvSpPr>
            <p:nvPr/>
          </p:nvSpPr>
          <p:spPr bwMode="gray">
            <a:xfrm>
              <a:off x="48" y="857"/>
              <a:ext cx="953" cy="536"/>
            </a:xfrm>
            <a:custGeom>
              <a:avLst/>
              <a:gdLst/>
              <a:ahLst/>
              <a:cxnLst>
                <a:cxn ang="0">
                  <a:pos x="459" y="18"/>
                </a:cxn>
                <a:cxn ang="0">
                  <a:pos x="5" y="133"/>
                </a:cxn>
                <a:cxn ang="0">
                  <a:pos x="355" y="388"/>
                </a:cxn>
                <a:cxn ang="0">
                  <a:pos x="355" y="388"/>
                </a:cxn>
                <a:cxn ang="0">
                  <a:pos x="394" y="465"/>
                </a:cxn>
                <a:cxn ang="0">
                  <a:pos x="422" y="494"/>
                </a:cxn>
                <a:cxn ang="0">
                  <a:pos x="413" y="479"/>
                </a:cxn>
                <a:cxn ang="0">
                  <a:pos x="448" y="462"/>
                </a:cxn>
                <a:cxn ang="0">
                  <a:pos x="467" y="479"/>
                </a:cxn>
                <a:cxn ang="0">
                  <a:pos x="55" y="259"/>
                </a:cxn>
                <a:cxn ang="0">
                  <a:pos x="36" y="144"/>
                </a:cxn>
                <a:cxn ang="0">
                  <a:pos x="56" y="163"/>
                </a:cxn>
                <a:cxn ang="0">
                  <a:pos x="246" y="42"/>
                </a:cxn>
                <a:cxn ang="0">
                  <a:pos x="874" y="165"/>
                </a:cxn>
                <a:cxn ang="0">
                  <a:pos x="757" y="79"/>
                </a:cxn>
                <a:cxn ang="0">
                  <a:pos x="705" y="58"/>
                </a:cxn>
                <a:cxn ang="0">
                  <a:pos x="628" y="92"/>
                </a:cxn>
                <a:cxn ang="0">
                  <a:pos x="606" y="63"/>
                </a:cxn>
                <a:cxn ang="0">
                  <a:pos x="570" y="80"/>
                </a:cxn>
                <a:cxn ang="0">
                  <a:pos x="526" y="116"/>
                </a:cxn>
                <a:cxn ang="0">
                  <a:pos x="496" y="71"/>
                </a:cxn>
                <a:cxn ang="0">
                  <a:pos x="458" y="31"/>
                </a:cxn>
                <a:cxn ang="0">
                  <a:pos x="446" y="0"/>
                </a:cxn>
                <a:cxn ang="0">
                  <a:pos x="401" y="13"/>
                </a:cxn>
                <a:cxn ang="0">
                  <a:pos x="347" y="22"/>
                </a:cxn>
                <a:cxn ang="0">
                  <a:pos x="333" y="59"/>
                </a:cxn>
                <a:cxn ang="0">
                  <a:pos x="268" y="58"/>
                </a:cxn>
                <a:cxn ang="0">
                  <a:pos x="237" y="58"/>
                </a:cxn>
                <a:cxn ang="0">
                  <a:pos x="186" y="70"/>
                </a:cxn>
                <a:cxn ang="0">
                  <a:pos x="147" y="76"/>
                </a:cxn>
                <a:cxn ang="0">
                  <a:pos x="115" y="80"/>
                </a:cxn>
                <a:cxn ang="0">
                  <a:pos x="84" y="106"/>
                </a:cxn>
                <a:cxn ang="0">
                  <a:pos x="79" y="148"/>
                </a:cxn>
                <a:cxn ang="0">
                  <a:pos x="98" y="154"/>
                </a:cxn>
                <a:cxn ang="0">
                  <a:pos x="156" y="145"/>
                </a:cxn>
                <a:cxn ang="0">
                  <a:pos x="172" y="160"/>
                </a:cxn>
                <a:cxn ang="0">
                  <a:pos x="155" y="185"/>
                </a:cxn>
                <a:cxn ang="0">
                  <a:pos x="122" y="172"/>
                </a:cxn>
                <a:cxn ang="0">
                  <a:pos x="125" y="211"/>
                </a:cxn>
                <a:cxn ang="0">
                  <a:pos x="171" y="237"/>
                </a:cxn>
                <a:cxn ang="0">
                  <a:pos x="156" y="329"/>
                </a:cxn>
                <a:cxn ang="0">
                  <a:pos x="235" y="316"/>
                </a:cxn>
                <a:cxn ang="0">
                  <a:pos x="294" y="333"/>
                </a:cxn>
                <a:cxn ang="0">
                  <a:pos x="384" y="364"/>
                </a:cxn>
                <a:cxn ang="0">
                  <a:pos x="414" y="432"/>
                </a:cxn>
                <a:cxn ang="0">
                  <a:pos x="425" y="403"/>
                </a:cxn>
                <a:cxn ang="0">
                  <a:pos x="460" y="391"/>
                </a:cxn>
                <a:cxn ang="0">
                  <a:pos x="522" y="390"/>
                </a:cxn>
                <a:cxn ang="0">
                  <a:pos x="462" y="407"/>
                </a:cxn>
                <a:cxn ang="0">
                  <a:pos x="513" y="428"/>
                </a:cxn>
                <a:cxn ang="0">
                  <a:pos x="555" y="424"/>
                </a:cxn>
                <a:cxn ang="0">
                  <a:pos x="566" y="454"/>
                </a:cxn>
                <a:cxn ang="0">
                  <a:pos x="554" y="487"/>
                </a:cxn>
                <a:cxn ang="0">
                  <a:pos x="595" y="481"/>
                </a:cxn>
                <a:cxn ang="0">
                  <a:pos x="666" y="409"/>
                </a:cxn>
                <a:cxn ang="0">
                  <a:pos x="752" y="389"/>
                </a:cxn>
                <a:cxn ang="0">
                  <a:pos x="796" y="377"/>
                </a:cxn>
                <a:cxn ang="0">
                  <a:pos x="838" y="366"/>
                </a:cxn>
                <a:cxn ang="0">
                  <a:pos x="879" y="220"/>
                </a:cxn>
              </a:cxnLst>
              <a:rect l="0" t="0" r="r" b="b"/>
              <a:pathLst>
                <a:path w="884" h="496">
                  <a:moveTo>
                    <a:pt x="459" y="18"/>
                  </a:moveTo>
                  <a:cubicBezTo>
                    <a:pt x="460" y="17"/>
                    <a:pt x="460" y="17"/>
                    <a:pt x="460" y="15"/>
                  </a:cubicBezTo>
                  <a:cubicBezTo>
                    <a:pt x="460" y="12"/>
                    <a:pt x="459" y="14"/>
                    <a:pt x="459" y="18"/>
                  </a:cubicBezTo>
                  <a:close/>
                  <a:moveTo>
                    <a:pt x="17" y="117"/>
                  </a:moveTo>
                  <a:cubicBezTo>
                    <a:pt x="11" y="117"/>
                    <a:pt x="0" y="125"/>
                    <a:pt x="0" y="125"/>
                  </a:cubicBezTo>
                  <a:cubicBezTo>
                    <a:pt x="5" y="133"/>
                    <a:pt x="5" y="133"/>
                    <a:pt x="5" y="133"/>
                  </a:cubicBezTo>
                  <a:cubicBezTo>
                    <a:pt x="21" y="123"/>
                    <a:pt x="21" y="123"/>
                    <a:pt x="21" y="123"/>
                  </a:cubicBezTo>
                  <a:cubicBezTo>
                    <a:pt x="21" y="123"/>
                    <a:pt x="23" y="117"/>
                    <a:pt x="17" y="117"/>
                  </a:cubicBezTo>
                  <a:close/>
                  <a:moveTo>
                    <a:pt x="355" y="388"/>
                  </a:moveTo>
                  <a:cubicBezTo>
                    <a:pt x="346" y="382"/>
                    <a:pt x="339" y="378"/>
                    <a:pt x="339" y="378"/>
                  </a:cubicBezTo>
                  <a:cubicBezTo>
                    <a:pt x="339" y="378"/>
                    <a:pt x="333" y="390"/>
                    <a:pt x="344" y="389"/>
                  </a:cubicBezTo>
                  <a:cubicBezTo>
                    <a:pt x="355" y="388"/>
                    <a:pt x="364" y="394"/>
                    <a:pt x="355" y="388"/>
                  </a:cubicBezTo>
                  <a:close/>
                  <a:moveTo>
                    <a:pt x="413" y="479"/>
                  </a:moveTo>
                  <a:cubicBezTo>
                    <a:pt x="409" y="469"/>
                    <a:pt x="409" y="469"/>
                    <a:pt x="409" y="469"/>
                  </a:cubicBezTo>
                  <a:cubicBezTo>
                    <a:pt x="394" y="465"/>
                    <a:pt x="394" y="465"/>
                    <a:pt x="394" y="465"/>
                  </a:cubicBezTo>
                  <a:cubicBezTo>
                    <a:pt x="384" y="466"/>
                    <a:pt x="393" y="490"/>
                    <a:pt x="393" y="490"/>
                  </a:cubicBezTo>
                  <a:cubicBezTo>
                    <a:pt x="413" y="490"/>
                    <a:pt x="413" y="490"/>
                    <a:pt x="413" y="490"/>
                  </a:cubicBezTo>
                  <a:cubicBezTo>
                    <a:pt x="422" y="494"/>
                    <a:pt x="422" y="494"/>
                    <a:pt x="422" y="494"/>
                  </a:cubicBezTo>
                  <a:cubicBezTo>
                    <a:pt x="427" y="485"/>
                    <a:pt x="427" y="485"/>
                    <a:pt x="427" y="485"/>
                  </a:cubicBezTo>
                  <a:cubicBezTo>
                    <a:pt x="425" y="480"/>
                    <a:pt x="425" y="480"/>
                    <a:pt x="425" y="480"/>
                  </a:cubicBezTo>
                  <a:lnTo>
                    <a:pt x="413" y="479"/>
                  </a:lnTo>
                  <a:close/>
                  <a:moveTo>
                    <a:pt x="448" y="462"/>
                  </a:moveTo>
                  <a:cubicBezTo>
                    <a:pt x="448" y="462"/>
                    <a:pt x="454" y="467"/>
                    <a:pt x="454" y="465"/>
                  </a:cubicBezTo>
                  <a:cubicBezTo>
                    <a:pt x="454" y="462"/>
                    <a:pt x="454" y="462"/>
                    <a:pt x="448" y="462"/>
                  </a:cubicBezTo>
                  <a:close/>
                  <a:moveTo>
                    <a:pt x="467" y="479"/>
                  </a:moveTo>
                  <a:cubicBezTo>
                    <a:pt x="467" y="479"/>
                    <a:pt x="473" y="479"/>
                    <a:pt x="473" y="476"/>
                  </a:cubicBezTo>
                  <a:cubicBezTo>
                    <a:pt x="473" y="473"/>
                    <a:pt x="467" y="479"/>
                    <a:pt x="467" y="479"/>
                  </a:cubicBezTo>
                  <a:close/>
                  <a:moveTo>
                    <a:pt x="55" y="259"/>
                  </a:moveTo>
                  <a:cubicBezTo>
                    <a:pt x="58" y="258"/>
                    <a:pt x="53" y="251"/>
                    <a:pt x="53" y="251"/>
                  </a:cubicBezTo>
                  <a:cubicBezTo>
                    <a:pt x="53" y="251"/>
                    <a:pt x="52" y="260"/>
                    <a:pt x="55" y="259"/>
                  </a:cubicBezTo>
                  <a:close/>
                  <a:moveTo>
                    <a:pt x="36" y="144"/>
                  </a:moveTo>
                  <a:cubicBezTo>
                    <a:pt x="41" y="150"/>
                    <a:pt x="40" y="142"/>
                    <a:pt x="40" y="142"/>
                  </a:cubicBezTo>
                  <a:cubicBezTo>
                    <a:pt x="40" y="142"/>
                    <a:pt x="31" y="139"/>
                    <a:pt x="36" y="144"/>
                  </a:cubicBezTo>
                  <a:close/>
                  <a:moveTo>
                    <a:pt x="56" y="163"/>
                  </a:moveTo>
                  <a:cubicBezTo>
                    <a:pt x="56" y="163"/>
                    <a:pt x="64" y="161"/>
                    <a:pt x="59" y="156"/>
                  </a:cubicBezTo>
                  <a:cubicBezTo>
                    <a:pt x="54" y="152"/>
                    <a:pt x="56" y="163"/>
                    <a:pt x="56" y="163"/>
                  </a:cubicBezTo>
                  <a:close/>
                  <a:moveTo>
                    <a:pt x="247" y="36"/>
                  </a:moveTo>
                  <a:cubicBezTo>
                    <a:pt x="242" y="39"/>
                    <a:pt x="242" y="39"/>
                    <a:pt x="242" y="39"/>
                  </a:cubicBezTo>
                  <a:cubicBezTo>
                    <a:pt x="246" y="42"/>
                    <a:pt x="246" y="42"/>
                    <a:pt x="246" y="42"/>
                  </a:cubicBezTo>
                  <a:lnTo>
                    <a:pt x="247" y="36"/>
                  </a:lnTo>
                  <a:close/>
                  <a:moveTo>
                    <a:pt x="872" y="188"/>
                  </a:moveTo>
                  <a:cubicBezTo>
                    <a:pt x="874" y="165"/>
                    <a:pt x="874" y="165"/>
                    <a:pt x="874" y="165"/>
                  </a:cubicBezTo>
                  <a:cubicBezTo>
                    <a:pt x="865" y="163"/>
                    <a:pt x="853" y="157"/>
                    <a:pt x="835" y="149"/>
                  </a:cubicBezTo>
                  <a:cubicBezTo>
                    <a:pt x="786" y="217"/>
                    <a:pt x="776" y="124"/>
                    <a:pt x="776" y="124"/>
                  </a:cubicBezTo>
                  <a:cubicBezTo>
                    <a:pt x="757" y="79"/>
                    <a:pt x="757" y="79"/>
                    <a:pt x="757" y="79"/>
                  </a:cubicBezTo>
                  <a:cubicBezTo>
                    <a:pt x="750" y="81"/>
                    <a:pt x="742" y="83"/>
                    <a:pt x="742" y="83"/>
                  </a:cubicBezTo>
                  <a:cubicBezTo>
                    <a:pt x="742" y="83"/>
                    <a:pt x="722" y="85"/>
                    <a:pt x="710" y="84"/>
                  </a:cubicBezTo>
                  <a:cubicBezTo>
                    <a:pt x="698" y="83"/>
                    <a:pt x="705" y="58"/>
                    <a:pt x="705" y="58"/>
                  </a:cubicBezTo>
                  <a:cubicBezTo>
                    <a:pt x="692" y="58"/>
                    <a:pt x="664" y="78"/>
                    <a:pt x="664" y="78"/>
                  </a:cubicBezTo>
                  <a:cubicBezTo>
                    <a:pt x="647" y="76"/>
                    <a:pt x="647" y="76"/>
                    <a:pt x="647" y="76"/>
                  </a:cubicBezTo>
                  <a:cubicBezTo>
                    <a:pt x="647" y="76"/>
                    <a:pt x="636" y="91"/>
                    <a:pt x="628" y="92"/>
                  </a:cubicBezTo>
                  <a:cubicBezTo>
                    <a:pt x="620" y="93"/>
                    <a:pt x="616" y="75"/>
                    <a:pt x="616" y="75"/>
                  </a:cubicBezTo>
                  <a:cubicBezTo>
                    <a:pt x="601" y="80"/>
                    <a:pt x="601" y="80"/>
                    <a:pt x="601" y="80"/>
                  </a:cubicBezTo>
                  <a:cubicBezTo>
                    <a:pt x="601" y="80"/>
                    <a:pt x="609" y="67"/>
                    <a:pt x="606" y="63"/>
                  </a:cubicBezTo>
                  <a:cubicBezTo>
                    <a:pt x="603" y="59"/>
                    <a:pt x="584" y="75"/>
                    <a:pt x="584" y="75"/>
                  </a:cubicBezTo>
                  <a:cubicBezTo>
                    <a:pt x="571" y="72"/>
                    <a:pt x="571" y="72"/>
                    <a:pt x="571" y="72"/>
                  </a:cubicBezTo>
                  <a:cubicBezTo>
                    <a:pt x="570" y="80"/>
                    <a:pt x="570" y="80"/>
                    <a:pt x="570" y="80"/>
                  </a:cubicBezTo>
                  <a:cubicBezTo>
                    <a:pt x="533" y="109"/>
                    <a:pt x="533" y="109"/>
                    <a:pt x="533" y="109"/>
                  </a:cubicBezTo>
                  <a:cubicBezTo>
                    <a:pt x="529" y="106"/>
                    <a:pt x="529" y="106"/>
                    <a:pt x="529" y="106"/>
                  </a:cubicBezTo>
                  <a:cubicBezTo>
                    <a:pt x="526" y="116"/>
                    <a:pt x="526" y="116"/>
                    <a:pt x="526" y="116"/>
                  </a:cubicBezTo>
                  <a:cubicBezTo>
                    <a:pt x="516" y="96"/>
                    <a:pt x="516" y="96"/>
                    <a:pt x="516" y="96"/>
                  </a:cubicBezTo>
                  <a:cubicBezTo>
                    <a:pt x="499" y="88"/>
                    <a:pt x="499" y="88"/>
                    <a:pt x="499" y="88"/>
                  </a:cubicBezTo>
                  <a:cubicBezTo>
                    <a:pt x="496" y="71"/>
                    <a:pt x="496" y="71"/>
                    <a:pt x="496" y="71"/>
                  </a:cubicBezTo>
                  <a:cubicBezTo>
                    <a:pt x="473" y="49"/>
                    <a:pt x="473" y="49"/>
                    <a:pt x="473" y="49"/>
                  </a:cubicBezTo>
                  <a:cubicBezTo>
                    <a:pt x="473" y="36"/>
                    <a:pt x="473" y="36"/>
                    <a:pt x="473" y="36"/>
                  </a:cubicBezTo>
                  <a:cubicBezTo>
                    <a:pt x="473" y="36"/>
                    <a:pt x="459" y="35"/>
                    <a:pt x="458" y="31"/>
                  </a:cubicBezTo>
                  <a:cubicBezTo>
                    <a:pt x="457" y="29"/>
                    <a:pt x="458" y="22"/>
                    <a:pt x="459" y="18"/>
                  </a:cubicBezTo>
                  <a:cubicBezTo>
                    <a:pt x="455" y="21"/>
                    <a:pt x="444" y="18"/>
                    <a:pt x="444" y="18"/>
                  </a:cubicBezTo>
                  <a:cubicBezTo>
                    <a:pt x="446" y="0"/>
                    <a:pt x="446" y="0"/>
                    <a:pt x="446" y="0"/>
                  </a:cubicBezTo>
                  <a:cubicBezTo>
                    <a:pt x="426" y="10"/>
                    <a:pt x="426" y="10"/>
                    <a:pt x="426" y="10"/>
                  </a:cubicBezTo>
                  <a:cubicBezTo>
                    <a:pt x="415" y="4"/>
                    <a:pt x="415" y="4"/>
                    <a:pt x="415" y="4"/>
                  </a:cubicBezTo>
                  <a:cubicBezTo>
                    <a:pt x="415" y="4"/>
                    <a:pt x="411" y="10"/>
                    <a:pt x="401" y="13"/>
                  </a:cubicBezTo>
                  <a:cubicBezTo>
                    <a:pt x="387" y="15"/>
                    <a:pt x="372" y="26"/>
                    <a:pt x="372" y="26"/>
                  </a:cubicBezTo>
                  <a:cubicBezTo>
                    <a:pt x="371" y="19"/>
                    <a:pt x="356" y="12"/>
                    <a:pt x="351" y="12"/>
                  </a:cubicBezTo>
                  <a:cubicBezTo>
                    <a:pt x="346" y="12"/>
                    <a:pt x="347" y="22"/>
                    <a:pt x="347" y="22"/>
                  </a:cubicBezTo>
                  <a:cubicBezTo>
                    <a:pt x="341" y="25"/>
                    <a:pt x="341" y="25"/>
                    <a:pt x="341" y="25"/>
                  </a:cubicBezTo>
                  <a:cubicBezTo>
                    <a:pt x="347" y="40"/>
                    <a:pt x="347" y="40"/>
                    <a:pt x="347" y="40"/>
                  </a:cubicBezTo>
                  <a:cubicBezTo>
                    <a:pt x="347" y="40"/>
                    <a:pt x="336" y="60"/>
                    <a:pt x="333" y="59"/>
                  </a:cubicBezTo>
                  <a:cubicBezTo>
                    <a:pt x="300" y="51"/>
                    <a:pt x="285" y="50"/>
                    <a:pt x="282" y="56"/>
                  </a:cubicBezTo>
                  <a:cubicBezTo>
                    <a:pt x="279" y="62"/>
                    <a:pt x="280" y="72"/>
                    <a:pt x="277" y="72"/>
                  </a:cubicBezTo>
                  <a:cubicBezTo>
                    <a:pt x="274" y="72"/>
                    <a:pt x="268" y="58"/>
                    <a:pt x="268" y="58"/>
                  </a:cubicBezTo>
                  <a:cubicBezTo>
                    <a:pt x="258" y="63"/>
                    <a:pt x="258" y="63"/>
                    <a:pt x="258" y="63"/>
                  </a:cubicBezTo>
                  <a:cubicBezTo>
                    <a:pt x="258" y="63"/>
                    <a:pt x="251" y="44"/>
                    <a:pt x="245" y="47"/>
                  </a:cubicBezTo>
                  <a:cubicBezTo>
                    <a:pt x="239" y="50"/>
                    <a:pt x="237" y="58"/>
                    <a:pt x="237" y="58"/>
                  </a:cubicBezTo>
                  <a:cubicBezTo>
                    <a:pt x="237" y="58"/>
                    <a:pt x="226" y="55"/>
                    <a:pt x="217" y="54"/>
                  </a:cubicBezTo>
                  <a:cubicBezTo>
                    <a:pt x="208" y="53"/>
                    <a:pt x="200" y="64"/>
                    <a:pt x="200" y="64"/>
                  </a:cubicBezTo>
                  <a:cubicBezTo>
                    <a:pt x="186" y="70"/>
                    <a:pt x="186" y="70"/>
                    <a:pt x="186" y="70"/>
                  </a:cubicBezTo>
                  <a:cubicBezTo>
                    <a:pt x="173" y="60"/>
                    <a:pt x="173" y="60"/>
                    <a:pt x="173" y="60"/>
                  </a:cubicBezTo>
                  <a:cubicBezTo>
                    <a:pt x="173" y="60"/>
                    <a:pt x="168" y="65"/>
                    <a:pt x="161" y="69"/>
                  </a:cubicBezTo>
                  <a:cubicBezTo>
                    <a:pt x="154" y="73"/>
                    <a:pt x="147" y="76"/>
                    <a:pt x="147" y="76"/>
                  </a:cubicBezTo>
                  <a:cubicBezTo>
                    <a:pt x="147" y="76"/>
                    <a:pt x="131" y="70"/>
                    <a:pt x="126" y="70"/>
                  </a:cubicBezTo>
                  <a:cubicBezTo>
                    <a:pt x="121" y="70"/>
                    <a:pt x="134" y="84"/>
                    <a:pt x="134" y="84"/>
                  </a:cubicBezTo>
                  <a:cubicBezTo>
                    <a:pt x="115" y="80"/>
                    <a:pt x="115" y="80"/>
                    <a:pt x="115" y="80"/>
                  </a:cubicBezTo>
                  <a:cubicBezTo>
                    <a:pt x="115" y="85"/>
                    <a:pt x="115" y="85"/>
                    <a:pt x="115" y="85"/>
                  </a:cubicBezTo>
                  <a:cubicBezTo>
                    <a:pt x="105" y="87"/>
                    <a:pt x="105" y="87"/>
                    <a:pt x="105" y="87"/>
                  </a:cubicBezTo>
                  <a:cubicBezTo>
                    <a:pt x="105" y="87"/>
                    <a:pt x="96" y="98"/>
                    <a:pt x="84" y="106"/>
                  </a:cubicBezTo>
                  <a:cubicBezTo>
                    <a:pt x="72" y="114"/>
                    <a:pt x="86" y="121"/>
                    <a:pt x="86" y="121"/>
                  </a:cubicBezTo>
                  <a:cubicBezTo>
                    <a:pt x="86" y="121"/>
                    <a:pt x="76" y="131"/>
                    <a:pt x="75" y="139"/>
                  </a:cubicBezTo>
                  <a:cubicBezTo>
                    <a:pt x="74" y="147"/>
                    <a:pt x="79" y="148"/>
                    <a:pt x="79" y="148"/>
                  </a:cubicBezTo>
                  <a:cubicBezTo>
                    <a:pt x="79" y="148"/>
                    <a:pt x="74" y="150"/>
                    <a:pt x="75" y="160"/>
                  </a:cubicBezTo>
                  <a:cubicBezTo>
                    <a:pt x="76" y="170"/>
                    <a:pt x="86" y="164"/>
                    <a:pt x="86" y="164"/>
                  </a:cubicBezTo>
                  <a:cubicBezTo>
                    <a:pt x="98" y="154"/>
                    <a:pt x="98" y="154"/>
                    <a:pt x="98" y="154"/>
                  </a:cubicBezTo>
                  <a:cubicBezTo>
                    <a:pt x="107" y="157"/>
                    <a:pt x="107" y="157"/>
                    <a:pt x="107" y="157"/>
                  </a:cubicBezTo>
                  <a:cubicBezTo>
                    <a:pt x="107" y="157"/>
                    <a:pt x="112" y="161"/>
                    <a:pt x="122" y="156"/>
                  </a:cubicBezTo>
                  <a:cubicBezTo>
                    <a:pt x="132" y="151"/>
                    <a:pt x="156" y="145"/>
                    <a:pt x="156" y="145"/>
                  </a:cubicBezTo>
                  <a:cubicBezTo>
                    <a:pt x="145" y="163"/>
                    <a:pt x="145" y="163"/>
                    <a:pt x="145" y="163"/>
                  </a:cubicBezTo>
                  <a:cubicBezTo>
                    <a:pt x="157" y="168"/>
                    <a:pt x="157" y="168"/>
                    <a:pt x="157" y="168"/>
                  </a:cubicBezTo>
                  <a:cubicBezTo>
                    <a:pt x="172" y="160"/>
                    <a:pt x="172" y="160"/>
                    <a:pt x="172" y="160"/>
                  </a:cubicBezTo>
                  <a:cubicBezTo>
                    <a:pt x="174" y="166"/>
                    <a:pt x="186" y="174"/>
                    <a:pt x="183" y="174"/>
                  </a:cubicBezTo>
                  <a:cubicBezTo>
                    <a:pt x="180" y="174"/>
                    <a:pt x="166" y="183"/>
                    <a:pt x="166" y="183"/>
                  </a:cubicBezTo>
                  <a:cubicBezTo>
                    <a:pt x="155" y="185"/>
                    <a:pt x="155" y="185"/>
                    <a:pt x="155" y="185"/>
                  </a:cubicBezTo>
                  <a:cubicBezTo>
                    <a:pt x="145" y="173"/>
                    <a:pt x="145" y="173"/>
                    <a:pt x="145" y="173"/>
                  </a:cubicBezTo>
                  <a:cubicBezTo>
                    <a:pt x="137" y="178"/>
                    <a:pt x="137" y="178"/>
                    <a:pt x="137" y="178"/>
                  </a:cubicBezTo>
                  <a:cubicBezTo>
                    <a:pt x="122" y="172"/>
                    <a:pt x="122" y="172"/>
                    <a:pt x="122" y="172"/>
                  </a:cubicBezTo>
                  <a:cubicBezTo>
                    <a:pt x="109" y="181"/>
                    <a:pt x="109" y="181"/>
                    <a:pt x="109" y="181"/>
                  </a:cubicBezTo>
                  <a:cubicBezTo>
                    <a:pt x="120" y="189"/>
                    <a:pt x="120" y="189"/>
                    <a:pt x="120" y="189"/>
                  </a:cubicBezTo>
                  <a:cubicBezTo>
                    <a:pt x="120" y="189"/>
                    <a:pt x="124" y="208"/>
                    <a:pt x="125" y="211"/>
                  </a:cubicBezTo>
                  <a:cubicBezTo>
                    <a:pt x="126" y="214"/>
                    <a:pt x="130" y="192"/>
                    <a:pt x="141" y="191"/>
                  </a:cubicBezTo>
                  <a:cubicBezTo>
                    <a:pt x="152" y="190"/>
                    <a:pt x="135" y="190"/>
                    <a:pt x="164" y="204"/>
                  </a:cubicBezTo>
                  <a:cubicBezTo>
                    <a:pt x="193" y="218"/>
                    <a:pt x="171" y="237"/>
                    <a:pt x="171" y="237"/>
                  </a:cubicBezTo>
                  <a:cubicBezTo>
                    <a:pt x="144" y="227"/>
                    <a:pt x="79" y="254"/>
                    <a:pt x="79" y="254"/>
                  </a:cubicBezTo>
                  <a:cubicBezTo>
                    <a:pt x="139" y="267"/>
                    <a:pt x="141" y="276"/>
                    <a:pt x="153" y="293"/>
                  </a:cubicBezTo>
                  <a:cubicBezTo>
                    <a:pt x="165" y="310"/>
                    <a:pt x="156" y="329"/>
                    <a:pt x="156" y="329"/>
                  </a:cubicBezTo>
                  <a:cubicBezTo>
                    <a:pt x="197" y="333"/>
                    <a:pt x="197" y="333"/>
                    <a:pt x="197" y="333"/>
                  </a:cubicBezTo>
                  <a:cubicBezTo>
                    <a:pt x="197" y="333"/>
                    <a:pt x="207" y="310"/>
                    <a:pt x="214" y="310"/>
                  </a:cubicBezTo>
                  <a:cubicBezTo>
                    <a:pt x="221" y="310"/>
                    <a:pt x="231" y="316"/>
                    <a:pt x="235" y="316"/>
                  </a:cubicBezTo>
                  <a:cubicBezTo>
                    <a:pt x="239" y="316"/>
                    <a:pt x="249" y="301"/>
                    <a:pt x="249" y="301"/>
                  </a:cubicBezTo>
                  <a:cubicBezTo>
                    <a:pt x="268" y="334"/>
                    <a:pt x="268" y="334"/>
                    <a:pt x="268" y="334"/>
                  </a:cubicBezTo>
                  <a:cubicBezTo>
                    <a:pt x="294" y="333"/>
                    <a:pt x="294" y="333"/>
                    <a:pt x="294" y="333"/>
                  </a:cubicBezTo>
                  <a:cubicBezTo>
                    <a:pt x="296" y="338"/>
                    <a:pt x="335" y="344"/>
                    <a:pt x="335" y="344"/>
                  </a:cubicBezTo>
                  <a:cubicBezTo>
                    <a:pt x="335" y="344"/>
                    <a:pt x="355" y="365"/>
                    <a:pt x="358" y="365"/>
                  </a:cubicBezTo>
                  <a:cubicBezTo>
                    <a:pt x="361" y="365"/>
                    <a:pt x="384" y="364"/>
                    <a:pt x="384" y="364"/>
                  </a:cubicBezTo>
                  <a:cubicBezTo>
                    <a:pt x="414" y="401"/>
                    <a:pt x="414" y="401"/>
                    <a:pt x="414" y="401"/>
                  </a:cubicBezTo>
                  <a:cubicBezTo>
                    <a:pt x="410" y="421"/>
                    <a:pt x="410" y="421"/>
                    <a:pt x="410" y="421"/>
                  </a:cubicBezTo>
                  <a:cubicBezTo>
                    <a:pt x="414" y="432"/>
                    <a:pt x="414" y="432"/>
                    <a:pt x="414" y="432"/>
                  </a:cubicBezTo>
                  <a:cubicBezTo>
                    <a:pt x="414" y="432"/>
                    <a:pt x="426" y="438"/>
                    <a:pt x="422" y="432"/>
                  </a:cubicBezTo>
                  <a:cubicBezTo>
                    <a:pt x="418" y="426"/>
                    <a:pt x="421" y="398"/>
                    <a:pt x="421" y="398"/>
                  </a:cubicBezTo>
                  <a:cubicBezTo>
                    <a:pt x="425" y="403"/>
                    <a:pt x="425" y="403"/>
                    <a:pt x="425" y="403"/>
                  </a:cubicBezTo>
                  <a:cubicBezTo>
                    <a:pt x="442" y="399"/>
                    <a:pt x="442" y="399"/>
                    <a:pt x="442" y="399"/>
                  </a:cubicBezTo>
                  <a:cubicBezTo>
                    <a:pt x="452" y="403"/>
                    <a:pt x="452" y="403"/>
                    <a:pt x="452" y="403"/>
                  </a:cubicBezTo>
                  <a:cubicBezTo>
                    <a:pt x="460" y="391"/>
                    <a:pt x="460" y="391"/>
                    <a:pt x="460" y="391"/>
                  </a:cubicBezTo>
                  <a:cubicBezTo>
                    <a:pt x="466" y="399"/>
                    <a:pt x="466" y="399"/>
                    <a:pt x="466" y="399"/>
                  </a:cubicBezTo>
                  <a:cubicBezTo>
                    <a:pt x="481" y="388"/>
                    <a:pt x="481" y="388"/>
                    <a:pt x="481" y="388"/>
                  </a:cubicBezTo>
                  <a:cubicBezTo>
                    <a:pt x="481" y="388"/>
                    <a:pt x="518" y="389"/>
                    <a:pt x="522" y="390"/>
                  </a:cubicBezTo>
                  <a:cubicBezTo>
                    <a:pt x="517" y="392"/>
                    <a:pt x="502" y="416"/>
                    <a:pt x="502" y="416"/>
                  </a:cubicBezTo>
                  <a:cubicBezTo>
                    <a:pt x="502" y="416"/>
                    <a:pt x="503" y="411"/>
                    <a:pt x="495" y="411"/>
                  </a:cubicBezTo>
                  <a:cubicBezTo>
                    <a:pt x="487" y="411"/>
                    <a:pt x="462" y="407"/>
                    <a:pt x="462" y="407"/>
                  </a:cubicBezTo>
                  <a:cubicBezTo>
                    <a:pt x="487" y="429"/>
                    <a:pt x="487" y="429"/>
                    <a:pt x="487" y="429"/>
                  </a:cubicBezTo>
                  <a:cubicBezTo>
                    <a:pt x="505" y="422"/>
                    <a:pt x="505" y="422"/>
                    <a:pt x="505" y="422"/>
                  </a:cubicBezTo>
                  <a:cubicBezTo>
                    <a:pt x="513" y="428"/>
                    <a:pt x="513" y="428"/>
                    <a:pt x="513" y="428"/>
                  </a:cubicBezTo>
                  <a:cubicBezTo>
                    <a:pt x="517" y="419"/>
                    <a:pt x="517" y="419"/>
                    <a:pt x="517" y="419"/>
                  </a:cubicBezTo>
                  <a:cubicBezTo>
                    <a:pt x="538" y="427"/>
                    <a:pt x="538" y="427"/>
                    <a:pt x="538" y="427"/>
                  </a:cubicBezTo>
                  <a:cubicBezTo>
                    <a:pt x="538" y="427"/>
                    <a:pt x="548" y="420"/>
                    <a:pt x="555" y="424"/>
                  </a:cubicBezTo>
                  <a:cubicBezTo>
                    <a:pt x="562" y="428"/>
                    <a:pt x="557" y="444"/>
                    <a:pt x="557" y="444"/>
                  </a:cubicBezTo>
                  <a:cubicBezTo>
                    <a:pt x="563" y="444"/>
                    <a:pt x="563" y="444"/>
                    <a:pt x="563" y="444"/>
                  </a:cubicBezTo>
                  <a:cubicBezTo>
                    <a:pt x="566" y="454"/>
                    <a:pt x="566" y="454"/>
                    <a:pt x="566" y="454"/>
                  </a:cubicBezTo>
                  <a:cubicBezTo>
                    <a:pt x="555" y="452"/>
                    <a:pt x="555" y="452"/>
                    <a:pt x="555" y="452"/>
                  </a:cubicBezTo>
                  <a:cubicBezTo>
                    <a:pt x="545" y="463"/>
                    <a:pt x="545" y="463"/>
                    <a:pt x="545" y="463"/>
                  </a:cubicBezTo>
                  <a:cubicBezTo>
                    <a:pt x="554" y="487"/>
                    <a:pt x="554" y="487"/>
                    <a:pt x="554" y="487"/>
                  </a:cubicBezTo>
                  <a:cubicBezTo>
                    <a:pt x="567" y="476"/>
                    <a:pt x="567" y="476"/>
                    <a:pt x="567" y="476"/>
                  </a:cubicBezTo>
                  <a:cubicBezTo>
                    <a:pt x="575" y="481"/>
                    <a:pt x="575" y="481"/>
                    <a:pt x="575" y="481"/>
                  </a:cubicBezTo>
                  <a:cubicBezTo>
                    <a:pt x="595" y="481"/>
                    <a:pt x="595" y="481"/>
                    <a:pt x="595" y="481"/>
                  </a:cubicBezTo>
                  <a:cubicBezTo>
                    <a:pt x="596" y="469"/>
                    <a:pt x="596" y="469"/>
                    <a:pt x="596" y="469"/>
                  </a:cubicBezTo>
                  <a:cubicBezTo>
                    <a:pt x="596" y="469"/>
                    <a:pt x="635" y="496"/>
                    <a:pt x="642" y="436"/>
                  </a:cubicBezTo>
                  <a:cubicBezTo>
                    <a:pt x="666" y="409"/>
                    <a:pt x="666" y="409"/>
                    <a:pt x="666" y="409"/>
                  </a:cubicBezTo>
                  <a:cubicBezTo>
                    <a:pt x="674" y="418"/>
                    <a:pt x="674" y="418"/>
                    <a:pt x="674" y="418"/>
                  </a:cubicBezTo>
                  <a:cubicBezTo>
                    <a:pt x="674" y="418"/>
                    <a:pt x="706" y="416"/>
                    <a:pt x="734" y="410"/>
                  </a:cubicBezTo>
                  <a:cubicBezTo>
                    <a:pt x="752" y="389"/>
                    <a:pt x="752" y="389"/>
                    <a:pt x="752" y="389"/>
                  </a:cubicBezTo>
                  <a:cubicBezTo>
                    <a:pt x="778" y="385"/>
                    <a:pt x="778" y="385"/>
                    <a:pt x="778" y="385"/>
                  </a:cubicBezTo>
                  <a:cubicBezTo>
                    <a:pt x="780" y="370"/>
                    <a:pt x="780" y="370"/>
                    <a:pt x="780" y="370"/>
                  </a:cubicBezTo>
                  <a:cubicBezTo>
                    <a:pt x="796" y="377"/>
                    <a:pt x="796" y="377"/>
                    <a:pt x="796" y="377"/>
                  </a:cubicBezTo>
                  <a:cubicBezTo>
                    <a:pt x="799" y="386"/>
                    <a:pt x="799" y="386"/>
                    <a:pt x="799" y="386"/>
                  </a:cubicBezTo>
                  <a:cubicBezTo>
                    <a:pt x="830" y="392"/>
                    <a:pt x="830" y="392"/>
                    <a:pt x="830" y="392"/>
                  </a:cubicBezTo>
                  <a:cubicBezTo>
                    <a:pt x="830" y="392"/>
                    <a:pt x="832" y="378"/>
                    <a:pt x="838" y="366"/>
                  </a:cubicBezTo>
                  <a:cubicBezTo>
                    <a:pt x="843" y="354"/>
                    <a:pt x="848" y="328"/>
                    <a:pt x="870" y="328"/>
                  </a:cubicBezTo>
                  <a:cubicBezTo>
                    <a:pt x="884" y="316"/>
                    <a:pt x="875" y="334"/>
                    <a:pt x="867" y="242"/>
                  </a:cubicBezTo>
                  <a:cubicBezTo>
                    <a:pt x="875" y="214"/>
                    <a:pt x="879" y="220"/>
                    <a:pt x="879" y="220"/>
                  </a:cubicBezTo>
                  <a:lnTo>
                    <a:pt x="872" y="18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2" name="Pays-de-la-Loire" descr="© INSCALE GmbH, 05.05.2010&#10;http://www.presentationload.com/">
              <a:extLst>
                <a:ext uri="{FF2B5EF4-FFF2-40B4-BE49-F238E27FC236}">
                  <a16:creationId xmlns:a16="http://schemas.microsoft.com/office/drawing/2014/main" id="{85508898-E58C-4F8D-BC43-AB4DB22941C3}"/>
                </a:ext>
              </a:extLst>
            </p:cNvPr>
            <p:cNvSpPr>
              <a:spLocks noEditPoints="1"/>
            </p:cNvSpPr>
            <p:nvPr/>
          </p:nvSpPr>
          <p:spPr bwMode="gray">
            <a:xfrm>
              <a:off x="644" y="1006"/>
              <a:ext cx="797" cy="790"/>
            </a:xfrm>
            <a:custGeom>
              <a:avLst/>
              <a:gdLst/>
              <a:ahLst/>
              <a:cxnLst>
                <a:cxn ang="0">
                  <a:pos x="16" y="534"/>
                </a:cxn>
                <a:cxn ang="0">
                  <a:pos x="51" y="448"/>
                </a:cxn>
                <a:cxn ang="0">
                  <a:pos x="219" y="694"/>
                </a:cxn>
                <a:cxn ang="0">
                  <a:pos x="191" y="687"/>
                </a:cxn>
                <a:cxn ang="0">
                  <a:pos x="211" y="706"/>
                </a:cxn>
                <a:cxn ang="0">
                  <a:pos x="222" y="703"/>
                </a:cxn>
                <a:cxn ang="0">
                  <a:pos x="707" y="141"/>
                </a:cxn>
                <a:cxn ang="0">
                  <a:pos x="651" y="103"/>
                </a:cxn>
                <a:cxn ang="0">
                  <a:pos x="541" y="75"/>
                </a:cxn>
                <a:cxn ang="0">
                  <a:pos x="521" y="24"/>
                </a:cxn>
                <a:cxn ang="0">
                  <a:pos x="482" y="25"/>
                </a:cxn>
                <a:cxn ang="0">
                  <a:pos x="439" y="31"/>
                </a:cxn>
                <a:cxn ang="0">
                  <a:pos x="391" y="47"/>
                </a:cxn>
                <a:cxn ang="0">
                  <a:pos x="321" y="28"/>
                </a:cxn>
                <a:cxn ang="0">
                  <a:pos x="314" y="105"/>
                </a:cxn>
                <a:cxn ang="0">
                  <a:pos x="277" y="255"/>
                </a:cxn>
                <a:cxn ang="0">
                  <a:pos x="227" y="233"/>
                </a:cxn>
                <a:cxn ang="0">
                  <a:pos x="181" y="273"/>
                </a:cxn>
                <a:cxn ang="0">
                  <a:pos x="89" y="299"/>
                </a:cxn>
                <a:cxn ang="0">
                  <a:pos x="22" y="344"/>
                </a:cxn>
                <a:cxn ang="0">
                  <a:pos x="3" y="354"/>
                </a:cxn>
                <a:cxn ang="0">
                  <a:pos x="24" y="359"/>
                </a:cxn>
                <a:cxn ang="0">
                  <a:pos x="105" y="349"/>
                </a:cxn>
                <a:cxn ang="0">
                  <a:pos x="67" y="376"/>
                </a:cxn>
                <a:cxn ang="0">
                  <a:pos x="52" y="399"/>
                </a:cxn>
                <a:cxn ang="0">
                  <a:pos x="104" y="444"/>
                </a:cxn>
                <a:cxn ang="0">
                  <a:pos x="72" y="483"/>
                </a:cxn>
                <a:cxn ang="0">
                  <a:pos x="55" y="465"/>
                </a:cxn>
                <a:cxn ang="0">
                  <a:pos x="72" y="511"/>
                </a:cxn>
                <a:cxn ang="0">
                  <a:pos x="135" y="611"/>
                </a:cxn>
                <a:cxn ang="0">
                  <a:pos x="210" y="658"/>
                </a:cxn>
                <a:cxn ang="0">
                  <a:pos x="251" y="669"/>
                </a:cxn>
                <a:cxn ang="0">
                  <a:pos x="287" y="680"/>
                </a:cxn>
                <a:cxn ang="0">
                  <a:pos x="289" y="723"/>
                </a:cxn>
                <a:cxn ang="0">
                  <a:pos x="337" y="729"/>
                </a:cxn>
                <a:cxn ang="0">
                  <a:pos x="385" y="728"/>
                </a:cxn>
                <a:cxn ang="0">
                  <a:pos x="389" y="707"/>
                </a:cxn>
                <a:cxn ang="0">
                  <a:pos x="394" y="664"/>
                </a:cxn>
                <a:cxn ang="0">
                  <a:pos x="386" y="605"/>
                </a:cxn>
                <a:cxn ang="0">
                  <a:pos x="353" y="548"/>
                </a:cxn>
                <a:cxn ang="0">
                  <a:pos x="378" y="511"/>
                </a:cxn>
                <a:cxn ang="0">
                  <a:pos x="434" y="488"/>
                </a:cxn>
                <a:cxn ang="0">
                  <a:pos x="502" y="480"/>
                </a:cxn>
                <a:cxn ang="0">
                  <a:pos x="514" y="483"/>
                </a:cxn>
                <a:cxn ang="0">
                  <a:pos x="549" y="461"/>
                </a:cxn>
                <a:cxn ang="0">
                  <a:pos x="585" y="359"/>
                </a:cxn>
                <a:cxn ang="0">
                  <a:pos x="615" y="320"/>
                </a:cxn>
                <a:cxn ang="0">
                  <a:pos x="674" y="299"/>
                </a:cxn>
                <a:cxn ang="0">
                  <a:pos x="717" y="229"/>
                </a:cxn>
                <a:cxn ang="0">
                  <a:pos x="722" y="192"/>
                </a:cxn>
                <a:cxn ang="0">
                  <a:pos x="725" y="157"/>
                </a:cxn>
                <a:cxn ang="0">
                  <a:pos x="719" y="140"/>
                </a:cxn>
              </a:cxnLst>
              <a:rect l="0" t="0" r="r" b="b"/>
              <a:pathLst>
                <a:path w="739" h="732">
                  <a:moveTo>
                    <a:pt x="16" y="534"/>
                  </a:moveTo>
                  <a:cubicBezTo>
                    <a:pt x="10" y="548"/>
                    <a:pt x="22" y="548"/>
                    <a:pt x="37" y="548"/>
                  </a:cubicBezTo>
                  <a:cubicBezTo>
                    <a:pt x="32" y="535"/>
                    <a:pt x="16" y="534"/>
                    <a:pt x="16" y="534"/>
                  </a:cubicBezTo>
                  <a:close/>
                  <a:moveTo>
                    <a:pt x="38" y="440"/>
                  </a:moveTo>
                  <a:cubicBezTo>
                    <a:pt x="36" y="461"/>
                    <a:pt x="44" y="460"/>
                    <a:pt x="47" y="462"/>
                  </a:cubicBezTo>
                  <a:cubicBezTo>
                    <a:pt x="50" y="464"/>
                    <a:pt x="51" y="458"/>
                    <a:pt x="51" y="448"/>
                  </a:cubicBezTo>
                  <a:cubicBezTo>
                    <a:pt x="51" y="438"/>
                    <a:pt x="38" y="440"/>
                    <a:pt x="38" y="440"/>
                  </a:cubicBezTo>
                  <a:close/>
                  <a:moveTo>
                    <a:pt x="222" y="703"/>
                  </a:moveTo>
                  <a:cubicBezTo>
                    <a:pt x="219" y="694"/>
                    <a:pt x="219" y="694"/>
                    <a:pt x="219" y="694"/>
                  </a:cubicBezTo>
                  <a:cubicBezTo>
                    <a:pt x="201" y="701"/>
                    <a:pt x="201" y="701"/>
                    <a:pt x="201" y="701"/>
                  </a:cubicBezTo>
                  <a:cubicBezTo>
                    <a:pt x="203" y="686"/>
                    <a:pt x="203" y="686"/>
                    <a:pt x="203" y="686"/>
                  </a:cubicBezTo>
                  <a:cubicBezTo>
                    <a:pt x="191" y="687"/>
                    <a:pt x="191" y="687"/>
                    <a:pt x="191" y="687"/>
                  </a:cubicBezTo>
                  <a:cubicBezTo>
                    <a:pt x="190" y="693"/>
                    <a:pt x="190" y="693"/>
                    <a:pt x="190" y="693"/>
                  </a:cubicBezTo>
                  <a:cubicBezTo>
                    <a:pt x="200" y="708"/>
                    <a:pt x="200" y="708"/>
                    <a:pt x="200" y="708"/>
                  </a:cubicBezTo>
                  <a:cubicBezTo>
                    <a:pt x="211" y="706"/>
                    <a:pt x="211" y="706"/>
                    <a:pt x="211" y="706"/>
                  </a:cubicBezTo>
                  <a:cubicBezTo>
                    <a:pt x="230" y="714"/>
                    <a:pt x="230" y="714"/>
                    <a:pt x="230" y="714"/>
                  </a:cubicBezTo>
                  <a:cubicBezTo>
                    <a:pt x="238" y="725"/>
                    <a:pt x="246" y="718"/>
                    <a:pt x="250" y="719"/>
                  </a:cubicBezTo>
                  <a:cubicBezTo>
                    <a:pt x="241" y="705"/>
                    <a:pt x="222" y="703"/>
                    <a:pt x="222" y="703"/>
                  </a:cubicBezTo>
                  <a:close/>
                  <a:moveTo>
                    <a:pt x="719" y="140"/>
                  </a:moveTo>
                  <a:cubicBezTo>
                    <a:pt x="719" y="139"/>
                    <a:pt x="719" y="139"/>
                    <a:pt x="719" y="139"/>
                  </a:cubicBezTo>
                  <a:cubicBezTo>
                    <a:pt x="707" y="141"/>
                    <a:pt x="707" y="141"/>
                    <a:pt x="707" y="141"/>
                  </a:cubicBezTo>
                  <a:cubicBezTo>
                    <a:pt x="683" y="117"/>
                    <a:pt x="683" y="117"/>
                    <a:pt x="683" y="117"/>
                  </a:cubicBezTo>
                  <a:cubicBezTo>
                    <a:pt x="658" y="123"/>
                    <a:pt x="658" y="123"/>
                    <a:pt x="658" y="123"/>
                  </a:cubicBezTo>
                  <a:cubicBezTo>
                    <a:pt x="651" y="103"/>
                    <a:pt x="651" y="103"/>
                    <a:pt x="651" y="103"/>
                  </a:cubicBezTo>
                  <a:cubicBezTo>
                    <a:pt x="651" y="103"/>
                    <a:pt x="638" y="96"/>
                    <a:pt x="631" y="91"/>
                  </a:cubicBezTo>
                  <a:cubicBezTo>
                    <a:pt x="623" y="0"/>
                    <a:pt x="561" y="75"/>
                    <a:pt x="561" y="75"/>
                  </a:cubicBezTo>
                  <a:cubicBezTo>
                    <a:pt x="541" y="75"/>
                    <a:pt x="541" y="75"/>
                    <a:pt x="541" y="75"/>
                  </a:cubicBezTo>
                  <a:cubicBezTo>
                    <a:pt x="537" y="48"/>
                    <a:pt x="537" y="48"/>
                    <a:pt x="537" y="48"/>
                  </a:cubicBezTo>
                  <a:cubicBezTo>
                    <a:pt x="537" y="48"/>
                    <a:pt x="531" y="49"/>
                    <a:pt x="519" y="49"/>
                  </a:cubicBezTo>
                  <a:cubicBezTo>
                    <a:pt x="507" y="49"/>
                    <a:pt x="521" y="24"/>
                    <a:pt x="521" y="24"/>
                  </a:cubicBezTo>
                  <a:cubicBezTo>
                    <a:pt x="521" y="24"/>
                    <a:pt x="498" y="15"/>
                    <a:pt x="494" y="15"/>
                  </a:cubicBezTo>
                  <a:cubicBezTo>
                    <a:pt x="490" y="15"/>
                    <a:pt x="498" y="20"/>
                    <a:pt x="494" y="28"/>
                  </a:cubicBezTo>
                  <a:cubicBezTo>
                    <a:pt x="490" y="36"/>
                    <a:pt x="482" y="25"/>
                    <a:pt x="482" y="25"/>
                  </a:cubicBezTo>
                  <a:cubicBezTo>
                    <a:pt x="467" y="37"/>
                    <a:pt x="467" y="37"/>
                    <a:pt x="467" y="37"/>
                  </a:cubicBezTo>
                  <a:cubicBezTo>
                    <a:pt x="461" y="32"/>
                    <a:pt x="461" y="32"/>
                    <a:pt x="461" y="32"/>
                  </a:cubicBezTo>
                  <a:cubicBezTo>
                    <a:pt x="461" y="32"/>
                    <a:pt x="446" y="31"/>
                    <a:pt x="439" y="31"/>
                  </a:cubicBezTo>
                  <a:cubicBezTo>
                    <a:pt x="434" y="45"/>
                    <a:pt x="411" y="45"/>
                    <a:pt x="411" y="45"/>
                  </a:cubicBezTo>
                  <a:cubicBezTo>
                    <a:pt x="407" y="36"/>
                    <a:pt x="407" y="36"/>
                    <a:pt x="407" y="36"/>
                  </a:cubicBezTo>
                  <a:cubicBezTo>
                    <a:pt x="407" y="36"/>
                    <a:pt x="391" y="37"/>
                    <a:pt x="391" y="47"/>
                  </a:cubicBezTo>
                  <a:cubicBezTo>
                    <a:pt x="391" y="56"/>
                    <a:pt x="366" y="32"/>
                    <a:pt x="366" y="32"/>
                  </a:cubicBezTo>
                  <a:cubicBezTo>
                    <a:pt x="366" y="32"/>
                    <a:pt x="353" y="28"/>
                    <a:pt x="343" y="23"/>
                  </a:cubicBezTo>
                  <a:cubicBezTo>
                    <a:pt x="338" y="30"/>
                    <a:pt x="331" y="31"/>
                    <a:pt x="321" y="28"/>
                  </a:cubicBezTo>
                  <a:cubicBezTo>
                    <a:pt x="319" y="51"/>
                    <a:pt x="319" y="51"/>
                    <a:pt x="319" y="51"/>
                  </a:cubicBezTo>
                  <a:cubicBezTo>
                    <a:pt x="326" y="83"/>
                    <a:pt x="326" y="83"/>
                    <a:pt x="326" y="83"/>
                  </a:cubicBezTo>
                  <a:cubicBezTo>
                    <a:pt x="326" y="83"/>
                    <a:pt x="322" y="77"/>
                    <a:pt x="314" y="105"/>
                  </a:cubicBezTo>
                  <a:cubicBezTo>
                    <a:pt x="322" y="197"/>
                    <a:pt x="331" y="179"/>
                    <a:pt x="317" y="191"/>
                  </a:cubicBezTo>
                  <a:cubicBezTo>
                    <a:pt x="295" y="191"/>
                    <a:pt x="290" y="217"/>
                    <a:pt x="285" y="229"/>
                  </a:cubicBezTo>
                  <a:cubicBezTo>
                    <a:pt x="279" y="241"/>
                    <a:pt x="277" y="255"/>
                    <a:pt x="277" y="255"/>
                  </a:cubicBezTo>
                  <a:cubicBezTo>
                    <a:pt x="246" y="249"/>
                    <a:pt x="246" y="249"/>
                    <a:pt x="246" y="249"/>
                  </a:cubicBezTo>
                  <a:cubicBezTo>
                    <a:pt x="243" y="240"/>
                    <a:pt x="243" y="240"/>
                    <a:pt x="243" y="240"/>
                  </a:cubicBezTo>
                  <a:cubicBezTo>
                    <a:pt x="227" y="233"/>
                    <a:pt x="227" y="233"/>
                    <a:pt x="227" y="233"/>
                  </a:cubicBezTo>
                  <a:cubicBezTo>
                    <a:pt x="225" y="248"/>
                    <a:pt x="225" y="248"/>
                    <a:pt x="225" y="248"/>
                  </a:cubicBezTo>
                  <a:cubicBezTo>
                    <a:pt x="199" y="252"/>
                    <a:pt x="199" y="252"/>
                    <a:pt x="199" y="252"/>
                  </a:cubicBezTo>
                  <a:cubicBezTo>
                    <a:pt x="199" y="252"/>
                    <a:pt x="199" y="252"/>
                    <a:pt x="181" y="273"/>
                  </a:cubicBezTo>
                  <a:cubicBezTo>
                    <a:pt x="153" y="279"/>
                    <a:pt x="121" y="281"/>
                    <a:pt x="121" y="281"/>
                  </a:cubicBezTo>
                  <a:cubicBezTo>
                    <a:pt x="113" y="272"/>
                    <a:pt x="113" y="272"/>
                    <a:pt x="113" y="272"/>
                  </a:cubicBezTo>
                  <a:cubicBezTo>
                    <a:pt x="113" y="272"/>
                    <a:pt x="113" y="272"/>
                    <a:pt x="89" y="299"/>
                  </a:cubicBezTo>
                  <a:cubicBezTo>
                    <a:pt x="82" y="359"/>
                    <a:pt x="43" y="332"/>
                    <a:pt x="43" y="332"/>
                  </a:cubicBezTo>
                  <a:cubicBezTo>
                    <a:pt x="42" y="344"/>
                    <a:pt x="42" y="344"/>
                    <a:pt x="42" y="344"/>
                  </a:cubicBezTo>
                  <a:cubicBezTo>
                    <a:pt x="22" y="344"/>
                    <a:pt x="22" y="344"/>
                    <a:pt x="22" y="344"/>
                  </a:cubicBezTo>
                  <a:cubicBezTo>
                    <a:pt x="14" y="339"/>
                    <a:pt x="14" y="339"/>
                    <a:pt x="14" y="339"/>
                  </a:cubicBezTo>
                  <a:cubicBezTo>
                    <a:pt x="1" y="350"/>
                    <a:pt x="1" y="350"/>
                    <a:pt x="1" y="350"/>
                  </a:cubicBezTo>
                  <a:cubicBezTo>
                    <a:pt x="3" y="354"/>
                    <a:pt x="3" y="354"/>
                    <a:pt x="3" y="354"/>
                  </a:cubicBezTo>
                  <a:cubicBezTo>
                    <a:pt x="0" y="355"/>
                    <a:pt x="0" y="355"/>
                    <a:pt x="0" y="355"/>
                  </a:cubicBezTo>
                  <a:cubicBezTo>
                    <a:pt x="2" y="357"/>
                    <a:pt x="4" y="360"/>
                    <a:pt x="7" y="364"/>
                  </a:cubicBezTo>
                  <a:cubicBezTo>
                    <a:pt x="14" y="363"/>
                    <a:pt x="24" y="359"/>
                    <a:pt x="24" y="359"/>
                  </a:cubicBezTo>
                  <a:cubicBezTo>
                    <a:pt x="24" y="359"/>
                    <a:pt x="39" y="374"/>
                    <a:pt x="45" y="374"/>
                  </a:cubicBezTo>
                  <a:cubicBezTo>
                    <a:pt x="51" y="374"/>
                    <a:pt x="70" y="351"/>
                    <a:pt x="70" y="351"/>
                  </a:cubicBezTo>
                  <a:cubicBezTo>
                    <a:pt x="70" y="351"/>
                    <a:pt x="103" y="344"/>
                    <a:pt x="105" y="349"/>
                  </a:cubicBezTo>
                  <a:cubicBezTo>
                    <a:pt x="107" y="354"/>
                    <a:pt x="96" y="361"/>
                    <a:pt x="96" y="361"/>
                  </a:cubicBezTo>
                  <a:cubicBezTo>
                    <a:pt x="72" y="363"/>
                    <a:pt x="72" y="363"/>
                    <a:pt x="72" y="363"/>
                  </a:cubicBezTo>
                  <a:cubicBezTo>
                    <a:pt x="67" y="376"/>
                    <a:pt x="67" y="376"/>
                    <a:pt x="67" y="376"/>
                  </a:cubicBezTo>
                  <a:cubicBezTo>
                    <a:pt x="71" y="385"/>
                    <a:pt x="71" y="385"/>
                    <a:pt x="71" y="385"/>
                  </a:cubicBezTo>
                  <a:cubicBezTo>
                    <a:pt x="65" y="399"/>
                    <a:pt x="65" y="399"/>
                    <a:pt x="65" y="399"/>
                  </a:cubicBezTo>
                  <a:cubicBezTo>
                    <a:pt x="52" y="399"/>
                    <a:pt x="52" y="399"/>
                    <a:pt x="52" y="399"/>
                  </a:cubicBezTo>
                  <a:cubicBezTo>
                    <a:pt x="52" y="408"/>
                    <a:pt x="52" y="408"/>
                    <a:pt x="52" y="408"/>
                  </a:cubicBezTo>
                  <a:cubicBezTo>
                    <a:pt x="91" y="415"/>
                    <a:pt x="91" y="415"/>
                    <a:pt x="91" y="415"/>
                  </a:cubicBezTo>
                  <a:cubicBezTo>
                    <a:pt x="104" y="444"/>
                    <a:pt x="104" y="444"/>
                    <a:pt x="104" y="444"/>
                  </a:cubicBezTo>
                  <a:cubicBezTo>
                    <a:pt x="95" y="445"/>
                    <a:pt x="95" y="445"/>
                    <a:pt x="95" y="445"/>
                  </a:cubicBezTo>
                  <a:cubicBezTo>
                    <a:pt x="92" y="462"/>
                    <a:pt x="92" y="462"/>
                    <a:pt x="92" y="462"/>
                  </a:cubicBezTo>
                  <a:cubicBezTo>
                    <a:pt x="72" y="483"/>
                    <a:pt x="72" y="483"/>
                    <a:pt x="72" y="483"/>
                  </a:cubicBezTo>
                  <a:cubicBezTo>
                    <a:pt x="69" y="468"/>
                    <a:pt x="69" y="468"/>
                    <a:pt x="69" y="468"/>
                  </a:cubicBezTo>
                  <a:cubicBezTo>
                    <a:pt x="55" y="458"/>
                    <a:pt x="55" y="458"/>
                    <a:pt x="55" y="458"/>
                  </a:cubicBezTo>
                  <a:cubicBezTo>
                    <a:pt x="55" y="465"/>
                    <a:pt x="55" y="465"/>
                    <a:pt x="55" y="465"/>
                  </a:cubicBezTo>
                  <a:cubicBezTo>
                    <a:pt x="55" y="465"/>
                    <a:pt x="62" y="463"/>
                    <a:pt x="63" y="469"/>
                  </a:cubicBezTo>
                  <a:cubicBezTo>
                    <a:pt x="64" y="475"/>
                    <a:pt x="68" y="489"/>
                    <a:pt x="68" y="489"/>
                  </a:cubicBezTo>
                  <a:cubicBezTo>
                    <a:pt x="68" y="489"/>
                    <a:pt x="73" y="508"/>
                    <a:pt x="72" y="511"/>
                  </a:cubicBezTo>
                  <a:cubicBezTo>
                    <a:pt x="91" y="521"/>
                    <a:pt x="103" y="549"/>
                    <a:pt x="103" y="549"/>
                  </a:cubicBezTo>
                  <a:cubicBezTo>
                    <a:pt x="111" y="549"/>
                    <a:pt x="111" y="549"/>
                    <a:pt x="111" y="549"/>
                  </a:cubicBezTo>
                  <a:cubicBezTo>
                    <a:pt x="126" y="569"/>
                    <a:pt x="135" y="611"/>
                    <a:pt x="135" y="611"/>
                  </a:cubicBezTo>
                  <a:cubicBezTo>
                    <a:pt x="135" y="611"/>
                    <a:pt x="135" y="603"/>
                    <a:pt x="149" y="617"/>
                  </a:cubicBezTo>
                  <a:cubicBezTo>
                    <a:pt x="163" y="631"/>
                    <a:pt x="200" y="642"/>
                    <a:pt x="200" y="642"/>
                  </a:cubicBezTo>
                  <a:cubicBezTo>
                    <a:pt x="210" y="658"/>
                    <a:pt x="210" y="658"/>
                    <a:pt x="210" y="658"/>
                  </a:cubicBezTo>
                  <a:cubicBezTo>
                    <a:pt x="210" y="658"/>
                    <a:pt x="229" y="658"/>
                    <a:pt x="235" y="660"/>
                  </a:cubicBezTo>
                  <a:cubicBezTo>
                    <a:pt x="241" y="662"/>
                    <a:pt x="248" y="678"/>
                    <a:pt x="248" y="678"/>
                  </a:cubicBezTo>
                  <a:cubicBezTo>
                    <a:pt x="251" y="669"/>
                    <a:pt x="251" y="669"/>
                    <a:pt x="251" y="669"/>
                  </a:cubicBezTo>
                  <a:cubicBezTo>
                    <a:pt x="265" y="682"/>
                    <a:pt x="265" y="682"/>
                    <a:pt x="265" y="682"/>
                  </a:cubicBezTo>
                  <a:cubicBezTo>
                    <a:pt x="274" y="666"/>
                    <a:pt x="274" y="666"/>
                    <a:pt x="274" y="666"/>
                  </a:cubicBezTo>
                  <a:cubicBezTo>
                    <a:pt x="274" y="666"/>
                    <a:pt x="284" y="675"/>
                    <a:pt x="287" y="680"/>
                  </a:cubicBezTo>
                  <a:cubicBezTo>
                    <a:pt x="290" y="685"/>
                    <a:pt x="262" y="717"/>
                    <a:pt x="262" y="717"/>
                  </a:cubicBezTo>
                  <a:cubicBezTo>
                    <a:pt x="267" y="720"/>
                    <a:pt x="271" y="724"/>
                    <a:pt x="275" y="728"/>
                  </a:cubicBezTo>
                  <a:cubicBezTo>
                    <a:pt x="289" y="723"/>
                    <a:pt x="289" y="723"/>
                    <a:pt x="289" y="723"/>
                  </a:cubicBezTo>
                  <a:cubicBezTo>
                    <a:pt x="322" y="712"/>
                    <a:pt x="322" y="712"/>
                    <a:pt x="322" y="712"/>
                  </a:cubicBezTo>
                  <a:cubicBezTo>
                    <a:pt x="322" y="728"/>
                    <a:pt x="322" y="728"/>
                    <a:pt x="322" y="728"/>
                  </a:cubicBezTo>
                  <a:cubicBezTo>
                    <a:pt x="337" y="729"/>
                    <a:pt x="337" y="729"/>
                    <a:pt x="337" y="729"/>
                  </a:cubicBezTo>
                  <a:cubicBezTo>
                    <a:pt x="346" y="723"/>
                    <a:pt x="346" y="723"/>
                    <a:pt x="346" y="723"/>
                  </a:cubicBezTo>
                  <a:cubicBezTo>
                    <a:pt x="361" y="732"/>
                    <a:pt x="361" y="732"/>
                    <a:pt x="361" y="732"/>
                  </a:cubicBezTo>
                  <a:cubicBezTo>
                    <a:pt x="361" y="732"/>
                    <a:pt x="378" y="728"/>
                    <a:pt x="385" y="728"/>
                  </a:cubicBezTo>
                  <a:cubicBezTo>
                    <a:pt x="391" y="728"/>
                    <a:pt x="391" y="717"/>
                    <a:pt x="391" y="717"/>
                  </a:cubicBezTo>
                  <a:cubicBezTo>
                    <a:pt x="391" y="717"/>
                    <a:pt x="421" y="719"/>
                    <a:pt x="398" y="699"/>
                  </a:cubicBezTo>
                  <a:cubicBezTo>
                    <a:pt x="389" y="707"/>
                    <a:pt x="389" y="707"/>
                    <a:pt x="389" y="707"/>
                  </a:cubicBezTo>
                  <a:cubicBezTo>
                    <a:pt x="393" y="684"/>
                    <a:pt x="393" y="684"/>
                    <a:pt x="393" y="684"/>
                  </a:cubicBezTo>
                  <a:cubicBezTo>
                    <a:pt x="383" y="664"/>
                    <a:pt x="383" y="664"/>
                    <a:pt x="383" y="664"/>
                  </a:cubicBezTo>
                  <a:cubicBezTo>
                    <a:pt x="394" y="664"/>
                    <a:pt x="394" y="664"/>
                    <a:pt x="394" y="664"/>
                  </a:cubicBezTo>
                  <a:cubicBezTo>
                    <a:pt x="394" y="627"/>
                    <a:pt x="394" y="627"/>
                    <a:pt x="394" y="627"/>
                  </a:cubicBezTo>
                  <a:cubicBezTo>
                    <a:pt x="383" y="627"/>
                    <a:pt x="383" y="627"/>
                    <a:pt x="383" y="627"/>
                  </a:cubicBezTo>
                  <a:cubicBezTo>
                    <a:pt x="386" y="605"/>
                    <a:pt x="386" y="605"/>
                    <a:pt x="386" y="605"/>
                  </a:cubicBezTo>
                  <a:cubicBezTo>
                    <a:pt x="371" y="585"/>
                    <a:pt x="371" y="585"/>
                    <a:pt x="371" y="585"/>
                  </a:cubicBezTo>
                  <a:cubicBezTo>
                    <a:pt x="378" y="573"/>
                    <a:pt x="378" y="573"/>
                    <a:pt x="378" y="573"/>
                  </a:cubicBezTo>
                  <a:cubicBezTo>
                    <a:pt x="353" y="548"/>
                    <a:pt x="353" y="548"/>
                    <a:pt x="353" y="548"/>
                  </a:cubicBezTo>
                  <a:cubicBezTo>
                    <a:pt x="357" y="537"/>
                    <a:pt x="357" y="537"/>
                    <a:pt x="357" y="537"/>
                  </a:cubicBezTo>
                  <a:cubicBezTo>
                    <a:pt x="357" y="537"/>
                    <a:pt x="337" y="532"/>
                    <a:pt x="339" y="523"/>
                  </a:cubicBezTo>
                  <a:cubicBezTo>
                    <a:pt x="342" y="513"/>
                    <a:pt x="371" y="503"/>
                    <a:pt x="378" y="511"/>
                  </a:cubicBezTo>
                  <a:cubicBezTo>
                    <a:pt x="385" y="519"/>
                    <a:pt x="413" y="501"/>
                    <a:pt x="413" y="501"/>
                  </a:cubicBezTo>
                  <a:cubicBezTo>
                    <a:pt x="415" y="485"/>
                    <a:pt x="415" y="485"/>
                    <a:pt x="415" y="485"/>
                  </a:cubicBezTo>
                  <a:cubicBezTo>
                    <a:pt x="434" y="488"/>
                    <a:pt x="434" y="488"/>
                    <a:pt x="434" y="488"/>
                  </a:cubicBezTo>
                  <a:cubicBezTo>
                    <a:pt x="433" y="496"/>
                    <a:pt x="433" y="496"/>
                    <a:pt x="433" y="496"/>
                  </a:cubicBezTo>
                  <a:cubicBezTo>
                    <a:pt x="459" y="481"/>
                    <a:pt x="459" y="481"/>
                    <a:pt x="459" y="481"/>
                  </a:cubicBezTo>
                  <a:cubicBezTo>
                    <a:pt x="502" y="480"/>
                    <a:pt x="502" y="480"/>
                    <a:pt x="502" y="480"/>
                  </a:cubicBezTo>
                  <a:cubicBezTo>
                    <a:pt x="499" y="492"/>
                    <a:pt x="499" y="492"/>
                    <a:pt x="499" y="492"/>
                  </a:cubicBezTo>
                  <a:cubicBezTo>
                    <a:pt x="509" y="492"/>
                    <a:pt x="509" y="492"/>
                    <a:pt x="509" y="492"/>
                  </a:cubicBezTo>
                  <a:cubicBezTo>
                    <a:pt x="514" y="483"/>
                    <a:pt x="514" y="483"/>
                    <a:pt x="514" y="483"/>
                  </a:cubicBezTo>
                  <a:cubicBezTo>
                    <a:pt x="519" y="484"/>
                    <a:pt x="519" y="484"/>
                    <a:pt x="519" y="484"/>
                  </a:cubicBezTo>
                  <a:cubicBezTo>
                    <a:pt x="519" y="484"/>
                    <a:pt x="518" y="464"/>
                    <a:pt x="549" y="464"/>
                  </a:cubicBezTo>
                  <a:cubicBezTo>
                    <a:pt x="549" y="463"/>
                    <a:pt x="549" y="462"/>
                    <a:pt x="549" y="461"/>
                  </a:cubicBezTo>
                  <a:cubicBezTo>
                    <a:pt x="546" y="433"/>
                    <a:pt x="575" y="399"/>
                    <a:pt x="575" y="399"/>
                  </a:cubicBezTo>
                  <a:cubicBezTo>
                    <a:pt x="569" y="387"/>
                    <a:pt x="569" y="387"/>
                    <a:pt x="569" y="387"/>
                  </a:cubicBezTo>
                  <a:cubicBezTo>
                    <a:pt x="569" y="387"/>
                    <a:pt x="581" y="369"/>
                    <a:pt x="585" y="359"/>
                  </a:cubicBezTo>
                  <a:cubicBezTo>
                    <a:pt x="578" y="351"/>
                    <a:pt x="589" y="323"/>
                    <a:pt x="589" y="323"/>
                  </a:cubicBezTo>
                  <a:cubicBezTo>
                    <a:pt x="626" y="335"/>
                    <a:pt x="626" y="335"/>
                    <a:pt x="626" y="335"/>
                  </a:cubicBezTo>
                  <a:cubicBezTo>
                    <a:pt x="615" y="320"/>
                    <a:pt x="615" y="320"/>
                    <a:pt x="615" y="320"/>
                  </a:cubicBezTo>
                  <a:cubicBezTo>
                    <a:pt x="615" y="320"/>
                    <a:pt x="626" y="313"/>
                    <a:pt x="625" y="311"/>
                  </a:cubicBezTo>
                  <a:cubicBezTo>
                    <a:pt x="642" y="329"/>
                    <a:pt x="641" y="307"/>
                    <a:pt x="641" y="307"/>
                  </a:cubicBezTo>
                  <a:cubicBezTo>
                    <a:pt x="641" y="307"/>
                    <a:pt x="670" y="300"/>
                    <a:pt x="674" y="299"/>
                  </a:cubicBezTo>
                  <a:cubicBezTo>
                    <a:pt x="658" y="293"/>
                    <a:pt x="690" y="272"/>
                    <a:pt x="690" y="272"/>
                  </a:cubicBezTo>
                  <a:cubicBezTo>
                    <a:pt x="690" y="272"/>
                    <a:pt x="703" y="252"/>
                    <a:pt x="707" y="248"/>
                  </a:cubicBezTo>
                  <a:cubicBezTo>
                    <a:pt x="707" y="233"/>
                    <a:pt x="717" y="229"/>
                    <a:pt x="717" y="229"/>
                  </a:cubicBezTo>
                  <a:cubicBezTo>
                    <a:pt x="725" y="219"/>
                    <a:pt x="725" y="219"/>
                    <a:pt x="725" y="219"/>
                  </a:cubicBezTo>
                  <a:cubicBezTo>
                    <a:pt x="718" y="205"/>
                    <a:pt x="718" y="205"/>
                    <a:pt x="718" y="205"/>
                  </a:cubicBezTo>
                  <a:cubicBezTo>
                    <a:pt x="722" y="192"/>
                    <a:pt x="722" y="192"/>
                    <a:pt x="722" y="192"/>
                  </a:cubicBezTo>
                  <a:cubicBezTo>
                    <a:pt x="714" y="180"/>
                    <a:pt x="714" y="180"/>
                    <a:pt x="714" y="180"/>
                  </a:cubicBezTo>
                  <a:cubicBezTo>
                    <a:pt x="725" y="175"/>
                    <a:pt x="725" y="175"/>
                    <a:pt x="725" y="175"/>
                  </a:cubicBezTo>
                  <a:cubicBezTo>
                    <a:pt x="725" y="157"/>
                    <a:pt x="725" y="157"/>
                    <a:pt x="725" y="157"/>
                  </a:cubicBezTo>
                  <a:cubicBezTo>
                    <a:pt x="739" y="156"/>
                    <a:pt x="739" y="156"/>
                    <a:pt x="739" y="156"/>
                  </a:cubicBezTo>
                  <a:cubicBezTo>
                    <a:pt x="739" y="147"/>
                    <a:pt x="739" y="147"/>
                    <a:pt x="739" y="147"/>
                  </a:cubicBezTo>
                  <a:lnTo>
                    <a:pt x="719" y="14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3" name="POitou-Charentes" descr="© INSCALE GmbH, 05.05.2010&#10;http://www.presentationload.com/">
              <a:extLst>
                <a:ext uri="{FF2B5EF4-FFF2-40B4-BE49-F238E27FC236}">
                  <a16:creationId xmlns:a16="http://schemas.microsoft.com/office/drawing/2014/main" id="{3AE2A17A-E1A4-415C-BCBD-27B07359DE41}"/>
                </a:ext>
              </a:extLst>
            </p:cNvPr>
            <p:cNvSpPr>
              <a:spLocks noEditPoints="1"/>
            </p:cNvSpPr>
            <p:nvPr/>
          </p:nvSpPr>
          <p:spPr bwMode="gray">
            <a:xfrm>
              <a:off x="881" y="1507"/>
              <a:ext cx="619" cy="717"/>
            </a:xfrm>
            <a:custGeom>
              <a:avLst/>
              <a:gdLst/>
              <a:ahLst/>
              <a:cxnLst>
                <a:cxn ang="0">
                  <a:pos x="39" y="333"/>
                </a:cxn>
                <a:cxn ang="0">
                  <a:pos x="19" y="308"/>
                </a:cxn>
                <a:cxn ang="0">
                  <a:pos x="6" y="327"/>
                </a:cxn>
                <a:cxn ang="0">
                  <a:pos x="32" y="355"/>
                </a:cxn>
                <a:cxn ang="0">
                  <a:pos x="46" y="345"/>
                </a:cxn>
                <a:cxn ang="0">
                  <a:pos x="559" y="229"/>
                </a:cxn>
                <a:cxn ang="0">
                  <a:pos x="533" y="197"/>
                </a:cxn>
                <a:cxn ang="0">
                  <a:pos x="486" y="111"/>
                </a:cxn>
                <a:cxn ang="0">
                  <a:pos x="434" y="52"/>
                </a:cxn>
                <a:cxn ang="0">
                  <a:pos x="419" y="65"/>
                </a:cxn>
                <a:cxn ang="0">
                  <a:pos x="393" y="67"/>
                </a:cxn>
                <a:cxn ang="0">
                  <a:pos x="382" y="39"/>
                </a:cxn>
                <a:cxn ang="0">
                  <a:pos x="369" y="28"/>
                </a:cxn>
                <a:cxn ang="0">
                  <a:pos x="355" y="21"/>
                </a:cxn>
                <a:cxn ang="0">
                  <a:pos x="299" y="20"/>
                </a:cxn>
                <a:cxn ang="0">
                  <a:pos x="289" y="28"/>
                </a:cxn>
                <a:cxn ang="0">
                  <a:pos x="282" y="16"/>
                </a:cxn>
                <a:cxn ang="0">
                  <a:pos x="213" y="32"/>
                </a:cxn>
                <a:cxn ang="0">
                  <a:pos x="195" y="21"/>
                </a:cxn>
                <a:cxn ang="0">
                  <a:pos x="158" y="47"/>
                </a:cxn>
                <a:cxn ang="0">
                  <a:pos x="137" y="73"/>
                </a:cxn>
                <a:cxn ang="0">
                  <a:pos x="158" y="109"/>
                </a:cxn>
                <a:cxn ang="0">
                  <a:pos x="166" y="141"/>
                </a:cxn>
                <a:cxn ang="0">
                  <a:pos x="174" y="163"/>
                </a:cxn>
                <a:cxn ang="0">
                  <a:pos x="163" y="200"/>
                </a:cxn>
                <a:cxn ang="0">
                  <a:pos x="169" y="243"/>
                </a:cxn>
                <a:cxn ang="0">
                  <a:pos x="171" y="253"/>
                </a:cxn>
                <a:cxn ang="0">
                  <a:pos x="141" y="268"/>
                </a:cxn>
                <a:cxn ang="0">
                  <a:pos x="117" y="265"/>
                </a:cxn>
                <a:cxn ang="0">
                  <a:pos x="102" y="248"/>
                </a:cxn>
                <a:cxn ang="0">
                  <a:pos x="55" y="264"/>
                </a:cxn>
                <a:cxn ang="0">
                  <a:pos x="64" y="309"/>
                </a:cxn>
                <a:cxn ang="0">
                  <a:pos x="69" y="324"/>
                </a:cxn>
                <a:cxn ang="0">
                  <a:pos x="63" y="352"/>
                </a:cxn>
                <a:cxn ang="0">
                  <a:pos x="58" y="367"/>
                </a:cxn>
                <a:cxn ang="0">
                  <a:pos x="44" y="372"/>
                </a:cxn>
                <a:cxn ang="0">
                  <a:pos x="37" y="406"/>
                </a:cxn>
                <a:cxn ang="0">
                  <a:pos x="80" y="427"/>
                </a:cxn>
                <a:cxn ang="0">
                  <a:pos x="103" y="454"/>
                </a:cxn>
                <a:cxn ang="0">
                  <a:pos x="147" y="539"/>
                </a:cxn>
                <a:cxn ang="0">
                  <a:pos x="152" y="564"/>
                </a:cxn>
                <a:cxn ang="0">
                  <a:pos x="151" y="581"/>
                </a:cxn>
                <a:cxn ang="0">
                  <a:pos x="171" y="593"/>
                </a:cxn>
                <a:cxn ang="0">
                  <a:pos x="210" y="643"/>
                </a:cxn>
                <a:cxn ang="0">
                  <a:pos x="293" y="652"/>
                </a:cxn>
                <a:cxn ang="0">
                  <a:pos x="327" y="625"/>
                </a:cxn>
                <a:cxn ang="0">
                  <a:pos x="357" y="597"/>
                </a:cxn>
                <a:cxn ang="0">
                  <a:pos x="405" y="524"/>
                </a:cxn>
                <a:cxn ang="0">
                  <a:pos x="411" y="495"/>
                </a:cxn>
                <a:cxn ang="0">
                  <a:pos x="461" y="451"/>
                </a:cxn>
                <a:cxn ang="0">
                  <a:pos x="481" y="439"/>
                </a:cxn>
                <a:cxn ang="0">
                  <a:pos x="487" y="395"/>
                </a:cxn>
                <a:cxn ang="0">
                  <a:pos x="513" y="391"/>
                </a:cxn>
                <a:cxn ang="0">
                  <a:pos x="490" y="332"/>
                </a:cxn>
                <a:cxn ang="0">
                  <a:pos x="494" y="301"/>
                </a:cxn>
                <a:cxn ang="0">
                  <a:pos x="529" y="287"/>
                </a:cxn>
                <a:cxn ang="0">
                  <a:pos x="555" y="263"/>
                </a:cxn>
                <a:cxn ang="0">
                  <a:pos x="570" y="252"/>
                </a:cxn>
              </a:cxnLst>
              <a:rect l="0" t="0" r="r" b="b"/>
              <a:pathLst>
                <a:path w="574" h="665">
                  <a:moveTo>
                    <a:pt x="46" y="345"/>
                  </a:moveTo>
                  <a:cubicBezTo>
                    <a:pt x="39" y="333"/>
                    <a:pt x="39" y="333"/>
                    <a:pt x="39" y="333"/>
                  </a:cubicBezTo>
                  <a:cubicBezTo>
                    <a:pt x="38" y="311"/>
                    <a:pt x="38" y="311"/>
                    <a:pt x="38" y="311"/>
                  </a:cubicBezTo>
                  <a:cubicBezTo>
                    <a:pt x="19" y="308"/>
                    <a:pt x="19" y="308"/>
                    <a:pt x="19" y="308"/>
                  </a:cubicBezTo>
                  <a:cubicBezTo>
                    <a:pt x="4" y="289"/>
                    <a:pt x="4" y="289"/>
                    <a:pt x="4" y="289"/>
                  </a:cubicBezTo>
                  <a:cubicBezTo>
                    <a:pt x="0" y="293"/>
                    <a:pt x="6" y="327"/>
                    <a:pt x="6" y="327"/>
                  </a:cubicBezTo>
                  <a:cubicBezTo>
                    <a:pt x="19" y="337"/>
                    <a:pt x="19" y="337"/>
                    <a:pt x="19" y="337"/>
                  </a:cubicBezTo>
                  <a:cubicBezTo>
                    <a:pt x="32" y="355"/>
                    <a:pt x="32" y="355"/>
                    <a:pt x="32" y="355"/>
                  </a:cubicBezTo>
                  <a:cubicBezTo>
                    <a:pt x="36" y="368"/>
                    <a:pt x="36" y="368"/>
                    <a:pt x="36" y="368"/>
                  </a:cubicBezTo>
                  <a:lnTo>
                    <a:pt x="46" y="345"/>
                  </a:lnTo>
                  <a:close/>
                  <a:moveTo>
                    <a:pt x="574" y="241"/>
                  </a:moveTo>
                  <a:cubicBezTo>
                    <a:pt x="574" y="241"/>
                    <a:pt x="563" y="236"/>
                    <a:pt x="559" y="229"/>
                  </a:cubicBezTo>
                  <a:cubicBezTo>
                    <a:pt x="553" y="187"/>
                    <a:pt x="534" y="208"/>
                    <a:pt x="534" y="208"/>
                  </a:cubicBezTo>
                  <a:cubicBezTo>
                    <a:pt x="534" y="208"/>
                    <a:pt x="537" y="199"/>
                    <a:pt x="533" y="197"/>
                  </a:cubicBezTo>
                  <a:cubicBezTo>
                    <a:pt x="505" y="196"/>
                    <a:pt x="510" y="167"/>
                    <a:pt x="511" y="153"/>
                  </a:cubicBezTo>
                  <a:cubicBezTo>
                    <a:pt x="479" y="120"/>
                    <a:pt x="503" y="127"/>
                    <a:pt x="486" y="111"/>
                  </a:cubicBezTo>
                  <a:cubicBezTo>
                    <a:pt x="469" y="95"/>
                    <a:pt x="466" y="63"/>
                    <a:pt x="466" y="63"/>
                  </a:cubicBezTo>
                  <a:cubicBezTo>
                    <a:pt x="434" y="52"/>
                    <a:pt x="434" y="52"/>
                    <a:pt x="434" y="52"/>
                  </a:cubicBezTo>
                  <a:cubicBezTo>
                    <a:pt x="442" y="65"/>
                    <a:pt x="442" y="65"/>
                    <a:pt x="442" y="65"/>
                  </a:cubicBezTo>
                  <a:cubicBezTo>
                    <a:pt x="419" y="65"/>
                    <a:pt x="419" y="65"/>
                    <a:pt x="419" y="65"/>
                  </a:cubicBezTo>
                  <a:cubicBezTo>
                    <a:pt x="405" y="73"/>
                    <a:pt x="405" y="73"/>
                    <a:pt x="405" y="73"/>
                  </a:cubicBezTo>
                  <a:cubicBezTo>
                    <a:pt x="393" y="67"/>
                    <a:pt x="393" y="67"/>
                    <a:pt x="393" y="67"/>
                  </a:cubicBezTo>
                  <a:cubicBezTo>
                    <a:pt x="393" y="67"/>
                    <a:pt x="394" y="73"/>
                    <a:pt x="382" y="69"/>
                  </a:cubicBezTo>
                  <a:cubicBezTo>
                    <a:pt x="370" y="65"/>
                    <a:pt x="382" y="39"/>
                    <a:pt x="382" y="39"/>
                  </a:cubicBezTo>
                  <a:cubicBezTo>
                    <a:pt x="373" y="35"/>
                    <a:pt x="373" y="35"/>
                    <a:pt x="373" y="35"/>
                  </a:cubicBezTo>
                  <a:cubicBezTo>
                    <a:pt x="369" y="28"/>
                    <a:pt x="369" y="28"/>
                    <a:pt x="369" y="28"/>
                  </a:cubicBezTo>
                  <a:cubicBezTo>
                    <a:pt x="355" y="35"/>
                    <a:pt x="355" y="35"/>
                    <a:pt x="355" y="35"/>
                  </a:cubicBezTo>
                  <a:cubicBezTo>
                    <a:pt x="355" y="21"/>
                    <a:pt x="355" y="21"/>
                    <a:pt x="355" y="21"/>
                  </a:cubicBezTo>
                  <a:cubicBezTo>
                    <a:pt x="355" y="21"/>
                    <a:pt x="333" y="25"/>
                    <a:pt x="329" y="0"/>
                  </a:cubicBezTo>
                  <a:cubicBezTo>
                    <a:pt x="298" y="0"/>
                    <a:pt x="299" y="20"/>
                    <a:pt x="299" y="20"/>
                  </a:cubicBezTo>
                  <a:cubicBezTo>
                    <a:pt x="294" y="19"/>
                    <a:pt x="294" y="19"/>
                    <a:pt x="294" y="19"/>
                  </a:cubicBezTo>
                  <a:cubicBezTo>
                    <a:pt x="289" y="28"/>
                    <a:pt x="289" y="28"/>
                    <a:pt x="289" y="28"/>
                  </a:cubicBezTo>
                  <a:cubicBezTo>
                    <a:pt x="279" y="28"/>
                    <a:pt x="279" y="28"/>
                    <a:pt x="279" y="28"/>
                  </a:cubicBezTo>
                  <a:cubicBezTo>
                    <a:pt x="282" y="16"/>
                    <a:pt x="282" y="16"/>
                    <a:pt x="282" y="16"/>
                  </a:cubicBezTo>
                  <a:cubicBezTo>
                    <a:pt x="239" y="17"/>
                    <a:pt x="239" y="17"/>
                    <a:pt x="239" y="17"/>
                  </a:cubicBezTo>
                  <a:cubicBezTo>
                    <a:pt x="213" y="32"/>
                    <a:pt x="213" y="32"/>
                    <a:pt x="213" y="32"/>
                  </a:cubicBezTo>
                  <a:cubicBezTo>
                    <a:pt x="214" y="24"/>
                    <a:pt x="214" y="24"/>
                    <a:pt x="214" y="24"/>
                  </a:cubicBezTo>
                  <a:cubicBezTo>
                    <a:pt x="195" y="21"/>
                    <a:pt x="195" y="21"/>
                    <a:pt x="195" y="21"/>
                  </a:cubicBezTo>
                  <a:cubicBezTo>
                    <a:pt x="193" y="37"/>
                    <a:pt x="193" y="37"/>
                    <a:pt x="193" y="37"/>
                  </a:cubicBezTo>
                  <a:cubicBezTo>
                    <a:pt x="193" y="37"/>
                    <a:pt x="165" y="55"/>
                    <a:pt x="158" y="47"/>
                  </a:cubicBezTo>
                  <a:cubicBezTo>
                    <a:pt x="151" y="39"/>
                    <a:pt x="122" y="49"/>
                    <a:pt x="119" y="59"/>
                  </a:cubicBezTo>
                  <a:cubicBezTo>
                    <a:pt x="117" y="68"/>
                    <a:pt x="137" y="73"/>
                    <a:pt x="137" y="73"/>
                  </a:cubicBezTo>
                  <a:cubicBezTo>
                    <a:pt x="133" y="84"/>
                    <a:pt x="133" y="84"/>
                    <a:pt x="133" y="84"/>
                  </a:cubicBezTo>
                  <a:cubicBezTo>
                    <a:pt x="158" y="109"/>
                    <a:pt x="158" y="109"/>
                    <a:pt x="158" y="109"/>
                  </a:cubicBezTo>
                  <a:cubicBezTo>
                    <a:pt x="151" y="121"/>
                    <a:pt x="151" y="121"/>
                    <a:pt x="151" y="121"/>
                  </a:cubicBezTo>
                  <a:cubicBezTo>
                    <a:pt x="166" y="141"/>
                    <a:pt x="166" y="141"/>
                    <a:pt x="166" y="141"/>
                  </a:cubicBezTo>
                  <a:cubicBezTo>
                    <a:pt x="163" y="163"/>
                    <a:pt x="163" y="163"/>
                    <a:pt x="163" y="163"/>
                  </a:cubicBezTo>
                  <a:cubicBezTo>
                    <a:pt x="174" y="163"/>
                    <a:pt x="174" y="163"/>
                    <a:pt x="174" y="163"/>
                  </a:cubicBezTo>
                  <a:cubicBezTo>
                    <a:pt x="174" y="200"/>
                    <a:pt x="174" y="200"/>
                    <a:pt x="174" y="200"/>
                  </a:cubicBezTo>
                  <a:cubicBezTo>
                    <a:pt x="163" y="200"/>
                    <a:pt x="163" y="200"/>
                    <a:pt x="163" y="200"/>
                  </a:cubicBezTo>
                  <a:cubicBezTo>
                    <a:pt x="173" y="220"/>
                    <a:pt x="173" y="220"/>
                    <a:pt x="173" y="220"/>
                  </a:cubicBezTo>
                  <a:cubicBezTo>
                    <a:pt x="169" y="243"/>
                    <a:pt x="169" y="243"/>
                    <a:pt x="169" y="243"/>
                  </a:cubicBezTo>
                  <a:cubicBezTo>
                    <a:pt x="178" y="235"/>
                    <a:pt x="178" y="235"/>
                    <a:pt x="178" y="235"/>
                  </a:cubicBezTo>
                  <a:cubicBezTo>
                    <a:pt x="201" y="255"/>
                    <a:pt x="171" y="253"/>
                    <a:pt x="171" y="253"/>
                  </a:cubicBezTo>
                  <a:cubicBezTo>
                    <a:pt x="171" y="253"/>
                    <a:pt x="171" y="264"/>
                    <a:pt x="165" y="264"/>
                  </a:cubicBezTo>
                  <a:cubicBezTo>
                    <a:pt x="158" y="264"/>
                    <a:pt x="141" y="268"/>
                    <a:pt x="141" y="268"/>
                  </a:cubicBezTo>
                  <a:cubicBezTo>
                    <a:pt x="126" y="259"/>
                    <a:pt x="126" y="259"/>
                    <a:pt x="126" y="259"/>
                  </a:cubicBezTo>
                  <a:cubicBezTo>
                    <a:pt x="117" y="265"/>
                    <a:pt x="117" y="265"/>
                    <a:pt x="117" y="265"/>
                  </a:cubicBezTo>
                  <a:cubicBezTo>
                    <a:pt x="102" y="264"/>
                    <a:pt x="102" y="264"/>
                    <a:pt x="102" y="264"/>
                  </a:cubicBezTo>
                  <a:cubicBezTo>
                    <a:pt x="102" y="248"/>
                    <a:pt x="102" y="248"/>
                    <a:pt x="102" y="248"/>
                  </a:cubicBezTo>
                  <a:cubicBezTo>
                    <a:pt x="69" y="259"/>
                    <a:pt x="69" y="259"/>
                    <a:pt x="69" y="259"/>
                  </a:cubicBezTo>
                  <a:cubicBezTo>
                    <a:pt x="55" y="264"/>
                    <a:pt x="55" y="264"/>
                    <a:pt x="55" y="264"/>
                  </a:cubicBezTo>
                  <a:cubicBezTo>
                    <a:pt x="71" y="282"/>
                    <a:pt x="78" y="307"/>
                    <a:pt x="78" y="307"/>
                  </a:cubicBezTo>
                  <a:cubicBezTo>
                    <a:pt x="64" y="309"/>
                    <a:pt x="64" y="309"/>
                    <a:pt x="64" y="309"/>
                  </a:cubicBezTo>
                  <a:cubicBezTo>
                    <a:pt x="69" y="320"/>
                    <a:pt x="69" y="320"/>
                    <a:pt x="69" y="320"/>
                  </a:cubicBezTo>
                  <a:cubicBezTo>
                    <a:pt x="69" y="324"/>
                    <a:pt x="69" y="324"/>
                    <a:pt x="69" y="324"/>
                  </a:cubicBezTo>
                  <a:cubicBezTo>
                    <a:pt x="71" y="335"/>
                    <a:pt x="71" y="335"/>
                    <a:pt x="71" y="335"/>
                  </a:cubicBezTo>
                  <a:cubicBezTo>
                    <a:pt x="63" y="352"/>
                    <a:pt x="63" y="352"/>
                    <a:pt x="63" y="352"/>
                  </a:cubicBezTo>
                  <a:cubicBezTo>
                    <a:pt x="52" y="352"/>
                    <a:pt x="52" y="352"/>
                    <a:pt x="52" y="352"/>
                  </a:cubicBezTo>
                  <a:cubicBezTo>
                    <a:pt x="58" y="367"/>
                    <a:pt x="58" y="367"/>
                    <a:pt x="58" y="367"/>
                  </a:cubicBezTo>
                  <a:cubicBezTo>
                    <a:pt x="67" y="382"/>
                    <a:pt x="67" y="382"/>
                    <a:pt x="67" y="382"/>
                  </a:cubicBezTo>
                  <a:cubicBezTo>
                    <a:pt x="67" y="382"/>
                    <a:pt x="51" y="372"/>
                    <a:pt x="44" y="372"/>
                  </a:cubicBezTo>
                  <a:cubicBezTo>
                    <a:pt x="37" y="372"/>
                    <a:pt x="35" y="378"/>
                    <a:pt x="33" y="389"/>
                  </a:cubicBezTo>
                  <a:cubicBezTo>
                    <a:pt x="31" y="400"/>
                    <a:pt x="37" y="406"/>
                    <a:pt x="37" y="406"/>
                  </a:cubicBezTo>
                  <a:cubicBezTo>
                    <a:pt x="70" y="427"/>
                    <a:pt x="70" y="427"/>
                    <a:pt x="70" y="427"/>
                  </a:cubicBezTo>
                  <a:cubicBezTo>
                    <a:pt x="80" y="427"/>
                    <a:pt x="80" y="427"/>
                    <a:pt x="80" y="427"/>
                  </a:cubicBezTo>
                  <a:cubicBezTo>
                    <a:pt x="93" y="454"/>
                    <a:pt x="93" y="454"/>
                    <a:pt x="93" y="454"/>
                  </a:cubicBezTo>
                  <a:cubicBezTo>
                    <a:pt x="103" y="454"/>
                    <a:pt x="103" y="454"/>
                    <a:pt x="103" y="454"/>
                  </a:cubicBezTo>
                  <a:cubicBezTo>
                    <a:pt x="103" y="454"/>
                    <a:pt x="104" y="457"/>
                    <a:pt x="114" y="462"/>
                  </a:cubicBezTo>
                  <a:cubicBezTo>
                    <a:pt x="124" y="467"/>
                    <a:pt x="147" y="539"/>
                    <a:pt x="147" y="539"/>
                  </a:cubicBezTo>
                  <a:cubicBezTo>
                    <a:pt x="145" y="553"/>
                    <a:pt x="145" y="553"/>
                    <a:pt x="145" y="553"/>
                  </a:cubicBezTo>
                  <a:cubicBezTo>
                    <a:pt x="152" y="564"/>
                    <a:pt x="152" y="564"/>
                    <a:pt x="152" y="564"/>
                  </a:cubicBezTo>
                  <a:cubicBezTo>
                    <a:pt x="148" y="576"/>
                    <a:pt x="148" y="576"/>
                    <a:pt x="148" y="576"/>
                  </a:cubicBezTo>
                  <a:cubicBezTo>
                    <a:pt x="148" y="576"/>
                    <a:pt x="149" y="578"/>
                    <a:pt x="151" y="581"/>
                  </a:cubicBezTo>
                  <a:cubicBezTo>
                    <a:pt x="165" y="580"/>
                    <a:pt x="165" y="580"/>
                    <a:pt x="165" y="580"/>
                  </a:cubicBezTo>
                  <a:cubicBezTo>
                    <a:pt x="171" y="593"/>
                    <a:pt x="171" y="593"/>
                    <a:pt x="171" y="593"/>
                  </a:cubicBezTo>
                  <a:cubicBezTo>
                    <a:pt x="171" y="593"/>
                    <a:pt x="211" y="604"/>
                    <a:pt x="205" y="619"/>
                  </a:cubicBezTo>
                  <a:cubicBezTo>
                    <a:pt x="210" y="637"/>
                    <a:pt x="210" y="643"/>
                    <a:pt x="210" y="643"/>
                  </a:cubicBezTo>
                  <a:cubicBezTo>
                    <a:pt x="210" y="643"/>
                    <a:pt x="218" y="628"/>
                    <a:pt x="235" y="645"/>
                  </a:cubicBezTo>
                  <a:cubicBezTo>
                    <a:pt x="253" y="663"/>
                    <a:pt x="286" y="665"/>
                    <a:pt x="293" y="652"/>
                  </a:cubicBezTo>
                  <a:cubicBezTo>
                    <a:pt x="299" y="639"/>
                    <a:pt x="315" y="616"/>
                    <a:pt x="315" y="616"/>
                  </a:cubicBezTo>
                  <a:cubicBezTo>
                    <a:pt x="315" y="616"/>
                    <a:pt x="323" y="625"/>
                    <a:pt x="327" y="625"/>
                  </a:cubicBezTo>
                  <a:cubicBezTo>
                    <a:pt x="331" y="625"/>
                    <a:pt x="350" y="597"/>
                    <a:pt x="350" y="597"/>
                  </a:cubicBezTo>
                  <a:cubicBezTo>
                    <a:pt x="357" y="597"/>
                    <a:pt x="357" y="597"/>
                    <a:pt x="357" y="597"/>
                  </a:cubicBezTo>
                  <a:cubicBezTo>
                    <a:pt x="357" y="597"/>
                    <a:pt x="345" y="544"/>
                    <a:pt x="397" y="537"/>
                  </a:cubicBezTo>
                  <a:cubicBezTo>
                    <a:pt x="401" y="523"/>
                    <a:pt x="405" y="524"/>
                    <a:pt x="405" y="524"/>
                  </a:cubicBezTo>
                  <a:cubicBezTo>
                    <a:pt x="417" y="523"/>
                    <a:pt x="417" y="523"/>
                    <a:pt x="417" y="523"/>
                  </a:cubicBezTo>
                  <a:cubicBezTo>
                    <a:pt x="417" y="523"/>
                    <a:pt x="407" y="495"/>
                    <a:pt x="411" y="495"/>
                  </a:cubicBezTo>
                  <a:cubicBezTo>
                    <a:pt x="415" y="495"/>
                    <a:pt x="426" y="493"/>
                    <a:pt x="426" y="493"/>
                  </a:cubicBezTo>
                  <a:cubicBezTo>
                    <a:pt x="461" y="451"/>
                    <a:pt x="461" y="451"/>
                    <a:pt x="461" y="451"/>
                  </a:cubicBezTo>
                  <a:cubicBezTo>
                    <a:pt x="461" y="443"/>
                    <a:pt x="461" y="443"/>
                    <a:pt x="461" y="443"/>
                  </a:cubicBezTo>
                  <a:cubicBezTo>
                    <a:pt x="481" y="439"/>
                    <a:pt x="481" y="439"/>
                    <a:pt x="481" y="439"/>
                  </a:cubicBezTo>
                  <a:cubicBezTo>
                    <a:pt x="489" y="413"/>
                    <a:pt x="489" y="413"/>
                    <a:pt x="489" y="413"/>
                  </a:cubicBezTo>
                  <a:cubicBezTo>
                    <a:pt x="489" y="413"/>
                    <a:pt x="483" y="393"/>
                    <a:pt x="487" y="395"/>
                  </a:cubicBezTo>
                  <a:cubicBezTo>
                    <a:pt x="491" y="396"/>
                    <a:pt x="501" y="399"/>
                    <a:pt x="501" y="399"/>
                  </a:cubicBezTo>
                  <a:cubicBezTo>
                    <a:pt x="513" y="391"/>
                    <a:pt x="513" y="391"/>
                    <a:pt x="513" y="391"/>
                  </a:cubicBezTo>
                  <a:cubicBezTo>
                    <a:pt x="506" y="371"/>
                    <a:pt x="506" y="371"/>
                    <a:pt x="506" y="371"/>
                  </a:cubicBezTo>
                  <a:cubicBezTo>
                    <a:pt x="506" y="371"/>
                    <a:pt x="478" y="372"/>
                    <a:pt x="490" y="332"/>
                  </a:cubicBezTo>
                  <a:cubicBezTo>
                    <a:pt x="482" y="311"/>
                    <a:pt x="482" y="311"/>
                    <a:pt x="482" y="311"/>
                  </a:cubicBezTo>
                  <a:cubicBezTo>
                    <a:pt x="494" y="301"/>
                    <a:pt x="494" y="301"/>
                    <a:pt x="494" y="301"/>
                  </a:cubicBezTo>
                  <a:cubicBezTo>
                    <a:pt x="510" y="285"/>
                    <a:pt x="510" y="285"/>
                    <a:pt x="510" y="285"/>
                  </a:cubicBezTo>
                  <a:cubicBezTo>
                    <a:pt x="529" y="287"/>
                    <a:pt x="529" y="287"/>
                    <a:pt x="529" y="287"/>
                  </a:cubicBezTo>
                  <a:cubicBezTo>
                    <a:pt x="541" y="261"/>
                    <a:pt x="541" y="261"/>
                    <a:pt x="541" y="261"/>
                  </a:cubicBezTo>
                  <a:cubicBezTo>
                    <a:pt x="555" y="263"/>
                    <a:pt x="555" y="263"/>
                    <a:pt x="555" y="263"/>
                  </a:cubicBezTo>
                  <a:cubicBezTo>
                    <a:pt x="573" y="256"/>
                    <a:pt x="573" y="256"/>
                    <a:pt x="573" y="256"/>
                  </a:cubicBezTo>
                  <a:cubicBezTo>
                    <a:pt x="570" y="252"/>
                    <a:pt x="570" y="252"/>
                    <a:pt x="570" y="252"/>
                  </a:cubicBezTo>
                  <a:lnTo>
                    <a:pt x="574" y="241"/>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4" name="Limousin" descr="© INSCALE GmbH, 05.05.2010&#10;http://www.presentationload.com/">
              <a:extLst>
                <a:ext uri="{FF2B5EF4-FFF2-40B4-BE49-F238E27FC236}">
                  <a16:creationId xmlns:a16="http://schemas.microsoft.com/office/drawing/2014/main" id="{4FA2DC5F-8B28-45E5-99F2-EB35462EE5EB}"/>
                </a:ext>
              </a:extLst>
            </p:cNvPr>
            <p:cNvSpPr>
              <a:spLocks/>
            </p:cNvSpPr>
            <p:nvPr/>
          </p:nvSpPr>
          <p:spPr bwMode="gray">
            <a:xfrm>
              <a:off x="1360" y="1756"/>
              <a:ext cx="473" cy="536"/>
            </a:xfrm>
            <a:custGeom>
              <a:avLst/>
              <a:gdLst/>
              <a:ahLst/>
              <a:cxnLst>
                <a:cxn ang="0">
                  <a:pos x="50" y="266"/>
                </a:cxn>
                <a:cxn ang="0">
                  <a:pos x="97" y="293"/>
                </a:cxn>
                <a:cxn ang="0">
                  <a:pos x="110" y="314"/>
                </a:cxn>
                <a:cxn ang="0">
                  <a:pos x="135" y="337"/>
                </a:cxn>
                <a:cxn ang="0">
                  <a:pos x="133" y="369"/>
                </a:cxn>
                <a:cxn ang="0">
                  <a:pos x="141" y="386"/>
                </a:cxn>
                <a:cxn ang="0">
                  <a:pos x="142" y="404"/>
                </a:cxn>
                <a:cxn ang="0">
                  <a:pos x="169" y="426"/>
                </a:cxn>
                <a:cxn ang="0">
                  <a:pos x="175" y="461"/>
                </a:cxn>
                <a:cxn ang="0">
                  <a:pos x="258" y="493"/>
                </a:cxn>
                <a:cxn ang="0">
                  <a:pos x="286" y="481"/>
                </a:cxn>
                <a:cxn ang="0">
                  <a:pos x="319" y="474"/>
                </a:cxn>
                <a:cxn ang="0">
                  <a:pos x="343" y="440"/>
                </a:cxn>
                <a:cxn ang="0">
                  <a:pos x="350" y="412"/>
                </a:cxn>
                <a:cxn ang="0">
                  <a:pos x="363" y="374"/>
                </a:cxn>
                <a:cxn ang="0">
                  <a:pos x="385" y="365"/>
                </a:cxn>
                <a:cxn ang="0">
                  <a:pos x="402" y="348"/>
                </a:cxn>
                <a:cxn ang="0">
                  <a:pos x="410" y="330"/>
                </a:cxn>
                <a:cxn ang="0">
                  <a:pos x="419" y="265"/>
                </a:cxn>
                <a:cxn ang="0">
                  <a:pos x="403" y="193"/>
                </a:cxn>
                <a:cxn ang="0">
                  <a:pos x="438" y="161"/>
                </a:cxn>
                <a:cxn ang="0">
                  <a:pos x="430" y="105"/>
                </a:cxn>
                <a:cxn ang="0">
                  <a:pos x="397" y="54"/>
                </a:cxn>
                <a:cxn ang="0">
                  <a:pos x="375" y="28"/>
                </a:cxn>
                <a:cxn ang="0">
                  <a:pos x="365" y="11"/>
                </a:cxn>
                <a:cxn ang="0">
                  <a:pos x="318" y="13"/>
                </a:cxn>
                <a:cxn ang="0">
                  <a:pos x="250" y="4"/>
                </a:cxn>
                <a:cxn ang="0">
                  <a:pos x="235" y="16"/>
                </a:cxn>
                <a:cxn ang="0">
                  <a:pos x="219" y="13"/>
                </a:cxn>
                <a:cxn ang="0">
                  <a:pos x="201" y="12"/>
                </a:cxn>
                <a:cxn ang="0">
                  <a:pos x="169" y="21"/>
                </a:cxn>
                <a:cxn ang="0">
                  <a:pos x="151" y="28"/>
                </a:cxn>
                <a:cxn ang="0">
                  <a:pos x="129" y="25"/>
                </a:cxn>
                <a:cxn ang="0">
                  <a:pos x="97" y="30"/>
                </a:cxn>
                <a:cxn ang="0">
                  <a:pos x="66" y="54"/>
                </a:cxn>
                <a:cxn ang="0">
                  <a:pos x="38" y="80"/>
                </a:cxn>
                <a:cxn ang="0">
                  <a:pos x="62" y="140"/>
                </a:cxn>
                <a:cxn ang="0">
                  <a:pos x="57" y="168"/>
                </a:cxn>
                <a:cxn ang="0">
                  <a:pos x="45" y="182"/>
                </a:cxn>
                <a:cxn ang="0">
                  <a:pos x="17" y="212"/>
                </a:cxn>
                <a:cxn ang="0">
                  <a:pos x="0" y="240"/>
                </a:cxn>
                <a:cxn ang="0">
                  <a:pos x="31" y="277"/>
                </a:cxn>
              </a:cxnLst>
              <a:rect l="0" t="0" r="r" b="b"/>
              <a:pathLst>
                <a:path w="439" h="497">
                  <a:moveTo>
                    <a:pt x="31" y="277"/>
                  </a:moveTo>
                  <a:cubicBezTo>
                    <a:pt x="38" y="281"/>
                    <a:pt x="50" y="266"/>
                    <a:pt x="50" y="266"/>
                  </a:cubicBezTo>
                  <a:cubicBezTo>
                    <a:pt x="85" y="270"/>
                    <a:pt x="85" y="270"/>
                    <a:pt x="85" y="270"/>
                  </a:cubicBezTo>
                  <a:cubicBezTo>
                    <a:pt x="85" y="270"/>
                    <a:pt x="90" y="293"/>
                    <a:pt x="97" y="293"/>
                  </a:cubicBezTo>
                  <a:cubicBezTo>
                    <a:pt x="103" y="293"/>
                    <a:pt x="115" y="294"/>
                    <a:pt x="115" y="294"/>
                  </a:cubicBezTo>
                  <a:cubicBezTo>
                    <a:pt x="110" y="314"/>
                    <a:pt x="110" y="314"/>
                    <a:pt x="110" y="314"/>
                  </a:cubicBezTo>
                  <a:cubicBezTo>
                    <a:pt x="142" y="336"/>
                    <a:pt x="142" y="336"/>
                    <a:pt x="142" y="336"/>
                  </a:cubicBezTo>
                  <a:cubicBezTo>
                    <a:pt x="135" y="337"/>
                    <a:pt x="135" y="337"/>
                    <a:pt x="135" y="337"/>
                  </a:cubicBezTo>
                  <a:cubicBezTo>
                    <a:pt x="135" y="337"/>
                    <a:pt x="149" y="341"/>
                    <a:pt x="149" y="348"/>
                  </a:cubicBezTo>
                  <a:cubicBezTo>
                    <a:pt x="149" y="354"/>
                    <a:pt x="133" y="369"/>
                    <a:pt x="133" y="369"/>
                  </a:cubicBezTo>
                  <a:cubicBezTo>
                    <a:pt x="133" y="380"/>
                    <a:pt x="133" y="380"/>
                    <a:pt x="133" y="380"/>
                  </a:cubicBezTo>
                  <a:cubicBezTo>
                    <a:pt x="141" y="386"/>
                    <a:pt x="141" y="386"/>
                    <a:pt x="141" y="386"/>
                  </a:cubicBezTo>
                  <a:cubicBezTo>
                    <a:pt x="134" y="402"/>
                    <a:pt x="134" y="402"/>
                    <a:pt x="134" y="402"/>
                  </a:cubicBezTo>
                  <a:cubicBezTo>
                    <a:pt x="142" y="404"/>
                    <a:pt x="142" y="404"/>
                    <a:pt x="142" y="404"/>
                  </a:cubicBezTo>
                  <a:cubicBezTo>
                    <a:pt x="138" y="414"/>
                    <a:pt x="138" y="414"/>
                    <a:pt x="138" y="414"/>
                  </a:cubicBezTo>
                  <a:cubicBezTo>
                    <a:pt x="169" y="426"/>
                    <a:pt x="169" y="426"/>
                    <a:pt x="169" y="426"/>
                  </a:cubicBezTo>
                  <a:cubicBezTo>
                    <a:pt x="163" y="436"/>
                    <a:pt x="163" y="436"/>
                    <a:pt x="163" y="436"/>
                  </a:cubicBezTo>
                  <a:cubicBezTo>
                    <a:pt x="175" y="461"/>
                    <a:pt x="175" y="461"/>
                    <a:pt x="175" y="461"/>
                  </a:cubicBezTo>
                  <a:cubicBezTo>
                    <a:pt x="186" y="454"/>
                    <a:pt x="218" y="458"/>
                    <a:pt x="218" y="458"/>
                  </a:cubicBezTo>
                  <a:cubicBezTo>
                    <a:pt x="218" y="458"/>
                    <a:pt x="247" y="489"/>
                    <a:pt x="258" y="493"/>
                  </a:cubicBezTo>
                  <a:cubicBezTo>
                    <a:pt x="269" y="497"/>
                    <a:pt x="283" y="474"/>
                    <a:pt x="283" y="474"/>
                  </a:cubicBezTo>
                  <a:cubicBezTo>
                    <a:pt x="286" y="481"/>
                    <a:pt x="286" y="481"/>
                    <a:pt x="286" y="481"/>
                  </a:cubicBezTo>
                  <a:cubicBezTo>
                    <a:pt x="298" y="476"/>
                    <a:pt x="298" y="476"/>
                    <a:pt x="298" y="476"/>
                  </a:cubicBezTo>
                  <a:cubicBezTo>
                    <a:pt x="319" y="474"/>
                    <a:pt x="319" y="474"/>
                    <a:pt x="319" y="474"/>
                  </a:cubicBezTo>
                  <a:cubicBezTo>
                    <a:pt x="319" y="474"/>
                    <a:pt x="323" y="468"/>
                    <a:pt x="331" y="466"/>
                  </a:cubicBezTo>
                  <a:cubicBezTo>
                    <a:pt x="319" y="444"/>
                    <a:pt x="343" y="440"/>
                    <a:pt x="343" y="440"/>
                  </a:cubicBezTo>
                  <a:cubicBezTo>
                    <a:pt x="342" y="421"/>
                    <a:pt x="342" y="421"/>
                    <a:pt x="342" y="421"/>
                  </a:cubicBezTo>
                  <a:cubicBezTo>
                    <a:pt x="350" y="412"/>
                    <a:pt x="350" y="412"/>
                    <a:pt x="350" y="412"/>
                  </a:cubicBezTo>
                  <a:cubicBezTo>
                    <a:pt x="346" y="401"/>
                    <a:pt x="346" y="401"/>
                    <a:pt x="346" y="401"/>
                  </a:cubicBezTo>
                  <a:cubicBezTo>
                    <a:pt x="363" y="374"/>
                    <a:pt x="363" y="374"/>
                    <a:pt x="363" y="374"/>
                  </a:cubicBezTo>
                  <a:cubicBezTo>
                    <a:pt x="371" y="366"/>
                    <a:pt x="371" y="366"/>
                    <a:pt x="371" y="366"/>
                  </a:cubicBezTo>
                  <a:cubicBezTo>
                    <a:pt x="385" y="365"/>
                    <a:pt x="385" y="365"/>
                    <a:pt x="385" y="365"/>
                  </a:cubicBezTo>
                  <a:cubicBezTo>
                    <a:pt x="385" y="365"/>
                    <a:pt x="378" y="336"/>
                    <a:pt x="385" y="334"/>
                  </a:cubicBezTo>
                  <a:cubicBezTo>
                    <a:pt x="391" y="333"/>
                    <a:pt x="402" y="348"/>
                    <a:pt x="402" y="348"/>
                  </a:cubicBezTo>
                  <a:cubicBezTo>
                    <a:pt x="421" y="342"/>
                    <a:pt x="421" y="342"/>
                    <a:pt x="421" y="342"/>
                  </a:cubicBezTo>
                  <a:cubicBezTo>
                    <a:pt x="410" y="330"/>
                    <a:pt x="410" y="330"/>
                    <a:pt x="410" y="330"/>
                  </a:cubicBezTo>
                  <a:cubicBezTo>
                    <a:pt x="410" y="330"/>
                    <a:pt x="415" y="325"/>
                    <a:pt x="418" y="293"/>
                  </a:cubicBezTo>
                  <a:cubicBezTo>
                    <a:pt x="399" y="269"/>
                    <a:pt x="419" y="265"/>
                    <a:pt x="419" y="265"/>
                  </a:cubicBezTo>
                  <a:cubicBezTo>
                    <a:pt x="419" y="265"/>
                    <a:pt x="426" y="258"/>
                    <a:pt x="403" y="226"/>
                  </a:cubicBezTo>
                  <a:cubicBezTo>
                    <a:pt x="381" y="194"/>
                    <a:pt x="403" y="193"/>
                    <a:pt x="403" y="193"/>
                  </a:cubicBezTo>
                  <a:cubicBezTo>
                    <a:pt x="403" y="193"/>
                    <a:pt x="414" y="208"/>
                    <a:pt x="419" y="185"/>
                  </a:cubicBezTo>
                  <a:cubicBezTo>
                    <a:pt x="425" y="162"/>
                    <a:pt x="438" y="161"/>
                    <a:pt x="438" y="161"/>
                  </a:cubicBezTo>
                  <a:cubicBezTo>
                    <a:pt x="438" y="161"/>
                    <a:pt x="437" y="145"/>
                    <a:pt x="439" y="141"/>
                  </a:cubicBezTo>
                  <a:cubicBezTo>
                    <a:pt x="410" y="118"/>
                    <a:pt x="430" y="105"/>
                    <a:pt x="430" y="105"/>
                  </a:cubicBezTo>
                  <a:cubicBezTo>
                    <a:pt x="411" y="56"/>
                    <a:pt x="411" y="56"/>
                    <a:pt x="411" y="56"/>
                  </a:cubicBezTo>
                  <a:cubicBezTo>
                    <a:pt x="397" y="54"/>
                    <a:pt x="397" y="54"/>
                    <a:pt x="397" y="54"/>
                  </a:cubicBezTo>
                  <a:cubicBezTo>
                    <a:pt x="397" y="54"/>
                    <a:pt x="395" y="45"/>
                    <a:pt x="393" y="44"/>
                  </a:cubicBezTo>
                  <a:cubicBezTo>
                    <a:pt x="354" y="56"/>
                    <a:pt x="375" y="28"/>
                    <a:pt x="375" y="28"/>
                  </a:cubicBezTo>
                  <a:cubicBezTo>
                    <a:pt x="369" y="28"/>
                    <a:pt x="369" y="28"/>
                    <a:pt x="369" y="28"/>
                  </a:cubicBezTo>
                  <a:cubicBezTo>
                    <a:pt x="365" y="11"/>
                    <a:pt x="365" y="11"/>
                    <a:pt x="365" y="11"/>
                  </a:cubicBezTo>
                  <a:cubicBezTo>
                    <a:pt x="365" y="11"/>
                    <a:pt x="365" y="12"/>
                    <a:pt x="365" y="12"/>
                  </a:cubicBezTo>
                  <a:cubicBezTo>
                    <a:pt x="365" y="12"/>
                    <a:pt x="323" y="22"/>
                    <a:pt x="318" y="13"/>
                  </a:cubicBezTo>
                  <a:cubicBezTo>
                    <a:pt x="293" y="0"/>
                    <a:pt x="298" y="9"/>
                    <a:pt x="286" y="12"/>
                  </a:cubicBezTo>
                  <a:cubicBezTo>
                    <a:pt x="274" y="14"/>
                    <a:pt x="250" y="4"/>
                    <a:pt x="250" y="4"/>
                  </a:cubicBezTo>
                  <a:cubicBezTo>
                    <a:pt x="245" y="22"/>
                    <a:pt x="245" y="22"/>
                    <a:pt x="245" y="22"/>
                  </a:cubicBezTo>
                  <a:cubicBezTo>
                    <a:pt x="235" y="16"/>
                    <a:pt x="235" y="16"/>
                    <a:pt x="235" y="16"/>
                  </a:cubicBezTo>
                  <a:cubicBezTo>
                    <a:pt x="222" y="21"/>
                    <a:pt x="222" y="21"/>
                    <a:pt x="222" y="21"/>
                  </a:cubicBezTo>
                  <a:cubicBezTo>
                    <a:pt x="219" y="13"/>
                    <a:pt x="219" y="13"/>
                    <a:pt x="219" y="13"/>
                  </a:cubicBezTo>
                  <a:cubicBezTo>
                    <a:pt x="202" y="24"/>
                    <a:pt x="202" y="24"/>
                    <a:pt x="202" y="24"/>
                  </a:cubicBezTo>
                  <a:cubicBezTo>
                    <a:pt x="201" y="12"/>
                    <a:pt x="201" y="12"/>
                    <a:pt x="201" y="12"/>
                  </a:cubicBezTo>
                  <a:cubicBezTo>
                    <a:pt x="174" y="32"/>
                    <a:pt x="174" y="32"/>
                    <a:pt x="174" y="32"/>
                  </a:cubicBezTo>
                  <a:cubicBezTo>
                    <a:pt x="169" y="21"/>
                    <a:pt x="169" y="21"/>
                    <a:pt x="169" y="21"/>
                  </a:cubicBezTo>
                  <a:cubicBezTo>
                    <a:pt x="151" y="21"/>
                    <a:pt x="151" y="21"/>
                    <a:pt x="151" y="21"/>
                  </a:cubicBezTo>
                  <a:cubicBezTo>
                    <a:pt x="151" y="28"/>
                    <a:pt x="151" y="28"/>
                    <a:pt x="151" y="28"/>
                  </a:cubicBezTo>
                  <a:cubicBezTo>
                    <a:pt x="133" y="30"/>
                    <a:pt x="133" y="30"/>
                    <a:pt x="133" y="30"/>
                  </a:cubicBezTo>
                  <a:cubicBezTo>
                    <a:pt x="129" y="25"/>
                    <a:pt x="129" y="25"/>
                    <a:pt x="129" y="25"/>
                  </a:cubicBezTo>
                  <a:cubicBezTo>
                    <a:pt x="111" y="32"/>
                    <a:pt x="111" y="32"/>
                    <a:pt x="111" y="32"/>
                  </a:cubicBezTo>
                  <a:cubicBezTo>
                    <a:pt x="97" y="30"/>
                    <a:pt x="97" y="30"/>
                    <a:pt x="97" y="30"/>
                  </a:cubicBezTo>
                  <a:cubicBezTo>
                    <a:pt x="85" y="56"/>
                    <a:pt x="85" y="56"/>
                    <a:pt x="85" y="56"/>
                  </a:cubicBezTo>
                  <a:cubicBezTo>
                    <a:pt x="66" y="54"/>
                    <a:pt x="66" y="54"/>
                    <a:pt x="66" y="54"/>
                  </a:cubicBezTo>
                  <a:cubicBezTo>
                    <a:pt x="50" y="70"/>
                    <a:pt x="50" y="70"/>
                    <a:pt x="50" y="70"/>
                  </a:cubicBezTo>
                  <a:cubicBezTo>
                    <a:pt x="38" y="80"/>
                    <a:pt x="38" y="80"/>
                    <a:pt x="38" y="80"/>
                  </a:cubicBezTo>
                  <a:cubicBezTo>
                    <a:pt x="46" y="101"/>
                    <a:pt x="46" y="101"/>
                    <a:pt x="46" y="101"/>
                  </a:cubicBezTo>
                  <a:cubicBezTo>
                    <a:pt x="34" y="141"/>
                    <a:pt x="62" y="140"/>
                    <a:pt x="62" y="140"/>
                  </a:cubicBezTo>
                  <a:cubicBezTo>
                    <a:pt x="69" y="160"/>
                    <a:pt x="69" y="160"/>
                    <a:pt x="69" y="160"/>
                  </a:cubicBezTo>
                  <a:cubicBezTo>
                    <a:pt x="57" y="168"/>
                    <a:pt x="57" y="168"/>
                    <a:pt x="57" y="168"/>
                  </a:cubicBezTo>
                  <a:cubicBezTo>
                    <a:pt x="57" y="168"/>
                    <a:pt x="47" y="165"/>
                    <a:pt x="43" y="164"/>
                  </a:cubicBezTo>
                  <a:cubicBezTo>
                    <a:pt x="39" y="162"/>
                    <a:pt x="45" y="182"/>
                    <a:pt x="45" y="182"/>
                  </a:cubicBezTo>
                  <a:cubicBezTo>
                    <a:pt x="37" y="208"/>
                    <a:pt x="37" y="208"/>
                    <a:pt x="37" y="208"/>
                  </a:cubicBezTo>
                  <a:cubicBezTo>
                    <a:pt x="17" y="212"/>
                    <a:pt x="17" y="212"/>
                    <a:pt x="17" y="212"/>
                  </a:cubicBezTo>
                  <a:cubicBezTo>
                    <a:pt x="17" y="220"/>
                    <a:pt x="17" y="220"/>
                    <a:pt x="17" y="220"/>
                  </a:cubicBezTo>
                  <a:cubicBezTo>
                    <a:pt x="0" y="240"/>
                    <a:pt x="0" y="240"/>
                    <a:pt x="0" y="240"/>
                  </a:cubicBezTo>
                  <a:cubicBezTo>
                    <a:pt x="18" y="243"/>
                    <a:pt x="31" y="249"/>
                    <a:pt x="31" y="249"/>
                  </a:cubicBezTo>
                  <a:cubicBezTo>
                    <a:pt x="31" y="249"/>
                    <a:pt x="25" y="273"/>
                    <a:pt x="31" y="2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5" name="Auvergne" descr="© INSCALE GmbH, 05.05.2010&#10;http://www.presentationload.com/">
              <a:extLst>
                <a:ext uri="{FF2B5EF4-FFF2-40B4-BE49-F238E27FC236}">
                  <a16:creationId xmlns:a16="http://schemas.microsoft.com/office/drawing/2014/main" id="{9BD5E988-15D3-4B08-876C-E8948F7A9579}"/>
                </a:ext>
              </a:extLst>
            </p:cNvPr>
            <p:cNvSpPr>
              <a:spLocks/>
            </p:cNvSpPr>
            <p:nvPr/>
          </p:nvSpPr>
          <p:spPr bwMode="gray">
            <a:xfrm>
              <a:off x="1704" y="1640"/>
              <a:ext cx="593" cy="753"/>
            </a:xfrm>
            <a:custGeom>
              <a:avLst/>
              <a:gdLst/>
              <a:ahLst/>
              <a:cxnLst>
                <a:cxn ang="0">
                  <a:pos x="15" y="669"/>
                </a:cxn>
                <a:cxn ang="0">
                  <a:pos x="31" y="697"/>
                </a:cxn>
                <a:cxn ang="0">
                  <a:pos x="60" y="689"/>
                </a:cxn>
                <a:cxn ang="0">
                  <a:pos x="111" y="665"/>
                </a:cxn>
                <a:cxn ang="0">
                  <a:pos x="122" y="617"/>
                </a:cxn>
                <a:cxn ang="0">
                  <a:pos x="186" y="636"/>
                </a:cxn>
                <a:cxn ang="0">
                  <a:pos x="218" y="663"/>
                </a:cxn>
                <a:cxn ang="0">
                  <a:pos x="231" y="607"/>
                </a:cxn>
                <a:cxn ang="0">
                  <a:pos x="266" y="611"/>
                </a:cxn>
                <a:cxn ang="0">
                  <a:pos x="266" y="603"/>
                </a:cxn>
                <a:cxn ang="0">
                  <a:pos x="318" y="635"/>
                </a:cxn>
                <a:cxn ang="0">
                  <a:pos x="378" y="629"/>
                </a:cxn>
                <a:cxn ang="0">
                  <a:pos x="424" y="628"/>
                </a:cxn>
                <a:cxn ang="0">
                  <a:pos x="472" y="612"/>
                </a:cxn>
                <a:cxn ang="0">
                  <a:pos x="504" y="560"/>
                </a:cxn>
                <a:cxn ang="0">
                  <a:pos x="522" y="535"/>
                </a:cxn>
                <a:cxn ang="0">
                  <a:pos x="536" y="517"/>
                </a:cxn>
                <a:cxn ang="0">
                  <a:pos x="507" y="467"/>
                </a:cxn>
                <a:cxn ang="0">
                  <a:pos x="450" y="463"/>
                </a:cxn>
                <a:cxn ang="0">
                  <a:pos x="430" y="449"/>
                </a:cxn>
                <a:cxn ang="0">
                  <a:pos x="408" y="445"/>
                </a:cxn>
                <a:cxn ang="0">
                  <a:pos x="364" y="320"/>
                </a:cxn>
                <a:cxn ang="0">
                  <a:pos x="362" y="273"/>
                </a:cxn>
                <a:cxn ang="0">
                  <a:pos x="386" y="217"/>
                </a:cxn>
                <a:cxn ang="0">
                  <a:pos x="378" y="176"/>
                </a:cxn>
                <a:cxn ang="0">
                  <a:pos x="411" y="159"/>
                </a:cxn>
                <a:cxn ang="0">
                  <a:pos x="424" y="101"/>
                </a:cxn>
                <a:cxn ang="0">
                  <a:pos x="370" y="81"/>
                </a:cxn>
                <a:cxn ang="0">
                  <a:pos x="327" y="32"/>
                </a:cxn>
                <a:cxn ang="0">
                  <a:pos x="306" y="31"/>
                </a:cxn>
                <a:cxn ang="0">
                  <a:pos x="263" y="25"/>
                </a:cxn>
                <a:cxn ang="0">
                  <a:pos x="171" y="23"/>
                </a:cxn>
                <a:cxn ang="0">
                  <a:pos x="115" y="49"/>
                </a:cxn>
                <a:cxn ang="0">
                  <a:pos x="46" y="118"/>
                </a:cxn>
                <a:cxn ang="0">
                  <a:pos x="74" y="151"/>
                </a:cxn>
                <a:cxn ang="0">
                  <a:pos x="111" y="212"/>
                </a:cxn>
                <a:cxn ang="0">
                  <a:pos x="100" y="292"/>
                </a:cxn>
                <a:cxn ang="0">
                  <a:pos x="100" y="372"/>
                </a:cxn>
                <a:cxn ang="0">
                  <a:pos x="102" y="449"/>
                </a:cxn>
                <a:cxn ang="0">
                  <a:pos x="66" y="472"/>
                </a:cxn>
                <a:cxn ang="0">
                  <a:pos x="27" y="508"/>
                </a:cxn>
                <a:cxn ang="0">
                  <a:pos x="24" y="547"/>
                </a:cxn>
                <a:cxn ang="0">
                  <a:pos x="4" y="608"/>
                </a:cxn>
              </a:cxnLst>
              <a:rect l="0" t="0" r="r" b="b"/>
              <a:pathLst>
                <a:path w="550" h="697">
                  <a:moveTo>
                    <a:pt x="4" y="608"/>
                  </a:moveTo>
                  <a:cubicBezTo>
                    <a:pt x="20" y="635"/>
                    <a:pt x="20" y="635"/>
                    <a:pt x="20" y="635"/>
                  </a:cubicBezTo>
                  <a:cubicBezTo>
                    <a:pt x="15" y="669"/>
                    <a:pt x="15" y="669"/>
                    <a:pt x="15" y="669"/>
                  </a:cubicBezTo>
                  <a:cubicBezTo>
                    <a:pt x="24" y="675"/>
                    <a:pt x="24" y="675"/>
                    <a:pt x="24" y="675"/>
                  </a:cubicBezTo>
                  <a:cubicBezTo>
                    <a:pt x="26" y="691"/>
                    <a:pt x="26" y="691"/>
                    <a:pt x="26" y="691"/>
                  </a:cubicBezTo>
                  <a:cubicBezTo>
                    <a:pt x="31" y="697"/>
                    <a:pt x="31" y="697"/>
                    <a:pt x="31" y="697"/>
                  </a:cubicBezTo>
                  <a:cubicBezTo>
                    <a:pt x="30" y="685"/>
                    <a:pt x="30" y="685"/>
                    <a:pt x="30" y="685"/>
                  </a:cubicBezTo>
                  <a:cubicBezTo>
                    <a:pt x="59" y="684"/>
                    <a:pt x="59" y="684"/>
                    <a:pt x="59" y="684"/>
                  </a:cubicBezTo>
                  <a:cubicBezTo>
                    <a:pt x="60" y="689"/>
                    <a:pt x="60" y="689"/>
                    <a:pt x="60" y="689"/>
                  </a:cubicBezTo>
                  <a:cubicBezTo>
                    <a:pt x="94" y="687"/>
                    <a:pt x="94" y="687"/>
                    <a:pt x="94" y="687"/>
                  </a:cubicBezTo>
                  <a:cubicBezTo>
                    <a:pt x="98" y="675"/>
                    <a:pt x="98" y="675"/>
                    <a:pt x="98" y="675"/>
                  </a:cubicBezTo>
                  <a:cubicBezTo>
                    <a:pt x="111" y="665"/>
                    <a:pt x="111" y="665"/>
                    <a:pt x="111" y="665"/>
                  </a:cubicBezTo>
                  <a:cubicBezTo>
                    <a:pt x="112" y="645"/>
                    <a:pt x="112" y="645"/>
                    <a:pt x="112" y="645"/>
                  </a:cubicBezTo>
                  <a:cubicBezTo>
                    <a:pt x="120" y="639"/>
                    <a:pt x="120" y="639"/>
                    <a:pt x="120" y="639"/>
                  </a:cubicBezTo>
                  <a:cubicBezTo>
                    <a:pt x="122" y="617"/>
                    <a:pt x="122" y="617"/>
                    <a:pt x="122" y="617"/>
                  </a:cubicBezTo>
                  <a:cubicBezTo>
                    <a:pt x="122" y="617"/>
                    <a:pt x="122" y="624"/>
                    <a:pt x="131" y="616"/>
                  </a:cubicBezTo>
                  <a:cubicBezTo>
                    <a:pt x="157" y="579"/>
                    <a:pt x="163" y="607"/>
                    <a:pt x="161" y="614"/>
                  </a:cubicBezTo>
                  <a:cubicBezTo>
                    <a:pt x="172" y="606"/>
                    <a:pt x="186" y="636"/>
                    <a:pt x="186" y="636"/>
                  </a:cubicBezTo>
                  <a:cubicBezTo>
                    <a:pt x="195" y="647"/>
                    <a:pt x="195" y="647"/>
                    <a:pt x="195" y="647"/>
                  </a:cubicBezTo>
                  <a:cubicBezTo>
                    <a:pt x="204" y="687"/>
                    <a:pt x="204" y="687"/>
                    <a:pt x="204" y="687"/>
                  </a:cubicBezTo>
                  <a:cubicBezTo>
                    <a:pt x="218" y="663"/>
                    <a:pt x="218" y="663"/>
                    <a:pt x="218" y="663"/>
                  </a:cubicBezTo>
                  <a:cubicBezTo>
                    <a:pt x="224" y="636"/>
                    <a:pt x="224" y="636"/>
                    <a:pt x="224" y="636"/>
                  </a:cubicBezTo>
                  <a:cubicBezTo>
                    <a:pt x="232" y="627"/>
                    <a:pt x="232" y="627"/>
                    <a:pt x="232" y="627"/>
                  </a:cubicBezTo>
                  <a:cubicBezTo>
                    <a:pt x="231" y="607"/>
                    <a:pt x="231" y="607"/>
                    <a:pt x="231" y="607"/>
                  </a:cubicBezTo>
                  <a:cubicBezTo>
                    <a:pt x="240" y="603"/>
                    <a:pt x="240" y="603"/>
                    <a:pt x="240" y="603"/>
                  </a:cubicBezTo>
                  <a:cubicBezTo>
                    <a:pt x="248" y="616"/>
                    <a:pt x="248" y="616"/>
                    <a:pt x="248" y="616"/>
                  </a:cubicBezTo>
                  <a:cubicBezTo>
                    <a:pt x="266" y="611"/>
                    <a:pt x="266" y="611"/>
                    <a:pt x="266" y="611"/>
                  </a:cubicBezTo>
                  <a:cubicBezTo>
                    <a:pt x="266" y="603"/>
                    <a:pt x="266" y="603"/>
                    <a:pt x="266" y="603"/>
                  </a:cubicBezTo>
                  <a:cubicBezTo>
                    <a:pt x="263" y="603"/>
                    <a:pt x="267" y="593"/>
                    <a:pt x="267" y="593"/>
                  </a:cubicBezTo>
                  <a:cubicBezTo>
                    <a:pt x="266" y="603"/>
                    <a:pt x="266" y="603"/>
                    <a:pt x="266" y="603"/>
                  </a:cubicBezTo>
                  <a:cubicBezTo>
                    <a:pt x="267" y="603"/>
                    <a:pt x="269" y="602"/>
                    <a:pt x="271" y="600"/>
                  </a:cubicBezTo>
                  <a:cubicBezTo>
                    <a:pt x="282" y="591"/>
                    <a:pt x="300" y="584"/>
                    <a:pt x="300" y="584"/>
                  </a:cubicBezTo>
                  <a:cubicBezTo>
                    <a:pt x="318" y="635"/>
                    <a:pt x="318" y="635"/>
                    <a:pt x="318" y="635"/>
                  </a:cubicBezTo>
                  <a:cubicBezTo>
                    <a:pt x="318" y="635"/>
                    <a:pt x="318" y="635"/>
                    <a:pt x="342" y="627"/>
                  </a:cubicBezTo>
                  <a:cubicBezTo>
                    <a:pt x="346" y="600"/>
                    <a:pt x="356" y="624"/>
                    <a:pt x="356" y="624"/>
                  </a:cubicBezTo>
                  <a:cubicBezTo>
                    <a:pt x="378" y="629"/>
                    <a:pt x="378" y="629"/>
                    <a:pt x="378" y="629"/>
                  </a:cubicBezTo>
                  <a:cubicBezTo>
                    <a:pt x="399" y="655"/>
                    <a:pt x="399" y="655"/>
                    <a:pt x="399" y="655"/>
                  </a:cubicBezTo>
                  <a:cubicBezTo>
                    <a:pt x="424" y="644"/>
                    <a:pt x="424" y="644"/>
                    <a:pt x="424" y="644"/>
                  </a:cubicBezTo>
                  <a:cubicBezTo>
                    <a:pt x="424" y="628"/>
                    <a:pt x="424" y="628"/>
                    <a:pt x="424" y="628"/>
                  </a:cubicBezTo>
                  <a:cubicBezTo>
                    <a:pt x="443" y="619"/>
                    <a:pt x="443" y="619"/>
                    <a:pt x="443" y="619"/>
                  </a:cubicBezTo>
                  <a:cubicBezTo>
                    <a:pt x="444" y="613"/>
                    <a:pt x="444" y="613"/>
                    <a:pt x="444" y="613"/>
                  </a:cubicBezTo>
                  <a:cubicBezTo>
                    <a:pt x="472" y="612"/>
                    <a:pt x="472" y="612"/>
                    <a:pt x="472" y="612"/>
                  </a:cubicBezTo>
                  <a:cubicBezTo>
                    <a:pt x="484" y="584"/>
                    <a:pt x="484" y="584"/>
                    <a:pt x="484" y="584"/>
                  </a:cubicBezTo>
                  <a:cubicBezTo>
                    <a:pt x="504" y="580"/>
                    <a:pt x="504" y="580"/>
                    <a:pt x="504" y="580"/>
                  </a:cubicBezTo>
                  <a:cubicBezTo>
                    <a:pt x="504" y="560"/>
                    <a:pt x="504" y="560"/>
                    <a:pt x="504" y="560"/>
                  </a:cubicBezTo>
                  <a:cubicBezTo>
                    <a:pt x="519" y="560"/>
                    <a:pt x="519" y="560"/>
                    <a:pt x="519" y="560"/>
                  </a:cubicBezTo>
                  <a:cubicBezTo>
                    <a:pt x="519" y="560"/>
                    <a:pt x="512" y="548"/>
                    <a:pt x="512" y="544"/>
                  </a:cubicBezTo>
                  <a:cubicBezTo>
                    <a:pt x="512" y="540"/>
                    <a:pt x="522" y="535"/>
                    <a:pt x="522" y="535"/>
                  </a:cubicBezTo>
                  <a:cubicBezTo>
                    <a:pt x="519" y="523"/>
                    <a:pt x="519" y="523"/>
                    <a:pt x="519" y="523"/>
                  </a:cubicBezTo>
                  <a:cubicBezTo>
                    <a:pt x="533" y="534"/>
                    <a:pt x="533" y="534"/>
                    <a:pt x="533" y="534"/>
                  </a:cubicBezTo>
                  <a:cubicBezTo>
                    <a:pt x="532" y="533"/>
                    <a:pt x="532" y="529"/>
                    <a:pt x="536" y="517"/>
                  </a:cubicBezTo>
                  <a:cubicBezTo>
                    <a:pt x="550" y="468"/>
                    <a:pt x="519" y="489"/>
                    <a:pt x="519" y="489"/>
                  </a:cubicBezTo>
                  <a:cubicBezTo>
                    <a:pt x="512" y="471"/>
                    <a:pt x="512" y="471"/>
                    <a:pt x="512" y="471"/>
                  </a:cubicBezTo>
                  <a:cubicBezTo>
                    <a:pt x="507" y="467"/>
                    <a:pt x="507" y="467"/>
                    <a:pt x="507" y="467"/>
                  </a:cubicBezTo>
                  <a:cubicBezTo>
                    <a:pt x="520" y="456"/>
                    <a:pt x="495" y="459"/>
                    <a:pt x="488" y="449"/>
                  </a:cubicBezTo>
                  <a:cubicBezTo>
                    <a:pt x="482" y="440"/>
                    <a:pt x="452" y="455"/>
                    <a:pt x="452" y="455"/>
                  </a:cubicBezTo>
                  <a:cubicBezTo>
                    <a:pt x="450" y="463"/>
                    <a:pt x="450" y="463"/>
                    <a:pt x="450" y="463"/>
                  </a:cubicBezTo>
                  <a:cubicBezTo>
                    <a:pt x="444" y="456"/>
                    <a:pt x="444" y="456"/>
                    <a:pt x="444" y="456"/>
                  </a:cubicBezTo>
                  <a:cubicBezTo>
                    <a:pt x="434" y="461"/>
                    <a:pt x="434" y="461"/>
                    <a:pt x="434" y="461"/>
                  </a:cubicBezTo>
                  <a:cubicBezTo>
                    <a:pt x="430" y="449"/>
                    <a:pt x="430" y="449"/>
                    <a:pt x="430" y="449"/>
                  </a:cubicBezTo>
                  <a:cubicBezTo>
                    <a:pt x="418" y="449"/>
                    <a:pt x="418" y="449"/>
                    <a:pt x="418" y="449"/>
                  </a:cubicBezTo>
                  <a:cubicBezTo>
                    <a:pt x="412" y="468"/>
                    <a:pt x="412" y="468"/>
                    <a:pt x="412" y="468"/>
                  </a:cubicBezTo>
                  <a:cubicBezTo>
                    <a:pt x="408" y="445"/>
                    <a:pt x="408" y="445"/>
                    <a:pt x="408" y="445"/>
                  </a:cubicBezTo>
                  <a:cubicBezTo>
                    <a:pt x="408" y="445"/>
                    <a:pt x="422" y="439"/>
                    <a:pt x="424" y="432"/>
                  </a:cubicBezTo>
                  <a:cubicBezTo>
                    <a:pt x="436" y="412"/>
                    <a:pt x="396" y="376"/>
                    <a:pt x="391" y="376"/>
                  </a:cubicBezTo>
                  <a:cubicBezTo>
                    <a:pt x="387" y="356"/>
                    <a:pt x="364" y="320"/>
                    <a:pt x="364" y="320"/>
                  </a:cubicBezTo>
                  <a:cubicBezTo>
                    <a:pt x="366" y="292"/>
                    <a:pt x="366" y="292"/>
                    <a:pt x="366" y="292"/>
                  </a:cubicBezTo>
                  <a:cubicBezTo>
                    <a:pt x="374" y="289"/>
                    <a:pt x="374" y="289"/>
                    <a:pt x="374" y="289"/>
                  </a:cubicBezTo>
                  <a:cubicBezTo>
                    <a:pt x="362" y="273"/>
                    <a:pt x="362" y="273"/>
                    <a:pt x="362" y="273"/>
                  </a:cubicBezTo>
                  <a:cubicBezTo>
                    <a:pt x="362" y="261"/>
                    <a:pt x="362" y="261"/>
                    <a:pt x="362" y="261"/>
                  </a:cubicBezTo>
                  <a:cubicBezTo>
                    <a:pt x="387" y="252"/>
                    <a:pt x="387" y="252"/>
                    <a:pt x="387" y="252"/>
                  </a:cubicBezTo>
                  <a:cubicBezTo>
                    <a:pt x="386" y="217"/>
                    <a:pt x="386" y="217"/>
                    <a:pt x="386" y="217"/>
                  </a:cubicBezTo>
                  <a:cubicBezTo>
                    <a:pt x="379" y="204"/>
                    <a:pt x="379" y="204"/>
                    <a:pt x="379" y="204"/>
                  </a:cubicBezTo>
                  <a:cubicBezTo>
                    <a:pt x="383" y="189"/>
                    <a:pt x="383" y="189"/>
                    <a:pt x="383" y="189"/>
                  </a:cubicBezTo>
                  <a:cubicBezTo>
                    <a:pt x="378" y="176"/>
                    <a:pt x="378" y="176"/>
                    <a:pt x="378" y="176"/>
                  </a:cubicBezTo>
                  <a:cubicBezTo>
                    <a:pt x="403" y="165"/>
                    <a:pt x="403" y="165"/>
                    <a:pt x="403" y="165"/>
                  </a:cubicBezTo>
                  <a:cubicBezTo>
                    <a:pt x="403" y="156"/>
                    <a:pt x="403" y="156"/>
                    <a:pt x="403" y="156"/>
                  </a:cubicBezTo>
                  <a:cubicBezTo>
                    <a:pt x="411" y="159"/>
                    <a:pt x="411" y="159"/>
                    <a:pt x="411" y="159"/>
                  </a:cubicBezTo>
                  <a:cubicBezTo>
                    <a:pt x="416" y="145"/>
                    <a:pt x="416" y="145"/>
                    <a:pt x="416" y="145"/>
                  </a:cubicBezTo>
                  <a:cubicBezTo>
                    <a:pt x="423" y="145"/>
                    <a:pt x="423" y="145"/>
                    <a:pt x="423" y="145"/>
                  </a:cubicBezTo>
                  <a:cubicBezTo>
                    <a:pt x="423" y="145"/>
                    <a:pt x="423" y="116"/>
                    <a:pt x="424" y="101"/>
                  </a:cubicBezTo>
                  <a:cubicBezTo>
                    <a:pt x="426" y="87"/>
                    <a:pt x="398" y="97"/>
                    <a:pt x="398" y="97"/>
                  </a:cubicBezTo>
                  <a:cubicBezTo>
                    <a:pt x="387" y="84"/>
                    <a:pt x="387" y="84"/>
                    <a:pt x="387" y="84"/>
                  </a:cubicBezTo>
                  <a:cubicBezTo>
                    <a:pt x="370" y="81"/>
                    <a:pt x="370" y="81"/>
                    <a:pt x="370" y="81"/>
                  </a:cubicBezTo>
                  <a:cubicBezTo>
                    <a:pt x="366" y="63"/>
                    <a:pt x="366" y="63"/>
                    <a:pt x="366" y="63"/>
                  </a:cubicBezTo>
                  <a:cubicBezTo>
                    <a:pt x="366" y="63"/>
                    <a:pt x="336" y="12"/>
                    <a:pt x="332" y="8"/>
                  </a:cubicBezTo>
                  <a:cubicBezTo>
                    <a:pt x="328" y="4"/>
                    <a:pt x="327" y="32"/>
                    <a:pt x="327" y="32"/>
                  </a:cubicBezTo>
                  <a:cubicBezTo>
                    <a:pt x="318" y="31"/>
                    <a:pt x="318" y="31"/>
                    <a:pt x="318" y="31"/>
                  </a:cubicBezTo>
                  <a:cubicBezTo>
                    <a:pt x="306" y="45"/>
                    <a:pt x="306" y="45"/>
                    <a:pt x="306" y="45"/>
                  </a:cubicBezTo>
                  <a:cubicBezTo>
                    <a:pt x="306" y="31"/>
                    <a:pt x="306" y="31"/>
                    <a:pt x="306" y="31"/>
                  </a:cubicBezTo>
                  <a:cubicBezTo>
                    <a:pt x="294" y="24"/>
                    <a:pt x="294" y="24"/>
                    <a:pt x="294" y="24"/>
                  </a:cubicBezTo>
                  <a:cubicBezTo>
                    <a:pt x="294" y="24"/>
                    <a:pt x="283" y="32"/>
                    <a:pt x="279" y="32"/>
                  </a:cubicBezTo>
                  <a:cubicBezTo>
                    <a:pt x="275" y="32"/>
                    <a:pt x="267" y="25"/>
                    <a:pt x="263" y="25"/>
                  </a:cubicBezTo>
                  <a:cubicBezTo>
                    <a:pt x="259" y="25"/>
                    <a:pt x="254" y="36"/>
                    <a:pt x="244" y="35"/>
                  </a:cubicBezTo>
                  <a:cubicBezTo>
                    <a:pt x="236" y="34"/>
                    <a:pt x="220" y="9"/>
                    <a:pt x="213" y="1"/>
                  </a:cubicBezTo>
                  <a:cubicBezTo>
                    <a:pt x="188" y="0"/>
                    <a:pt x="178" y="8"/>
                    <a:pt x="171" y="23"/>
                  </a:cubicBezTo>
                  <a:cubicBezTo>
                    <a:pt x="163" y="39"/>
                    <a:pt x="148" y="17"/>
                    <a:pt x="144" y="17"/>
                  </a:cubicBezTo>
                  <a:cubicBezTo>
                    <a:pt x="140" y="17"/>
                    <a:pt x="122" y="36"/>
                    <a:pt x="122" y="36"/>
                  </a:cubicBezTo>
                  <a:cubicBezTo>
                    <a:pt x="122" y="36"/>
                    <a:pt x="122" y="44"/>
                    <a:pt x="115" y="49"/>
                  </a:cubicBezTo>
                  <a:cubicBezTo>
                    <a:pt x="108" y="55"/>
                    <a:pt x="118" y="77"/>
                    <a:pt x="118" y="77"/>
                  </a:cubicBezTo>
                  <a:cubicBezTo>
                    <a:pt x="118" y="77"/>
                    <a:pt x="118" y="77"/>
                    <a:pt x="102" y="88"/>
                  </a:cubicBezTo>
                  <a:cubicBezTo>
                    <a:pt x="72" y="77"/>
                    <a:pt x="50" y="111"/>
                    <a:pt x="46" y="118"/>
                  </a:cubicBezTo>
                  <a:cubicBezTo>
                    <a:pt x="50" y="135"/>
                    <a:pt x="50" y="135"/>
                    <a:pt x="50" y="135"/>
                  </a:cubicBezTo>
                  <a:cubicBezTo>
                    <a:pt x="56" y="135"/>
                    <a:pt x="56" y="135"/>
                    <a:pt x="56" y="135"/>
                  </a:cubicBezTo>
                  <a:cubicBezTo>
                    <a:pt x="56" y="135"/>
                    <a:pt x="35" y="163"/>
                    <a:pt x="74" y="151"/>
                  </a:cubicBezTo>
                  <a:cubicBezTo>
                    <a:pt x="76" y="152"/>
                    <a:pt x="78" y="161"/>
                    <a:pt x="78" y="161"/>
                  </a:cubicBezTo>
                  <a:cubicBezTo>
                    <a:pt x="92" y="163"/>
                    <a:pt x="92" y="163"/>
                    <a:pt x="92" y="163"/>
                  </a:cubicBezTo>
                  <a:cubicBezTo>
                    <a:pt x="111" y="212"/>
                    <a:pt x="111" y="212"/>
                    <a:pt x="111" y="212"/>
                  </a:cubicBezTo>
                  <a:cubicBezTo>
                    <a:pt x="111" y="212"/>
                    <a:pt x="91" y="225"/>
                    <a:pt x="120" y="248"/>
                  </a:cubicBezTo>
                  <a:cubicBezTo>
                    <a:pt x="118" y="252"/>
                    <a:pt x="119" y="268"/>
                    <a:pt x="119" y="268"/>
                  </a:cubicBezTo>
                  <a:cubicBezTo>
                    <a:pt x="119" y="268"/>
                    <a:pt x="106" y="269"/>
                    <a:pt x="100" y="292"/>
                  </a:cubicBezTo>
                  <a:cubicBezTo>
                    <a:pt x="95" y="315"/>
                    <a:pt x="84" y="300"/>
                    <a:pt x="84" y="300"/>
                  </a:cubicBezTo>
                  <a:cubicBezTo>
                    <a:pt x="84" y="300"/>
                    <a:pt x="62" y="301"/>
                    <a:pt x="84" y="333"/>
                  </a:cubicBezTo>
                  <a:cubicBezTo>
                    <a:pt x="107" y="365"/>
                    <a:pt x="100" y="372"/>
                    <a:pt x="100" y="372"/>
                  </a:cubicBezTo>
                  <a:cubicBezTo>
                    <a:pt x="100" y="372"/>
                    <a:pt x="80" y="376"/>
                    <a:pt x="99" y="400"/>
                  </a:cubicBezTo>
                  <a:cubicBezTo>
                    <a:pt x="96" y="432"/>
                    <a:pt x="91" y="437"/>
                    <a:pt x="91" y="437"/>
                  </a:cubicBezTo>
                  <a:cubicBezTo>
                    <a:pt x="102" y="449"/>
                    <a:pt x="102" y="449"/>
                    <a:pt x="102" y="449"/>
                  </a:cubicBezTo>
                  <a:cubicBezTo>
                    <a:pt x="83" y="455"/>
                    <a:pt x="83" y="455"/>
                    <a:pt x="83" y="455"/>
                  </a:cubicBezTo>
                  <a:cubicBezTo>
                    <a:pt x="83" y="455"/>
                    <a:pt x="72" y="440"/>
                    <a:pt x="66" y="441"/>
                  </a:cubicBezTo>
                  <a:cubicBezTo>
                    <a:pt x="59" y="443"/>
                    <a:pt x="66" y="472"/>
                    <a:pt x="66" y="472"/>
                  </a:cubicBezTo>
                  <a:cubicBezTo>
                    <a:pt x="52" y="473"/>
                    <a:pt x="52" y="473"/>
                    <a:pt x="52" y="473"/>
                  </a:cubicBezTo>
                  <a:cubicBezTo>
                    <a:pt x="44" y="481"/>
                    <a:pt x="44" y="481"/>
                    <a:pt x="44" y="481"/>
                  </a:cubicBezTo>
                  <a:cubicBezTo>
                    <a:pt x="27" y="508"/>
                    <a:pt x="27" y="508"/>
                    <a:pt x="27" y="508"/>
                  </a:cubicBezTo>
                  <a:cubicBezTo>
                    <a:pt x="31" y="519"/>
                    <a:pt x="31" y="519"/>
                    <a:pt x="31" y="519"/>
                  </a:cubicBezTo>
                  <a:cubicBezTo>
                    <a:pt x="23" y="528"/>
                    <a:pt x="23" y="528"/>
                    <a:pt x="23" y="528"/>
                  </a:cubicBezTo>
                  <a:cubicBezTo>
                    <a:pt x="24" y="547"/>
                    <a:pt x="24" y="547"/>
                    <a:pt x="24" y="547"/>
                  </a:cubicBezTo>
                  <a:cubicBezTo>
                    <a:pt x="24" y="547"/>
                    <a:pt x="0" y="551"/>
                    <a:pt x="12" y="573"/>
                  </a:cubicBezTo>
                  <a:cubicBezTo>
                    <a:pt x="8" y="574"/>
                    <a:pt x="5" y="576"/>
                    <a:pt x="3" y="578"/>
                  </a:cubicBezTo>
                  <a:cubicBezTo>
                    <a:pt x="6" y="591"/>
                    <a:pt x="4" y="608"/>
                    <a:pt x="4" y="608"/>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6" name="Provence" descr="© INSCALE GmbH, 05.05.2010&#10;http://www.presentationload.com/">
              <a:extLst>
                <a:ext uri="{FF2B5EF4-FFF2-40B4-BE49-F238E27FC236}">
                  <a16:creationId xmlns:a16="http://schemas.microsoft.com/office/drawing/2014/main" id="{9A4171FE-BD58-4F57-89AE-DD2732B8B4B6}"/>
                </a:ext>
              </a:extLst>
            </p:cNvPr>
            <p:cNvSpPr>
              <a:spLocks/>
            </p:cNvSpPr>
            <p:nvPr/>
          </p:nvSpPr>
          <p:spPr bwMode="gray">
            <a:xfrm>
              <a:off x="2233" y="2198"/>
              <a:ext cx="838" cy="739"/>
            </a:xfrm>
            <a:custGeom>
              <a:avLst/>
              <a:gdLst/>
              <a:ahLst/>
              <a:cxnLst>
                <a:cxn ang="0">
                  <a:pos x="68" y="539"/>
                </a:cxn>
                <a:cxn ang="0">
                  <a:pos x="78" y="572"/>
                </a:cxn>
                <a:cxn ang="0">
                  <a:pos x="129" y="586"/>
                </a:cxn>
                <a:cxn ang="0">
                  <a:pos x="134" y="565"/>
                </a:cxn>
                <a:cxn ang="0">
                  <a:pos x="161" y="554"/>
                </a:cxn>
                <a:cxn ang="0">
                  <a:pos x="214" y="585"/>
                </a:cxn>
                <a:cxn ang="0">
                  <a:pos x="251" y="596"/>
                </a:cxn>
                <a:cxn ang="0">
                  <a:pos x="255" y="612"/>
                </a:cxn>
                <a:cxn ang="0">
                  <a:pos x="295" y="632"/>
                </a:cxn>
                <a:cxn ang="0">
                  <a:pos x="332" y="649"/>
                </a:cxn>
                <a:cxn ang="0">
                  <a:pos x="364" y="684"/>
                </a:cxn>
                <a:cxn ang="0">
                  <a:pos x="407" y="679"/>
                </a:cxn>
                <a:cxn ang="0">
                  <a:pos x="426" y="679"/>
                </a:cxn>
                <a:cxn ang="0">
                  <a:pos x="465" y="665"/>
                </a:cxn>
                <a:cxn ang="0">
                  <a:pos x="526" y="641"/>
                </a:cxn>
                <a:cxn ang="0">
                  <a:pos x="549" y="634"/>
                </a:cxn>
                <a:cxn ang="0">
                  <a:pos x="532" y="604"/>
                </a:cxn>
                <a:cxn ang="0">
                  <a:pos x="569" y="558"/>
                </a:cxn>
                <a:cxn ang="0">
                  <a:pos x="631" y="523"/>
                </a:cxn>
                <a:cxn ang="0">
                  <a:pos x="667" y="477"/>
                </a:cxn>
                <a:cxn ang="0">
                  <a:pos x="691" y="466"/>
                </a:cxn>
                <a:cxn ang="0">
                  <a:pos x="715" y="460"/>
                </a:cxn>
                <a:cxn ang="0">
                  <a:pos x="723" y="445"/>
                </a:cxn>
                <a:cxn ang="0">
                  <a:pos x="727" y="410"/>
                </a:cxn>
                <a:cxn ang="0">
                  <a:pos x="749" y="384"/>
                </a:cxn>
                <a:cxn ang="0">
                  <a:pos x="764" y="325"/>
                </a:cxn>
                <a:cxn ang="0">
                  <a:pos x="758" y="308"/>
                </a:cxn>
                <a:cxn ang="0">
                  <a:pos x="725" y="323"/>
                </a:cxn>
                <a:cxn ang="0">
                  <a:pos x="630" y="285"/>
                </a:cxn>
                <a:cxn ang="0">
                  <a:pos x="612" y="282"/>
                </a:cxn>
                <a:cxn ang="0">
                  <a:pos x="589" y="238"/>
                </a:cxn>
                <a:cxn ang="0">
                  <a:pos x="579" y="182"/>
                </a:cxn>
                <a:cxn ang="0">
                  <a:pos x="609" y="133"/>
                </a:cxn>
                <a:cxn ang="0">
                  <a:pos x="614" y="82"/>
                </a:cxn>
                <a:cxn ang="0">
                  <a:pos x="548" y="49"/>
                </a:cxn>
                <a:cxn ang="0">
                  <a:pos x="534" y="16"/>
                </a:cxn>
                <a:cxn ang="0">
                  <a:pos x="528" y="2"/>
                </a:cxn>
                <a:cxn ang="0">
                  <a:pos x="501" y="14"/>
                </a:cxn>
                <a:cxn ang="0">
                  <a:pos x="476" y="0"/>
                </a:cxn>
                <a:cxn ang="0">
                  <a:pos x="449" y="11"/>
                </a:cxn>
                <a:cxn ang="0">
                  <a:pos x="468" y="40"/>
                </a:cxn>
                <a:cxn ang="0">
                  <a:pos x="413" y="94"/>
                </a:cxn>
                <a:cxn ang="0">
                  <a:pos x="361" y="116"/>
                </a:cxn>
                <a:cxn ang="0">
                  <a:pos x="321" y="162"/>
                </a:cxn>
                <a:cxn ang="0">
                  <a:pos x="325" y="198"/>
                </a:cxn>
                <a:cxn ang="0">
                  <a:pos x="281" y="206"/>
                </a:cxn>
                <a:cxn ang="0">
                  <a:pos x="286" y="230"/>
                </a:cxn>
                <a:cxn ang="0">
                  <a:pos x="286" y="256"/>
                </a:cxn>
                <a:cxn ang="0">
                  <a:pos x="334" y="278"/>
                </a:cxn>
                <a:cxn ang="0">
                  <a:pos x="322" y="311"/>
                </a:cxn>
                <a:cxn ang="0">
                  <a:pos x="288" y="326"/>
                </a:cxn>
                <a:cxn ang="0">
                  <a:pos x="265" y="314"/>
                </a:cxn>
                <a:cxn ang="0">
                  <a:pos x="237" y="295"/>
                </a:cxn>
                <a:cxn ang="0">
                  <a:pos x="213" y="294"/>
                </a:cxn>
                <a:cxn ang="0">
                  <a:pos x="201" y="276"/>
                </a:cxn>
                <a:cxn ang="0">
                  <a:pos x="136" y="296"/>
                </a:cxn>
                <a:cxn ang="0">
                  <a:pos x="100" y="283"/>
                </a:cxn>
                <a:cxn ang="0">
                  <a:pos x="104" y="303"/>
                </a:cxn>
                <a:cxn ang="0">
                  <a:pos x="114" y="343"/>
                </a:cxn>
                <a:cxn ang="0">
                  <a:pos x="145" y="371"/>
                </a:cxn>
                <a:cxn ang="0">
                  <a:pos x="94" y="472"/>
                </a:cxn>
                <a:cxn ang="0">
                  <a:pos x="54" y="490"/>
                </a:cxn>
                <a:cxn ang="0">
                  <a:pos x="0" y="540"/>
                </a:cxn>
              </a:cxnLst>
              <a:rect l="0" t="0" r="r" b="b"/>
              <a:pathLst>
                <a:path w="778" h="684">
                  <a:moveTo>
                    <a:pt x="2" y="541"/>
                  </a:moveTo>
                  <a:cubicBezTo>
                    <a:pt x="3" y="544"/>
                    <a:pt x="54" y="539"/>
                    <a:pt x="68" y="539"/>
                  </a:cubicBezTo>
                  <a:cubicBezTo>
                    <a:pt x="82" y="539"/>
                    <a:pt x="80" y="555"/>
                    <a:pt x="80" y="555"/>
                  </a:cubicBezTo>
                  <a:cubicBezTo>
                    <a:pt x="57" y="564"/>
                    <a:pt x="80" y="563"/>
                    <a:pt x="78" y="572"/>
                  </a:cubicBezTo>
                  <a:cubicBezTo>
                    <a:pt x="76" y="581"/>
                    <a:pt x="119" y="577"/>
                    <a:pt x="119" y="577"/>
                  </a:cubicBezTo>
                  <a:cubicBezTo>
                    <a:pt x="119" y="577"/>
                    <a:pt x="127" y="583"/>
                    <a:pt x="129" y="586"/>
                  </a:cubicBezTo>
                  <a:cubicBezTo>
                    <a:pt x="131" y="589"/>
                    <a:pt x="138" y="577"/>
                    <a:pt x="144" y="575"/>
                  </a:cubicBezTo>
                  <a:cubicBezTo>
                    <a:pt x="150" y="573"/>
                    <a:pt x="138" y="576"/>
                    <a:pt x="134" y="565"/>
                  </a:cubicBezTo>
                  <a:cubicBezTo>
                    <a:pt x="130" y="554"/>
                    <a:pt x="139" y="558"/>
                    <a:pt x="139" y="554"/>
                  </a:cubicBezTo>
                  <a:cubicBezTo>
                    <a:pt x="139" y="550"/>
                    <a:pt x="151" y="554"/>
                    <a:pt x="161" y="554"/>
                  </a:cubicBezTo>
                  <a:cubicBezTo>
                    <a:pt x="171" y="554"/>
                    <a:pt x="177" y="583"/>
                    <a:pt x="177" y="583"/>
                  </a:cubicBezTo>
                  <a:cubicBezTo>
                    <a:pt x="214" y="585"/>
                    <a:pt x="214" y="585"/>
                    <a:pt x="214" y="585"/>
                  </a:cubicBezTo>
                  <a:cubicBezTo>
                    <a:pt x="214" y="585"/>
                    <a:pt x="233" y="578"/>
                    <a:pt x="240" y="569"/>
                  </a:cubicBezTo>
                  <a:cubicBezTo>
                    <a:pt x="247" y="560"/>
                    <a:pt x="251" y="596"/>
                    <a:pt x="251" y="596"/>
                  </a:cubicBezTo>
                  <a:cubicBezTo>
                    <a:pt x="251" y="596"/>
                    <a:pt x="248" y="600"/>
                    <a:pt x="245" y="600"/>
                  </a:cubicBezTo>
                  <a:cubicBezTo>
                    <a:pt x="242" y="600"/>
                    <a:pt x="252" y="608"/>
                    <a:pt x="255" y="612"/>
                  </a:cubicBezTo>
                  <a:cubicBezTo>
                    <a:pt x="258" y="616"/>
                    <a:pt x="248" y="623"/>
                    <a:pt x="248" y="623"/>
                  </a:cubicBezTo>
                  <a:cubicBezTo>
                    <a:pt x="248" y="623"/>
                    <a:pt x="291" y="631"/>
                    <a:pt x="295" y="632"/>
                  </a:cubicBezTo>
                  <a:cubicBezTo>
                    <a:pt x="305" y="651"/>
                    <a:pt x="316" y="636"/>
                    <a:pt x="322" y="637"/>
                  </a:cubicBezTo>
                  <a:cubicBezTo>
                    <a:pt x="328" y="638"/>
                    <a:pt x="320" y="648"/>
                    <a:pt x="332" y="649"/>
                  </a:cubicBezTo>
                  <a:cubicBezTo>
                    <a:pt x="344" y="650"/>
                    <a:pt x="354" y="671"/>
                    <a:pt x="348" y="676"/>
                  </a:cubicBezTo>
                  <a:cubicBezTo>
                    <a:pt x="342" y="681"/>
                    <a:pt x="356" y="680"/>
                    <a:pt x="364" y="684"/>
                  </a:cubicBezTo>
                  <a:cubicBezTo>
                    <a:pt x="372" y="671"/>
                    <a:pt x="393" y="669"/>
                    <a:pt x="399" y="666"/>
                  </a:cubicBezTo>
                  <a:cubicBezTo>
                    <a:pt x="405" y="663"/>
                    <a:pt x="404" y="681"/>
                    <a:pt x="407" y="679"/>
                  </a:cubicBezTo>
                  <a:cubicBezTo>
                    <a:pt x="410" y="677"/>
                    <a:pt x="418" y="669"/>
                    <a:pt x="424" y="674"/>
                  </a:cubicBezTo>
                  <a:cubicBezTo>
                    <a:pt x="426" y="676"/>
                    <a:pt x="426" y="678"/>
                    <a:pt x="426" y="679"/>
                  </a:cubicBezTo>
                  <a:cubicBezTo>
                    <a:pt x="427" y="679"/>
                    <a:pt x="437" y="672"/>
                    <a:pt x="443" y="663"/>
                  </a:cubicBezTo>
                  <a:cubicBezTo>
                    <a:pt x="449" y="654"/>
                    <a:pt x="443" y="663"/>
                    <a:pt x="465" y="665"/>
                  </a:cubicBezTo>
                  <a:cubicBezTo>
                    <a:pt x="472" y="679"/>
                    <a:pt x="481" y="671"/>
                    <a:pt x="481" y="671"/>
                  </a:cubicBezTo>
                  <a:cubicBezTo>
                    <a:pt x="469" y="660"/>
                    <a:pt x="520" y="642"/>
                    <a:pt x="526" y="641"/>
                  </a:cubicBezTo>
                  <a:cubicBezTo>
                    <a:pt x="532" y="640"/>
                    <a:pt x="538" y="646"/>
                    <a:pt x="538" y="646"/>
                  </a:cubicBezTo>
                  <a:cubicBezTo>
                    <a:pt x="538" y="646"/>
                    <a:pt x="547" y="639"/>
                    <a:pt x="549" y="634"/>
                  </a:cubicBezTo>
                  <a:cubicBezTo>
                    <a:pt x="551" y="629"/>
                    <a:pt x="551" y="618"/>
                    <a:pt x="548" y="610"/>
                  </a:cubicBezTo>
                  <a:cubicBezTo>
                    <a:pt x="518" y="622"/>
                    <a:pt x="535" y="604"/>
                    <a:pt x="532" y="604"/>
                  </a:cubicBezTo>
                  <a:cubicBezTo>
                    <a:pt x="529" y="604"/>
                    <a:pt x="552" y="584"/>
                    <a:pt x="560" y="578"/>
                  </a:cubicBezTo>
                  <a:cubicBezTo>
                    <a:pt x="559" y="561"/>
                    <a:pt x="569" y="558"/>
                    <a:pt x="569" y="558"/>
                  </a:cubicBezTo>
                  <a:cubicBezTo>
                    <a:pt x="581" y="586"/>
                    <a:pt x="609" y="532"/>
                    <a:pt x="609" y="532"/>
                  </a:cubicBezTo>
                  <a:cubicBezTo>
                    <a:pt x="603" y="509"/>
                    <a:pt x="629" y="516"/>
                    <a:pt x="631" y="523"/>
                  </a:cubicBezTo>
                  <a:cubicBezTo>
                    <a:pt x="630" y="511"/>
                    <a:pt x="644" y="515"/>
                    <a:pt x="648" y="508"/>
                  </a:cubicBezTo>
                  <a:cubicBezTo>
                    <a:pt x="647" y="480"/>
                    <a:pt x="667" y="477"/>
                    <a:pt x="667" y="477"/>
                  </a:cubicBezTo>
                  <a:cubicBezTo>
                    <a:pt x="675" y="465"/>
                    <a:pt x="675" y="465"/>
                    <a:pt x="675" y="465"/>
                  </a:cubicBezTo>
                  <a:cubicBezTo>
                    <a:pt x="691" y="466"/>
                    <a:pt x="691" y="466"/>
                    <a:pt x="691" y="466"/>
                  </a:cubicBezTo>
                  <a:cubicBezTo>
                    <a:pt x="696" y="456"/>
                    <a:pt x="696" y="456"/>
                    <a:pt x="696" y="456"/>
                  </a:cubicBezTo>
                  <a:cubicBezTo>
                    <a:pt x="715" y="460"/>
                    <a:pt x="715" y="460"/>
                    <a:pt x="715" y="460"/>
                  </a:cubicBezTo>
                  <a:cubicBezTo>
                    <a:pt x="713" y="442"/>
                    <a:pt x="713" y="442"/>
                    <a:pt x="713" y="442"/>
                  </a:cubicBezTo>
                  <a:cubicBezTo>
                    <a:pt x="723" y="445"/>
                    <a:pt x="723" y="445"/>
                    <a:pt x="723" y="445"/>
                  </a:cubicBezTo>
                  <a:cubicBezTo>
                    <a:pt x="736" y="435"/>
                    <a:pt x="736" y="435"/>
                    <a:pt x="736" y="435"/>
                  </a:cubicBezTo>
                  <a:cubicBezTo>
                    <a:pt x="727" y="410"/>
                    <a:pt x="727" y="410"/>
                    <a:pt x="727" y="410"/>
                  </a:cubicBezTo>
                  <a:cubicBezTo>
                    <a:pt x="746" y="398"/>
                    <a:pt x="746" y="398"/>
                    <a:pt x="746" y="398"/>
                  </a:cubicBezTo>
                  <a:cubicBezTo>
                    <a:pt x="749" y="384"/>
                    <a:pt x="749" y="384"/>
                    <a:pt x="749" y="384"/>
                  </a:cubicBezTo>
                  <a:cubicBezTo>
                    <a:pt x="763" y="390"/>
                    <a:pt x="778" y="338"/>
                    <a:pt x="778" y="338"/>
                  </a:cubicBezTo>
                  <a:cubicBezTo>
                    <a:pt x="764" y="325"/>
                    <a:pt x="764" y="325"/>
                    <a:pt x="764" y="325"/>
                  </a:cubicBezTo>
                  <a:cubicBezTo>
                    <a:pt x="768" y="311"/>
                    <a:pt x="768" y="311"/>
                    <a:pt x="768" y="311"/>
                  </a:cubicBezTo>
                  <a:cubicBezTo>
                    <a:pt x="758" y="308"/>
                    <a:pt x="758" y="308"/>
                    <a:pt x="758" y="308"/>
                  </a:cubicBezTo>
                  <a:cubicBezTo>
                    <a:pt x="751" y="316"/>
                    <a:pt x="751" y="316"/>
                    <a:pt x="751" y="316"/>
                  </a:cubicBezTo>
                  <a:cubicBezTo>
                    <a:pt x="751" y="316"/>
                    <a:pt x="730" y="316"/>
                    <a:pt x="725" y="323"/>
                  </a:cubicBezTo>
                  <a:cubicBezTo>
                    <a:pt x="717" y="339"/>
                    <a:pt x="690" y="316"/>
                    <a:pt x="690" y="316"/>
                  </a:cubicBezTo>
                  <a:cubicBezTo>
                    <a:pt x="630" y="285"/>
                    <a:pt x="630" y="285"/>
                    <a:pt x="630" y="285"/>
                  </a:cubicBezTo>
                  <a:cubicBezTo>
                    <a:pt x="623" y="288"/>
                    <a:pt x="623" y="288"/>
                    <a:pt x="623" y="288"/>
                  </a:cubicBezTo>
                  <a:cubicBezTo>
                    <a:pt x="612" y="282"/>
                    <a:pt x="612" y="282"/>
                    <a:pt x="612" y="282"/>
                  </a:cubicBezTo>
                  <a:cubicBezTo>
                    <a:pt x="613" y="271"/>
                    <a:pt x="613" y="271"/>
                    <a:pt x="613" y="271"/>
                  </a:cubicBezTo>
                  <a:cubicBezTo>
                    <a:pt x="589" y="238"/>
                    <a:pt x="589" y="238"/>
                    <a:pt x="589" y="238"/>
                  </a:cubicBezTo>
                  <a:cubicBezTo>
                    <a:pt x="598" y="219"/>
                    <a:pt x="598" y="219"/>
                    <a:pt x="598" y="219"/>
                  </a:cubicBezTo>
                  <a:cubicBezTo>
                    <a:pt x="579" y="182"/>
                    <a:pt x="579" y="182"/>
                    <a:pt x="579" y="182"/>
                  </a:cubicBezTo>
                  <a:cubicBezTo>
                    <a:pt x="579" y="182"/>
                    <a:pt x="601" y="155"/>
                    <a:pt x="604" y="152"/>
                  </a:cubicBezTo>
                  <a:cubicBezTo>
                    <a:pt x="598" y="134"/>
                    <a:pt x="611" y="136"/>
                    <a:pt x="609" y="133"/>
                  </a:cubicBezTo>
                  <a:cubicBezTo>
                    <a:pt x="622" y="140"/>
                    <a:pt x="620" y="121"/>
                    <a:pt x="624" y="123"/>
                  </a:cubicBezTo>
                  <a:cubicBezTo>
                    <a:pt x="611" y="113"/>
                    <a:pt x="614" y="82"/>
                    <a:pt x="614" y="82"/>
                  </a:cubicBezTo>
                  <a:cubicBezTo>
                    <a:pt x="577" y="74"/>
                    <a:pt x="577" y="74"/>
                    <a:pt x="577" y="74"/>
                  </a:cubicBezTo>
                  <a:cubicBezTo>
                    <a:pt x="548" y="49"/>
                    <a:pt x="548" y="49"/>
                    <a:pt x="548" y="49"/>
                  </a:cubicBezTo>
                  <a:cubicBezTo>
                    <a:pt x="550" y="19"/>
                    <a:pt x="550" y="19"/>
                    <a:pt x="550" y="19"/>
                  </a:cubicBezTo>
                  <a:cubicBezTo>
                    <a:pt x="534" y="16"/>
                    <a:pt x="534" y="16"/>
                    <a:pt x="534" y="16"/>
                  </a:cubicBezTo>
                  <a:cubicBezTo>
                    <a:pt x="532" y="7"/>
                    <a:pt x="532" y="7"/>
                    <a:pt x="532" y="7"/>
                  </a:cubicBezTo>
                  <a:cubicBezTo>
                    <a:pt x="530" y="6"/>
                    <a:pt x="529" y="4"/>
                    <a:pt x="528" y="2"/>
                  </a:cubicBezTo>
                  <a:cubicBezTo>
                    <a:pt x="504" y="6"/>
                    <a:pt x="504" y="6"/>
                    <a:pt x="504" y="6"/>
                  </a:cubicBezTo>
                  <a:cubicBezTo>
                    <a:pt x="501" y="14"/>
                    <a:pt x="501" y="14"/>
                    <a:pt x="501" y="14"/>
                  </a:cubicBezTo>
                  <a:cubicBezTo>
                    <a:pt x="477" y="14"/>
                    <a:pt x="477" y="14"/>
                    <a:pt x="477" y="14"/>
                  </a:cubicBezTo>
                  <a:cubicBezTo>
                    <a:pt x="476" y="0"/>
                    <a:pt x="476" y="0"/>
                    <a:pt x="476" y="0"/>
                  </a:cubicBezTo>
                  <a:cubicBezTo>
                    <a:pt x="446" y="3"/>
                    <a:pt x="446" y="3"/>
                    <a:pt x="446" y="3"/>
                  </a:cubicBezTo>
                  <a:cubicBezTo>
                    <a:pt x="449" y="11"/>
                    <a:pt x="449" y="11"/>
                    <a:pt x="449" y="11"/>
                  </a:cubicBezTo>
                  <a:cubicBezTo>
                    <a:pt x="449" y="11"/>
                    <a:pt x="444" y="24"/>
                    <a:pt x="444" y="35"/>
                  </a:cubicBezTo>
                  <a:cubicBezTo>
                    <a:pt x="444" y="46"/>
                    <a:pt x="468" y="40"/>
                    <a:pt x="468" y="40"/>
                  </a:cubicBezTo>
                  <a:cubicBezTo>
                    <a:pt x="468" y="40"/>
                    <a:pt x="469" y="59"/>
                    <a:pt x="476" y="82"/>
                  </a:cubicBezTo>
                  <a:cubicBezTo>
                    <a:pt x="410" y="80"/>
                    <a:pt x="420" y="100"/>
                    <a:pt x="413" y="94"/>
                  </a:cubicBezTo>
                  <a:cubicBezTo>
                    <a:pt x="406" y="87"/>
                    <a:pt x="397" y="110"/>
                    <a:pt x="397" y="110"/>
                  </a:cubicBezTo>
                  <a:cubicBezTo>
                    <a:pt x="397" y="110"/>
                    <a:pt x="373" y="116"/>
                    <a:pt x="361" y="116"/>
                  </a:cubicBezTo>
                  <a:cubicBezTo>
                    <a:pt x="349" y="116"/>
                    <a:pt x="354" y="128"/>
                    <a:pt x="358" y="138"/>
                  </a:cubicBezTo>
                  <a:cubicBezTo>
                    <a:pt x="362" y="147"/>
                    <a:pt x="321" y="162"/>
                    <a:pt x="321" y="162"/>
                  </a:cubicBezTo>
                  <a:cubicBezTo>
                    <a:pt x="308" y="188"/>
                    <a:pt x="308" y="188"/>
                    <a:pt x="308" y="188"/>
                  </a:cubicBezTo>
                  <a:cubicBezTo>
                    <a:pt x="325" y="198"/>
                    <a:pt x="325" y="198"/>
                    <a:pt x="325" y="198"/>
                  </a:cubicBezTo>
                  <a:cubicBezTo>
                    <a:pt x="310" y="210"/>
                    <a:pt x="310" y="210"/>
                    <a:pt x="310" y="210"/>
                  </a:cubicBezTo>
                  <a:cubicBezTo>
                    <a:pt x="281" y="206"/>
                    <a:pt x="281" y="206"/>
                    <a:pt x="281" y="206"/>
                  </a:cubicBezTo>
                  <a:cubicBezTo>
                    <a:pt x="278" y="218"/>
                    <a:pt x="278" y="218"/>
                    <a:pt x="278" y="218"/>
                  </a:cubicBezTo>
                  <a:cubicBezTo>
                    <a:pt x="286" y="230"/>
                    <a:pt x="286" y="230"/>
                    <a:pt x="286" y="230"/>
                  </a:cubicBezTo>
                  <a:cubicBezTo>
                    <a:pt x="270" y="231"/>
                    <a:pt x="270" y="231"/>
                    <a:pt x="270" y="231"/>
                  </a:cubicBezTo>
                  <a:cubicBezTo>
                    <a:pt x="286" y="256"/>
                    <a:pt x="286" y="256"/>
                    <a:pt x="286" y="256"/>
                  </a:cubicBezTo>
                  <a:cubicBezTo>
                    <a:pt x="317" y="258"/>
                    <a:pt x="317" y="258"/>
                    <a:pt x="317" y="258"/>
                  </a:cubicBezTo>
                  <a:cubicBezTo>
                    <a:pt x="334" y="278"/>
                    <a:pt x="334" y="278"/>
                    <a:pt x="334" y="278"/>
                  </a:cubicBezTo>
                  <a:cubicBezTo>
                    <a:pt x="334" y="300"/>
                    <a:pt x="334" y="300"/>
                    <a:pt x="334" y="300"/>
                  </a:cubicBezTo>
                  <a:cubicBezTo>
                    <a:pt x="334" y="300"/>
                    <a:pt x="320" y="314"/>
                    <a:pt x="322" y="311"/>
                  </a:cubicBezTo>
                  <a:cubicBezTo>
                    <a:pt x="298" y="303"/>
                    <a:pt x="308" y="314"/>
                    <a:pt x="308" y="314"/>
                  </a:cubicBezTo>
                  <a:cubicBezTo>
                    <a:pt x="288" y="326"/>
                    <a:pt x="288" y="326"/>
                    <a:pt x="288" y="326"/>
                  </a:cubicBezTo>
                  <a:cubicBezTo>
                    <a:pt x="278" y="319"/>
                    <a:pt x="278" y="319"/>
                    <a:pt x="278" y="319"/>
                  </a:cubicBezTo>
                  <a:cubicBezTo>
                    <a:pt x="278" y="319"/>
                    <a:pt x="265" y="323"/>
                    <a:pt x="265" y="314"/>
                  </a:cubicBezTo>
                  <a:cubicBezTo>
                    <a:pt x="265" y="304"/>
                    <a:pt x="258" y="300"/>
                    <a:pt x="258" y="300"/>
                  </a:cubicBezTo>
                  <a:cubicBezTo>
                    <a:pt x="237" y="295"/>
                    <a:pt x="237" y="295"/>
                    <a:pt x="237" y="295"/>
                  </a:cubicBezTo>
                  <a:cubicBezTo>
                    <a:pt x="238" y="302"/>
                    <a:pt x="238" y="302"/>
                    <a:pt x="238" y="302"/>
                  </a:cubicBezTo>
                  <a:cubicBezTo>
                    <a:pt x="213" y="294"/>
                    <a:pt x="213" y="294"/>
                    <a:pt x="213" y="294"/>
                  </a:cubicBezTo>
                  <a:cubicBezTo>
                    <a:pt x="213" y="270"/>
                    <a:pt x="213" y="270"/>
                    <a:pt x="213" y="270"/>
                  </a:cubicBezTo>
                  <a:cubicBezTo>
                    <a:pt x="201" y="276"/>
                    <a:pt x="201" y="276"/>
                    <a:pt x="201" y="276"/>
                  </a:cubicBezTo>
                  <a:cubicBezTo>
                    <a:pt x="190" y="272"/>
                    <a:pt x="190" y="272"/>
                    <a:pt x="190" y="272"/>
                  </a:cubicBezTo>
                  <a:cubicBezTo>
                    <a:pt x="136" y="296"/>
                    <a:pt x="136" y="296"/>
                    <a:pt x="136" y="296"/>
                  </a:cubicBezTo>
                  <a:cubicBezTo>
                    <a:pt x="134" y="260"/>
                    <a:pt x="100" y="268"/>
                    <a:pt x="100" y="268"/>
                  </a:cubicBezTo>
                  <a:cubicBezTo>
                    <a:pt x="100" y="283"/>
                    <a:pt x="100" y="283"/>
                    <a:pt x="100" y="283"/>
                  </a:cubicBezTo>
                  <a:cubicBezTo>
                    <a:pt x="95" y="281"/>
                    <a:pt x="95" y="281"/>
                    <a:pt x="95" y="281"/>
                  </a:cubicBezTo>
                  <a:cubicBezTo>
                    <a:pt x="104" y="303"/>
                    <a:pt x="104" y="303"/>
                    <a:pt x="104" y="303"/>
                  </a:cubicBezTo>
                  <a:cubicBezTo>
                    <a:pt x="114" y="304"/>
                    <a:pt x="114" y="304"/>
                    <a:pt x="114" y="304"/>
                  </a:cubicBezTo>
                  <a:cubicBezTo>
                    <a:pt x="114" y="343"/>
                    <a:pt x="114" y="343"/>
                    <a:pt x="114" y="343"/>
                  </a:cubicBezTo>
                  <a:cubicBezTo>
                    <a:pt x="125" y="339"/>
                    <a:pt x="125" y="339"/>
                    <a:pt x="125" y="339"/>
                  </a:cubicBezTo>
                  <a:cubicBezTo>
                    <a:pt x="145" y="371"/>
                    <a:pt x="145" y="371"/>
                    <a:pt x="145" y="371"/>
                  </a:cubicBezTo>
                  <a:cubicBezTo>
                    <a:pt x="102" y="415"/>
                    <a:pt x="102" y="415"/>
                    <a:pt x="102" y="415"/>
                  </a:cubicBezTo>
                  <a:cubicBezTo>
                    <a:pt x="94" y="472"/>
                    <a:pt x="94" y="472"/>
                    <a:pt x="94" y="472"/>
                  </a:cubicBezTo>
                  <a:cubicBezTo>
                    <a:pt x="69" y="466"/>
                    <a:pt x="69" y="466"/>
                    <a:pt x="69" y="466"/>
                  </a:cubicBezTo>
                  <a:cubicBezTo>
                    <a:pt x="54" y="490"/>
                    <a:pt x="54" y="490"/>
                    <a:pt x="54" y="490"/>
                  </a:cubicBezTo>
                  <a:cubicBezTo>
                    <a:pt x="58" y="500"/>
                    <a:pt x="58" y="500"/>
                    <a:pt x="58" y="500"/>
                  </a:cubicBezTo>
                  <a:cubicBezTo>
                    <a:pt x="0" y="540"/>
                    <a:pt x="0" y="540"/>
                    <a:pt x="0" y="540"/>
                  </a:cubicBezTo>
                  <a:cubicBezTo>
                    <a:pt x="1" y="541"/>
                    <a:pt x="2" y="541"/>
                    <a:pt x="2" y="54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7" name="Languedoc-Roussillon" descr="© INSCALE GmbH, 05.05.2010&#10;http://www.presentationload.com/">
              <a:extLst>
                <a:ext uri="{FF2B5EF4-FFF2-40B4-BE49-F238E27FC236}">
                  <a16:creationId xmlns:a16="http://schemas.microsoft.com/office/drawing/2014/main" id="{50A5143E-E69F-488B-AEDD-AD9B91FA6B95}"/>
                </a:ext>
              </a:extLst>
            </p:cNvPr>
            <p:cNvSpPr>
              <a:spLocks/>
            </p:cNvSpPr>
            <p:nvPr/>
          </p:nvSpPr>
          <p:spPr bwMode="gray">
            <a:xfrm>
              <a:off x="1594" y="2270"/>
              <a:ext cx="795" cy="930"/>
            </a:xfrm>
            <a:custGeom>
              <a:avLst/>
              <a:gdLst/>
              <a:ahLst/>
              <a:cxnLst>
                <a:cxn ang="0">
                  <a:pos x="20" y="800"/>
                </a:cxn>
                <a:cxn ang="0">
                  <a:pos x="61" y="817"/>
                </a:cxn>
                <a:cxn ang="0">
                  <a:pos x="99" y="847"/>
                </a:cxn>
                <a:cxn ang="0">
                  <a:pos x="151" y="830"/>
                </a:cxn>
                <a:cxn ang="0">
                  <a:pos x="230" y="858"/>
                </a:cxn>
                <a:cxn ang="0">
                  <a:pos x="248" y="831"/>
                </a:cxn>
                <a:cxn ang="0">
                  <a:pos x="282" y="817"/>
                </a:cxn>
                <a:cxn ang="0">
                  <a:pos x="318" y="812"/>
                </a:cxn>
                <a:cxn ang="0">
                  <a:pos x="347" y="824"/>
                </a:cxn>
                <a:cxn ang="0">
                  <a:pos x="335" y="788"/>
                </a:cxn>
                <a:cxn ang="0">
                  <a:pos x="322" y="658"/>
                </a:cxn>
                <a:cxn ang="0">
                  <a:pos x="319" y="622"/>
                </a:cxn>
                <a:cxn ang="0">
                  <a:pos x="466" y="488"/>
                </a:cxn>
                <a:cxn ang="0">
                  <a:pos x="564" y="442"/>
                </a:cxn>
                <a:cxn ang="0">
                  <a:pos x="650" y="433"/>
                </a:cxn>
                <a:cxn ang="0">
                  <a:pos x="661" y="399"/>
                </a:cxn>
                <a:cxn ang="0">
                  <a:pos x="694" y="348"/>
                </a:cxn>
                <a:cxn ang="0">
                  <a:pos x="717" y="272"/>
                </a:cxn>
                <a:cxn ang="0">
                  <a:pos x="706" y="237"/>
                </a:cxn>
                <a:cxn ang="0">
                  <a:pos x="687" y="214"/>
                </a:cxn>
                <a:cxn ang="0">
                  <a:pos x="641" y="209"/>
                </a:cxn>
                <a:cxn ang="0">
                  <a:pos x="634" y="195"/>
                </a:cxn>
                <a:cxn ang="0">
                  <a:pos x="600" y="225"/>
                </a:cxn>
                <a:cxn ang="0">
                  <a:pos x="549" y="208"/>
                </a:cxn>
                <a:cxn ang="0">
                  <a:pos x="536" y="159"/>
                </a:cxn>
                <a:cxn ang="0">
                  <a:pos x="518" y="121"/>
                </a:cxn>
                <a:cxn ang="0">
                  <a:pos x="501" y="71"/>
                </a:cxn>
                <a:cxn ang="0">
                  <a:pos x="458" y="40"/>
                </a:cxn>
                <a:cxn ang="0">
                  <a:pos x="420" y="51"/>
                </a:cxn>
                <a:cxn ang="0">
                  <a:pos x="373" y="16"/>
                </a:cxn>
                <a:cxn ang="0">
                  <a:pos x="368" y="27"/>
                </a:cxn>
                <a:cxn ang="0">
                  <a:pos x="342" y="19"/>
                </a:cxn>
                <a:cxn ang="0">
                  <a:pos x="334" y="43"/>
                </a:cxn>
                <a:cxn ang="0">
                  <a:pos x="320" y="79"/>
                </a:cxn>
                <a:cxn ang="0">
                  <a:pos x="308" y="108"/>
                </a:cxn>
                <a:cxn ang="0">
                  <a:pos x="325" y="155"/>
                </a:cxn>
                <a:cxn ang="0">
                  <a:pos x="348" y="208"/>
                </a:cxn>
                <a:cxn ang="0">
                  <a:pos x="361" y="232"/>
                </a:cxn>
                <a:cxn ang="0">
                  <a:pos x="393" y="256"/>
                </a:cxn>
                <a:cxn ang="0">
                  <a:pos x="393" y="285"/>
                </a:cxn>
                <a:cxn ang="0">
                  <a:pos x="418" y="303"/>
                </a:cxn>
                <a:cxn ang="0">
                  <a:pos x="394" y="345"/>
                </a:cxn>
                <a:cxn ang="0">
                  <a:pos x="373" y="364"/>
                </a:cxn>
                <a:cxn ang="0">
                  <a:pos x="328" y="405"/>
                </a:cxn>
                <a:cxn ang="0">
                  <a:pos x="253" y="427"/>
                </a:cxn>
                <a:cxn ang="0">
                  <a:pos x="198" y="492"/>
                </a:cxn>
                <a:cxn ang="0">
                  <a:pos x="130" y="509"/>
                </a:cxn>
                <a:cxn ang="0">
                  <a:pos x="96" y="496"/>
                </a:cxn>
                <a:cxn ang="0">
                  <a:pos x="62" y="508"/>
                </a:cxn>
                <a:cxn ang="0">
                  <a:pos x="37" y="520"/>
                </a:cxn>
                <a:cxn ang="0">
                  <a:pos x="14" y="572"/>
                </a:cxn>
                <a:cxn ang="0">
                  <a:pos x="68" y="612"/>
                </a:cxn>
                <a:cxn ang="0">
                  <a:pos x="64" y="651"/>
                </a:cxn>
                <a:cxn ang="0">
                  <a:pos x="77" y="669"/>
                </a:cxn>
                <a:cxn ang="0">
                  <a:pos x="53" y="693"/>
                </a:cxn>
                <a:cxn ang="0">
                  <a:pos x="101" y="713"/>
                </a:cxn>
                <a:cxn ang="0">
                  <a:pos x="76" y="743"/>
                </a:cxn>
                <a:cxn ang="0">
                  <a:pos x="57" y="760"/>
                </a:cxn>
                <a:cxn ang="0">
                  <a:pos x="26" y="768"/>
                </a:cxn>
                <a:cxn ang="0">
                  <a:pos x="25" y="777"/>
                </a:cxn>
              </a:cxnLst>
              <a:rect l="0" t="0" r="r" b="b"/>
              <a:pathLst>
                <a:path w="737" h="861">
                  <a:moveTo>
                    <a:pt x="25" y="777"/>
                  </a:moveTo>
                  <a:cubicBezTo>
                    <a:pt x="20" y="781"/>
                    <a:pt x="20" y="800"/>
                    <a:pt x="20" y="800"/>
                  </a:cubicBezTo>
                  <a:cubicBezTo>
                    <a:pt x="20" y="800"/>
                    <a:pt x="41" y="808"/>
                    <a:pt x="43" y="805"/>
                  </a:cubicBezTo>
                  <a:cubicBezTo>
                    <a:pt x="47" y="818"/>
                    <a:pt x="61" y="817"/>
                    <a:pt x="61" y="817"/>
                  </a:cubicBezTo>
                  <a:cubicBezTo>
                    <a:pt x="79" y="848"/>
                    <a:pt x="79" y="848"/>
                    <a:pt x="79" y="848"/>
                  </a:cubicBezTo>
                  <a:cubicBezTo>
                    <a:pt x="99" y="847"/>
                    <a:pt x="99" y="847"/>
                    <a:pt x="99" y="847"/>
                  </a:cubicBezTo>
                  <a:cubicBezTo>
                    <a:pt x="119" y="828"/>
                    <a:pt x="119" y="828"/>
                    <a:pt x="119" y="828"/>
                  </a:cubicBezTo>
                  <a:cubicBezTo>
                    <a:pt x="151" y="830"/>
                    <a:pt x="151" y="830"/>
                    <a:pt x="151" y="830"/>
                  </a:cubicBezTo>
                  <a:cubicBezTo>
                    <a:pt x="151" y="830"/>
                    <a:pt x="194" y="861"/>
                    <a:pt x="205" y="857"/>
                  </a:cubicBezTo>
                  <a:cubicBezTo>
                    <a:pt x="216" y="853"/>
                    <a:pt x="230" y="858"/>
                    <a:pt x="230" y="858"/>
                  </a:cubicBezTo>
                  <a:cubicBezTo>
                    <a:pt x="234" y="844"/>
                    <a:pt x="234" y="844"/>
                    <a:pt x="234" y="844"/>
                  </a:cubicBezTo>
                  <a:cubicBezTo>
                    <a:pt x="248" y="831"/>
                    <a:pt x="248" y="831"/>
                    <a:pt x="248" y="831"/>
                  </a:cubicBezTo>
                  <a:cubicBezTo>
                    <a:pt x="265" y="830"/>
                    <a:pt x="265" y="830"/>
                    <a:pt x="265" y="830"/>
                  </a:cubicBezTo>
                  <a:cubicBezTo>
                    <a:pt x="282" y="817"/>
                    <a:pt x="282" y="817"/>
                    <a:pt x="282" y="817"/>
                  </a:cubicBezTo>
                  <a:cubicBezTo>
                    <a:pt x="313" y="812"/>
                    <a:pt x="313" y="812"/>
                    <a:pt x="313" y="812"/>
                  </a:cubicBezTo>
                  <a:cubicBezTo>
                    <a:pt x="318" y="812"/>
                    <a:pt x="318" y="812"/>
                    <a:pt x="318" y="812"/>
                  </a:cubicBezTo>
                  <a:cubicBezTo>
                    <a:pt x="328" y="830"/>
                    <a:pt x="328" y="830"/>
                    <a:pt x="328" y="830"/>
                  </a:cubicBezTo>
                  <a:cubicBezTo>
                    <a:pt x="347" y="824"/>
                    <a:pt x="347" y="824"/>
                    <a:pt x="347" y="824"/>
                  </a:cubicBezTo>
                  <a:cubicBezTo>
                    <a:pt x="352" y="815"/>
                    <a:pt x="340" y="807"/>
                    <a:pt x="340" y="807"/>
                  </a:cubicBezTo>
                  <a:cubicBezTo>
                    <a:pt x="335" y="788"/>
                    <a:pt x="335" y="788"/>
                    <a:pt x="335" y="788"/>
                  </a:cubicBezTo>
                  <a:cubicBezTo>
                    <a:pt x="318" y="785"/>
                    <a:pt x="318" y="785"/>
                    <a:pt x="318" y="785"/>
                  </a:cubicBezTo>
                  <a:cubicBezTo>
                    <a:pt x="322" y="658"/>
                    <a:pt x="322" y="658"/>
                    <a:pt x="322" y="658"/>
                  </a:cubicBezTo>
                  <a:cubicBezTo>
                    <a:pt x="312" y="643"/>
                    <a:pt x="312" y="643"/>
                    <a:pt x="312" y="643"/>
                  </a:cubicBezTo>
                  <a:cubicBezTo>
                    <a:pt x="312" y="643"/>
                    <a:pt x="319" y="627"/>
                    <a:pt x="319" y="622"/>
                  </a:cubicBezTo>
                  <a:cubicBezTo>
                    <a:pt x="380" y="492"/>
                    <a:pt x="416" y="533"/>
                    <a:pt x="416" y="533"/>
                  </a:cubicBezTo>
                  <a:cubicBezTo>
                    <a:pt x="416" y="533"/>
                    <a:pt x="445" y="505"/>
                    <a:pt x="466" y="488"/>
                  </a:cubicBezTo>
                  <a:cubicBezTo>
                    <a:pt x="487" y="471"/>
                    <a:pt x="490" y="472"/>
                    <a:pt x="496" y="458"/>
                  </a:cubicBezTo>
                  <a:cubicBezTo>
                    <a:pt x="559" y="418"/>
                    <a:pt x="561" y="439"/>
                    <a:pt x="564" y="442"/>
                  </a:cubicBezTo>
                  <a:cubicBezTo>
                    <a:pt x="546" y="458"/>
                    <a:pt x="582" y="469"/>
                    <a:pt x="592" y="473"/>
                  </a:cubicBezTo>
                  <a:cubicBezTo>
                    <a:pt x="650" y="433"/>
                    <a:pt x="650" y="433"/>
                    <a:pt x="650" y="433"/>
                  </a:cubicBezTo>
                  <a:cubicBezTo>
                    <a:pt x="646" y="423"/>
                    <a:pt x="646" y="423"/>
                    <a:pt x="646" y="423"/>
                  </a:cubicBezTo>
                  <a:cubicBezTo>
                    <a:pt x="661" y="399"/>
                    <a:pt x="661" y="399"/>
                    <a:pt x="661" y="399"/>
                  </a:cubicBezTo>
                  <a:cubicBezTo>
                    <a:pt x="686" y="405"/>
                    <a:pt x="686" y="405"/>
                    <a:pt x="686" y="405"/>
                  </a:cubicBezTo>
                  <a:cubicBezTo>
                    <a:pt x="694" y="348"/>
                    <a:pt x="694" y="348"/>
                    <a:pt x="694" y="348"/>
                  </a:cubicBezTo>
                  <a:cubicBezTo>
                    <a:pt x="737" y="304"/>
                    <a:pt x="737" y="304"/>
                    <a:pt x="737" y="304"/>
                  </a:cubicBezTo>
                  <a:cubicBezTo>
                    <a:pt x="717" y="272"/>
                    <a:pt x="717" y="272"/>
                    <a:pt x="717" y="272"/>
                  </a:cubicBezTo>
                  <a:cubicBezTo>
                    <a:pt x="706" y="276"/>
                    <a:pt x="706" y="276"/>
                    <a:pt x="706" y="276"/>
                  </a:cubicBezTo>
                  <a:cubicBezTo>
                    <a:pt x="706" y="237"/>
                    <a:pt x="706" y="237"/>
                    <a:pt x="706" y="237"/>
                  </a:cubicBezTo>
                  <a:cubicBezTo>
                    <a:pt x="696" y="236"/>
                    <a:pt x="696" y="236"/>
                    <a:pt x="696" y="236"/>
                  </a:cubicBezTo>
                  <a:cubicBezTo>
                    <a:pt x="687" y="214"/>
                    <a:pt x="687" y="214"/>
                    <a:pt x="687" y="214"/>
                  </a:cubicBezTo>
                  <a:cubicBezTo>
                    <a:pt x="649" y="197"/>
                    <a:pt x="649" y="197"/>
                    <a:pt x="649" y="197"/>
                  </a:cubicBezTo>
                  <a:cubicBezTo>
                    <a:pt x="641" y="209"/>
                    <a:pt x="641" y="209"/>
                    <a:pt x="641" y="209"/>
                  </a:cubicBezTo>
                  <a:cubicBezTo>
                    <a:pt x="634" y="209"/>
                    <a:pt x="634" y="209"/>
                    <a:pt x="634" y="209"/>
                  </a:cubicBezTo>
                  <a:cubicBezTo>
                    <a:pt x="634" y="195"/>
                    <a:pt x="634" y="195"/>
                    <a:pt x="634" y="195"/>
                  </a:cubicBezTo>
                  <a:cubicBezTo>
                    <a:pt x="620" y="195"/>
                    <a:pt x="620" y="195"/>
                    <a:pt x="620" y="195"/>
                  </a:cubicBezTo>
                  <a:cubicBezTo>
                    <a:pt x="600" y="225"/>
                    <a:pt x="600" y="225"/>
                    <a:pt x="600" y="225"/>
                  </a:cubicBezTo>
                  <a:cubicBezTo>
                    <a:pt x="568" y="197"/>
                    <a:pt x="568" y="197"/>
                    <a:pt x="568" y="197"/>
                  </a:cubicBezTo>
                  <a:cubicBezTo>
                    <a:pt x="549" y="208"/>
                    <a:pt x="549" y="208"/>
                    <a:pt x="549" y="208"/>
                  </a:cubicBezTo>
                  <a:cubicBezTo>
                    <a:pt x="556" y="177"/>
                    <a:pt x="556" y="177"/>
                    <a:pt x="556" y="177"/>
                  </a:cubicBezTo>
                  <a:cubicBezTo>
                    <a:pt x="536" y="159"/>
                    <a:pt x="536" y="159"/>
                    <a:pt x="536" y="159"/>
                  </a:cubicBezTo>
                  <a:cubicBezTo>
                    <a:pt x="532" y="128"/>
                    <a:pt x="532" y="128"/>
                    <a:pt x="532" y="128"/>
                  </a:cubicBezTo>
                  <a:cubicBezTo>
                    <a:pt x="518" y="121"/>
                    <a:pt x="518" y="121"/>
                    <a:pt x="518" y="121"/>
                  </a:cubicBezTo>
                  <a:cubicBezTo>
                    <a:pt x="505" y="69"/>
                    <a:pt x="505" y="69"/>
                    <a:pt x="505" y="69"/>
                  </a:cubicBezTo>
                  <a:cubicBezTo>
                    <a:pt x="501" y="71"/>
                    <a:pt x="501" y="71"/>
                    <a:pt x="501" y="71"/>
                  </a:cubicBezTo>
                  <a:cubicBezTo>
                    <a:pt x="480" y="45"/>
                    <a:pt x="480" y="45"/>
                    <a:pt x="480" y="45"/>
                  </a:cubicBezTo>
                  <a:cubicBezTo>
                    <a:pt x="458" y="40"/>
                    <a:pt x="458" y="40"/>
                    <a:pt x="458" y="40"/>
                  </a:cubicBezTo>
                  <a:cubicBezTo>
                    <a:pt x="458" y="40"/>
                    <a:pt x="448" y="16"/>
                    <a:pt x="444" y="43"/>
                  </a:cubicBezTo>
                  <a:cubicBezTo>
                    <a:pt x="420" y="51"/>
                    <a:pt x="420" y="51"/>
                    <a:pt x="420" y="51"/>
                  </a:cubicBezTo>
                  <a:cubicBezTo>
                    <a:pt x="402" y="0"/>
                    <a:pt x="402" y="0"/>
                    <a:pt x="402" y="0"/>
                  </a:cubicBezTo>
                  <a:cubicBezTo>
                    <a:pt x="402" y="0"/>
                    <a:pt x="384" y="7"/>
                    <a:pt x="373" y="16"/>
                  </a:cubicBezTo>
                  <a:cubicBezTo>
                    <a:pt x="371" y="18"/>
                    <a:pt x="369" y="19"/>
                    <a:pt x="368" y="19"/>
                  </a:cubicBezTo>
                  <a:cubicBezTo>
                    <a:pt x="368" y="27"/>
                    <a:pt x="368" y="27"/>
                    <a:pt x="368" y="27"/>
                  </a:cubicBezTo>
                  <a:cubicBezTo>
                    <a:pt x="350" y="32"/>
                    <a:pt x="350" y="32"/>
                    <a:pt x="350" y="32"/>
                  </a:cubicBezTo>
                  <a:cubicBezTo>
                    <a:pt x="342" y="19"/>
                    <a:pt x="342" y="19"/>
                    <a:pt x="342" y="19"/>
                  </a:cubicBezTo>
                  <a:cubicBezTo>
                    <a:pt x="333" y="23"/>
                    <a:pt x="333" y="23"/>
                    <a:pt x="333" y="23"/>
                  </a:cubicBezTo>
                  <a:cubicBezTo>
                    <a:pt x="334" y="43"/>
                    <a:pt x="334" y="43"/>
                    <a:pt x="334" y="43"/>
                  </a:cubicBezTo>
                  <a:cubicBezTo>
                    <a:pt x="326" y="52"/>
                    <a:pt x="326" y="52"/>
                    <a:pt x="326" y="52"/>
                  </a:cubicBezTo>
                  <a:cubicBezTo>
                    <a:pt x="320" y="79"/>
                    <a:pt x="320" y="79"/>
                    <a:pt x="320" y="79"/>
                  </a:cubicBezTo>
                  <a:cubicBezTo>
                    <a:pt x="308" y="99"/>
                    <a:pt x="308" y="99"/>
                    <a:pt x="308" y="99"/>
                  </a:cubicBezTo>
                  <a:cubicBezTo>
                    <a:pt x="308" y="108"/>
                    <a:pt x="308" y="108"/>
                    <a:pt x="308" y="108"/>
                  </a:cubicBezTo>
                  <a:cubicBezTo>
                    <a:pt x="329" y="123"/>
                    <a:pt x="329" y="123"/>
                    <a:pt x="329" y="123"/>
                  </a:cubicBezTo>
                  <a:cubicBezTo>
                    <a:pt x="325" y="155"/>
                    <a:pt x="325" y="155"/>
                    <a:pt x="325" y="155"/>
                  </a:cubicBezTo>
                  <a:cubicBezTo>
                    <a:pt x="346" y="168"/>
                    <a:pt x="346" y="168"/>
                    <a:pt x="346" y="168"/>
                  </a:cubicBezTo>
                  <a:cubicBezTo>
                    <a:pt x="348" y="208"/>
                    <a:pt x="348" y="208"/>
                    <a:pt x="348" y="208"/>
                  </a:cubicBezTo>
                  <a:cubicBezTo>
                    <a:pt x="338" y="224"/>
                    <a:pt x="338" y="224"/>
                    <a:pt x="338" y="224"/>
                  </a:cubicBezTo>
                  <a:cubicBezTo>
                    <a:pt x="361" y="232"/>
                    <a:pt x="361" y="232"/>
                    <a:pt x="361" y="232"/>
                  </a:cubicBezTo>
                  <a:cubicBezTo>
                    <a:pt x="357" y="244"/>
                    <a:pt x="357" y="244"/>
                    <a:pt x="357" y="244"/>
                  </a:cubicBezTo>
                  <a:cubicBezTo>
                    <a:pt x="357" y="244"/>
                    <a:pt x="398" y="251"/>
                    <a:pt x="393" y="256"/>
                  </a:cubicBezTo>
                  <a:cubicBezTo>
                    <a:pt x="388" y="261"/>
                    <a:pt x="373" y="279"/>
                    <a:pt x="373" y="279"/>
                  </a:cubicBezTo>
                  <a:cubicBezTo>
                    <a:pt x="393" y="285"/>
                    <a:pt x="393" y="285"/>
                    <a:pt x="393" y="285"/>
                  </a:cubicBezTo>
                  <a:cubicBezTo>
                    <a:pt x="405" y="295"/>
                    <a:pt x="405" y="295"/>
                    <a:pt x="405" y="295"/>
                  </a:cubicBezTo>
                  <a:cubicBezTo>
                    <a:pt x="418" y="303"/>
                    <a:pt x="418" y="303"/>
                    <a:pt x="418" y="303"/>
                  </a:cubicBezTo>
                  <a:cubicBezTo>
                    <a:pt x="397" y="328"/>
                    <a:pt x="397" y="328"/>
                    <a:pt x="397" y="328"/>
                  </a:cubicBezTo>
                  <a:cubicBezTo>
                    <a:pt x="394" y="345"/>
                    <a:pt x="394" y="345"/>
                    <a:pt x="394" y="345"/>
                  </a:cubicBezTo>
                  <a:cubicBezTo>
                    <a:pt x="373" y="347"/>
                    <a:pt x="373" y="347"/>
                    <a:pt x="373" y="347"/>
                  </a:cubicBezTo>
                  <a:cubicBezTo>
                    <a:pt x="373" y="364"/>
                    <a:pt x="373" y="364"/>
                    <a:pt x="373" y="364"/>
                  </a:cubicBezTo>
                  <a:cubicBezTo>
                    <a:pt x="329" y="365"/>
                    <a:pt x="329" y="365"/>
                    <a:pt x="329" y="365"/>
                  </a:cubicBezTo>
                  <a:cubicBezTo>
                    <a:pt x="328" y="405"/>
                    <a:pt x="328" y="405"/>
                    <a:pt x="328" y="405"/>
                  </a:cubicBezTo>
                  <a:cubicBezTo>
                    <a:pt x="328" y="405"/>
                    <a:pt x="306" y="399"/>
                    <a:pt x="297" y="417"/>
                  </a:cubicBezTo>
                  <a:cubicBezTo>
                    <a:pt x="276" y="427"/>
                    <a:pt x="253" y="427"/>
                    <a:pt x="253" y="427"/>
                  </a:cubicBezTo>
                  <a:cubicBezTo>
                    <a:pt x="253" y="427"/>
                    <a:pt x="202" y="425"/>
                    <a:pt x="241" y="464"/>
                  </a:cubicBezTo>
                  <a:cubicBezTo>
                    <a:pt x="232" y="469"/>
                    <a:pt x="232" y="497"/>
                    <a:pt x="198" y="492"/>
                  </a:cubicBezTo>
                  <a:cubicBezTo>
                    <a:pt x="165" y="487"/>
                    <a:pt x="173" y="499"/>
                    <a:pt x="173" y="499"/>
                  </a:cubicBezTo>
                  <a:cubicBezTo>
                    <a:pt x="173" y="499"/>
                    <a:pt x="130" y="476"/>
                    <a:pt x="130" y="509"/>
                  </a:cubicBezTo>
                  <a:cubicBezTo>
                    <a:pt x="130" y="509"/>
                    <a:pt x="108" y="504"/>
                    <a:pt x="102" y="505"/>
                  </a:cubicBezTo>
                  <a:cubicBezTo>
                    <a:pt x="97" y="507"/>
                    <a:pt x="96" y="496"/>
                    <a:pt x="96" y="496"/>
                  </a:cubicBezTo>
                  <a:cubicBezTo>
                    <a:pt x="68" y="495"/>
                    <a:pt x="68" y="495"/>
                    <a:pt x="68" y="495"/>
                  </a:cubicBezTo>
                  <a:cubicBezTo>
                    <a:pt x="62" y="508"/>
                    <a:pt x="62" y="508"/>
                    <a:pt x="62" y="508"/>
                  </a:cubicBezTo>
                  <a:cubicBezTo>
                    <a:pt x="49" y="487"/>
                    <a:pt x="49" y="487"/>
                    <a:pt x="49" y="487"/>
                  </a:cubicBezTo>
                  <a:cubicBezTo>
                    <a:pt x="49" y="487"/>
                    <a:pt x="37" y="495"/>
                    <a:pt x="37" y="520"/>
                  </a:cubicBezTo>
                  <a:cubicBezTo>
                    <a:pt x="34" y="525"/>
                    <a:pt x="0" y="531"/>
                    <a:pt x="18" y="553"/>
                  </a:cubicBezTo>
                  <a:cubicBezTo>
                    <a:pt x="12" y="553"/>
                    <a:pt x="14" y="572"/>
                    <a:pt x="14" y="572"/>
                  </a:cubicBezTo>
                  <a:cubicBezTo>
                    <a:pt x="64" y="591"/>
                    <a:pt x="64" y="591"/>
                    <a:pt x="64" y="591"/>
                  </a:cubicBezTo>
                  <a:cubicBezTo>
                    <a:pt x="64" y="591"/>
                    <a:pt x="73" y="607"/>
                    <a:pt x="68" y="612"/>
                  </a:cubicBezTo>
                  <a:cubicBezTo>
                    <a:pt x="62" y="617"/>
                    <a:pt x="78" y="644"/>
                    <a:pt x="78" y="644"/>
                  </a:cubicBezTo>
                  <a:cubicBezTo>
                    <a:pt x="64" y="651"/>
                    <a:pt x="64" y="651"/>
                    <a:pt x="64" y="651"/>
                  </a:cubicBezTo>
                  <a:cubicBezTo>
                    <a:pt x="80" y="655"/>
                    <a:pt x="80" y="655"/>
                    <a:pt x="80" y="655"/>
                  </a:cubicBezTo>
                  <a:cubicBezTo>
                    <a:pt x="80" y="655"/>
                    <a:pt x="77" y="665"/>
                    <a:pt x="77" y="669"/>
                  </a:cubicBezTo>
                  <a:cubicBezTo>
                    <a:pt x="77" y="673"/>
                    <a:pt x="54" y="679"/>
                    <a:pt x="54" y="679"/>
                  </a:cubicBezTo>
                  <a:cubicBezTo>
                    <a:pt x="53" y="693"/>
                    <a:pt x="53" y="693"/>
                    <a:pt x="53" y="693"/>
                  </a:cubicBezTo>
                  <a:cubicBezTo>
                    <a:pt x="62" y="697"/>
                    <a:pt x="62" y="697"/>
                    <a:pt x="62" y="697"/>
                  </a:cubicBezTo>
                  <a:cubicBezTo>
                    <a:pt x="62" y="697"/>
                    <a:pt x="48" y="717"/>
                    <a:pt x="101" y="713"/>
                  </a:cubicBezTo>
                  <a:cubicBezTo>
                    <a:pt x="122" y="735"/>
                    <a:pt x="120" y="741"/>
                    <a:pt x="120" y="741"/>
                  </a:cubicBezTo>
                  <a:cubicBezTo>
                    <a:pt x="76" y="743"/>
                    <a:pt x="76" y="743"/>
                    <a:pt x="76" y="743"/>
                  </a:cubicBezTo>
                  <a:cubicBezTo>
                    <a:pt x="78" y="755"/>
                    <a:pt x="78" y="755"/>
                    <a:pt x="78" y="755"/>
                  </a:cubicBezTo>
                  <a:cubicBezTo>
                    <a:pt x="57" y="760"/>
                    <a:pt x="57" y="760"/>
                    <a:pt x="57" y="760"/>
                  </a:cubicBezTo>
                  <a:cubicBezTo>
                    <a:pt x="50" y="769"/>
                    <a:pt x="50" y="769"/>
                    <a:pt x="50" y="769"/>
                  </a:cubicBezTo>
                  <a:cubicBezTo>
                    <a:pt x="26" y="768"/>
                    <a:pt x="26" y="768"/>
                    <a:pt x="26" y="768"/>
                  </a:cubicBezTo>
                  <a:cubicBezTo>
                    <a:pt x="25" y="771"/>
                    <a:pt x="25" y="771"/>
                    <a:pt x="25" y="771"/>
                  </a:cubicBezTo>
                  <a:cubicBezTo>
                    <a:pt x="26" y="774"/>
                    <a:pt x="26" y="776"/>
                    <a:pt x="25" y="7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8" name="Midi-Pyrénnées" descr="© INSCALE GmbH, 05.05.2010&#10;http://www.presentationload.com/">
              <a:extLst>
                <a:ext uri="{FF2B5EF4-FFF2-40B4-BE49-F238E27FC236}">
                  <a16:creationId xmlns:a16="http://schemas.microsoft.com/office/drawing/2014/main" id="{A2F3FD82-C7EE-4A6F-8CF6-1DEA7DAD94F2}"/>
                </a:ext>
              </a:extLst>
            </p:cNvPr>
            <p:cNvSpPr>
              <a:spLocks/>
            </p:cNvSpPr>
            <p:nvPr/>
          </p:nvSpPr>
          <p:spPr bwMode="gray">
            <a:xfrm>
              <a:off x="1092" y="2246"/>
              <a:ext cx="953" cy="857"/>
            </a:xfrm>
            <a:custGeom>
              <a:avLst/>
              <a:gdLst/>
              <a:ahLst/>
              <a:cxnLst>
                <a:cxn ang="0">
                  <a:pos x="839" y="302"/>
                </a:cxn>
                <a:cxn ang="0">
                  <a:pos x="827" y="255"/>
                </a:cxn>
                <a:cxn ang="0">
                  <a:pos x="812" y="191"/>
                </a:cxn>
                <a:cxn ang="0">
                  <a:pos x="774" y="131"/>
                </a:cxn>
                <a:cxn ang="0">
                  <a:pos x="763" y="86"/>
                </a:cxn>
                <a:cxn ang="0">
                  <a:pos x="727" y="55"/>
                </a:cxn>
                <a:cxn ang="0">
                  <a:pos x="690" y="56"/>
                </a:cxn>
                <a:cxn ang="0">
                  <a:pos x="679" y="104"/>
                </a:cxn>
                <a:cxn ang="0">
                  <a:pos x="628" y="128"/>
                </a:cxn>
                <a:cxn ang="0">
                  <a:pos x="599" y="136"/>
                </a:cxn>
                <a:cxn ang="0">
                  <a:pos x="583" y="108"/>
                </a:cxn>
                <a:cxn ang="0">
                  <a:pos x="571" y="17"/>
                </a:cxn>
                <a:cxn ang="0">
                  <a:pos x="535" y="27"/>
                </a:cxn>
                <a:cxn ang="0">
                  <a:pos x="467" y="4"/>
                </a:cxn>
                <a:cxn ang="0">
                  <a:pos x="420" y="8"/>
                </a:cxn>
                <a:cxn ang="0">
                  <a:pos x="424" y="54"/>
                </a:cxn>
                <a:cxn ang="0">
                  <a:pos x="390" y="75"/>
                </a:cxn>
                <a:cxn ang="0">
                  <a:pos x="363" y="118"/>
                </a:cxn>
                <a:cxn ang="0">
                  <a:pos x="327" y="190"/>
                </a:cxn>
                <a:cxn ang="0">
                  <a:pos x="291" y="234"/>
                </a:cxn>
                <a:cxn ang="0">
                  <a:pos x="296" y="287"/>
                </a:cxn>
                <a:cxn ang="0">
                  <a:pos x="227" y="306"/>
                </a:cxn>
                <a:cxn ang="0">
                  <a:pos x="140" y="319"/>
                </a:cxn>
                <a:cxn ang="0">
                  <a:pos x="104" y="343"/>
                </a:cxn>
                <a:cxn ang="0">
                  <a:pos x="83" y="335"/>
                </a:cxn>
                <a:cxn ang="0">
                  <a:pos x="42" y="390"/>
                </a:cxn>
                <a:cxn ang="0">
                  <a:pos x="30" y="423"/>
                </a:cxn>
                <a:cxn ang="0">
                  <a:pos x="34" y="458"/>
                </a:cxn>
                <a:cxn ang="0">
                  <a:pos x="72" y="498"/>
                </a:cxn>
                <a:cxn ang="0">
                  <a:pos x="90" y="538"/>
                </a:cxn>
                <a:cxn ang="0">
                  <a:pos x="67" y="578"/>
                </a:cxn>
                <a:cxn ang="0">
                  <a:pos x="38" y="614"/>
                </a:cxn>
                <a:cxn ang="0">
                  <a:pos x="0" y="699"/>
                </a:cxn>
                <a:cxn ang="0">
                  <a:pos x="53" y="712"/>
                </a:cxn>
                <a:cxn ang="0">
                  <a:pos x="129" y="735"/>
                </a:cxn>
                <a:cxn ang="0">
                  <a:pos x="245" y="753"/>
                </a:cxn>
                <a:cxn ang="0">
                  <a:pos x="321" y="721"/>
                </a:cxn>
                <a:cxn ang="0">
                  <a:pos x="467" y="782"/>
                </a:cxn>
                <a:cxn ang="0">
                  <a:pos x="492" y="791"/>
                </a:cxn>
                <a:cxn ang="0">
                  <a:pos x="544" y="778"/>
                </a:cxn>
                <a:cxn ang="0">
                  <a:pos x="567" y="736"/>
                </a:cxn>
                <a:cxn ang="0">
                  <a:pos x="520" y="702"/>
                </a:cxn>
                <a:cxn ang="0">
                  <a:pos x="530" y="674"/>
                </a:cxn>
                <a:cxn ang="0">
                  <a:pos x="530" y="614"/>
                </a:cxn>
                <a:cxn ang="0">
                  <a:pos x="503" y="543"/>
                </a:cxn>
                <a:cxn ang="0">
                  <a:pos x="534" y="518"/>
                </a:cxn>
                <a:cxn ang="0">
                  <a:pos x="596" y="532"/>
                </a:cxn>
                <a:cxn ang="0">
                  <a:pos x="707" y="487"/>
                </a:cxn>
                <a:cxn ang="0">
                  <a:pos x="794" y="428"/>
                </a:cxn>
                <a:cxn ang="0">
                  <a:pos x="839" y="370"/>
                </a:cxn>
                <a:cxn ang="0">
                  <a:pos x="884" y="326"/>
                </a:cxn>
              </a:cxnLst>
              <a:rect l="0" t="0" r="r" b="b"/>
              <a:pathLst>
                <a:path w="884" h="794">
                  <a:moveTo>
                    <a:pt x="871" y="318"/>
                  </a:moveTo>
                  <a:cubicBezTo>
                    <a:pt x="859" y="308"/>
                    <a:pt x="859" y="308"/>
                    <a:pt x="859" y="308"/>
                  </a:cubicBezTo>
                  <a:cubicBezTo>
                    <a:pt x="839" y="302"/>
                    <a:pt x="839" y="302"/>
                    <a:pt x="839" y="302"/>
                  </a:cubicBezTo>
                  <a:cubicBezTo>
                    <a:pt x="839" y="302"/>
                    <a:pt x="854" y="284"/>
                    <a:pt x="859" y="279"/>
                  </a:cubicBezTo>
                  <a:cubicBezTo>
                    <a:pt x="864" y="274"/>
                    <a:pt x="823" y="267"/>
                    <a:pt x="823" y="267"/>
                  </a:cubicBezTo>
                  <a:cubicBezTo>
                    <a:pt x="827" y="255"/>
                    <a:pt x="827" y="255"/>
                    <a:pt x="827" y="255"/>
                  </a:cubicBezTo>
                  <a:cubicBezTo>
                    <a:pt x="804" y="247"/>
                    <a:pt x="804" y="247"/>
                    <a:pt x="804" y="247"/>
                  </a:cubicBezTo>
                  <a:cubicBezTo>
                    <a:pt x="814" y="231"/>
                    <a:pt x="814" y="231"/>
                    <a:pt x="814" y="231"/>
                  </a:cubicBezTo>
                  <a:cubicBezTo>
                    <a:pt x="812" y="191"/>
                    <a:pt x="812" y="191"/>
                    <a:pt x="812" y="191"/>
                  </a:cubicBezTo>
                  <a:cubicBezTo>
                    <a:pt x="791" y="178"/>
                    <a:pt x="791" y="178"/>
                    <a:pt x="791" y="178"/>
                  </a:cubicBezTo>
                  <a:cubicBezTo>
                    <a:pt x="795" y="146"/>
                    <a:pt x="795" y="146"/>
                    <a:pt x="795" y="146"/>
                  </a:cubicBezTo>
                  <a:cubicBezTo>
                    <a:pt x="774" y="131"/>
                    <a:pt x="774" y="131"/>
                    <a:pt x="774" y="131"/>
                  </a:cubicBezTo>
                  <a:cubicBezTo>
                    <a:pt x="774" y="122"/>
                    <a:pt x="774" y="122"/>
                    <a:pt x="774" y="122"/>
                  </a:cubicBezTo>
                  <a:cubicBezTo>
                    <a:pt x="772" y="126"/>
                    <a:pt x="772" y="126"/>
                    <a:pt x="772" y="126"/>
                  </a:cubicBezTo>
                  <a:cubicBezTo>
                    <a:pt x="763" y="86"/>
                    <a:pt x="763" y="86"/>
                    <a:pt x="763" y="86"/>
                  </a:cubicBezTo>
                  <a:cubicBezTo>
                    <a:pt x="754" y="75"/>
                    <a:pt x="754" y="75"/>
                    <a:pt x="754" y="75"/>
                  </a:cubicBezTo>
                  <a:cubicBezTo>
                    <a:pt x="754" y="75"/>
                    <a:pt x="740" y="45"/>
                    <a:pt x="729" y="53"/>
                  </a:cubicBezTo>
                  <a:cubicBezTo>
                    <a:pt x="729" y="55"/>
                    <a:pt x="728" y="56"/>
                    <a:pt x="727" y="55"/>
                  </a:cubicBezTo>
                  <a:cubicBezTo>
                    <a:pt x="728" y="54"/>
                    <a:pt x="728" y="54"/>
                    <a:pt x="729" y="53"/>
                  </a:cubicBezTo>
                  <a:cubicBezTo>
                    <a:pt x="731" y="46"/>
                    <a:pt x="725" y="18"/>
                    <a:pt x="699" y="55"/>
                  </a:cubicBezTo>
                  <a:cubicBezTo>
                    <a:pt x="690" y="63"/>
                    <a:pt x="690" y="56"/>
                    <a:pt x="690" y="56"/>
                  </a:cubicBezTo>
                  <a:cubicBezTo>
                    <a:pt x="688" y="78"/>
                    <a:pt x="688" y="78"/>
                    <a:pt x="688" y="78"/>
                  </a:cubicBezTo>
                  <a:cubicBezTo>
                    <a:pt x="680" y="84"/>
                    <a:pt x="680" y="84"/>
                    <a:pt x="680" y="84"/>
                  </a:cubicBezTo>
                  <a:cubicBezTo>
                    <a:pt x="679" y="104"/>
                    <a:pt x="679" y="104"/>
                    <a:pt x="679" y="104"/>
                  </a:cubicBezTo>
                  <a:cubicBezTo>
                    <a:pt x="666" y="114"/>
                    <a:pt x="666" y="114"/>
                    <a:pt x="666" y="114"/>
                  </a:cubicBezTo>
                  <a:cubicBezTo>
                    <a:pt x="662" y="126"/>
                    <a:pt x="662" y="126"/>
                    <a:pt x="662" y="126"/>
                  </a:cubicBezTo>
                  <a:cubicBezTo>
                    <a:pt x="628" y="128"/>
                    <a:pt x="628" y="128"/>
                    <a:pt x="628" y="128"/>
                  </a:cubicBezTo>
                  <a:cubicBezTo>
                    <a:pt x="627" y="123"/>
                    <a:pt x="627" y="123"/>
                    <a:pt x="627" y="123"/>
                  </a:cubicBezTo>
                  <a:cubicBezTo>
                    <a:pt x="598" y="124"/>
                    <a:pt x="598" y="124"/>
                    <a:pt x="598" y="124"/>
                  </a:cubicBezTo>
                  <a:cubicBezTo>
                    <a:pt x="599" y="136"/>
                    <a:pt x="599" y="136"/>
                    <a:pt x="599" y="136"/>
                  </a:cubicBezTo>
                  <a:cubicBezTo>
                    <a:pt x="594" y="130"/>
                    <a:pt x="594" y="130"/>
                    <a:pt x="594" y="130"/>
                  </a:cubicBezTo>
                  <a:cubicBezTo>
                    <a:pt x="592" y="114"/>
                    <a:pt x="592" y="114"/>
                    <a:pt x="592" y="114"/>
                  </a:cubicBezTo>
                  <a:cubicBezTo>
                    <a:pt x="583" y="108"/>
                    <a:pt x="583" y="108"/>
                    <a:pt x="583" y="108"/>
                  </a:cubicBezTo>
                  <a:cubicBezTo>
                    <a:pt x="588" y="74"/>
                    <a:pt x="588" y="74"/>
                    <a:pt x="588" y="74"/>
                  </a:cubicBezTo>
                  <a:cubicBezTo>
                    <a:pt x="572" y="47"/>
                    <a:pt x="572" y="47"/>
                    <a:pt x="572" y="47"/>
                  </a:cubicBezTo>
                  <a:cubicBezTo>
                    <a:pt x="572" y="47"/>
                    <a:pt x="574" y="30"/>
                    <a:pt x="571" y="17"/>
                  </a:cubicBezTo>
                  <a:cubicBezTo>
                    <a:pt x="569" y="19"/>
                    <a:pt x="568" y="20"/>
                    <a:pt x="568" y="20"/>
                  </a:cubicBezTo>
                  <a:cubicBezTo>
                    <a:pt x="547" y="22"/>
                    <a:pt x="547" y="22"/>
                    <a:pt x="547" y="22"/>
                  </a:cubicBezTo>
                  <a:cubicBezTo>
                    <a:pt x="535" y="27"/>
                    <a:pt x="535" y="27"/>
                    <a:pt x="535" y="27"/>
                  </a:cubicBezTo>
                  <a:cubicBezTo>
                    <a:pt x="532" y="20"/>
                    <a:pt x="532" y="20"/>
                    <a:pt x="532" y="20"/>
                  </a:cubicBezTo>
                  <a:cubicBezTo>
                    <a:pt x="532" y="20"/>
                    <a:pt x="518" y="43"/>
                    <a:pt x="507" y="39"/>
                  </a:cubicBezTo>
                  <a:cubicBezTo>
                    <a:pt x="496" y="35"/>
                    <a:pt x="467" y="4"/>
                    <a:pt x="467" y="4"/>
                  </a:cubicBezTo>
                  <a:cubicBezTo>
                    <a:pt x="467" y="4"/>
                    <a:pt x="435" y="0"/>
                    <a:pt x="424" y="7"/>
                  </a:cubicBezTo>
                  <a:cubicBezTo>
                    <a:pt x="423" y="4"/>
                    <a:pt x="423" y="4"/>
                    <a:pt x="423" y="4"/>
                  </a:cubicBezTo>
                  <a:cubicBezTo>
                    <a:pt x="420" y="8"/>
                    <a:pt x="420" y="8"/>
                    <a:pt x="420" y="8"/>
                  </a:cubicBezTo>
                  <a:cubicBezTo>
                    <a:pt x="426" y="39"/>
                    <a:pt x="426" y="39"/>
                    <a:pt x="426" y="39"/>
                  </a:cubicBezTo>
                  <a:cubicBezTo>
                    <a:pt x="419" y="44"/>
                    <a:pt x="419" y="44"/>
                    <a:pt x="419" y="44"/>
                  </a:cubicBezTo>
                  <a:cubicBezTo>
                    <a:pt x="424" y="54"/>
                    <a:pt x="424" y="54"/>
                    <a:pt x="424" y="54"/>
                  </a:cubicBezTo>
                  <a:cubicBezTo>
                    <a:pt x="407" y="60"/>
                    <a:pt x="407" y="60"/>
                    <a:pt x="407" y="60"/>
                  </a:cubicBezTo>
                  <a:cubicBezTo>
                    <a:pt x="406" y="74"/>
                    <a:pt x="406" y="74"/>
                    <a:pt x="406" y="74"/>
                  </a:cubicBezTo>
                  <a:cubicBezTo>
                    <a:pt x="390" y="75"/>
                    <a:pt x="390" y="75"/>
                    <a:pt x="390" y="75"/>
                  </a:cubicBezTo>
                  <a:cubicBezTo>
                    <a:pt x="398" y="92"/>
                    <a:pt x="398" y="92"/>
                    <a:pt x="398" y="92"/>
                  </a:cubicBezTo>
                  <a:cubicBezTo>
                    <a:pt x="384" y="112"/>
                    <a:pt x="384" y="112"/>
                    <a:pt x="384" y="112"/>
                  </a:cubicBezTo>
                  <a:cubicBezTo>
                    <a:pt x="363" y="118"/>
                    <a:pt x="363" y="118"/>
                    <a:pt x="363" y="118"/>
                  </a:cubicBezTo>
                  <a:cubicBezTo>
                    <a:pt x="344" y="147"/>
                    <a:pt x="344" y="147"/>
                    <a:pt x="344" y="147"/>
                  </a:cubicBezTo>
                  <a:cubicBezTo>
                    <a:pt x="316" y="156"/>
                    <a:pt x="316" y="156"/>
                    <a:pt x="316" y="156"/>
                  </a:cubicBezTo>
                  <a:cubicBezTo>
                    <a:pt x="316" y="156"/>
                    <a:pt x="327" y="186"/>
                    <a:pt x="327" y="190"/>
                  </a:cubicBezTo>
                  <a:cubicBezTo>
                    <a:pt x="327" y="194"/>
                    <a:pt x="334" y="198"/>
                    <a:pt x="334" y="198"/>
                  </a:cubicBezTo>
                  <a:cubicBezTo>
                    <a:pt x="334" y="198"/>
                    <a:pt x="331" y="223"/>
                    <a:pt x="312" y="216"/>
                  </a:cubicBezTo>
                  <a:cubicBezTo>
                    <a:pt x="294" y="210"/>
                    <a:pt x="291" y="234"/>
                    <a:pt x="291" y="234"/>
                  </a:cubicBezTo>
                  <a:cubicBezTo>
                    <a:pt x="308" y="246"/>
                    <a:pt x="308" y="246"/>
                    <a:pt x="308" y="246"/>
                  </a:cubicBezTo>
                  <a:cubicBezTo>
                    <a:pt x="291" y="270"/>
                    <a:pt x="291" y="270"/>
                    <a:pt x="291" y="270"/>
                  </a:cubicBezTo>
                  <a:cubicBezTo>
                    <a:pt x="296" y="287"/>
                    <a:pt x="296" y="287"/>
                    <a:pt x="296" y="287"/>
                  </a:cubicBezTo>
                  <a:cubicBezTo>
                    <a:pt x="274" y="286"/>
                    <a:pt x="274" y="286"/>
                    <a:pt x="274" y="286"/>
                  </a:cubicBezTo>
                  <a:cubicBezTo>
                    <a:pt x="274" y="286"/>
                    <a:pt x="262" y="322"/>
                    <a:pt x="247" y="322"/>
                  </a:cubicBezTo>
                  <a:cubicBezTo>
                    <a:pt x="232" y="322"/>
                    <a:pt x="227" y="306"/>
                    <a:pt x="227" y="306"/>
                  </a:cubicBezTo>
                  <a:cubicBezTo>
                    <a:pt x="214" y="311"/>
                    <a:pt x="214" y="311"/>
                    <a:pt x="214" y="311"/>
                  </a:cubicBezTo>
                  <a:cubicBezTo>
                    <a:pt x="214" y="311"/>
                    <a:pt x="183" y="326"/>
                    <a:pt x="168" y="327"/>
                  </a:cubicBezTo>
                  <a:cubicBezTo>
                    <a:pt x="154" y="328"/>
                    <a:pt x="140" y="319"/>
                    <a:pt x="140" y="319"/>
                  </a:cubicBezTo>
                  <a:cubicBezTo>
                    <a:pt x="127" y="328"/>
                    <a:pt x="127" y="328"/>
                    <a:pt x="127" y="328"/>
                  </a:cubicBezTo>
                  <a:cubicBezTo>
                    <a:pt x="118" y="326"/>
                    <a:pt x="118" y="326"/>
                    <a:pt x="118" y="326"/>
                  </a:cubicBezTo>
                  <a:cubicBezTo>
                    <a:pt x="118" y="326"/>
                    <a:pt x="103" y="338"/>
                    <a:pt x="104" y="343"/>
                  </a:cubicBezTo>
                  <a:cubicBezTo>
                    <a:pt x="106" y="348"/>
                    <a:pt x="112" y="362"/>
                    <a:pt x="104" y="359"/>
                  </a:cubicBezTo>
                  <a:cubicBezTo>
                    <a:pt x="96" y="356"/>
                    <a:pt x="91" y="348"/>
                    <a:pt x="88" y="342"/>
                  </a:cubicBezTo>
                  <a:cubicBezTo>
                    <a:pt x="86" y="335"/>
                    <a:pt x="83" y="335"/>
                    <a:pt x="83" y="335"/>
                  </a:cubicBezTo>
                  <a:cubicBezTo>
                    <a:pt x="83" y="335"/>
                    <a:pt x="74" y="344"/>
                    <a:pt x="67" y="344"/>
                  </a:cubicBezTo>
                  <a:cubicBezTo>
                    <a:pt x="60" y="344"/>
                    <a:pt x="38" y="358"/>
                    <a:pt x="38" y="358"/>
                  </a:cubicBezTo>
                  <a:cubicBezTo>
                    <a:pt x="42" y="390"/>
                    <a:pt x="42" y="390"/>
                    <a:pt x="42" y="390"/>
                  </a:cubicBezTo>
                  <a:cubicBezTo>
                    <a:pt x="38" y="387"/>
                    <a:pt x="38" y="387"/>
                    <a:pt x="38" y="387"/>
                  </a:cubicBezTo>
                  <a:cubicBezTo>
                    <a:pt x="43" y="408"/>
                    <a:pt x="43" y="408"/>
                    <a:pt x="43" y="408"/>
                  </a:cubicBezTo>
                  <a:cubicBezTo>
                    <a:pt x="30" y="423"/>
                    <a:pt x="30" y="423"/>
                    <a:pt x="30" y="423"/>
                  </a:cubicBezTo>
                  <a:cubicBezTo>
                    <a:pt x="31" y="442"/>
                    <a:pt x="31" y="442"/>
                    <a:pt x="31" y="442"/>
                  </a:cubicBezTo>
                  <a:cubicBezTo>
                    <a:pt x="22" y="446"/>
                    <a:pt x="22" y="446"/>
                    <a:pt x="22" y="446"/>
                  </a:cubicBezTo>
                  <a:cubicBezTo>
                    <a:pt x="34" y="458"/>
                    <a:pt x="34" y="458"/>
                    <a:pt x="34" y="458"/>
                  </a:cubicBezTo>
                  <a:cubicBezTo>
                    <a:pt x="34" y="458"/>
                    <a:pt x="72" y="471"/>
                    <a:pt x="76" y="480"/>
                  </a:cubicBezTo>
                  <a:cubicBezTo>
                    <a:pt x="80" y="490"/>
                    <a:pt x="83" y="494"/>
                    <a:pt x="83" y="494"/>
                  </a:cubicBezTo>
                  <a:cubicBezTo>
                    <a:pt x="72" y="498"/>
                    <a:pt x="72" y="498"/>
                    <a:pt x="72" y="498"/>
                  </a:cubicBezTo>
                  <a:cubicBezTo>
                    <a:pt x="72" y="514"/>
                    <a:pt x="72" y="514"/>
                    <a:pt x="72" y="514"/>
                  </a:cubicBezTo>
                  <a:cubicBezTo>
                    <a:pt x="88" y="508"/>
                    <a:pt x="88" y="508"/>
                    <a:pt x="88" y="508"/>
                  </a:cubicBezTo>
                  <a:cubicBezTo>
                    <a:pt x="90" y="538"/>
                    <a:pt x="90" y="538"/>
                    <a:pt x="90" y="538"/>
                  </a:cubicBezTo>
                  <a:cubicBezTo>
                    <a:pt x="78" y="543"/>
                    <a:pt x="78" y="543"/>
                    <a:pt x="78" y="543"/>
                  </a:cubicBezTo>
                  <a:cubicBezTo>
                    <a:pt x="78" y="543"/>
                    <a:pt x="72" y="555"/>
                    <a:pt x="79" y="563"/>
                  </a:cubicBezTo>
                  <a:cubicBezTo>
                    <a:pt x="79" y="568"/>
                    <a:pt x="67" y="578"/>
                    <a:pt x="67" y="578"/>
                  </a:cubicBezTo>
                  <a:cubicBezTo>
                    <a:pt x="67" y="588"/>
                    <a:pt x="67" y="588"/>
                    <a:pt x="67" y="588"/>
                  </a:cubicBezTo>
                  <a:cubicBezTo>
                    <a:pt x="58" y="588"/>
                    <a:pt x="58" y="588"/>
                    <a:pt x="58" y="588"/>
                  </a:cubicBezTo>
                  <a:cubicBezTo>
                    <a:pt x="38" y="614"/>
                    <a:pt x="38" y="614"/>
                    <a:pt x="38" y="614"/>
                  </a:cubicBezTo>
                  <a:cubicBezTo>
                    <a:pt x="38" y="632"/>
                    <a:pt x="38" y="632"/>
                    <a:pt x="38" y="632"/>
                  </a:cubicBezTo>
                  <a:cubicBezTo>
                    <a:pt x="22" y="634"/>
                    <a:pt x="22" y="634"/>
                    <a:pt x="22" y="634"/>
                  </a:cubicBezTo>
                  <a:cubicBezTo>
                    <a:pt x="0" y="699"/>
                    <a:pt x="0" y="699"/>
                    <a:pt x="0" y="699"/>
                  </a:cubicBezTo>
                  <a:cubicBezTo>
                    <a:pt x="0" y="699"/>
                    <a:pt x="1" y="701"/>
                    <a:pt x="1" y="705"/>
                  </a:cubicBezTo>
                  <a:cubicBezTo>
                    <a:pt x="24" y="689"/>
                    <a:pt x="48" y="712"/>
                    <a:pt x="48" y="712"/>
                  </a:cubicBezTo>
                  <a:cubicBezTo>
                    <a:pt x="53" y="712"/>
                    <a:pt x="53" y="712"/>
                    <a:pt x="53" y="712"/>
                  </a:cubicBezTo>
                  <a:cubicBezTo>
                    <a:pt x="79" y="748"/>
                    <a:pt x="79" y="748"/>
                    <a:pt x="79" y="748"/>
                  </a:cubicBezTo>
                  <a:cubicBezTo>
                    <a:pt x="119" y="746"/>
                    <a:pt x="119" y="746"/>
                    <a:pt x="119" y="746"/>
                  </a:cubicBezTo>
                  <a:cubicBezTo>
                    <a:pt x="129" y="735"/>
                    <a:pt x="129" y="735"/>
                    <a:pt x="129" y="735"/>
                  </a:cubicBezTo>
                  <a:cubicBezTo>
                    <a:pt x="129" y="735"/>
                    <a:pt x="153" y="752"/>
                    <a:pt x="162" y="757"/>
                  </a:cubicBezTo>
                  <a:cubicBezTo>
                    <a:pt x="170" y="733"/>
                    <a:pt x="192" y="748"/>
                    <a:pt x="192" y="748"/>
                  </a:cubicBezTo>
                  <a:cubicBezTo>
                    <a:pt x="192" y="748"/>
                    <a:pt x="239" y="752"/>
                    <a:pt x="245" y="753"/>
                  </a:cubicBezTo>
                  <a:cubicBezTo>
                    <a:pt x="251" y="754"/>
                    <a:pt x="245" y="741"/>
                    <a:pt x="245" y="741"/>
                  </a:cubicBezTo>
                  <a:cubicBezTo>
                    <a:pt x="234" y="718"/>
                    <a:pt x="253" y="691"/>
                    <a:pt x="253" y="691"/>
                  </a:cubicBezTo>
                  <a:cubicBezTo>
                    <a:pt x="253" y="691"/>
                    <a:pt x="302" y="721"/>
                    <a:pt x="321" y="721"/>
                  </a:cubicBezTo>
                  <a:cubicBezTo>
                    <a:pt x="340" y="721"/>
                    <a:pt x="364" y="744"/>
                    <a:pt x="364" y="744"/>
                  </a:cubicBezTo>
                  <a:cubicBezTo>
                    <a:pt x="398" y="728"/>
                    <a:pt x="420" y="779"/>
                    <a:pt x="421" y="782"/>
                  </a:cubicBezTo>
                  <a:cubicBezTo>
                    <a:pt x="442" y="756"/>
                    <a:pt x="467" y="782"/>
                    <a:pt x="467" y="782"/>
                  </a:cubicBezTo>
                  <a:cubicBezTo>
                    <a:pt x="479" y="774"/>
                    <a:pt x="479" y="774"/>
                    <a:pt x="479" y="774"/>
                  </a:cubicBezTo>
                  <a:cubicBezTo>
                    <a:pt x="479" y="774"/>
                    <a:pt x="488" y="786"/>
                    <a:pt x="491" y="794"/>
                  </a:cubicBezTo>
                  <a:cubicBezTo>
                    <a:pt x="492" y="791"/>
                    <a:pt x="492" y="791"/>
                    <a:pt x="492" y="791"/>
                  </a:cubicBezTo>
                  <a:cubicBezTo>
                    <a:pt x="516" y="792"/>
                    <a:pt x="516" y="792"/>
                    <a:pt x="516" y="792"/>
                  </a:cubicBezTo>
                  <a:cubicBezTo>
                    <a:pt x="523" y="783"/>
                    <a:pt x="523" y="783"/>
                    <a:pt x="523" y="783"/>
                  </a:cubicBezTo>
                  <a:cubicBezTo>
                    <a:pt x="544" y="778"/>
                    <a:pt x="544" y="778"/>
                    <a:pt x="544" y="778"/>
                  </a:cubicBezTo>
                  <a:cubicBezTo>
                    <a:pt x="542" y="766"/>
                    <a:pt x="542" y="766"/>
                    <a:pt x="542" y="766"/>
                  </a:cubicBezTo>
                  <a:cubicBezTo>
                    <a:pt x="586" y="764"/>
                    <a:pt x="586" y="764"/>
                    <a:pt x="586" y="764"/>
                  </a:cubicBezTo>
                  <a:cubicBezTo>
                    <a:pt x="586" y="764"/>
                    <a:pt x="588" y="758"/>
                    <a:pt x="567" y="736"/>
                  </a:cubicBezTo>
                  <a:cubicBezTo>
                    <a:pt x="514" y="740"/>
                    <a:pt x="528" y="720"/>
                    <a:pt x="528" y="720"/>
                  </a:cubicBezTo>
                  <a:cubicBezTo>
                    <a:pt x="519" y="716"/>
                    <a:pt x="519" y="716"/>
                    <a:pt x="519" y="716"/>
                  </a:cubicBezTo>
                  <a:cubicBezTo>
                    <a:pt x="520" y="702"/>
                    <a:pt x="520" y="702"/>
                    <a:pt x="520" y="702"/>
                  </a:cubicBezTo>
                  <a:cubicBezTo>
                    <a:pt x="520" y="702"/>
                    <a:pt x="543" y="696"/>
                    <a:pt x="543" y="692"/>
                  </a:cubicBezTo>
                  <a:cubicBezTo>
                    <a:pt x="543" y="688"/>
                    <a:pt x="546" y="678"/>
                    <a:pt x="546" y="678"/>
                  </a:cubicBezTo>
                  <a:cubicBezTo>
                    <a:pt x="530" y="674"/>
                    <a:pt x="530" y="674"/>
                    <a:pt x="530" y="674"/>
                  </a:cubicBezTo>
                  <a:cubicBezTo>
                    <a:pt x="544" y="667"/>
                    <a:pt x="544" y="667"/>
                    <a:pt x="544" y="667"/>
                  </a:cubicBezTo>
                  <a:cubicBezTo>
                    <a:pt x="544" y="667"/>
                    <a:pt x="528" y="640"/>
                    <a:pt x="534" y="635"/>
                  </a:cubicBezTo>
                  <a:cubicBezTo>
                    <a:pt x="539" y="630"/>
                    <a:pt x="530" y="614"/>
                    <a:pt x="530" y="614"/>
                  </a:cubicBezTo>
                  <a:cubicBezTo>
                    <a:pt x="480" y="595"/>
                    <a:pt x="480" y="595"/>
                    <a:pt x="480" y="595"/>
                  </a:cubicBezTo>
                  <a:cubicBezTo>
                    <a:pt x="480" y="595"/>
                    <a:pt x="478" y="576"/>
                    <a:pt x="484" y="576"/>
                  </a:cubicBezTo>
                  <a:cubicBezTo>
                    <a:pt x="466" y="554"/>
                    <a:pt x="500" y="548"/>
                    <a:pt x="503" y="543"/>
                  </a:cubicBezTo>
                  <a:cubicBezTo>
                    <a:pt x="503" y="518"/>
                    <a:pt x="515" y="510"/>
                    <a:pt x="515" y="510"/>
                  </a:cubicBezTo>
                  <a:cubicBezTo>
                    <a:pt x="528" y="531"/>
                    <a:pt x="528" y="531"/>
                    <a:pt x="528" y="531"/>
                  </a:cubicBezTo>
                  <a:cubicBezTo>
                    <a:pt x="534" y="518"/>
                    <a:pt x="534" y="518"/>
                    <a:pt x="534" y="518"/>
                  </a:cubicBezTo>
                  <a:cubicBezTo>
                    <a:pt x="562" y="519"/>
                    <a:pt x="562" y="519"/>
                    <a:pt x="562" y="519"/>
                  </a:cubicBezTo>
                  <a:cubicBezTo>
                    <a:pt x="562" y="519"/>
                    <a:pt x="563" y="530"/>
                    <a:pt x="568" y="528"/>
                  </a:cubicBezTo>
                  <a:cubicBezTo>
                    <a:pt x="574" y="527"/>
                    <a:pt x="596" y="532"/>
                    <a:pt x="596" y="532"/>
                  </a:cubicBezTo>
                  <a:cubicBezTo>
                    <a:pt x="596" y="499"/>
                    <a:pt x="639" y="522"/>
                    <a:pt x="639" y="522"/>
                  </a:cubicBezTo>
                  <a:cubicBezTo>
                    <a:pt x="639" y="522"/>
                    <a:pt x="631" y="510"/>
                    <a:pt x="664" y="515"/>
                  </a:cubicBezTo>
                  <a:cubicBezTo>
                    <a:pt x="698" y="520"/>
                    <a:pt x="698" y="492"/>
                    <a:pt x="707" y="487"/>
                  </a:cubicBezTo>
                  <a:cubicBezTo>
                    <a:pt x="668" y="448"/>
                    <a:pt x="719" y="450"/>
                    <a:pt x="719" y="450"/>
                  </a:cubicBezTo>
                  <a:cubicBezTo>
                    <a:pt x="719" y="450"/>
                    <a:pt x="742" y="450"/>
                    <a:pt x="763" y="440"/>
                  </a:cubicBezTo>
                  <a:cubicBezTo>
                    <a:pt x="772" y="422"/>
                    <a:pt x="794" y="428"/>
                    <a:pt x="794" y="428"/>
                  </a:cubicBezTo>
                  <a:cubicBezTo>
                    <a:pt x="795" y="388"/>
                    <a:pt x="795" y="388"/>
                    <a:pt x="795" y="388"/>
                  </a:cubicBezTo>
                  <a:cubicBezTo>
                    <a:pt x="839" y="387"/>
                    <a:pt x="839" y="387"/>
                    <a:pt x="839" y="387"/>
                  </a:cubicBezTo>
                  <a:cubicBezTo>
                    <a:pt x="839" y="370"/>
                    <a:pt x="839" y="370"/>
                    <a:pt x="839" y="370"/>
                  </a:cubicBezTo>
                  <a:cubicBezTo>
                    <a:pt x="860" y="368"/>
                    <a:pt x="860" y="368"/>
                    <a:pt x="860" y="368"/>
                  </a:cubicBezTo>
                  <a:cubicBezTo>
                    <a:pt x="863" y="351"/>
                    <a:pt x="863" y="351"/>
                    <a:pt x="863" y="351"/>
                  </a:cubicBezTo>
                  <a:cubicBezTo>
                    <a:pt x="884" y="326"/>
                    <a:pt x="884" y="326"/>
                    <a:pt x="884" y="326"/>
                  </a:cubicBezTo>
                  <a:lnTo>
                    <a:pt x="871" y="31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9" name="Aquitaine" descr="© INSCALE GmbH, 05.05.2010&#10;http://www.presentationload.com/">
              <a:extLst>
                <a:ext uri="{FF2B5EF4-FFF2-40B4-BE49-F238E27FC236}">
                  <a16:creationId xmlns:a16="http://schemas.microsoft.com/office/drawing/2014/main" id="{97CDBFD3-5115-4B18-AE8A-FC35BD36554B}"/>
                </a:ext>
              </a:extLst>
            </p:cNvPr>
            <p:cNvSpPr>
              <a:spLocks/>
            </p:cNvSpPr>
            <p:nvPr/>
          </p:nvSpPr>
          <p:spPr bwMode="gray">
            <a:xfrm>
              <a:off x="758" y="1992"/>
              <a:ext cx="793" cy="1021"/>
            </a:xfrm>
            <a:custGeom>
              <a:avLst/>
              <a:gdLst/>
              <a:ahLst/>
              <a:cxnLst>
                <a:cxn ang="0">
                  <a:pos x="347" y="849"/>
                </a:cxn>
                <a:cxn ang="0">
                  <a:pos x="376" y="813"/>
                </a:cxn>
                <a:cxn ang="0">
                  <a:pos x="399" y="773"/>
                </a:cxn>
                <a:cxn ang="0">
                  <a:pos x="381" y="733"/>
                </a:cxn>
                <a:cxn ang="0">
                  <a:pos x="343" y="693"/>
                </a:cxn>
                <a:cxn ang="0">
                  <a:pos x="339" y="658"/>
                </a:cxn>
                <a:cxn ang="0">
                  <a:pos x="351" y="625"/>
                </a:cxn>
                <a:cxn ang="0">
                  <a:pos x="392" y="570"/>
                </a:cxn>
                <a:cxn ang="0">
                  <a:pos x="413" y="578"/>
                </a:cxn>
                <a:cxn ang="0">
                  <a:pos x="449" y="554"/>
                </a:cxn>
                <a:cxn ang="0">
                  <a:pos x="536" y="541"/>
                </a:cxn>
                <a:cxn ang="0">
                  <a:pos x="605" y="522"/>
                </a:cxn>
                <a:cxn ang="0">
                  <a:pos x="600" y="469"/>
                </a:cxn>
                <a:cxn ang="0">
                  <a:pos x="636" y="425"/>
                </a:cxn>
                <a:cxn ang="0">
                  <a:pos x="672" y="353"/>
                </a:cxn>
                <a:cxn ang="0">
                  <a:pos x="699" y="310"/>
                </a:cxn>
                <a:cxn ang="0">
                  <a:pos x="733" y="289"/>
                </a:cxn>
                <a:cxn ang="0">
                  <a:pos x="729" y="243"/>
                </a:cxn>
                <a:cxn ang="0">
                  <a:pos x="727" y="207"/>
                </a:cxn>
                <a:cxn ang="0">
                  <a:pos x="692" y="183"/>
                </a:cxn>
                <a:cxn ang="0">
                  <a:pos x="691" y="150"/>
                </a:cxn>
                <a:cxn ang="0">
                  <a:pos x="700" y="117"/>
                </a:cxn>
                <a:cxn ang="0">
                  <a:pos x="655" y="74"/>
                </a:cxn>
                <a:cxn ang="0">
                  <a:pos x="589" y="58"/>
                </a:cxn>
                <a:cxn ang="0">
                  <a:pos x="540" y="43"/>
                </a:cxn>
                <a:cxn ang="0">
                  <a:pos x="519" y="74"/>
                </a:cxn>
                <a:cxn ang="0">
                  <a:pos x="464" y="147"/>
                </a:cxn>
                <a:cxn ang="0">
                  <a:pos x="407" y="202"/>
                </a:cxn>
                <a:cxn ang="0">
                  <a:pos x="319" y="169"/>
                </a:cxn>
                <a:cxn ang="0">
                  <a:pos x="265" y="131"/>
                </a:cxn>
                <a:cxn ang="0">
                  <a:pos x="279" y="178"/>
                </a:cxn>
                <a:cxn ang="0">
                  <a:pos x="239" y="76"/>
                </a:cxn>
                <a:cxn ang="0">
                  <a:pos x="185" y="0"/>
                </a:cxn>
                <a:cxn ang="0">
                  <a:pos x="133" y="309"/>
                </a:cxn>
                <a:cxn ang="0">
                  <a:pos x="147" y="302"/>
                </a:cxn>
                <a:cxn ang="0">
                  <a:pos x="23" y="730"/>
                </a:cxn>
                <a:cxn ang="0">
                  <a:pos x="34" y="764"/>
                </a:cxn>
                <a:cxn ang="0">
                  <a:pos x="86" y="787"/>
                </a:cxn>
                <a:cxn ang="0">
                  <a:pos x="110" y="831"/>
                </a:cxn>
                <a:cxn ang="0">
                  <a:pos x="142" y="869"/>
                </a:cxn>
                <a:cxn ang="0">
                  <a:pos x="228" y="882"/>
                </a:cxn>
                <a:cxn ang="0">
                  <a:pos x="293" y="943"/>
                </a:cxn>
                <a:cxn ang="0">
                  <a:pos x="309" y="934"/>
                </a:cxn>
              </a:cxnLst>
              <a:rect l="0" t="0" r="r" b="b"/>
              <a:pathLst>
                <a:path w="735" h="946">
                  <a:moveTo>
                    <a:pt x="331" y="869"/>
                  </a:moveTo>
                  <a:cubicBezTo>
                    <a:pt x="347" y="867"/>
                    <a:pt x="347" y="867"/>
                    <a:pt x="347" y="867"/>
                  </a:cubicBezTo>
                  <a:cubicBezTo>
                    <a:pt x="347" y="849"/>
                    <a:pt x="347" y="849"/>
                    <a:pt x="347" y="849"/>
                  </a:cubicBezTo>
                  <a:cubicBezTo>
                    <a:pt x="367" y="823"/>
                    <a:pt x="367" y="823"/>
                    <a:pt x="367" y="823"/>
                  </a:cubicBezTo>
                  <a:cubicBezTo>
                    <a:pt x="376" y="823"/>
                    <a:pt x="376" y="823"/>
                    <a:pt x="376" y="823"/>
                  </a:cubicBezTo>
                  <a:cubicBezTo>
                    <a:pt x="376" y="813"/>
                    <a:pt x="376" y="813"/>
                    <a:pt x="376" y="813"/>
                  </a:cubicBezTo>
                  <a:cubicBezTo>
                    <a:pt x="376" y="813"/>
                    <a:pt x="388" y="803"/>
                    <a:pt x="388" y="798"/>
                  </a:cubicBezTo>
                  <a:cubicBezTo>
                    <a:pt x="381" y="790"/>
                    <a:pt x="387" y="778"/>
                    <a:pt x="387" y="778"/>
                  </a:cubicBezTo>
                  <a:cubicBezTo>
                    <a:pt x="399" y="773"/>
                    <a:pt x="399" y="773"/>
                    <a:pt x="399" y="773"/>
                  </a:cubicBezTo>
                  <a:cubicBezTo>
                    <a:pt x="397" y="743"/>
                    <a:pt x="397" y="743"/>
                    <a:pt x="397" y="743"/>
                  </a:cubicBezTo>
                  <a:cubicBezTo>
                    <a:pt x="381" y="749"/>
                    <a:pt x="381" y="749"/>
                    <a:pt x="381" y="749"/>
                  </a:cubicBezTo>
                  <a:cubicBezTo>
                    <a:pt x="381" y="733"/>
                    <a:pt x="381" y="733"/>
                    <a:pt x="381" y="733"/>
                  </a:cubicBezTo>
                  <a:cubicBezTo>
                    <a:pt x="392" y="729"/>
                    <a:pt x="392" y="729"/>
                    <a:pt x="392" y="729"/>
                  </a:cubicBezTo>
                  <a:cubicBezTo>
                    <a:pt x="392" y="729"/>
                    <a:pt x="389" y="725"/>
                    <a:pt x="385" y="715"/>
                  </a:cubicBezTo>
                  <a:cubicBezTo>
                    <a:pt x="381" y="706"/>
                    <a:pt x="343" y="693"/>
                    <a:pt x="343" y="693"/>
                  </a:cubicBezTo>
                  <a:cubicBezTo>
                    <a:pt x="331" y="681"/>
                    <a:pt x="331" y="681"/>
                    <a:pt x="331" y="681"/>
                  </a:cubicBezTo>
                  <a:cubicBezTo>
                    <a:pt x="340" y="677"/>
                    <a:pt x="340" y="677"/>
                    <a:pt x="340" y="677"/>
                  </a:cubicBezTo>
                  <a:cubicBezTo>
                    <a:pt x="339" y="658"/>
                    <a:pt x="339" y="658"/>
                    <a:pt x="339" y="658"/>
                  </a:cubicBezTo>
                  <a:cubicBezTo>
                    <a:pt x="352" y="643"/>
                    <a:pt x="352" y="643"/>
                    <a:pt x="352" y="643"/>
                  </a:cubicBezTo>
                  <a:cubicBezTo>
                    <a:pt x="347" y="622"/>
                    <a:pt x="347" y="622"/>
                    <a:pt x="347" y="622"/>
                  </a:cubicBezTo>
                  <a:cubicBezTo>
                    <a:pt x="351" y="625"/>
                    <a:pt x="351" y="625"/>
                    <a:pt x="351" y="625"/>
                  </a:cubicBezTo>
                  <a:cubicBezTo>
                    <a:pt x="347" y="593"/>
                    <a:pt x="347" y="593"/>
                    <a:pt x="347" y="593"/>
                  </a:cubicBezTo>
                  <a:cubicBezTo>
                    <a:pt x="347" y="593"/>
                    <a:pt x="369" y="579"/>
                    <a:pt x="376" y="579"/>
                  </a:cubicBezTo>
                  <a:cubicBezTo>
                    <a:pt x="383" y="579"/>
                    <a:pt x="392" y="570"/>
                    <a:pt x="392" y="570"/>
                  </a:cubicBezTo>
                  <a:cubicBezTo>
                    <a:pt x="392" y="570"/>
                    <a:pt x="395" y="570"/>
                    <a:pt x="397" y="577"/>
                  </a:cubicBezTo>
                  <a:cubicBezTo>
                    <a:pt x="400" y="583"/>
                    <a:pt x="405" y="591"/>
                    <a:pt x="413" y="594"/>
                  </a:cubicBezTo>
                  <a:cubicBezTo>
                    <a:pt x="421" y="597"/>
                    <a:pt x="415" y="583"/>
                    <a:pt x="413" y="578"/>
                  </a:cubicBezTo>
                  <a:cubicBezTo>
                    <a:pt x="412" y="573"/>
                    <a:pt x="427" y="561"/>
                    <a:pt x="427" y="561"/>
                  </a:cubicBezTo>
                  <a:cubicBezTo>
                    <a:pt x="436" y="563"/>
                    <a:pt x="436" y="563"/>
                    <a:pt x="436" y="563"/>
                  </a:cubicBezTo>
                  <a:cubicBezTo>
                    <a:pt x="449" y="554"/>
                    <a:pt x="449" y="554"/>
                    <a:pt x="449" y="554"/>
                  </a:cubicBezTo>
                  <a:cubicBezTo>
                    <a:pt x="449" y="554"/>
                    <a:pt x="463" y="563"/>
                    <a:pt x="477" y="562"/>
                  </a:cubicBezTo>
                  <a:cubicBezTo>
                    <a:pt x="492" y="561"/>
                    <a:pt x="523" y="546"/>
                    <a:pt x="523" y="546"/>
                  </a:cubicBezTo>
                  <a:cubicBezTo>
                    <a:pt x="536" y="541"/>
                    <a:pt x="536" y="541"/>
                    <a:pt x="536" y="541"/>
                  </a:cubicBezTo>
                  <a:cubicBezTo>
                    <a:pt x="536" y="541"/>
                    <a:pt x="541" y="557"/>
                    <a:pt x="556" y="557"/>
                  </a:cubicBezTo>
                  <a:cubicBezTo>
                    <a:pt x="571" y="557"/>
                    <a:pt x="583" y="521"/>
                    <a:pt x="583" y="521"/>
                  </a:cubicBezTo>
                  <a:cubicBezTo>
                    <a:pt x="605" y="522"/>
                    <a:pt x="605" y="522"/>
                    <a:pt x="605" y="522"/>
                  </a:cubicBezTo>
                  <a:cubicBezTo>
                    <a:pt x="600" y="505"/>
                    <a:pt x="600" y="505"/>
                    <a:pt x="600" y="505"/>
                  </a:cubicBezTo>
                  <a:cubicBezTo>
                    <a:pt x="617" y="481"/>
                    <a:pt x="617" y="481"/>
                    <a:pt x="617" y="481"/>
                  </a:cubicBezTo>
                  <a:cubicBezTo>
                    <a:pt x="600" y="469"/>
                    <a:pt x="600" y="469"/>
                    <a:pt x="600" y="469"/>
                  </a:cubicBezTo>
                  <a:cubicBezTo>
                    <a:pt x="600" y="469"/>
                    <a:pt x="603" y="445"/>
                    <a:pt x="621" y="451"/>
                  </a:cubicBezTo>
                  <a:cubicBezTo>
                    <a:pt x="640" y="458"/>
                    <a:pt x="643" y="433"/>
                    <a:pt x="643" y="433"/>
                  </a:cubicBezTo>
                  <a:cubicBezTo>
                    <a:pt x="643" y="433"/>
                    <a:pt x="636" y="429"/>
                    <a:pt x="636" y="425"/>
                  </a:cubicBezTo>
                  <a:cubicBezTo>
                    <a:pt x="636" y="421"/>
                    <a:pt x="625" y="391"/>
                    <a:pt x="625" y="391"/>
                  </a:cubicBezTo>
                  <a:cubicBezTo>
                    <a:pt x="653" y="382"/>
                    <a:pt x="653" y="382"/>
                    <a:pt x="653" y="382"/>
                  </a:cubicBezTo>
                  <a:cubicBezTo>
                    <a:pt x="672" y="353"/>
                    <a:pt x="672" y="353"/>
                    <a:pt x="672" y="353"/>
                  </a:cubicBezTo>
                  <a:cubicBezTo>
                    <a:pt x="693" y="347"/>
                    <a:pt x="693" y="347"/>
                    <a:pt x="693" y="347"/>
                  </a:cubicBezTo>
                  <a:cubicBezTo>
                    <a:pt x="707" y="327"/>
                    <a:pt x="707" y="327"/>
                    <a:pt x="707" y="327"/>
                  </a:cubicBezTo>
                  <a:cubicBezTo>
                    <a:pt x="699" y="310"/>
                    <a:pt x="699" y="310"/>
                    <a:pt x="699" y="310"/>
                  </a:cubicBezTo>
                  <a:cubicBezTo>
                    <a:pt x="715" y="309"/>
                    <a:pt x="715" y="309"/>
                    <a:pt x="715" y="309"/>
                  </a:cubicBezTo>
                  <a:cubicBezTo>
                    <a:pt x="716" y="295"/>
                    <a:pt x="716" y="295"/>
                    <a:pt x="716" y="295"/>
                  </a:cubicBezTo>
                  <a:cubicBezTo>
                    <a:pt x="733" y="289"/>
                    <a:pt x="733" y="289"/>
                    <a:pt x="733" y="289"/>
                  </a:cubicBezTo>
                  <a:cubicBezTo>
                    <a:pt x="728" y="279"/>
                    <a:pt x="728" y="279"/>
                    <a:pt x="728" y="279"/>
                  </a:cubicBezTo>
                  <a:cubicBezTo>
                    <a:pt x="735" y="274"/>
                    <a:pt x="735" y="274"/>
                    <a:pt x="735" y="274"/>
                  </a:cubicBezTo>
                  <a:cubicBezTo>
                    <a:pt x="729" y="243"/>
                    <a:pt x="729" y="243"/>
                    <a:pt x="729" y="243"/>
                  </a:cubicBezTo>
                  <a:cubicBezTo>
                    <a:pt x="732" y="239"/>
                    <a:pt x="732" y="239"/>
                    <a:pt x="732" y="239"/>
                  </a:cubicBezTo>
                  <a:cubicBezTo>
                    <a:pt x="721" y="217"/>
                    <a:pt x="721" y="217"/>
                    <a:pt x="721" y="217"/>
                  </a:cubicBezTo>
                  <a:cubicBezTo>
                    <a:pt x="727" y="207"/>
                    <a:pt x="727" y="207"/>
                    <a:pt x="727" y="207"/>
                  </a:cubicBezTo>
                  <a:cubicBezTo>
                    <a:pt x="696" y="195"/>
                    <a:pt x="696" y="195"/>
                    <a:pt x="696" y="195"/>
                  </a:cubicBezTo>
                  <a:cubicBezTo>
                    <a:pt x="700" y="185"/>
                    <a:pt x="700" y="185"/>
                    <a:pt x="700" y="185"/>
                  </a:cubicBezTo>
                  <a:cubicBezTo>
                    <a:pt x="692" y="183"/>
                    <a:pt x="692" y="183"/>
                    <a:pt x="692" y="183"/>
                  </a:cubicBezTo>
                  <a:cubicBezTo>
                    <a:pt x="699" y="167"/>
                    <a:pt x="699" y="167"/>
                    <a:pt x="699" y="167"/>
                  </a:cubicBezTo>
                  <a:cubicBezTo>
                    <a:pt x="691" y="161"/>
                    <a:pt x="691" y="161"/>
                    <a:pt x="691" y="161"/>
                  </a:cubicBezTo>
                  <a:cubicBezTo>
                    <a:pt x="691" y="150"/>
                    <a:pt x="691" y="150"/>
                    <a:pt x="691" y="150"/>
                  </a:cubicBezTo>
                  <a:cubicBezTo>
                    <a:pt x="691" y="150"/>
                    <a:pt x="707" y="135"/>
                    <a:pt x="707" y="129"/>
                  </a:cubicBezTo>
                  <a:cubicBezTo>
                    <a:pt x="707" y="122"/>
                    <a:pt x="693" y="118"/>
                    <a:pt x="693" y="118"/>
                  </a:cubicBezTo>
                  <a:cubicBezTo>
                    <a:pt x="700" y="117"/>
                    <a:pt x="700" y="117"/>
                    <a:pt x="700" y="117"/>
                  </a:cubicBezTo>
                  <a:cubicBezTo>
                    <a:pt x="668" y="95"/>
                    <a:pt x="668" y="95"/>
                    <a:pt x="668" y="95"/>
                  </a:cubicBezTo>
                  <a:cubicBezTo>
                    <a:pt x="673" y="75"/>
                    <a:pt x="673" y="75"/>
                    <a:pt x="673" y="75"/>
                  </a:cubicBezTo>
                  <a:cubicBezTo>
                    <a:pt x="673" y="75"/>
                    <a:pt x="661" y="74"/>
                    <a:pt x="655" y="74"/>
                  </a:cubicBezTo>
                  <a:cubicBezTo>
                    <a:pt x="648" y="74"/>
                    <a:pt x="643" y="51"/>
                    <a:pt x="643" y="51"/>
                  </a:cubicBezTo>
                  <a:cubicBezTo>
                    <a:pt x="608" y="47"/>
                    <a:pt x="608" y="47"/>
                    <a:pt x="608" y="47"/>
                  </a:cubicBezTo>
                  <a:cubicBezTo>
                    <a:pt x="608" y="47"/>
                    <a:pt x="596" y="62"/>
                    <a:pt x="589" y="58"/>
                  </a:cubicBezTo>
                  <a:cubicBezTo>
                    <a:pt x="583" y="54"/>
                    <a:pt x="589" y="30"/>
                    <a:pt x="589" y="30"/>
                  </a:cubicBezTo>
                  <a:cubicBezTo>
                    <a:pt x="589" y="30"/>
                    <a:pt x="576" y="24"/>
                    <a:pt x="558" y="21"/>
                  </a:cubicBezTo>
                  <a:cubicBezTo>
                    <a:pt x="540" y="43"/>
                    <a:pt x="540" y="43"/>
                    <a:pt x="540" y="43"/>
                  </a:cubicBezTo>
                  <a:cubicBezTo>
                    <a:pt x="540" y="43"/>
                    <a:pt x="529" y="45"/>
                    <a:pt x="525" y="45"/>
                  </a:cubicBezTo>
                  <a:cubicBezTo>
                    <a:pt x="521" y="45"/>
                    <a:pt x="531" y="73"/>
                    <a:pt x="531" y="73"/>
                  </a:cubicBezTo>
                  <a:cubicBezTo>
                    <a:pt x="519" y="74"/>
                    <a:pt x="519" y="74"/>
                    <a:pt x="519" y="74"/>
                  </a:cubicBezTo>
                  <a:cubicBezTo>
                    <a:pt x="519" y="74"/>
                    <a:pt x="515" y="73"/>
                    <a:pt x="511" y="87"/>
                  </a:cubicBezTo>
                  <a:cubicBezTo>
                    <a:pt x="459" y="94"/>
                    <a:pt x="471" y="147"/>
                    <a:pt x="471" y="147"/>
                  </a:cubicBezTo>
                  <a:cubicBezTo>
                    <a:pt x="464" y="147"/>
                    <a:pt x="464" y="147"/>
                    <a:pt x="464" y="147"/>
                  </a:cubicBezTo>
                  <a:cubicBezTo>
                    <a:pt x="464" y="147"/>
                    <a:pt x="445" y="175"/>
                    <a:pt x="441" y="175"/>
                  </a:cubicBezTo>
                  <a:cubicBezTo>
                    <a:pt x="437" y="175"/>
                    <a:pt x="429" y="166"/>
                    <a:pt x="429" y="166"/>
                  </a:cubicBezTo>
                  <a:cubicBezTo>
                    <a:pt x="429" y="166"/>
                    <a:pt x="413" y="189"/>
                    <a:pt x="407" y="202"/>
                  </a:cubicBezTo>
                  <a:cubicBezTo>
                    <a:pt x="400" y="215"/>
                    <a:pt x="367" y="213"/>
                    <a:pt x="349" y="195"/>
                  </a:cubicBezTo>
                  <a:cubicBezTo>
                    <a:pt x="332" y="178"/>
                    <a:pt x="324" y="193"/>
                    <a:pt x="324" y="193"/>
                  </a:cubicBezTo>
                  <a:cubicBezTo>
                    <a:pt x="324" y="193"/>
                    <a:pt x="324" y="187"/>
                    <a:pt x="319" y="169"/>
                  </a:cubicBezTo>
                  <a:cubicBezTo>
                    <a:pt x="325" y="154"/>
                    <a:pt x="285" y="143"/>
                    <a:pt x="285" y="143"/>
                  </a:cubicBezTo>
                  <a:cubicBezTo>
                    <a:pt x="279" y="130"/>
                    <a:pt x="279" y="130"/>
                    <a:pt x="279" y="130"/>
                  </a:cubicBezTo>
                  <a:cubicBezTo>
                    <a:pt x="265" y="131"/>
                    <a:pt x="265" y="131"/>
                    <a:pt x="265" y="131"/>
                  </a:cubicBezTo>
                  <a:cubicBezTo>
                    <a:pt x="267" y="136"/>
                    <a:pt x="270" y="143"/>
                    <a:pt x="272" y="153"/>
                  </a:cubicBezTo>
                  <a:cubicBezTo>
                    <a:pt x="276" y="171"/>
                    <a:pt x="290" y="171"/>
                    <a:pt x="290" y="171"/>
                  </a:cubicBezTo>
                  <a:cubicBezTo>
                    <a:pt x="279" y="178"/>
                    <a:pt x="279" y="178"/>
                    <a:pt x="279" y="178"/>
                  </a:cubicBezTo>
                  <a:cubicBezTo>
                    <a:pt x="279" y="178"/>
                    <a:pt x="262" y="147"/>
                    <a:pt x="258" y="143"/>
                  </a:cubicBezTo>
                  <a:cubicBezTo>
                    <a:pt x="254" y="140"/>
                    <a:pt x="250" y="104"/>
                    <a:pt x="242" y="83"/>
                  </a:cubicBezTo>
                  <a:cubicBezTo>
                    <a:pt x="239" y="76"/>
                    <a:pt x="239" y="76"/>
                    <a:pt x="239" y="76"/>
                  </a:cubicBezTo>
                  <a:cubicBezTo>
                    <a:pt x="239" y="75"/>
                    <a:pt x="239" y="75"/>
                    <a:pt x="239" y="75"/>
                  </a:cubicBezTo>
                  <a:cubicBezTo>
                    <a:pt x="229" y="55"/>
                    <a:pt x="184" y="19"/>
                    <a:pt x="184" y="19"/>
                  </a:cubicBezTo>
                  <a:cubicBezTo>
                    <a:pt x="185" y="0"/>
                    <a:pt x="185" y="0"/>
                    <a:pt x="185" y="0"/>
                  </a:cubicBezTo>
                  <a:cubicBezTo>
                    <a:pt x="162" y="28"/>
                    <a:pt x="162" y="28"/>
                    <a:pt x="162" y="28"/>
                  </a:cubicBezTo>
                  <a:cubicBezTo>
                    <a:pt x="162" y="28"/>
                    <a:pt x="164" y="82"/>
                    <a:pt x="159" y="107"/>
                  </a:cubicBezTo>
                  <a:cubicBezTo>
                    <a:pt x="155" y="130"/>
                    <a:pt x="136" y="279"/>
                    <a:pt x="133" y="309"/>
                  </a:cubicBezTo>
                  <a:cubicBezTo>
                    <a:pt x="136" y="291"/>
                    <a:pt x="155" y="262"/>
                    <a:pt x="155" y="262"/>
                  </a:cubicBezTo>
                  <a:cubicBezTo>
                    <a:pt x="155" y="262"/>
                    <a:pt x="187" y="292"/>
                    <a:pt x="180" y="304"/>
                  </a:cubicBezTo>
                  <a:cubicBezTo>
                    <a:pt x="173" y="316"/>
                    <a:pt x="147" y="302"/>
                    <a:pt x="147" y="302"/>
                  </a:cubicBezTo>
                  <a:cubicBezTo>
                    <a:pt x="145" y="322"/>
                    <a:pt x="131" y="339"/>
                    <a:pt x="131" y="339"/>
                  </a:cubicBezTo>
                  <a:cubicBezTo>
                    <a:pt x="131" y="339"/>
                    <a:pt x="115" y="435"/>
                    <a:pt x="93" y="567"/>
                  </a:cubicBezTo>
                  <a:cubicBezTo>
                    <a:pt x="71" y="699"/>
                    <a:pt x="23" y="730"/>
                    <a:pt x="23" y="730"/>
                  </a:cubicBezTo>
                  <a:cubicBezTo>
                    <a:pt x="0" y="733"/>
                    <a:pt x="0" y="733"/>
                    <a:pt x="0" y="733"/>
                  </a:cubicBezTo>
                  <a:cubicBezTo>
                    <a:pt x="13" y="763"/>
                    <a:pt x="13" y="763"/>
                    <a:pt x="13" y="763"/>
                  </a:cubicBezTo>
                  <a:cubicBezTo>
                    <a:pt x="34" y="764"/>
                    <a:pt x="34" y="764"/>
                    <a:pt x="34" y="764"/>
                  </a:cubicBezTo>
                  <a:cubicBezTo>
                    <a:pt x="34" y="764"/>
                    <a:pt x="37" y="773"/>
                    <a:pt x="42" y="779"/>
                  </a:cubicBezTo>
                  <a:cubicBezTo>
                    <a:pt x="47" y="785"/>
                    <a:pt x="48" y="774"/>
                    <a:pt x="56" y="771"/>
                  </a:cubicBezTo>
                  <a:cubicBezTo>
                    <a:pt x="64" y="768"/>
                    <a:pt x="74" y="776"/>
                    <a:pt x="86" y="787"/>
                  </a:cubicBezTo>
                  <a:cubicBezTo>
                    <a:pt x="98" y="798"/>
                    <a:pt x="71" y="830"/>
                    <a:pt x="69" y="843"/>
                  </a:cubicBezTo>
                  <a:cubicBezTo>
                    <a:pt x="67" y="856"/>
                    <a:pt x="92" y="859"/>
                    <a:pt x="92" y="859"/>
                  </a:cubicBezTo>
                  <a:cubicBezTo>
                    <a:pt x="92" y="859"/>
                    <a:pt x="100" y="831"/>
                    <a:pt x="110" y="831"/>
                  </a:cubicBezTo>
                  <a:cubicBezTo>
                    <a:pt x="120" y="831"/>
                    <a:pt x="107" y="846"/>
                    <a:pt x="107" y="846"/>
                  </a:cubicBezTo>
                  <a:cubicBezTo>
                    <a:pt x="136" y="857"/>
                    <a:pt x="136" y="857"/>
                    <a:pt x="136" y="857"/>
                  </a:cubicBezTo>
                  <a:cubicBezTo>
                    <a:pt x="142" y="869"/>
                    <a:pt x="142" y="869"/>
                    <a:pt x="142" y="869"/>
                  </a:cubicBezTo>
                  <a:cubicBezTo>
                    <a:pt x="149" y="864"/>
                    <a:pt x="149" y="864"/>
                    <a:pt x="149" y="864"/>
                  </a:cubicBezTo>
                  <a:cubicBezTo>
                    <a:pt x="182" y="884"/>
                    <a:pt x="182" y="884"/>
                    <a:pt x="182" y="884"/>
                  </a:cubicBezTo>
                  <a:cubicBezTo>
                    <a:pt x="228" y="882"/>
                    <a:pt x="228" y="882"/>
                    <a:pt x="228" y="882"/>
                  </a:cubicBezTo>
                  <a:cubicBezTo>
                    <a:pt x="228" y="882"/>
                    <a:pt x="230" y="909"/>
                    <a:pt x="239" y="912"/>
                  </a:cubicBezTo>
                  <a:cubicBezTo>
                    <a:pt x="248" y="915"/>
                    <a:pt x="277" y="946"/>
                    <a:pt x="277" y="946"/>
                  </a:cubicBezTo>
                  <a:cubicBezTo>
                    <a:pt x="293" y="936"/>
                    <a:pt x="293" y="943"/>
                    <a:pt x="293" y="943"/>
                  </a:cubicBezTo>
                  <a:cubicBezTo>
                    <a:pt x="293" y="943"/>
                    <a:pt x="309" y="946"/>
                    <a:pt x="306" y="942"/>
                  </a:cubicBezTo>
                  <a:cubicBezTo>
                    <a:pt x="307" y="941"/>
                    <a:pt x="308" y="940"/>
                    <a:pt x="310" y="940"/>
                  </a:cubicBezTo>
                  <a:cubicBezTo>
                    <a:pt x="310" y="936"/>
                    <a:pt x="309" y="934"/>
                    <a:pt x="309" y="934"/>
                  </a:cubicBezTo>
                  <a:lnTo>
                    <a:pt x="331" y="869"/>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10" name="Rhône-Alpes" descr="© INSCALE GmbH, 05.05.2010&#10;http://www.presentationload.com/">
              <a:extLst>
                <a:ext uri="{FF2B5EF4-FFF2-40B4-BE49-F238E27FC236}">
                  <a16:creationId xmlns:a16="http://schemas.microsoft.com/office/drawing/2014/main" id="{C96232F3-AA0D-4686-B8F3-177F16EC3D67}"/>
                </a:ext>
              </a:extLst>
            </p:cNvPr>
            <p:cNvSpPr>
              <a:spLocks/>
            </p:cNvSpPr>
            <p:nvPr/>
          </p:nvSpPr>
          <p:spPr bwMode="gray">
            <a:xfrm>
              <a:off x="2094" y="1710"/>
              <a:ext cx="833" cy="840"/>
            </a:xfrm>
            <a:custGeom>
              <a:avLst/>
              <a:gdLst/>
              <a:ahLst/>
              <a:cxnLst>
                <a:cxn ang="0">
                  <a:pos x="92" y="696"/>
                </a:cxn>
                <a:cxn ang="0">
                  <a:pos x="136" y="744"/>
                </a:cxn>
                <a:cxn ang="0">
                  <a:pos x="170" y="728"/>
                </a:cxn>
                <a:cxn ang="0">
                  <a:pos x="228" y="735"/>
                </a:cxn>
                <a:cxn ang="0">
                  <a:pos x="318" y="724"/>
                </a:cxn>
                <a:cxn ang="0">
                  <a:pos x="341" y="746"/>
                </a:cxn>
                <a:cxn ang="0">
                  <a:pos x="386" y="752"/>
                </a:cxn>
                <a:cxn ang="0">
                  <a:pos x="416" y="778"/>
                </a:cxn>
                <a:cxn ang="0">
                  <a:pos x="462" y="752"/>
                </a:cxn>
                <a:cxn ang="0">
                  <a:pos x="414" y="708"/>
                </a:cxn>
                <a:cxn ang="0">
                  <a:pos x="406" y="670"/>
                </a:cxn>
                <a:cxn ang="0">
                  <a:pos x="453" y="650"/>
                </a:cxn>
                <a:cxn ang="0">
                  <a:pos x="486" y="590"/>
                </a:cxn>
                <a:cxn ang="0">
                  <a:pos x="541" y="546"/>
                </a:cxn>
                <a:cxn ang="0">
                  <a:pos x="572" y="487"/>
                </a:cxn>
                <a:cxn ang="0">
                  <a:pos x="604" y="452"/>
                </a:cxn>
                <a:cxn ang="0">
                  <a:pos x="632" y="458"/>
                </a:cxn>
                <a:cxn ang="0">
                  <a:pos x="685" y="426"/>
                </a:cxn>
                <a:cxn ang="0">
                  <a:pos x="772" y="342"/>
                </a:cxn>
                <a:cxn ang="0">
                  <a:pos x="686" y="232"/>
                </a:cxn>
                <a:cxn ang="0">
                  <a:pos x="706" y="121"/>
                </a:cxn>
                <a:cxn ang="0">
                  <a:pos x="684" y="108"/>
                </a:cxn>
                <a:cxn ang="0">
                  <a:pos x="670" y="33"/>
                </a:cxn>
                <a:cxn ang="0">
                  <a:pos x="611" y="0"/>
                </a:cxn>
                <a:cxn ang="0">
                  <a:pos x="560" y="31"/>
                </a:cxn>
                <a:cxn ang="0">
                  <a:pos x="569" y="68"/>
                </a:cxn>
                <a:cxn ang="0">
                  <a:pos x="517" y="99"/>
                </a:cxn>
                <a:cxn ang="0">
                  <a:pos x="512" y="67"/>
                </a:cxn>
                <a:cxn ang="0">
                  <a:pos x="534" y="29"/>
                </a:cxn>
                <a:cxn ang="0">
                  <a:pos x="441" y="74"/>
                </a:cxn>
                <a:cxn ang="0">
                  <a:pos x="388" y="79"/>
                </a:cxn>
                <a:cxn ang="0">
                  <a:pos x="350" y="50"/>
                </a:cxn>
                <a:cxn ang="0">
                  <a:pos x="326" y="16"/>
                </a:cxn>
                <a:cxn ang="0">
                  <a:pos x="237" y="126"/>
                </a:cxn>
                <a:cxn ang="0">
                  <a:pos x="217" y="100"/>
                </a:cxn>
                <a:cxn ang="0">
                  <a:pos x="188" y="88"/>
                </a:cxn>
                <a:cxn ang="0">
                  <a:pos x="152" y="88"/>
                </a:cxn>
                <a:cxn ang="0">
                  <a:pos x="125" y="136"/>
                </a:cxn>
                <a:cxn ang="0">
                  <a:pos x="86" y="126"/>
                </a:cxn>
                <a:cxn ang="0">
                  <a:pos x="42" y="119"/>
                </a:cxn>
                <a:cxn ang="0">
                  <a:pos x="21" y="124"/>
                </a:cxn>
                <a:cxn ang="0">
                  <a:pos x="25" y="187"/>
                </a:cxn>
                <a:cxn ang="0">
                  <a:pos x="12" y="224"/>
                </a:cxn>
                <a:cxn ang="0">
                  <a:pos x="29" y="311"/>
                </a:cxn>
                <a:cxn ang="0">
                  <a:pos x="50" y="403"/>
                </a:cxn>
                <a:cxn ang="0">
                  <a:pos x="72" y="396"/>
                </a:cxn>
                <a:cxn ang="0">
                  <a:pos x="90" y="390"/>
                </a:cxn>
                <a:cxn ang="0">
                  <a:pos x="150" y="406"/>
                </a:cxn>
                <a:cxn ang="0">
                  <a:pos x="171" y="469"/>
                </a:cxn>
                <a:cxn ang="0">
                  <a:pos x="157" y="458"/>
                </a:cxn>
                <a:cxn ang="0">
                  <a:pos x="157" y="495"/>
                </a:cxn>
                <a:cxn ang="0">
                  <a:pos x="122" y="519"/>
                </a:cxn>
                <a:cxn ang="0">
                  <a:pos x="81" y="554"/>
                </a:cxn>
                <a:cxn ang="0">
                  <a:pos x="41" y="588"/>
                </a:cxn>
              </a:cxnLst>
              <a:rect l="0" t="0" r="r" b="b"/>
              <a:pathLst>
                <a:path w="772" h="778">
                  <a:moveTo>
                    <a:pt x="68" y="647"/>
                  </a:moveTo>
                  <a:cubicBezTo>
                    <a:pt x="72" y="678"/>
                    <a:pt x="72" y="678"/>
                    <a:pt x="72" y="678"/>
                  </a:cubicBezTo>
                  <a:cubicBezTo>
                    <a:pt x="92" y="696"/>
                    <a:pt x="92" y="696"/>
                    <a:pt x="92" y="696"/>
                  </a:cubicBezTo>
                  <a:cubicBezTo>
                    <a:pt x="85" y="727"/>
                    <a:pt x="85" y="727"/>
                    <a:pt x="85" y="727"/>
                  </a:cubicBezTo>
                  <a:cubicBezTo>
                    <a:pt x="104" y="716"/>
                    <a:pt x="104" y="716"/>
                    <a:pt x="104" y="716"/>
                  </a:cubicBezTo>
                  <a:cubicBezTo>
                    <a:pt x="136" y="744"/>
                    <a:pt x="136" y="744"/>
                    <a:pt x="136" y="744"/>
                  </a:cubicBezTo>
                  <a:cubicBezTo>
                    <a:pt x="156" y="714"/>
                    <a:pt x="156" y="714"/>
                    <a:pt x="156" y="714"/>
                  </a:cubicBezTo>
                  <a:cubicBezTo>
                    <a:pt x="170" y="714"/>
                    <a:pt x="170" y="714"/>
                    <a:pt x="170" y="714"/>
                  </a:cubicBezTo>
                  <a:cubicBezTo>
                    <a:pt x="170" y="728"/>
                    <a:pt x="170" y="728"/>
                    <a:pt x="170" y="728"/>
                  </a:cubicBezTo>
                  <a:cubicBezTo>
                    <a:pt x="177" y="728"/>
                    <a:pt x="177" y="728"/>
                    <a:pt x="177" y="728"/>
                  </a:cubicBezTo>
                  <a:cubicBezTo>
                    <a:pt x="185" y="716"/>
                    <a:pt x="185" y="716"/>
                    <a:pt x="185" y="716"/>
                  </a:cubicBezTo>
                  <a:cubicBezTo>
                    <a:pt x="228" y="735"/>
                    <a:pt x="228" y="735"/>
                    <a:pt x="228" y="735"/>
                  </a:cubicBezTo>
                  <a:cubicBezTo>
                    <a:pt x="228" y="720"/>
                    <a:pt x="228" y="720"/>
                    <a:pt x="228" y="720"/>
                  </a:cubicBezTo>
                  <a:cubicBezTo>
                    <a:pt x="228" y="720"/>
                    <a:pt x="262" y="712"/>
                    <a:pt x="264" y="748"/>
                  </a:cubicBezTo>
                  <a:cubicBezTo>
                    <a:pt x="318" y="724"/>
                    <a:pt x="318" y="724"/>
                    <a:pt x="318" y="724"/>
                  </a:cubicBezTo>
                  <a:cubicBezTo>
                    <a:pt x="329" y="728"/>
                    <a:pt x="329" y="728"/>
                    <a:pt x="329" y="728"/>
                  </a:cubicBezTo>
                  <a:cubicBezTo>
                    <a:pt x="341" y="722"/>
                    <a:pt x="341" y="722"/>
                    <a:pt x="341" y="722"/>
                  </a:cubicBezTo>
                  <a:cubicBezTo>
                    <a:pt x="341" y="746"/>
                    <a:pt x="341" y="746"/>
                    <a:pt x="341" y="746"/>
                  </a:cubicBezTo>
                  <a:cubicBezTo>
                    <a:pt x="366" y="754"/>
                    <a:pt x="366" y="754"/>
                    <a:pt x="366" y="754"/>
                  </a:cubicBezTo>
                  <a:cubicBezTo>
                    <a:pt x="365" y="747"/>
                    <a:pt x="365" y="747"/>
                    <a:pt x="365" y="747"/>
                  </a:cubicBezTo>
                  <a:cubicBezTo>
                    <a:pt x="386" y="752"/>
                    <a:pt x="386" y="752"/>
                    <a:pt x="386" y="752"/>
                  </a:cubicBezTo>
                  <a:cubicBezTo>
                    <a:pt x="386" y="752"/>
                    <a:pt x="393" y="756"/>
                    <a:pt x="393" y="766"/>
                  </a:cubicBezTo>
                  <a:cubicBezTo>
                    <a:pt x="393" y="775"/>
                    <a:pt x="406" y="771"/>
                    <a:pt x="406" y="771"/>
                  </a:cubicBezTo>
                  <a:cubicBezTo>
                    <a:pt x="416" y="778"/>
                    <a:pt x="416" y="778"/>
                    <a:pt x="416" y="778"/>
                  </a:cubicBezTo>
                  <a:cubicBezTo>
                    <a:pt x="436" y="766"/>
                    <a:pt x="436" y="766"/>
                    <a:pt x="436" y="766"/>
                  </a:cubicBezTo>
                  <a:cubicBezTo>
                    <a:pt x="436" y="766"/>
                    <a:pt x="426" y="755"/>
                    <a:pt x="450" y="763"/>
                  </a:cubicBezTo>
                  <a:cubicBezTo>
                    <a:pt x="448" y="766"/>
                    <a:pt x="462" y="752"/>
                    <a:pt x="462" y="752"/>
                  </a:cubicBezTo>
                  <a:cubicBezTo>
                    <a:pt x="462" y="730"/>
                    <a:pt x="462" y="730"/>
                    <a:pt x="462" y="730"/>
                  </a:cubicBezTo>
                  <a:cubicBezTo>
                    <a:pt x="445" y="710"/>
                    <a:pt x="445" y="710"/>
                    <a:pt x="445" y="710"/>
                  </a:cubicBezTo>
                  <a:cubicBezTo>
                    <a:pt x="414" y="708"/>
                    <a:pt x="414" y="708"/>
                    <a:pt x="414" y="708"/>
                  </a:cubicBezTo>
                  <a:cubicBezTo>
                    <a:pt x="398" y="683"/>
                    <a:pt x="398" y="683"/>
                    <a:pt x="398" y="683"/>
                  </a:cubicBezTo>
                  <a:cubicBezTo>
                    <a:pt x="414" y="682"/>
                    <a:pt x="414" y="682"/>
                    <a:pt x="414" y="682"/>
                  </a:cubicBezTo>
                  <a:cubicBezTo>
                    <a:pt x="406" y="670"/>
                    <a:pt x="406" y="670"/>
                    <a:pt x="406" y="670"/>
                  </a:cubicBezTo>
                  <a:cubicBezTo>
                    <a:pt x="409" y="658"/>
                    <a:pt x="409" y="658"/>
                    <a:pt x="409" y="658"/>
                  </a:cubicBezTo>
                  <a:cubicBezTo>
                    <a:pt x="438" y="662"/>
                    <a:pt x="438" y="662"/>
                    <a:pt x="438" y="662"/>
                  </a:cubicBezTo>
                  <a:cubicBezTo>
                    <a:pt x="453" y="650"/>
                    <a:pt x="453" y="650"/>
                    <a:pt x="453" y="650"/>
                  </a:cubicBezTo>
                  <a:cubicBezTo>
                    <a:pt x="436" y="640"/>
                    <a:pt x="436" y="640"/>
                    <a:pt x="436" y="640"/>
                  </a:cubicBezTo>
                  <a:cubicBezTo>
                    <a:pt x="449" y="614"/>
                    <a:pt x="449" y="614"/>
                    <a:pt x="449" y="614"/>
                  </a:cubicBezTo>
                  <a:cubicBezTo>
                    <a:pt x="449" y="614"/>
                    <a:pt x="490" y="599"/>
                    <a:pt x="486" y="590"/>
                  </a:cubicBezTo>
                  <a:cubicBezTo>
                    <a:pt x="482" y="580"/>
                    <a:pt x="477" y="568"/>
                    <a:pt x="489" y="568"/>
                  </a:cubicBezTo>
                  <a:cubicBezTo>
                    <a:pt x="501" y="568"/>
                    <a:pt x="525" y="562"/>
                    <a:pt x="525" y="562"/>
                  </a:cubicBezTo>
                  <a:cubicBezTo>
                    <a:pt x="525" y="562"/>
                    <a:pt x="534" y="539"/>
                    <a:pt x="541" y="546"/>
                  </a:cubicBezTo>
                  <a:cubicBezTo>
                    <a:pt x="548" y="552"/>
                    <a:pt x="538" y="532"/>
                    <a:pt x="604" y="534"/>
                  </a:cubicBezTo>
                  <a:cubicBezTo>
                    <a:pt x="597" y="511"/>
                    <a:pt x="596" y="492"/>
                    <a:pt x="596" y="492"/>
                  </a:cubicBezTo>
                  <a:cubicBezTo>
                    <a:pt x="596" y="492"/>
                    <a:pt x="572" y="498"/>
                    <a:pt x="572" y="487"/>
                  </a:cubicBezTo>
                  <a:cubicBezTo>
                    <a:pt x="572" y="476"/>
                    <a:pt x="577" y="463"/>
                    <a:pt x="577" y="463"/>
                  </a:cubicBezTo>
                  <a:cubicBezTo>
                    <a:pt x="574" y="455"/>
                    <a:pt x="574" y="455"/>
                    <a:pt x="574" y="455"/>
                  </a:cubicBezTo>
                  <a:cubicBezTo>
                    <a:pt x="604" y="452"/>
                    <a:pt x="604" y="452"/>
                    <a:pt x="604" y="452"/>
                  </a:cubicBezTo>
                  <a:cubicBezTo>
                    <a:pt x="605" y="466"/>
                    <a:pt x="605" y="466"/>
                    <a:pt x="605" y="466"/>
                  </a:cubicBezTo>
                  <a:cubicBezTo>
                    <a:pt x="629" y="466"/>
                    <a:pt x="629" y="466"/>
                    <a:pt x="629" y="466"/>
                  </a:cubicBezTo>
                  <a:cubicBezTo>
                    <a:pt x="632" y="458"/>
                    <a:pt x="632" y="458"/>
                    <a:pt x="632" y="458"/>
                  </a:cubicBezTo>
                  <a:cubicBezTo>
                    <a:pt x="656" y="454"/>
                    <a:pt x="656" y="454"/>
                    <a:pt x="656" y="454"/>
                  </a:cubicBezTo>
                  <a:cubicBezTo>
                    <a:pt x="648" y="442"/>
                    <a:pt x="660" y="431"/>
                    <a:pt x="660" y="431"/>
                  </a:cubicBezTo>
                  <a:cubicBezTo>
                    <a:pt x="670" y="445"/>
                    <a:pt x="685" y="426"/>
                    <a:pt x="685" y="426"/>
                  </a:cubicBezTo>
                  <a:cubicBezTo>
                    <a:pt x="704" y="448"/>
                    <a:pt x="725" y="407"/>
                    <a:pt x="725" y="407"/>
                  </a:cubicBezTo>
                  <a:cubicBezTo>
                    <a:pt x="725" y="407"/>
                    <a:pt x="757" y="400"/>
                    <a:pt x="758" y="394"/>
                  </a:cubicBezTo>
                  <a:cubicBezTo>
                    <a:pt x="755" y="371"/>
                    <a:pt x="772" y="342"/>
                    <a:pt x="772" y="342"/>
                  </a:cubicBezTo>
                  <a:cubicBezTo>
                    <a:pt x="764" y="342"/>
                    <a:pt x="744" y="317"/>
                    <a:pt x="741" y="313"/>
                  </a:cubicBezTo>
                  <a:cubicBezTo>
                    <a:pt x="705" y="284"/>
                    <a:pt x="737" y="269"/>
                    <a:pt x="733" y="267"/>
                  </a:cubicBezTo>
                  <a:cubicBezTo>
                    <a:pt x="704" y="274"/>
                    <a:pt x="688" y="235"/>
                    <a:pt x="686" y="232"/>
                  </a:cubicBezTo>
                  <a:cubicBezTo>
                    <a:pt x="678" y="230"/>
                    <a:pt x="684" y="206"/>
                    <a:pt x="684" y="200"/>
                  </a:cubicBezTo>
                  <a:cubicBezTo>
                    <a:pt x="698" y="224"/>
                    <a:pt x="737" y="172"/>
                    <a:pt x="737" y="172"/>
                  </a:cubicBezTo>
                  <a:cubicBezTo>
                    <a:pt x="706" y="121"/>
                    <a:pt x="706" y="121"/>
                    <a:pt x="706" y="121"/>
                  </a:cubicBezTo>
                  <a:cubicBezTo>
                    <a:pt x="701" y="129"/>
                    <a:pt x="701" y="129"/>
                    <a:pt x="701" y="129"/>
                  </a:cubicBezTo>
                  <a:cubicBezTo>
                    <a:pt x="698" y="120"/>
                    <a:pt x="698" y="120"/>
                    <a:pt x="698" y="120"/>
                  </a:cubicBezTo>
                  <a:cubicBezTo>
                    <a:pt x="706" y="98"/>
                    <a:pt x="684" y="108"/>
                    <a:pt x="684" y="108"/>
                  </a:cubicBezTo>
                  <a:cubicBezTo>
                    <a:pt x="675" y="97"/>
                    <a:pt x="675" y="97"/>
                    <a:pt x="675" y="97"/>
                  </a:cubicBezTo>
                  <a:cubicBezTo>
                    <a:pt x="691" y="55"/>
                    <a:pt x="691" y="55"/>
                    <a:pt x="691" y="55"/>
                  </a:cubicBezTo>
                  <a:cubicBezTo>
                    <a:pt x="670" y="33"/>
                    <a:pt x="670" y="33"/>
                    <a:pt x="670" y="33"/>
                  </a:cubicBezTo>
                  <a:cubicBezTo>
                    <a:pt x="680" y="10"/>
                    <a:pt x="680" y="10"/>
                    <a:pt x="680" y="10"/>
                  </a:cubicBezTo>
                  <a:cubicBezTo>
                    <a:pt x="674" y="3"/>
                    <a:pt x="674" y="3"/>
                    <a:pt x="674" y="3"/>
                  </a:cubicBezTo>
                  <a:cubicBezTo>
                    <a:pt x="611" y="0"/>
                    <a:pt x="611" y="0"/>
                    <a:pt x="611" y="0"/>
                  </a:cubicBezTo>
                  <a:cubicBezTo>
                    <a:pt x="593" y="12"/>
                    <a:pt x="593" y="12"/>
                    <a:pt x="593" y="12"/>
                  </a:cubicBezTo>
                  <a:cubicBezTo>
                    <a:pt x="577" y="12"/>
                    <a:pt x="577" y="12"/>
                    <a:pt x="577" y="12"/>
                  </a:cubicBezTo>
                  <a:cubicBezTo>
                    <a:pt x="577" y="12"/>
                    <a:pt x="570" y="21"/>
                    <a:pt x="560" y="31"/>
                  </a:cubicBezTo>
                  <a:cubicBezTo>
                    <a:pt x="550" y="30"/>
                    <a:pt x="553" y="57"/>
                    <a:pt x="553" y="57"/>
                  </a:cubicBezTo>
                  <a:cubicBezTo>
                    <a:pt x="559" y="63"/>
                    <a:pt x="559" y="63"/>
                    <a:pt x="559" y="63"/>
                  </a:cubicBezTo>
                  <a:cubicBezTo>
                    <a:pt x="559" y="63"/>
                    <a:pt x="564" y="60"/>
                    <a:pt x="569" y="68"/>
                  </a:cubicBezTo>
                  <a:cubicBezTo>
                    <a:pt x="574" y="76"/>
                    <a:pt x="558" y="76"/>
                    <a:pt x="558" y="76"/>
                  </a:cubicBezTo>
                  <a:cubicBezTo>
                    <a:pt x="527" y="100"/>
                    <a:pt x="527" y="100"/>
                    <a:pt x="527" y="100"/>
                  </a:cubicBezTo>
                  <a:cubicBezTo>
                    <a:pt x="521" y="93"/>
                    <a:pt x="517" y="99"/>
                    <a:pt x="517" y="99"/>
                  </a:cubicBezTo>
                  <a:cubicBezTo>
                    <a:pt x="499" y="98"/>
                    <a:pt x="499" y="98"/>
                    <a:pt x="499" y="98"/>
                  </a:cubicBezTo>
                  <a:cubicBezTo>
                    <a:pt x="497" y="82"/>
                    <a:pt x="497" y="82"/>
                    <a:pt x="497" y="82"/>
                  </a:cubicBezTo>
                  <a:cubicBezTo>
                    <a:pt x="512" y="67"/>
                    <a:pt x="512" y="67"/>
                    <a:pt x="512" y="67"/>
                  </a:cubicBezTo>
                  <a:cubicBezTo>
                    <a:pt x="525" y="66"/>
                    <a:pt x="525" y="66"/>
                    <a:pt x="525" y="66"/>
                  </a:cubicBezTo>
                  <a:cubicBezTo>
                    <a:pt x="525" y="48"/>
                    <a:pt x="525" y="48"/>
                    <a:pt x="525" y="48"/>
                  </a:cubicBezTo>
                  <a:cubicBezTo>
                    <a:pt x="534" y="41"/>
                    <a:pt x="535" y="34"/>
                    <a:pt x="534" y="29"/>
                  </a:cubicBezTo>
                  <a:cubicBezTo>
                    <a:pt x="477" y="88"/>
                    <a:pt x="477" y="88"/>
                    <a:pt x="477" y="88"/>
                  </a:cubicBezTo>
                  <a:cubicBezTo>
                    <a:pt x="445" y="90"/>
                    <a:pt x="445" y="90"/>
                    <a:pt x="445" y="90"/>
                  </a:cubicBezTo>
                  <a:cubicBezTo>
                    <a:pt x="441" y="74"/>
                    <a:pt x="441" y="74"/>
                    <a:pt x="441" y="74"/>
                  </a:cubicBezTo>
                  <a:cubicBezTo>
                    <a:pt x="441" y="74"/>
                    <a:pt x="421" y="71"/>
                    <a:pt x="425" y="64"/>
                  </a:cubicBezTo>
                  <a:cubicBezTo>
                    <a:pt x="408" y="103"/>
                    <a:pt x="385" y="92"/>
                    <a:pt x="385" y="92"/>
                  </a:cubicBezTo>
                  <a:cubicBezTo>
                    <a:pt x="388" y="79"/>
                    <a:pt x="388" y="79"/>
                    <a:pt x="388" y="79"/>
                  </a:cubicBezTo>
                  <a:cubicBezTo>
                    <a:pt x="364" y="68"/>
                    <a:pt x="364" y="68"/>
                    <a:pt x="364" y="68"/>
                  </a:cubicBezTo>
                  <a:cubicBezTo>
                    <a:pt x="364" y="55"/>
                    <a:pt x="364" y="55"/>
                    <a:pt x="364" y="55"/>
                  </a:cubicBezTo>
                  <a:cubicBezTo>
                    <a:pt x="350" y="50"/>
                    <a:pt x="350" y="50"/>
                    <a:pt x="350" y="50"/>
                  </a:cubicBezTo>
                  <a:cubicBezTo>
                    <a:pt x="352" y="36"/>
                    <a:pt x="352" y="36"/>
                    <a:pt x="352" y="36"/>
                  </a:cubicBezTo>
                  <a:cubicBezTo>
                    <a:pt x="344" y="35"/>
                    <a:pt x="336" y="34"/>
                    <a:pt x="334" y="34"/>
                  </a:cubicBezTo>
                  <a:cubicBezTo>
                    <a:pt x="330" y="34"/>
                    <a:pt x="329" y="22"/>
                    <a:pt x="326" y="16"/>
                  </a:cubicBezTo>
                  <a:cubicBezTo>
                    <a:pt x="324" y="11"/>
                    <a:pt x="309" y="24"/>
                    <a:pt x="296" y="24"/>
                  </a:cubicBezTo>
                  <a:cubicBezTo>
                    <a:pt x="282" y="24"/>
                    <a:pt x="265" y="18"/>
                    <a:pt x="265" y="18"/>
                  </a:cubicBezTo>
                  <a:cubicBezTo>
                    <a:pt x="237" y="126"/>
                    <a:pt x="237" y="126"/>
                    <a:pt x="237" y="126"/>
                  </a:cubicBezTo>
                  <a:cubicBezTo>
                    <a:pt x="226" y="124"/>
                    <a:pt x="226" y="124"/>
                    <a:pt x="226" y="124"/>
                  </a:cubicBezTo>
                  <a:cubicBezTo>
                    <a:pt x="225" y="108"/>
                    <a:pt x="225" y="108"/>
                    <a:pt x="225" y="108"/>
                  </a:cubicBezTo>
                  <a:cubicBezTo>
                    <a:pt x="217" y="100"/>
                    <a:pt x="217" y="100"/>
                    <a:pt x="217" y="100"/>
                  </a:cubicBezTo>
                  <a:cubicBezTo>
                    <a:pt x="217" y="100"/>
                    <a:pt x="218" y="90"/>
                    <a:pt x="208" y="86"/>
                  </a:cubicBezTo>
                  <a:cubicBezTo>
                    <a:pt x="197" y="82"/>
                    <a:pt x="198" y="98"/>
                    <a:pt x="193" y="98"/>
                  </a:cubicBezTo>
                  <a:cubicBezTo>
                    <a:pt x="188" y="98"/>
                    <a:pt x="188" y="88"/>
                    <a:pt x="188" y="88"/>
                  </a:cubicBezTo>
                  <a:cubicBezTo>
                    <a:pt x="173" y="100"/>
                    <a:pt x="173" y="100"/>
                    <a:pt x="173" y="100"/>
                  </a:cubicBezTo>
                  <a:cubicBezTo>
                    <a:pt x="164" y="87"/>
                    <a:pt x="164" y="87"/>
                    <a:pt x="164" y="87"/>
                  </a:cubicBezTo>
                  <a:cubicBezTo>
                    <a:pt x="152" y="88"/>
                    <a:pt x="152" y="88"/>
                    <a:pt x="152" y="88"/>
                  </a:cubicBezTo>
                  <a:cubicBezTo>
                    <a:pt x="148" y="127"/>
                    <a:pt x="148" y="127"/>
                    <a:pt x="148" y="127"/>
                  </a:cubicBezTo>
                  <a:cubicBezTo>
                    <a:pt x="148" y="127"/>
                    <a:pt x="137" y="128"/>
                    <a:pt x="132" y="128"/>
                  </a:cubicBezTo>
                  <a:cubicBezTo>
                    <a:pt x="126" y="128"/>
                    <a:pt x="132" y="135"/>
                    <a:pt x="125" y="136"/>
                  </a:cubicBezTo>
                  <a:cubicBezTo>
                    <a:pt x="120" y="137"/>
                    <a:pt x="113" y="129"/>
                    <a:pt x="110" y="125"/>
                  </a:cubicBezTo>
                  <a:cubicBezTo>
                    <a:pt x="111" y="127"/>
                    <a:pt x="111" y="129"/>
                    <a:pt x="101" y="128"/>
                  </a:cubicBezTo>
                  <a:cubicBezTo>
                    <a:pt x="86" y="127"/>
                    <a:pt x="86" y="126"/>
                    <a:pt x="86" y="126"/>
                  </a:cubicBezTo>
                  <a:cubicBezTo>
                    <a:pt x="62" y="132"/>
                    <a:pt x="62" y="132"/>
                    <a:pt x="62" y="132"/>
                  </a:cubicBezTo>
                  <a:cubicBezTo>
                    <a:pt x="56" y="119"/>
                    <a:pt x="56" y="119"/>
                    <a:pt x="56" y="119"/>
                  </a:cubicBezTo>
                  <a:cubicBezTo>
                    <a:pt x="42" y="119"/>
                    <a:pt x="42" y="119"/>
                    <a:pt x="42" y="119"/>
                  </a:cubicBezTo>
                  <a:cubicBezTo>
                    <a:pt x="41" y="100"/>
                    <a:pt x="41" y="100"/>
                    <a:pt x="41" y="100"/>
                  </a:cubicBezTo>
                  <a:cubicBezTo>
                    <a:pt x="16" y="111"/>
                    <a:pt x="16" y="111"/>
                    <a:pt x="16" y="111"/>
                  </a:cubicBezTo>
                  <a:cubicBezTo>
                    <a:pt x="21" y="124"/>
                    <a:pt x="21" y="124"/>
                    <a:pt x="21" y="124"/>
                  </a:cubicBezTo>
                  <a:cubicBezTo>
                    <a:pt x="17" y="139"/>
                    <a:pt x="17" y="139"/>
                    <a:pt x="17" y="139"/>
                  </a:cubicBezTo>
                  <a:cubicBezTo>
                    <a:pt x="24" y="152"/>
                    <a:pt x="24" y="152"/>
                    <a:pt x="24" y="152"/>
                  </a:cubicBezTo>
                  <a:cubicBezTo>
                    <a:pt x="25" y="187"/>
                    <a:pt x="25" y="187"/>
                    <a:pt x="25" y="187"/>
                  </a:cubicBezTo>
                  <a:cubicBezTo>
                    <a:pt x="0" y="196"/>
                    <a:pt x="0" y="196"/>
                    <a:pt x="0" y="196"/>
                  </a:cubicBezTo>
                  <a:cubicBezTo>
                    <a:pt x="0" y="208"/>
                    <a:pt x="0" y="208"/>
                    <a:pt x="0" y="208"/>
                  </a:cubicBezTo>
                  <a:cubicBezTo>
                    <a:pt x="12" y="224"/>
                    <a:pt x="12" y="224"/>
                    <a:pt x="12" y="224"/>
                  </a:cubicBezTo>
                  <a:cubicBezTo>
                    <a:pt x="4" y="227"/>
                    <a:pt x="4" y="227"/>
                    <a:pt x="4" y="227"/>
                  </a:cubicBezTo>
                  <a:cubicBezTo>
                    <a:pt x="2" y="255"/>
                    <a:pt x="2" y="255"/>
                    <a:pt x="2" y="255"/>
                  </a:cubicBezTo>
                  <a:cubicBezTo>
                    <a:pt x="2" y="255"/>
                    <a:pt x="25" y="291"/>
                    <a:pt x="29" y="311"/>
                  </a:cubicBezTo>
                  <a:cubicBezTo>
                    <a:pt x="34" y="311"/>
                    <a:pt x="74" y="347"/>
                    <a:pt x="62" y="367"/>
                  </a:cubicBezTo>
                  <a:cubicBezTo>
                    <a:pt x="60" y="374"/>
                    <a:pt x="46" y="380"/>
                    <a:pt x="46" y="380"/>
                  </a:cubicBezTo>
                  <a:cubicBezTo>
                    <a:pt x="50" y="403"/>
                    <a:pt x="50" y="403"/>
                    <a:pt x="50" y="403"/>
                  </a:cubicBezTo>
                  <a:cubicBezTo>
                    <a:pt x="56" y="384"/>
                    <a:pt x="56" y="384"/>
                    <a:pt x="56" y="384"/>
                  </a:cubicBezTo>
                  <a:cubicBezTo>
                    <a:pt x="68" y="384"/>
                    <a:pt x="68" y="384"/>
                    <a:pt x="68" y="384"/>
                  </a:cubicBezTo>
                  <a:cubicBezTo>
                    <a:pt x="72" y="396"/>
                    <a:pt x="72" y="396"/>
                    <a:pt x="72" y="396"/>
                  </a:cubicBezTo>
                  <a:cubicBezTo>
                    <a:pt x="82" y="391"/>
                    <a:pt x="82" y="391"/>
                    <a:pt x="82" y="391"/>
                  </a:cubicBezTo>
                  <a:cubicBezTo>
                    <a:pt x="88" y="398"/>
                    <a:pt x="88" y="398"/>
                    <a:pt x="88" y="398"/>
                  </a:cubicBezTo>
                  <a:cubicBezTo>
                    <a:pt x="90" y="390"/>
                    <a:pt x="90" y="390"/>
                    <a:pt x="90" y="390"/>
                  </a:cubicBezTo>
                  <a:cubicBezTo>
                    <a:pt x="90" y="390"/>
                    <a:pt x="120" y="375"/>
                    <a:pt x="126" y="384"/>
                  </a:cubicBezTo>
                  <a:cubicBezTo>
                    <a:pt x="133" y="394"/>
                    <a:pt x="158" y="391"/>
                    <a:pt x="145" y="402"/>
                  </a:cubicBezTo>
                  <a:cubicBezTo>
                    <a:pt x="150" y="406"/>
                    <a:pt x="150" y="406"/>
                    <a:pt x="150" y="406"/>
                  </a:cubicBezTo>
                  <a:cubicBezTo>
                    <a:pt x="157" y="424"/>
                    <a:pt x="157" y="424"/>
                    <a:pt x="157" y="424"/>
                  </a:cubicBezTo>
                  <a:cubicBezTo>
                    <a:pt x="157" y="424"/>
                    <a:pt x="188" y="403"/>
                    <a:pt x="174" y="452"/>
                  </a:cubicBezTo>
                  <a:cubicBezTo>
                    <a:pt x="170" y="464"/>
                    <a:pt x="170" y="468"/>
                    <a:pt x="171" y="469"/>
                  </a:cubicBezTo>
                  <a:cubicBezTo>
                    <a:pt x="172" y="470"/>
                    <a:pt x="172" y="470"/>
                    <a:pt x="172" y="470"/>
                  </a:cubicBezTo>
                  <a:cubicBezTo>
                    <a:pt x="172" y="470"/>
                    <a:pt x="171" y="470"/>
                    <a:pt x="171" y="469"/>
                  </a:cubicBezTo>
                  <a:cubicBezTo>
                    <a:pt x="157" y="458"/>
                    <a:pt x="157" y="458"/>
                    <a:pt x="157" y="458"/>
                  </a:cubicBezTo>
                  <a:cubicBezTo>
                    <a:pt x="160" y="470"/>
                    <a:pt x="160" y="470"/>
                    <a:pt x="160" y="470"/>
                  </a:cubicBezTo>
                  <a:cubicBezTo>
                    <a:pt x="160" y="470"/>
                    <a:pt x="150" y="475"/>
                    <a:pt x="150" y="479"/>
                  </a:cubicBezTo>
                  <a:cubicBezTo>
                    <a:pt x="150" y="483"/>
                    <a:pt x="157" y="495"/>
                    <a:pt x="157" y="495"/>
                  </a:cubicBezTo>
                  <a:cubicBezTo>
                    <a:pt x="142" y="495"/>
                    <a:pt x="142" y="495"/>
                    <a:pt x="142" y="495"/>
                  </a:cubicBezTo>
                  <a:cubicBezTo>
                    <a:pt x="142" y="515"/>
                    <a:pt x="142" y="515"/>
                    <a:pt x="142" y="515"/>
                  </a:cubicBezTo>
                  <a:cubicBezTo>
                    <a:pt x="122" y="519"/>
                    <a:pt x="122" y="519"/>
                    <a:pt x="122" y="519"/>
                  </a:cubicBezTo>
                  <a:cubicBezTo>
                    <a:pt x="110" y="547"/>
                    <a:pt x="110" y="547"/>
                    <a:pt x="110" y="547"/>
                  </a:cubicBezTo>
                  <a:cubicBezTo>
                    <a:pt x="82" y="548"/>
                    <a:pt x="82" y="548"/>
                    <a:pt x="82" y="548"/>
                  </a:cubicBezTo>
                  <a:cubicBezTo>
                    <a:pt x="81" y="554"/>
                    <a:pt x="81" y="554"/>
                    <a:pt x="81" y="554"/>
                  </a:cubicBezTo>
                  <a:cubicBezTo>
                    <a:pt x="62" y="563"/>
                    <a:pt x="62" y="563"/>
                    <a:pt x="62" y="563"/>
                  </a:cubicBezTo>
                  <a:cubicBezTo>
                    <a:pt x="62" y="579"/>
                    <a:pt x="62" y="579"/>
                    <a:pt x="62" y="579"/>
                  </a:cubicBezTo>
                  <a:cubicBezTo>
                    <a:pt x="41" y="588"/>
                    <a:pt x="41" y="588"/>
                    <a:pt x="41" y="588"/>
                  </a:cubicBezTo>
                  <a:cubicBezTo>
                    <a:pt x="54" y="640"/>
                    <a:pt x="54" y="640"/>
                    <a:pt x="54" y="640"/>
                  </a:cubicBezTo>
                  <a:lnTo>
                    <a:pt x="68" y="647"/>
                  </a:lnTo>
                  <a:close/>
                </a:path>
              </a:pathLst>
            </a:custGeom>
            <a:solidFill>
              <a:srgbClr val="F4F3F0"/>
            </a:solid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grpSp>
      <p:pic>
        <p:nvPicPr>
          <p:cNvPr id="59" name="Graphique 58" descr="Utilisateur">
            <a:extLst>
              <a:ext uri="{FF2B5EF4-FFF2-40B4-BE49-F238E27FC236}">
                <a16:creationId xmlns:a16="http://schemas.microsoft.com/office/drawing/2014/main" id="{BCF539CA-033C-4E53-AA11-C9F1D57FD99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62600" y="918286"/>
            <a:ext cx="343642" cy="343642"/>
          </a:xfrm>
          <a:prstGeom prst="rect">
            <a:avLst/>
          </a:prstGeom>
        </p:spPr>
      </p:pic>
      <p:pic>
        <p:nvPicPr>
          <p:cNvPr id="60" name="Graphique 59" descr="Enfants">
            <a:extLst>
              <a:ext uri="{FF2B5EF4-FFF2-40B4-BE49-F238E27FC236}">
                <a16:creationId xmlns:a16="http://schemas.microsoft.com/office/drawing/2014/main" id="{D039143E-4976-4C18-9C94-0BA53EE64FF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82720" y="929748"/>
            <a:ext cx="357605" cy="357605"/>
          </a:xfrm>
          <a:prstGeom prst="rect">
            <a:avLst/>
          </a:prstGeom>
        </p:spPr>
      </p:pic>
      <p:pic>
        <p:nvPicPr>
          <p:cNvPr id="61" name="Graphique 60" descr="Hôpital">
            <a:extLst>
              <a:ext uri="{FF2B5EF4-FFF2-40B4-BE49-F238E27FC236}">
                <a16:creationId xmlns:a16="http://schemas.microsoft.com/office/drawing/2014/main" id="{5A6293E0-A850-432A-AEC2-55244F91F50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01315" y="898323"/>
            <a:ext cx="377667" cy="377667"/>
          </a:xfrm>
          <a:prstGeom prst="rect">
            <a:avLst/>
          </a:prstGeom>
        </p:spPr>
      </p:pic>
      <p:sp>
        <p:nvSpPr>
          <p:cNvPr id="71" name="ZoneTexte 70">
            <a:extLst>
              <a:ext uri="{FF2B5EF4-FFF2-40B4-BE49-F238E27FC236}">
                <a16:creationId xmlns:a16="http://schemas.microsoft.com/office/drawing/2014/main" id="{95275340-2C5E-4AB7-8968-428537133200}"/>
              </a:ext>
            </a:extLst>
          </p:cNvPr>
          <p:cNvSpPr txBox="1"/>
          <p:nvPr/>
        </p:nvSpPr>
        <p:spPr>
          <a:xfrm>
            <a:off x="3506076" y="959276"/>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ublic cible</a:t>
            </a:r>
          </a:p>
          <a:p>
            <a:pPr marL="171450" indent="-171450">
              <a:buFontTx/>
              <a:buChar char="-"/>
            </a:pPr>
            <a:endParaRPr lang="fr-FR" sz="1200">
              <a:solidFill>
                <a:srgbClr val="5F5F5F"/>
              </a:solidFill>
              <a:latin typeface="Tahoma"/>
            </a:endParaRPr>
          </a:p>
        </p:txBody>
      </p:sp>
      <p:sp>
        <p:nvSpPr>
          <p:cNvPr id="72" name="Rectangle 71">
            <a:extLst>
              <a:ext uri="{FF2B5EF4-FFF2-40B4-BE49-F238E27FC236}">
                <a16:creationId xmlns:a16="http://schemas.microsoft.com/office/drawing/2014/main" id="{CF33C1E5-DDE1-4156-A8BA-4E287E034C81}"/>
              </a:ext>
            </a:extLst>
          </p:cNvPr>
          <p:cNvSpPr/>
          <p:nvPr/>
        </p:nvSpPr>
        <p:spPr>
          <a:xfrm>
            <a:off x="3041222" y="920243"/>
            <a:ext cx="2566378"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3" name="Rectangle 72">
            <a:extLst>
              <a:ext uri="{FF2B5EF4-FFF2-40B4-BE49-F238E27FC236}">
                <a16:creationId xmlns:a16="http://schemas.microsoft.com/office/drawing/2014/main" id="{E85DFD2B-8AE0-4AEF-971A-2B7DB41E3803}"/>
              </a:ext>
            </a:extLst>
          </p:cNvPr>
          <p:cNvSpPr/>
          <p:nvPr/>
        </p:nvSpPr>
        <p:spPr>
          <a:xfrm>
            <a:off x="8329059" y="918287"/>
            <a:ext cx="2630482" cy="1028237"/>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4" name="ZoneTexte 73">
            <a:extLst>
              <a:ext uri="{FF2B5EF4-FFF2-40B4-BE49-F238E27FC236}">
                <a16:creationId xmlns:a16="http://schemas.microsoft.com/office/drawing/2014/main" id="{77576367-5766-4A85-8CC6-3A325240D7B8}"/>
              </a:ext>
            </a:extLst>
          </p:cNvPr>
          <p:cNvSpPr txBox="1"/>
          <p:nvPr/>
        </p:nvSpPr>
        <p:spPr>
          <a:xfrm>
            <a:off x="8699428" y="963457"/>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ortage / gestion du projet </a:t>
            </a:r>
          </a:p>
          <a:p>
            <a:pPr marL="171450" indent="-171450">
              <a:buFontTx/>
              <a:buChar char="-"/>
            </a:pPr>
            <a:endParaRPr lang="fr-FR" sz="1200">
              <a:solidFill>
                <a:srgbClr val="5F5F5F"/>
              </a:solidFill>
              <a:latin typeface="Tahoma"/>
            </a:endParaRPr>
          </a:p>
        </p:txBody>
      </p:sp>
      <p:sp>
        <p:nvSpPr>
          <p:cNvPr id="76" name="Rectangle 75">
            <a:extLst>
              <a:ext uri="{FF2B5EF4-FFF2-40B4-BE49-F238E27FC236}">
                <a16:creationId xmlns:a16="http://schemas.microsoft.com/office/drawing/2014/main" id="{DEA056E4-366B-4B6E-AD2A-2A7DACC2777B}"/>
              </a:ext>
            </a:extLst>
          </p:cNvPr>
          <p:cNvSpPr/>
          <p:nvPr/>
        </p:nvSpPr>
        <p:spPr>
          <a:xfrm>
            <a:off x="5657842" y="920242"/>
            <a:ext cx="2630482" cy="1026282"/>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7" name="ZoneTexte 76">
            <a:extLst>
              <a:ext uri="{FF2B5EF4-FFF2-40B4-BE49-F238E27FC236}">
                <a16:creationId xmlns:a16="http://schemas.microsoft.com/office/drawing/2014/main" id="{9B3B4E4E-968C-4AC1-A916-2CB2CBC81062}"/>
              </a:ext>
            </a:extLst>
          </p:cNvPr>
          <p:cNvSpPr txBox="1"/>
          <p:nvPr/>
        </p:nvSpPr>
        <p:spPr>
          <a:xfrm>
            <a:off x="6045885" y="987123"/>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Typologie de structure</a:t>
            </a:r>
          </a:p>
          <a:p>
            <a:pPr marL="171450" indent="-171450">
              <a:buFontTx/>
              <a:buChar char="-"/>
            </a:pPr>
            <a:endParaRPr lang="fr-FR" sz="1200">
              <a:solidFill>
                <a:srgbClr val="5F5F5F"/>
              </a:solidFill>
              <a:latin typeface="Tahoma"/>
            </a:endParaRPr>
          </a:p>
        </p:txBody>
      </p:sp>
      <p:sp>
        <p:nvSpPr>
          <p:cNvPr id="78" name="ZoneTexte 77">
            <a:extLst>
              <a:ext uri="{FF2B5EF4-FFF2-40B4-BE49-F238E27FC236}">
                <a16:creationId xmlns:a16="http://schemas.microsoft.com/office/drawing/2014/main" id="{96B574C6-E211-4064-9944-5448EE32BE54}"/>
              </a:ext>
            </a:extLst>
          </p:cNvPr>
          <p:cNvSpPr txBox="1"/>
          <p:nvPr/>
        </p:nvSpPr>
        <p:spPr>
          <a:xfrm>
            <a:off x="2992778" y="1229168"/>
            <a:ext cx="2660644" cy="900246"/>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pPr>
            <a:r>
              <a:rPr lang="fr-FR" sz="1050">
                <a:solidFill>
                  <a:srgbClr val="5F5F5F"/>
                </a:solidFill>
                <a:latin typeface="Tahoma"/>
              </a:rPr>
              <a:t>Personnes âgées dépendantes</a:t>
            </a:r>
          </a:p>
          <a:p>
            <a:pPr marL="171450" indent="-171450">
              <a:buClr>
                <a:srgbClr val="503078"/>
              </a:buClr>
              <a:buFont typeface="Tahoma" panose="020B0604030504040204" pitchFamily="34" charset="0"/>
              <a:buChar char="⁄"/>
            </a:pPr>
            <a:r>
              <a:rPr lang="fr-FR" sz="1050">
                <a:solidFill>
                  <a:srgbClr val="5F5F5F"/>
                </a:solidFill>
                <a:latin typeface="Tahoma"/>
              </a:rPr>
              <a:t>Personnes en situation de handicap</a:t>
            </a:r>
          </a:p>
          <a:p>
            <a:pPr marL="171450" indent="-171450">
              <a:buClr>
                <a:srgbClr val="503078"/>
              </a:buClr>
              <a:buFont typeface="Tahoma" panose="020B0604030504040204" pitchFamily="34" charset="0"/>
              <a:buChar char="⁄"/>
            </a:pPr>
            <a:r>
              <a:rPr lang="fr-FR" sz="1050">
                <a:solidFill>
                  <a:srgbClr val="5F5F5F"/>
                </a:solidFill>
                <a:latin typeface="Tahoma"/>
              </a:rPr>
              <a:t>Publics des ESMS (séjours de rupture)</a:t>
            </a:r>
          </a:p>
          <a:p>
            <a:pPr marL="171450" indent="-171450">
              <a:buClr>
                <a:srgbClr val="503078"/>
              </a:buClr>
              <a:buFont typeface="Tahoma" panose="020B0604030504040204" pitchFamily="34" charset="0"/>
              <a:buChar char="⁄"/>
            </a:pPr>
            <a:r>
              <a:rPr lang="fr-FR" sz="1050">
                <a:solidFill>
                  <a:srgbClr val="5F5F5F"/>
                </a:solidFill>
                <a:latin typeface="Tahoma"/>
              </a:rPr>
              <a:t>Leurs aidants</a:t>
            </a:r>
          </a:p>
          <a:p>
            <a:pPr marL="171450" indent="-171450">
              <a:buClr>
                <a:srgbClr val="503078"/>
              </a:buClr>
              <a:buFont typeface="Tahoma" panose="020B0604030504040204" pitchFamily="34" charset="0"/>
              <a:buChar char="⁄"/>
            </a:pPr>
            <a:endParaRPr lang="fr-FR" sz="1050">
              <a:solidFill>
                <a:srgbClr val="5F5F5F"/>
              </a:solidFill>
              <a:latin typeface="Tahoma"/>
            </a:endParaRPr>
          </a:p>
        </p:txBody>
      </p:sp>
      <p:sp>
        <p:nvSpPr>
          <p:cNvPr id="79" name="ZoneTexte 78">
            <a:extLst>
              <a:ext uri="{FF2B5EF4-FFF2-40B4-BE49-F238E27FC236}">
                <a16:creationId xmlns:a16="http://schemas.microsoft.com/office/drawing/2014/main" id="{201EC015-8921-47D5-8EEB-4F8E037742E5}"/>
              </a:ext>
            </a:extLst>
          </p:cNvPr>
          <p:cNvSpPr txBox="1"/>
          <p:nvPr/>
        </p:nvSpPr>
        <p:spPr>
          <a:xfrm>
            <a:off x="5633852" y="1228238"/>
            <a:ext cx="2734774" cy="595356"/>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Etablissement de tourisme social (labellisé Tourisme &amp; Handicaps sur les 4 familles de déficiences)</a:t>
            </a:r>
          </a:p>
        </p:txBody>
      </p:sp>
      <p:sp>
        <p:nvSpPr>
          <p:cNvPr id="80" name="ZoneTexte 79">
            <a:extLst>
              <a:ext uri="{FF2B5EF4-FFF2-40B4-BE49-F238E27FC236}">
                <a16:creationId xmlns:a16="http://schemas.microsoft.com/office/drawing/2014/main" id="{D486C829-4B6E-4981-9B49-72041AC2853F}"/>
              </a:ext>
            </a:extLst>
          </p:cNvPr>
          <p:cNvSpPr txBox="1"/>
          <p:nvPr/>
        </p:nvSpPr>
        <p:spPr>
          <a:xfrm>
            <a:off x="8270852" y="1233161"/>
            <a:ext cx="2770132" cy="595356"/>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Mairie de Laruns, Association Française pour le Développement et la Promotion des Solutions de Répit (AFDPSR) </a:t>
            </a:r>
          </a:p>
        </p:txBody>
      </p:sp>
      <p:sp>
        <p:nvSpPr>
          <p:cNvPr id="139" name="Rectangle 138">
            <a:extLst>
              <a:ext uri="{FF2B5EF4-FFF2-40B4-BE49-F238E27FC236}">
                <a16:creationId xmlns:a16="http://schemas.microsoft.com/office/drawing/2014/main" id="{23DA1D13-F6FC-42CC-8CBC-A6643FFAA543}"/>
              </a:ext>
            </a:extLst>
          </p:cNvPr>
          <p:cNvSpPr/>
          <p:nvPr/>
        </p:nvSpPr>
        <p:spPr>
          <a:xfrm>
            <a:off x="1254009" y="923574"/>
            <a:ext cx="1728514"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81" name="ZoneTexte 80">
            <a:extLst>
              <a:ext uri="{FF2B5EF4-FFF2-40B4-BE49-F238E27FC236}">
                <a16:creationId xmlns:a16="http://schemas.microsoft.com/office/drawing/2014/main" id="{B6B02541-4955-4889-BA74-FB46F4880E07}"/>
              </a:ext>
            </a:extLst>
          </p:cNvPr>
          <p:cNvSpPr txBox="1"/>
          <p:nvPr/>
        </p:nvSpPr>
        <p:spPr>
          <a:xfrm>
            <a:off x="1154234" y="994888"/>
            <a:ext cx="1669594" cy="861774"/>
          </a:xfrm>
          <a:prstGeom prst="rect">
            <a:avLst/>
          </a:prstGeom>
          <a:noFill/>
        </p:spPr>
        <p:txBody>
          <a:bodyPr wrap="square" lIns="108000" rIns="108000" rtlCol="0">
            <a:spAutoFit/>
          </a:bodyPr>
          <a:lstStyle/>
          <a:p>
            <a:endParaRPr lang="fr-FR" sz="1000">
              <a:solidFill>
                <a:srgbClr val="5F5F5F"/>
              </a:solidFill>
              <a:latin typeface="Tahoma"/>
            </a:endParaRPr>
          </a:p>
          <a:p>
            <a:pPr algn="ctr"/>
            <a:r>
              <a:rPr lang="fr-FR" sz="1000" b="1">
                <a:solidFill>
                  <a:srgbClr val="503078"/>
                </a:solidFill>
                <a:latin typeface="Tahoma"/>
              </a:rPr>
              <a:t>Centre de Répit</a:t>
            </a:r>
          </a:p>
          <a:p>
            <a:pPr algn="ctr"/>
            <a:r>
              <a:rPr lang="fr-FR" sz="1000">
                <a:solidFill>
                  <a:srgbClr val="5F5F5F"/>
                </a:solidFill>
                <a:latin typeface="Tahoma"/>
              </a:rPr>
              <a:t>Laruns / </a:t>
            </a:r>
            <a:r>
              <a:rPr lang="fr-FR" sz="1000" err="1">
                <a:solidFill>
                  <a:srgbClr val="5F5F5F"/>
                </a:solidFill>
                <a:latin typeface="Tahoma"/>
              </a:rPr>
              <a:t>Eaux-bonnes</a:t>
            </a:r>
            <a:r>
              <a:rPr lang="fr-FR" sz="1000">
                <a:solidFill>
                  <a:srgbClr val="5F5F5F"/>
                </a:solidFill>
                <a:latin typeface="Tahoma"/>
              </a:rPr>
              <a:t> / Eaux-Chaudes (64)</a:t>
            </a:r>
          </a:p>
          <a:p>
            <a:endParaRPr lang="fr-FR" sz="1000">
              <a:solidFill>
                <a:srgbClr val="5F5F5F"/>
              </a:solidFill>
              <a:latin typeface="Tahoma"/>
            </a:endParaRPr>
          </a:p>
        </p:txBody>
      </p:sp>
      <p:pic>
        <p:nvPicPr>
          <p:cNvPr id="82" name="Location-White-Background">
            <a:extLst>
              <a:ext uri="{FF2B5EF4-FFF2-40B4-BE49-F238E27FC236}">
                <a16:creationId xmlns:a16="http://schemas.microsoft.com/office/drawing/2014/main" id="{23FE517D-84D3-4474-804F-DE6049B1856D}"/>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1750884" y="1622432"/>
            <a:ext cx="242960" cy="227494"/>
          </a:xfrm>
          <a:prstGeom prst="rect">
            <a:avLst/>
          </a:prstGeom>
        </p:spPr>
      </p:pic>
      <p:sp>
        <p:nvSpPr>
          <p:cNvPr id="84" name="ZoneTexte 83">
            <a:extLst>
              <a:ext uri="{FF2B5EF4-FFF2-40B4-BE49-F238E27FC236}">
                <a16:creationId xmlns:a16="http://schemas.microsoft.com/office/drawing/2014/main" id="{BF0E9657-5DB1-4DA9-A478-DFC68D101928}"/>
              </a:ext>
            </a:extLst>
          </p:cNvPr>
          <p:cNvSpPr txBox="1"/>
          <p:nvPr/>
        </p:nvSpPr>
        <p:spPr>
          <a:xfrm>
            <a:off x="4225868" y="-2249762"/>
            <a:ext cx="5065294" cy="954107"/>
          </a:xfrm>
          <a:prstGeom prst="rect">
            <a:avLst/>
          </a:prstGeom>
          <a:noFill/>
        </p:spPr>
        <p:txBody>
          <a:bodyPr wrap="square">
            <a:spAutoFit/>
          </a:bodyPr>
          <a:lstStyle/>
          <a:p>
            <a:pPr marL="228600" indent="-228600">
              <a:buFontTx/>
              <a:buAutoNum type="arabicPeriod"/>
              <a:defRPr/>
            </a:pPr>
            <a:r>
              <a:rPr lang="fr-FR" sz="800">
                <a:solidFill>
                  <a:srgbClr val="5F5F5F"/>
                </a:solidFill>
                <a:latin typeface="Tahoma"/>
              </a:rPr>
              <a:t>Location d’un meublé de tourisme adapté (normes PMR, location de matériel médical sur ordonnance, passage de soins infirmiers, d’aide à domicile, etc.) </a:t>
            </a:r>
          </a:p>
          <a:p>
            <a:pPr marL="228600" indent="-228600">
              <a:buFontTx/>
              <a:buAutoNum type="arabicPeriod"/>
              <a:defRPr/>
            </a:pPr>
            <a:r>
              <a:rPr lang="fr-FR" sz="800">
                <a:solidFill>
                  <a:srgbClr val="5F5F5F"/>
                </a:solidFill>
                <a:latin typeface="Tahoma"/>
              </a:rPr>
              <a:t>Prestations complémentaires adaptées : activités adaptées et tarifs préférentiels négociés par Le Laboratoire de Répit. Création d’un planning sur-mesure, aide aux réservations. </a:t>
            </a:r>
          </a:p>
          <a:p>
            <a:pPr marL="228600" indent="-228600">
              <a:buFontTx/>
              <a:buAutoNum type="arabicPeriod"/>
              <a:defRPr/>
            </a:pPr>
            <a:r>
              <a:rPr lang="fr-FR" sz="800">
                <a:solidFill>
                  <a:srgbClr val="5F5F5F"/>
                </a:solidFill>
                <a:latin typeface="Tahoma"/>
              </a:rPr>
              <a:t>Relayage : professionnel qui accompagne la personne en situation de dépendance pour des séjours de répit familiaux. (Le Laboratoire de répit dispose d’un vivier de relayeurs sélectionnés et prérecrutés). </a:t>
            </a:r>
          </a:p>
          <a:p>
            <a:pPr marL="228600" indent="-228600">
              <a:buFontTx/>
              <a:buAutoNum type="arabicPeriod"/>
              <a:defRPr/>
            </a:pPr>
            <a:r>
              <a:rPr lang="fr-FR" sz="800">
                <a:solidFill>
                  <a:srgbClr val="5F5F5F"/>
                </a:solidFill>
                <a:latin typeface="Tahoma"/>
              </a:rPr>
              <a:t>Création d’une offre sur-mesure. </a:t>
            </a:r>
          </a:p>
        </p:txBody>
      </p:sp>
      <p:sp>
        <p:nvSpPr>
          <p:cNvPr id="83" name="ZoneTexte 82">
            <a:extLst>
              <a:ext uri="{FF2B5EF4-FFF2-40B4-BE49-F238E27FC236}">
                <a16:creationId xmlns:a16="http://schemas.microsoft.com/office/drawing/2014/main" id="{462E4911-61DA-42AA-B720-1C6A9BEA1717}"/>
              </a:ext>
            </a:extLst>
          </p:cNvPr>
          <p:cNvSpPr txBox="1"/>
          <p:nvPr/>
        </p:nvSpPr>
        <p:spPr>
          <a:xfrm>
            <a:off x="1254009" y="2016706"/>
            <a:ext cx="5982318" cy="307777"/>
          </a:xfrm>
          <a:prstGeom prst="rect">
            <a:avLst/>
          </a:prstGeom>
          <a:noFill/>
          <a:ln>
            <a:solidFill>
              <a:schemeClr val="bg1"/>
            </a:solidFill>
          </a:ln>
        </p:spPr>
        <p:txBody>
          <a:bodyPr wrap="square" lIns="108000" rIns="108000" rtlCol="0">
            <a:spAutoFit/>
          </a:bodyPr>
          <a:lstStyle/>
          <a:p>
            <a:r>
              <a:rPr lang="fr-FR" sz="1400" b="1">
                <a:solidFill>
                  <a:srgbClr val="503078"/>
                </a:solidFill>
                <a:latin typeface="Tahoma"/>
              </a:rPr>
              <a:t>Description</a:t>
            </a:r>
          </a:p>
        </p:txBody>
      </p:sp>
      <p:sp>
        <p:nvSpPr>
          <p:cNvPr id="85" name="Rectangle 84">
            <a:extLst>
              <a:ext uri="{FF2B5EF4-FFF2-40B4-BE49-F238E27FC236}">
                <a16:creationId xmlns:a16="http://schemas.microsoft.com/office/drawing/2014/main" id="{ED036775-FB61-4B90-A8FF-748C7CFD281C}"/>
              </a:ext>
            </a:extLst>
          </p:cNvPr>
          <p:cNvSpPr/>
          <p:nvPr/>
        </p:nvSpPr>
        <p:spPr>
          <a:xfrm>
            <a:off x="1254009" y="2016706"/>
            <a:ext cx="9705530" cy="862770"/>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12" name="ZoneTexte 111">
            <a:extLst>
              <a:ext uri="{FF2B5EF4-FFF2-40B4-BE49-F238E27FC236}">
                <a16:creationId xmlns:a16="http://schemas.microsoft.com/office/drawing/2014/main" id="{D2B63E62-522A-4729-A811-1E3BA3B6AD41}"/>
              </a:ext>
            </a:extLst>
          </p:cNvPr>
          <p:cNvSpPr txBox="1"/>
          <p:nvPr/>
        </p:nvSpPr>
        <p:spPr>
          <a:xfrm>
            <a:off x="1343766" y="2261989"/>
            <a:ext cx="9594225" cy="815608"/>
          </a:xfrm>
          <a:prstGeom prst="rect">
            <a:avLst/>
          </a:prstGeom>
          <a:noFill/>
        </p:spPr>
        <p:txBody>
          <a:bodyPr wrap="square">
            <a:spAutoFit/>
          </a:bodyPr>
          <a:lstStyle/>
          <a:p>
            <a:pPr algn="just">
              <a:spcAft>
                <a:spcPts val="600"/>
              </a:spcAft>
            </a:pPr>
            <a:r>
              <a:rPr lang="fr-FR" sz="1050">
                <a:solidFill>
                  <a:srgbClr val="5F5F5F"/>
                </a:solidFill>
                <a:latin typeface="Tahoma"/>
              </a:rPr>
              <a:t>La vallée d’Ossau dispose de plusieurs stations thermales, notamment à Eaux-Bonnes et Eaux-Chaudes. La municipalité de Laruns, qui gère également le lieu-dit d’Eaux-Chaudes, et la municipalité d’Eaux-Bonnes ont pour projet de centraliser le thermalisme à Eaux-Bonnes et de créer un centre de répit ouvert toute l’année dans l’ancien bâtiment de cure de Laruns. </a:t>
            </a:r>
          </a:p>
          <a:p>
            <a:pPr algn="just"/>
            <a:endParaRPr lang="fr-FR" sz="1050">
              <a:solidFill>
                <a:srgbClr val="5F5F5F"/>
              </a:solidFill>
              <a:latin typeface="Tahoma"/>
            </a:endParaRPr>
          </a:p>
        </p:txBody>
      </p:sp>
      <p:sp>
        <p:nvSpPr>
          <p:cNvPr id="168" name="ZoneTexte 167">
            <a:extLst>
              <a:ext uri="{FF2B5EF4-FFF2-40B4-BE49-F238E27FC236}">
                <a16:creationId xmlns:a16="http://schemas.microsoft.com/office/drawing/2014/main" id="{F3CC0C11-E457-4096-8B73-E26311966D98}"/>
              </a:ext>
            </a:extLst>
          </p:cNvPr>
          <p:cNvSpPr txBox="1"/>
          <p:nvPr/>
        </p:nvSpPr>
        <p:spPr>
          <a:xfrm>
            <a:off x="2624666" y="3439765"/>
            <a:ext cx="3376602" cy="770395"/>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69" name="ZoneTexte 168">
            <a:extLst>
              <a:ext uri="{FF2B5EF4-FFF2-40B4-BE49-F238E27FC236}">
                <a16:creationId xmlns:a16="http://schemas.microsoft.com/office/drawing/2014/main" id="{AFC7BA98-5962-4B6A-BC27-763EDD465F50}"/>
              </a:ext>
            </a:extLst>
          </p:cNvPr>
          <p:cNvSpPr txBox="1"/>
          <p:nvPr/>
        </p:nvSpPr>
        <p:spPr>
          <a:xfrm>
            <a:off x="2605143" y="5027645"/>
            <a:ext cx="3366617" cy="884842"/>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70" name="ZoneTexte 169">
            <a:extLst>
              <a:ext uri="{FF2B5EF4-FFF2-40B4-BE49-F238E27FC236}">
                <a16:creationId xmlns:a16="http://schemas.microsoft.com/office/drawing/2014/main" id="{8AA8CCBC-1EA3-43F1-863C-1A5EC3120EF8}"/>
              </a:ext>
            </a:extLst>
          </p:cNvPr>
          <p:cNvSpPr txBox="1"/>
          <p:nvPr/>
        </p:nvSpPr>
        <p:spPr>
          <a:xfrm>
            <a:off x="2613326" y="4328038"/>
            <a:ext cx="3376602" cy="568894"/>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71" name="Rectangle 170">
            <a:extLst>
              <a:ext uri="{FF2B5EF4-FFF2-40B4-BE49-F238E27FC236}">
                <a16:creationId xmlns:a16="http://schemas.microsoft.com/office/drawing/2014/main" id="{FB9B665A-A633-4F3D-9112-6F8316C9F08F}"/>
              </a:ext>
            </a:extLst>
          </p:cNvPr>
          <p:cNvSpPr/>
          <p:nvPr/>
        </p:nvSpPr>
        <p:spPr>
          <a:xfrm>
            <a:off x="1254008" y="2991001"/>
            <a:ext cx="4825165" cy="2964938"/>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72" name="ZoneTexte 171">
            <a:extLst>
              <a:ext uri="{FF2B5EF4-FFF2-40B4-BE49-F238E27FC236}">
                <a16:creationId xmlns:a16="http://schemas.microsoft.com/office/drawing/2014/main" id="{3A929B63-D437-444D-8E3D-5FF7719C85E0}"/>
              </a:ext>
            </a:extLst>
          </p:cNvPr>
          <p:cNvSpPr txBox="1"/>
          <p:nvPr/>
        </p:nvSpPr>
        <p:spPr>
          <a:xfrm>
            <a:off x="1253624" y="2991080"/>
            <a:ext cx="4815764" cy="307777"/>
          </a:xfrm>
          <a:prstGeom prst="rect">
            <a:avLst/>
          </a:prstGeom>
          <a:solidFill>
            <a:srgbClr val="B0ADCC"/>
          </a:solidFill>
          <a:ln>
            <a:noFill/>
          </a:ln>
        </p:spPr>
        <p:txBody>
          <a:bodyPr wrap="square" lIns="108000" rIns="108000" rtlCol="0">
            <a:spAutoFit/>
          </a:bodyPr>
          <a:lstStyle/>
          <a:p>
            <a:pPr algn="ctr"/>
            <a:r>
              <a:rPr lang="fr-FR" sz="1400" b="1">
                <a:solidFill>
                  <a:srgbClr val="FFFFFF"/>
                </a:solidFill>
                <a:latin typeface="Tahoma"/>
              </a:rPr>
              <a:t>Modèle opérationnel </a:t>
            </a:r>
          </a:p>
        </p:txBody>
      </p:sp>
      <p:sp>
        <p:nvSpPr>
          <p:cNvPr id="173" name="Rectangle 172">
            <a:extLst>
              <a:ext uri="{FF2B5EF4-FFF2-40B4-BE49-F238E27FC236}">
                <a16:creationId xmlns:a16="http://schemas.microsoft.com/office/drawing/2014/main" id="{91450B76-D048-4059-B29E-A638E327A3C3}"/>
              </a:ext>
            </a:extLst>
          </p:cNvPr>
          <p:cNvSpPr/>
          <p:nvPr/>
        </p:nvSpPr>
        <p:spPr>
          <a:xfrm>
            <a:off x="6122613" y="2991001"/>
            <a:ext cx="4824000" cy="2964937"/>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74" name="ZoneTexte 173">
            <a:extLst>
              <a:ext uri="{FF2B5EF4-FFF2-40B4-BE49-F238E27FC236}">
                <a16:creationId xmlns:a16="http://schemas.microsoft.com/office/drawing/2014/main" id="{D67886B9-FE88-46ED-90FD-AB617C3A4EFF}"/>
              </a:ext>
            </a:extLst>
          </p:cNvPr>
          <p:cNvSpPr txBox="1"/>
          <p:nvPr/>
        </p:nvSpPr>
        <p:spPr>
          <a:xfrm>
            <a:off x="6124765" y="3000312"/>
            <a:ext cx="4824000" cy="307777"/>
          </a:xfrm>
          <a:prstGeom prst="rect">
            <a:avLst/>
          </a:prstGeom>
          <a:solidFill>
            <a:srgbClr val="B24669"/>
          </a:solidFill>
          <a:ln>
            <a:noFill/>
          </a:ln>
        </p:spPr>
        <p:txBody>
          <a:bodyPr wrap="square" lIns="108000" rIns="108000" rtlCol="0">
            <a:spAutoFit/>
          </a:bodyPr>
          <a:lstStyle/>
          <a:p>
            <a:pPr algn="ctr"/>
            <a:r>
              <a:rPr lang="fr-FR" sz="1400" b="1">
                <a:solidFill>
                  <a:srgbClr val="FFFFFF"/>
                </a:solidFill>
                <a:latin typeface="Tahoma"/>
              </a:rPr>
              <a:t>Modèle économique </a:t>
            </a:r>
          </a:p>
        </p:txBody>
      </p:sp>
      <p:sp>
        <p:nvSpPr>
          <p:cNvPr id="175" name="ZoneTexte 174">
            <a:extLst>
              <a:ext uri="{FF2B5EF4-FFF2-40B4-BE49-F238E27FC236}">
                <a16:creationId xmlns:a16="http://schemas.microsoft.com/office/drawing/2014/main" id="{6E788256-07F5-4087-A034-A72F2A33AE07}"/>
              </a:ext>
            </a:extLst>
          </p:cNvPr>
          <p:cNvSpPr txBox="1"/>
          <p:nvPr/>
        </p:nvSpPr>
        <p:spPr>
          <a:xfrm>
            <a:off x="2627338" y="3423588"/>
            <a:ext cx="3197058" cy="736164"/>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Objectif d’une capacité d’accueil de 120 personnes : 30 PA / 30 PH (sous réserve de l’obtention de places AT / HT auprès de l’ARS) et 60 aidants</a:t>
            </a:r>
          </a:p>
        </p:txBody>
      </p:sp>
      <p:sp>
        <p:nvSpPr>
          <p:cNvPr id="176" name="ZoneTexte 175">
            <a:extLst>
              <a:ext uri="{FF2B5EF4-FFF2-40B4-BE49-F238E27FC236}">
                <a16:creationId xmlns:a16="http://schemas.microsoft.com/office/drawing/2014/main" id="{DF1F3460-450F-4AA8-9154-A268DC43A9B0}"/>
              </a:ext>
            </a:extLst>
          </p:cNvPr>
          <p:cNvSpPr txBox="1"/>
          <p:nvPr/>
        </p:nvSpPr>
        <p:spPr>
          <a:xfrm>
            <a:off x="2630249" y="5084687"/>
            <a:ext cx="3366617" cy="774636"/>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as d’informations sur l’offre de service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ctivités touristiques à proximité pour diversifier l’activité toute l’année (randonnées, ski à la station des </a:t>
            </a:r>
            <a:r>
              <a:rPr lang="fr-FR" sz="1000" err="1">
                <a:solidFill>
                  <a:srgbClr val="5F5F5F"/>
                </a:solidFill>
                <a:latin typeface="Tahoma"/>
              </a:rPr>
              <a:t>Gourettes</a:t>
            </a:r>
            <a:r>
              <a:rPr lang="fr-FR" sz="1000">
                <a:solidFill>
                  <a:srgbClr val="5F5F5F"/>
                </a:solidFill>
                <a:latin typeface="Tahoma"/>
              </a:rPr>
              <a:t>, thermalisme, …)</a:t>
            </a:r>
          </a:p>
        </p:txBody>
      </p:sp>
      <p:sp>
        <p:nvSpPr>
          <p:cNvPr id="177" name="ZoneTexte 176">
            <a:extLst>
              <a:ext uri="{FF2B5EF4-FFF2-40B4-BE49-F238E27FC236}">
                <a16:creationId xmlns:a16="http://schemas.microsoft.com/office/drawing/2014/main" id="{B3972182-3D74-46CB-9820-49F5EC4C831D}"/>
              </a:ext>
            </a:extLst>
          </p:cNvPr>
          <p:cNvSpPr txBox="1"/>
          <p:nvPr/>
        </p:nvSpPr>
        <p:spPr>
          <a:xfrm>
            <a:off x="2640545" y="4337387"/>
            <a:ext cx="3376359" cy="445315"/>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Recrutement de personnels médicosociaux</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Hébergements et équipements adaptés </a:t>
            </a:r>
          </a:p>
        </p:txBody>
      </p:sp>
      <p:sp>
        <p:nvSpPr>
          <p:cNvPr id="178" name="ZoneTexte 177">
            <a:extLst>
              <a:ext uri="{FF2B5EF4-FFF2-40B4-BE49-F238E27FC236}">
                <a16:creationId xmlns:a16="http://schemas.microsoft.com/office/drawing/2014/main" id="{CE6A0944-DBE6-4719-88A7-C26677B91C45}"/>
              </a:ext>
            </a:extLst>
          </p:cNvPr>
          <p:cNvSpPr txBox="1"/>
          <p:nvPr/>
        </p:nvSpPr>
        <p:spPr>
          <a:xfrm>
            <a:off x="6183557" y="3439766"/>
            <a:ext cx="3751654" cy="370536"/>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179" name="ZoneTexte 178">
            <a:extLst>
              <a:ext uri="{FF2B5EF4-FFF2-40B4-BE49-F238E27FC236}">
                <a16:creationId xmlns:a16="http://schemas.microsoft.com/office/drawing/2014/main" id="{B83FA38D-E9F8-4103-B635-97BAF934D2A7}"/>
              </a:ext>
            </a:extLst>
          </p:cNvPr>
          <p:cNvSpPr txBox="1"/>
          <p:nvPr/>
        </p:nvSpPr>
        <p:spPr>
          <a:xfrm>
            <a:off x="6167339" y="3887542"/>
            <a:ext cx="3751654" cy="1379517"/>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pic>
        <p:nvPicPr>
          <p:cNvPr id="180" name="Graphique 179" descr="Logement avec un remplissage uni">
            <a:extLst>
              <a:ext uri="{FF2B5EF4-FFF2-40B4-BE49-F238E27FC236}">
                <a16:creationId xmlns:a16="http://schemas.microsoft.com/office/drawing/2014/main" id="{88E3228E-81F8-4499-8EF6-8E5B5649711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19350" y="3522738"/>
            <a:ext cx="447721" cy="447721"/>
          </a:xfrm>
          <a:prstGeom prst="rect">
            <a:avLst/>
          </a:prstGeom>
        </p:spPr>
      </p:pic>
      <p:sp>
        <p:nvSpPr>
          <p:cNvPr id="181" name="ZoneTexte 180">
            <a:extLst>
              <a:ext uri="{FF2B5EF4-FFF2-40B4-BE49-F238E27FC236}">
                <a16:creationId xmlns:a16="http://schemas.microsoft.com/office/drawing/2014/main" id="{BB4FC05A-5D82-4039-87E6-B77DC2A8DB2E}"/>
              </a:ext>
            </a:extLst>
          </p:cNvPr>
          <p:cNvSpPr txBox="1"/>
          <p:nvPr/>
        </p:nvSpPr>
        <p:spPr>
          <a:xfrm>
            <a:off x="9796441" y="3354956"/>
            <a:ext cx="1244543" cy="446276"/>
          </a:xfrm>
          <a:prstGeom prst="rect">
            <a:avLst/>
          </a:prstGeom>
          <a:noFill/>
          <a:ln>
            <a:noFill/>
          </a:ln>
        </p:spPr>
        <p:txBody>
          <a:bodyPr wrap="square" lIns="108000" rIns="108000" rtlCol="0">
            <a:spAutoFit/>
          </a:bodyPr>
          <a:lstStyle/>
          <a:p>
            <a:pPr algn="ctr"/>
            <a:r>
              <a:rPr lang="fr-FR" sz="1100" b="1">
                <a:solidFill>
                  <a:srgbClr val="B24669"/>
                </a:solidFill>
                <a:latin typeface="Tahoma"/>
              </a:rPr>
              <a:t>Immobilier</a:t>
            </a:r>
          </a:p>
          <a:p>
            <a:pPr marL="171450" indent="-171450" algn="ctr">
              <a:buFontTx/>
              <a:buChar char="-"/>
            </a:pPr>
            <a:endParaRPr lang="fr-FR" sz="1200">
              <a:solidFill>
                <a:srgbClr val="B24669"/>
              </a:solidFill>
              <a:latin typeface="Tahoma"/>
            </a:endParaRPr>
          </a:p>
        </p:txBody>
      </p:sp>
      <p:sp>
        <p:nvSpPr>
          <p:cNvPr id="182" name="ZoneTexte 181">
            <a:extLst>
              <a:ext uri="{FF2B5EF4-FFF2-40B4-BE49-F238E27FC236}">
                <a16:creationId xmlns:a16="http://schemas.microsoft.com/office/drawing/2014/main" id="{9CED7787-FB97-405C-8CAB-10E517FF0862}"/>
              </a:ext>
            </a:extLst>
          </p:cNvPr>
          <p:cNvSpPr txBox="1"/>
          <p:nvPr/>
        </p:nvSpPr>
        <p:spPr>
          <a:xfrm>
            <a:off x="6146428" y="3424686"/>
            <a:ext cx="3769944" cy="400110"/>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defRPr/>
            </a:pPr>
            <a:r>
              <a:rPr lang="fr-FR" sz="1000">
                <a:solidFill>
                  <a:srgbClr val="5F5F5F"/>
                </a:solidFill>
                <a:latin typeface="Tahoma"/>
              </a:rPr>
              <a:t>Bail emphytéotique de 99 ans concédé par la commune de Laruns, pour une redevance annuelle de 3000€</a:t>
            </a:r>
          </a:p>
        </p:txBody>
      </p:sp>
      <p:sp>
        <p:nvSpPr>
          <p:cNvPr id="183" name="ZoneTexte 182">
            <a:extLst>
              <a:ext uri="{FF2B5EF4-FFF2-40B4-BE49-F238E27FC236}">
                <a16:creationId xmlns:a16="http://schemas.microsoft.com/office/drawing/2014/main" id="{36DD2DE6-73EC-41E5-BE7A-0D4A13C83932}"/>
              </a:ext>
            </a:extLst>
          </p:cNvPr>
          <p:cNvSpPr txBox="1"/>
          <p:nvPr/>
        </p:nvSpPr>
        <p:spPr>
          <a:xfrm>
            <a:off x="9948429" y="4104691"/>
            <a:ext cx="998185"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Frais de </a:t>
            </a:r>
            <a:r>
              <a:rPr lang="fr-FR" sz="1100" b="1" err="1">
                <a:solidFill>
                  <a:srgbClr val="B24669"/>
                </a:solidFill>
                <a:latin typeface="Tahoma"/>
              </a:rPr>
              <a:t>fonct</a:t>
            </a:r>
            <a:r>
              <a:rPr lang="fr-FR" sz="1100" b="1">
                <a:solidFill>
                  <a:srgbClr val="B24669"/>
                </a:solidFill>
                <a:latin typeface="Tahoma"/>
              </a:rPr>
              <a:t>.</a:t>
            </a:r>
          </a:p>
        </p:txBody>
      </p:sp>
      <p:sp>
        <p:nvSpPr>
          <p:cNvPr id="184" name="ZoneTexte 183">
            <a:extLst>
              <a:ext uri="{FF2B5EF4-FFF2-40B4-BE49-F238E27FC236}">
                <a16:creationId xmlns:a16="http://schemas.microsoft.com/office/drawing/2014/main" id="{83EAF95D-D946-47D6-9E56-DF4A47752BFF}"/>
              </a:ext>
            </a:extLst>
          </p:cNvPr>
          <p:cNvSpPr txBox="1"/>
          <p:nvPr/>
        </p:nvSpPr>
        <p:spPr>
          <a:xfrm>
            <a:off x="6118864" y="3942635"/>
            <a:ext cx="3824882" cy="1284967"/>
          </a:xfrm>
          <a:prstGeom prst="rect">
            <a:avLst/>
          </a:prstGeom>
          <a:noFill/>
          <a:ln>
            <a:noFill/>
          </a:ln>
        </p:spPr>
        <p:txBody>
          <a:bodyPr wrap="square" lIns="108000" rIns="108000" rtlCol="0">
            <a:spAutoFit/>
          </a:bodyPr>
          <a:lstStyle/>
          <a:p>
            <a:pPr marL="171450" indent="-171450">
              <a:spcAft>
                <a:spcPts val="300"/>
              </a:spcAft>
              <a:buClr>
                <a:srgbClr val="503078"/>
              </a:buClr>
              <a:buFont typeface="Tahoma" panose="020B0604030504040204" pitchFamily="34" charset="0"/>
              <a:buChar char="⁄"/>
              <a:defRPr/>
            </a:pPr>
            <a:r>
              <a:rPr lang="fr-FR" sz="1000">
                <a:solidFill>
                  <a:srgbClr val="5F5F5F"/>
                </a:solidFill>
                <a:latin typeface="Tahoma"/>
              </a:rPr>
              <a:t>Ouvertures et financement de places d’AT / HT à obtenir auprès de l’ARS Nouvelle-Aquitaine / le CD64 </a:t>
            </a:r>
          </a:p>
          <a:p>
            <a:pPr marL="171450" indent="-171450">
              <a:spcAft>
                <a:spcPts val="300"/>
              </a:spcAft>
              <a:buClr>
                <a:srgbClr val="503078"/>
              </a:buClr>
              <a:buFont typeface="Tahoma" panose="020B0604030504040204" pitchFamily="34" charset="0"/>
              <a:buChar char="⁄"/>
              <a:defRPr/>
            </a:pPr>
            <a:r>
              <a:rPr lang="fr-FR" sz="1000">
                <a:solidFill>
                  <a:srgbClr val="5F5F5F"/>
                </a:solidFill>
                <a:latin typeface="Tahoma"/>
              </a:rPr>
              <a:t>Budget prévisionnel de fonctionnement annuel : 4,5M€.</a:t>
            </a:r>
          </a:p>
          <a:p>
            <a:pPr marL="171450" indent="-171450">
              <a:spcAft>
                <a:spcPts val="300"/>
              </a:spcAft>
              <a:buClr>
                <a:srgbClr val="503078"/>
              </a:buClr>
              <a:buFont typeface="Tahoma" panose="020B0604030504040204" pitchFamily="34" charset="0"/>
              <a:buChar char="⁄"/>
              <a:defRPr/>
            </a:pPr>
            <a:r>
              <a:rPr lang="fr-FR" sz="1000">
                <a:solidFill>
                  <a:srgbClr val="5F5F5F"/>
                </a:solidFill>
                <a:latin typeface="Tahoma"/>
              </a:rPr>
              <a:t>Objectifs de demande de subventions : CD64, CR Nouvelle-Aquitaine, mutuelles / assurances, autres acteurs </a:t>
            </a:r>
            <a:r>
              <a:rPr lang="fr-FR" sz="1000" err="1">
                <a:solidFill>
                  <a:srgbClr val="5F5F5F"/>
                </a:solidFill>
                <a:latin typeface="Tahoma"/>
              </a:rPr>
              <a:t>priivés</a:t>
            </a:r>
            <a:endParaRPr lang="fr-FR" sz="1000">
              <a:solidFill>
                <a:srgbClr val="5F5F5F"/>
              </a:solidFill>
              <a:latin typeface="Tahoma"/>
            </a:endParaRPr>
          </a:p>
          <a:p>
            <a:pPr marL="171450" indent="-171450">
              <a:spcAft>
                <a:spcPts val="300"/>
              </a:spcAft>
              <a:buClr>
                <a:srgbClr val="503078"/>
              </a:buClr>
              <a:buFont typeface="Tahoma" panose="020B0604030504040204" pitchFamily="34" charset="0"/>
              <a:buChar char="⁄"/>
              <a:defRPr/>
            </a:pPr>
            <a:r>
              <a:rPr lang="fr-FR" sz="1000">
                <a:solidFill>
                  <a:srgbClr val="5F5F5F"/>
                </a:solidFill>
                <a:latin typeface="Tahoma"/>
              </a:rPr>
              <a:t>Possibilité de repositionner la structure sur de l’accueil de jour pendant les périodes creuses pour rentabiliser l’activité</a:t>
            </a:r>
          </a:p>
        </p:txBody>
      </p:sp>
      <p:sp>
        <p:nvSpPr>
          <p:cNvPr id="185" name="ZoneTexte 184">
            <a:extLst>
              <a:ext uri="{FF2B5EF4-FFF2-40B4-BE49-F238E27FC236}">
                <a16:creationId xmlns:a16="http://schemas.microsoft.com/office/drawing/2014/main" id="{D6A6F6D6-6B0B-4624-8DD5-4DEBD4ED8FAD}"/>
              </a:ext>
            </a:extLst>
          </p:cNvPr>
          <p:cNvSpPr txBox="1"/>
          <p:nvPr/>
        </p:nvSpPr>
        <p:spPr>
          <a:xfrm>
            <a:off x="6190462" y="5354633"/>
            <a:ext cx="3753284" cy="557854"/>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86" name="ZoneTexte 185">
            <a:extLst>
              <a:ext uri="{FF2B5EF4-FFF2-40B4-BE49-F238E27FC236}">
                <a16:creationId xmlns:a16="http://schemas.microsoft.com/office/drawing/2014/main" id="{401FEF62-580A-4BE7-872F-6C3F70511FDF}"/>
              </a:ext>
            </a:extLst>
          </p:cNvPr>
          <p:cNvSpPr txBox="1"/>
          <p:nvPr/>
        </p:nvSpPr>
        <p:spPr>
          <a:xfrm>
            <a:off x="9872325" y="5105872"/>
            <a:ext cx="1141769" cy="261610"/>
          </a:xfrm>
          <a:prstGeom prst="rect">
            <a:avLst/>
          </a:prstGeom>
          <a:noFill/>
          <a:ln>
            <a:noFill/>
          </a:ln>
        </p:spPr>
        <p:txBody>
          <a:bodyPr wrap="square" lIns="108000" rIns="108000" rtlCol="0">
            <a:spAutoFit/>
          </a:bodyPr>
          <a:lstStyle/>
          <a:p>
            <a:pPr algn="ctr"/>
            <a:r>
              <a:rPr lang="fr-FR" sz="1100" b="1">
                <a:solidFill>
                  <a:srgbClr val="B24669"/>
                </a:solidFill>
                <a:latin typeface="Tahoma"/>
              </a:rPr>
              <a:t>Tarifs</a:t>
            </a:r>
          </a:p>
        </p:txBody>
      </p:sp>
      <p:pic>
        <p:nvPicPr>
          <p:cNvPr id="191" name="Graphique 190" descr="Tirelire avec un remplissage uni">
            <a:extLst>
              <a:ext uri="{FF2B5EF4-FFF2-40B4-BE49-F238E27FC236}">
                <a16:creationId xmlns:a16="http://schemas.microsoft.com/office/drawing/2014/main" id="{1452BE93-E995-4E51-9AA0-1869C6E7718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19349" y="4560330"/>
            <a:ext cx="514426" cy="514426"/>
          </a:xfrm>
          <a:prstGeom prst="rect">
            <a:avLst/>
          </a:prstGeom>
        </p:spPr>
      </p:pic>
      <p:sp>
        <p:nvSpPr>
          <p:cNvPr id="192" name="ZoneTexte 191">
            <a:extLst>
              <a:ext uri="{FF2B5EF4-FFF2-40B4-BE49-F238E27FC236}">
                <a16:creationId xmlns:a16="http://schemas.microsoft.com/office/drawing/2014/main" id="{49089D3A-0ABC-4CE2-84D7-9C99F01D0A56}"/>
              </a:ext>
            </a:extLst>
          </p:cNvPr>
          <p:cNvSpPr txBox="1"/>
          <p:nvPr/>
        </p:nvSpPr>
        <p:spPr>
          <a:xfrm>
            <a:off x="6129675" y="5346947"/>
            <a:ext cx="3546190" cy="571503"/>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Une étude d’opportunité a été menée par le cabinet </a:t>
            </a:r>
            <a:r>
              <a:rPr lang="fr-FR" sz="1000" err="1">
                <a:solidFill>
                  <a:srgbClr val="5F5F5F"/>
                </a:solidFill>
                <a:latin typeface="Tahoma"/>
              </a:rPr>
              <a:t>Adopale</a:t>
            </a:r>
            <a:r>
              <a:rPr lang="fr-FR" sz="1000">
                <a:solidFill>
                  <a:srgbClr val="5F5F5F"/>
                </a:solidFill>
                <a:latin typeface="Tahoma"/>
              </a:rPr>
              <a:t> afin de déterminer le modèle économique du projet.</a:t>
            </a:r>
          </a:p>
        </p:txBody>
      </p:sp>
      <p:pic>
        <p:nvPicPr>
          <p:cNvPr id="193" name="Graphique 192" descr="Pièces avec un remplissage uni">
            <a:extLst>
              <a:ext uri="{FF2B5EF4-FFF2-40B4-BE49-F238E27FC236}">
                <a16:creationId xmlns:a16="http://schemas.microsoft.com/office/drawing/2014/main" id="{15873230-4372-4570-941F-FA9C46F1C5F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239173" y="5293196"/>
            <a:ext cx="457966" cy="457966"/>
          </a:xfrm>
          <a:prstGeom prst="rect">
            <a:avLst/>
          </a:prstGeom>
        </p:spPr>
      </p:pic>
      <p:pic>
        <p:nvPicPr>
          <p:cNvPr id="194" name="Graphique 193" descr="Dormir avec un remplissage uni">
            <a:extLst>
              <a:ext uri="{FF2B5EF4-FFF2-40B4-BE49-F238E27FC236}">
                <a16:creationId xmlns:a16="http://schemas.microsoft.com/office/drawing/2014/main" id="{F0AEDD5E-06E4-4F54-A870-735260E54C9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648461" y="3515370"/>
            <a:ext cx="565198" cy="565198"/>
          </a:xfrm>
          <a:prstGeom prst="rect">
            <a:avLst/>
          </a:prstGeom>
        </p:spPr>
      </p:pic>
      <p:pic>
        <p:nvPicPr>
          <p:cNvPr id="195" name="Graphique 194" descr="Trousse de premiers secours avec un remplissage uni">
            <a:extLst>
              <a:ext uri="{FF2B5EF4-FFF2-40B4-BE49-F238E27FC236}">
                <a16:creationId xmlns:a16="http://schemas.microsoft.com/office/drawing/2014/main" id="{AEF1E645-559E-40EA-BBEA-4D061220B21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647823" y="4538975"/>
            <a:ext cx="557136" cy="557136"/>
          </a:xfrm>
          <a:prstGeom prst="rect">
            <a:avLst/>
          </a:prstGeom>
        </p:spPr>
      </p:pic>
      <p:pic>
        <p:nvPicPr>
          <p:cNvPr id="196" name="Graphique 195" descr="Assiette couverte avec un remplissage uni">
            <a:extLst>
              <a:ext uri="{FF2B5EF4-FFF2-40B4-BE49-F238E27FC236}">
                <a16:creationId xmlns:a16="http://schemas.microsoft.com/office/drawing/2014/main" id="{56C1BB98-3642-403B-82C8-6EFE3CAD441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659528" y="5390740"/>
            <a:ext cx="565199" cy="565199"/>
          </a:xfrm>
          <a:prstGeom prst="rect">
            <a:avLst/>
          </a:prstGeom>
        </p:spPr>
      </p:pic>
      <p:sp>
        <p:nvSpPr>
          <p:cNvPr id="197" name="ZoneTexte 196">
            <a:extLst>
              <a:ext uri="{FF2B5EF4-FFF2-40B4-BE49-F238E27FC236}">
                <a16:creationId xmlns:a16="http://schemas.microsoft.com/office/drawing/2014/main" id="{DE4C9C21-CCEA-4CB0-96A8-458E6ADB8D27}"/>
              </a:ext>
            </a:extLst>
          </p:cNvPr>
          <p:cNvSpPr txBox="1"/>
          <p:nvPr/>
        </p:nvSpPr>
        <p:spPr>
          <a:xfrm>
            <a:off x="1254006" y="3437426"/>
            <a:ext cx="1376242" cy="446276"/>
          </a:xfrm>
          <a:prstGeom prst="rect">
            <a:avLst/>
          </a:prstGeom>
          <a:noFill/>
          <a:ln>
            <a:noFill/>
          </a:ln>
        </p:spPr>
        <p:txBody>
          <a:bodyPr wrap="square" lIns="108000" rIns="108000" rtlCol="0">
            <a:spAutoFit/>
          </a:bodyPr>
          <a:lstStyle/>
          <a:p>
            <a:pPr algn="ctr"/>
            <a:r>
              <a:rPr lang="fr-FR" sz="1100" b="1">
                <a:solidFill>
                  <a:srgbClr val="B0ADCC"/>
                </a:solidFill>
                <a:latin typeface="Tahoma"/>
              </a:rPr>
              <a:t>Hébergement</a:t>
            </a:r>
          </a:p>
          <a:p>
            <a:pPr marL="171450" indent="-171450" algn="ctr">
              <a:buFontTx/>
              <a:buChar char="-"/>
            </a:pPr>
            <a:endParaRPr lang="fr-FR" sz="1200">
              <a:solidFill>
                <a:srgbClr val="B0ADCC"/>
              </a:solidFill>
              <a:latin typeface="Tahoma"/>
            </a:endParaRPr>
          </a:p>
        </p:txBody>
      </p:sp>
      <p:sp>
        <p:nvSpPr>
          <p:cNvPr id="198" name="ZoneTexte 197">
            <a:extLst>
              <a:ext uri="{FF2B5EF4-FFF2-40B4-BE49-F238E27FC236}">
                <a16:creationId xmlns:a16="http://schemas.microsoft.com/office/drawing/2014/main" id="{60238641-9B2E-4E7C-84DE-437BEA3EA91A}"/>
              </a:ext>
            </a:extLst>
          </p:cNvPr>
          <p:cNvSpPr txBox="1"/>
          <p:nvPr/>
        </p:nvSpPr>
        <p:spPr>
          <a:xfrm>
            <a:off x="1439461" y="5105873"/>
            <a:ext cx="965590" cy="430887"/>
          </a:xfrm>
          <a:prstGeom prst="rect">
            <a:avLst/>
          </a:prstGeom>
          <a:noFill/>
          <a:ln>
            <a:noFill/>
          </a:ln>
        </p:spPr>
        <p:txBody>
          <a:bodyPr wrap="square" lIns="108000" rIns="108000" rtlCol="0">
            <a:spAutoFit/>
          </a:bodyPr>
          <a:lstStyle/>
          <a:p>
            <a:pPr algn="ctr"/>
            <a:r>
              <a:rPr lang="fr-FR" sz="1100" b="1">
                <a:solidFill>
                  <a:srgbClr val="B0ADCC"/>
                </a:solidFill>
                <a:latin typeface="Tahoma"/>
              </a:rPr>
              <a:t>Services </a:t>
            </a:r>
          </a:p>
          <a:p>
            <a:pPr algn="ctr"/>
            <a:r>
              <a:rPr lang="fr-FR" sz="1100" b="1">
                <a:solidFill>
                  <a:srgbClr val="B0ADCC"/>
                </a:solidFill>
                <a:latin typeface="Tahoma"/>
              </a:rPr>
              <a:t>hôteliers </a:t>
            </a:r>
          </a:p>
        </p:txBody>
      </p:sp>
      <p:sp>
        <p:nvSpPr>
          <p:cNvPr id="199" name="ZoneTexte 198">
            <a:extLst>
              <a:ext uri="{FF2B5EF4-FFF2-40B4-BE49-F238E27FC236}">
                <a16:creationId xmlns:a16="http://schemas.microsoft.com/office/drawing/2014/main" id="{3BF7C551-995C-41A7-A840-C171561A6B11}"/>
              </a:ext>
            </a:extLst>
          </p:cNvPr>
          <p:cNvSpPr txBox="1"/>
          <p:nvPr/>
        </p:nvSpPr>
        <p:spPr>
          <a:xfrm>
            <a:off x="1061813" y="4233000"/>
            <a:ext cx="1743708" cy="615553"/>
          </a:xfrm>
          <a:prstGeom prst="rect">
            <a:avLst/>
          </a:prstGeom>
          <a:noFill/>
          <a:ln>
            <a:noFill/>
          </a:ln>
        </p:spPr>
        <p:txBody>
          <a:bodyPr wrap="square" lIns="108000" rIns="108000" rtlCol="0">
            <a:spAutoFit/>
          </a:bodyPr>
          <a:lstStyle/>
          <a:p>
            <a:pPr algn="ctr"/>
            <a:r>
              <a:rPr lang="fr-FR" sz="1100" b="1">
                <a:solidFill>
                  <a:srgbClr val="B0ADCC"/>
                </a:solidFill>
                <a:latin typeface="Tahoma"/>
              </a:rPr>
              <a:t>Accompagnement médico-social</a:t>
            </a:r>
          </a:p>
          <a:p>
            <a:pPr marL="171450" indent="-171450" algn="ctr">
              <a:buFontTx/>
              <a:buChar char="-"/>
            </a:pPr>
            <a:endParaRPr lang="fr-FR" sz="1200">
              <a:solidFill>
                <a:srgbClr val="B0ADCC"/>
              </a:solidFill>
              <a:latin typeface="Tahoma"/>
            </a:endParaRPr>
          </a:p>
        </p:txBody>
      </p:sp>
      <p:sp>
        <p:nvSpPr>
          <p:cNvPr id="201" name="Rectangle 200">
            <a:extLst>
              <a:ext uri="{FF2B5EF4-FFF2-40B4-BE49-F238E27FC236}">
                <a16:creationId xmlns:a16="http://schemas.microsoft.com/office/drawing/2014/main" id="{20FEB81E-9EA4-40C4-B9C3-56203CBA506F}"/>
              </a:ext>
            </a:extLst>
          </p:cNvPr>
          <p:cNvSpPr/>
          <p:nvPr/>
        </p:nvSpPr>
        <p:spPr>
          <a:xfrm>
            <a:off x="1254981" y="6040345"/>
            <a:ext cx="9683009" cy="716725"/>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203" name="ZoneTexte 202">
            <a:extLst>
              <a:ext uri="{FF2B5EF4-FFF2-40B4-BE49-F238E27FC236}">
                <a16:creationId xmlns:a16="http://schemas.microsoft.com/office/drawing/2014/main" id="{952D9A2A-46F3-4804-B220-B51750CEB762}"/>
              </a:ext>
            </a:extLst>
          </p:cNvPr>
          <p:cNvSpPr txBox="1"/>
          <p:nvPr/>
        </p:nvSpPr>
        <p:spPr>
          <a:xfrm>
            <a:off x="1222727" y="6058855"/>
            <a:ext cx="5982318" cy="276999"/>
          </a:xfrm>
          <a:prstGeom prst="rect">
            <a:avLst/>
          </a:prstGeom>
          <a:noFill/>
          <a:ln>
            <a:solidFill>
              <a:schemeClr val="bg1"/>
            </a:solidFill>
          </a:ln>
        </p:spPr>
        <p:txBody>
          <a:bodyPr wrap="square" lIns="108000" rIns="108000" rtlCol="0">
            <a:spAutoFit/>
          </a:bodyPr>
          <a:lstStyle/>
          <a:p>
            <a:r>
              <a:rPr lang="fr-FR" sz="1200" b="1">
                <a:solidFill>
                  <a:srgbClr val="503078"/>
                </a:solidFill>
                <a:latin typeface="Tahoma"/>
              </a:rPr>
              <a:t>Prochaines étapes</a:t>
            </a:r>
          </a:p>
        </p:txBody>
      </p:sp>
      <p:sp>
        <p:nvSpPr>
          <p:cNvPr id="75" name="ZoneTexte 74">
            <a:extLst>
              <a:ext uri="{FF2B5EF4-FFF2-40B4-BE49-F238E27FC236}">
                <a16:creationId xmlns:a16="http://schemas.microsoft.com/office/drawing/2014/main" id="{574D8C08-4A97-4029-BD48-0DB8E306DAA4}"/>
              </a:ext>
            </a:extLst>
          </p:cNvPr>
          <p:cNvSpPr txBox="1"/>
          <p:nvPr/>
        </p:nvSpPr>
        <p:spPr>
          <a:xfrm>
            <a:off x="1281869" y="6270836"/>
            <a:ext cx="9594225" cy="654025"/>
          </a:xfrm>
          <a:prstGeom prst="rect">
            <a:avLst/>
          </a:prstGeom>
          <a:noFill/>
        </p:spPr>
        <p:txBody>
          <a:bodyPr wrap="square">
            <a:spAutoFit/>
          </a:bodyPr>
          <a:lstStyle/>
          <a:p>
            <a:pPr marL="171450" indent="-171450" algn="just">
              <a:spcAft>
                <a:spcPts val="300"/>
              </a:spcAft>
              <a:buClr>
                <a:srgbClr val="503078"/>
              </a:buClr>
              <a:buFont typeface="Tahoma" panose="020B0604030504040204" pitchFamily="34" charset="0"/>
              <a:buChar char="⁄"/>
            </a:pPr>
            <a:r>
              <a:rPr lang="fr-FR" sz="1050">
                <a:solidFill>
                  <a:srgbClr val="5F5F5F"/>
                </a:solidFill>
                <a:latin typeface="Tahoma"/>
              </a:rPr>
              <a:t>Echanges prévus avec l’ARS et le CD pour obtenir les ouvertures de places d’AT / HT</a:t>
            </a:r>
          </a:p>
          <a:p>
            <a:pPr marL="171450" indent="-171450" algn="just">
              <a:spcAft>
                <a:spcPts val="300"/>
              </a:spcAft>
              <a:buClr>
                <a:srgbClr val="503078"/>
              </a:buClr>
              <a:buFont typeface="Tahoma" panose="020B0604030504040204" pitchFamily="34" charset="0"/>
              <a:buChar char="⁄"/>
            </a:pPr>
            <a:r>
              <a:rPr lang="fr-FR" sz="1050">
                <a:solidFill>
                  <a:srgbClr val="5F5F5F"/>
                </a:solidFill>
                <a:latin typeface="Tahoma"/>
              </a:rPr>
              <a:t>Recherche de financeurs complémentaires </a:t>
            </a:r>
          </a:p>
          <a:p>
            <a:pPr algn="just"/>
            <a:endParaRPr lang="fr-FR" sz="1050">
              <a:solidFill>
                <a:srgbClr val="5F5F5F"/>
              </a:solidFill>
              <a:latin typeface="Tahoma"/>
            </a:endParaRPr>
          </a:p>
        </p:txBody>
      </p:sp>
    </p:spTree>
    <p:extLst>
      <p:ext uri="{BB962C8B-B14F-4D97-AF65-F5344CB8AC3E}">
        <p14:creationId xmlns:p14="http://schemas.microsoft.com/office/powerpoint/2010/main" val="7670397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DDB96D-5870-433E-8224-8BA70AB31D5A}"/>
              </a:ext>
            </a:extLst>
          </p:cNvPr>
          <p:cNvSpPr>
            <a:spLocks noGrp="1"/>
          </p:cNvSpPr>
          <p:nvPr>
            <p:ph type="title"/>
          </p:nvPr>
        </p:nvSpPr>
        <p:spPr/>
        <p:txBody>
          <a:bodyPr/>
          <a:lstStyle/>
          <a:p>
            <a:r>
              <a:rPr lang="fr-FR"/>
              <a:t>VRF Mardor</a:t>
            </a:r>
          </a:p>
        </p:txBody>
      </p:sp>
      <p:sp>
        <p:nvSpPr>
          <p:cNvPr id="3" name="Espace réservé du texte 2">
            <a:extLst>
              <a:ext uri="{FF2B5EF4-FFF2-40B4-BE49-F238E27FC236}">
                <a16:creationId xmlns:a16="http://schemas.microsoft.com/office/drawing/2014/main" id="{9C630387-01A6-4667-A171-E57EE95EAA8D}"/>
              </a:ext>
            </a:extLst>
          </p:cNvPr>
          <p:cNvSpPr>
            <a:spLocks noGrp="1"/>
          </p:cNvSpPr>
          <p:nvPr>
            <p:ph type="body" sz="quarter" idx="13"/>
          </p:nvPr>
        </p:nvSpPr>
        <p:spPr/>
        <p:txBody>
          <a:bodyPr/>
          <a:lstStyle/>
          <a:p>
            <a:r>
              <a:rPr lang="fr-FR"/>
              <a:t>fiches initiatives</a:t>
            </a:r>
          </a:p>
        </p:txBody>
      </p:sp>
      <p:grpSp>
        <p:nvGrpSpPr>
          <p:cNvPr id="89" name="Group 219">
            <a:extLst>
              <a:ext uri="{FF2B5EF4-FFF2-40B4-BE49-F238E27FC236}">
                <a16:creationId xmlns:a16="http://schemas.microsoft.com/office/drawing/2014/main" id="{23563D0E-A6E2-449B-BBEF-8098E393884C}"/>
              </a:ext>
            </a:extLst>
          </p:cNvPr>
          <p:cNvGrpSpPr>
            <a:grpSpLocks/>
          </p:cNvGrpSpPr>
          <p:nvPr/>
        </p:nvGrpSpPr>
        <p:grpSpPr bwMode="gray">
          <a:xfrm>
            <a:off x="1498106" y="972493"/>
            <a:ext cx="1015402" cy="933665"/>
            <a:chOff x="48" y="168"/>
            <a:chExt cx="3077" cy="3032"/>
          </a:xfrm>
          <a:solidFill>
            <a:schemeClr val="tx2"/>
          </a:solidFill>
          <a:effectLst>
            <a:outerShdw blurRad="127000" dist="50800" dir="2700000" algn="ctr" rotWithShape="0">
              <a:schemeClr val="tx1">
                <a:alpha val="40000"/>
              </a:schemeClr>
            </a:outerShdw>
          </a:effectLst>
        </p:grpSpPr>
        <p:sp>
          <p:nvSpPr>
            <p:cNvPr id="90" name="Nord-Pas-de-Calais" descr="© INSCALE GmbH, 05.05.2010&#10;http://www.presentationload.com/">
              <a:extLst>
                <a:ext uri="{FF2B5EF4-FFF2-40B4-BE49-F238E27FC236}">
                  <a16:creationId xmlns:a16="http://schemas.microsoft.com/office/drawing/2014/main" id="{AB720DBB-1E99-4155-8615-016531D8396C}"/>
                </a:ext>
              </a:extLst>
            </p:cNvPr>
            <p:cNvSpPr>
              <a:spLocks/>
            </p:cNvSpPr>
            <p:nvPr/>
          </p:nvSpPr>
          <p:spPr bwMode="gray">
            <a:xfrm>
              <a:off x="1600" y="168"/>
              <a:ext cx="608" cy="383"/>
            </a:xfrm>
            <a:custGeom>
              <a:avLst/>
              <a:gdLst/>
              <a:ahLst/>
              <a:cxnLst>
                <a:cxn ang="0">
                  <a:pos x="77" y="236"/>
                </a:cxn>
                <a:cxn ang="0">
                  <a:pos x="101" y="257"/>
                </a:cxn>
                <a:cxn ang="0">
                  <a:pos x="117" y="279"/>
                </a:cxn>
                <a:cxn ang="0">
                  <a:pos x="159" y="269"/>
                </a:cxn>
                <a:cxn ang="0">
                  <a:pos x="187" y="273"/>
                </a:cxn>
                <a:cxn ang="0">
                  <a:pos x="173" y="309"/>
                </a:cxn>
                <a:cxn ang="0">
                  <a:pos x="208" y="304"/>
                </a:cxn>
                <a:cxn ang="0">
                  <a:pos x="232" y="300"/>
                </a:cxn>
                <a:cxn ang="0">
                  <a:pos x="244" y="323"/>
                </a:cxn>
                <a:cxn ang="0">
                  <a:pos x="272" y="324"/>
                </a:cxn>
                <a:cxn ang="0">
                  <a:pos x="279" y="321"/>
                </a:cxn>
                <a:cxn ang="0">
                  <a:pos x="343" y="329"/>
                </a:cxn>
                <a:cxn ang="0">
                  <a:pos x="364" y="327"/>
                </a:cxn>
                <a:cxn ang="0">
                  <a:pos x="440" y="317"/>
                </a:cxn>
                <a:cxn ang="0">
                  <a:pos x="473" y="333"/>
                </a:cxn>
                <a:cxn ang="0">
                  <a:pos x="492" y="335"/>
                </a:cxn>
                <a:cxn ang="0">
                  <a:pos x="548" y="320"/>
                </a:cxn>
                <a:cxn ang="0">
                  <a:pos x="556" y="283"/>
                </a:cxn>
                <a:cxn ang="0">
                  <a:pos x="545" y="269"/>
                </a:cxn>
                <a:cxn ang="0">
                  <a:pos x="559" y="243"/>
                </a:cxn>
                <a:cxn ang="0">
                  <a:pos x="543" y="243"/>
                </a:cxn>
                <a:cxn ang="0">
                  <a:pos x="517" y="215"/>
                </a:cxn>
                <a:cxn ang="0">
                  <a:pos x="500" y="219"/>
                </a:cxn>
                <a:cxn ang="0">
                  <a:pos x="486" y="217"/>
                </a:cxn>
                <a:cxn ang="0">
                  <a:pos x="452" y="228"/>
                </a:cxn>
                <a:cxn ang="0">
                  <a:pos x="442" y="201"/>
                </a:cxn>
                <a:cxn ang="0">
                  <a:pos x="436" y="174"/>
                </a:cxn>
                <a:cxn ang="0">
                  <a:pos x="409" y="165"/>
                </a:cxn>
                <a:cxn ang="0">
                  <a:pos x="362" y="157"/>
                </a:cxn>
                <a:cxn ang="0">
                  <a:pos x="353" y="124"/>
                </a:cxn>
                <a:cxn ang="0">
                  <a:pos x="350" y="110"/>
                </a:cxn>
                <a:cxn ang="0">
                  <a:pos x="325" y="90"/>
                </a:cxn>
                <a:cxn ang="0">
                  <a:pos x="283" y="114"/>
                </a:cxn>
                <a:cxn ang="0">
                  <a:pos x="262" y="106"/>
                </a:cxn>
                <a:cxn ang="0">
                  <a:pos x="245" y="76"/>
                </a:cxn>
                <a:cxn ang="0">
                  <a:pos x="221" y="67"/>
                </a:cxn>
                <a:cxn ang="0">
                  <a:pos x="224" y="42"/>
                </a:cxn>
                <a:cxn ang="0">
                  <a:pos x="212" y="9"/>
                </a:cxn>
                <a:cxn ang="0">
                  <a:pos x="157" y="7"/>
                </a:cxn>
                <a:cxn ang="0">
                  <a:pos x="54" y="31"/>
                </a:cxn>
                <a:cxn ang="0">
                  <a:pos x="7" y="57"/>
                </a:cxn>
                <a:cxn ang="0">
                  <a:pos x="5" y="106"/>
                </a:cxn>
                <a:cxn ang="0">
                  <a:pos x="4" y="192"/>
                </a:cxn>
                <a:cxn ang="0">
                  <a:pos x="1" y="228"/>
                </a:cxn>
                <a:cxn ang="0">
                  <a:pos x="12" y="235"/>
                </a:cxn>
                <a:cxn ang="0">
                  <a:pos x="65" y="237"/>
                </a:cxn>
              </a:cxnLst>
              <a:rect l="0" t="0" r="r" b="b"/>
              <a:pathLst>
                <a:path w="564" h="355">
                  <a:moveTo>
                    <a:pt x="65" y="237"/>
                  </a:moveTo>
                  <a:cubicBezTo>
                    <a:pt x="77" y="236"/>
                    <a:pt x="77" y="236"/>
                    <a:pt x="77" y="236"/>
                  </a:cubicBezTo>
                  <a:cubicBezTo>
                    <a:pt x="79" y="247"/>
                    <a:pt x="79" y="247"/>
                    <a:pt x="79" y="247"/>
                  </a:cubicBezTo>
                  <a:cubicBezTo>
                    <a:pt x="101" y="257"/>
                    <a:pt x="101" y="257"/>
                    <a:pt x="101" y="257"/>
                  </a:cubicBezTo>
                  <a:cubicBezTo>
                    <a:pt x="109" y="275"/>
                    <a:pt x="109" y="275"/>
                    <a:pt x="109" y="275"/>
                  </a:cubicBezTo>
                  <a:cubicBezTo>
                    <a:pt x="117" y="279"/>
                    <a:pt x="117" y="279"/>
                    <a:pt x="117" y="279"/>
                  </a:cubicBezTo>
                  <a:cubicBezTo>
                    <a:pt x="143" y="265"/>
                    <a:pt x="143" y="265"/>
                    <a:pt x="143" y="265"/>
                  </a:cubicBezTo>
                  <a:cubicBezTo>
                    <a:pt x="159" y="269"/>
                    <a:pt x="159" y="269"/>
                    <a:pt x="159" y="269"/>
                  </a:cubicBezTo>
                  <a:cubicBezTo>
                    <a:pt x="180" y="263"/>
                    <a:pt x="180" y="263"/>
                    <a:pt x="180" y="263"/>
                  </a:cubicBezTo>
                  <a:cubicBezTo>
                    <a:pt x="187" y="273"/>
                    <a:pt x="187" y="273"/>
                    <a:pt x="187" y="273"/>
                  </a:cubicBezTo>
                  <a:cubicBezTo>
                    <a:pt x="187" y="273"/>
                    <a:pt x="163" y="293"/>
                    <a:pt x="163" y="304"/>
                  </a:cubicBezTo>
                  <a:cubicBezTo>
                    <a:pt x="163" y="315"/>
                    <a:pt x="173" y="309"/>
                    <a:pt x="173" y="309"/>
                  </a:cubicBezTo>
                  <a:cubicBezTo>
                    <a:pt x="173" y="309"/>
                    <a:pt x="193" y="289"/>
                    <a:pt x="193" y="300"/>
                  </a:cubicBezTo>
                  <a:cubicBezTo>
                    <a:pt x="193" y="300"/>
                    <a:pt x="208" y="297"/>
                    <a:pt x="208" y="304"/>
                  </a:cubicBezTo>
                  <a:cubicBezTo>
                    <a:pt x="208" y="311"/>
                    <a:pt x="227" y="313"/>
                    <a:pt x="227" y="313"/>
                  </a:cubicBezTo>
                  <a:cubicBezTo>
                    <a:pt x="232" y="300"/>
                    <a:pt x="232" y="300"/>
                    <a:pt x="232" y="300"/>
                  </a:cubicBezTo>
                  <a:cubicBezTo>
                    <a:pt x="248" y="303"/>
                    <a:pt x="248" y="303"/>
                    <a:pt x="248" y="303"/>
                  </a:cubicBezTo>
                  <a:cubicBezTo>
                    <a:pt x="244" y="323"/>
                    <a:pt x="244" y="323"/>
                    <a:pt x="244" y="323"/>
                  </a:cubicBezTo>
                  <a:cubicBezTo>
                    <a:pt x="263" y="313"/>
                    <a:pt x="263" y="313"/>
                    <a:pt x="263" y="313"/>
                  </a:cubicBezTo>
                  <a:cubicBezTo>
                    <a:pt x="272" y="324"/>
                    <a:pt x="272" y="324"/>
                    <a:pt x="272" y="324"/>
                  </a:cubicBezTo>
                  <a:cubicBezTo>
                    <a:pt x="265" y="332"/>
                    <a:pt x="265" y="332"/>
                    <a:pt x="265" y="332"/>
                  </a:cubicBezTo>
                  <a:cubicBezTo>
                    <a:pt x="279" y="321"/>
                    <a:pt x="279" y="321"/>
                    <a:pt x="279" y="321"/>
                  </a:cubicBezTo>
                  <a:cubicBezTo>
                    <a:pt x="313" y="321"/>
                    <a:pt x="313" y="321"/>
                    <a:pt x="313" y="321"/>
                  </a:cubicBezTo>
                  <a:cubicBezTo>
                    <a:pt x="313" y="321"/>
                    <a:pt x="320" y="341"/>
                    <a:pt x="343" y="329"/>
                  </a:cubicBezTo>
                  <a:cubicBezTo>
                    <a:pt x="348" y="331"/>
                    <a:pt x="348" y="335"/>
                    <a:pt x="348" y="335"/>
                  </a:cubicBezTo>
                  <a:cubicBezTo>
                    <a:pt x="348" y="335"/>
                    <a:pt x="359" y="339"/>
                    <a:pt x="364" y="327"/>
                  </a:cubicBezTo>
                  <a:cubicBezTo>
                    <a:pt x="364" y="327"/>
                    <a:pt x="400" y="337"/>
                    <a:pt x="404" y="319"/>
                  </a:cubicBezTo>
                  <a:cubicBezTo>
                    <a:pt x="403" y="323"/>
                    <a:pt x="413" y="339"/>
                    <a:pt x="440" y="317"/>
                  </a:cubicBezTo>
                  <a:cubicBezTo>
                    <a:pt x="473" y="327"/>
                    <a:pt x="473" y="327"/>
                    <a:pt x="473" y="327"/>
                  </a:cubicBezTo>
                  <a:cubicBezTo>
                    <a:pt x="473" y="333"/>
                    <a:pt x="473" y="333"/>
                    <a:pt x="473" y="333"/>
                  </a:cubicBezTo>
                  <a:cubicBezTo>
                    <a:pt x="492" y="321"/>
                    <a:pt x="492" y="321"/>
                    <a:pt x="492" y="321"/>
                  </a:cubicBezTo>
                  <a:cubicBezTo>
                    <a:pt x="492" y="335"/>
                    <a:pt x="492" y="335"/>
                    <a:pt x="492" y="335"/>
                  </a:cubicBezTo>
                  <a:cubicBezTo>
                    <a:pt x="492" y="335"/>
                    <a:pt x="522" y="355"/>
                    <a:pt x="554" y="333"/>
                  </a:cubicBezTo>
                  <a:cubicBezTo>
                    <a:pt x="551" y="330"/>
                    <a:pt x="549" y="325"/>
                    <a:pt x="548" y="320"/>
                  </a:cubicBezTo>
                  <a:cubicBezTo>
                    <a:pt x="547" y="313"/>
                    <a:pt x="558" y="305"/>
                    <a:pt x="561" y="303"/>
                  </a:cubicBezTo>
                  <a:cubicBezTo>
                    <a:pt x="564" y="301"/>
                    <a:pt x="556" y="283"/>
                    <a:pt x="556" y="283"/>
                  </a:cubicBezTo>
                  <a:cubicBezTo>
                    <a:pt x="556" y="283"/>
                    <a:pt x="553" y="283"/>
                    <a:pt x="547" y="283"/>
                  </a:cubicBezTo>
                  <a:cubicBezTo>
                    <a:pt x="541" y="283"/>
                    <a:pt x="545" y="269"/>
                    <a:pt x="545" y="269"/>
                  </a:cubicBezTo>
                  <a:cubicBezTo>
                    <a:pt x="547" y="260"/>
                    <a:pt x="547" y="260"/>
                    <a:pt x="547" y="260"/>
                  </a:cubicBezTo>
                  <a:cubicBezTo>
                    <a:pt x="547" y="260"/>
                    <a:pt x="558" y="246"/>
                    <a:pt x="559" y="243"/>
                  </a:cubicBezTo>
                  <a:cubicBezTo>
                    <a:pt x="560" y="240"/>
                    <a:pt x="554" y="236"/>
                    <a:pt x="554" y="236"/>
                  </a:cubicBezTo>
                  <a:cubicBezTo>
                    <a:pt x="543" y="243"/>
                    <a:pt x="543" y="243"/>
                    <a:pt x="543" y="243"/>
                  </a:cubicBezTo>
                  <a:cubicBezTo>
                    <a:pt x="542" y="233"/>
                    <a:pt x="542" y="233"/>
                    <a:pt x="542" y="233"/>
                  </a:cubicBezTo>
                  <a:cubicBezTo>
                    <a:pt x="517" y="215"/>
                    <a:pt x="517" y="215"/>
                    <a:pt x="517" y="215"/>
                  </a:cubicBezTo>
                  <a:cubicBezTo>
                    <a:pt x="514" y="219"/>
                    <a:pt x="514" y="219"/>
                    <a:pt x="514" y="219"/>
                  </a:cubicBezTo>
                  <a:cubicBezTo>
                    <a:pt x="500" y="219"/>
                    <a:pt x="500" y="219"/>
                    <a:pt x="500" y="219"/>
                  </a:cubicBezTo>
                  <a:cubicBezTo>
                    <a:pt x="493" y="225"/>
                    <a:pt x="493" y="225"/>
                    <a:pt x="493" y="225"/>
                  </a:cubicBezTo>
                  <a:cubicBezTo>
                    <a:pt x="486" y="217"/>
                    <a:pt x="486" y="217"/>
                    <a:pt x="486" y="217"/>
                  </a:cubicBezTo>
                  <a:cubicBezTo>
                    <a:pt x="460" y="216"/>
                    <a:pt x="460" y="216"/>
                    <a:pt x="460" y="216"/>
                  </a:cubicBezTo>
                  <a:cubicBezTo>
                    <a:pt x="452" y="228"/>
                    <a:pt x="452" y="228"/>
                    <a:pt x="452" y="228"/>
                  </a:cubicBezTo>
                  <a:cubicBezTo>
                    <a:pt x="443" y="216"/>
                    <a:pt x="443" y="216"/>
                    <a:pt x="443" y="216"/>
                  </a:cubicBezTo>
                  <a:cubicBezTo>
                    <a:pt x="442" y="201"/>
                    <a:pt x="442" y="201"/>
                    <a:pt x="442" y="201"/>
                  </a:cubicBezTo>
                  <a:cubicBezTo>
                    <a:pt x="449" y="195"/>
                    <a:pt x="449" y="195"/>
                    <a:pt x="449" y="195"/>
                  </a:cubicBezTo>
                  <a:cubicBezTo>
                    <a:pt x="436" y="174"/>
                    <a:pt x="436" y="174"/>
                    <a:pt x="436" y="174"/>
                  </a:cubicBezTo>
                  <a:cubicBezTo>
                    <a:pt x="410" y="172"/>
                    <a:pt x="410" y="172"/>
                    <a:pt x="410" y="172"/>
                  </a:cubicBezTo>
                  <a:cubicBezTo>
                    <a:pt x="409" y="165"/>
                    <a:pt x="409" y="165"/>
                    <a:pt x="409" y="165"/>
                  </a:cubicBezTo>
                  <a:cubicBezTo>
                    <a:pt x="409" y="165"/>
                    <a:pt x="390" y="174"/>
                    <a:pt x="383" y="174"/>
                  </a:cubicBezTo>
                  <a:cubicBezTo>
                    <a:pt x="376" y="174"/>
                    <a:pt x="362" y="157"/>
                    <a:pt x="362" y="157"/>
                  </a:cubicBezTo>
                  <a:cubicBezTo>
                    <a:pt x="362" y="141"/>
                    <a:pt x="362" y="141"/>
                    <a:pt x="362" y="141"/>
                  </a:cubicBezTo>
                  <a:cubicBezTo>
                    <a:pt x="353" y="124"/>
                    <a:pt x="353" y="124"/>
                    <a:pt x="353" y="124"/>
                  </a:cubicBezTo>
                  <a:cubicBezTo>
                    <a:pt x="353" y="124"/>
                    <a:pt x="360" y="119"/>
                    <a:pt x="359" y="116"/>
                  </a:cubicBezTo>
                  <a:cubicBezTo>
                    <a:pt x="358" y="113"/>
                    <a:pt x="350" y="110"/>
                    <a:pt x="350" y="110"/>
                  </a:cubicBezTo>
                  <a:cubicBezTo>
                    <a:pt x="335" y="85"/>
                    <a:pt x="335" y="85"/>
                    <a:pt x="335" y="85"/>
                  </a:cubicBezTo>
                  <a:cubicBezTo>
                    <a:pt x="325" y="90"/>
                    <a:pt x="325" y="90"/>
                    <a:pt x="325" y="90"/>
                  </a:cubicBezTo>
                  <a:cubicBezTo>
                    <a:pt x="325" y="90"/>
                    <a:pt x="291" y="99"/>
                    <a:pt x="291" y="106"/>
                  </a:cubicBezTo>
                  <a:cubicBezTo>
                    <a:pt x="291" y="113"/>
                    <a:pt x="283" y="114"/>
                    <a:pt x="283" y="114"/>
                  </a:cubicBezTo>
                  <a:cubicBezTo>
                    <a:pt x="273" y="106"/>
                    <a:pt x="273" y="106"/>
                    <a:pt x="273" y="106"/>
                  </a:cubicBezTo>
                  <a:cubicBezTo>
                    <a:pt x="262" y="106"/>
                    <a:pt x="262" y="106"/>
                    <a:pt x="262" y="106"/>
                  </a:cubicBezTo>
                  <a:cubicBezTo>
                    <a:pt x="262" y="106"/>
                    <a:pt x="253" y="99"/>
                    <a:pt x="253" y="95"/>
                  </a:cubicBezTo>
                  <a:cubicBezTo>
                    <a:pt x="253" y="91"/>
                    <a:pt x="245" y="76"/>
                    <a:pt x="245" y="76"/>
                  </a:cubicBezTo>
                  <a:cubicBezTo>
                    <a:pt x="231" y="77"/>
                    <a:pt x="231" y="77"/>
                    <a:pt x="231" y="77"/>
                  </a:cubicBezTo>
                  <a:cubicBezTo>
                    <a:pt x="221" y="67"/>
                    <a:pt x="221" y="67"/>
                    <a:pt x="221" y="67"/>
                  </a:cubicBezTo>
                  <a:cubicBezTo>
                    <a:pt x="223" y="56"/>
                    <a:pt x="223" y="56"/>
                    <a:pt x="223" y="56"/>
                  </a:cubicBezTo>
                  <a:cubicBezTo>
                    <a:pt x="223" y="56"/>
                    <a:pt x="221" y="42"/>
                    <a:pt x="224" y="42"/>
                  </a:cubicBezTo>
                  <a:cubicBezTo>
                    <a:pt x="227" y="42"/>
                    <a:pt x="221" y="27"/>
                    <a:pt x="221" y="27"/>
                  </a:cubicBezTo>
                  <a:cubicBezTo>
                    <a:pt x="221" y="27"/>
                    <a:pt x="212" y="15"/>
                    <a:pt x="212" y="9"/>
                  </a:cubicBezTo>
                  <a:cubicBezTo>
                    <a:pt x="212" y="3"/>
                    <a:pt x="207" y="0"/>
                    <a:pt x="207" y="0"/>
                  </a:cubicBezTo>
                  <a:cubicBezTo>
                    <a:pt x="207" y="0"/>
                    <a:pt x="174" y="6"/>
                    <a:pt x="157" y="7"/>
                  </a:cubicBezTo>
                  <a:cubicBezTo>
                    <a:pt x="140" y="8"/>
                    <a:pt x="143" y="8"/>
                    <a:pt x="115" y="17"/>
                  </a:cubicBezTo>
                  <a:cubicBezTo>
                    <a:pt x="87" y="26"/>
                    <a:pt x="75" y="27"/>
                    <a:pt x="54" y="31"/>
                  </a:cubicBezTo>
                  <a:cubicBezTo>
                    <a:pt x="33" y="35"/>
                    <a:pt x="26" y="54"/>
                    <a:pt x="26" y="54"/>
                  </a:cubicBezTo>
                  <a:cubicBezTo>
                    <a:pt x="7" y="57"/>
                    <a:pt x="7" y="57"/>
                    <a:pt x="7" y="57"/>
                  </a:cubicBezTo>
                  <a:cubicBezTo>
                    <a:pt x="7" y="57"/>
                    <a:pt x="16" y="74"/>
                    <a:pt x="15" y="87"/>
                  </a:cubicBezTo>
                  <a:cubicBezTo>
                    <a:pt x="14" y="100"/>
                    <a:pt x="5" y="100"/>
                    <a:pt x="5" y="106"/>
                  </a:cubicBezTo>
                  <a:cubicBezTo>
                    <a:pt x="5" y="112"/>
                    <a:pt x="14" y="157"/>
                    <a:pt x="14" y="157"/>
                  </a:cubicBezTo>
                  <a:cubicBezTo>
                    <a:pt x="4" y="192"/>
                    <a:pt x="4" y="192"/>
                    <a:pt x="4" y="192"/>
                  </a:cubicBezTo>
                  <a:cubicBezTo>
                    <a:pt x="4" y="192"/>
                    <a:pt x="7" y="201"/>
                    <a:pt x="12" y="203"/>
                  </a:cubicBezTo>
                  <a:cubicBezTo>
                    <a:pt x="4" y="203"/>
                    <a:pt x="0" y="217"/>
                    <a:pt x="1" y="228"/>
                  </a:cubicBezTo>
                  <a:cubicBezTo>
                    <a:pt x="2" y="239"/>
                    <a:pt x="9" y="232"/>
                    <a:pt x="9" y="232"/>
                  </a:cubicBezTo>
                  <a:cubicBezTo>
                    <a:pt x="9" y="232"/>
                    <a:pt x="10" y="233"/>
                    <a:pt x="12" y="235"/>
                  </a:cubicBezTo>
                  <a:cubicBezTo>
                    <a:pt x="21" y="231"/>
                    <a:pt x="35" y="224"/>
                    <a:pt x="39" y="224"/>
                  </a:cubicBezTo>
                  <a:cubicBezTo>
                    <a:pt x="44" y="224"/>
                    <a:pt x="65" y="237"/>
                    <a:pt x="65" y="23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1" name="Picardie" descr="© INSCALE GmbH, 05.05.2010&#10;http://www.presentationload.com/">
              <a:extLst>
                <a:ext uri="{FF2B5EF4-FFF2-40B4-BE49-F238E27FC236}">
                  <a16:creationId xmlns:a16="http://schemas.microsoft.com/office/drawing/2014/main" id="{2A78403A-7F28-4A1F-B641-DECB4BC24BE4}"/>
                </a:ext>
              </a:extLst>
            </p:cNvPr>
            <p:cNvSpPr>
              <a:spLocks/>
            </p:cNvSpPr>
            <p:nvPr/>
          </p:nvSpPr>
          <p:spPr bwMode="gray">
            <a:xfrm>
              <a:off x="1552" y="410"/>
              <a:ext cx="644" cy="519"/>
            </a:xfrm>
            <a:custGeom>
              <a:avLst/>
              <a:gdLst/>
              <a:ahLst/>
              <a:cxnLst>
                <a:cxn ang="0">
                  <a:pos x="17" y="99"/>
                </a:cxn>
                <a:cxn ang="0">
                  <a:pos x="85" y="189"/>
                </a:cxn>
                <a:cxn ang="0">
                  <a:pos x="79" y="213"/>
                </a:cxn>
                <a:cxn ang="0">
                  <a:pos x="79" y="264"/>
                </a:cxn>
                <a:cxn ang="0">
                  <a:pos x="83" y="275"/>
                </a:cxn>
                <a:cxn ang="0">
                  <a:pos x="84" y="355"/>
                </a:cxn>
                <a:cxn ang="0">
                  <a:pos x="76" y="379"/>
                </a:cxn>
                <a:cxn ang="0">
                  <a:pos x="144" y="371"/>
                </a:cxn>
                <a:cxn ang="0">
                  <a:pos x="160" y="373"/>
                </a:cxn>
                <a:cxn ang="0">
                  <a:pos x="173" y="376"/>
                </a:cxn>
                <a:cxn ang="0">
                  <a:pos x="196" y="375"/>
                </a:cxn>
                <a:cxn ang="0">
                  <a:pos x="196" y="375"/>
                </a:cxn>
                <a:cxn ang="0">
                  <a:pos x="232" y="403"/>
                </a:cxn>
                <a:cxn ang="0">
                  <a:pos x="251" y="409"/>
                </a:cxn>
                <a:cxn ang="0">
                  <a:pos x="280" y="412"/>
                </a:cxn>
                <a:cxn ang="0">
                  <a:pos x="311" y="413"/>
                </a:cxn>
                <a:cxn ang="0">
                  <a:pos x="356" y="397"/>
                </a:cxn>
                <a:cxn ang="0">
                  <a:pos x="392" y="451"/>
                </a:cxn>
                <a:cxn ang="0">
                  <a:pos x="407" y="457"/>
                </a:cxn>
                <a:cxn ang="0">
                  <a:pos x="421" y="476"/>
                </a:cxn>
                <a:cxn ang="0">
                  <a:pos x="451" y="461"/>
                </a:cxn>
                <a:cxn ang="0">
                  <a:pos x="480" y="424"/>
                </a:cxn>
                <a:cxn ang="0">
                  <a:pos x="463" y="415"/>
                </a:cxn>
                <a:cxn ang="0">
                  <a:pos x="465" y="391"/>
                </a:cxn>
                <a:cxn ang="0">
                  <a:pos x="473" y="364"/>
                </a:cxn>
                <a:cxn ang="0">
                  <a:pos x="473" y="333"/>
                </a:cxn>
                <a:cxn ang="0">
                  <a:pos x="517" y="309"/>
                </a:cxn>
                <a:cxn ang="0">
                  <a:pos x="552" y="316"/>
                </a:cxn>
                <a:cxn ang="0">
                  <a:pos x="560" y="260"/>
                </a:cxn>
                <a:cxn ang="0">
                  <a:pos x="564" y="229"/>
                </a:cxn>
                <a:cxn ang="0">
                  <a:pos x="593" y="187"/>
                </a:cxn>
                <a:cxn ang="0">
                  <a:pos x="592" y="143"/>
                </a:cxn>
                <a:cxn ang="0">
                  <a:pos x="536" y="111"/>
                </a:cxn>
                <a:cxn ang="0">
                  <a:pos x="517" y="109"/>
                </a:cxn>
                <a:cxn ang="0">
                  <a:pos x="484" y="93"/>
                </a:cxn>
                <a:cxn ang="0">
                  <a:pos x="408" y="103"/>
                </a:cxn>
                <a:cxn ang="0">
                  <a:pos x="387" y="105"/>
                </a:cxn>
                <a:cxn ang="0">
                  <a:pos x="323" y="97"/>
                </a:cxn>
                <a:cxn ang="0">
                  <a:pos x="316" y="100"/>
                </a:cxn>
                <a:cxn ang="0">
                  <a:pos x="288" y="99"/>
                </a:cxn>
                <a:cxn ang="0">
                  <a:pos x="276" y="76"/>
                </a:cxn>
                <a:cxn ang="0">
                  <a:pos x="252" y="80"/>
                </a:cxn>
                <a:cxn ang="0">
                  <a:pos x="217" y="85"/>
                </a:cxn>
                <a:cxn ang="0">
                  <a:pos x="231" y="49"/>
                </a:cxn>
                <a:cxn ang="0">
                  <a:pos x="203" y="45"/>
                </a:cxn>
                <a:cxn ang="0">
                  <a:pos x="161" y="55"/>
                </a:cxn>
                <a:cxn ang="0">
                  <a:pos x="145" y="33"/>
                </a:cxn>
                <a:cxn ang="0">
                  <a:pos x="121" y="12"/>
                </a:cxn>
                <a:cxn ang="0">
                  <a:pos x="83" y="0"/>
                </a:cxn>
                <a:cxn ang="0">
                  <a:pos x="63" y="30"/>
                </a:cxn>
                <a:cxn ang="0">
                  <a:pos x="25" y="60"/>
                </a:cxn>
                <a:cxn ang="0">
                  <a:pos x="5" y="92"/>
                </a:cxn>
              </a:cxnLst>
              <a:rect l="0" t="0" r="r" b="b"/>
              <a:pathLst>
                <a:path w="597" h="481">
                  <a:moveTo>
                    <a:pt x="17" y="95"/>
                  </a:moveTo>
                  <a:cubicBezTo>
                    <a:pt x="17" y="99"/>
                    <a:pt x="17" y="99"/>
                    <a:pt x="17" y="99"/>
                  </a:cubicBezTo>
                  <a:cubicBezTo>
                    <a:pt x="17" y="99"/>
                    <a:pt x="43" y="136"/>
                    <a:pt x="61" y="139"/>
                  </a:cubicBezTo>
                  <a:cubicBezTo>
                    <a:pt x="85" y="189"/>
                    <a:pt x="85" y="189"/>
                    <a:pt x="85" y="189"/>
                  </a:cubicBezTo>
                  <a:cubicBezTo>
                    <a:pt x="85" y="189"/>
                    <a:pt x="64" y="211"/>
                    <a:pt x="68" y="212"/>
                  </a:cubicBezTo>
                  <a:cubicBezTo>
                    <a:pt x="72" y="213"/>
                    <a:pt x="79" y="213"/>
                    <a:pt x="79" y="213"/>
                  </a:cubicBezTo>
                  <a:cubicBezTo>
                    <a:pt x="69" y="244"/>
                    <a:pt x="69" y="244"/>
                    <a:pt x="69" y="244"/>
                  </a:cubicBezTo>
                  <a:cubicBezTo>
                    <a:pt x="79" y="264"/>
                    <a:pt x="79" y="264"/>
                    <a:pt x="79" y="264"/>
                  </a:cubicBezTo>
                  <a:cubicBezTo>
                    <a:pt x="73" y="276"/>
                    <a:pt x="73" y="276"/>
                    <a:pt x="73" y="276"/>
                  </a:cubicBezTo>
                  <a:cubicBezTo>
                    <a:pt x="83" y="275"/>
                    <a:pt x="83" y="275"/>
                    <a:pt x="83" y="275"/>
                  </a:cubicBezTo>
                  <a:cubicBezTo>
                    <a:pt x="73" y="303"/>
                    <a:pt x="73" y="303"/>
                    <a:pt x="73" y="303"/>
                  </a:cubicBezTo>
                  <a:cubicBezTo>
                    <a:pt x="73" y="303"/>
                    <a:pt x="85" y="340"/>
                    <a:pt x="84" y="355"/>
                  </a:cubicBezTo>
                  <a:cubicBezTo>
                    <a:pt x="65" y="349"/>
                    <a:pt x="65" y="349"/>
                    <a:pt x="65" y="349"/>
                  </a:cubicBezTo>
                  <a:cubicBezTo>
                    <a:pt x="76" y="379"/>
                    <a:pt x="76" y="379"/>
                    <a:pt x="76" y="379"/>
                  </a:cubicBezTo>
                  <a:cubicBezTo>
                    <a:pt x="128" y="375"/>
                    <a:pt x="128" y="375"/>
                    <a:pt x="128" y="375"/>
                  </a:cubicBezTo>
                  <a:cubicBezTo>
                    <a:pt x="144" y="371"/>
                    <a:pt x="144" y="371"/>
                    <a:pt x="144" y="371"/>
                  </a:cubicBezTo>
                  <a:cubicBezTo>
                    <a:pt x="151" y="376"/>
                    <a:pt x="151" y="376"/>
                    <a:pt x="151" y="376"/>
                  </a:cubicBezTo>
                  <a:cubicBezTo>
                    <a:pt x="160" y="373"/>
                    <a:pt x="160" y="373"/>
                    <a:pt x="160" y="373"/>
                  </a:cubicBezTo>
                  <a:cubicBezTo>
                    <a:pt x="169" y="383"/>
                    <a:pt x="169" y="383"/>
                    <a:pt x="169" y="383"/>
                  </a:cubicBezTo>
                  <a:cubicBezTo>
                    <a:pt x="173" y="376"/>
                    <a:pt x="173" y="376"/>
                    <a:pt x="173" y="376"/>
                  </a:cubicBezTo>
                  <a:cubicBezTo>
                    <a:pt x="177" y="384"/>
                    <a:pt x="177" y="384"/>
                    <a:pt x="177" y="384"/>
                  </a:cubicBezTo>
                  <a:cubicBezTo>
                    <a:pt x="196" y="375"/>
                    <a:pt x="196" y="375"/>
                    <a:pt x="196" y="375"/>
                  </a:cubicBezTo>
                  <a:cubicBezTo>
                    <a:pt x="197" y="375"/>
                    <a:pt x="197" y="375"/>
                    <a:pt x="197" y="375"/>
                  </a:cubicBezTo>
                  <a:cubicBezTo>
                    <a:pt x="196" y="375"/>
                    <a:pt x="196" y="375"/>
                    <a:pt x="196" y="375"/>
                  </a:cubicBezTo>
                  <a:cubicBezTo>
                    <a:pt x="194" y="376"/>
                    <a:pt x="190" y="380"/>
                    <a:pt x="203" y="383"/>
                  </a:cubicBezTo>
                  <a:cubicBezTo>
                    <a:pt x="219" y="387"/>
                    <a:pt x="237" y="399"/>
                    <a:pt x="232" y="403"/>
                  </a:cubicBezTo>
                  <a:cubicBezTo>
                    <a:pt x="227" y="407"/>
                    <a:pt x="245" y="399"/>
                    <a:pt x="245" y="399"/>
                  </a:cubicBezTo>
                  <a:cubicBezTo>
                    <a:pt x="251" y="409"/>
                    <a:pt x="251" y="409"/>
                    <a:pt x="251" y="409"/>
                  </a:cubicBezTo>
                  <a:cubicBezTo>
                    <a:pt x="251" y="409"/>
                    <a:pt x="253" y="397"/>
                    <a:pt x="260" y="401"/>
                  </a:cubicBezTo>
                  <a:cubicBezTo>
                    <a:pt x="267" y="405"/>
                    <a:pt x="272" y="409"/>
                    <a:pt x="280" y="412"/>
                  </a:cubicBezTo>
                  <a:cubicBezTo>
                    <a:pt x="288" y="415"/>
                    <a:pt x="297" y="405"/>
                    <a:pt x="297" y="405"/>
                  </a:cubicBezTo>
                  <a:cubicBezTo>
                    <a:pt x="311" y="413"/>
                    <a:pt x="311" y="413"/>
                    <a:pt x="311" y="413"/>
                  </a:cubicBezTo>
                  <a:cubicBezTo>
                    <a:pt x="349" y="403"/>
                    <a:pt x="349" y="403"/>
                    <a:pt x="349" y="403"/>
                  </a:cubicBezTo>
                  <a:cubicBezTo>
                    <a:pt x="356" y="397"/>
                    <a:pt x="356" y="397"/>
                    <a:pt x="356" y="397"/>
                  </a:cubicBezTo>
                  <a:cubicBezTo>
                    <a:pt x="356" y="397"/>
                    <a:pt x="380" y="399"/>
                    <a:pt x="376" y="431"/>
                  </a:cubicBezTo>
                  <a:cubicBezTo>
                    <a:pt x="377" y="436"/>
                    <a:pt x="393" y="443"/>
                    <a:pt x="392" y="451"/>
                  </a:cubicBezTo>
                  <a:cubicBezTo>
                    <a:pt x="391" y="459"/>
                    <a:pt x="404" y="449"/>
                    <a:pt x="404" y="449"/>
                  </a:cubicBezTo>
                  <a:cubicBezTo>
                    <a:pt x="407" y="457"/>
                    <a:pt x="407" y="457"/>
                    <a:pt x="407" y="457"/>
                  </a:cubicBezTo>
                  <a:cubicBezTo>
                    <a:pt x="417" y="457"/>
                    <a:pt x="417" y="457"/>
                    <a:pt x="417" y="457"/>
                  </a:cubicBezTo>
                  <a:cubicBezTo>
                    <a:pt x="417" y="457"/>
                    <a:pt x="417" y="476"/>
                    <a:pt x="421" y="476"/>
                  </a:cubicBezTo>
                  <a:cubicBezTo>
                    <a:pt x="425" y="476"/>
                    <a:pt x="441" y="481"/>
                    <a:pt x="441" y="481"/>
                  </a:cubicBezTo>
                  <a:cubicBezTo>
                    <a:pt x="451" y="461"/>
                    <a:pt x="451" y="461"/>
                    <a:pt x="451" y="461"/>
                  </a:cubicBezTo>
                  <a:cubicBezTo>
                    <a:pt x="457" y="459"/>
                    <a:pt x="457" y="459"/>
                    <a:pt x="457" y="459"/>
                  </a:cubicBezTo>
                  <a:cubicBezTo>
                    <a:pt x="457" y="459"/>
                    <a:pt x="487" y="429"/>
                    <a:pt x="480" y="424"/>
                  </a:cubicBezTo>
                  <a:cubicBezTo>
                    <a:pt x="473" y="419"/>
                    <a:pt x="461" y="420"/>
                    <a:pt x="461" y="420"/>
                  </a:cubicBezTo>
                  <a:cubicBezTo>
                    <a:pt x="463" y="415"/>
                    <a:pt x="463" y="415"/>
                    <a:pt x="463" y="415"/>
                  </a:cubicBezTo>
                  <a:cubicBezTo>
                    <a:pt x="471" y="408"/>
                    <a:pt x="471" y="408"/>
                    <a:pt x="471" y="408"/>
                  </a:cubicBezTo>
                  <a:cubicBezTo>
                    <a:pt x="471" y="408"/>
                    <a:pt x="463" y="396"/>
                    <a:pt x="465" y="391"/>
                  </a:cubicBezTo>
                  <a:cubicBezTo>
                    <a:pt x="468" y="385"/>
                    <a:pt x="492" y="380"/>
                    <a:pt x="492" y="380"/>
                  </a:cubicBezTo>
                  <a:cubicBezTo>
                    <a:pt x="473" y="364"/>
                    <a:pt x="473" y="364"/>
                    <a:pt x="473" y="364"/>
                  </a:cubicBezTo>
                  <a:cubicBezTo>
                    <a:pt x="479" y="353"/>
                    <a:pt x="479" y="353"/>
                    <a:pt x="479" y="353"/>
                  </a:cubicBezTo>
                  <a:cubicBezTo>
                    <a:pt x="473" y="333"/>
                    <a:pt x="473" y="333"/>
                    <a:pt x="473" y="333"/>
                  </a:cubicBezTo>
                  <a:cubicBezTo>
                    <a:pt x="473" y="333"/>
                    <a:pt x="495" y="315"/>
                    <a:pt x="512" y="320"/>
                  </a:cubicBezTo>
                  <a:cubicBezTo>
                    <a:pt x="516" y="319"/>
                    <a:pt x="517" y="309"/>
                    <a:pt x="517" y="309"/>
                  </a:cubicBezTo>
                  <a:cubicBezTo>
                    <a:pt x="528" y="303"/>
                    <a:pt x="528" y="303"/>
                    <a:pt x="528" y="303"/>
                  </a:cubicBezTo>
                  <a:cubicBezTo>
                    <a:pt x="528" y="303"/>
                    <a:pt x="547" y="316"/>
                    <a:pt x="552" y="316"/>
                  </a:cubicBezTo>
                  <a:cubicBezTo>
                    <a:pt x="557" y="316"/>
                    <a:pt x="552" y="267"/>
                    <a:pt x="552" y="267"/>
                  </a:cubicBezTo>
                  <a:cubicBezTo>
                    <a:pt x="560" y="260"/>
                    <a:pt x="560" y="260"/>
                    <a:pt x="560" y="260"/>
                  </a:cubicBezTo>
                  <a:cubicBezTo>
                    <a:pt x="548" y="231"/>
                    <a:pt x="548" y="231"/>
                    <a:pt x="548" y="231"/>
                  </a:cubicBezTo>
                  <a:cubicBezTo>
                    <a:pt x="564" y="229"/>
                    <a:pt x="564" y="229"/>
                    <a:pt x="564" y="229"/>
                  </a:cubicBezTo>
                  <a:cubicBezTo>
                    <a:pt x="571" y="215"/>
                    <a:pt x="571" y="215"/>
                    <a:pt x="571" y="215"/>
                  </a:cubicBezTo>
                  <a:cubicBezTo>
                    <a:pt x="593" y="187"/>
                    <a:pt x="593" y="187"/>
                    <a:pt x="593" y="187"/>
                  </a:cubicBezTo>
                  <a:cubicBezTo>
                    <a:pt x="587" y="180"/>
                    <a:pt x="587" y="180"/>
                    <a:pt x="587" y="180"/>
                  </a:cubicBezTo>
                  <a:cubicBezTo>
                    <a:pt x="592" y="143"/>
                    <a:pt x="592" y="143"/>
                    <a:pt x="592" y="143"/>
                  </a:cubicBezTo>
                  <a:cubicBezTo>
                    <a:pt x="592" y="143"/>
                    <a:pt x="583" y="130"/>
                    <a:pt x="597" y="110"/>
                  </a:cubicBezTo>
                  <a:cubicBezTo>
                    <a:pt x="566" y="131"/>
                    <a:pt x="536" y="111"/>
                    <a:pt x="536" y="111"/>
                  </a:cubicBezTo>
                  <a:cubicBezTo>
                    <a:pt x="536" y="97"/>
                    <a:pt x="536" y="97"/>
                    <a:pt x="536" y="97"/>
                  </a:cubicBezTo>
                  <a:cubicBezTo>
                    <a:pt x="517" y="109"/>
                    <a:pt x="517" y="109"/>
                    <a:pt x="517" y="109"/>
                  </a:cubicBezTo>
                  <a:cubicBezTo>
                    <a:pt x="517" y="103"/>
                    <a:pt x="517" y="103"/>
                    <a:pt x="517" y="103"/>
                  </a:cubicBezTo>
                  <a:cubicBezTo>
                    <a:pt x="484" y="93"/>
                    <a:pt x="484" y="93"/>
                    <a:pt x="484" y="93"/>
                  </a:cubicBezTo>
                  <a:cubicBezTo>
                    <a:pt x="457" y="115"/>
                    <a:pt x="447" y="99"/>
                    <a:pt x="448" y="95"/>
                  </a:cubicBezTo>
                  <a:cubicBezTo>
                    <a:pt x="444" y="113"/>
                    <a:pt x="408" y="103"/>
                    <a:pt x="408" y="103"/>
                  </a:cubicBezTo>
                  <a:cubicBezTo>
                    <a:pt x="403" y="115"/>
                    <a:pt x="392" y="111"/>
                    <a:pt x="392" y="111"/>
                  </a:cubicBezTo>
                  <a:cubicBezTo>
                    <a:pt x="392" y="111"/>
                    <a:pt x="392" y="107"/>
                    <a:pt x="387" y="105"/>
                  </a:cubicBezTo>
                  <a:cubicBezTo>
                    <a:pt x="364" y="117"/>
                    <a:pt x="357" y="97"/>
                    <a:pt x="357" y="97"/>
                  </a:cubicBezTo>
                  <a:cubicBezTo>
                    <a:pt x="323" y="97"/>
                    <a:pt x="323" y="97"/>
                    <a:pt x="323" y="97"/>
                  </a:cubicBezTo>
                  <a:cubicBezTo>
                    <a:pt x="309" y="108"/>
                    <a:pt x="309" y="108"/>
                    <a:pt x="309" y="108"/>
                  </a:cubicBezTo>
                  <a:cubicBezTo>
                    <a:pt x="316" y="100"/>
                    <a:pt x="316" y="100"/>
                    <a:pt x="316" y="100"/>
                  </a:cubicBezTo>
                  <a:cubicBezTo>
                    <a:pt x="307" y="89"/>
                    <a:pt x="307" y="89"/>
                    <a:pt x="307" y="89"/>
                  </a:cubicBezTo>
                  <a:cubicBezTo>
                    <a:pt x="288" y="99"/>
                    <a:pt x="288" y="99"/>
                    <a:pt x="288" y="99"/>
                  </a:cubicBezTo>
                  <a:cubicBezTo>
                    <a:pt x="292" y="79"/>
                    <a:pt x="292" y="79"/>
                    <a:pt x="292" y="79"/>
                  </a:cubicBezTo>
                  <a:cubicBezTo>
                    <a:pt x="276" y="76"/>
                    <a:pt x="276" y="76"/>
                    <a:pt x="276" y="76"/>
                  </a:cubicBezTo>
                  <a:cubicBezTo>
                    <a:pt x="271" y="89"/>
                    <a:pt x="271" y="89"/>
                    <a:pt x="271" y="89"/>
                  </a:cubicBezTo>
                  <a:cubicBezTo>
                    <a:pt x="271" y="89"/>
                    <a:pt x="252" y="87"/>
                    <a:pt x="252" y="80"/>
                  </a:cubicBezTo>
                  <a:cubicBezTo>
                    <a:pt x="252" y="73"/>
                    <a:pt x="237" y="76"/>
                    <a:pt x="237" y="76"/>
                  </a:cubicBezTo>
                  <a:cubicBezTo>
                    <a:pt x="237" y="65"/>
                    <a:pt x="217" y="85"/>
                    <a:pt x="217" y="85"/>
                  </a:cubicBezTo>
                  <a:cubicBezTo>
                    <a:pt x="217" y="85"/>
                    <a:pt x="207" y="91"/>
                    <a:pt x="207" y="80"/>
                  </a:cubicBezTo>
                  <a:cubicBezTo>
                    <a:pt x="207" y="69"/>
                    <a:pt x="231" y="49"/>
                    <a:pt x="231" y="49"/>
                  </a:cubicBezTo>
                  <a:cubicBezTo>
                    <a:pt x="224" y="39"/>
                    <a:pt x="224" y="39"/>
                    <a:pt x="224" y="39"/>
                  </a:cubicBezTo>
                  <a:cubicBezTo>
                    <a:pt x="203" y="45"/>
                    <a:pt x="203" y="45"/>
                    <a:pt x="203" y="45"/>
                  </a:cubicBezTo>
                  <a:cubicBezTo>
                    <a:pt x="187" y="41"/>
                    <a:pt x="187" y="41"/>
                    <a:pt x="187" y="41"/>
                  </a:cubicBezTo>
                  <a:cubicBezTo>
                    <a:pt x="161" y="55"/>
                    <a:pt x="161" y="55"/>
                    <a:pt x="161" y="55"/>
                  </a:cubicBezTo>
                  <a:cubicBezTo>
                    <a:pt x="153" y="51"/>
                    <a:pt x="153" y="51"/>
                    <a:pt x="153" y="51"/>
                  </a:cubicBezTo>
                  <a:cubicBezTo>
                    <a:pt x="145" y="33"/>
                    <a:pt x="145" y="33"/>
                    <a:pt x="145" y="33"/>
                  </a:cubicBezTo>
                  <a:cubicBezTo>
                    <a:pt x="123" y="23"/>
                    <a:pt x="123" y="23"/>
                    <a:pt x="123" y="23"/>
                  </a:cubicBezTo>
                  <a:cubicBezTo>
                    <a:pt x="121" y="12"/>
                    <a:pt x="121" y="12"/>
                    <a:pt x="121" y="12"/>
                  </a:cubicBezTo>
                  <a:cubicBezTo>
                    <a:pt x="109" y="13"/>
                    <a:pt x="109" y="13"/>
                    <a:pt x="109" y="13"/>
                  </a:cubicBezTo>
                  <a:cubicBezTo>
                    <a:pt x="109" y="13"/>
                    <a:pt x="88" y="0"/>
                    <a:pt x="83" y="0"/>
                  </a:cubicBezTo>
                  <a:cubicBezTo>
                    <a:pt x="79" y="0"/>
                    <a:pt x="65" y="7"/>
                    <a:pt x="56" y="11"/>
                  </a:cubicBezTo>
                  <a:cubicBezTo>
                    <a:pt x="60" y="16"/>
                    <a:pt x="69" y="27"/>
                    <a:pt x="63" y="30"/>
                  </a:cubicBezTo>
                  <a:cubicBezTo>
                    <a:pt x="55" y="34"/>
                    <a:pt x="45" y="21"/>
                    <a:pt x="45" y="21"/>
                  </a:cubicBezTo>
                  <a:cubicBezTo>
                    <a:pt x="35" y="27"/>
                    <a:pt x="25" y="60"/>
                    <a:pt x="25" y="60"/>
                  </a:cubicBezTo>
                  <a:cubicBezTo>
                    <a:pt x="25" y="60"/>
                    <a:pt x="14" y="68"/>
                    <a:pt x="0" y="77"/>
                  </a:cubicBezTo>
                  <a:cubicBezTo>
                    <a:pt x="5" y="92"/>
                    <a:pt x="5" y="92"/>
                    <a:pt x="5" y="92"/>
                  </a:cubicBezTo>
                  <a:lnTo>
                    <a:pt x="17" y="9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2" name="Haute Normandie" descr="© INSCALE GmbH, 05.05.2010&#10;http://www.presentationload.com/">
              <a:extLst>
                <a:ext uri="{FF2B5EF4-FFF2-40B4-BE49-F238E27FC236}">
                  <a16:creationId xmlns:a16="http://schemas.microsoft.com/office/drawing/2014/main" id="{67DE9D41-AD0D-42D6-AE91-CBB98FF22C82}"/>
                </a:ext>
              </a:extLst>
            </p:cNvPr>
            <p:cNvSpPr>
              <a:spLocks/>
            </p:cNvSpPr>
            <p:nvPr/>
          </p:nvSpPr>
          <p:spPr bwMode="gray">
            <a:xfrm>
              <a:off x="1259" y="493"/>
              <a:ext cx="385" cy="503"/>
            </a:xfrm>
            <a:custGeom>
              <a:avLst/>
              <a:gdLst/>
              <a:ahLst/>
              <a:cxnLst>
                <a:cxn ang="0">
                  <a:pos x="355" y="198"/>
                </a:cxn>
                <a:cxn ang="0">
                  <a:pos x="345" y="199"/>
                </a:cxn>
                <a:cxn ang="0">
                  <a:pos x="351" y="187"/>
                </a:cxn>
                <a:cxn ang="0">
                  <a:pos x="341" y="167"/>
                </a:cxn>
                <a:cxn ang="0">
                  <a:pos x="351" y="136"/>
                </a:cxn>
                <a:cxn ang="0">
                  <a:pos x="340" y="135"/>
                </a:cxn>
                <a:cxn ang="0">
                  <a:pos x="357" y="112"/>
                </a:cxn>
                <a:cxn ang="0">
                  <a:pos x="333" y="62"/>
                </a:cxn>
                <a:cxn ang="0">
                  <a:pos x="289" y="22"/>
                </a:cxn>
                <a:cxn ang="0">
                  <a:pos x="289" y="18"/>
                </a:cxn>
                <a:cxn ang="0">
                  <a:pos x="277" y="15"/>
                </a:cxn>
                <a:cxn ang="0">
                  <a:pos x="272" y="0"/>
                </a:cxn>
                <a:cxn ang="0">
                  <a:pos x="220" y="29"/>
                </a:cxn>
                <a:cxn ang="0">
                  <a:pos x="155" y="47"/>
                </a:cxn>
                <a:cxn ang="0">
                  <a:pos x="108" y="50"/>
                </a:cxn>
                <a:cxn ang="0">
                  <a:pos x="30" y="93"/>
                </a:cxn>
                <a:cxn ang="0">
                  <a:pos x="0" y="150"/>
                </a:cxn>
                <a:cxn ang="0">
                  <a:pos x="10" y="167"/>
                </a:cxn>
                <a:cxn ang="0">
                  <a:pos x="39" y="178"/>
                </a:cxn>
                <a:cxn ang="0">
                  <a:pos x="52" y="263"/>
                </a:cxn>
                <a:cxn ang="0">
                  <a:pos x="53" y="271"/>
                </a:cxn>
                <a:cxn ang="0">
                  <a:pos x="67" y="288"/>
                </a:cxn>
                <a:cxn ang="0">
                  <a:pos x="67" y="303"/>
                </a:cxn>
                <a:cxn ang="0">
                  <a:pos x="72" y="311"/>
                </a:cxn>
                <a:cxn ang="0">
                  <a:pos x="71" y="331"/>
                </a:cxn>
                <a:cxn ang="0">
                  <a:pos x="63" y="332"/>
                </a:cxn>
                <a:cxn ang="0">
                  <a:pos x="72" y="344"/>
                </a:cxn>
                <a:cxn ang="0">
                  <a:pos x="65" y="379"/>
                </a:cxn>
                <a:cxn ang="0">
                  <a:pos x="72" y="388"/>
                </a:cxn>
                <a:cxn ang="0">
                  <a:pos x="105" y="390"/>
                </a:cxn>
                <a:cxn ang="0">
                  <a:pos x="112" y="410"/>
                </a:cxn>
                <a:cxn ang="0">
                  <a:pos x="136" y="448"/>
                </a:cxn>
                <a:cxn ang="0">
                  <a:pos x="139" y="459"/>
                </a:cxn>
                <a:cxn ang="0">
                  <a:pos x="167" y="444"/>
                </a:cxn>
                <a:cxn ang="0">
                  <a:pos x="201" y="434"/>
                </a:cxn>
                <a:cxn ang="0">
                  <a:pos x="211" y="438"/>
                </a:cxn>
                <a:cxn ang="0">
                  <a:pos x="212" y="427"/>
                </a:cxn>
                <a:cxn ang="0">
                  <a:pos x="263" y="431"/>
                </a:cxn>
                <a:cxn ang="0">
                  <a:pos x="268" y="408"/>
                </a:cxn>
                <a:cxn ang="0">
                  <a:pos x="288" y="395"/>
                </a:cxn>
                <a:cxn ang="0">
                  <a:pos x="288" y="383"/>
                </a:cxn>
                <a:cxn ang="0">
                  <a:pos x="297" y="379"/>
                </a:cxn>
                <a:cxn ang="0">
                  <a:pos x="284" y="343"/>
                </a:cxn>
                <a:cxn ang="0">
                  <a:pos x="297" y="338"/>
                </a:cxn>
                <a:cxn ang="0">
                  <a:pos x="295" y="331"/>
                </a:cxn>
                <a:cxn ang="0">
                  <a:pos x="323" y="328"/>
                </a:cxn>
                <a:cxn ang="0">
                  <a:pos x="340" y="281"/>
                </a:cxn>
                <a:cxn ang="0">
                  <a:pos x="337" y="272"/>
                </a:cxn>
                <a:cxn ang="0">
                  <a:pos x="354" y="277"/>
                </a:cxn>
                <a:cxn ang="0">
                  <a:pos x="356" y="278"/>
                </a:cxn>
                <a:cxn ang="0">
                  <a:pos x="356" y="277"/>
                </a:cxn>
                <a:cxn ang="0">
                  <a:pos x="345" y="226"/>
                </a:cxn>
                <a:cxn ang="0">
                  <a:pos x="355" y="198"/>
                </a:cxn>
              </a:cxnLst>
              <a:rect l="0" t="0" r="r" b="b"/>
              <a:pathLst>
                <a:path w="357" h="466">
                  <a:moveTo>
                    <a:pt x="355" y="198"/>
                  </a:moveTo>
                  <a:cubicBezTo>
                    <a:pt x="345" y="199"/>
                    <a:pt x="345" y="199"/>
                    <a:pt x="345" y="199"/>
                  </a:cubicBezTo>
                  <a:cubicBezTo>
                    <a:pt x="351" y="187"/>
                    <a:pt x="351" y="187"/>
                    <a:pt x="351" y="187"/>
                  </a:cubicBezTo>
                  <a:cubicBezTo>
                    <a:pt x="341" y="167"/>
                    <a:pt x="341" y="167"/>
                    <a:pt x="341" y="167"/>
                  </a:cubicBezTo>
                  <a:cubicBezTo>
                    <a:pt x="351" y="136"/>
                    <a:pt x="351" y="136"/>
                    <a:pt x="351" y="136"/>
                  </a:cubicBezTo>
                  <a:cubicBezTo>
                    <a:pt x="351" y="136"/>
                    <a:pt x="344" y="136"/>
                    <a:pt x="340" y="135"/>
                  </a:cubicBezTo>
                  <a:cubicBezTo>
                    <a:pt x="336" y="134"/>
                    <a:pt x="357" y="112"/>
                    <a:pt x="357" y="112"/>
                  </a:cubicBezTo>
                  <a:cubicBezTo>
                    <a:pt x="333" y="62"/>
                    <a:pt x="333" y="62"/>
                    <a:pt x="333" y="62"/>
                  </a:cubicBezTo>
                  <a:cubicBezTo>
                    <a:pt x="315" y="59"/>
                    <a:pt x="289" y="22"/>
                    <a:pt x="289" y="22"/>
                  </a:cubicBezTo>
                  <a:cubicBezTo>
                    <a:pt x="289" y="18"/>
                    <a:pt x="289" y="18"/>
                    <a:pt x="289" y="18"/>
                  </a:cubicBezTo>
                  <a:cubicBezTo>
                    <a:pt x="277" y="15"/>
                    <a:pt x="277" y="15"/>
                    <a:pt x="277" y="15"/>
                  </a:cubicBezTo>
                  <a:cubicBezTo>
                    <a:pt x="272" y="0"/>
                    <a:pt x="272" y="0"/>
                    <a:pt x="272" y="0"/>
                  </a:cubicBezTo>
                  <a:cubicBezTo>
                    <a:pt x="255" y="11"/>
                    <a:pt x="233" y="25"/>
                    <a:pt x="220" y="29"/>
                  </a:cubicBezTo>
                  <a:cubicBezTo>
                    <a:pt x="196" y="38"/>
                    <a:pt x="155" y="47"/>
                    <a:pt x="155" y="47"/>
                  </a:cubicBezTo>
                  <a:cubicBezTo>
                    <a:pt x="155" y="47"/>
                    <a:pt x="110" y="54"/>
                    <a:pt x="108" y="50"/>
                  </a:cubicBezTo>
                  <a:cubicBezTo>
                    <a:pt x="81" y="78"/>
                    <a:pt x="30" y="93"/>
                    <a:pt x="30" y="93"/>
                  </a:cubicBezTo>
                  <a:cubicBezTo>
                    <a:pt x="0" y="150"/>
                    <a:pt x="0" y="150"/>
                    <a:pt x="0" y="150"/>
                  </a:cubicBezTo>
                  <a:cubicBezTo>
                    <a:pt x="10" y="167"/>
                    <a:pt x="10" y="167"/>
                    <a:pt x="10" y="167"/>
                  </a:cubicBezTo>
                  <a:cubicBezTo>
                    <a:pt x="10" y="167"/>
                    <a:pt x="44" y="176"/>
                    <a:pt x="39" y="178"/>
                  </a:cubicBezTo>
                  <a:cubicBezTo>
                    <a:pt x="52" y="263"/>
                    <a:pt x="52" y="263"/>
                    <a:pt x="52" y="263"/>
                  </a:cubicBezTo>
                  <a:cubicBezTo>
                    <a:pt x="52" y="263"/>
                    <a:pt x="84" y="260"/>
                    <a:pt x="53" y="271"/>
                  </a:cubicBezTo>
                  <a:cubicBezTo>
                    <a:pt x="51" y="278"/>
                    <a:pt x="67" y="288"/>
                    <a:pt x="67" y="288"/>
                  </a:cubicBezTo>
                  <a:cubicBezTo>
                    <a:pt x="67" y="303"/>
                    <a:pt x="67" y="303"/>
                    <a:pt x="67" y="303"/>
                  </a:cubicBezTo>
                  <a:cubicBezTo>
                    <a:pt x="72" y="311"/>
                    <a:pt x="72" y="311"/>
                    <a:pt x="72" y="311"/>
                  </a:cubicBezTo>
                  <a:cubicBezTo>
                    <a:pt x="71" y="331"/>
                    <a:pt x="71" y="331"/>
                    <a:pt x="71" y="331"/>
                  </a:cubicBezTo>
                  <a:cubicBezTo>
                    <a:pt x="63" y="332"/>
                    <a:pt x="63" y="332"/>
                    <a:pt x="63" y="332"/>
                  </a:cubicBezTo>
                  <a:cubicBezTo>
                    <a:pt x="72" y="344"/>
                    <a:pt x="72" y="344"/>
                    <a:pt x="72" y="344"/>
                  </a:cubicBezTo>
                  <a:cubicBezTo>
                    <a:pt x="72" y="344"/>
                    <a:pt x="72" y="374"/>
                    <a:pt x="65" y="379"/>
                  </a:cubicBezTo>
                  <a:cubicBezTo>
                    <a:pt x="59" y="384"/>
                    <a:pt x="72" y="388"/>
                    <a:pt x="72" y="388"/>
                  </a:cubicBezTo>
                  <a:cubicBezTo>
                    <a:pt x="105" y="390"/>
                    <a:pt x="105" y="390"/>
                    <a:pt x="105" y="390"/>
                  </a:cubicBezTo>
                  <a:cubicBezTo>
                    <a:pt x="112" y="410"/>
                    <a:pt x="112" y="410"/>
                    <a:pt x="112" y="410"/>
                  </a:cubicBezTo>
                  <a:cubicBezTo>
                    <a:pt x="112" y="410"/>
                    <a:pt x="157" y="434"/>
                    <a:pt x="136" y="448"/>
                  </a:cubicBezTo>
                  <a:cubicBezTo>
                    <a:pt x="132" y="448"/>
                    <a:pt x="139" y="459"/>
                    <a:pt x="139" y="459"/>
                  </a:cubicBezTo>
                  <a:cubicBezTo>
                    <a:pt x="139" y="459"/>
                    <a:pt x="159" y="466"/>
                    <a:pt x="167" y="444"/>
                  </a:cubicBezTo>
                  <a:cubicBezTo>
                    <a:pt x="171" y="444"/>
                    <a:pt x="179" y="456"/>
                    <a:pt x="201" y="434"/>
                  </a:cubicBezTo>
                  <a:cubicBezTo>
                    <a:pt x="203" y="438"/>
                    <a:pt x="211" y="438"/>
                    <a:pt x="211" y="438"/>
                  </a:cubicBezTo>
                  <a:cubicBezTo>
                    <a:pt x="212" y="427"/>
                    <a:pt x="212" y="427"/>
                    <a:pt x="212" y="427"/>
                  </a:cubicBezTo>
                  <a:cubicBezTo>
                    <a:pt x="212" y="427"/>
                    <a:pt x="256" y="442"/>
                    <a:pt x="263" y="431"/>
                  </a:cubicBezTo>
                  <a:cubicBezTo>
                    <a:pt x="269" y="420"/>
                    <a:pt x="268" y="408"/>
                    <a:pt x="268" y="408"/>
                  </a:cubicBezTo>
                  <a:cubicBezTo>
                    <a:pt x="268" y="408"/>
                    <a:pt x="287" y="400"/>
                    <a:pt x="288" y="395"/>
                  </a:cubicBezTo>
                  <a:cubicBezTo>
                    <a:pt x="289" y="390"/>
                    <a:pt x="288" y="383"/>
                    <a:pt x="288" y="383"/>
                  </a:cubicBezTo>
                  <a:cubicBezTo>
                    <a:pt x="297" y="379"/>
                    <a:pt x="297" y="379"/>
                    <a:pt x="297" y="379"/>
                  </a:cubicBezTo>
                  <a:cubicBezTo>
                    <a:pt x="284" y="343"/>
                    <a:pt x="284" y="343"/>
                    <a:pt x="284" y="343"/>
                  </a:cubicBezTo>
                  <a:cubicBezTo>
                    <a:pt x="284" y="343"/>
                    <a:pt x="301" y="338"/>
                    <a:pt x="297" y="338"/>
                  </a:cubicBezTo>
                  <a:cubicBezTo>
                    <a:pt x="293" y="338"/>
                    <a:pt x="295" y="331"/>
                    <a:pt x="295" y="331"/>
                  </a:cubicBezTo>
                  <a:cubicBezTo>
                    <a:pt x="323" y="328"/>
                    <a:pt x="323" y="328"/>
                    <a:pt x="323" y="328"/>
                  </a:cubicBezTo>
                  <a:cubicBezTo>
                    <a:pt x="340" y="281"/>
                    <a:pt x="340" y="281"/>
                    <a:pt x="340" y="281"/>
                  </a:cubicBezTo>
                  <a:cubicBezTo>
                    <a:pt x="337" y="272"/>
                    <a:pt x="337" y="272"/>
                    <a:pt x="337" y="272"/>
                  </a:cubicBezTo>
                  <a:cubicBezTo>
                    <a:pt x="354" y="277"/>
                    <a:pt x="354" y="277"/>
                    <a:pt x="354" y="277"/>
                  </a:cubicBezTo>
                  <a:cubicBezTo>
                    <a:pt x="356" y="278"/>
                    <a:pt x="356" y="278"/>
                    <a:pt x="356" y="278"/>
                  </a:cubicBezTo>
                  <a:cubicBezTo>
                    <a:pt x="356" y="278"/>
                    <a:pt x="356" y="277"/>
                    <a:pt x="356" y="277"/>
                  </a:cubicBezTo>
                  <a:cubicBezTo>
                    <a:pt x="357" y="262"/>
                    <a:pt x="345" y="226"/>
                    <a:pt x="345" y="226"/>
                  </a:cubicBezTo>
                  <a:lnTo>
                    <a:pt x="355" y="19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3" name="Ile-de-France" descr="© INSCALE GmbH, 05.05.2010&#10;http://www.presentationload.com/">
              <a:extLst>
                <a:ext uri="{FF2B5EF4-FFF2-40B4-BE49-F238E27FC236}">
                  <a16:creationId xmlns:a16="http://schemas.microsoft.com/office/drawing/2014/main" id="{AC31993E-D426-4B7A-9900-2091A79541F4}"/>
                </a:ext>
              </a:extLst>
            </p:cNvPr>
            <p:cNvSpPr>
              <a:spLocks/>
            </p:cNvSpPr>
            <p:nvPr/>
          </p:nvSpPr>
          <p:spPr bwMode="gray">
            <a:xfrm>
              <a:off x="1565" y="796"/>
              <a:ext cx="483" cy="386"/>
            </a:xfrm>
            <a:custGeom>
              <a:avLst/>
              <a:gdLst/>
              <a:ahLst/>
              <a:cxnLst>
                <a:cxn ang="0">
                  <a:pos x="31" y="127"/>
                </a:cxn>
                <a:cxn ang="0">
                  <a:pos x="36" y="158"/>
                </a:cxn>
                <a:cxn ang="0">
                  <a:pos x="35" y="177"/>
                </a:cxn>
                <a:cxn ang="0">
                  <a:pos x="48" y="199"/>
                </a:cxn>
                <a:cxn ang="0">
                  <a:pos x="56" y="214"/>
                </a:cxn>
                <a:cxn ang="0">
                  <a:pos x="71" y="246"/>
                </a:cxn>
                <a:cxn ang="0">
                  <a:pos x="103" y="267"/>
                </a:cxn>
                <a:cxn ang="0">
                  <a:pos x="111" y="303"/>
                </a:cxn>
                <a:cxn ang="0">
                  <a:pos x="153" y="301"/>
                </a:cxn>
                <a:cxn ang="0">
                  <a:pos x="167" y="290"/>
                </a:cxn>
                <a:cxn ang="0">
                  <a:pos x="183" y="293"/>
                </a:cxn>
                <a:cxn ang="0">
                  <a:pos x="201" y="297"/>
                </a:cxn>
                <a:cxn ang="0">
                  <a:pos x="229" y="338"/>
                </a:cxn>
                <a:cxn ang="0">
                  <a:pos x="273" y="354"/>
                </a:cxn>
                <a:cxn ang="0">
                  <a:pos x="285" y="346"/>
                </a:cxn>
                <a:cxn ang="0">
                  <a:pos x="316" y="345"/>
                </a:cxn>
                <a:cxn ang="0">
                  <a:pos x="333" y="297"/>
                </a:cxn>
                <a:cxn ang="0">
                  <a:pos x="400" y="277"/>
                </a:cxn>
                <a:cxn ang="0">
                  <a:pos x="411" y="243"/>
                </a:cxn>
                <a:cxn ang="0">
                  <a:pos x="413" y="225"/>
                </a:cxn>
                <a:cxn ang="0">
                  <a:pos x="424" y="210"/>
                </a:cxn>
                <a:cxn ang="0">
                  <a:pos x="437" y="199"/>
                </a:cxn>
                <a:cxn ang="0">
                  <a:pos x="440" y="191"/>
                </a:cxn>
                <a:cxn ang="0">
                  <a:pos x="425" y="158"/>
                </a:cxn>
                <a:cxn ang="0">
                  <a:pos x="411" y="147"/>
                </a:cxn>
                <a:cxn ang="0">
                  <a:pos x="412" y="137"/>
                </a:cxn>
                <a:cxn ang="0">
                  <a:pos x="428" y="123"/>
                </a:cxn>
                <a:cxn ang="0">
                  <a:pos x="405" y="99"/>
                </a:cxn>
                <a:cxn ang="0">
                  <a:pos x="392" y="91"/>
                </a:cxn>
                <a:cxn ang="0">
                  <a:pos x="364" y="73"/>
                </a:cxn>
                <a:cxn ang="0">
                  <a:pos x="337" y="45"/>
                </a:cxn>
                <a:cxn ang="0">
                  <a:pos x="285" y="47"/>
                </a:cxn>
                <a:cxn ang="0">
                  <a:pos x="248" y="43"/>
                </a:cxn>
                <a:cxn ang="0">
                  <a:pos x="233" y="41"/>
                </a:cxn>
                <a:cxn ang="0">
                  <a:pos x="191" y="25"/>
                </a:cxn>
                <a:cxn ang="0">
                  <a:pos x="165" y="26"/>
                </a:cxn>
                <a:cxn ang="0">
                  <a:pos x="157" y="25"/>
                </a:cxn>
                <a:cxn ang="0">
                  <a:pos x="139" y="18"/>
                </a:cxn>
                <a:cxn ang="0">
                  <a:pos x="116" y="17"/>
                </a:cxn>
                <a:cxn ang="0">
                  <a:pos x="56" y="0"/>
                </a:cxn>
                <a:cxn ang="0">
                  <a:pos x="11" y="50"/>
                </a:cxn>
                <a:cxn ang="0">
                  <a:pos x="0" y="62"/>
                </a:cxn>
                <a:cxn ang="0">
                  <a:pos x="12" y="99"/>
                </a:cxn>
                <a:cxn ang="0">
                  <a:pos x="23" y="122"/>
                </a:cxn>
              </a:cxnLst>
              <a:rect l="0" t="0" r="r" b="b"/>
              <a:pathLst>
                <a:path w="448" h="357">
                  <a:moveTo>
                    <a:pt x="23" y="122"/>
                  </a:moveTo>
                  <a:cubicBezTo>
                    <a:pt x="31" y="127"/>
                    <a:pt x="31" y="127"/>
                    <a:pt x="31" y="127"/>
                  </a:cubicBezTo>
                  <a:cubicBezTo>
                    <a:pt x="29" y="151"/>
                    <a:pt x="29" y="151"/>
                    <a:pt x="29" y="151"/>
                  </a:cubicBezTo>
                  <a:cubicBezTo>
                    <a:pt x="36" y="158"/>
                    <a:pt x="36" y="158"/>
                    <a:pt x="36" y="158"/>
                  </a:cubicBezTo>
                  <a:cubicBezTo>
                    <a:pt x="25" y="173"/>
                    <a:pt x="25" y="173"/>
                    <a:pt x="25" y="173"/>
                  </a:cubicBezTo>
                  <a:cubicBezTo>
                    <a:pt x="35" y="177"/>
                    <a:pt x="35" y="177"/>
                    <a:pt x="35" y="177"/>
                  </a:cubicBezTo>
                  <a:cubicBezTo>
                    <a:pt x="33" y="187"/>
                    <a:pt x="33" y="187"/>
                    <a:pt x="33" y="187"/>
                  </a:cubicBezTo>
                  <a:cubicBezTo>
                    <a:pt x="48" y="199"/>
                    <a:pt x="48" y="199"/>
                    <a:pt x="48" y="199"/>
                  </a:cubicBezTo>
                  <a:cubicBezTo>
                    <a:pt x="57" y="202"/>
                    <a:pt x="57" y="202"/>
                    <a:pt x="57" y="202"/>
                  </a:cubicBezTo>
                  <a:cubicBezTo>
                    <a:pt x="56" y="214"/>
                    <a:pt x="56" y="214"/>
                    <a:pt x="56" y="214"/>
                  </a:cubicBezTo>
                  <a:cubicBezTo>
                    <a:pt x="69" y="221"/>
                    <a:pt x="69" y="221"/>
                    <a:pt x="69" y="221"/>
                  </a:cubicBezTo>
                  <a:cubicBezTo>
                    <a:pt x="71" y="246"/>
                    <a:pt x="71" y="246"/>
                    <a:pt x="71" y="246"/>
                  </a:cubicBezTo>
                  <a:cubicBezTo>
                    <a:pt x="71" y="246"/>
                    <a:pt x="95" y="261"/>
                    <a:pt x="97" y="253"/>
                  </a:cubicBezTo>
                  <a:cubicBezTo>
                    <a:pt x="101" y="254"/>
                    <a:pt x="103" y="267"/>
                    <a:pt x="103" y="267"/>
                  </a:cubicBezTo>
                  <a:cubicBezTo>
                    <a:pt x="113" y="269"/>
                    <a:pt x="113" y="269"/>
                    <a:pt x="113" y="269"/>
                  </a:cubicBezTo>
                  <a:cubicBezTo>
                    <a:pt x="113" y="269"/>
                    <a:pt x="101" y="295"/>
                    <a:pt x="111" y="303"/>
                  </a:cubicBezTo>
                  <a:cubicBezTo>
                    <a:pt x="120" y="311"/>
                    <a:pt x="127" y="301"/>
                    <a:pt x="135" y="301"/>
                  </a:cubicBezTo>
                  <a:cubicBezTo>
                    <a:pt x="143" y="301"/>
                    <a:pt x="153" y="301"/>
                    <a:pt x="153" y="301"/>
                  </a:cubicBezTo>
                  <a:cubicBezTo>
                    <a:pt x="160" y="287"/>
                    <a:pt x="160" y="287"/>
                    <a:pt x="160" y="287"/>
                  </a:cubicBezTo>
                  <a:cubicBezTo>
                    <a:pt x="167" y="290"/>
                    <a:pt x="167" y="290"/>
                    <a:pt x="167" y="290"/>
                  </a:cubicBezTo>
                  <a:cubicBezTo>
                    <a:pt x="169" y="301"/>
                    <a:pt x="169" y="301"/>
                    <a:pt x="169" y="301"/>
                  </a:cubicBezTo>
                  <a:cubicBezTo>
                    <a:pt x="183" y="293"/>
                    <a:pt x="183" y="293"/>
                    <a:pt x="183" y="293"/>
                  </a:cubicBezTo>
                  <a:cubicBezTo>
                    <a:pt x="199" y="298"/>
                    <a:pt x="199" y="298"/>
                    <a:pt x="199" y="298"/>
                  </a:cubicBezTo>
                  <a:cubicBezTo>
                    <a:pt x="201" y="297"/>
                    <a:pt x="201" y="297"/>
                    <a:pt x="201" y="297"/>
                  </a:cubicBezTo>
                  <a:cubicBezTo>
                    <a:pt x="205" y="313"/>
                    <a:pt x="205" y="313"/>
                    <a:pt x="205" y="313"/>
                  </a:cubicBezTo>
                  <a:cubicBezTo>
                    <a:pt x="205" y="313"/>
                    <a:pt x="232" y="319"/>
                    <a:pt x="229" y="338"/>
                  </a:cubicBezTo>
                  <a:cubicBezTo>
                    <a:pt x="228" y="349"/>
                    <a:pt x="222" y="352"/>
                    <a:pt x="218" y="353"/>
                  </a:cubicBezTo>
                  <a:cubicBezTo>
                    <a:pt x="273" y="354"/>
                    <a:pt x="273" y="354"/>
                    <a:pt x="273" y="354"/>
                  </a:cubicBezTo>
                  <a:cubicBezTo>
                    <a:pt x="273" y="346"/>
                    <a:pt x="273" y="346"/>
                    <a:pt x="273" y="346"/>
                  </a:cubicBezTo>
                  <a:cubicBezTo>
                    <a:pt x="285" y="346"/>
                    <a:pt x="285" y="346"/>
                    <a:pt x="285" y="346"/>
                  </a:cubicBezTo>
                  <a:cubicBezTo>
                    <a:pt x="285" y="357"/>
                    <a:pt x="285" y="357"/>
                    <a:pt x="285" y="357"/>
                  </a:cubicBezTo>
                  <a:cubicBezTo>
                    <a:pt x="285" y="357"/>
                    <a:pt x="308" y="353"/>
                    <a:pt x="316" y="345"/>
                  </a:cubicBezTo>
                  <a:cubicBezTo>
                    <a:pt x="324" y="337"/>
                    <a:pt x="339" y="313"/>
                    <a:pt x="339" y="313"/>
                  </a:cubicBezTo>
                  <a:cubicBezTo>
                    <a:pt x="333" y="297"/>
                    <a:pt x="333" y="297"/>
                    <a:pt x="333" y="297"/>
                  </a:cubicBezTo>
                  <a:cubicBezTo>
                    <a:pt x="341" y="277"/>
                    <a:pt x="341" y="277"/>
                    <a:pt x="341" y="277"/>
                  </a:cubicBezTo>
                  <a:cubicBezTo>
                    <a:pt x="400" y="277"/>
                    <a:pt x="400" y="277"/>
                    <a:pt x="400" y="277"/>
                  </a:cubicBezTo>
                  <a:cubicBezTo>
                    <a:pt x="415" y="269"/>
                    <a:pt x="415" y="269"/>
                    <a:pt x="415" y="269"/>
                  </a:cubicBezTo>
                  <a:cubicBezTo>
                    <a:pt x="411" y="243"/>
                    <a:pt x="411" y="243"/>
                    <a:pt x="411" y="243"/>
                  </a:cubicBezTo>
                  <a:cubicBezTo>
                    <a:pt x="420" y="234"/>
                    <a:pt x="420" y="234"/>
                    <a:pt x="420" y="234"/>
                  </a:cubicBezTo>
                  <a:cubicBezTo>
                    <a:pt x="413" y="225"/>
                    <a:pt x="413" y="225"/>
                    <a:pt x="413" y="225"/>
                  </a:cubicBezTo>
                  <a:cubicBezTo>
                    <a:pt x="428" y="222"/>
                    <a:pt x="428" y="222"/>
                    <a:pt x="428" y="222"/>
                  </a:cubicBezTo>
                  <a:cubicBezTo>
                    <a:pt x="424" y="210"/>
                    <a:pt x="424" y="210"/>
                    <a:pt x="424" y="210"/>
                  </a:cubicBezTo>
                  <a:cubicBezTo>
                    <a:pt x="436" y="210"/>
                    <a:pt x="436" y="210"/>
                    <a:pt x="436" y="210"/>
                  </a:cubicBezTo>
                  <a:cubicBezTo>
                    <a:pt x="437" y="199"/>
                    <a:pt x="437" y="199"/>
                    <a:pt x="437" y="199"/>
                  </a:cubicBezTo>
                  <a:cubicBezTo>
                    <a:pt x="448" y="201"/>
                    <a:pt x="448" y="201"/>
                    <a:pt x="448" y="201"/>
                  </a:cubicBezTo>
                  <a:cubicBezTo>
                    <a:pt x="440" y="191"/>
                    <a:pt x="440" y="191"/>
                    <a:pt x="440" y="191"/>
                  </a:cubicBezTo>
                  <a:cubicBezTo>
                    <a:pt x="424" y="190"/>
                    <a:pt x="424" y="190"/>
                    <a:pt x="424" y="190"/>
                  </a:cubicBezTo>
                  <a:cubicBezTo>
                    <a:pt x="425" y="158"/>
                    <a:pt x="425" y="158"/>
                    <a:pt x="425" y="158"/>
                  </a:cubicBezTo>
                  <a:cubicBezTo>
                    <a:pt x="411" y="157"/>
                    <a:pt x="411" y="157"/>
                    <a:pt x="411" y="157"/>
                  </a:cubicBezTo>
                  <a:cubicBezTo>
                    <a:pt x="411" y="147"/>
                    <a:pt x="411" y="147"/>
                    <a:pt x="411" y="147"/>
                  </a:cubicBezTo>
                  <a:cubicBezTo>
                    <a:pt x="419" y="146"/>
                    <a:pt x="419" y="146"/>
                    <a:pt x="419" y="146"/>
                  </a:cubicBezTo>
                  <a:cubicBezTo>
                    <a:pt x="412" y="137"/>
                    <a:pt x="412" y="137"/>
                    <a:pt x="412" y="137"/>
                  </a:cubicBezTo>
                  <a:cubicBezTo>
                    <a:pt x="428" y="130"/>
                    <a:pt x="428" y="130"/>
                    <a:pt x="428" y="130"/>
                  </a:cubicBezTo>
                  <a:cubicBezTo>
                    <a:pt x="428" y="123"/>
                    <a:pt x="428" y="123"/>
                    <a:pt x="428" y="123"/>
                  </a:cubicBezTo>
                  <a:cubicBezTo>
                    <a:pt x="424" y="122"/>
                    <a:pt x="413" y="118"/>
                    <a:pt x="409" y="118"/>
                  </a:cubicBezTo>
                  <a:cubicBezTo>
                    <a:pt x="405" y="118"/>
                    <a:pt x="405" y="99"/>
                    <a:pt x="405" y="99"/>
                  </a:cubicBezTo>
                  <a:cubicBezTo>
                    <a:pt x="395" y="99"/>
                    <a:pt x="395" y="99"/>
                    <a:pt x="395" y="99"/>
                  </a:cubicBezTo>
                  <a:cubicBezTo>
                    <a:pt x="392" y="91"/>
                    <a:pt x="392" y="91"/>
                    <a:pt x="392" y="91"/>
                  </a:cubicBezTo>
                  <a:cubicBezTo>
                    <a:pt x="392" y="91"/>
                    <a:pt x="379" y="101"/>
                    <a:pt x="380" y="93"/>
                  </a:cubicBezTo>
                  <a:cubicBezTo>
                    <a:pt x="381" y="85"/>
                    <a:pt x="365" y="78"/>
                    <a:pt x="364" y="73"/>
                  </a:cubicBezTo>
                  <a:cubicBezTo>
                    <a:pt x="368" y="41"/>
                    <a:pt x="344" y="39"/>
                    <a:pt x="344" y="39"/>
                  </a:cubicBezTo>
                  <a:cubicBezTo>
                    <a:pt x="337" y="45"/>
                    <a:pt x="337" y="45"/>
                    <a:pt x="337" y="45"/>
                  </a:cubicBezTo>
                  <a:cubicBezTo>
                    <a:pt x="299" y="55"/>
                    <a:pt x="299" y="55"/>
                    <a:pt x="299" y="55"/>
                  </a:cubicBezTo>
                  <a:cubicBezTo>
                    <a:pt x="285" y="47"/>
                    <a:pt x="285" y="47"/>
                    <a:pt x="285" y="47"/>
                  </a:cubicBezTo>
                  <a:cubicBezTo>
                    <a:pt x="285" y="47"/>
                    <a:pt x="276" y="57"/>
                    <a:pt x="268" y="54"/>
                  </a:cubicBezTo>
                  <a:cubicBezTo>
                    <a:pt x="260" y="51"/>
                    <a:pt x="255" y="47"/>
                    <a:pt x="248" y="43"/>
                  </a:cubicBezTo>
                  <a:cubicBezTo>
                    <a:pt x="241" y="39"/>
                    <a:pt x="239" y="51"/>
                    <a:pt x="239" y="51"/>
                  </a:cubicBezTo>
                  <a:cubicBezTo>
                    <a:pt x="233" y="41"/>
                    <a:pt x="233" y="41"/>
                    <a:pt x="233" y="41"/>
                  </a:cubicBezTo>
                  <a:cubicBezTo>
                    <a:pt x="233" y="41"/>
                    <a:pt x="215" y="49"/>
                    <a:pt x="220" y="45"/>
                  </a:cubicBezTo>
                  <a:cubicBezTo>
                    <a:pt x="225" y="41"/>
                    <a:pt x="207" y="29"/>
                    <a:pt x="191" y="25"/>
                  </a:cubicBezTo>
                  <a:cubicBezTo>
                    <a:pt x="178" y="22"/>
                    <a:pt x="182" y="18"/>
                    <a:pt x="184" y="17"/>
                  </a:cubicBezTo>
                  <a:cubicBezTo>
                    <a:pt x="165" y="26"/>
                    <a:pt x="165" y="26"/>
                    <a:pt x="165" y="26"/>
                  </a:cubicBezTo>
                  <a:cubicBezTo>
                    <a:pt x="161" y="18"/>
                    <a:pt x="161" y="18"/>
                    <a:pt x="161" y="18"/>
                  </a:cubicBezTo>
                  <a:cubicBezTo>
                    <a:pt x="157" y="25"/>
                    <a:pt x="157" y="25"/>
                    <a:pt x="157" y="25"/>
                  </a:cubicBezTo>
                  <a:cubicBezTo>
                    <a:pt x="148" y="15"/>
                    <a:pt x="148" y="15"/>
                    <a:pt x="148" y="15"/>
                  </a:cubicBezTo>
                  <a:cubicBezTo>
                    <a:pt x="139" y="18"/>
                    <a:pt x="139" y="18"/>
                    <a:pt x="139" y="18"/>
                  </a:cubicBezTo>
                  <a:cubicBezTo>
                    <a:pt x="132" y="13"/>
                    <a:pt x="132" y="13"/>
                    <a:pt x="132" y="13"/>
                  </a:cubicBezTo>
                  <a:cubicBezTo>
                    <a:pt x="116" y="17"/>
                    <a:pt x="116" y="17"/>
                    <a:pt x="116" y="17"/>
                  </a:cubicBezTo>
                  <a:cubicBezTo>
                    <a:pt x="64" y="21"/>
                    <a:pt x="64" y="21"/>
                    <a:pt x="64" y="21"/>
                  </a:cubicBezTo>
                  <a:cubicBezTo>
                    <a:pt x="56" y="0"/>
                    <a:pt x="56" y="0"/>
                    <a:pt x="56" y="0"/>
                  </a:cubicBezTo>
                  <a:cubicBezTo>
                    <a:pt x="39" y="47"/>
                    <a:pt x="39" y="47"/>
                    <a:pt x="39" y="47"/>
                  </a:cubicBezTo>
                  <a:cubicBezTo>
                    <a:pt x="11" y="50"/>
                    <a:pt x="11" y="50"/>
                    <a:pt x="11" y="50"/>
                  </a:cubicBezTo>
                  <a:cubicBezTo>
                    <a:pt x="11" y="50"/>
                    <a:pt x="9" y="57"/>
                    <a:pt x="13" y="57"/>
                  </a:cubicBezTo>
                  <a:cubicBezTo>
                    <a:pt x="17" y="57"/>
                    <a:pt x="0" y="62"/>
                    <a:pt x="0" y="62"/>
                  </a:cubicBezTo>
                  <a:cubicBezTo>
                    <a:pt x="13" y="98"/>
                    <a:pt x="13" y="98"/>
                    <a:pt x="13" y="98"/>
                  </a:cubicBezTo>
                  <a:cubicBezTo>
                    <a:pt x="12" y="99"/>
                    <a:pt x="12" y="99"/>
                    <a:pt x="12" y="99"/>
                  </a:cubicBezTo>
                  <a:cubicBezTo>
                    <a:pt x="27" y="113"/>
                    <a:pt x="27" y="113"/>
                    <a:pt x="27" y="113"/>
                  </a:cubicBezTo>
                  <a:lnTo>
                    <a:pt x="23" y="12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4" name="Champagne-Ardenne" descr="© INSCALE GmbH, 05.05.2010&#10;http://www.presentationload.com/">
              <a:extLst>
                <a:ext uri="{FF2B5EF4-FFF2-40B4-BE49-F238E27FC236}">
                  <a16:creationId xmlns:a16="http://schemas.microsoft.com/office/drawing/2014/main" id="{42702F3F-420E-4857-A133-B4AD3E556CC4}"/>
                </a:ext>
              </a:extLst>
            </p:cNvPr>
            <p:cNvSpPr>
              <a:spLocks/>
            </p:cNvSpPr>
            <p:nvPr/>
          </p:nvSpPr>
          <p:spPr bwMode="gray">
            <a:xfrm>
              <a:off x="2008" y="466"/>
              <a:ext cx="578" cy="893"/>
            </a:xfrm>
            <a:custGeom>
              <a:avLst/>
              <a:gdLst/>
              <a:ahLst/>
              <a:cxnLst>
                <a:cxn ang="0">
                  <a:pos x="514" y="699"/>
                </a:cxn>
                <a:cxn ang="0">
                  <a:pos x="493" y="668"/>
                </a:cxn>
                <a:cxn ang="0">
                  <a:pos x="497" y="623"/>
                </a:cxn>
                <a:cxn ang="0">
                  <a:pos x="465" y="599"/>
                </a:cxn>
                <a:cxn ang="0">
                  <a:pos x="432" y="580"/>
                </a:cxn>
                <a:cxn ang="0">
                  <a:pos x="429" y="563"/>
                </a:cxn>
                <a:cxn ang="0">
                  <a:pos x="381" y="521"/>
                </a:cxn>
                <a:cxn ang="0">
                  <a:pos x="341" y="497"/>
                </a:cxn>
                <a:cxn ang="0">
                  <a:pos x="322" y="425"/>
                </a:cxn>
                <a:cxn ang="0">
                  <a:pos x="333" y="363"/>
                </a:cxn>
                <a:cxn ang="0">
                  <a:pos x="324" y="299"/>
                </a:cxn>
                <a:cxn ang="0">
                  <a:pos x="354" y="240"/>
                </a:cxn>
                <a:cxn ang="0">
                  <a:pos x="365" y="192"/>
                </a:cxn>
                <a:cxn ang="0">
                  <a:pos x="394" y="184"/>
                </a:cxn>
                <a:cxn ang="0">
                  <a:pos x="416" y="161"/>
                </a:cxn>
                <a:cxn ang="0">
                  <a:pos x="351" y="115"/>
                </a:cxn>
                <a:cxn ang="0">
                  <a:pos x="321" y="99"/>
                </a:cxn>
                <a:cxn ang="0">
                  <a:pos x="301" y="55"/>
                </a:cxn>
                <a:cxn ang="0">
                  <a:pos x="320" y="8"/>
                </a:cxn>
                <a:cxn ang="0">
                  <a:pos x="282" y="21"/>
                </a:cxn>
                <a:cxn ang="0">
                  <a:pos x="230" y="63"/>
                </a:cxn>
                <a:cxn ang="0">
                  <a:pos x="175" y="57"/>
                </a:cxn>
                <a:cxn ang="0">
                  <a:pos x="164" y="128"/>
                </a:cxn>
                <a:cxn ang="0">
                  <a:pos x="141" y="177"/>
                </a:cxn>
                <a:cxn ang="0">
                  <a:pos x="129" y="215"/>
                </a:cxn>
                <a:cxn ang="0">
                  <a:pos x="94" y="257"/>
                </a:cxn>
                <a:cxn ang="0">
                  <a:pos x="56" y="301"/>
                </a:cxn>
                <a:cxn ang="0">
                  <a:pos x="42" y="339"/>
                </a:cxn>
                <a:cxn ang="0">
                  <a:pos x="38" y="368"/>
                </a:cxn>
                <a:cxn ang="0">
                  <a:pos x="28" y="409"/>
                </a:cxn>
                <a:cxn ang="0">
                  <a:pos x="17" y="436"/>
                </a:cxn>
                <a:cxn ang="0">
                  <a:pos x="0" y="453"/>
                </a:cxn>
                <a:cxn ang="0">
                  <a:pos x="13" y="496"/>
                </a:cxn>
                <a:cxn ang="0">
                  <a:pos x="26" y="505"/>
                </a:cxn>
                <a:cxn ang="0">
                  <a:pos x="17" y="528"/>
                </a:cxn>
                <a:cxn ang="0">
                  <a:pos x="0" y="549"/>
                </a:cxn>
                <a:cxn ang="0">
                  <a:pos x="14" y="583"/>
                </a:cxn>
                <a:cxn ang="0">
                  <a:pos x="44" y="644"/>
                </a:cxn>
                <a:cxn ang="0">
                  <a:pos x="68" y="653"/>
                </a:cxn>
                <a:cxn ang="0">
                  <a:pos x="76" y="656"/>
                </a:cxn>
                <a:cxn ang="0">
                  <a:pos x="108" y="720"/>
                </a:cxn>
                <a:cxn ang="0">
                  <a:pos x="156" y="723"/>
                </a:cxn>
                <a:cxn ang="0">
                  <a:pos x="173" y="707"/>
                </a:cxn>
                <a:cxn ang="0">
                  <a:pos x="197" y="723"/>
                </a:cxn>
                <a:cxn ang="0">
                  <a:pos x="301" y="691"/>
                </a:cxn>
                <a:cxn ang="0">
                  <a:pos x="318" y="713"/>
                </a:cxn>
                <a:cxn ang="0">
                  <a:pos x="325" y="719"/>
                </a:cxn>
                <a:cxn ang="0">
                  <a:pos x="332" y="767"/>
                </a:cxn>
                <a:cxn ang="0">
                  <a:pos x="353" y="787"/>
                </a:cxn>
                <a:cxn ang="0">
                  <a:pos x="388" y="807"/>
                </a:cxn>
                <a:cxn ang="0">
                  <a:pos x="421" y="816"/>
                </a:cxn>
                <a:cxn ang="0">
                  <a:pos x="468" y="792"/>
                </a:cxn>
                <a:cxn ang="0">
                  <a:pos x="500" y="788"/>
                </a:cxn>
                <a:cxn ang="0">
                  <a:pos x="497" y="747"/>
                </a:cxn>
                <a:cxn ang="0">
                  <a:pos x="525" y="735"/>
                </a:cxn>
                <a:cxn ang="0">
                  <a:pos x="530" y="697"/>
                </a:cxn>
              </a:cxnLst>
              <a:rect l="0" t="0" r="r" b="b"/>
              <a:pathLst>
                <a:path w="536" h="828">
                  <a:moveTo>
                    <a:pt x="530" y="697"/>
                  </a:moveTo>
                  <a:cubicBezTo>
                    <a:pt x="517" y="701"/>
                    <a:pt x="517" y="701"/>
                    <a:pt x="517" y="701"/>
                  </a:cubicBezTo>
                  <a:cubicBezTo>
                    <a:pt x="514" y="699"/>
                    <a:pt x="514" y="699"/>
                    <a:pt x="514" y="699"/>
                  </a:cubicBezTo>
                  <a:cubicBezTo>
                    <a:pt x="514" y="701"/>
                    <a:pt x="514" y="701"/>
                    <a:pt x="514" y="701"/>
                  </a:cubicBezTo>
                  <a:cubicBezTo>
                    <a:pt x="513" y="681"/>
                    <a:pt x="513" y="681"/>
                    <a:pt x="513" y="681"/>
                  </a:cubicBezTo>
                  <a:cubicBezTo>
                    <a:pt x="493" y="668"/>
                    <a:pt x="493" y="668"/>
                    <a:pt x="493" y="668"/>
                  </a:cubicBezTo>
                  <a:cubicBezTo>
                    <a:pt x="476" y="664"/>
                    <a:pt x="476" y="664"/>
                    <a:pt x="476" y="664"/>
                  </a:cubicBezTo>
                  <a:cubicBezTo>
                    <a:pt x="486" y="652"/>
                    <a:pt x="486" y="652"/>
                    <a:pt x="486" y="652"/>
                  </a:cubicBezTo>
                  <a:cubicBezTo>
                    <a:pt x="486" y="652"/>
                    <a:pt x="486" y="628"/>
                    <a:pt x="497" y="623"/>
                  </a:cubicBezTo>
                  <a:cubicBezTo>
                    <a:pt x="490" y="612"/>
                    <a:pt x="490" y="612"/>
                    <a:pt x="490" y="612"/>
                  </a:cubicBezTo>
                  <a:cubicBezTo>
                    <a:pt x="481" y="611"/>
                    <a:pt x="481" y="611"/>
                    <a:pt x="481" y="611"/>
                  </a:cubicBezTo>
                  <a:cubicBezTo>
                    <a:pt x="481" y="611"/>
                    <a:pt x="481" y="588"/>
                    <a:pt x="465" y="599"/>
                  </a:cubicBezTo>
                  <a:cubicBezTo>
                    <a:pt x="452" y="576"/>
                    <a:pt x="452" y="576"/>
                    <a:pt x="452" y="576"/>
                  </a:cubicBezTo>
                  <a:cubicBezTo>
                    <a:pt x="452" y="576"/>
                    <a:pt x="442" y="573"/>
                    <a:pt x="436" y="577"/>
                  </a:cubicBezTo>
                  <a:cubicBezTo>
                    <a:pt x="435" y="579"/>
                    <a:pt x="434" y="581"/>
                    <a:pt x="432" y="580"/>
                  </a:cubicBezTo>
                  <a:cubicBezTo>
                    <a:pt x="433" y="579"/>
                    <a:pt x="434" y="578"/>
                    <a:pt x="436" y="577"/>
                  </a:cubicBezTo>
                  <a:cubicBezTo>
                    <a:pt x="436" y="574"/>
                    <a:pt x="434" y="571"/>
                    <a:pt x="434" y="571"/>
                  </a:cubicBezTo>
                  <a:cubicBezTo>
                    <a:pt x="429" y="563"/>
                    <a:pt x="429" y="563"/>
                    <a:pt x="429" y="563"/>
                  </a:cubicBezTo>
                  <a:cubicBezTo>
                    <a:pt x="441" y="557"/>
                    <a:pt x="441" y="557"/>
                    <a:pt x="441" y="557"/>
                  </a:cubicBezTo>
                  <a:cubicBezTo>
                    <a:pt x="441" y="557"/>
                    <a:pt x="400" y="521"/>
                    <a:pt x="383" y="521"/>
                  </a:cubicBezTo>
                  <a:cubicBezTo>
                    <a:pt x="383" y="522"/>
                    <a:pt x="382" y="522"/>
                    <a:pt x="381" y="521"/>
                  </a:cubicBezTo>
                  <a:cubicBezTo>
                    <a:pt x="382" y="521"/>
                    <a:pt x="382" y="521"/>
                    <a:pt x="383" y="521"/>
                  </a:cubicBezTo>
                  <a:cubicBezTo>
                    <a:pt x="384" y="518"/>
                    <a:pt x="349" y="491"/>
                    <a:pt x="349" y="491"/>
                  </a:cubicBezTo>
                  <a:cubicBezTo>
                    <a:pt x="341" y="497"/>
                    <a:pt x="341" y="497"/>
                    <a:pt x="341" y="497"/>
                  </a:cubicBezTo>
                  <a:cubicBezTo>
                    <a:pt x="342" y="457"/>
                    <a:pt x="342" y="457"/>
                    <a:pt x="342" y="457"/>
                  </a:cubicBezTo>
                  <a:cubicBezTo>
                    <a:pt x="316" y="439"/>
                    <a:pt x="316" y="439"/>
                    <a:pt x="316" y="439"/>
                  </a:cubicBezTo>
                  <a:cubicBezTo>
                    <a:pt x="322" y="425"/>
                    <a:pt x="322" y="425"/>
                    <a:pt x="322" y="425"/>
                  </a:cubicBezTo>
                  <a:cubicBezTo>
                    <a:pt x="320" y="404"/>
                    <a:pt x="320" y="404"/>
                    <a:pt x="320" y="404"/>
                  </a:cubicBezTo>
                  <a:cubicBezTo>
                    <a:pt x="320" y="404"/>
                    <a:pt x="344" y="395"/>
                    <a:pt x="342" y="385"/>
                  </a:cubicBezTo>
                  <a:cubicBezTo>
                    <a:pt x="341" y="376"/>
                    <a:pt x="344" y="357"/>
                    <a:pt x="333" y="363"/>
                  </a:cubicBezTo>
                  <a:cubicBezTo>
                    <a:pt x="336" y="359"/>
                    <a:pt x="320" y="313"/>
                    <a:pt x="320" y="313"/>
                  </a:cubicBezTo>
                  <a:cubicBezTo>
                    <a:pt x="330" y="305"/>
                    <a:pt x="330" y="305"/>
                    <a:pt x="330" y="305"/>
                  </a:cubicBezTo>
                  <a:cubicBezTo>
                    <a:pt x="324" y="299"/>
                    <a:pt x="324" y="299"/>
                    <a:pt x="324" y="299"/>
                  </a:cubicBezTo>
                  <a:cubicBezTo>
                    <a:pt x="341" y="287"/>
                    <a:pt x="341" y="287"/>
                    <a:pt x="341" y="287"/>
                  </a:cubicBezTo>
                  <a:cubicBezTo>
                    <a:pt x="341" y="287"/>
                    <a:pt x="333" y="275"/>
                    <a:pt x="337" y="269"/>
                  </a:cubicBezTo>
                  <a:cubicBezTo>
                    <a:pt x="341" y="264"/>
                    <a:pt x="354" y="240"/>
                    <a:pt x="354" y="240"/>
                  </a:cubicBezTo>
                  <a:cubicBezTo>
                    <a:pt x="354" y="240"/>
                    <a:pt x="354" y="225"/>
                    <a:pt x="342" y="211"/>
                  </a:cubicBezTo>
                  <a:cubicBezTo>
                    <a:pt x="346" y="213"/>
                    <a:pt x="348" y="187"/>
                    <a:pt x="348" y="187"/>
                  </a:cubicBezTo>
                  <a:cubicBezTo>
                    <a:pt x="365" y="192"/>
                    <a:pt x="365" y="192"/>
                    <a:pt x="365" y="192"/>
                  </a:cubicBezTo>
                  <a:cubicBezTo>
                    <a:pt x="374" y="192"/>
                    <a:pt x="374" y="192"/>
                    <a:pt x="374" y="192"/>
                  </a:cubicBezTo>
                  <a:cubicBezTo>
                    <a:pt x="386" y="199"/>
                    <a:pt x="386" y="199"/>
                    <a:pt x="386" y="199"/>
                  </a:cubicBezTo>
                  <a:cubicBezTo>
                    <a:pt x="394" y="184"/>
                    <a:pt x="394" y="184"/>
                    <a:pt x="394" y="184"/>
                  </a:cubicBezTo>
                  <a:cubicBezTo>
                    <a:pt x="408" y="183"/>
                    <a:pt x="408" y="183"/>
                    <a:pt x="408" y="183"/>
                  </a:cubicBezTo>
                  <a:cubicBezTo>
                    <a:pt x="420" y="162"/>
                    <a:pt x="420" y="162"/>
                    <a:pt x="420" y="162"/>
                  </a:cubicBezTo>
                  <a:cubicBezTo>
                    <a:pt x="417" y="162"/>
                    <a:pt x="416" y="161"/>
                    <a:pt x="416" y="161"/>
                  </a:cubicBezTo>
                  <a:cubicBezTo>
                    <a:pt x="420" y="146"/>
                    <a:pt x="412" y="145"/>
                    <a:pt x="412" y="145"/>
                  </a:cubicBezTo>
                  <a:cubicBezTo>
                    <a:pt x="412" y="145"/>
                    <a:pt x="402" y="139"/>
                    <a:pt x="385" y="140"/>
                  </a:cubicBezTo>
                  <a:cubicBezTo>
                    <a:pt x="369" y="118"/>
                    <a:pt x="358" y="115"/>
                    <a:pt x="351" y="115"/>
                  </a:cubicBezTo>
                  <a:cubicBezTo>
                    <a:pt x="346" y="106"/>
                    <a:pt x="344" y="108"/>
                    <a:pt x="334" y="109"/>
                  </a:cubicBezTo>
                  <a:cubicBezTo>
                    <a:pt x="325" y="118"/>
                    <a:pt x="316" y="104"/>
                    <a:pt x="316" y="104"/>
                  </a:cubicBezTo>
                  <a:cubicBezTo>
                    <a:pt x="321" y="99"/>
                    <a:pt x="321" y="99"/>
                    <a:pt x="321" y="99"/>
                  </a:cubicBezTo>
                  <a:cubicBezTo>
                    <a:pt x="321" y="99"/>
                    <a:pt x="319" y="96"/>
                    <a:pt x="315" y="89"/>
                  </a:cubicBezTo>
                  <a:cubicBezTo>
                    <a:pt x="322" y="83"/>
                    <a:pt x="321" y="72"/>
                    <a:pt x="321" y="72"/>
                  </a:cubicBezTo>
                  <a:cubicBezTo>
                    <a:pt x="321" y="72"/>
                    <a:pt x="296" y="57"/>
                    <a:pt x="301" y="55"/>
                  </a:cubicBezTo>
                  <a:cubicBezTo>
                    <a:pt x="306" y="53"/>
                    <a:pt x="311" y="35"/>
                    <a:pt x="311" y="35"/>
                  </a:cubicBezTo>
                  <a:cubicBezTo>
                    <a:pt x="308" y="25"/>
                    <a:pt x="308" y="25"/>
                    <a:pt x="308" y="25"/>
                  </a:cubicBezTo>
                  <a:cubicBezTo>
                    <a:pt x="308" y="25"/>
                    <a:pt x="319" y="13"/>
                    <a:pt x="320" y="8"/>
                  </a:cubicBezTo>
                  <a:cubicBezTo>
                    <a:pt x="321" y="3"/>
                    <a:pt x="311" y="0"/>
                    <a:pt x="303" y="0"/>
                  </a:cubicBezTo>
                  <a:cubicBezTo>
                    <a:pt x="295" y="0"/>
                    <a:pt x="289" y="17"/>
                    <a:pt x="289" y="17"/>
                  </a:cubicBezTo>
                  <a:cubicBezTo>
                    <a:pt x="289" y="17"/>
                    <a:pt x="286" y="17"/>
                    <a:pt x="282" y="21"/>
                  </a:cubicBezTo>
                  <a:cubicBezTo>
                    <a:pt x="278" y="25"/>
                    <a:pt x="280" y="45"/>
                    <a:pt x="279" y="49"/>
                  </a:cubicBezTo>
                  <a:cubicBezTo>
                    <a:pt x="278" y="53"/>
                    <a:pt x="263" y="50"/>
                    <a:pt x="254" y="49"/>
                  </a:cubicBezTo>
                  <a:cubicBezTo>
                    <a:pt x="249" y="63"/>
                    <a:pt x="236" y="63"/>
                    <a:pt x="230" y="63"/>
                  </a:cubicBezTo>
                  <a:cubicBezTo>
                    <a:pt x="224" y="63"/>
                    <a:pt x="207" y="56"/>
                    <a:pt x="199" y="55"/>
                  </a:cubicBezTo>
                  <a:cubicBezTo>
                    <a:pt x="191" y="54"/>
                    <a:pt x="187" y="59"/>
                    <a:pt x="181" y="60"/>
                  </a:cubicBezTo>
                  <a:cubicBezTo>
                    <a:pt x="179" y="61"/>
                    <a:pt x="176" y="59"/>
                    <a:pt x="175" y="57"/>
                  </a:cubicBezTo>
                  <a:cubicBezTo>
                    <a:pt x="174" y="57"/>
                    <a:pt x="174" y="58"/>
                    <a:pt x="174" y="58"/>
                  </a:cubicBezTo>
                  <a:cubicBezTo>
                    <a:pt x="160" y="78"/>
                    <a:pt x="169" y="91"/>
                    <a:pt x="169" y="91"/>
                  </a:cubicBezTo>
                  <a:cubicBezTo>
                    <a:pt x="164" y="128"/>
                    <a:pt x="164" y="128"/>
                    <a:pt x="164" y="128"/>
                  </a:cubicBezTo>
                  <a:cubicBezTo>
                    <a:pt x="170" y="135"/>
                    <a:pt x="170" y="135"/>
                    <a:pt x="170" y="135"/>
                  </a:cubicBezTo>
                  <a:cubicBezTo>
                    <a:pt x="148" y="163"/>
                    <a:pt x="148" y="163"/>
                    <a:pt x="148" y="163"/>
                  </a:cubicBezTo>
                  <a:cubicBezTo>
                    <a:pt x="141" y="177"/>
                    <a:pt x="141" y="177"/>
                    <a:pt x="141" y="177"/>
                  </a:cubicBezTo>
                  <a:cubicBezTo>
                    <a:pt x="125" y="179"/>
                    <a:pt x="125" y="179"/>
                    <a:pt x="125" y="179"/>
                  </a:cubicBezTo>
                  <a:cubicBezTo>
                    <a:pt x="137" y="208"/>
                    <a:pt x="137" y="208"/>
                    <a:pt x="137" y="208"/>
                  </a:cubicBezTo>
                  <a:cubicBezTo>
                    <a:pt x="129" y="215"/>
                    <a:pt x="129" y="215"/>
                    <a:pt x="129" y="215"/>
                  </a:cubicBezTo>
                  <a:cubicBezTo>
                    <a:pt x="129" y="215"/>
                    <a:pt x="134" y="264"/>
                    <a:pt x="129" y="264"/>
                  </a:cubicBezTo>
                  <a:cubicBezTo>
                    <a:pt x="124" y="264"/>
                    <a:pt x="105" y="251"/>
                    <a:pt x="105" y="251"/>
                  </a:cubicBezTo>
                  <a:cubicBezTo>
                    <a:pt x="94" y="257"/>
                    <a:pt x="94" y="257"/>
                    <a:pt x="94" y="257"/>
                  </a:cubicBezTo>
                  <a:cubicBezTo>
                    <a:pt x="94" y="257"/>
                    <a:pt x="93" y="267"/>
                    <a:pt x="89" y="268"/>
                  </a:cubicBezTo>
                  <a:cubicBezTo>
                    <a:pt x="72" y="263"/>
                    <a:pt x="50" y="281"/>
                    <a:pt x="50" y="281"/>
                  </a:cubicBezTo>
                  <a:cubicBezTo>
                    <a:pt x="56" y="301"/>
                    <a:pt x="56" y="301"/>
                    <a:pt x="56" y="301"/>
                  </a:cubicBezTo>
                  <a:cubicBezTo>
                    <a:pt x="50" y="312"/>
                    <a:pt x="50" y="312"/>
                    <a:pt x="50" y="312"/>
                  </a:cubicBezTo>
                  <a:cubicBezTo>
                    <a:pt x="69" y="328"/>
                    <a:pt x="69" y="328"/>
                    <a:pt x="69" y="328"/>
                  </a:cubicBezTo>
                  <a:cubicBezTo>
                    <a:pt x="69" y="328"/>
                    <a:pt x="45" y="333"/>
                    <a:pt x="42" y="339"/>
                  </a:cubicBezTo>
                  <a:cubicBezTo>
                    <a:pt x="40" y="344"/>
                    <a:pt x="48" y="356"/>
                    <a:pt x="48" y="356"/>
                  </a:cubicBezTo>
                  <a:cubicBezTo>
                    <a:pt x="40" y="363"/>
                    <a:pt x="40" y="363"/>
                    <a:pt x="40" y="363"/>
                  </a:cubicBezTo>
                  <a:cubicBezTo>
                    <a:pt x="38" y="368"/>
                    <a:pt x="38" y="368"/>
                    <a:pt x="38" y="368"/>
                  </a:cubicBezTo>
                  <a:cubicBezTo>
                    <a:pt x="38" y="368"/>
                    <a:pt x="50" y="367"/>
                    <a:pt x="57" y="372"/>
                  </a:cubicBezTo>
                  <a:cubicBezTo>
                    <a:pt x="64" y="377"/>
                    <a:pt x="34" y="407"/>
                    <a:pt x="34" y="407"/>
                  </a:cubicBezTo>
                  <a:cubicBezTo>
                    <a:pt x="28" y="409"/>
                    <a:pt x="28" y="409"/>
                    <a:pt x="28" y="409"/>
                  </a:cubicBezTo>
                  <a:cubicBezTo>
                    <a:pt x="18" y="429"/>
                    <a:pt x="18" y="429"/>
                    <a:pt x="18" y="429"/>
                  </a:cubicBezTo>
                  <a:cubicBezTo>
                    <a:pt x="18" y="429"/>
                    <a:pt x="18" y="429"/>
                    <a:pt x="17" y="429"/>
                  </a:cubicBezTo>
                  <a:cubicBezTo>
                    <a:pt x="17" y="436"/>
                    <a:pt x="17" y="436"/>
                    <a:pt x="17" y="436"/>
                  </a:cubicBezTo>
                  <a:cubicBezTo>
                    <a:pt x="1" y="443"/>
                    <a:pt x="1" y="443"/>
                    <a:pt x="1" y="443"/>
                  </a:cubicBezTo>
                  <a:cubicBezTo>
                    <a:pt x="8" y="452"/>
                    <a:pt x="8" y="452"/>
                    <a:pt x="8" y="452"/>
                  </a:cubicBezTo>
                  <a:cubicBezTo>
                    <a:pt x="0" y="453"/>
                    <a:pt x="0" y="453"/>
                    <a:pt x="0" y="453"/>
                  </a:cubicBezTo>
                  <a:cubicBezTo>
                    <a:pt x="0" y="463"/>
                    <a:pt x="0" y="463"/>
                    <a:pt x="0" y="463"/>
                  </a:cubicBezTo>
                  <a:cubicBezTo>
                    <a:pt x="14" y="464"/>
                    <a:pt x="14" y="464"/>
                    <a:pt x="14" y="464"/>
                  </a:cubicBezTo>
                  <a:cubicBezTo>
                    <a:pt x="13" y="496"/>
                    <a:pt x="13" y="496"/>
                    <a:pt x="13" y="496"/>
                  </a:cubicBezTo>
                  <a:cubicBezTo>
                    <a:pt x="29" y="497"/>
                    <a:pt x="29" y="497"/>
                    <a:pt x="29" y="497"/>
                  </a:cubicBezTo>
                  <a:cubicBezTo>
                    <a:pt x="37" y="507"/>
                    <a:pt x="37" y="507"/>
                    <a:pt x="37" y="507"/>
                  </a:cubicBezTo>
                  <a:cubicBezTo>
                    <a:pt x="26" y="505"/>
                    <a:pt x="26" y="505"/>
                    <a:pt x="26" y="505"/>
                  </a:cubicBezTo>
                  <a:cubicBezTo>
                    <a:pt x="25" y="516"/>
                    <a:pt x="25" y="516"/>
                    <a:pt x="25" y="516"/>
                  </a:cubicBezTo>
                  <a:cubicBezTo>
                    <a:pt x="13" y="516"/>
                    <a:pt x="13" y="516"/>
                    <a:pt x="13" y="516"/>
                  </a:cubicBezTo>
                  <a:cubicBezTo>
                    <a:pt x="17" y="528"/>
                    <a:pt x="17" y="528"/>
                    <a:pt x="17" y="528"/>
                  </a:cubicBezTo>
                  <a:cubicBezTo>
                    <a:pt x="2" y="531"/>
                    <a:pt x="2" y="531"/>
                    <a:pt x="2" y="531"/>
                  </a:cubicBezTo>
                  <a:cubicBezTo>
                    <a:pt x="9" y="540"/>
                    <a:pt x="9" y="540"/>
                    <a:pt x="9" y="540"/>
                  </a:cubicBezTo>
                  <a:cubicBezTo>
                    <a:pt x="0" y="549"/>
                    <a:pt x="0" y="549"/>
                    <a:pt x="0" y="549"/>
                  </a:cubicBezTo>
                  <a:cubicBezTo>
                    <a:pt x="4" y="575"/>
                    <a:pt x="4" y="575"/>
                    <a:pt x="4" y="575"/>
                  </a:cubicBezTo>
                  <a:cubicBezTo>
                    <a:pt x="8" y="585"/>
                    <a:pt x="8" y="585"/>
                    <a:pt x="8" y="585"/>
                  </a:cubicBezTo>
                  <a:cubicBezTo>
                    <a:pt x="14" y="583"/>
                    <a:pt x="14" y="583"/>
                    <a:pt x="14" y="583"/>
                  </a:cubicBezTo>
                  <a:cubicBezTo>
                    <a:pt x="14" y="583"/>
                    <a:pt x="41" y="593"/>
                    <a:pt x="41" y="608"/>
                  </a:cubicBezTo>
                  <a:cubicBezTo>
                    <a:pt x="45" y="613"/>
                    <a:pt x="45" y="613"/>
                    <a:pt x="45" y="613"/>
                  </a:cubicBezTo>
                  <a:cubicBezTo>
                    <a:pt x="45" y="613"/>
                    <a:pt x="53" y="635"/>
                    <a:pt x="44" y="644"/>
                  </a:cubicBezTo>
                  <a:cubicBezTo>
                    <a:pt x="53" y="641"/>
                    <a:pt x="53" y="641"/>
                    <a:pt x="53" y="641"/>
                  </a:cubicBezTo>
                  <a:cubicBezTo>
                    <a:pt x="62" y="656"/>
                    <a:pt x="62" y="656"/>
                    <a:pt x="62" y="656"/>
                  </a:cubicBezTo>
                  <a:cubicBezTo>
                    <a:pt x="68" y="653"/>
                    <a:pt x="68" y="653"/>
                    <a:pt x="68" y="653"/>
                  </a:cubicBezTo>
                  <a:cubicBezTo>
                    <a:pt x="68" y="644"/>
                    <a:pt x="68" y="644"/>
                    <a:pt x="68" y="644"/>
                  </a:cubicBezTo>
                  <a:cubicBezTo>
                    <a:pt x="76" y="645"/>
                    <a:pt x="76" y="645"/>
                    <a:pt x="76" y="645"/>
                  </a:cubicBezTo>
                  <a:cubicBezTo>
                    <a:pt x="76" y="656"/>
                    <a:pt x="76" y="656"/>
                    <a:pt x="76" y="656"/>
                  </a:cubicBezTo>
                  <a:cubicBezTo>
                    <a:pt x="76" y="656"/>
                    <a:pt x="85" y="664"/>
                    <a:pt x="94" y="684"/>
                  </a:cubicBezTo>
                  <a:cubicBezTo>
                    <a:pt x="104" y="704"/>
                    <a:pt x="102" y="708"/>
                    <a:pt x="112" y="700"/>
                  </a:cubicBezTo>
                  <a:cubicBezTo>
                    <a:pt x="112" y="703"/>
                    <a:pt x="108" y="720"/>
                    <a:pt x="108" y="720"/>
                  </a:cubicBezTo>
                  <a:cubicBezTo>
                    <a:pt x="142" y="721"/>
                    <a:pt x="142" y="721"/>
                    <a:pt x="142" y="721"/>
                  </a:cubicBezTo>
                  <a:cubicBezTo>
                    <a:pt x="144" y="716"/>
                    <a:pt x="144" y="716"/>
                    <a:pt x="144" y="716"/>
                  </a:cubicBezTo>
                  <a:cubicBezTo>
                    <a:pt x="156" y="723"/>
                    <a:pt x="156" y="723"/>
                    <a:pt x="156" y="723"/>
                  </a:cubicBezTo>
                  <a:cubicBezTo>
                    <a:pt x="169" y="712"/>
                    <a:pt x="169" y="712"/>
                    <a:pt x="169" y="712"/>
                  </a:cubicBezTo>
                  <a:cubicBezTo>
                    <a:pt x="176" y="716"/>
                    <a:pt x="176" y="716"/>
                    <a:pt x="176" y="716"/>
                  </a:cubicBezTo>
                  <a:cubicBezTo>
                    <a:pt x="173" y="707"/>
                    <a:pt x="173" y="707"/>
                    <a:pt x="173" y="707"/>
                  </a:cubicBezTo>
                  <a:cubicBezTo>
                    <a:pt x="182" y="707"/>
                    <a:pt x="182" y="707"/>
                    <a:pt x="182" y="707"/>
                  </a:cubicBezTo>
                  <a:cubicBezTo>
                    <a:pt x="188" y="720"/>
                    <a:pt x="188" y="720"/>
                    <a:pt x="188" y="720"/>
                  </a:cubicBezTo>
                  <a:cubicBezTo>
                    <a:pt x="197" y="723"/>
                    <a:pt x="197" y="723"/>
                    <a:pt x="197" y="723"/>
                  </a:cubicBezTo>
                  <a:cubicBezTo>
                    <a:pt x="197" y="711"/>
                    <a:pt x="197" y="711"/>
                    <a:pt x="197" y="711"/>
                  </a:cubicBezTo>
                  <a:cubicBezTo>
                    <a:pt x="252" y="709"/>
                    <a:pt x="252" y="709"/>
                    <a:pt x="252" y="709"/>
                  </a:cubicBezTo>
                  <a:cubicBezTo>
                    <a:pt x="252" y="709"/>
                    <a:pt x="220" y="675"/>
                    <a:pt x="301" y="691"/>
                  </a:cubicBezTo>
                  <a:cubicBezTo>
                    <a:pt x="300" y="708"/>
                    <a:pt x="300" y="708"/>
                    <a:pt x="300" y="708"/>
                  </a:cubicBezTo>
                  <a:cubicBezTo>
                    <a:pt x="313" y="708"/>
                    <a:pt x="313" y="708"/>
                    <a:pt x="313" y="708"/>
                  </a:cubicBezTo>
                  <a:cubicBezTo>
                    <a:pt x="318" y="713"/>
                    <a:pt x="318" y="713"/>
                    <a:pt x="318" y="713"/>
                  </a:cubicBezTo>
                  <a:cubicBezTo>
                    <a:pt x="312" y="721"/>
                    <a:pt x="312" y="721"/>
                    <a:pt x="312" y="721"/>
                  </a:cubicBezTo>
                  <a:cubicBezTo>
                    <a:pt x="318" y="725"/>
                    <a:pt x="318" y="725"/>
                    <a:pt x="318" y="725"/>
                  </a:cubicBezTo>
                  <a:cubicBezTo>
                    <a:pt x="325" y="719"/>
                    <a:pt x="325" y="719"/>
                    <a:pt x="325" y="719"/>
                  </a:cubicBezTo>
                  <a:cubicBezTo>
                    <a:pt x="325" y="719"/>
                    <a:pt x="336" y="740"/>
                    <a:pt x="342" y="748"/>
                  </a:cubicBezTo>
                  <a:cubicBezTo>
                    <a:pt x="332" y="766"/>
                    <a:pt x="332" y="766"/>
                    <a:pt x="332" y="766"/>
                  </a:cubicBezTo>
                  <a:cubicBezTo>
                    <a:pt x="332" y="767"/>
                    <a:pt x="332" y="767"/>
                    <a:pt x="332" y="767"/>
                  </a:cubicBezTo>
                  <a:cubicBezTo>
                    <a:pt x="341" y="769"/>
                    <a:pt x="341" y="769"/>
                    <a:pt x="341" y="769"/>
                  </a:cubicBezTo>
                  <a:cubicBezTo>
                    <a:pt x="341" y="792"/>
                    <a:pt x="341" y="792"/>
                    <a:pt x="341" y="792"/>
                  </a:cubicBezTo>
                  <a:cubicBezTo>
                    <a:pt x="353" y="787"/>
                    <a:pt x="353" y="787"/>
                    <a:pt x="353" y="787"/>
                  </a:cubicBezTo>
                  <a:cubicBezTo>
                    <a:pt x="353" y="787"/>
                    <a:pt x="365" y="801"/>
                    <a:pt x="374" y="801"/>
                  </a:cubicBezTo>
                  <a:cubicBezTo>
                    <a:pt x="384" y="801"/>
                    <a:pt x="388" y="797"/>
                    <a:pt x="388" y="797"/>
                  </a:cubicBezTo>
                  <a:cubicBezTo>
                    <a:pt x="388" y="807"/>
                    <a:pt x="388" y="807"/>
                    <a:pt x="388" y="807"/>
                  </a:cubicBezTo>
                  <a:cubicBezTo>
                    <a:pt x="404" y="815"/>
                    <a:pt x="404" y="815"/>
                    <a:pt x="404" y="815"/>
                  </a:cubicBezTo>
                  <a:cubicBezTo>
                    <a:pt x="404" y="828"/>
                    <a:pt x="404" y="828"/>
                    <a:pt x="404" y="828"/>
                  </a:cubicBezTo>
                  <a:cubicBezTo>
                    <a:pt x="421" y="816"/>
                    <a:pt x="421" y="816"/>
                    <a:pt x="421" y="816"/>
                  </a:cubicBezTo>
                  <a:cubicBezTo>
                    <a:pt x="421" y="816"/>
                    <a:pt x="426" y="819"/>
                    <a:pt x="430" y="819"/>
                  </a:cubicBezTo>
                  <a:cubicBezTo>
                    <a:pt x="434" y="819"/>
                    <a:pt x="438" y="791"/>
                    <a:pt x="438" y="791"/>
                  </a:cubicBezTo>
                  <a:cubicBezTo>
                    <a:pt x="468" y="792"/>
                    <a:pt x="468" y="792"/>
                    <a:pt x="468" y="792"/>
                  </a:cubicBezTo>
                  <a:cubicBezTo>
                    <a:pt x="469" y="785"/>
                    <a:pt x="469" y="785"/>
                    <a:pt x="469" y="785"/>
                  </a:cubicBezTo>
                  <a:cubicBezTo>
                    <a:pt x="481" y="793"/>
                    <a:pt x="481" y="793"/>
                    <a:pt x="481" y="793"/>
                  </a:cubicBezTo>
                  <a:cubicBezTo>
                    <a:pt x="500" y="788"/>
                    <a:pt x="500" y="788"/>
                    <a:pt x="500" y="788"/>
                  </a:cubicBezTo>
                  <a:cubicBezTo>
                    <a:pt x="502" y="757"/>
                    <a:pt x="502" y="757"/>
                    <a:pt x="502" y="757"/>
                  </a:cubicBezTo>
                  <a:cubicBezTo>
                    <a:pt x="492" y="757"/>
                    <a:pt x="492" y="757"/>
                    <a:pt x="492" y="757"/>
                  </a:cubicBezTo>
                  <a:cubicBezTo>
                    <a:pt x="497" y="747"/>
                    <a:pt x="497" y="747"/>
                    <a:pt x="497" y="747"/>
                  </a:cubicBezTo>
                  <a:cubicBezTo>
                    <a:pt x="505" y="748"/>
                    <a:pt x="505" y="748"/>
                    <a:pt x="505" y="748"/>
                  </a:cubicBezTo>
                  <a:cubicBezTo>
                    <a:pt x="512" y="733"/>
                    <a:pt x="512" y="733"/>
                    <a:pt x="512" y="733"/>
                  </a:cubicBezTo>
                  <a:cubicBezTo>
                    <a:pt x="525" y="735"/>
                    <a:pt x="525" y="735"/>
                    <a:pt x="525" y="735"/>
                  </a:cubicBezTo>
                  <a:cubicBezTo>
                    <a:pt x="528" y="720"/>
                    <a:pt x="528" y="720"/>
                    <a:pt x="528" y="720"/>
                  </a:cubicBezTo>
                  <a:cubicBezTo>
                    <a:pt x="536" y="715"/>
                    <a:pt x="536" y="715"/>
                    <a:pt x="536" y="715"/>
                  </a:cubicBezTo>
                  <a:lnTo>
                    <a:pt x="530" y="697"/>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5" name="Lorraine" descr="© INSCALE GmbH, 05.05.2010&#10;http://www.presentationload.com/">
              <a:extLst>
                <a:ext uri="{FF2B5EF4-FFF2-40B4-BE49-F238E27FC236}">
                  <a16:creationId xmlns:a16="http://schemas.microsoft.com/office/drawing/2014/main" id="{2ACB0F13-E462-48F4-A8B6-FD41570E9DC6}"/>
                </a:ext>
              </a:extLst>
            </p:cNvPr>
            <p:cNvSpPr>
              <a:spLocks/>
            </p:cNvSpPr>
            <p:nvPr/>
          </p:nvSpPr>
          <p:spPr bwMode="gray">
            <a:xfrm>
              <a:off x="2349" y="641"/>
              <a:ext cx="619" cy="618"/>
            </a:xfrm>
            <a:custGeom>
              <a:avLst/>
              <a:gdLst/>
              <a:ahLst/>
              <a:cxnLst>
                <a:cxn ang="0">
                  <a:pos x="552" y="140"/>
                </a:cxn>
                <a:cxn ang="0">
                  <a:pos x="524" y="152"/>
                </a:cxn>
                <a:cxn ang="0">
                  <a:pos x="482" y="143"/>
                </a:cxn>
                <a:cxn ang="0">
                  <a:pos x="464" y="142"/>
                </a:cxn>
                <a:cxn ang="0">
                  <a:pos x="429" y="124"/>
                </a:cxn>
                <a:cxn ang="0">
                  <a:pos x="423" y="143"/>
                </a:cxn>
                <a:cxn ang="0">
                  <a:pos x="395" y="131"/>
                </a:cxn>
                <a:cxn ang="0">
                  <a:pos x="388" y="114"/>
                </a:cxn>
                <a:cxn ang="0">
                  <a:pos x="365" y="84"/>
                </a:cxn>
                <a:cxn ang="0">
                  <a:pos x="368" y="71"/>
                </a:cxn>
                <a:cxn ang="0">
                  <a:pos x="333" y="43"/>
                </a:cxn>
                <a:cxn ang="0">
                  <a:pos x="281" y="38"/>
                </a:cxn>
                <a:cxn ang="0">
                  <a:pos x="233" y="36"/>
                </a:cxn>
                <a:cxn ang="0">
                  <a:pos x="191" y="20"/>
                </a:cxn>
                <a:cxn ang="0">
                  <a:pos x="165" y="33"/>
                </a:cxn>
                <a:cxn ang="0">
                  <a:pos x="128" y="21"/>
                </a:cxn>
                <a:cxn ang="0">
                  <a:pos x="92" y="21"/>
                </a:cxn>
                <a:cxn ang="0">
                  <a:pos x="70" y="37"/>
                </a:cxn>
                <a:cxn ang="0">
                  <a:pos x="49" y="30"/>
                </a:cxn>
                <a:cxn ang="0">
                  <a:pos x="26" y="49"/>
                </a:cxn>
                <a:cxn ang="0">
                  <a:pos x="21" y="107"/>
                </a:cxn>
                <a:cxn ang="0">
                  <a:pos x="8" y="137"/>
                </a:cxn>
                <a:cxn ang="0">
                  <a:pos x="4" y="151"/>
                </a:cxn>
                <a:cxn ang="0">
                  <a:pos x="26" y="223"/>
                </a:cxn>
                <a:cxn ang="0">
                  <a:pos x="6" y="263"/>
                </a:cxn>
                <a:cxn ang="0">
                  <a:pos x="26" y="295"/>
                </a:cxn>
                <a:cxn ang="0">
                  <a:pos x="33" y="329"/>
                </a:cxn>
                <a:cxn ang="0">
                  <a:pos x="125" y="395"/>
                </a:cxn>
                <a:cxn ang="0">
                  <a:pos x="118" y="409"/>
                </a:cxn>
                <a:cxn ang="0">
                  <a:pos x="136" y="414"/>
                </a:cxn>
                <a:cxn ang="0">
                  <a:pos x="165" y="449"/>
                </a:cxn>
                <a:cxn ang="0">
                  <a:pos x="181" y="461"/>
                </a:cxn>
                <a:cxn ang="0">
                  <a:pos x="160" y="502"/>
                </a:cxn>
                <a:cxn ang="0">
                  <a:pos x="197" y="519"/>
                </a:cxn>
                <a:cxn ang="0">
                  <a:pos x="201" y="539"/>
                </a:cxn>
                <a:cxn ang="0">
                  <a:pos x="217" y="544"/>
                </a:cxn>
                <a:cxn ang="0">
                  <a:pos x="234" y="534"/>
                </a:cxn>
                <a:cxn ang="0">
                  <a:pos x="244" y="537"/>
                </a:cxn>
                <a:cxn ang="0">
                  <a:pos x="274" y="517"/>
                </a:cxn>
                <a:cxn ang="0">
                  <a:pos x="286" y="534"/>
                </a:cxn>
                <a:cxn ang="0">
                  <a:pos x="337" y="537"/>
                </a:cxn>
                <a:cxn ang="0">
                  <a:pos x="372" y="537"/>
                </a:cxn>
                <a:cxn ang="0">
                  <a:pos x="414" y="562"/>
                </a:cxn>
                <a:cxn ang="0">
                  <a:pos x="442" y="559"/>
                </a:cxn>
                <a:cxn ang="0">
                  <a:pos x="441" y="545"/>
                </a:cxn>
                <a:cxn ang="0">
                  <a:pos x="472" y="470"/>
                </a:cxn>
                <a:cxn ang="0">
                  <a:pos x="490" y="411"/>
                </a:cxn>
                <a:cxn ang="0">
                  <a:pos x="469" y="399"/>
                </a:cxn>
                <a:cxn ang="0">
                  <a:pos x="458" y="343"/>
                </a:cxn>
                <a:cxn ang="0">
                  <a:pos x="508" y="299"/>
                </a:cxn>
                <a:cxn ang="0">
                  <a:pos x="477" y="242"/>
                </a:cxn>
                <a:cxn ang="0">
                  <a:pos x="449" y="243"/>
                </a:cxn>
                <a:cxn ang="0">
                  <a:pos x="429" y="223"/>
                </a:cxn>
                <a:cxn ang="0">
                  <a:pos x="450" y="166"/>
                </a:cxn>
                <a:cxn ang="0">
                  <a:pos x="465" y="189"/>
                </a:cxn>
                <a:cxn ang="0">
                  <a:pos x="533" y="197"/>
                </a:cxn>
                <a:cxn ang="0">
                  <a:pos x="563" y="150"/>
                </a:cxn>
              </a:cxnLst>
              <a:rect l="0" t="0" r="r" b="b"/>
              <a:pathLst>
                <a:path w="574" h="573">
                  <a:moveTo>
                    <a:pt x="563" y="150"/>
                  </a:moveTo>
                  <a:cubicBezTo>
                    <a:pt x="569" y="145"/>
                    <a:pt x="561" y="142"/>
                    <a:pt x="552" y="140"/>
                  </a:cubicBezTo>
                  <a:cubicBezTo>
                    <a:pt x="542" y="130"/>
                    <a:pt x="536" y="147"/>
                    <a:pt x="536" y="147"/>
                  </a:cubicBezTo>
                  <a:cubicBezTo>
                    <a:pt x="524" y="152"/>
                    <a:pt x="524" y="152"/>
                    <a:pt x="524" y="152"/>
                  </a:cubicBezTo>
                  <a:cubicBezTo>
                    <a:pt x="489" y="154"/>
                    <a:pt x="489" y="154"/>
                    <a:pt x="489" y="154"/>
                  </a:cubicBezTo>
                  <a:cubicBezTo>
                    <a:pt x="482" y="143"/>
                    <a:pt x="482" y="143"/>
                    <a:pt x="482" y="143"/>
                  </a:cubicBezTo>
                  <a:cubicBezTo>
                    <a:pt x="471" y="154"/>
                    <a:pt x="471" y="154"/>
                    <a:pt x="471" y="154"/>
                  </a:cubicBezTo>
                  <a:cubicBezTo>
                    <a:pt x="464" y="142"/>
                    <a:pt x="464" y="142"/>
                    <a:pt x="464" y="142"/>
                  </a:cubicBezTo>
                  <a:cubicBezTo>
                    <a:pt x="464" y="122"/>
                    <a:pt x="438" y="126"/>
                    <a:pt x="438" y="126"/>
                  </a:cubicBezTo>
                  <a:cubicBezTo>
                    <a:pt x="429" y="124"/>
                    <a:pt x="429" y="124"/>
                    <a:pt x="429" y="124"/>
                  </a:cubicBezTo>
                  <a:cubicBezTo>
                    <a:pt x="431" y="135"/>
                    <a:pt x="431" y="135"/>
                    <a:pt x="431" y="135"/>
                  </a:cubicBezTo>
                  <a:cubicBezTo>
                    <a:pt x="423" y="143"/>
                    <a:pt x="423" y="143"/>
                    <a:pt x="423" y="143"/>
                  </a:cubicBezTo>
                  <a:cubicBezTo>
                    <a:pt x="419" y="140"/>
                    <a:pt x="419" y="140"/>
                    <a:pt x="419" y="140"/>
                  </a:cubicBezTo>
                  <a:cubicBezTo>
                    <a:pt x="397" y="145"/>
                    <a:pt x="395" y="131"/>
                    <a:pt x="395" y="131"/>
                  </a:cubicBezTo>
                  <a:cubicBezTo>
                    <a:pt x="403" y="125"/>
                    <a:pt x="397" y="121"/>
                    <a:pt x="397" y="121"/>
                  </a:cubicBezTo>
                  <a:cubicBezTo>
                    <a:pt x="392" y="126"/>
                    <a:pt x="388" y="114"/>
                    <a:pt x="388" y="114"/>
                  </a:cubicBezTo>
                  <a:cubicBezTo>
                    <a:pt x="389" y="107"/>
                    <a:pt x="377" y="99"/>
                    <a:pt x="370" y="96"/>
                  </a:cubicBezTo>
                  <a:cubicBezTo>
                    <a:pt x="370" y="88"/>
                    <a:pt x="365" y="84"/>
                    <a:pt x="365" y="84"/>
                  </a:cubicBezTo>
                  <a:cubicBezTo>
                    <a:pt x="371" y="79"/>
                    <a:pt x="371" y="79"/>
                    <a:pt x="371" y="79"/>
                  </a:cubicBezTo>
                  <a:cubicBezTo>
                    <a:pt x="368" y="71"/>
                    <a:pt x="368" y="71"/>
                    <a:pt x="368" y="71"/>
                  </a:cubicBezTo>
                  <a:cubicBezTo>
                    <a:pt x="361" y="71"/>
                    <a:pt x="358" y="59"/>
                    <a:pt x="358" y="59"/>
                  </a:cubicBezTo>
                  <a:cubicBezTo>
                    <a:pt x="333" y="43"/>
                    <a:pt x="333" y="43"/>
                    <a:pt x="333" y="43"/>
                  </a:cubicBezTo>
                  <a:cubicBezTo>
                    <a:pt x="317" y="61"/>
                    <a:pt x="297" y="38"/>
                    <a:pt x="297" y="38"/>
                  </a:cubicBezTo>
                  <a:cubicBezTo>
                    <a:pt x="297" y="38"/>
                    <a:pt x="297" y="38"/>
                    <a:pt x="281" y="38"/>
                  </a:cubicBezTo>
                  <a:cubicBezTo>
                    <a:pt x="272" y="54"/>
                    <a:pt x="245" y="52"/>
                    <a:pt x="243" y="48"/>
                  </a:cubicBezTo>
                  <a:cubicBezTo>
                    <a:pt x="241" y="44"/>
                    <a:pt x="233" y="36"/>
                    <a:pt x="233" y="36"/>
                  </a:cubicBezTo>
                  <a:cubicBezTo>
                    <a:pt x="233" y="36"/>
                    <a:pt x="223" y="33"/>
                    <a:pt x="212" y="31"/>
                  </a:cubicBezTo>
                  <a:cubicBezTo>
                    <a:pt x="206" y="20"/>
                    <a:pt x="191" y="20"/>
                    <a:pt x="191" y="20"/>
                  </a:cubicBezTo>
                  <a:cubicBezTo>
                    <a:pt x="175" y="19"/>
                    <a:pt x="175" y="19"/>
                    <a:pt x="175" y="19"/>
                  </a:cubicBezTo>
                  <a:cubicBezTo>
                    <a:pt x="165" y="33"/>
                    <a:pt x="165" y="33"/>
                    <a:pt x="165" y="33"/>
                  </a:cubicBezTo>
                  <a:cubicBezTo>
                    <a:pt x="165" y="33"/>
                    <a:pt x="162" y="29"/>
                    <a:pt x="145" y="30"/>
                  </a:cubicBezTo>
                  <a:cubicBezTo>
                    <a:pt x="126" y="45"/>
                    <a:pt x="129" y="24"/>
                    <a:pt x="128" y="21"/>
                  </a:cubicBezTo>
                  <a:cubicBezTo>
                    <a:pt x="128" y="5"/>
                    <a:pt x="111" y="1"/>
                    <a:pt x="104" y="0"/>
                  </a:cubicBezTo>
                  <a:cubicBezTo>
                    <a:pt x="92" y="21"/>
                    <a:pt x="92" y="21"/>
                    <a:pt x="92" y="21"/>
                  </a:cubicBezTo>
                  <a:cubicBezTo>
                    <a:pt x="78" y="22"/>
                    <a:pt x="78" y="22"/>
                    <a:pt x="78" y="22"/>
                  </a:cubicBezTo>
                  <a:cubicBezTo>
                    <a:pt x="70" y="37"/>
                    <a:pt x="70" y="37"/>
                    <a:pt x="70" y="37"/>
                  </a:cubicBezTo>
                  <a:cubicBezTo>
                    <a:pt x="58" y="30"/>
                    <a:pt x="58" y="30"/>
                    <a:pt x="58" y="30"/>
                  </a:cubicBezTo>
                  <a:cubicBezTo>
                    <a:pt x="49" y="30"/>
                    <a:pt x="49" y="30"/>
                    <a:pt x="49" y="30"/>
                  </a:cubicBezTo>
                  <a:cubicBezTo>
                    <a:pt x="32" y="25"/>
                    <a:pt x="32" y="25"/>
                    <a:pt x="32" y="25"/>
                  </a:cubicBezTo>
                  <a:cubicBezTo>
                    <a:pt x="32" y="25"/>
                    <a:pt x="30" y="51"/>
                    <a:pt x="26" y="49"/>
                  </a:cubicBezTo>
                  <a:cubicBezTo>
                    <a:pt x="38" y="63"/>
                    <a:pt x="38" y="78"/>
                    <a:pt x="38" y="78"/>
                  </a:cubicBezTo>
                  <a:cubicBezTo>
                    <a:pt x="38" y="78"/>
                    <a:pt x="25" y="102"/>
                    <a:pt x="21" y="107"/>
                  </a:cubicBezTo>
                  <a:cubicBezTo>
                    <a:pt x="17" y="113"/>
                    <a:pt x="25" y="125"/>
                    <a:pt x="25" y="125"/>
                  </a:cubicBezTo>
                  <a:cubicBezTo>
                    <a:pt x="8" y="137"/>
                    <a:pt x="8" y="137"/>
                    <a:pt x="8" y="137"/>
                  </a:cubicBezTo>
                  <a:cubicBezTo>
                    <a:pt x="14" y="143"/>
                    <a:pt x="14" y="143"/>
                    <a:pt x="14" y="143"/>
                  </a:cubicBezTo>
                  <a:cubicBezTo>
                    <a:pt x="4" y="151"/>
                    <a:pt x="4" y="151"/>
                    <a:pt x="4" y="151"/>
                  </a:cubicBezTo>
                  <a:cubicBezTo>
                    <a:pt x="4" y="151"/>
                    <a:pt x="20" y="197"/>
                    <a:pt x="17" y="201"/>
                  </a:cubicBezTo>
                  <a:cubicBezTo>
                    <a:pt x="28" y="195"/>
                    <a:pt x="25" y="214"/>
                    <a:pt x="26" y="223"/>
                  </a:cubicBezTo>
                  <a:cubicBezTo>
                    <a:pt x="28" y="233"/>
                    <a:pt x="4" y="242"/>
                    <a:pt x="4" y="242"/>
                  </a:cubicBezTo>
                  <a:cubicBezTo>
                    <a:pt x="6" y="263"/>
                    <a:pt x="6" y="263"/>
                    <a:pt x="6" y="263"/>
                  </a:cubicBezTo>
                  <a:cubicBezTo>
                    <a:pt x="0" y="277"/>
                    <a:pt x="0" y="277"/>
                    <a:pt x="0" y="277"/>
                  </a:cubicBezTo>
                  <a:cubicBezTo>
                    <a:pt x="26" y="295"/>
                    <a:pt x="26" y="295"/>
                    <a:pt x="26" y="295"/>
                  </a:cubicBezTo>
                  <a:cubicBezTo>
                    <a:pt x="25" y="335"/>
                    <a:pt x="25" y="335"/>
                    <a:pt x="25" y="335"/>
                  </a:cubicBezTo>
                  <a:cubicBezTo>
                    <a:pt x="33" y="329"/>
                    <a:pt x="33" y="329"/>
                    <a:pt x="33" y="329"/>
                  </a:cubicBezTo>
                  <a:cubicBezTo>
                    <a:pt x="33" y="329"/>
                    <a:pt x="68" y="356"/>
                    <a:pt x="67" y="359"/>
                  </a:cubicBezTo>
                  <a:cubicBezTo>
                    <a:pt x="84" y="359"/>
                    <a:pt x="125" y="395"/>
                    <a:pt x="125" y="395"/>
                  </a:cubicBezTo>
                  <a:cubicBezTo>
                    <a:pt x="113" y="401"/>
                    <a:pt x="113" y="401"/>
                    <a:pt x="113" y="401"/>
                  </a:cubicBezTo>
                  <a:cubicBezTo>
                    <a:pt x="118" y="409"/>
                    <a:pt x="118" y="409"/>
                    <a:pt x="118" y="409"/>
                  </a:cubicBezTo>
                  <a:cubicBezTo>
                    <a:pt x="118" y="409"/>
                    <a:pt x="120" y="412"/>
                    <a:pt x="120" y="415"/>
                  </a:cubicBezTo>
                  <a:cubicBezTo>
                    <a:pt x="126" y="411"/>
                    <a:pt x="136" y="414"/>
                    <a:pt x="136" y="414"/>
                  </a:cubicBezTo>
                  <a:cubicBezTo>
                    <a:pt x="149" y="437"/>
                    <a:pt x="149" y="437"/>
                    <a:pt x="149" y="437"/>
                  </a:cubicBezTo>
                  <a:cubicBezTo>
                    <a:pt x="165" y="426"/>
                    <a:pt x="165" y="449"/>
                    <a:pt x="165" y="449"/>
                  </a:cubicBezTo>
                  <a:cubicBezTo>
                    <a:pt x="174" y="450"/>
                    <a:pt x="174" y="450"/>
                    <a:pt x="174" y="450"/>
                  </a:cubicBezTo>
                  <a:cubicBezTo>
                    <a:pt x="181" y="461"/>
                    <a:pt x="181" y="461"/>
                    <a:pt x="181" y="461"/>
                  </a:cubicBezTo>
                  <a:cubicBezTo>
                    <a:pt x="170" y="466"/>
                    <a:pt x="170" y="490"/>
                    <a:pt x="170" y="490"/>
                  </a:cubicBezTo>
                  <a:cubicBezTo>
                    <a:pt x="160" y="502"/>
                    <a:pt x="160" y="502"/>
                    <a:pt x="160" y="502"/>
                  </a:cubicBezTo>
                  <a:cubicBezTo>
                    <a:pt x="177" y="506"/>
                    <a:pt x="177" y="506"/>
                    <a:pt x="177" y="506"/>
                  </a:cubicBezTo>
                  <a:cubicBezTo>
                    <a:pt x="197" y="519"/>
                    <a:pt x="197" y="519"/>
                    <a:pt x="197" y="519"/>
                  </a:cubicBezTo>
                  <a:cubicBezTo>
                    <a:pt x="198" y="537"/>
                    <a:pt x="198" y="537"/>
                    <a:pt x="198" y="537"/>
                  </a:cubicBezTo>
                  <a:cubicBezTo>
                    <a:pt x="201" y="539"/>
                    <a:pt x="201" y="539"/>
                    <a:pt x="201" y="539"/>
                  </a:cubicBezTo>
                  <a:cubicBezTo>
                    <a:pt x="214" y="547"/>
                    <a:pt x="214" y="547"/>
                    <a:pt x="214" y="547"/>
                  </a:cubicBezTo>
                  <a:cubicBezTo>
                    <a:pt x="217" y="544"/>
                    <a:pt x="217" y="544"/>
                    <a:pt x="217" y="544"/>
                  </a:cubicBezTo>
                  <a:cubicBezTo>
                    <a:pt x="224" y="533"/>
                    <a:pt x="224" y="533"/>
                    <a:pt x="224" y="533"/>
                  </a:cubicBezTo>
                  <a:cubicBezTo>
                    <a:pt x="234" y="534"/>
                    <a:pt x="234" y="534"/>
                    <a:pt x="234" y="534"/>
                  </a:cubicBezTo>
                  <a:cubicBezTo>
                    <a:pt x="230" y="543"/>
                    <a:pt x="230" y="543"/>
                    <a:pt x="230" y="543"/>
                  </a:cubicBezTo>
                  <a:cubicBezTo>
                    <a:pt x="244" y="537"/>
                    <a:pt x="244" y="537"/>
                    <a:pt x="244" y="537"/>
                  </a:cubicBezTo>
                  <a:cubicBezTo>
                    <a:pt x="249" y="523"/>
                    <a:pt x="249" y="523"/>
                    <a:pt x="249" y="523"/>
                  </a:cubicBezTo>
                  <a:cubicBezTo>
                    <a:pt x="274" y="517"/>
                    <a:pt x="274" y="517"/>
                    <a:pt x="274" y="517"/>
                  </a:cubicBezTo>
                  <a:cubicBezTo>
                    <a:pt x="273" y="533"/>
                    <a:pt x="273" y="533"/>
                    <a:pt x="273" y="533"/>
                  </a:cubicBezTo>
                  <a:cubicBezTo>
                    <a:pt x="286" y="534"/>
                    <a:pt x="286" y="534"/>
                    <a:pt x="286" y="534"/>
                  </a:cubicBezTo>
                  <a:cubicBezTo>
                    <a:pt x="285" y="543"/>
                    <a:pt x="285" y="543"/>
                    <a:pt x="285" y="543"/>
                  </a:cubicBezTo>
                  <a:cubicBezTo>
                    <a:pt x="285" y="543"/>
                    <a:pt x="333" y="526"/>
                    <a:pt x="337" y="537"/>
                  </a:cubicBezTo>
                  <a:cubicBezTo>
                    <a:pt x="341" y="547"/>
                    <a:pt x="346" y="554"/>
                    <a:pt x="346" y="554"/>
                  </a:cubicBezTo>
                  <a:cubicBezTo>
                    <a:pt x="372" y="537"/>
                    <a:pt x="372" y="537"/>
                    <a:pt x="372" y="537"/>
                  </a:cubicBezTo>
                  <a:cubicBezTo>
                    <a:pt x="381" y="549"/>
                    <a:pt x="381" y="549"/>
                    <a:pt x="381" y="549"/>
                  </a:cubicBezTo>
                  <a:cubicBezTo>
                    <a:pt x="414" y="562"/>
                    <a:pt x="414" y="562"/>
                    <a:pt x="414" y="562"/>
                  </a:cubicBezTo>
                  <a:cubicBezTo>
                    <a:pt x="414" y="562"/>
                    <a:pt x="422" y="573"/>
                    <a:pt x="428" y="570"/>
                  </a:cubicBezTo>
                  <a:cubicBezTo>
                    <a:pt x="433" y="567"/>
                    <a:pt x="442" y="559"/>
                    <a:pt x="442" y="559"/>
                  </a:cubicBezTo>
                  <a:cubicBezTo>
                    <a:pt x="437" y="550"/>
                    <a:pt x="437" y="550"/>
                    <a:pt x="437" y="550"/>
                  </a:cubicBezTo>
                  <a:cubicBezTo>
                    <a:pt x="441" y="545"/>
                    <a:pt x="441" y="545"/>
                    <a:pt x="441" y="545"/>
                  </a:cubicBezTo>
                  <a:cubicBezTo>
                    <a:pt x="442" y="514"/>
                    <a:pt x="442" y="514"/>
                    <a:pt x="442" y="514"/>
                  </a:cubicBezTo>
                  <a:cubicBezTo>
                    <a:pt x="442" y="514"/>
                    <a:pt x="460" y="511"/>
                    <a:pt x="472" y="470"/>
                  </a:cubicBezTo>
                  <a:cubicBezTo>
                    <a:pt x="476" y="470"/>
                    <a:pt x="469" y="466"/>
                    <a:pt x="469" y="466"/>
                  </a:cubicBezTo>
                  <a:cubicBezTo>
                    <a:pt x="490" y="411"/>
                    <a:pt x="490" y="411"/>
                    <a:pt x="490" y="411"/>
                  </a:cubicBezTo>
                  <a:cubicBezTo>
                    <a:pt x="489" y="402"/>
                    <a:pt x="489" y="402"/>
                    <a:pt x="489" y="402"/>
                  </a:cubicBezTo>
                  <a:cubicBezTo>
                    <a:pt x="489" y="402"/>
                    <a:pt x="469" y="411"/>
                    <a:pt x="469" y="399"/>
                  </a:cubicBezTo>
                  <a:cubicBezTo>
                    <a:pt x="469" y="387"/>
                    <a:pt x="472" y="349"/>
                    <a:pt x="472" y="349"/>
                  </a:cubicBezTo>
                  <a:cubicBezTo>
                    <a:pt x="458" y="343"/>
                    <a:pt x="458" y="343"/>
                    <a:pt x="458" y="343"/>
                  </a:cubicBezTo>
                  <a:cubicBezTo>
                    <a:pt x="480" y="338"/>
                    <a:pt x="480" y="338"/>
                    <a:pt x="480" y="338"/>
                  </a:cubicBezTo>
                  <a:cubicBezTo>
                    <a:pt x="480" y="338"/>
                    <a:pt x="505" y="337"/>
                    <a:pt x="508" y="299"/>
                  </a:cubicBezTo>
                  <a:cubicBezTo>
                    <a:pt x="506" y="304"/>
                    <a:pt x="487" y="294"/>
                    <a:pt x="505" y="262"/>
                  </a:cubicBezTo>
                  <a:cubicBezTo>
                    <a:pt x="502" y="260"/>
                    <a:pt x="483" y="244"/>
                    <a:pt x="477" y="242"/>
                  </a:cubicBezTo>
                  <a:cubicBezTo>
                    <a:pt x="470" y="239"/>
                    <a:pt x="457" y="258"/>
                    <a:pt x="457" y="258"/>
                  </a:cubicBezTo>
                  <a:cubicBezTo>
                    <a:pt x="449" y="243"/>
                    <a:pt x="449" y="243"/>
                    <a:pt x="449" y="243"/>
                  </a:cubicBezTo>
                  <a:cubicBezTo>
                    <a:pt x="457" y="233"/>
                    <a:pt x="457" y="233"/>
                    <a:pt x="457" y="233"/>
                  </a:cubicBezTo>
                  <a:cubicBezTo>
                    <a:pt x="429" y="223"/>
                    <a:pt x="429" y="223"/>
                    <a:pt x="429" y="223"/>
                  </a:cubicBezTo>
                  <a:cubicBezTo>
                    <a:pt x="429" y="223"/>
                    <a:pt x="434" y="203"/>
                    <a:pt x="444" y="205"/>
                  </a:cubicBezTo>
                  <a:cubicBezTo>
                    <a:pt x="450" y="166"/>
                    <a:pt x="450" y="166"/>
                    <a:pt x="450" y="166"/>
                  </a:cubicBezTo>
                  <a:cubicBezTo>
                    <a:pt x="456" y="167"/>
                    <a:pt x="456" y="167"/>
                    <a:pt x="456" y="167"/>
                  </a:cubicBezTo>
                  <a:cubicBezTo>
                    <a:pt x="465" y="189"/>
                    <a:pt x="465" y="189"/>
                    <a:pt x="465" y="189"/>
                  </a:cubicBezTo>
                  <a:cubicBezTo>
                    <a:pt x="493" y="193"/>
                    <a:pt x="493" y="193"/>
                    <a:pt x="493" y="193"/>
                  </a:cubicBezTo>
                  <a:cubicBezTo>
                    <a:pt x="493" y="193"/>
                    <a:pt x="498" y="217"/>
                    <a:pt x="533" y="197"/>
                  </a:cubicBezTo>
                  <a:cubicBezTo>
                    <a:pt x="533" y="197"/>
                    <a:pt x="553" y="229"/>
                    <a:pt x="574" y="164"/>
                  </a:cubicBezTo>
                  <a:lnTo>
                    <a:pt x="563" y="15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6" name="Alsace" descr="© INSCALE GmbH, 05.05.2010&#10;http://www.presentationload.com/">
              <a:extLst>
                <a:ext uri="{FF2B5EF4-FFF2-40B4-BE49-F238E27FC236}">
                  <a16:creationId xmlns:a16="http://schemas.microsoft.com/office/drawing/2014/main" id="{F0F39AF0-5E77-4803-A309-B0A4DD2EAFF8}"/>
                </a:ext>
              </a:extLst>
            </p:cNvPr>
            <p:cNvSpPr>
              <a:spLocks/>
            </p:cNvSpPr>
            <p:nvPr/>
          </p:nvSpPr>
          <p:spPr bwMode="gray">
            <a:xfrm>
              <a:off x="2808" y="818"/>
              <a:ext cx="317" cy="567"/>
            </a:xfrm>
            <a:custGeom>
              <a:avLst/>
              <a:gdLst/>
              <a:ahLst/>
              <a:cxnLst>
                <a:cxn ang="0">
                  <a:pos x="271" y="35"/>
                </a:cxn>
                <a:cxn ang="0">
                  <a:pos x="250" y="20"/>
                </a:cxn>
                <a:cxn ang="0">
                  <a:pos x="242" y="22"/>
                </a:cxn>
                <a:cxn ang="0">
                  <a:pos x="225" y="13"/>
                </a:cxn>
                <a:cxn ang="0">
                  <a:pos x="206" y="12"/>
                </a:cxn>
                <a:cxn ang="0">
                  <a:pos x="172" y="14"/>
                </a:cxn>
                <a:cxn ang="0">
                  <a:pos x="164" y="2"/>
                </a:cxn>
                <a:cxn ang="0">
                  <a:pos x="152" y="4"/>
                </a:cxn>
                <a:cxn ang="0">
                  <a:pos x="148" y="0"/>
                </a:cxn>
                <a:cxn ang="0">
                  <a:pos x="107" y="33"/>
                </a:cxn>
                <a:cxn ang="0">
                  <a:pos x="67" y="29"/>
                </a:cxn>
                <a:cxn ang="0">
                  <a:pos x="39" y="25"/>
                </a:cxn>
                <a:cxn ang="0">
                  <a:pos x="30" y="3"/>
                </a:cxn>
                <a:cxn ang="0">
                  <a:pos x="24" y="2"/>
                </a:cxn>
                <a:cxn ang="0">
                  <a:pos x="18" y="41"/>
                </a:cxn>
                <a:cxn ang="0">
                  <a:pos x="3" y="59"/>
                </a:cxn>
                <a:cxn ang="0">
                  <a:pos x="31" y="69"/>
                </a:cxn>
                <a:cxn ang="0">
                  <a:pos x="23" y="79"/>
                </a:cxn>
                <a:cxn ang="0">
                  <a:pos x="31" y="94"/>
                </a:cxn>
                <a:cxn ang="0">
                  <a:pos x="51" y="78"/>
                </a:cxn>
                <a:cxn ang="0">
                  <a:pos x="79" y="98"/>
                </a:cxn>
                <a:cxn ang="0">
                  <a:pos x="82" y="135"/>
                </a:cxn>
                <a:cxn ang="0">
                  <a:pos x="54" y="174"/>
                </a:cxn>
                <a:cxn ang="0">
                  <a:pos x="32" y="179"/>
                </a:cxn>
                <a:cxn ang="0">
                  <a:pos x="46" y="185"/>
                </a:cxn>
                <a:cxn ang="0">
                  <a:pos x="43" y="235"/>
                </a:cxn>
                <a:cxn ang="0">
                  <a:pos x="63" y="238"/>
                </a:cxn>
                <a:cxn ang="0">
                  <a:pos x="64" y="247"/>
                </a:cxn>
                <a:cxn ang="0">
                  <a:pos x="43" y="302"/>
                </a:cxn>
                <a:cxn ang="0">
                  <a:pos x="46" y="306"/>
                </a:cxn>
                <a:cxn ang="0">
                  <a:pos x="16" y="350"/>
                </a:cxn>
                <a:cxn ang="0">
                  <a:pos x="15" y="381"/>
                </a:cxn>
                <a:cxn ang="0">
                  <a:pos x="11" y="386"/>
                </a:cxn>
                <a:cxn ang="0">
                  <a:pos x="16" y="395"/>
                </a:cxn>
                <a:cxn ang="0">
                  <a:pos x="2" y="406"/>
                </a:cxn>
                <a:cxn ang="0">
                  <a:pos x="0" y="406"/>
                </a:cxn>
                <a:cxn ang="0">
                  <a:pos x="4" y="417"/>
                </a:cxn>
                <a:cxn ang="0">
                  <a:pos x="43" y="471"/>
                </a:cxn>
                <a:cxn ang="0">
                  <a:pos x="66" y="496"/>
                </a:cxn>
                <a:cxn ang="0">
                  <a:pos x="90" y="499"/>
                </a:cxn>
                <a:cxn ang="0">
                  <a:pos x="113" y="510"/>
                </a:cxn>
                <a:cxn ang="0">
                  <a:pos x="143" y="491"/>
                </a:cxn>
                <a:cxn ang="0">
                  <a:pos x="152" y="503"/>
                </a:cxn>
                <a:cxn ang="0">
                  <a:pos x="161" y="493"/>
                </a:cxn>
                <a:cxn ang="0">
                  <a:pos x="174" y="463"/>
                </a:cxn>
                <a:cxn ang="0">
                  <a:pos x="165" y="419"/>
                </a:cxn>
                <a:cxn ang="0">
                  <a:pos x="167" y="386"/>
                </a:cxn>
                <a:cxn ang="0">
                  <a:pos x="176" y="349"/>
                </a:cxn>
                <a:cxn ang="0">
                  <a:pos x="176" y="336"/>
                </a:cxn>
                <a:cxn ang="0">
                  <a:pos x="185" y="262"/>
                </a:cxn>
                <a:cxn ang="0">
                  <a:pos x="199" y="229"/>
                </a:cxn>
                <a:cxn ang="0">
                  <a:pos x="209" y="177"/>
                </a:cxn>
                <a:cxn ang="0">
                  <a:pos x="218" y="138"/>
                </a:cxn>
                <a:cxn ang="0">
                  <a:pos x="245" y="104"/>
                </a:cxn>
                <a:cxn ang="0">
                  <a:pos x="261" y="93"/>
                </a:cxn>
                <a:cxn ang="0">
                  <a:pos x="279" y="58"/>
                </a:cxn>
                <a:cxn ang="0">
                  <a:pos x="294" y="35"/>
                </a:cxn>
                <a:cxn ang="0">
                  <a:pos x="271" y="35"/>
                </a:cxn>
              </a:cxnLst>
              <a:rect l="0" t="0" r="r" b="b"/>
              <a:pathLst>
                <a:path w="294" h="526">
                  <a:moveTo>
                    <a:pt x="271" y="35"/>
                  </a:moveTo>
                  <a:cubicBezTo>
                    <a:pt x="250" y="20"/>
                    <a:pt x="250" y="20"/>
                    <a:pt x="250" y="20"/>
                  </a:cubicBezTo>
                  <a:cubicBezTo>
                    <a:pt x="242" y="22"/>
                    <a:pt x="242" y="22"/>
                    <a:pt x="242" y="22"/>
                  </a:cubicBezTo>
                  <a:cubicBezTo>
                    <a:pt x="233" y="7"/>
                    <a:pt x="232" y="15"/>
                    <a:pt x="225" y="13"/>
                  </a:cubicBezTo>
                  <a:cubicBezTo>
                    <a:pt x="215" y="25"/>
                    <a:pt x="206" y="12"/>
                    <a:pt x="206" y="12"/>
                  </a:cubicBezTo>
                  <a:cubicBezTo>
                    <a:pt x="172" y="14"/>
                    <a:pt x="172" y="14"/>
                    <a:pt x="172" y="14"/>
                  </a:cubicBezTo>
                  <a:cubicBezTo>
                    <a:pt x="164" y="2"/>
                    <a:pt x="164" y="2"/>
                    <a:pt x="164" y="2"/>
                  </a:cubicBezTo>
                  <a:cubicBezTo>
                    <a:pt x="152" y="4"/>
                    <a:pt x="152" y="4"/>
                    <a:pt x="152" y="4"/>
                  </a:cubicBezTo>
                  <a:cubicBezTo>
                    <a:pt x="148" y="0"/>
                    <a:pt x="148" y="0"/>
                    <a:pt x="148" y="0"/>
                  </a:cubicBezTo>
                  <a:cubicBezTo>
                    <a:pt x="127" y="65"/>
                    <a:pt x="107" y="33"/>
                    <a:pt x="107" y="33"/>
                  </a:cubicBezTo>
                  <a:cubicBezTo>
                    <a:pt x="72" y="53"/>
                    <a:pt x="67" y="29"/>
                    <a:pt x="67" y="29"/>
                  </a:cubicBezTo>
                  <a:cubicBezTo>
                    <a:pt x="39" y="25"/>
                    <a:pt x="39" y="25"/>
                    <a:pt x="39" y="25"/>
                  </a:cubicBezTo>
                  <a:cubicBezTo>
                    <a:pt x="30" y="3"/>
                    <a:pt x="30" y="3"/>
                    <a:pt x="30" y="3"/>
                  </a:cubicBezTo>
                  <a:cubicBezTo>
                    <a:pt x="24" y="2"/>
                    <a:pt x="24" y="2"/>
                    <a:pt x="24" y="2"/>
                  </a:cubicBezTo>
                  <a:cubicBezTo>
                    <a:pt x="18" y="41"/>
                    <a:pt x="18" y="41"/>
                    <a:pt x="18" y="41"/>
                  </a:cubicBezTo>
                  <a:cubicBezTo>
                    <a:pt x="8" y="39"/>
                    <a:pt x="3" y="59"/>
                    <a:pt x="3" y="59"/>
                  </a:cubicBezTo>
                  <a:cubicBezTo>
                    <a:pt x="31" y="69"/>
                    <a:pt x="31" y="69"/>
                    <a:pt x="31" y="69"/>
                  </a:cubicBezTo>
                  <a:cubicBezTo>
                    <a:pt x="23" y="79"/>
                    <a:pt x="23" y="79"/>
                    <a:pt x="23" y="79"/>
                  </a:cubicBezTo>
                  <a:cubicBezTo>
                    <a:pt x="31" y="94"/>
                    <a:pt x="31" y="94"/>
                    <a:pt x="31" y="94"/>
                  </a:cubicBezTo>
                  <a:cubicBezTo>
                    <a:pt x="31" y="94"/>
                    <a:pt x="44" y="75"/>
                    <a:pt x="51" y="78"/>
                  </a:cubicBezTo>
                  <a:cubicBezTo>
                    <a:pt x="57" y="80"/>
                    <a:pt x="76" y="96"/>
                    <a:pt x="79" y="98"/>
                  </a:cubicBezTo>
                  <a:cubicBezTo>
                    <a:pt x="61" y="130"/>
                    <a:pt x="80" y="140"/>
                    <a:pt x="82" y="135"/>
                  </a:cubicBezTo>
                  <a:cubicBezTo>
                    <a:pt x="79" y="173"/>
                    <a:pt x="54" y="174"/>
                    <a:pt x="54" y="174"/>
                  </a:cubicBezTo>
                  <a:cubicBezTo>
                    <a:pt x="32" y="179"/>
                    <a:pt x="32" y="179"/>
                    <a:pt x="32" y="179"/>
                  </a:cubicBezTo>
                  <a:cubicBezTo>
                    <a:pt x="46" y="185"/>
                    <a:pt x="46" y="185"/>
                    <a:pt x="46" y="185"/>
                  </a:cubicBezTo>
                  <a:cubicBezTo>
                    <a:pt x="46" y="185"/>
                    <a:pt x="43" y="223"/>
                    <a:pt x="43" y="235"/>
                  </a:cubicBezTo>
                  <a:cubicBezTo>
                    <a:pt x="43" y="247"/>
                    <a:pt x="63" y="238"/>
                    <a:pt x="63" y="238"/>
                  </a:cubicBezTo>
                  <a:cubicBezTo>
                    <a:pt x="64" y="247"/>
                    <a:pt x="64" y="247"/>
                    <a:pt x="64" y="247"/>
                  </a:cubicBezTo>
                  <a:cubicBezTo>
                    <a:pt x="43" y="302"/>
                    <a:pt x="43" y="302"/>
                    <a:pt x="43" y="302"/>
                  </a:cubicBezTo>
                  <a:cubicBezTo>
                    <a:pt x="43" y="302"/>
                    <a:pt x="50" y="306"/>
                    <a:pt x="46" y="306"/>
                  </a:cubicBezTo>
                  <a:cubicBezTo>
                    <a:pt x="34" y="347"/>
                    <a:pt x="16" y="350"/>
                    <a:pt x="16" y="350"/>
                  </a:cubicBezTo>
                  <a:cubicBezTo>
                    <a:pt x="15" y="381"/>
                    <a:pt x="15" y="381"/>
                    <a:pt x="15" y="381"/>
                  </a:cubicBezTo>
                  <a:cubicBezTo>
                    <a:pt x="11" y="386"/>
                    <a:pt x="11" y="386"/>
                    <a:pt x="11" y="386"/>
                  </a:cubicBezTo>
                  <a:cubicBezTo>
                    <a:pt x="16" y="395"/>
                    <a:pt x="16" y="395"/>
                    <a:pt x="16" y="395"/>
                  </a:cubicBezTo>
                  <a:cubicBezTo>
                    <a:pt x="16" y="395"/>
                    <a:pt x="7" y="403"/>
                    <a:pt x="2" y="406"/>
                  </a:cubicBezTo>
                  <a:cubicBezTo>
                    <a:pt x="1" y="406"/>
                    <a:pt x="1" y="406"/>
                    <a:pt x="0" y="406"/>
                  </a:cubicBezTo>
                  <a:cubicBezTo>
                    <a:pt x="4" y="417"/>
                    <a:pt x="4" y="417"/>
                    <a:pt x="4" y="417"/>
                  </a:cubicBezTo>
                  <a:cubicBezTo>
                    <a:pt x="4" y="417"/>
                    <a:pt x="52" y="414"/>
                    <a:pt x="43" y="471"/>
                  </a:cubicBezTo>
                  <a:cubicBezTo>
                    <a:pt x="45" y="477"/>
                    <a:pt x="61" y="476"/>
                    <a:pt x="66" y="496"/>
                  </a:cubicBezTo>
                  <a:cubicBezTo>
                    <a:pt x="76" y="498"/>
                    <a:pt x="87" y="500"/>
                    <a:pt x="90" y="499"/>
                  </a:cubicBezTo>
                  <a:cubicBezTo>
                    <a:pt x="92" y="526"/>
                    <a:pt x="116" y="512"/>
                    <a:pt x="113" y="510"/>
                  </a:cubicBezTo>
                  <a:cubicBezTo>
                    <a:pt x="153" y="521"/>
                    <a:pt x="143" y="491"/>
                    <a:pt x="143" y="491"/>
                  </a:cubicBezTo>
                  <a:cubicBezTo>
                    <a:pt x="152" y="503"/>
                    <a:pt x="152" y="503"/>
                    <a:pt x="152" y="503"/>
                  </a:cubicBezTo>
                  <a:cubicBezTo>
                    <a:pt x="152" y="503"/>
                    <a:pt x="152" y="503"/>
                    <a:pt x="161" y="493"/>
                  </a:cubicBezTo>
                  <a:cubicBezTo>
                    <a:pt x="158" y="468"/>
                    <a:pt x="174" y="468"/>
                    <a:pt x="174" y="463"/>
                  </a:cubicBezTo>
                  <a:cubicBezTo>
                    <a:pt x="154" y="435"/>
                    <a:pt x="165" y="419"/>
                    <a:pt x="165" y="419"/>
                  </a:cubicBezTo>
                  <a:cubicBezTo>
                    <a:pt x="165" y="419"/>
                    <a:pt x="159" y="406"/>
                    <a:pt x="167" y="386"/>
                  </a:cubicBezTo>
                  <a:cubicBezTo>
                    <a:pt x="166" y="363"/>
                    <a:pt x="176" y="349"/>
                    <a:pt x="176" y="349"/>
                  </a:cubicBezTo>
                  <a:cubicBezTo>
                    <a:pt x="176" y="336"/>
                    <a:pt x="176" y="336"/>
                    <a:pt x="176" y="336"/>
                  </a:cubicBezTo>
                  <a:cubicBezTo>
                    <a:pt x="144" y="322"/>
                    <a:pt x="179" y="281"/>
                    <a:pt x="185" y="262"/>
                  </a:cubicBezTo>
                  <a:cubicBezTo>
                    <a:pt x="180" y="238"/>
                    <a:pt x="199" y="232"/>
                    <a:pt x="199" y="229"/>
                  </a:cubicBezTo>
                  <a:cubicBezTo>
                    <a:pt x="191" y="200"/>
                    <a:pt x="207" y="183"/>
                    <a:pt x="209" y="177"/>
                  </a:cubicBezTo>
                  <a:cubicBezTo>
                    <a:pt x="200" y="156"/>
                    <a:pt x="215" y="141"/>
                    <a:pt x="218" y="138"/>
                  </a:cubicBezTo>
                  <a:cubicBezTo>
                    <a:pt x="247" y="113"/>
                    <a:pt x="245" y="104"/>
                    <a:pt x="245" y="104"/>
                  </a:cubicBezTo>
                  <a:cubicBezTo>
                    <a:pt x="251" y="104"/>
                    <a:pt x="261" y="93"/>
                    <a:pt x="261" y="93"/>
                  </a:cubicBezTo>
                  <a:cubicBezTo>
                    <a:pt x="270" y="94"/>
                    <a:pt x="279" y="58"/>
                    <a:pt x="279" y="58"/>
                  </a:cubicBezTo>
                  <a:cubicBezTo>
                    <a:pt x="294" y="35"/>
                    <a:pt x="294" y="35"/>
                    <a:pt x="294" y="35"/>
                  </a:cubicBezTo>
                  <a:lnTo>
                    <a:pt x="271" y="3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7" name="Franche-Comté" descr="© INSCALE GmbH, 05.05.2010&#10;http://www.presentationload.com/">
              <a:extLst>
                <a:ext uri="{FF2B5EF4-FFF2-40B4-BE49-F238E27FC236}">
                  <a16:creationId xmlns:a16="http://schemas.microsoft.com/office/drawing/2014/main" id="{1F490D34-6D95-4776-8198-C2E5920D6864}"/>
                </a:ext>
              </a:extLst>
            </p:cNvPr>
            <p:cNvSpPr>
              <a:spLocks/>
            </p:cNvSpPr>
            <p:nvPr/>
          </p:nvSpPr>
          <p:spPr bwMode="gray">
            <a:xfrm>
              <a:off x="2452" y="1199"/>
              <a:ext cx="435" cy="623"/>
            </a:xfrm>
            <a:custGeom>
              <a:avLst/>
              <a:gdLst/>
              <a:ahLst/>
              <a:cxnLst>
                <a:cxn ang="0">
                  <a:pos x="40" y="136"/>
                </a:cxn>
                <a:cxn ang="0">
                  <a:pos x="17" y="186"/>
                </a:cxn>
                <a:cxn ang="0">
                  <a:pos x="30" y="212"/>
                </a:cxn>
                <a:cxn ang="0">
                  <a:pos x="46" y="228"/>
                </a:cxn>
                <a:cxn ang="0">
                  <a:pos x="13" y="312"/>
                </a:cxn>
                <a:cxn ang="0">
                  <a:pos x="12" y="326"/>
                </a:cxn>
                <a:cxn ang="0">
                  <a:pos x="14" y="353"/>
                </a:cxn>
                <a:cxn ang="0">
                  <a:pos x="46" y="380"/>
                </a:cxn>
                <a:cxn ang="0">
                  <a:pos x="25" y="402"/>
                </a:cxn>
                <a:cxn ang="0">
                  <a:pos x="36" y="418"/>
                </a:cxn>
                <a:cxn ang="0">
                  <a:pos x="37" y="465"/>
                </a:cxn>
                <a:cxn ang="0">
                  <a:pos x="40" y="498"/>
                </a:cxn>
                <a:cxn ang="0">
                  <a:pos x="18" y="524"/>
                </a:cxn>
                <a:cxn ang="0">
                  <a:pos x="32" y="542"/>
                </a:cxn>
                <a:cxn ang="0">
                  <a:pos x="53" y="566"/>
                </a:cxn>
                <a:cxn ang="0">
                  <a:pos x="109" y="548"/>
                </a:cxn>
                <a:cxn ang="0">
                  <a:pos x="145" y="562"/>
                </a:cxn>
                <a:cxn ang="0">
                  <a:pos x="200" y="497"/>
                </a:cxn>
                <a:cxn ang="0">
                  <a:pos x="201" y="425"/>
                </a:cxn>
                <a:cxn ang="0">
                  <a:pos x="257" y="358"/>
                </a:cxn>
                <a:cxn ang="0">
                  <a:pos x="272" y="305"/>
                </a:cxn>
                <a:cxn ang="0">
                  <a:pos x="312" y="288"/>
                </a:cxn>
                <a:cxn ang="0">
                  <a:pos x="370" y="218"/>
                </a:cxn>
                <a:cxn ang="0">
                  <a:pos x="373" y="202"/>
                </a:cxn>
                <a:cxn ang="0">
                  <a:pos x="386" y="180"/>
                </a:cxn>
                <a:cxn ang="0">
                  <a:pos x="364" y="161"/>
                </a:cxn>
                <a:cxn ang="0">
                  <a:pos x="378" y="139"/>
                </a:cxn>
                <a:cxn ang="0">
                  <a:pos x="373" y="118"/>
                </a:cxn>
                <a:cxn ang="0">
                  <a:pos x="330" y="53"/>
                </a:cxn>
                <a:cxn ang="0">
                  <a:pos x="285" y="32"/>
                </a:cxn>
                <a:cxn ang="0">
                  <a:pos x="250" y="37"/>
                </a:cxn>
                <a:cxn ang="0">
                  <a:pos x="189" y="26"/>
                </a:cxn>
                <a:cxn ang="0">
                  <a:pos x="177" y="16"/>
                </a:cxn>
                <a:cxn ang="0">
                  <a:pos x="153" y="6"/>
                </a:cxn>
                <a:cxn ang="0">
                  <a:pos x="134" y="26"/>
                </a:cxn>
                <a:cxn ang="0">
                  <a:pos x="128" y="16"/>
                </a:cxn>
                <a:cxn ang="0">
                  <a:pos x="124" y="36"/>
                </a:cxn>
                <a:cxn ang="0">
                  <a:pos x="113" y="56"/>
                </a:cxn>
                <a:cxn ang="0">
                  <a:pos x="93" y="69"/>
                </a:cxn>
                <a:cxn ang="0">
                  <a:pos x="80" y="78"/>
                </a:cxn>
                <a:cxn ang="0">
                  <a:pos x="88" y="109"/>
                </a:cxn>
                <a:cxn ang="0">
                  <a:pos x="57" y="106"/>
                </a:cxn>
                <a:cxn ang="0">
                  <a:pos x="26" y="112"/>
                </a:cxn>
                <a:cxn ang="0">
                  <a:pos x="24" y="140"/>
                </a:cxn>
              </a:cxnLst>
              <a:rect l="0" t="0" r="r" b="b"/>
              <a:pathLst>
                <a:path w="403" h="577">
                  <a:moveTo>
                    <a:pt x="32" y="132"/>
                  </a:moveTo>
                  <a:cubicBezTo>
                    <a:pt x="40" y="136"/>
                    <a:pt x="40" y="136"/>
                    <a:pt x="40" y="136"/>
                  </a:cubicBezTo>
                  <a:cubicBezTo>
                    <a:pt x="40" y="136"/>
                    <a:pt x="45" y="176"/>
                    <a:pt x="29" y="176"/>
                  </a:cubicBezTo>
                  <a:cubicBezTo>
                    <a:pt x="13" y="176"/>
                    <a:pt x="25" y="186"/>
                    <a:pt x="17" y="186"/>
                  </a:cubicBezTo>
                  <a:cubicBezTo>
                    <a:pt x="9" y="186"/>
                    <a:pt x="30" y="190"/>
                    <a:pt x="30" y="190"/>
                  </a:cubicBezTo>
                  <a:cubicBezTo>
                    <a:pt x="30" y="212"/>
                    <a:pt x="30" y="212"/>
                    <a:pt x="30" y="212"/>
                  </a:cubicBezTo>
                  <a:cubicBezTo>
                    <a:pt x="49" y="208"/>
                    <a:pt x="49" y="208"/>
                    <a:pt x="49" y="208"/>
                  </a:cubicBezTo>
                  <a:cubicBezTo>
                    <a:pt x="46" y="228"/>
                    <a:pt x="46" y="228"/>
                    <a:pt x="46" y="228"/>
                  </a:cubicBezTo>
                  <a:cubicBezTo>
                    <a:pt x="54" y="236"/>
                    <a:pt x="54" y="236"/>
                    <a:pt x="54" y="236"/>
                  </a:cubicBezTo>
                  <a:cubicBezTo>
                    <a:pt x="54" y="236"/>
                    <a:pt x="34" y="301"/>
                    <a:pt x="13" y="312"/>
                  </a:cubicBezTo>
                  <a:cubicBezTo>
                    <a:pt x="10" y="316"/>
                    <a:pt x="5" y="325"/>
                    <a:pt x="5" y="325"/>
                  </a:cubicBezTo>
                  <a:cubicBezTo>
                    <a:pt x="12" y="326"/>
                    <a:pt x="12" y="326"/>
                    <a:pt x="12" y="326"/>
                  </a:cubicBezTo>
                  <a:cubicBezTo>
                    <a:pt x="12" y="326"/>
                    <a:pt x="0" y="340"/>
                    <a:pt x="0" y="352"/>
                  </a:cubicBezTo>
                  <a:cubicBezTo>
                    <a:pt x="14" y="353"/>
                    <a:pt x="14" y="353"/>
                    <a:pt x="14" y="353"/>
                  </a:cubicBezTo>
                  <a:cubicBezTo>
                    <a:pt x="18" y="364"/>
                    <a:pt x="18" y="364"/>
                    <a:pt x="18" y="364"/>
                  </a:cubicBezTo>
                  <a:cubicBezTo>
                    <a:pt x="18" y="364"/>
                    <a:pt x="30" y="368"/>
                    <a:pt x="46" y="380"/>
                  </a:cubicBezTo>
                  <a:cubicBezTo>
                    <a:pt x="13" y="392"/>
                    <a:pt x="13" y="392"/>
                    <a:pt x="13" y="392"/>
                  </a:cubicBezTo>
                  <a:cubicBezTo>
                    <a:pt x="25" y="402"/>
                    <a:pt x="25" y="402"/>
                    <a:pt x="25" y="402"/>
                  </a:cubicBezTo>
                  <a:cubicBezTo>
                    <a:pt x="25" y="422"/>
                    <a:pt x="25" y="422"/>
                    <a:pt x="25" y="422"/>
                  </a:cubicBezTo>
                  <a:cubicBezTo>
                    <a:pt x="36" y="418"/>
                    <a:pt x="36" y="418"/>
                    <a:pt x="36" y="418"/>
                  </a:cubicBezTo>
                  <a:cubicBezTo>
                    <a:pt x="36" y="418"/>
                    <a:pt x="28" y="436"/>
                    <a:pt x="45" y="445"/>
                  </a:cubicBezTo>
                  <a:cubicBezTo>
                    <a:pt x="40" y="445"/>
                    <a:pt x="37" y="465"/>
                    <a:pt x="37" y="465"/>
                  </a:cubicBezTo>
                  <a:cubicBezTo>
                    <a:pt x="37" y="465"/>
                    <a:pt x="16" y="484"/>
                    <a:pt x="41" y="490"/>
                  </a:cubicBezTo>
                  <a:cubicBezTo>
                    <a:pt x="44" y="492"/>
                    <a:pt x="40" y="498"/>
                    <a:pt x="40" y="498"/>
                  </a:cubicBezTo>
                  <a:cubicBezTo>
                    <a:pt x="21" y="504"/>
                    <a:pt x="21" y="504"/>
                    <a:pt x="21" y="504"/>
                  </a:cubicBezTo>
                  <a:cubicBezTo>
                    <a:pt x="18" y="524"/>
                    <a:pt x="18" y="524"/>
                    <a:pt x="18" y="524"/>
                  </a:cubicBezTo>
                  <a:cubicBezTo>
                    <a:pt x="32" y="529"/>
                    <a:pt x="32" y="529"/>
                    <a:pt x="32" y="529"/>
                  </a:cubicBezTo>
                  <a:cubicBezTo>
                    <a:pt x="32" y="542"/>
                    <a:pt x="32" y="542"/>
                    <a:pt x="32" y="542"/>
                  </a:cubicBezTo>
                  <a:cubicBezTo>
                    <a:pt x="56" y="553"/>
                    <a:pt x="56" y="553"/>
                    <a:pt x="56" y="553"/>
                  </a:cubicBezTo>
                  <a:cubicBezTo>
                    <a:pt x="53" y="566"/>
                    <a:pt x="53" y="566"/>
                    <a:pt x="53" y="566"/>
                  </a:cubicBezTo>
                  <a:cubicBezTo>
                    <a:pt x="53" y="566"/>
                    <a:pt x="76" y="577"/>
                    <a:pt x="93" y="538"/>
                  </a:cubicBezTo>
                  <a:cubicBezTo>
                    <a:pt x="89" y="545"/>
                    <a:pt x="109" y="548"/>
                    <a:pt x="109" y="548"/>
                  </a:cubicBezTo>
                  <a:cubicBezTo>
                    <a:pt x="113" y="564"/>
                    <a:pt x="113" y="564"/>
                    <a:pt x="113" y="564"/>
                  </a:cubicBezTo>
                  <a:cubicBezTo>
                    <a:pt x="145" y="562"/>
                    <a:pt x="145" y="562"/>
                    <a:pt x="145" y="562"/>
                  </a:cubicBezTo>
                  <a:cubicBezTo>
                    <a:pt x="202" y="503"/>
                    <a:pt x="202" y="503"/>
                    <a:pt x="202" y="503"/>
                  </a:cubicBezTo>
                  <a:cubicBezTo>
                    <a:pt x="201" y="500"/>
                    <a:pt x="200" y="497"/>
                    <a:pt x="200" y="497"/>
                  </a:cubicBezTo>
                  <a:cubicBezTo>
                    <a:pt x="166" y="487"/>
                    <a:pt x="201" y="445"/>
                    <a:pt x="201" y="445"/>
                  </a:cubicBezTo>
                  <a:cubicBezTo>
                    <a:pt x="188" y="434"/>
                    <a:pt x="201" y="425"/>
                    <a:pt x="201" y="425"/>
                  </a:cubicBezTo>
                  <a:cubicBezTo>
                    <a:pt x="201" y="425"/>
                    <a:pt x="253" y="379"/>
                    <a:pt x="253" y="376"/>
                  </a:cubicBezTo>
                  <a:cubicBezTo>
                    <a:pt x="261" y="375"/>
                    <a:pt x="271" y="367"/>
                    <a:pt x="257" y="358"/>
                  </a:cubicBezTo>
                  <a:cubicBezTo>
                    <a:pt x="276" y="339"/>
                    <a:pt x="259" y="323"/>
                    <a:pt x="259" y="323"/>
                  </a:cubicBezTo>
                  <a:cubicBezTo>
                    <a:pt x="272" y="305"/>
                    <a:pt x="272" y="305"/>
                    <a:pt x="272" y="305"/>
                  </a:cubicBezTo>
                  <a:cubicBezTo>
                    <a:pt x="302" y="298"/>
                    <a:pt x="302" y="298"/>
                    <a:pt x="302" y="298"/>
                  </a:cubicBezTo>
                  <a:cubicBezTo>
                    <a:pt x="312" y="288"/>
                    <a:pt x="312" y="288"/>
                    <a:pt x="312" y="288"/>
                  </a:cubicBezTo>
                  <a:cubicBezTo>
                    <a:pt x="315" y="277"/>
                    <a:pt x="315" y="277"/>
                    <a:pt x="315" y="277"/>
                  </a:cubicBezTo>
                  <a:cubicBezTo>
                    <a:pt x="315" y="277"/>
                    <a:pt x="368" y="222"/>
                    <a:pt x="370" y="218"/>
                  </a:cubicBezTo>
                  <a:cubicBezTo>
                    <a:pt x="365" y="210"/>
                    <a:pt x="376" y="203"/>
                    <a:pt x="375" y="202"/>
                  </a:cubicBezTo>
                  <a:cubicBezTo>
                    <a:pt x="374" y="202"/>
                    <a:pt x="374" y="202"/>
                    <a:pt x="373" y="202"/>
                  </a:cubicBezTo>
                  <a:cubicBezTo>
                    <a:pt x="374" y="202"/>
                    <a:pt x="374" y="202"/>
                    <a:pt x="375" y="202"/>
                  </a:cubicBezTo>
                  <a:cubicBezTo>
                    <a:pt x="403" y="203"/>
                    <a:pt x="386" y="180"/>
                    <a:pt x="386" y="180"/>
                  </a:cubicBezTo>
                  <a:cubicBezTo>
                    <a:pt x="354" y="184"/>
                    <a:pt x="354" y="184"/>
                    <a:pt x="354" y="184"/>
                  </a:cubicBezTo>
                  <a:cubicBezTo>
                    <a:pt x="364" y="161"/>
                    <a:pt x="364" y="161"/>
                    <a:pt x="364" y="161"/>
                  </a:cubicBezTo>
                  <a:cubicBezTo>
                    <a:pt x="380" y="152"/>
                    <a:pt x="380" y="152"/>
                    <a:pt x="380" y="152"/>
                  </a:cubicBezTo>
                  <a:cubicBezTo>
                    <a:pt x="378" y="139"/>
                    <a:pt x="378" y="139"/>
                    <a:pt x="378" y="139"/>
                  </a:cubicBezTo>
                  <a:cubicBezTo>
                    <a:pt x="378" y="139"/>
                    <a:pt x="387" y="141"/>
                    <a:pt x="396" y="143"/>
                  </a:cubicBezTo>
                  <a:cubicBezTo>
                    <a:pt x="391" y="123"/>
                    <a:pt x="375" y="124"/>
                    <a:pt x="373" y="118"/>
                  </a:cubicBezTo>
                  <a:cubicBezTo>
                    <a:pt x="382" y="61"/>
                    <a:pt x="334" y="64"/>
                    <a:pt x="334" y="64"/>
                  </a:cubicBezTo>
                  <a:cubicBezTo>
                    <a:pt x="330" y="53"/>
                    <a:pt x="330" y="53"/>
                    <a:pt x="330" y="53"/>
                  </a:cubicBezTo>
                  <a:cubicBezTo>
                    <a:pt x="325" y="54"/>
                    <a:pt x="318" y="45"/>
                    <a:pt x="318" y="45"/>
                  </a:cubicBezTo>
                  <a:cubicBezTo>
                    <a:pt x="285" y="32"/>
                    <a:pt x="285" y="32"/>
                    <a:pt x="285" y="32"/>
                  </a:cubicBezTo>
                  <a:cubicBezTo>
                    <a:pt x="276" y="20"/>
                    <a:pt x="276" y="20"/>
                    <a:pt x="276" y="20"/>
                  </a:cubicBezTo>
                  <a:cubicBezTo>
                    <a:pt x="250" y="37"/>
                    <a:pt x="250" y="37"/>
                    <a:pt x="250" y="37"/>
                  </a:cubicBezTo>
                  <a:cubicBezTo>
                    <a:pt x="250" y="37"/>
                    <a:pt x="245" y="30"/>
                    <a:pt x="241" y="20"/>
                  </a:cubicBezTo>
                  <a:cubicBezTo>
                    <a:pt x="237" y="9"/>
                    <a:pt x="189" y="26"/>
                    <a:pt x="189" y="26"/>
                  </a:cubicBezTo>
                  <a:cubicBezTo>
                    <a:pt x="190" y="17"/>
                    <a:pt x="190" y="17"/>
                    <a:pt x="190" y="17"/>
                  </a:cubicBezTo>
                  <a:cubicBezTo>
                    <a:pt x="177" y="16"/>
                    <a:pt x="177" y="16"/>
                    <a:pt x="177" y="16"/>
                  </a:cubicBezTo>
                  <a:cubicBezTo>
                    <a:pt x="178" y="0"/>
                    <a:pt x="178" y="0"/>
                    <a:pt x="178" y="0"/>
                  </a:cubicBezTo>
                  <a:cubicBezTo>
                    <a:pt x="153" y="6"/>
                    <a:pt x="153" y="6"/>
                    <a:pt x="153" y="6"/>
                  </a:cubicBezTo>
                  <a:cubicBezTo>
                    <a:pt x="148" y="20"/>
                    <a:pt x="148" y="20"/>
                    <a:pt x="148" y="20"/>
                  </a:cubicBezTo>
                  <a:cubicBezTo>
                    <a:pt x="134" y="26"/>
                    <a:pt x="134" y="26"/>
                    <a:pt x="134" y="26"/>
                  </a:cubicBezTo>
                  <a:cubicBezTo>
                    <a:pt x="138" y="17"/>
                    <a:pt x="138" y="17"/>
                    <a:pt x="138" y="17"/>
                  </a:cubicBezTo>
                  <a:cubicBezTo>
                    <a:pt x="128" y="16"/>
                    <a:pt x="128" y="16"/>
                    <a:pt x="128" y="16"/>
                  </a:cubicBezTo>
                  <a:cubicBezTo>
                    <a:pt x="121" y="27"/>
                    <a:pt x="121" y="27"/>
                    <a:pt x="121" y="27"/>
                  </a:cubicBezTo>
                  <a:cubicBezTo>
                    <a:pt x="124" y="36"/>
                    <a:pt x="124" y="36"/>
                    <a:pt x="124" y="36"/>
                  </a:cubicBezTo>
                  <a:cubicBezTo>
                    <a:pt x="116" y="41"/>
                    <a:pt x="116" y="41"/>
                    <a:pt x="116" y="41"/>
                  </a:cubicBezTo>
                  <a:cubicBezTo>
                    <a:pt x="113" y="56"/>
                    <a:pt x="113" y="56"/>
                    <a:pt x="113" y="56"/>
                  </a:cubicBezTo>
                  <a:cubicBezTo>
                    <a:pt x="100" y="54"/>
                    <a:pt x="100" y="54"/>
                    <a:pt x="100" y="54"/>
                  </a:cubicBezTo>
                  <a:cubicBezTo>
                    <a:pt x="93" y="69"/>
                    <a:pt x="93" y="69"/>
                    <a:pt x="93" y="69"/>
                  </a:cubicBezTo>
                  <a:cubicBezTo>
                    <a:pt x="85" y="68"/>
                    <a:pt x="85" y="68"/>
                    <a:pt x="85" y="68"/>
                  </a:cubicBezTo>
                  <a:cubicBezTo>
                    <a:pt x="80" y="78"/>
                    <a:pt x="80" y="78"/>
                    <a:pt x="80" y="78"/>
                  </a:cubicBezTo>
                  <a:cubicBezTo>
                    <a:pt x="90" y="78"/>
                    <a:pt x="90" y="78"/>
                    <a:pt x="90" y="78"/>
                  </a:cubicBezTo>
                  <a:cubicBezTo>
                    <a:pt x="88" y="109"/>
                    <a:pt x="88" y="109"/>
                    <a:pt x="88" y="109"/>
                  </a:cubicBezTo>
                  <a:cubicBezTo>
                    <a:pt x="69" y="114"/>
                    <a:pt x="69" y="114"/>
                    <a:pt x="69" y="114"/>
                  </a:cubicBezTo>
                  <a:cubicBezTo>
                    <a:pt x="57" y="106"/>
                    <a:pt x="57" y="106"/>
                    <a:pt x="57" y="106"/>
                  </a:cubicBezTo>
                  <a:cubicBezTo>
                    <a:pt x="56" y="113"/>
                    <a:pt x="56" y="113"/>
                    <a:pt x="56" y="113"/>
                  </a:cubicBezTo>
                  <a:cubicBezTo>
                    <a:pt x="26" y="112"/>
                    <a:pt x="26" y="112"/>
                    <a:pt x="26" y="112"/>
                  </a:cubicBezTo>
                  <a:cubicBezTo>
                    <a:pt x="26" y="112"/>
                    <a:pt x="24" y="129"/>
                    <a:pt x="21" y="136"/>
                  </a:cubicBezTo>
                  <a:cubicBezTo>
                    <a:pt x="24" y="140"/>
                    <a:pt x="24" y="140"/>
                    <a:pt x="24" y="140"/>
                  </a:cubicBezTo>
                  <a:lnTo>
                    <a:pt x="32" y="13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8" name="Bourgogne" descr="© INSCALE GmbH, 05.05.2010&#10;http://www.presentationload.com/">
              <a:extLst>
                <a:ext uri="{FF2B5EF4-FFF2-40B4-BE49-F238E27FC236}">
                  <a16:creationId xmlns:a16="http://schemas.microsoft.com/office/drawing/2014/main" id="{67CEE325-8000-4C18-B665-933A28B6F9A2}"/>
                </a:ext>
              </a:extLst>
            </p:cNvPr>
            <p:cNvSpPr>
              <a:spLocks/>
            </p:cNvSpPr>
            <p:nvPr/>
          </p:nvSpPr>
          <p:spPr bwMode="gray">
            <a:xfrm>
              <a:off x="1885" y="1086"/>
              <a:ext cx="625" cy="772"/>
            </a:xfrm>
            <a:custGeom>
              <a:avLst/>
              <a:gdLst/>
              <a:ahLst/>
              <a:cxnLst>
                <a:cxn ang="0">
                  <a:pos x="43" y="156"/>
                </a:cxn>
                <a:cxn ang="0">
                  <a:pos x="36" y="170"/>
                </a:cxn>
                <a:cxn ang="0">
                  <a:pos x="0" y="220"/>
                </a:cxn>
                <a:cxn ang="0">
                  <a:pos x="19" y="253"/>
                </a:cxn>
                <a:cxn ang="0">
                  <a:pos x="20" y="309"/>
                </a:cxn>
                <a:cxn ang="0">
                  <a:pos x="40" y="429"/>
                </a:cxn>
                <a:cxn ang="0">
                  <a:pos x="43" y="512"/>
                </a:cxn>
                <a:cxn ang="0">
                  <a:pos x="111" y="545"/>
                </a:cxn>
                <a:cxn ang="0">
                  <a:pos x="138" y="558"/>
                </a:cxn>
                <a:cxn ang="0">
                  <a:pos x="164" y="521"/>
                </a:cxn>
                <a:cxn ang="0">
                  <a:pos x="219" y="597"/>
                </a:cxn>
                <a:cxn ang="0">
                  <a:pos x="255" y="658"/>
                </a:cxn>
                <a:cxn ang="0">
                  <a:pos x="235" y="669"/>
                </a:cxn>
                <a:cxn ang="0">
                  <a:pos x="256" y="710"/>
                </a:cxn>
                <a:cxn ang="0">
                  <a:pos x="304" y="703"/>
                </a:cxn>
                <a:cxn ang="0">
                  <a:pos x="319" y="714"/>
                </a:cxn>
                <a:cxn ang="0">
                  <a:pos x="346" y="666"/>
                </a:cxn>
                <a:cxn ang="0">
                  <a:pos x="382" y="666"/>
                </a:cxn>
                <a:cxn ang="0">
                  <a:pos x="411" y="678"/>
                </a:cxn>
                <a:cxn ang="0">
                  <a:pos x="431" y="704"/>
                </a:cxn>
                <a:cxn ang="0">
                  <a:pos x="520" y="594"/>
                </a:cxn>
                <a:cxn ang="0">
                  <a:pos x="547" y="608"/>
                </a:cxn>
                <a:cxn ang="0">
                  <a:pos x="563" y="569"/>
                </a:cxn>
                <a:cxn ang="0">
                  <a:pos x="551" y="526"/>
                </a:cxn>
                <a:cxn ang="0">
                  <a:pos x="572" y="484"/>
                </a:cxn>
                <a:cxn ang="0">
                  <a:pos x="526" y="456"/>
                </a:cxn>
                <a:cxn ang="0">
                  <a:pos x="539" y="416"/>
                </a:cxn>
                <a:cxn ang="0">
                  <a:pos x="575" y="312"/>
                </a:cxn>
                <a:cxn ang="0">
                  <a:pos x="543" y="290"/>
                </a:cxn>
                <a:cxn ang="0">
                  <a:pos x="558" y="236"/>
                </a:cxn>
                <a:cxn ang="0">
                  <a:pos x="544" y="244"/>
                </a:cxn>
                <a:cxn ang="0">
                  <a:pos x="518" y="240"/>
                </a:cxn>
                <a:cxn ang="0">
                  <a:pos x="488" y="226"/>
                </a:cxn>
                <a:cxn ang="0">
                  <a:pos x="455" y="194"/>
                </a:cxn>
                <a:cxn ang="0">
                  <a:pos x="456" y="173"/>
                </a:cxn>
                <a:cxn ang="0">
                  <a:pos x="426" y="146"/>
                </a:cxn>
                <a:cxn ang="0">
                  <a:pos x="414" y="133"/>
                </a:cxn>
                <a:cxn ang="0">
                  <a:pos x="311" y="136"/>
                </a:cxn>
                <a:cxn ang="0">
                  <a:pos x="296" y="132"/>
                </a:cxn>
                <a:cxn ang="0">
                  <a:pos x="283" y="137"/>
                </a:cxn>
                <a:cxn ang="0">
                  <a:pos x="256" y="146"/>
                </a:cxn>
                <a:cxn ang="0">
                  <a:pos x="208" y="109"/>
                </a:cxn>
                <a:cxn ang="0">
                  <a:pos x="182" y="69"/>
                </a:cxn>
                <a:cxn ang="0">
                  <a:pos x="167" y="66"/>
                </a:cxn>
                <a:cxn ang="0">
                  <a:pos x="155" y="33"/>
                </a:cxn>
                <a:cxn ang="0">
                  <a:pos x="118" y="0"/>
                </a:cxn>
                <a:cxn ang="0">
                  <a:pos x="36" y="28"/>
                </a:cxn>
                <a:cxn ang="0">
                  <a:pos x="39" y="84"/>
                </a:cxn>
              </a:cxnLst>
              <a:rect l="0" t="0" r="r" b="b"/>
              <a:pathLst>
                <a:path w="580" h="715">
                  <a:moveTo>
                    <a:pt x="58" y="114"/>
                  </a:moveTo>
                  <a:cubicBezTo>
                    <a:pt x="59" y="133"/>
                    <a:pt x="59" y="133"/>
                    <a:pt x="59" y="133"/>
                  </a:cubicBezTo>
                  <a:cubicBezTo>
                    <a:pt x="43" y="156"/>
                    <a:pt x="43" y="156"/>
                    <a:pt x="43" y="156"/>
                  </a:cubicBezTo>
                  <a:cubicBezTo>
                    <a:pt x="34" y="157"/>
                    <a:pt x="34" y="157"/>
                    <a:pt x="34" y="157"/>
                  </a:cubicBezTo>
                  <a:cubicBezTo>
                    <a:pt x="31" y="170"/>
                    <a:pt x="31" y="170"/>
                    <a:pt x="31" y="170"/>
                  </a:cubicBezTo>
                  <a:cubicBezTo>
                    <a:pt x="36" y="170"/>
                    <a:pt x="36" y="170"/>
                    <a:pt x="36" y="170"/>
                  </a:cubicBezTo>
                  <a:cubicBezTo>
                    <a:pt x="36" y="194"/>
                    <a:pt x="36" y="194"/>
                    <a:pt x="36" y="194"/>
                  </a:cubicBezTo>
                  <a:cubicBezTo>
                    <a:pt x="2" y="204"/>
                    <a:pt x="2" y="204"/>
                    <a:pt x="2" y="204"/>
                  </a:cubicBezTo>
                  <a:cubicBezTo>
                    <a:pt x="0" y="220"/>
                    <a:pt x="0" y="220"/>
                    <a:pt x="0" y="220"/>
                  </a:cubicBezTo>
                  <a:cubicBezTo>
                    <a:pt x="10" y="218"/>
                    <a:pt x="10" y="218"/>
                    <a:pt x="10" y="218"/>
                  </a:cubicBezTo>
                  <a:cubicBezTo>
                    <a:pt x="23" y="240"/>
                    <a:pt x="23" y="240"/>
                    <a:pt x="23" y="240"/>
                  </a:cubicBezTo>
                  <a:cubicBezTo>
                    <a:pt x="19" y="253"/>
                    <a:pt x="19" y="253"/>
                    <a:pt x="19" y="253"/>
                  </a:cubicBezTo>
                  <a:cubicBezTo>
                    <a:pt x="27" y="265"/>
                    <a:pt x="27" y="265"/>
                    <a:pt x="27" y="265"/>
                  </a:cubicBezTo>
                  <a:cubicBezTo>
                    <a:pt x="4" y="270"/>
                    <a:pt x="4" y="270"/>
                    <a:pt x="4" y="270"/>
                  </a:cubicBezTo>
                  <a:cubicBezTo>
                    <a:pt x="20" y="309"/>
                    <a:pt x="20" y="309"/>
                    <a:pt x="20" y="309"/>
                  </a:cubicBezTo>
                  <a:cubicBezTo>
                    <a:pt x="6" y="344"/>
                    <a:pt x="6" y="344"/>
                    <a:pt x="6" y="344"/>
                  </a:cubicBezTo>
                  <a:cubicBezTo>
                    <a:pt x="31" y="365"/>
                    <a:pt x="31" y="365"/>
                    <a:pt x="31" y="365"/>
                  </a:cubicBezTo>
                  <a:cubicBezTo>
                    <a:pt x="31" y="365"/>
                    <a:pt x="40" y="385"/>
                    <a:pt x="40" y="429"/>
                  </a:cubicBezTo>
                  <a:cubicBezTo>
                    <a:pt x="50" y="437"/>
                    <a:pt x="50" y="437"/>
                    <a:pt x="50" y="437"/>
                  </a:cubicBezTo>
                  <a:cubicBezTo>
                    <a:pt x="50" y="437"/>
                    <a:pt x="51" y="469"/>
                    <a:pt x="46" y="474"/>
                  </a:cubicBezTo>
                  <a:cubicBezTo>
                    <a:pt x="40" y="480"/>
                    <a:pt x="56" y="497"/>
                    <a:pt x="43" y="512"/>
                  </a:cubicBezTo>
                  <a:cubicBezTo>
                    <a:pt x="47" y="514"/>
                    <a:pt x="67" y="546"/>
                    <a:pt x="76" y="548"/>
                  </a:cubicBezTo>
                  <a:cubicBezTo>
                    <a:pt x="86" y="549"/>
                    <a:pt x="91" y="538"/>
                    <a:pt x="95" y="538"/>
                  </a:cubicBezTo>
                  <a:cubicBezTo>
                    <a:pt x="99" y="538"/>
                    <a:pt x="107" y="545"/>
                    <a:pt x="111" y="545"/>
                  </a:cubicBezTo>
                  <a:cubicBezTo>
                    <a:pt x="115" y="545"/>
                    <a:pt x="126" y="537"/>
                    <a:pt x="126" y="537"/>
                  </a:cubicBezTo>
                  <a:cubicBezTo>
                    <a:pt x="138" y="544"/>
                    <a:pt x="138" y="544"/>
                    <a:pt x="138" y="544"/>
                  </a:cubicBezTo>
                  <a:cubicBezTo>
                    <a:pt x="138" y="558"/>
                    <a:pt x="138" y="558"/>
                    <a:pt x="138" y="558"/>
                  </a:cubicBezTo>
                  <a:cubicBezTo>
                    <a:pt x="150" y="544"/>
                    <a:pt x="150" y="544"/>
                    <a:pt x="150" y="544"/>
                  </a:cubicBezTo>
                  <a:cubicBezTo>
                    <a:pt x="159" y="545"/>
                    <a:pt x="159" y="545"/>
                    <a:pt x="159" y="545"/>
                  </a:cubicBezTo>
                  <a:cubicBezTo>
                    <a:pt x="159" y="545"/>
                    <a:pt x="160" y="517"/>
                    <a:pt x="164" y="521"/>
                  </a:cubicBezTo>
                  <a:cubicBezTo>
                    <a:pt x="168" y="525"/>
                    <a:pt x="198" y="576"/>
                    <a:pt x="198" y="576"/>
                  </a:cubicBezTo>
                  <a:cubicBezTo>
                    <a:pt x="202" y="594"/>
                    <a:pt x="202" y="594"/>
                    <a:pt x="202" y="594"/>
                  </a:cubicBezTo>
                  <a:cubicBezTo>
                    <a:pt x="219" y="597"/>
                    <a:pt x="219" y="597"/>
                    <a:pt x="219" y="597"/>
                  </a:cubicBezTo>
                  <a:cubicBezTo>
                    <a:pt x="230" y="610"/>
                    <a:pt x="230" y="610"/>
                    <a:pt x="230" y="610"/>
                  </a:cubicBezTo>
                  <a:cubicBezTo>
                    <a:pt x="230" y="610"/>
                    <a:pt x="258" y="600"/>
                    <a:pt x="256" y="614"/>
                  </a:cubicBezTo>
                  <a:cubicBezTo>
                    <a:pt x="255" y="629"/>
                    <a:pt x="255" y="658"/>
                    <a:pt x="255" y="658"/>
                  </a:cubicBezTo>
                  <a:cubicBezTo>
                    <a:pt x="248" y="658"/>
                    <a:pt x="248" y="658"/>
                    <a:pt x="248" y="658"/>
                  </a:cubicBezTo>
                  <a:cubicBezTo>
                    <a:pt x="243" y="672"/>
                    <a:pt x="243" y="672"/>
                    <a:pt x="243" y="672"/>
                  </a:cubicBezTo>
                  <a:cubicBezTo>
                    <a:pt x="235" y="669"/>
                    <a:pt x="235" y="669"/>
                    <a:pt x="235" y="669"/>
                  </a:cubicBezTo>
                  <a:cubicBezTo>
                    <a:pt x="236" y="697"/>
                    <a:pt x="236" y="697"/>
                    <a:pt x="236" y="697"/>
                  </a:cubicBezTo>
                  <a:cubicBezTo>
                    <a:pt x="250" y="697"/>
                    <a:pt x="250" y="697"/>
                    <a:pt x="250" y="697"/>
                  </a:cubicBezTo>
                  <a:cubicBezTo>
                    <a:pt x="256" y="710"/>
                    <a:pt x="256" y="710"/>
                    <a:pt x="256" y="710"/>
                  </a:cubicBezTo>
                  <a:cubicBezTo>
                    <a:pt x="280" y="704"/>
                    <a:pt x="280" y="704"/>
                    <a:pt x="280" y="704"/>
                  </a:cubicBezTo>
                  <a:cubicBezTo>
                    <a:pt x="280" y="704"/>
                    <a:pt x="280" y="705"/>
                    <a:pt x="295" y="706"/>
                  </a:cubicBezTo>
                  <a:cubicBezTo>
                    <a:pt x="305" y="707"/>
                    <a:pt x="305" y="705"/>
                    <a:pt x="304" y="703"/>
                  </a:cubicBezTo>
                  <a:cubicBezTo>
                    <a:pt x="303" y="702"/>
                    <a:pt x="303" y="701"/>
                    <a:pt x="303" y="701"/>
                  </a:cubicBezTo>
                  <a:cubicBezTo>
                    <a:pt x="303" y="701"/>
                    <a:pt x="304" y="702"/>
                    <a:pt x="304" y="703"/>
                  </a:cubicBezTo>
                  <a:cubicBezTo>
                    <a:pt x="307" y="707"/>
                    <a:pt x="314" y="715"/>
                    <a:pt x="319" y="714"/>
                  </a:cubicBezTo>
                  <a:cubicBezTo>
                    <a:pt x="326" y="713"/>
                    <a:pt x="320" y="706"/>
                    <a:pt x="326" y="706"/>
                  </a:cubicBezTo>
                  <a:cubicBezTo>
                    <a:pt x="331" y="706"/>
                    <a:pt x="342" y="705"/>
                    <a:pt x="342" y="705"/>
                  </a:cubicBezTo>
                  <a:cubicBezTo>
                    <a:pt x="346" y="666"/>
                    <a:pt x="346" y="666"/>
                    <a:pt x="346" y="666"/>
                  </a:cubicBezTo>
                  <a:cubicBezTo>
                    <a:pt x="358" y="665"/>
                    <a:pt x="358" y="665"/>
                    <a:pt x="358" y="665"/>
                  </a:cubicBezTo>
                  <a:cubicBezTo>
                    <a:pt x="367" y="678"/>
                    <a:pt x="367" y="678"/>
                    <a:pt x="367" y="678"/>
                  </a:cubicBezTo>
                  <a:cubicBezTo>
                    <a:pt x="382" y="666"/>
                    <a:pt x="382" y="666"/>
                    <a:pt x="382" y="666"/>
                  </a:cubicBezTo>
                  <a:cubicBezTo>
                    <a:pt x="382" y="666"/>
                    <a:pt x="382" y="676"/>
                    <a:pt x="387" y="676"/>
                  </a:cubicBezTo>
                  <a:cubicBezTo>
                    <a:pt x="392" y="676"/>
                    <a:pt x="391" y="660"/>
                    <a:pt x="402" y="664"/>
                  </a:cubicBezTo>
                  <a:cubicBezTo>
                    <a:pt x="412" y="668"/>
                    <a:pt x="411" y="678"/>
                    <a:pt x="411" y="678"/>
                  </a:cubicBezTo>
                  <a:cubicBezTo>
                    <a:pt x="419" y="686"/>
                    <a:pt x="419" y="686"/>
                    <a:pt x="419" y="686"/>
                  </a:cubicBezTo>
                  <a:cubicBezTo>
                    <a:pt x="420" y="702"/>
                    <a:pt x="420" y="702"/>
                    <a:pt x="420" y="702"/>
                  </a:cubicBezTo>
                  <a:cubicBezTo>
                    <a:pt x="431" y="704"/>
                    <a:pt x="431" y="704"/>
                    <a:pt x="431" y="704"/>
                  </a:cubicBezTo>
                  <a:cubicBezTo>
                    <a:pt x="459" y="596"/>
                    <a:pt x="459" y="596"/>
                    <a:pt x="459" y="596"/>
                  </a:cubicBezTo>
                  <a:cubicBezTo>
                    <a:pt x="459" y="596"/>
                    <a:pt x="476" y="602"/>
                    <a:pt x="490" y="602"/>
                  </a:cubicBezTo>
                  <a:cubicBezTo>
                    <a:pt x="503" y="602"/>
                    <a:pt x="518" y="589"/>
                    <a:pt x="520" y="594"/>
                  </a:cubicBezTo>
                  <a:cubicBezTo>
                    <a:pt x="523" y="600"/>
                    <a:pt x="524" y="612"/>
                    <a:pt x="528" y="612"/>
                  </a:cubicBezTo>
                  <a:cubicBezTo>
                    <a:pt x="530" y="612"/>
                    <a:pt x="538" y="613"/>
                    <a:pt x="546" y="614"/>
                  </a:cubicBezTo>
                  <a:cubicBezTo>
                    <a:pt x="547" y="608"/>
                    <a:pt x="547" y="608"/>
                    <a:pt x="547" y="608"/>
                  </a:cubicBezTo>
                  <a:cubicBezTo>
                    <a:pt x="566" y="602"/>
                    <a:pt x="566" y="602"/>
                    <a:pt x="566" y="602"/>
                  </a:cubicBezTo>
                  <a:cubicBezTo>
                    <a:pt x="566" y="602"/>
                    <a:pt x="570" y="596"/>
                    <a:pt x="567" y="594"/>
                  </a:cubicBezTo>
                  <a:cubicBezTo>
                    <a:pt x="542" y="588"/>
                    <a:pt x="563" y="569"/>
                    <a:pt x="563" y="569"/>
                  </a:cubicBezTo>
                  <a:cubicBezTo>
                    <a:pt x="563" y="569"/>
                    <a:pt x="566" y="549"/>
                    <a:pt x="571" y="549"/>
                  </a:cubicBezTo>
                  <a:cubicBezTo>
                    <a:pt x="554" y="540"/>
                    <a:pt x="562" y="522"/>
                    <a:pt x="562" y="522"/>
                  </a:cubicBezTo>
                  <a:cubicBezTo>
                    <a:pt x="551" y="526"/>
                    <a:pt x="551" y="526"/>
                    <a:pt x="551" y="526"/>
                  </a:cubicBezTo>
                  <a:cubicBezTo>
                    <a:pt x="551" y="506"/>
                    <a:pt x="551" y="506"/>
                    <a:pt x="551" y="506"/>
                  </a:cubicBezTo>
                  <a:cubicBezTo>
                    <a:pt x="539" y="496"/>
                    <a:pt x="539" y="496"/>
                    <a:pt x="539" y="496"/>
                  </a:cubicBezTo>
                  <a:cubicBezTo>
                    <a:pt x="572" y="484"/>
                    <a:pt x="572" y="484"/>
                    <a:pt x="572" y="484"/>
                  </a:cubicBezTo>
                  <a:cubicBezTo>
                    <a:pt x="556" y="472"/>
                    <a:pt x="544" y="468"/>
                    <a:pt x="544" y="468"/>
                  </a:cubicBezTo>
                  <a:cubicBezTo>
                    <a:pt x="540" y="457"/>
                    <a:pt x="540" y="457"/>
                    <a:pt x="540" y="457"/>
                  </a:cubicBezTo>
                  <a:cubicBezTo>
                    <a:pt x="526" y="456"/>
                    <a:pt x="526" y="456"/>
                    <a:pt x="526" y="456"/>
                  </a:cubicBezTo>
                  <a:cubicBezTo>
                    <a:pt x="526" y="444"/>
                    <a:pt x="538" y="430"/>
                    <a:pt x="538" y="430"/>
                  </a:cubicBezTo>
                  <a:cubicBezTo>
                    <a:pt x="531" y="429"/>
                    <a:pt x="531" y="429"/>
                    <a:pt x="531" y="429"/>
                  </a:cubicBezTo>
                  <a:cubicBezTo>
                    <a:pt x="531" y="429"/>
                    <a:pt x="536" y="420"/>
                    <a:pt x="539" y="416"/>
                  </a:cubicBezTo>
                  <a:cubicBezTo>
                    <a:pt x="560" y="405"/>
                    <a:pt x="580" y="340"/>
                    <a:pt x="580" y="340"/>
                  </a:cubicBezTo>
                  <a:cubicBezTo>
                    <a:pt x="572" y="332"/>
                    <a:pt x="572" y="332"/>
                    <a:pt x="572" y="332"/>
                  </a:cubicBezTo>
                  <a:cubicBezTo>
                    <a:pt x="575" y="312"/>
                    <a:pt x="575" y="312"/>
                    <a:pt x="575" y="312"/>
                  </a:cubicBezTo>
                  <a:cubicBezTo>
                    <a:pt x="556" y="316"/>
                    <a:pt x="556" y="316"/>
                    <a:pt x="556" y="316"/>
                  </a:cubicBezTo>
                  <a:cubicBezTo>
                    <a:pt x="556" y="294"/>
                    <a:pt x="556" y="294"/>
                    <a:pt x="556" y="294"/>
                  </a:cubicBezTo>
                  <a:cubicBezTo>
                    <a:pt x="556" y="294"/>
                    <a:pt x="535" y="290"/>
                    <a:pt x="543" y="290"/>
                  </a:cubicBezTo>
                  <a:cubicBezTo>
                    <a:pt x="551" y="290"/>
                    <a:pt x="539" y="280"/>
                    <a:pt x="555" y="280"/>
                  </a:cubicBezTo>
                  <a:cubicBezTo>
                    <a:pt x="571" y="280"/>
                    <a:pt x="566" y="240"/>
                    <a:pt x="566" y="240"/>
                  </a:cubicBezTo>
                  <a:cubicBezTo>
                    <a:pt x="558" y="236"/>
                    <a:pt x="558" y="236"/>
                    <a:pt x="558" y="236"/>
                  </a:cubicBezTo>
                  <a:cubicBezTo>
                    <a:pt x="550" y="244"/>
                    <a:pt x="550" y="244"/>
                    <a:pt x="550" y="244"/>
                  </a:cubicBezTo>
                  <a:cubicBezTo>
                    <a:pt x="547" y="240"/>
                    <a:pt x="547" y="240"/>
                    <a:pt x="547" y="240"/>
                  </a:cubicBezTo>
                  <a:cubicBezTo>
                    <a:pt x="546" y="242"/>
                    <a:pt x="545" y="244"/>
                    <a:pt x="544" y="244"/>
                  </a:cubicBezTo>
                  <a:cubicBezTo>
                    <a:pt x="540" y="244"/>
                    <a:pt x="535" y="241"/>
                    <a:pt x="535" y="241"/>
                  </a:cubicBezTo>
                  <a:cubicBezTo>
                    <a:pt x="518" y="253"/>
                    <a:pt x="518" y="253"/>
                    <a:pt x="518" y="253"/>
                  </a:cubicBezTo>
                  <a:cubicBezTo>
                    <a:pt x="518" y="240"/>
                    <a:pt x="518" y="240"/>
                    <a:pt x="518" y="240"/>
                  </a:cubicBezTo>
                  <a:cubicBezTo>
                    <a:pt x="502" y="232"/>
                    <a:pt x="502" y="232"/>
                    <a:pt x="502" y="232"/>
                  </a:cubicBezTo>
                  <a:cubicBezTo>
                    <a:pt x="502" y="222"/>
                    <a:pt x="502" y="222"/>
                    <a:pt x="502" y="222"/>
                  </a:cubicBezTo>
                  <a:cubicBezTo>
                    <a:pt x="502" y="222"/>
                    <a:pt x="498" y="226"/>
                    <a:pt x="488" y="226"/>
                  </a:cubicBezTo>
                  <a:cubicBezTo>
                    <a:pt x="479" y="226"/>
                    <a:pt x="467" y="212"/>
                    <a:pt x="467" y="212"/>
                  </a:cubicBezTo>
                  <a:cubicBezTo>
                    <a:pt x="455" y="217"/>
                    <a:pt x="455" y="217"/>
                    <a:pt x="455" y="217"/>
                  </a:cubicBezTo>
                  <a:cubicBezTo>
                    <a:pt x="455" y="194"/>
                    <a:pt x="455" y="194"/>
                    <a:pt x="455" y="194"/>
                  </a:cubicBezTo>
                  <a:cubicBezTo>
                    <a:pt x="446" y="192"/>
                    <a:pt x="446" y="192"/>
                    <a:pt x="446" y="192"/>
                  </a:cubicBezTo>
                  <a:cubicBezTo>
                    <a:pt x="446" y="191"/>
                    <a:pt x="446" y="191"/>
                    <a:pt x="446" y="191"/>
                  </a:cubicBezTo>
                  <a:cubicBezTo>
                    <a:pt x="456" y="173"/>
                    <a:pt x="456" y="173"/>
                    <a:pt x="456" y="173"/>
                  </a:cubicBezTo>
                  <a:cubicBezTo>
                    <a:pt x="450" y="165"/>
                    <a:pt x="439" y="144"/>
                    <a:pt x="439" y="144"/>
                  </a:cubicBezTo>
                  <a:cubicBezTo>
                    <a:pt x="432" y="150"/>
                    <a:pt x="432" y="150"/>
                    <a:pt x="432" y="150"/>
                  </a:cubicBezTo>
                  <a:cubicBezTo>
                    <a:pt x="426" y="146"/>
                    <a:pt x="426" y="146"/>
                    <a:pt x="426" y="146"/>
                  </a:cubicBezTo>
                  <a:cubicBezTo>
                    <a:pt x="432" y="138"/>
                    <a:pt x="432" y="138"/>
                    <a:pt x="432" y="138"/>
                  </a:cubicBezTo>
                  <a:cubicBezTo>
                    <a:pt x="427" y="133"/>
                    <a:pt x="427" y="133"/>
                    <a:pt x="427" y="133"/>
                  </a:cubicBezTo>
                  <a:cubicBezTo>
                    <a:pt x="414" y="133"/>
                    <a:pt x="414" y="133"/>
                    <a:pt x="414" y="133"/>
                  </a:cubicBezTo>
                  <a:cubicBezTo>
                    <a:pt x="414" y="133"/>
                    <a:pt x="414" y="133"/>
                    <a:pt x="415" y="116"/>
                  </a:cubicBezTo>
                  <a:cubicBezTo>
                    <a:pt x="334" y="100"/>
                    <a:pt x="366" y="134"/>
                    <a:pt x="366" y="134"/>
                  </a:cubicBezTo>
                  <a:cubicBezTo>
                    <a:pt x="311" y="136"/>
                    <a:pt x="311" y="136"/>
                    <a:pt x="311" y="136"/>
                  </a:cubicBezTo>
                  <a:cubicBezTo>
                    <a:pt x="311" y="148"/>
                    <a:pt x="311" y="148"/>
                    <a:pt x="311" y="148"/>
                  </a:cubicBezTo>
                  <a:cubicBezTo>
                    <a:pt x="302" y="145"/>
                    <a:pt x="302" y="145"/>
                    <a:pt x="302" y="145"/>
                  </a:cubicBezTo>
                  <a:cubicBezTo>
                    <a:pt x="296" y="132"/>
                    <a:pt x="296" y="132"/>
                    <a:pt x="296" y="132"/>
                  </a:cubicBezTo>
                  <a:cubicBezTo>
                    <a:pt x="287" y="132"/>
                    <a:pt x="287" y="132"/>
                    <a:pt x="287" y="132"/>
                  </a:cubicBezTo>
                  <a:cubicBezTo>
                    <a:pt x="290" y="141"/>
                    <a:pt x="290" y="141"/>
                    <a:pt x="290" y="141"/>
                  </a:cubicBezTo>
                  <a:cubicBezTo>
                    <a:pt x="283" y="137"/>
                    <a:pt x="283" y="137"/>
                    <a:pt x="283" y="137"/>
                  </a:cubicBezTo>
                  <a:cubicBezTo>
                    <a:pt x="270" y="148"/>
                    <a:pt x="270" y="148"/>
                    <a:pt x="270" y="148"/>
                  </a:cubicBezTo>
                  <a:cubicBezTo>
                    <a:pt x="258" y="141"/>
                    <a:pt x="258" y="141"/>
                    <a:pt x="258" y="141"/>
                  </a:cubicBezTo>
                  <a:cubicBezTo>
                    <a:pt x="256" y="146"/>
                    <a:pt x="256" y="146"/>
                    <a:pt x="256" y="146"/>
                  </a:cubicBezTo>
                  <a:cubicBezTo>
                    <a:pt x="222" y="145"/>
                    <a:pt x="222" y="145"/>
                    <a:pt x="222" y="145"/>
                  </a:cubicBezTo>
                  <a:cubicBezTo>
                    <a:pt x="222" y="145"/>
                    <a:pt x="226" y="128"/>
                    <a:pt x="226" y="125"/>
                  </a:cubicBezTo>
                  <a:cubicBezTo>
                    <a:pt x="216" y="133"/>
                    <a:pt x="218" y="129"/>
                    <a:pt x="208" y="109"/>
                  </a:cubicBezTo>
                  <a:cubicBezTo>
                    <a:pt x="199" y="89"/>
                    <a:pt x="190" y="81"/>
                    <a:pt x="190" y="81"/>
                  </a:cubicBezTo>
                  <a:cubicBezTo>
                    <a:pt x="190" y="70"/>
                    <a:pt x="190" y="70"/>
                    <a:pt x="190" y="70"/>
                  </a:cubicBezTo>
                  <a:cubicBezTo>
                    <a:pt x="182" y="69"/>
                    <a:pt x="182" y="69"/>
                    <a:pt x="182" y="69"/>
                  </a:cubicBezTo>
                  <a:cubicBezTo>
                    <a:pt x="182" y="78"/>
                    <a:pt x="182" y="78"/>
                    <a:pt x="182" y="78"/>
                  </a:cubicBezTo>
                  <a:cubicBezTo>
                    <a:pt x="176" y="81"/>
                    <a:pt x="176" y="81"/>
                    <a:pt x="176" y="81"/>
                  </a:cubicBezTo>
                  <a:cubicBezTo>
                    <a:pt x="167" y="66"/>
                    <a:pt x="167" y="66"/>
                    <a:pt x="167" y="66"/>
                  </a:cubicBezTo>
                  <a:cubicBezTo>
                    <a:pt x="158" y="69"/>
                    <a:pt x="158" y="69"/>
                    <a:pt x="158" y="69"/>
                  </a:cubicBezTo>
                  <a:cubicBezTo>
                    <a:pt x="167" y="60"/>
                    <a:pt x="159" y="38"/>
                    <a:pt x="159" y="38"/>
                  </a:cubicBezTo>
                  <a:cubicBezTo>
                    <a:pt x="155" y="33"/>
                    <a:pt x="155" y="33"/>
                    <a:pt x="155" y="33"/>
                  </a:cubicBezTo>
                  <a:cubicBezTo>
                    <a:pt x="155" y="18"/>
                    <a:pt x="128" y="8"/>
                    <a:pt x="128" y="8"/>
                  </a:cubicBezTo>
                  <a:cubicBezTo>
                    <a:pt x="122" y="10"/>
                    <a:pt x="122" y="10"/>
                    <a:pt x="122" y="10"/>
                  </a:cubicBezTo>
                  <a:cubicBezTo>
                    <a:pt x="118" y="0"/>
                    <a:pt x="118" y="0"/>
                    <a:pt x="118" y="0"/>
                  </a:cubicBezTo>
                  <a:cubicBezTo>
                    <a:pt x="103" y="8"/>
                    <a:pt x="103" y="8"/>
                    <a:pt x="103" y="8"/>
                  </a:cubicBezTo>
                  <a:cubicBezTo>
                    <a:pt x="44" y="8"/>
                    <a:pt x="44" y="8"/>
                    <a:pt x="44" y="8"/>
                  </a:cubicBezTo>
                  <a:cubicBezTo>
                    <a:pt x="36" y="28"/>
                    <a:pt x="36" y="28"/>
                    <a:pt x="36" y="28"/>
                  </a:cubicBezTo>
                  <a:cubicBezTo>
                    <a:pt x="42" y="44"/>
                    <a:pt x="42" y="44"/>
                    <a:pt x="42" y="44"/>
                  </a:cubicBezTo>
                  <a:cubicBezTo>
                    <a:pt x="42" y="44"/>
                    <a:pt x="28" y="66"/>
                    <a:pt x="20" y="75"/>
                  </a:cubicBezTo>
                  <a:cubicBezTo>
                    <a:pt x="39" y="84"/>
                    <a:pt x="39" y="84"/>
                    <a:pt x="39" y="84"/>
                  </a:cubicBezTo>
                  <a:cubicBezTo>
                    <a:pt x="39" y="84"/>
                    <a:pt x="28" y="104"/>
                    <a:pt x="58" y="114"/>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9" name="Centre" descr="© INSCALE GmbH, 05.05.2010&#10;http://www.presentationload.com/">
              <a:extLst>
                <a:ext uri="{FF2B5EF4-FFF2-40B4-BE49-F238E27FC236}">
                  <a16:creationId xmlns:a16="http://schemas.microsoft.com/office/drawing/2014/main" id="{2F93616E-9714-40DC-8DC4-1824DBEBEE72}"/>
                </a:ext>
              </a:extLst>
            </p:cNvPr>
            <p:cNvSpPr>
              <a:spLocks/>
            </p:cNvSpPr>
            <p:nvPr/>
          </p:nvSpPr>
          <p:spPr bwMode="gray">
            <a:xfrm>
              <a:off x="1233" y="903"/>
              <a:ext cx="716" cy="887"/>
            </a:xfrm>
            <a:custGeom>
              <a:avLst/>
              <a:gdLst/>
              <a:ahLst/>
              <a:cxnLst>
                <a:cxn ang="0">
                  <a:pos x="209" y="158"/>
                </a:cxn>
                <a:cxn ang="0">
                  <a:pos x="173" y="227"/>
                </a:cxn>
                <a:cxn ang="0">
                  <a:pos x="193" y="251"/>
                </a:cxn>
                <a:cxn ang="0">
                  <a:pos x="168" y="275"/>
                </a:cxn>
                <a:cxn ang="0">
                  <a:pos x="179" y="314"/>
                </a:cxn>
                <a:cxn ang="0">
                  <a:pos x="144" y="367"/>
                </a:cxn>
                <a:cxn ang="0">
                  <a:pos x="79" y="406"/>
                </a:cxn>
                <a:cxn ang="0">
                  <a:pos x="43" y="418"/>
                </a:cxn>
                <a:cxn ang="0">
                  <a:pos x="29" y="494"/>
                </a:cxn>
                <a:cxn ang="0">
                  <a:pos x="29" y="594"/>
                </a:cxn>
                <a:cxn ang="0">
                  <a:pos x="56" y="598"/>
                </a:cxn>
                <a:cxn ang="0">
                  <a:pos x="79" y="632"/>
                </a:cxn>
                <a:cxn ang="0">
                  <a:pos x="108" y="611"/>
                </a:cxn>
                <a:cxn ang="0">
                  <a:pos x="185" y="712"/>
                </a:cxn>
                <a:cxn ang="0">
                  <a:pos x="233" y="788"/>
                </a:cxn>
                <a:cxn ang="0">
                  <a:pos x="251" y="820"/>
                </a:cxn>
                <a:cxn ang="0">
                  <a:pos x="287" y="811"/>
                </a:cxn>
                <a:cxn ang="0">
                  <a:pos x="320" y="814"/>
                </a:cxn>
                <a:cxn ang="0">
                  <a:pos x="353" y="806"/>
                </a:cxn>
                <a:cxn ang="0">
                  <a:pos x="404" y="802"/>
                </a:cxn>
                <a:cxn ang="0">
                  <a:pos x="539" y="771"/>
                </a:cxn>
                <a:cxn ang="0">
                  <a:pos x="559" y="719"/>
                </a:cxn>
                <a:cxn ang="0">
                  <a:pos x="650" y="684"/>
                </a:cxn>
                <a:cxn ang="0">
                  <a:pos x="655" y="607"/>
                </a:cxn>
                <a:cxn ang="0">
                  <a:pos x="611" y="514"/>
                </a:cxn>
                <a:cxn ang="0">
                  <a:pos x="632" y="435"/>
                </a:cxn>
                <a:cxn ang="0">
                  <a:pos x="615" y="388"/>
                </a:cxn>
                <a:cxn ang="0">
                  <a:pos x="641" y="364"/>
                </a:cxn>
                <a:cxn ang="0">
                  <a:pos x="639" y="327"/>
                </a:cxn>
                <a:cxn ang="0">
                  <a:pos x="663" y="284"/>
                </a:cxn>
                <a:cxn ang="0">
                  <a:pos x="624" y="246"/>
                </a:cxn>
                <a:cxn ang="0">
                  <a:pos x="581" y="247"/>
                </a:cxn>
                <a:cxn ang="0">
                  <a:pos x="520" y="254"/>
                </a:cxn>
                <a:cxn ang="0">
                  <a:pos x="513" y="214"/>
                </a:cxn>
                <a:cxn ang="0">
                  <a:pos x="491" y="194"/>
                </a:cxn>
                <a:cxn ang="0">
                  <a:pos x="468" y="188"/>
                </a:cxn>
                <a:cxn ang="0">
                  <a:pos x="419" y="204"/>
                </a:cxn>
                <a:cxn ang="0">
                  <a:pos x="405" y="154"/>
                </a:cxn>
                <a:cxn ang="0">
                  <a:pos x="364" y="115"/>
                </a:cxn>
                <a:cxn ang="0">
                  <a:pos x="341" y="88"/>
                </a:cxn>
                <a:cxn ang="0">
                  <a:pos x="344" y="59"/>
                </a:cxn>
                <a:cxn ang="0">
                  <a:pos x="331" y="23"/>
                </a:cxn>
                <a:cxn ang="0">
                  <a:pos x="312" y="3"/>
                </a:cxn>
                <a:cxn ang="0">
                  <a:pos x="287" y="51"/>
                </a:cxn>
                <a:cxn ang="0">
                  <a:pos x="225" y="54"/>
                </a:cxn>
                <a:cxn ang="0">
                  <a:pos x="177" y="98"/>
                </a:cxn>
              </a:cxnLst>
              <a:rect l="0" t="0" r="r" b="b"/>
              <a:pathLst>
                <a:path w="664" h="822">
                  <a:moveTo>
                    <a:pt x="205" y="131"/>
                  </a:moveTo>
                  <a:cubicBezTo>
                    <a:pt x="205" y="136"/>
                    <a:pt x="201" y="144"/>
                    <a:pt x="201" y="144"/>
                  </a:cubicBezTo>
                  <a:cubicBezTo>
                    <a:pt x="209" y="158"/>
                    <a:pt x="209" y="158"/>
                    <a:pt x="209" y="158"/>
                  </a:cubicBezTo>
                  <a:cubicBezTo>
                    <a:pt x="197" y="172"/>
                    <a:pt x="197" y="172"/>
                    <a:pt x="197" y="172"/>
                  </a:cubicBezTo>
                  <a:cubicBezTo>
                    <a:pt x="197" y="172"/>
                    <a:pt x="171" y="179"/>
                    <a:pt x="168" y="190"/>
                  </a:cubicBezTo>
                  <a:cubicBezTo>
                    <a:pt x="165" y="200"/>
                    <a:pt x="173" y="227"/>
                    <a:pt x="173" y="227"/>
                  </a:cubicBezTo>
                  <a:cubicBezTo>
                    <a:pt x="173" y="235"/>
                    <a:pt x="173" y="235"/>
                    <a:pt x="173" y="235"/>
                  </a:cubicBezTo>
                  <a:cubicBezTo>
                    <a:pt x="193" y="242"/>
                    <a:pt x="193" y="242"/>
                    <a:pt x="193" y="242"/>
                  </a:cubicBezTo>
                  <a:cubicBezTo>
                    <a:pt x="193" y="251"/>
                    <a:pt x="193" y="251"/>
                    <a:pt x="193" y="251"/>
                  </a:cubicBezTo>
                  <a:cubicBezTo>
                    <a:pt x="179" y="252"/>
                    <a:pt x="179" y="252"/>
                    <a:pt x="179" y="252"/>
                  </a:cubicBezTo>
                  <a:cubicBezTo>
                    <a:pt x="179" y="270"/>
                    <a:pt x="179" y="270"/>
                    <a:pt x="179" y="270"/>
                  </a:cubicBezTo>
                  <a:cubicBezTo>
                    <a:pt x="168" y="275"/>
                    <a:pt x="168" y="275"/>
                    <a:pt x="168" y="275"/>
                  </a:cubicBezTo>
                  <a:cubicBezTo>
                    <a:pt x="176" y="287"/>
                    <a:pt x="176" y="287"/>
                    <a:pt x="176" y="287"/>
                  </a:cubicBezTo>
                  <a:cubicBezTo>
                    <a:pt x="172" y="300"/>
                    <a:pt x="172" y="300"/>
                    <a:pt x="172" y="300"/>
                  </a:cubicBezTo>
                  <a:cubicBezTo>
                    <a:pt x="179" y="314"/>
                    <a:pt x="179" y="314"/>
                    <a:pt x="179" y="314"/>
                  </a:cubicBezTo>
                  <a:cubicBezTo>
                    <a:pt x="171" y="324"/>
                    <a:pt x="171" y="324"/>
                    <a:pt x="171" y="324"/>
                  </a:cubicBezTo>
                  <a:cubicBezTo>
                    <a:pt x="171" y="324"/>
                    <a:pt x="161" y="328"/>
                    <a:pt x="161" y="343"/>
                  </a:cubicBezTo>
                  <a:cubicBezTo>
                    <a:pt x="157" y="347"/>
                    <a:pt x="144" y="367"/>
                    <a:pt x="144" y="367"/>
                  </a:cubicBezTo>
                  <a:cubicBezTo>
                    <a:pt x="144" y="367"/>
                    <a:pt x="112" y="388"/>
                    <a:pt x="128" y="394"/>
                  </a:cubicBezTo>
                  <a:cubicBezTo>
                    <a:pt x="124" y="395"/>
                    <a:pt x="95" y="402"/>
                    <a:pt x="95" y="402"/>
                  </a:cubicBezTo>
                  <a:cubicBezTo>
                    <a:pt x="95" y="402"/>
                    <a:pt x="96" y="424"/>
                    <a:pt x="79" y="406"/>
                  </a:cubicBezTo>
                  <a:cubicBezTo>
                    <a:pt x="80" y="408"/>
                    <a:pt x="69" y="415"/>
                    <a:pt x="69" y="415"/>
                  </a:cubicBezTo>
                  <a:cubicBezTo>
                    <a:pt x="80" y="430"/>
                    <a:pt x="80" y="430"/>
                    <a:pt x="80" y="430"/>
                  </a:cubicBezTo>
                  <a:cubicBezTo>
                    <a:pt x="43" y="418"/>
                    <a:pt x="43" y="418"/>
                    <a:pt x="43" y="418"/>
                  </a:cubicBezTo>
                  <a:cubicBezTo>
                    <a:pt x="43" y="418"/>
                    <a:pt x="32" y="446"/>
                    <a:pt x="39" y="454"/>
                  </a:cubicBezTo>
                  <a:cubicBezTo>
                    <a:pt x="35" y="464"/>
                    <a:pt x="23" y="482"/>
                    <a:pt x="23" y="482"/>
                  </a:cubicBezTo>
                  <a:cubicBezTo>
                    <a:pt x="29" y="494"/>
                    <a:pt x="29" y="494"/>
                    <a:pt x="29" y="494"/>
                  </a:cubicBezTo>
                  <a:cubicBezTo>
                    <a:pt x="29" y="494"/>
                    <a:pt x="0" y="528"/>
                    <a:pt x="3" y="556"/>
                  </a:cubicBezTo>
                  <a:cubicBezTo>
                    <a:pt x="5" y="584"/>
                    <a:pt x="29" y="580"/>
                    <a:pt x="29" y="580"/>
                  </a:cubicBezTo>
                  <a:cubicBezTo>
                    <a:pt x="29" y="594"/>
                    <a:pt x="29" y="594"/>
                    <a:pt x="29" y="594"/>
                  </a:cubicBezTo>
                  <a:cubicBezTo>
                    <a:pt x="43" y="587"/>
                    <a:pt x="43" y="587"/>
                    <a:pt x="43" y="587"/>
                  </a:cubicBezTo>
                  <a:cubicBezTo>
                    <a:pt x="47" y="594"/>
                    <a:pt x="47" y="594"/>
                    <a:pt x="47" y="594"/>
                  </a:cubicBezTo>
                  <a:cubicBezTo>
                    <a:pt x="56" y="598"/>
                    <a:pt x="56" y="598"/>
                    <a:pt x="56" y="598"/>
                  </a:cubicBezTo>
                  <a:cubicBezTo>
                    <a:pt x="56" y="598"/>
                    <a:pt x="44" y="624"/>
                    <a:pt x="56" y="628"/>
                  </a:cubicBezTo>
                  <a:cubicBezTo>
                    <a:pt x="68" y="632"/>
                    <a:pt x="67" y="626"/>
                    <a:pt x="67" y="626"/>
                  </a:cubicBezTo>
                  <a:cubicBezTo>
                    <a:pt x="79" y="632"/>
                    <a:pt x="79" y="632"/>
                    <a:pt x="79" y="632"/>
                  </a:cubicBezTo>
                  <a:cubicBezTo>
                    <a:pt x="93" y="624"/>
                    <a:pt x="93" y="624"/>
                    <a:pt x="93" y="624"/>
                  </a:cubicBezTo>
                  <a:cubicBezTo>
                    <a:pt x="116" y="624"/>
                    <a:pt x="116" y="624"/>
                    <a:pt x="116" y="624"/>
                  </a:cubicBezTo>
                  <a:cubicBezTo>
                    <a:pt x="108" y="611"/>
                    <a:pt x="108" y="611"/>
                    <a:pt x="108" y="611"/>
                  </a:cubicBezTo>
                  <a:cubicBezTo>
                    <a:pt x="140" y="622"/>
                    <a:pt x="140" y="622"/>
                    <a:pt x="140" y="622"/>
                  </a:cubicBezTo>
                  <a:cubicBezTo>
                    <a:pt x="140" y="622"/>
                    <a:pt x="143" y="654"/>
                    <a:pt x="160" y="670"/>
                  </a:cubicBezTo>
                  <a:cubicBezTo>
                    <a:pt x="177" y="686"/>
                    <a:pt x="153" y="679"/>
                    <a:pt x="185" y="712"/>
                  </a:cubicBezTo>
                  <a:cubicBezTo>
                    <a:pt x="184" y="726"/>
                    <a:pt x="179" y="755"/>
                    <a:pt x="207" y="756"/>
                  </a:cubicBezTo>
                  <a:cubicBezTo>
                    <a:pt x="211" y="758"/>
                    <a:pt x="208" y="767"/>
                    <a:pt x="208" y="767"/>
                  </a:cubicBezTo>
                  <a:cubicBezTo>
                    <a:pt x="208" y="767"/>
                    <a:pt x="227" y="746"/>
                    <a:pt x="233" y="788"/>
                  </a:cubicBezTo>
                  <a:cubicBezTo>
                    <a:pt x="237" y="795"/>
                    <a:pt x="248" y="800"/>
                    <a:pt x="248" y="800"/>
                  </a:cubicBezTo>
                  <a:cubicBezTo>
                    <a:pt x="244" y="811"/>
                    <a:pt x="244" y="811"/>
                    <a:pt x="244" y="811"/>
                  </a:cubicBezTo>
                  <a:cubicBezTo>
                    <a:pt x="251" y="820"/>
                    <a:pt x="251" y="820"/>
                    <a:pt x="251" y="820"/>
                  </a:cubicBezTo>
                  <a:cubicBezTo>
                    <a:pt x="269" y="818"/>
                    <a:pt x="269" y="818"/>
                    <a:pt x="269" y="818"/>
                  </a:cubicBezTo>
                  <a:cubicBezTo>
                    <a:pt x="269" y="811"/>
                    <a:pt x="269" y="811"/>
                    <a:pt x="269" y="811"/>
                  </a:cubicBezTo>
                  <a:cubicBezTo>
                    <a:pt x="287" y="811"/>
                    <a:pt x="287" y="811"/>
                    <a:pt x="287" y="811"/>
                  </a:cubicBezTo>
                  <a:cubicBezTo>
                    <a:pt x="292" y="822"/>
                    <a:pt x="292" y="822"/>
                    <a:pt x="292" y="822"/>
                  </a:cubicBezTo>
                  <a:cubicBezTo>
                    <a:pt x="319" y="802"/>
                    <a:pt x="319" y="802"/>
                    <a:pt x="319" y="802"/>
                  </a:cubicBezTo>
                  <a:cubicBezTo>
                    <a:pt x="320" y="814"/>
                    <a:pt x="320" y="814"/>
                    <a:pt x="320" y="814"/>
                  </a:cubicBezTo>
                  <a:cubicBezTo>
                    <a:pt x="337" y="803"/>
                    <a:pt x="337" y="803"/>
                    <a:pt x="337" y="803"/>
                  </a:cubicBezTo>
                  <a:cubicBezTo>
                    <a:pt x="340" y="811"/>
                    <a:pt x="340" y="811"/>
                    <a:pt x="340" y="811"/>
                  </a:cubicBezTo>
                  <a:cubicBezTo>
                    <a:pt x="353" y="806"/>
                    <a:pt x="353" y="806"/>
                    <a:pt x="353" y="806"/>
                  </a:cubicBezTo>
                  <a:cubicBezTo>
                    <a:pt x="363" y="812"/>
                    <a:pt x="363" y="812"/>
                    <a:pt x="363" y="812"/>
                  </a:cubicBezTo>
                  <a:cubicBezTo>
                    <a:pt x="368" y="794"/>
                    <a:pt x="368" y="794"/>
                    <a:pt x="368" y="794"/>
                  </a:cubicBezTo>
                  <a:cubicBezTo>
                    <a:pt x="368" y="794"/>
                    <a:pt x="392" y="804"/>
                    <a:pt x="404" y="802"/>
                  </a:cubicBezTo>
                  <a:cubicBezTo>
                    <a:pt x="416" y="799"/>
                    <a:pt x="411" y="790"/>
                    <a:pt x="436" y="803"/>
                  </a:cubicBezTo>
                  <a:cubicBezTo>
                    <a:pt x="441" y="812"/>
                    <a:pt x="483" y="802"/>
                    <a:pt x="483" y="802"/>
                  </a:cubicBezTo>
                  <a:cubicBezTo>
                    <a:pt x="483" y="802"/>
                    <a:pt x="505" y="759"/>
                    <a:pt x="539" y="771"/>
                  </a:cubicBezTo>
                  <a:cubicBezTo>
                    <a:pt x="555" y="760"/>
                    <a:pt x="555" y="760"/>
                    <a:pt x="555" y="760"/>
                  </a:cubicBezTo>
                  <a:cubicBezTo>
                    <a:pt x="555" y="760"/>
                    <a:pt x="545" y="738"/>
                    <a:pt x="552" y="732"/>
                  </a:cubicBezTo>
                  <a:cubicBezTo>
                    <a:pt x="559" y="727"/>
                    <a:pt x="559" y="719"/>
                    <a:pt x="559" y="719"/>
                  </a:cubicBezTo>
                  <a:cubicBezTo>
                    <a:pt x="559" y="719"/>
                    <a:pt x="577" y="700"/>
                    <a:pt x="581" y="700"/>
                  </a:cubicBezTo>
                  <a:cubicBezTo>
                    <a:pt x="585" y="700"/>
                    <a:pt x="600" y="722"/>
                    <a:pt x="608" y="706"/>
                  </a:cubicBezTo>
                  <a:cubicBezTo>
                    <a:pt x="615" y="691"/>
                    <a:pt x="625" y="683"/>
                    <a:pt x="650" y="684"/>
                  </a:cubicBezTo>
                  <a:cubicBezTo>
                    <a:pt x="649" y="683"/>
                    <a:pt x="649" y="682"/>
                    <a:pt x="648" y="682"/>
                  </a:cubicBezTo>
                  <a:cubicBezTo>
                    <a:pt x="661" y="667"/>
                    <a:pt x="645" y="650"/>
                    <a:pt x="651" y="644"/>
                  </a:cubicBezTo>
                  <a:cubicBezTo>
                    <a:pt x="656" y="639"/>
                    <a:pt x="655" y="607"/>
                    <a:pt x="655" y="607"/>
                  </a:cubicBezTo>
                  <a:cubicBezTo>
                    <a:pt x="645" y="599"/>
                    <a:pt x="645" y="599"/>
                    <a:pt x="645" y="599"/>
                  </a:cubicBezTo>
                  <a:cubicBezTo>
                    <a:pt x="645" y="555"/>
                    <a:pt x="636" y="535"/>
                    <a:pt x="636" y="535"/>
                  </a:cubicBezTo>
                  <a:cubicBezTo>
                    <a:pt x="611" y="514"/>
                    <a:pt x="611" y="514"/>
                    <a:pt x="611" y="514"/>
                  </a:cubicBezTo>
                  <a:cubicBezTo>
                    <a:pt x="625" y="479"/>
                    <a:pt x="625" y="479"/>
                    <a:pt x="625" y="479"/>
                  </a:cubicBezTo>
                  <a:cubicBezTo>
                    <a:pt x="609" y="440"/>
                    <a:pt x="609" y="440"/>
                    <a:pt x="609" y="440"/>
                  </a:cubicBezTo>
                  <a:cubicBezTo>
                    <a:pt x="632" y="435"/>
                    <a:pt x="632" y="435"/>
                    <a:pt x="632" y="435"/>
                  </a:cubicBezTo>
                  <a:cubicBezTo>
                    <a:pt x="624" y="423"/>
                    <a:pt x="624" y="423"/>
                    <a:pt x="624" y="423"/>
                  </a:cubicBezTo>
                  <a:cubicBezTo>
                    <a:pt x="628" y="410"/>
                    <a:pt x="628" y="410"/>
                    <a:pt x="628" y="410"/>
                  </a:cubicBezTo>
                  <a:cubicBezTo>
                    <a:pt x="615" y="388"/>
                    <a:pt x="615" y="388"/>
                    <a:pt x="615" y="388"/>
                  </a:cubicBezTo>
                  <a:cubicBezTo>
                    <a:pt x="605" y="390"/>
                    <a:pt x="605" y="390"/>
                    <a:pt x="605" y="390"/>
                  </a:cubicBezTo>
                  <a:cubicBezTo>
                    <a:pt x="607" y="374"/>
                    <a:pt x="607" y="374"/>
                    <a:pt x="607" y="374"/>
                  </a:cubicBezTo>
                  <a:cubicBezTo>
                    <a:pt x="641" y="364"/>
                    <a:pt x="641" y="364"/>
                    <a:pt x="641" y="364"/>
                  </a:cubicBezTo>
                  <a:cubicBezTo>
                    <a:pt x="641" y="340"/>
                    <a:pt x="641" y="340"/>
                    <a:pt x="641" y="340"/>
                  </a:cubicBezTo>
                  <a:cubicBezTo>
                    <a:pt x="636" y="340"/>
                    <a:pt x="636" y="340"/>
                    <a:pt x="636" y="340"/>
                  </a:cubicBezTo>
                  <a:cubicBezTo>
                    <a:pt x="639" y="327"/>
                    <a:pt x="639" y="327"/>
                    <a:pt x="639" y="327"/>
                  </a:cubicBezTo>
                  <a:cubicBezTo>
                    <a:pt x="648" y="326"/>
                    <a:pt x="648" y="326"/>
                    <a:pt x="648" y="326"/>
                  </a:cubicBezTo>
                  <a:cubicBezTo>
                    <a:pt x="664" y="303"/>
                    <a:pt x="664" y="303"/>
                    <a:pt x="664" y="303"/>
                  </a:cubicBezTo>
                  <a:cubicBezTo>
                    <a:pt x="663" y="284"/>
                    <a:pt x="663" y="284"/>
                    <a:pt x="663" y="284"/>
                  </a:cubicBezTo>
                  <a:cubicBezTo>
                    <a:pt x="633" y="274"/>
                    <a:pt x="644" y="254"/>
                    <a:pt x="644" y="254"/>
                  </a:cubicBezTo>
                  <a:cubicBezTo>
                    <a:pt x="625" y="245"/>
                    <a:pt x="625" y="245"/>
                    <a:pt x="625" y="245"/>
                  </a:cubicBezTo>
                  <a:cubicBezTo>
                    <a:pt x="625" y="245"/>
                    <a:pt x="624" y="246"/>
                    <a:pt x="624" y="246"/>
                  </a:cubicBezTo>
                  <a:cubicBezTo>
                    <a:pt x="616" y="254"/>
                    <a:pt x="593" y="258"/>
                    <a:pt x="593" y="258"/>
                  </a:cubicBezTo>
                  <a:cubicBezTo>
                    <a:pt x="593" y="247"/>
                    <a:pt x="593" y="247"/>
                    <a:pt x="593" y="247"/>
                  </a:cubicBezTo>
                  <a:cubicBezTo>
                    <a:pt x="581" y="247"/>
                    <a:pt x="581" y="247"/>
                    <a:pt x="581" y="247"/>
                  </a:cubicBezTo>
                  <a:cubicBezTo>
                    <a:pt x="581" y="255"/>
                    <a:pt x="581" y="255"/>
                    <a:pt x="581" y="255"/>
                  </a:cubicBezTo>
                  <a:cubicBezTo>
                    <a:pt x="526" y="254"/>
                    <a:pt x="526" y="254"/>
                    <a:pt x="526" y="254"/>
                  </a:cubicBezTo>
                  <a:cubicBezTo>
                    <a:pt x="523" y="254"/>
                    <a:pt x="520" y="254"/>
                    <a:pt x="520" y="254"/>
                  </a:cubicBezTo>
                  <a:cubicBezTo>
                    <a:pt x="526" y="254"/>
                    <a:pt x="526" y="254"/>
                    <a:pt x="526" y="254"/>
                  </a:cubicBezTo>
                  <a:cubicBezTo>
                    <a:pt x="530" y="253"/>
                    <a:pt x="536" y="250"/>
                    <a:pt x="537" y="239"/>
                  </a:cubicBezTo>
                  <a:cubicBezTo>
                    <a:pt x="540" y="220"/>
                    <a:pt x="513" y="214"/>
                    <a:pt x="513" y="214"/>
                  </a:cubicBezTo>
                  <a:cubicBezTo>
                    <a:pt x="509" y="198"/>
                    <a:pt x="509" y="198"/>
                    <a:pt x="509" y="198"/>
                  </a:cubicBezTo>
                  <a:cubicBezTo>
                    <a:pt x="507" y="199"/>
                    <a:pt x="507" y="199"/>
                    <a:pt x="507" y="199"/>
                  </a:cubicBezTo>
                  <a:cubicBezTo>
                    <a:pt x="491" y="194"/>
                    <a:pt x="491" y="194"/>
                    <a:pt x="491" y="194"/>
                  </a:cubicBezTo>
                  <a:cubicBezTo>
                    <a:pt x="477" y="202"/>
                    <a:pt x="477" y="202"/>
                    <a:pt x="477" y="202"/>
                  </a:cubicBezTo>
                  <a:cubicBezTo>
                    <a:pt x="475" y="191"/>
                    <a:pt x="475" y="191"/>
                    <a:pt x="475" y="191"/>
                  </a:cubicBezTo>
                  <a:cubicBezTo>
                    <a:pt x="468" y="188"/>
                    <a:pt x="468" y="188"/>
                    <a:pt x="468" y="188"/>
                  </a:cubicBezTo>
                  <a:cubicBezTo>
                    <a:pt x="461" y="202"/>
                    <a:pt x="461" y="202"/>
                    <a:pt x="461" y="202"/>
                  </a:cubicBezTo>
                  <a:cubicBezTo>
                    <a:pt x="461" y="202"/>
                    <a:pt x="451" y="202"/>
                    <a:pt x="443" y="202"/>
                  </a:cubicBezTo>
                  <a:cubicBezTo>
                    <a:pt x="435" y="202"/>
                    <a:pt x="428" y="212"/>
                    <a:pt x="419" y="204"/>
                  </a:cubicBezTo>
                  <a:cubicBezTo>
                    <a:pt x="409" y="196"/>
                    <a:pt x="421" y="170"/>
                    <a:pt x="421" y="170"/>
                  </a:cubicBezTo>
                  <a:cubicBezTo>
                    <a:pt x="411" y="168"/>
                    <a:pt x="411" y="168"/>
                    <a:pt x="411" y="168"/>
                  </a:cubicBezTo>
                  <a:cubicBezTo>
                    <a:pt x="411" y="168"/>
                    <a:pt x="409" y="155"/>
                    <a:pt x="405" y="154"/>
                  </a:cubicBezTo>
                  <a:cubicBezTo>
                    <a:pt x="403" y="162"/>
                    <a:pt x="379" y="147"/>
                    <a:pt x="379" y="147"/>
                  </a:cubicBezTo>
                  <a:cubicBezTo>
                    <a:pt x="377" y="122"/>
                    <a:pt x="377" y="122"/>
                    <a:pt x="377" y="122"/>
                  </a:cubicBezTo>
                  <a:cubicBezTo>
                    <a:pt x="364" y="115"/>
                    <a:pt x="364" y="115"/>
                    <a:pt x="364" y="115"/>
                  </a:cubicBezTo>
                  <a:cubicBezTo>
                    <a:pt x="365" y="103"/>
                    <a:pt x="365" y="103"/>
                    <a:pt x="365" y="103"/>
                  </a:cubicBezTo>
                  <a:cubicBezTo>
                    <a:pt x="356" y="100"/>
                    <a:pt x="356" y="100"/>
                    <a:pt x="356" y="100"/>
                  </a:cubicBezTo>
                  <a:cubicBezTo>
                    <a:pt x="341" y="88"/>
                    <a:pt x="341" y="88"/>
                    <a:pt x="341" y="88"/>
                  </a:cubicBezTo>
                  <a:cubicBezTo>
                    <a:pt x="343" y="78"/>
                    <a:pt x="343" y="78"/>
                    <a:pt x="343" y="78"/>
                  </a:cubicBezTo>
                  <a:cubicBezTo>
                    <a:pt x="333" y="74"/>
                    <a:pt x="333" y="74"/>
                    <a:pt x="333" y="74"/>
                  </a:cubicBezTo>
                  <a:cubicBezTo>
                    <a:pt x="344" y="59"/>
                    <a:pt x="344" y="59"/>
                    <a:pt x="344" y="59"/>
                  </a:cubicBezTo>
                  <a:cubicBezTo>
                    <a:pt x="337" y="52"/>
                    <a:pt x="337" y="52"/>
                    <a:pt x="337" y="52"/>
                  </a:cubicBezTo>
                  <a:cubicBezTo>
                    <a:pt x="339" y="28"/>
                    <a:pt x="339" y="28"/>
                    <a:pt x="339" y="28"/>
                  </a:cubicBezTo>
                  <a:cubicBezTo>
                    <a:pt x="331" y="23"/>
                    <a:pt x="331" y="23"/>
                    <a:pt x="331" y="23"/>
                  </a:cubicBezTo>
                  <a:cubicBezTo>
                    <a:pt x="335" y="14"/>
                    <a:pt x="335" y="14"/>
                    <a:pt x="335" y="14"/>
                  </a:cubicBezTo>
                  <a:cubicBezTo>
                    <a:pt x="320" y="0"/>
                    <a:pt x="320" y="0"/>
                    <a:pt x="320" y="0"/>
                  </a:cubicBezTo>
                  <a:cubicBezTo>
                    <a:pt x="312" y="3"/>
                    <a:pt x="312" y="3"/>
                    <a:pt x="312" y="3"/>
                  </a:cubicBezTo>
                  <a:cubicBezTo>
                    <a:pt x="312" y="3"/>
                    <a:pt x="313" y="10"/>
                    <a:pt x="312" y="15"/>
                  </a:cubicBezTo>
                  <a:cubicBezTo>
                    <a:pt x="311" y="20"/>
                    <a:pt x="292" y="28"/>
                    <a:pt x="292" y="28"/>
                  </a:cubicBezTo>
                  <a:cubicBezTo>
                    <a:pt x="292" y="28"/>
                    <a:pt x="293" y="40"/>
                    <a:pt x="287" y="51"/>
                  </a:cubicBezTo>
                  <a:cubicBezTo>
                    <a:pt x="280" y="62"/>
                    <a:pt x="236" y="47"/>
                    <a:pt x="236" y="47"/>
                  </a:cubicBezTo>
                  <a:cubicBezTo>
                    <a:pt x="235" y="58"/>
                    <a:pt x="235" y="58"/>
                    <a:pt x="235" y="58"/>
                  </a:cubicBezTo>
                  <a:cubicBezTo>
                    <a:pt x="235" y="58"/>
                    <a:pt x="227" y="58"/>
                    <a:pt x="225" y="54"/>
                  </a:cubicBezTo>
                  <a:cubicBezTo>
                    <a:pt x="203" y="76"/>
                    <a:pt x="195" y="64"/>
                    <a:pt x="191" y="64"/>
                  </a:cubicBezTo>
                  <a:cubicBezTo>
                    <a:pt x="187" y="74"/>
                    <a:pt x="182" y="78"/>
                    <a:pt x="176" y="79"/>
                  </a:cubicBezTo>
                  <a:cubicBezTo>
                    <a:pt x="177" y="98"/>
                    <a:pt x="177" y="98"/>
                    <a:pt x="177" y="98"/>
                  </a:cubicBezTo>
                  <a:cubicBezTo>
                    <a:pt x="177" y="98"/>
                    <a:pt x="205" y="126"/>
                    <a:pt x="205" y="13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0" name="Basse Normandie" descr="© INSCALE GmbH, 05.05.2010&#10;http://www.presentationload.com/">
              <a:extLst>
                <a:ext uri="{FF2B5EF4-FFF2-40B4-BE49-F238E27FC236}">
                  <a16:creationId xmlns:a16="http://schemas.microsoft.com/office/drawing/2014/main" id="{96C755B5-878D-43B1-9DB9-C3827DF7190E}"/>
                </a:ext>
              </a:extLst>
            </p:cNvPr>
            <p:cNvSpPr>
              <a:spLocks/>
            </p:cNvSpPr>
            <p:nvPr/>
          </p:nvSpPr>
          <p:spPr bwMode="gray">
            <a:xfrm>
              <a:off x="801" y="585"/>
              <a:ext cx="657" cy="573"/>
            </a:xfrm>
            <a:custGeom>
              <a:avLst/>
              <a:gdLst/>
              <a:ahLst/>
              <a:cxnLst>
                <a:cxn ang="0">
                  <a:pos x="197" y="413"/>
                </a:cxn>
                <a:cxn ang="0">
                  <a:pos x="245" y="437"/>
                </a:cxn>
                <a:cxn ang="0">
                  <a:pos x="265" y="435"/>
                </a:cxn>
                <a:cxn ang="0">
                  <a:pos x="315" y="422"/>
                </a:cxn>
                <a:cxn ang="0">
                  <a:pos x="336" y="415"/>
                </a:cxn>
                <a:cxn ang="0">
                  <a:pos x="348" y="405"/>
                </a:cxn>
                <a:cxn ang="0">
                  <a:pos x="373" y="439"/>
                </a:cxn>
                <a:cxn ang="0">
                  <a:pos x="395" y="465"/>
                </a:cxn>
                <a:cxn ang="0">
                  <a:pos x="485" y="481"/>
                </a:cxn>
                <a:cxn ang="0">
                  <a:pos x="512" y="513"/>
                </a:cxn>
                <a:cxn ang="0">
                  <a:pos x="561" y="531"/>
                </a:cxn>
                <a:cxn ang="0">
                  <a:pos x="573" y="522"/>
                </a:cxn>
                <a:cxn ang="0">
                  <a:pos x="597" y="467"/>
                </a:cxn>
                <a:cxn ang="0">
                  <a:pos x="601" y="439"/>
                </a:cxn>
                <a:cxn ang="0">
                  <a:pos x="577" y="393"/>
                </a:cxn>
                <a:cxn ang="0">
                  <a:pos x="563" y="374"/>
                </a:cxn>
                <a:cxn ang="0">
                  <a:pos x="536" y="325"/>
                </a:cxn>
                <a:cxn ang="0">
                  <a:pos x="496" y="303"/>
                </a:cxn>
                <a:cxn ang="0">
                  <a:pos x="496" y="259"/>
                </a:cxn>
                <a:cxn ang="0">
                  <a:pos x="495" y="246"/>
                </a:cxn>
                <a:cxn ang="0">
                  <a:pos x="491" y="218"/>
                </a:cxn>
                <a:cxn ang="0">
                  <a:pos x="477" y="186"/>
                </a:cxn>
                <a:cxn ang="0">
                  <a:pos x="463" y="93"/>
                </a:cxn>
                <a:cxn ang="0">
                  <a:pos x="357" y="137"/>
                </a:cxn>
                <a:cxn ang="0">
                  <a:pos x="239" y="114"/>
                </a:cxn>
                <a:cxn ang="0">
                  <a:pos x="168" y="123"/>
                </a:cxn>
                <a:cxn ang="0">
                  <a:pos x="157" y="102"/>
                </a:cxn>
                <a:cxn ang="0">
                  <a:pos x="130" y="51"/>
                </a:cxn>
                <a:cxn ang="0">
                  <a:pos x="140" y="11"/>
                </a:cxn>
                <a:cxn ang="0">
                  <a:pos x="91" y="21"/>
                </a:cxn>
                <a:cxn ang="0">
                  <a:pos x="1" y="0"/>
                </a:cxn>
                <a:cxn ang="0">
                  <a:pos x="16" y="23"/>
                </a:cxn>
                <a:cxn ang="0">
                  <a:pos x="22" y="85"/>
                </a:cxn>
                <a:cxn ang="0">
                  <a:pos x="66" y="158"/>
                </a:cxn>
                <a:cxn ang="0">
                  <a:pos x="73" y="216"/>
                </a:cxn>
                <a:cxn ang="0">
                  <a:pos x="78" y="239"/>
                </a:cxn>
                <a:cxn ang="0">
                  <a:pos x="69" y="294"/>
                </a:cxn>
                <a:cxn ang="0">
                  <a:pos x="83" y="331"/>
                </a:cxn>
                <a:cxn ang="0">
                  <a:pos x="58" y="332"/>
                </a:cxn>
                <a:cxn ang="0">
                  <a:pos x="136" y="402"/>
                </a:cxn>
              </a:cxnLst>
              <a:rect l="0" t="0" r="r" b="b"/>
              <a:pathLst>
                <a:path w="609" h="531">
                  <a:moveTo>
                    <a:pt x="136" y="402"/>
                  </a:moveTo>
                  <a:cubicBezTo>
                    <a:pt x="173" y="418"/>
                    <a:pt x="187" y="426"/>
                    <a:pt x="197" y="413"/>
                  </a:cubicBezTo>
                  <a:cubicBezTo>
                    <a:pt x="207" y="418"/>
                    <a:pt x="220" y="422"/>
                    <a:pt x="220" y="422"/>
                  </a:cubicBezTo>
                  <a:cubicBezTo>
                    <a:pt x="220" y="422"/>
                    <a:pt x="245" y="446"/>
                    <a:pt x="245" y="437"/>
                  </a:cubicBezTo>
                  <a:cubicBezTo>
                    <a:pt x="245" y="427"/>
                    <a:pt x="261" y="426"/>
                    <a:pt x="261" y="426"/>
                  </a:cubicBezTo>
                  <a:cubicBezTo>
                    <a:pt x="265" y="435"/>
                    <a:pt x="265" y="435"/>
                    <a:pt x="265" y="435"/>
                  </a:cubicBezTo>
                  <a:cubicBezTo>
                    <a:pt x="265" y="435"/>
                    <a:pt x="288" y="435"/>
                    <a:pt x="293" y="421"/>
                  </a:cubicBezTo>
                  <a:cubicBezTo>
                    <a:pt x="300" y="421"/>
                    <a:pt x="315" y="422"/>
                    <a:pt x="315" y="422"/>
                  </a:cubicBezTo>
                  <a:cubicBezTo>
                    <a:pt x="321" y="427"/>
                    <a:pt x="321" y="427"/>
                    <a:pt x="321" y="427"/>
                  </a:cubicBezTo>
                  <a:cubicBezTo>
                    <a:pt x="336" y="415"/>
                    <a:pt x="336" y="415"/>
                    <a:pt x="336" y="415"/>
                  </a:cubicBezTo>
                  <a:cubicBezTo>
                    <a:pt x="336" y="415"/>
                    <a:pt x="344" y="426"/>
                    <a:pt x="348" y="418"/>
                  </a:cubicBezTo>
                  <a:cubicBezTo>
                    <a:pt x="352" y="410"/>
                    <a:pt x="344" y="405"/>
                    <a:pt x="348" y="405"/>
                  </a:cubicBezTo>
                  <a:cubicBezTo>
                    <a:pt x="352" y="405"/>
                    <a:pt x="375" y="414"/>
                    <a:pt x="375" y="414"/>
                  </a:cubicBezTo>
                  <a:cubicBezTo>
                    <a:pt x="375" y="414"/>
                    <a:pt x="361" y="439"/>
                    <a:pt x="373" y="439"/>
                  </a:cubicBezTo>
                  <a:cubicBezTo>
                    <a:pt x="385" y="439"/>
                    <a:pt x="391" y="438"/>
                    <a:pt x="391" y="438"/>
                  </a:cubicBezTo>
                  <a:cubicBezTo>
                    <a:pt x="395" y="465"/>
                    <a:pt x="395" y="465"/>
                    <a:pt x="395" y="465"/>
                  </a:cubicBezTo>
                  <a:cubicBezTo>
                    <a:pt x="415" y="465"/>
                    <a:pt x="415" y="465"/>
                    <a:pt x="415" y="465"/>
                  </a:cubicBezTo>
                  <a:cubicBezTo>
                    <a:pt x="415" y="465"/>
                    <a:pt x="477" y="390"/>
                    <a:pt x="485" y="481"/>
                  </a:cubicBezTo>
                  <a:cubicBezTo>
                    <a:pt x="492" y="486"/>
                    <a:pt x="505" y="493"/>
                    <a:pt x="505" y="493"/>
                  </a:cubicBezTo>
                  <a:cubicBezTo>
                    <a:pt x="512" y="513"/>
                    <a:pt x="512" y="513"/>
                    <a:pt x="512" y="513"/>
                  </a:cubicBezTo>
                  <a:cubicBezTo>
                    <a:pt x="537" y="507"/>
                    <a:pt x="537" y="507"/>
                    <a:pt x="537" y="507"/>
                  </a:cubicBezTo>
                  <a:cubicBezTo>
                    <a:pt x="561" y="531"/>
                    <a:pt x="561" y="531"/>
                    <a:pt x="561" y="531"/>
                  </a:cubicBezTo>
                  <a:cubicBezTo>
                    <a:pt x="573" y="529"/>
                    <a:pt x="573" y="529"/>
                    <a:pt x="573" y="529"/>
                  </a:cubicBezTo>
                  <a:cubicBezTo>
                    <a:pt x="573" y="522"/>
                    <a:pt x="573" y="522"/>
                    <a:pt x="573" y="522"/>
                  </a:cubicBezTo>
                  <a:cubicBezTo>
                    <a:pt x="573" y="522"/>
                    <a:pt x="565" y="495"/>
                    <a:pt x="568" y="485"/>
                  </a:cubicBezTo>
                  <a:cubicBezTo>
                    <a:pt x="571" y="474"/>
                    <a:pt x="597" y="467"/>
                    <a:pt x="597" y="467"/>
                  </a:cubicBezTo>
                  <a:cubicBezTo>
                    <a:pt x="609" y="453"/>
                    <a:pt x="609" y="453"/>
                    <a:pt x="609" y="453"/>
                  </a:cubicBezTo>
                  <a:cubicBezTo>
                    <a:pt x="601" y="439"/>
                    <a:pt x="601" y="439"/>
                    <a:pt x="601" y="439"/>
                  </a:cubicBezTo>
                  <a:cubicBezTo>
                    <a:pt x="601" y="439"/>
                    <a:pt x="605" y="431"/>
                    <a:pt x="605" y="426"/>
                  </a:cubicBezTo>
                  <a:cubicBezTo>
                    <a:pt x="605" y="421"/>
                    <a:pt x="577" y="393"/>
                    <a:pt x="577" y="393"/>
                  </a:cubicBezTo>
                  <a:cubicBezTo>
                    <a:pt x="576" y="374"/>
                    <a:pt x="576" y="374"/>
                    <a:pt x="576" y="374"/>
                  </a:cubicBezTo>
                  <a:cubicBezTo>
                    <a:pt x="569" y="376"/>
                    <a:pt x="563" y="374"/>
                    <a:pt x="563" y="374"/>
                  </a:cubicBezTo>
                  <a:cubicBezTo>
                    <a:pt x="563" y="374"/>
                    <a:pt x="556" y="363"/>
                    <a:pt x="560" y="363"/>
                  </a:cubicBezTo>
                  <a:cubicBezTo>
                    <a:pt x="581" y="349"/>
                    <a:pt x="536" y="325"/>
                    <a:pt x="536" y="325"/>
                  </a:cubicBezTo>
                  <a:cubicBezTo>
                    <a:pt x="529" y="305"/>
                    <a:pt x="529" y="305"/>
                    <a:pt x="529" y="305"/>
                  </a:cubicBezTo>
                  <a:cubicBezTo>
                    <a:pt x="496" y="303"/>
                    <a:pt x="496" y="303"/>
                    <a:pt x="496" y="303"/>
                  </a:cubicBezTo>
                  <a:cubicBezTo>
                    <a:pt x="496" y="303"/>
                    <a:pt x="483" y="299"/>
                    <a:pt x="489" y="294"/>
                  </a:cubicBezTo>
                  <a:cubicBezTo>
                    <a:pt x="496" y="289"/>
                    <a:pt x="496" y="259"/>
                    <a:pt x="496" y="259"/>
                  </a:cubicBezTo>
                  <a:cubicBezTo>
                    <a:pt x="487" y="247"/>
                    <a:pt x="487" y="247"/>
                    <a:pt x="487" y="247"/>
                  </a:cubicBezTo>
                  <a:cubicBezTo>
                    <a:pt x="495" y="246"/>
                    <a:pt x="495" y="246"/>
                    <a:pt x="495" y="246"/>
                  </a:cubicBezTo>
                  <a:cubicBezTo>
                    <a:pt x="496" y="226"/>
                    <a:pt x="496" y="226"/>
                    <a:pt x="496" y="226"/>
                  </a:cubicBezTo>
                  <a:cubicBezTo>
                    <a:pt x="491" y="218"/>
                    <a:pt x="491" y="218"/>
                    <a:pt x="491" y="218"/>
                  </a:cubicBezTo>
                  <a:cubicBezTo>
                    <a:pt x="491" y="203"/>
                    <a:pt x="491" y="203"/>
                    <a:pt x="491" y="203"/>
                  </a:cubicBezTo>
                  <a:cubicBezTo>
                    <a:pt x="491" y="203"/>
                    <a:pt x="475" y="193"/>
                    <a:pt x="477" y="186"/>
                  </a:cubicBezTo>
                  <a:cubicBezTo>
                    <a:pt x="508" y="175"/>
                    <a:pt x="476" y="178"/>
                    <a:pt x="476" y="178"/>
                  </a:cubicBezTo>
                  <a:cubicBezTo>
                    <a:pt x="463" y="93"/>
                    <a:pt x="463" y="93"/>
                    <a:pt x="463" y="93"/>
                  </a:cubicBezTo>
                  <a:cubicBezTo>
                    <a:pt x="458" y="95"/>
                    <a:pt x="436" y="105"/>
                    <a:pt x="435" y="102"/>
                  </a:cubicBezTo>
                  <a:cubicBezTo>
                    <a:pt x="418" y="138"/>
                    <a:pt x="357" y="137"/>
                    <a:pt x="357" y="137"/>
                  </a:cubicBezTo>
                  <a:cubicBezTo>
                    <a:pt x="325" y="122"/>
                    <a:pt x="325" y="122"/>
                    <a:pt x="325" y="122"/>
                  </a:cubicBezTo>
                  <a:cubicBezTo>
                    <a:pt x="325" y="122"/>
                    <a:pt x="286" y="117"/>
                    <a:pt x="239" y="114"/>
                  </a:cubicBezTo>
                  <a:cubicBezTo>
                    <a:pt x="194" y="93"/>
                    <a:pt x="170" y="107"/>
                    <a:pt x="170" y="107"/>
                  </a:cubicBezTo>
                  <a:cubicBezTo>
                    <a:pt x="168" y="123"/>
                    <a:pt x="168" y="123"/>
                    <a:pt x="168" y="123"/>
                  </a:cubicBezTo>
                  <a:cubicBezTo>
                    <a:pt x="160" y="116"/>
                    <a:pt x="160" y="116"/>
                    <a:pt x="160" y="116"/>
                  </a:cubicBezTo>
                  <a:cubicBezTo>
                    <a:pt x="160" y="116"/>
                    <a:pt x="150" y="108"/>
                    <a:pt x="157" y="102"/>
                  </a:cubicBezTo>
                  <a:cubicBezTo>
                    <a:pt x="164" y="96"/>
                    <a:pt x="152" y="88"/>
                    <a:pt x="152" y="88"/>
                  </a:cubicBezTo>
                  <a:cubicBezTo>
                    <a:pt x="130" y="51"/>
                    <a:pt x="130" y="51"/>
                    <a:pt x="130" y="51"/>
                  </a:cubicBezTo>
                  <a:cubicBezTo>
                    <a:pt x="150" y="35"/>
                    <a:pt x="150" y="35"/>
                    <a:pt x="150" y="35"/>
                  </a:cubicBezTo>
                  <a:cubicBezTo>
                    <a:pt x="140" y="11"/>
                    <a:pt x="140" y="11"/>
                    <a:pt x="140" y="11"/>
                  </a:cubicBezTo>
                  <a:cubicBezTo>
                    <a:pt x="104" y="7"/>
                    <a:pt x="104" y="7"/>
                    <a:pt x="104" y="7"/>
                  </a:cubicBezTo>
                  <a:cubicBezTo>
                    <a:pt x="91" y="21"/>
                    <a:pt x="91" y="21"/>
                    <a:pt x="91" y="21"/>
                  </a:cubicBezTo>
                  <a:cubicBezTo>
                    <a:pt x="91" y="21"/>
                    <a:pt x="82" y="30"/>
                    <a:pt x="59" y="24"/>
                  </a:cubicBezTo>
                  <a:cubicBezTo>
                    <a:pt x="36" y="18"/>
                    <a:pt x="1" y="0"/>
                    <a:pt x="1" y="0"/>
                  </a:cubicBezTo>
                  <a:cubicBezTo>
                    <a:pt x="0" y="16"/>
                    <a:pt x="0" y="16"/>
                    <a:pt x="0" y="16"/>
                  </a:cubicBezTo>
                  <a:cubicBezTo>
                    <a:pt x="0" y="16"/>
                    <a:pt x="4" y="16"/>
                    <a:pt x="16" y="23"/>
                  </a:cubicBezTo>
                  <a:cubicBezTo>
                    <a:pt x="28" y="30"/>
                    <a:pt x="12" y="63"/>
                    <a:pt x="12" y="63"/>
                  </a:cubicBezTo>
                  <a:cubicBezTo>
                    <a:pt x="12" y="63"/>
                    <a:pt x="21" y="81"/>
                    <a:pt x="22" y="85"/>
                  </a:cubicBezTo>
                  <a:cubicBezTo>
                    <a:pt x="22" y="112"/>
                    <a:pt x="34" y="108"/>
                    <a:pt x="34" y="108"/>
                  </a:cubicBezTo>
                  <a:cubicBezTo>
                    <a:pt x="66" y="158"/>
                    <a:pt x="66" y="158"/>
                    <a:pt x="66" y="158"/>
                  </a:cubicBezTo>
                  <a:cubicBezTo>
                    <a:pt x="65" y="214"/>
                    <a:pt x="65" y="214"/>
                    <a:pt x="65" y="214"/>
                  </a:cubicBezTo>
                  <a:cubicBezTo>
                    <a:pt x="73" y="216"/>
                    <a:pt x="73" y="216"/>
                    <a:pt x="73" y="216"/>
                  </a:cubicBezTo>
                  <a:cubicBezTo>
                    <a:pt x="69" y="232"/>
                    <a:pt x="69" y="232"/>
                    <a:pt x="69" y="232"/>
                  </a:cubicBezTo>
                  <a:cubicBezTo>
                    <a:pt x="78" y="239"/>
                    <a:pt x="78" y="239"/>
                    <a:pt x="78" y="239"/>
                  </a:cubicBezTo>
                  <a:cubicBezTo>
                    <a:pt x="70" y="245"/>
                    <a:pt x="70" y="245"/>
                    <a:pt x="70" y="245"/>
                  </a:cubicBezTo>
                  <a:cubicBezTo>
                    <a:pt x="70" y="245"/>
                    <a:pt x="66" y="280"/>
                    <a:pt x="69" y="294"/>
                  </a:cubicBezTo>
                  <a:cubicBezTo>
                    <a:pt x="71" y="315"/>
                    <a:pt x="108" y="326"/>
                    <a:pt x="108" y="326"/>
                  </a:cubicBezTo>
                  <a:cubicBezTo>
                    <a:pt x="83" y="331"/>
                    <a:pt x="83" y="331"/>
                    <a:pt x="83" y="331"/>
                  </a:cubicBezTo>
                  <a:cubicBezTo>
                    <a:pt x="83" y="331"/>
                    <a:pt x="75" y="328"/>
                    <a:pt x="68" y="329"/>
                  </a:cubicBezTo>
                  <a:cubicBezTo>
                    <a:pt x="66" y="330"/>
                    <a:pt x="62" y="331"/>
                    <a:pt x="58" y="332"/>
                  </a:cubicBezTo>
                  <a:cubicBezTo>
                    <a:pt x="77" y="377"/>
                    <a:pt x="77" y="377"/>
                    <a:pt x="77" y="377"/>
                  </a:cubicBezTo>
                  <a:cubicBezTo>
                    <a:pt x="77" y="377"/>
                    <a:pt x="87" y="470"/>
                    <a:pt x="136" y="402"/>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1" name="Bretagne" descr="© INSCALE GmbH, 05.05.2010&#10;http://www.presentationload.com/">
              <a:extLst>
                <a:ext uri="{FF2B5EF4-FFF2-40B4-BE49-F238E27FC236}">
                  <a16:creationId xmlns:a16="http://schemas.microsoft.com/office/drawing/2014/main" id="{F823883D-B803-4C7E-982B-A6EA279E0036}"/>
                </a:ext>
              </a:extLst>
            </p:cNvPr>
            <p:cNvSpPr>
              <a:spLocks noEditPoints="1"/>
            </p:cNvSpPr>
            <p:nvPr/>
          </p:nvSpPr>
          <p:spPr bwMode="gray">
            <a:xfrm>
              <a:off x="48" y="857"/>
              <a:ext cx="953" cy="536"/>
            </a:xfrm>
            <a:custGeom>
              <a:avLst/>
              <a:gdLst/>
              <a:ahLst/>
              <a:cxnLst>
                <a:cxn ang="0">
                  <a:pos x="459" y="18"/>
                </a:cxn>
                <a:cxn ang="0">
                  <a:pos x="5" y="133"/>
                </a:cxn>
                <a:cxn ang="0">
                  <a:pos x="355" y="388"/>
                </a:cxn>
                <a:cxn ang="0">
                  <a:pos x="355" y="388"/>
                </a:cxn>
                <a:cxn ang="0">
                  <a:pos x="394" y="465"/>
                </a:cxn>
                <a:cxn ang="0">
                  <a:pos x="422" y="494"/>
                </a:cxn>
                <a:cxn ang="0">
                  <a:pos x="413" y="479"/>
                </a:cxn>
                <a:cxn ang="0">
                  <a:pos x="448" y="462"/>
                </a:cxn>
                <a:cxn ang="0">
                  <a:pos x="467" y="479"/>
                </a:cxn>
                <a:cxn ang="0">
                  <a:pos x="55" y="259"/>
                </a:cxn>
                <a:cxn ang="0">
                  <a:pos x="36" y="144"/>
                </a:cxn>
                <a:cxn ang="0">
                  <a:pos x="56" y="163"/>
                </a:cxn>
                <a:cxn ang="0">
                  <a:pos x="246" y="42"/>
                </a:cxn>
                <a:cxn ang="0">
                  <a:pos x="874" y="165"/>
                </a:cxn>
                <a:cxn ang="0">
                  <a:pos x="757" y="79"/>
                </a:cxn>
                <a:cxn ang="0">
                  <a:pos x="705" y="58"/>
                </a:cxn>
                <a:cxn ang="0">
                  <a:pos x="628" y="92"/>
                </a:cxn>
                <a:cxn ang="0">
                  <a:pos x="606" y="63"/>
                </a:cxn>
                <a:cxn ang="0">
                  <a:pos x="570" y="80"/>
                </a:cxn>
                <a:cxn ang="0">
                  <a:pos x="526" y="116"/>
                </a:cxn>
                <a:cxn ang="0">
                  <a:pos x="496" y="71"/>
                </a:cxn>
                <a:cxn ang="0">
                  <a:pos x="458" y="31"/>
                </a:cxn>
                <a:cxn ang="0">
                  <a:pos x="446" y="0"/>
                </a:cxn>
                <a:cxn ang="0">
                  <a:pos x="401" y="13"/>
                </a:cxn>
                <a:cxn ang="0">
                  <a:pos x="347" y="22"/>
                </a:cxn>
                <a:cxn ang="0">
                  <a:pos x="333" y="59"/>
                </a:cxn>
                <a:cxn ang="0">
                  <a:pos x="268" y="58"/>
                </a:cxn>
                <a:cxn ang="0">
                  <a:pos x="237" y="58"/>
                </a:cxn>
                <a:cxn ang="0">
                  <a:pos x="186" y="70"/>
                </a:cxn>
                <a:cxn ang="0">
                  <a:pos x="147" y="76"/>
                </a:cxn>
                <a:cxn ang="0">
                  <a:pos x="115" y="80"/>
                </a:cxn>
                <a:cxn ang="0">
                  <a:pos x="84" y="106"/>
                </a:cxn>
                <a:cxn ang="0">
                  <a:pos x="79" y="148"/>
                </a:cxn>
                <a:cxn ang="0">
                  <a:pos x="98" y="154"/>
                </a:cxn>
                <a:cxn ang="0">
                  <a:pos x="156" y="145"/>
                </a:cxn>
                <a:cxn ang="0">
                  <a:pos x="172" y="160"/>
                </a:cxn>
                <a:cxn ang="0">
                  <a:pos x="155" y="185"/>
                </a:cxn>
                <a:cxn ang="0">
                  <a:pos x="122" y="172"/>
                </a:cxn>
                <a:cxn ang="0">
                  <a:pos x="125" y="211"/>
                </a:cxn>
                <a:cxn ang="0">
                  <a:pos x="171" y="237"/>
                </a:cxn>
                <a:cxn ang="0">
                  <a:pos x="156" y="329"/>
                </a:cxn>
                <a:cxn ang="0">
                  <a:pos x="235" y="316"/>
                </a:cxn>
                <a:cxn ang="0">
                  <a:pos x="294" y="333"/>
                </a:cxn>
                <a:cxn ang="0">
                  <a:pos x="384" y="364"/>
                </a:cxn>
                <a:cxn ang="0">
                  <a:pos x="414" y="432"/>
                </a:cxn>
                <a:cxn ang="0">
                  <a:pos x="425" y="403"/>
                </a:cxn>
                <a:cxn ang="0">
                  <a:pos x="460" y="391"/>
                </a:cxn>
                <a:cxn ang="0">
                  <a:pos x="522" y="390"/>
                </a:cxn>
                <a:cxn ang="0">
                  <a:pos x="462" y="407"/>
                </a:cxn>
                <a:cxn ang="0">
                  <a:pos x="513" y="428"/>
                </a:cxn>
                <a:cxn ang="0">
                  <a:pos x="555" y="424"/>
                </a:cxn>
                <a:cxn ang="0">
                  <a:pos x="566" y="454"/>
                </a:cxn>
                <a:cxn ang="0">
                  <a:pos x="554" y="487"/>
                </a:cxn>
                <a:cxn ang="0">
                  <a:pos x="595" y="481"/>
                </a:cxn>
                <a:cxn ang="0">
                  <a:pos x="666" y="409"/>
                </a:cxn>
                <a:cxn ang="0">
                  <a:pos x="752" y="389"/>
                </a:cxn>
                <a:cxn ang="0">
                  <a:pos x="796" y="377"/>
                </a:cxn>
                <a:cxn ang="0">
                  <a:pos x="838" y="366"/>
                </a:cxn>
                <a:cxn ang="0">
                  <a:pos x="879" y="220"/>
                </a:cxn>
              </a:cxnLst>
              <a:rect l="0" t="0" r="r" b="b"/>
              <a:pathLst>
                <a:path w="884" h="496">
                  <a:moveTo>
                    <a:pt x="459" y="18"/>
                  </a:moveTo>
                  <a:cubicBezTo>
                    <a:pt x="460" y="17"/>
                    <a:pt x="460" y="17"/>
                    <a:pt x="460" y="15"/>
                  </a:cubicBezTo>
                  <a:cubicBezTo>
                    <a:pt x="460" y="12"/>
                    <a:pt x="459" y="14"/>
                    <a:pt x="459" y="18"/>
                  </a:cubicBezTo>
                  <a:close/>
                  <a:moveTo>
                    <a:pt x="17" y="117"/>
                  </a:moveTo>
                  <a:cubicBezTo>
                    <a:pt x="11" y="117"/>
                    <a:pt x="0" y="125"/>
                    <a:pt x="0" y="125"/>
                  </a:cubicBezTo>
                  <a:cubicBezTo>
                    <a:pt x="5" y="133"/>
                    <a:pt x="5" y="133"/>
                    <a:pt x="5" y="133"/>
                  </a:cubicBezTo>
                  <a:cubicBezTo>
                    <a:pt x="21" y="123"/>
                    <a:pt x="21" y="123"/>
                    <a:pt x="21" y="123"/>
                  </a:cubicBezTo>
                  <a:cubicBezTo>
                    <a:pt x="21" y="123"/>
                    <a:pt x="23" y="117"/>
                    <a:pt x="17" y="117"/>
                  </a:cubicBezTo>
                  <a:close/>
                  <a:moveTo>
                    <a:pt x="355" y="388"/>
                  </a:moveTo>
                  <a:cubicBezTo>
                    <a:pt x="346" y="382"/>
                    <a:pt x="339" y="378"/>
                    <a:pt x="339" y="378"/>
                  </a:cubicBezTo>
                  <a:cubicBezTo>
                    <a:pt x="339" y="378"/>
                    <a:pt x="333" y="390"/>
                    <a:pt x="344" y="389"/>
                  </a:cubicBezTo>
                  <a:cubicBezTo>
                    <a:pt x="355" y="388"/>
                    <a:pt x="364" y="394"/>
                    <a:pt x="355" y="388"/>
                  </a:cubicBezTo>
                  <a:close/>
                  <a:moveTo>
                    <a:pt x="413" y="479"/>
                  </a:moveTo>
                  <a:cubicBezTo>
                    <a:pt x="409" y="469"/>
                    <a:pt x="409" y="469"/>
                    <a:pt x="409" y="469"/>
                  </a:cubicBezTo>
                  <a:cubicBezTo>
                    <a:pt x="394" y="465"/>
                    <a:pt x="394" y="465"/>
                    <a:pt x="394" y="465"/>
                  </a:cubicBezTo>
                  <a:cubicBezTo>
                    <a:pt x="384" y="466"/>
                    <a:pt x="393" y="490"/>
                    <a:pt x="393" y="490"/>
                  </a:cubicBezTo>
                  <a:cubicBezTo>
                    <a:pt x="413" y="490"/>
                    <a:pt x="413" y="490"/>
                    <a:pt x="413" y="490"/>
                  </a:cubicBezTo>
                  <a:cubicBezTo>
                    <a:pt x="422" y="494"/>
                    <a:pt x="422" y="494"/>
                    <a:pt x="422" y="494"/>
                  </a:cubicBezTo>
                  <a:cubicBezTo>
                    <a:pt x="427" y="485"/>
                    <a:pt x="427" y="485"/>
                    <a:pt x="427" y="485"/>
                  </a:cubicBezTo>
                  <a:cubicBezTo>
                    <a:pt x="425" y="480"/>
                    <a:pt x="425" y="480"/>
                    <a:pt x="425" y="480"/>
                  </a:cubicBezTo>
                  <a:lnTo>
                    <a:pt x="413" y="479"/>
                  </a:lnTo>
                  <a:close/>
                  <a:moveTo>
                    <a:pt x="448" y="462"/>
                  </a:moveTo>
                  <a:cubicBezTo>
                    <a:pt x="448" y="462"/>
                    <a:pt x="454" y="467"/>
                    <a:pt x="454" y="465"/>
                  </a:cubicBezTo>
                  <a:cubicBezTo>
                    <a:pt x="454" y="462"/>
                    <a:pt x="454" y="462"/>
                    <a:pt x="448" y="462"/>
                  </a:cubicBezTo>
                  <a:close/>
                  <a:moveTo>
                    <a:pt x="467" y="479"/>
                  </a:moveTo>
                  <a:cubicBezTo>
                    <a:pt x="467" y="479"/>
                    <a:pt x="473" y="479"/>
                    <a:pt x="473" y="476"/>
                  </a:cubicBezTo>
                  <a:cubicBezTo>
                    <a:pt x="473" y="473"/>
                    <a:pt x="467" y="479"/>
                    <a:pt x="467" y="479"/>
                  </a:cubicBezTo>
                  <a:close/>
                  <a:moveTo>
                    <a:pt x="55" y="259"/>
                  </a:moveTo>
                  <a:cubicBezTo>
                    <a:pt x="58" y="258"/>
                    <a:pt x="53" y="251"/>
                    <a:pt x="53" y="251"/>
                  </a:cubicBezTo>
                  <a:cubicBezTo>
                    <a:pt x="53" y="251"/>
                    <a:pt x="52" y="260"/>
                    <a:pt x="55" y="259"/>
                  </a:cubicBezTo>
                  <a:close/>
                  <a:moveTo>
                    <a:pt x="36" y="144"/>
                  </a:moveTo>
                  <a:cubicBezTo>
                    <a:pt x="41" y="150"/>
                    <a:pt x="40" y="142"/>
                    <a:pt x="40" y="142"/>
                  </a:cubicBezTo>
                  <a:cubicBezTo>
                    <a:pt x="40" y="142"/>
                    <a:pt x="31" y="139"/>
                    <a:pt x="36" y="144"/>
                  </a:cubicBezTo>
                  <a:close/>
                  <a:moveTo>
                    <a:pt x="56" y="163"/>
                  </a:moveTo>
                  <a:cubicBezTo>
                    <a:pt x="56" y="163"/>
                    <a:pt x="64" y="161"/>
                    <a:pt x="59" y="156"/>
                  </a:cubicBezTo>
                  <a:cubicBezTo>
                    <a:pt x="54" y="152"/>
                    <a:pt x="56" y="163"/>
                    <a:pt x="56" y="163"/>
                  </a:cubicBezTo>
                  <a:close/>
                  <a:moveTo>
                    <a:pt x="247" y="36"/>
                  </a:moveTo>
                  <a:cubicBezTo>
                    <a:pt x="242" y="39"/>
                    <a:pt x="242" y="39"/>
                    <a:pt x="242" y="39"/>
                  </a:cubicBezTo>
                  <a:cubicBezTo>
                    <a:pt x="246" y="42"/>
                    <a:pt x="246" y="42"/>
                    <a:pt x="246" y="42"/>
                  </a:cubicBezTo>
                  <a:lnTo>
                    <a:pt x="247" y="36"/>
                  </a:lnTo>
                  <a:close/>
                  <a:moveTo>
                    <a:pt x="872" y="188"/>
                  </a:moveTo>
                  <a:cubicBezTo>
                    <a:pt x="874" y="165"/>
                    <a:pt x="874" y="165"/>
                    <a:pt x="874" y="165"/>
                  </a:cubicBezTo>
                  <a:cubicBezTo>
                    <a:pt x="865" y="163"/>
                    <a:pt x="853" y="157"/>
                    <a:pt x="835" y="149"/>
                  </a:cubicBezTo>
                  <a:cubicBezTo>
                    <a:pt x="786" y="217"/>
                    <a:pt x="776" y="124"/>
                    <a:pt x="776" y="124"/>
                  </a:cubicBezTo>
                  <a:cubicBezTo>
                    <a:pt x="757" y="79"/>
                    <a:pt x="757" y="79"/>
                    <a:pt x="757" y="79"/>
                  </a:cubicBezTo>
                  <a:cubicBezTo>
                    <a:pt x="750" y="81"/>
                    <a:pt x="742" y="83"/>
                    <a:pt x="742" y="83"/>
                  </a:cubicBezTo>
                  <a:cubicBezTo>
                    <a:pt x="742" y="83"/>
                    <a:pt x="722" y="85"/>
                    <a:pt x="710" y="84"/>
                  </a:cubicBezTo>
                  <a:cubicBezTo>
                    <a:pt x="698" y="83"/>
                    <a:pt x="705" y="58"/>
                    <a:pt x="705" y="58"/>
                  </a:cubicBezTo>
                  <a:cubicBezTo>
                    <a:pt x="692" y="58"/>
                    <a:pt x="664" y="78"/>
                    <a:pt x="664" y="78"/>
                  </a:cubicBezTo>
                  <a:cubicBezTo>
                    <a:pt x="647" y="76"/>
                    <a:pt x="647" y="76"/>
                    <a:pt x="647" y="76"/>
                  </a:cubicBezTo>
                  <a:cubicBezTo>
                    <a:pt x="647" y="76"/>
                    <a:pt x="636" y="91"/>
                    <a:pt x="628" y="92"/>
                  </a:cubicBezTo>
                  <a:cubicBezTo>
                    <a:pt x="620" y="93"/>
                    <a:pt x="616" y="75"/>
                    <a:pt x="616" y="75"/>
                  </a:cubicBezTo>
                  <a:cubicBezTo>
                    <a:pt x="601" y="80"/>
                    <a:pt x="601" y="80"/>
                    <a:pt x="601" y="80"/>
                  </a:cubicBezTo>
                  <a:cubicBezTo>
                    <a:pt x="601" y="80"/>
                    <a:pt x="609" y="67"/>
                    <a:pt x="606" y="63"/>
                  </a:cubicBezTo>
                  <a:cubicBezTo>
                    <a:pt x="603" y="59"/>
                    <a:pt x="584" y="75"/>
                    <a:pt x="584" y="75"/>
                  </a:cubicBezTo>
                  <a:cubicBezTo>
                    <a:pt x="571" y="72"/>
                    <a:pt x="571" y="72"/>
                    <a:pt x="571" y="72"/>
                  </a:cubicBezTo>
                  <a:cubicBezTo>
                    <a:pt x="570" y="80"/>
                    <a:pt x="570" y="80"/>
                    <a:pt x="570" y="80"/>
                  </a:cubicBezTo>
                  <a:cubicBezTo>
                    <a:pt x="533" y="109"/>
                    <a:pt x="533" y="109"/>
                    <a:pt x="533" y="109"/>
                  </a:cubicBezTo>
                  <a:cubicBezTo>
                    <a:pt x="529" y="106"/>
                    <a:pt x="529" y="106"/>
                    <a:pt x="529" y="106"/>
                  </a:cubicBezTo>
                  <a:cubicBezTo>
                    <a:pt x="526" y="116"/>
                    <a:pt x="526" y="116"/>
                    <a:pt x="526" y="116"/>
                  </a:cubicBezTo>
                  <a:cubicBezTo>
                    <a:pt x="516" y="96"/>
                    <a:pt x="516" y="96"/>
                    <a:pt x="516" y="96"/>
                  </a:cubicBezTo>
                  <a:cubicBezTo>
                    <a:pt x="499" y="88"/>
                    <a:pt x="499" y="88"/>
                    <a:pt x="499" y="88"/>
                  </a:cubicBezTo>
                  <a:cubicBezTo>
                    <a:pt x="496" y="71"/>
                    <a:pt x="496" y="71"/>
                    <a:pt x="496" y="71"/>
                  </a:cubicBezTo>
                  <a:cubicBezTo>
                    <a:pt x="473" y="49"/>
                    <a:pt x="473" y="49"/>
                    <a:pt x="473" y="49"/>
                  </a:cubicBezTo>
                  <a:cubicBezTo>
                    <a:pt x="473" y="36"/>
                    <a:pt x="473" y="36"/>
                    <a:pt x="473" y="36"/>
                  </a:cubicBezTo>
                  <a:cubicBezTo>
                    <a:pt x="473" y="36"/>
                    <a:pt x="459" y="35"/>
                    <a:pt x="458" y="31"/>
                  </a:cubicBezTo>
                  <a:cubicBezTo>
                    <a:pt x="457" y="29"/>
                    <a:pt x="458" y="22"/>
                    <a:pt x="459" y="18"/>
                  </a:cubicBezTo>
                  <a:cubicBezTo>
                    <a:pt x="455" y="21"/>
                    <a:pt x="444" y="18"/>
                    <a:pt x="444" y="18"/>
                  </a:cubicBezTo>
                  <a:cubicBezTo>
                    <a:pt x="446" y="0"/>
                    <a:pt x="446" y="0"/>
                    <a:pt x="446" y="0"/>
                  </a:cubicBezTo>
                  <a:cubicBezTo>
                    <a:pt x="426" y="10"/>
                    <a:pt x="426" y="10"/>
                    <a:pt x="426" y="10"/>
                  </a:cubicBezTo>
                  <a:cubicBezTo>
                    <a:pt x="415" y="4"/>
                    <a:pt x="415" y="4"/>
                    <a:pt x="415" y="4"/>
                  </a:cubicBezTo>
                  <a:cubicBezTo>
                    <a:pt x="415" y="4"/>
                    <a:pt x="411" y="10"/>
                    <a:pt x="401" y="13"/>
                  </a:cubicBezTo>
                  <a:cubicBezTo>
                    <a:pt x="387" y="15"/>
                    <a:pt x="372" y="26"/>
                    <a:pt x="372" y="26"/>
                  </a:cubicBezTo>
                  <a:cubicBezTo>
                    <a:pt x="371" y="19"/>
                    <a:pt x="356" y="12"/>
                    <a:pt x="351" y="12"/>
                  </a:cubicBezTo>
                  <a:cubicBezTo>
                    <a:pt x="346" y="12"/>
                    <a:pt x="347" y="22"/>
                    <a:pt x="347" y="22"/>
                  </a:cubicBezTo>
                  <a:cubicBezTo>
                    <a:pt x="341" y="25"/>
                    <a:pt x="341" y="25"/>
                    <a:pt x="341" y="25"/>
                  </a:cubicBezTo>
                  <a:cubicBezTo>
                    <a:pt x="347" y="40"/>
                    <a:pt x="347" y="40"/>
                    <a:pt x="347" y="40"/>
                  </a:cubicBezTo>
                  <a:cubicBezTo>
                    <a:pt x="347" y="40"/>
                    <a:pt x="336" y="60"/>
                    <a:pt x="333" y="59"/>
                  </a:cubicBezTo>
                  <a:cubicBezTo>
                    <a:pt x="300" y="51"/>
                    <a:pt x="285" y="50"/>
                    <a:pt x="282" y="56"/>
                  </a:cubicBezTo>
                  <a:cubicBezTo>
                    <a:pt x="279" y="62"/>
                    <a:pt x="280" y="72"/>
                    <a:pt x="277" y="72"/>
                  </a:cubicBezTo>
                  <a:cubicBezTo>
                    <a:pt x="274" y="72"/>
                    <a:pt x="268" y="58"/>
                    <a:pt x="268" y="58"/>
                  </a:cubicBezTo>
                  <a:cubicBezTo>
                    <a:pt x="258" y="63"/>
                    <a:pt x="258" y="63"/>
                    <a:pt x="258" y="63"/>
                  </a:cubicBezTo>
                  <a:cubicBezTo>
                    <a:pt x="258" y="63"/>
                    <a:pt x="251" y="44"/>
                    <a:pt x="245" y="47"/>
                  </a:cubicBezTo>
                  <a:cubicBezTo>
                    <a:pt x="239" y="50"/>
                    <a:pt x="237" y="58"/>
                    <a:pt x="237" y="58"/>
                  </a:cubicBezTo>
                  <a:cubicBezTo>
                    <a:pt x="237" y="58"/>
                    <a:pt x="226" y="55"/>
                    <a:pt x="217" y="54"/>
                  </a:cubicBezTo>
                  <a:cubicBezTo>
                    <a:pt x="208" y="53"/>
                    <a:pt x="200" y="64"/>
                    <a:pt x="200" y="64"/>
                  </a:cubicBezTo>
                  <a:cubicBezTo>
                    <a:pt x="186" y="70"/>
                    <a:pt x="186" y="70"/>
                    <a:pt x="186" y="70"/>
                  </a:cubicBezTo>
                  <a:cubicBezTo>
                    <a:pt x="173" y="60"/>
                    <a:pt x="173" y="60"/>
                    <a:pt x="173" y="60"/>
                  </a:cubicBezTo>
                  <a:cubicBezTo>
                    <a:pt x="173" y="60"/>
                    <a:pt x="168" y="65"/>
                    <a:pt x="161" y="69"/>
                  </a:cubicBezTo>
                  <a:cubicBezTo>
                    <a:pt x="154" y="73"/>
                    <a:pt x="147" y="76"/>
                    <a:pt x="147" y="76"/>
                  </a:cubicBezTo>
                  <a:cubicBezTo>
                    <a:pt x="147" y="76"/>
                    <a:pt x="131" y="70"/>
                    <a:pt x="126" y="70"/>
                  </a:cubicBezTo>
                  <a:cubicBezTo>
                    <a:pt x="121" y="70"/>
                    <a:pt x="134" y="84"/>
                    <a:pt x="134" y="84"/>
                  </a:cubicBezTo>
                  <a:cubicBezTo>
                    <a:pt x="115" y="80"/>
                    <a:pt x="115" y="80"/>
                    <a:pt x="115" y="80"/>
                  </a:cubicBezTo>
                  <a:cubicBezTo>
                    <a:pt x="115" y="85"/>
                    <a:pt x="115" y="85"/>
                    <a:pt x="115" y="85"/>
                  </a:cubicBezTo>
                  <a:cubicBezTo>
                    <a:pt x="105" y="87"/>
                    <a:pt x="105" y="87"/>
                    <a:pt x="105" y="87"/>
                  </a:cubicBezTo>
                  <a:cubicBezTo>
                    <a:pt x="105" y="87"/>
                    <a:pt x="96" y="98"/>
                    <a:pt x="84" y="106"/>
                  </a:cubicBezTo>
                  <a:cubicBezTo>
                    <a:pt x="72" y="114"/>
                    <a:pt x="86" y="121"/>
                    <a:pt x="86" y="121"/>
                  </a:cubicBezTo>
                  <a:cubicBezTo>
                    <a:pt x="86" y="121"/>
                    <a:pt x="76" y="131"/>
                    <a:pt x="75" y="139"/>
                  </a:cubicBezTo>
                  <a:cubicBezTo>
                    <a:pt x="74" y="147"/>
                    <a:pt x="79" y="148"/>
                    <a:pt x="79" y="148"/>
                  </a:cubicBezTo>
                  <a:cubicBezTo>
                    <a:pt x="79" y="148"/>
                    <a:pt x="74" y="150"/>
                    <a:pt x="75" y="160"/>
                  </a:cubicBezTo>
                  <a:cubicBezTo>
                    <a:pt x="76" y="170"/>
                    <a:pt x="86" y="164"/>
                    <a:pt x="86" y="164"/>
                  </a:cubicBezTo>
                  <a:cubicBezTo>
                    <a:pt x="98" y="154"/>
                    <a:pt x="98" y="154"/>
                    <a:pt x="98" y="154"/>
                  </a:cubicBezTo>
                  <a:cubicBezTo>
                    <a:pt x="107" y="157"/>
                    <a:pt x="107" y="157"/>
                    <a:pt x="107" y="157"/>
                  </a:cubicBezTo>
                  <a:cubicBezTo>
                    <a:pt x="107" y="157"/>
                    <a:pt x="112" y="161"/>
                    <a:pt x="122" y="156"/>
                  </a:cubicBezTo>
                  <a:cubicBezTo>
                    <a:pt x="132" y="151"/>
                    <a:pt x="156" y="145"/>
                    <a:pt x="156" y="145"/>
                  </a:cubicBezTo>
                  <a:cubicBezTo>
                    <a:pt x="145" y="163"/>
                    <a:pt x="145" y="163"/>
                    <a:pt x="145" y="163"/>
                  </a:cubicBezTo>
                  <a:cubicBezTo>
                    <a:pt x="157" y="168"/>
                    <a:pt x="157" y="168"/>
                    <a:pt x="157" y="168"/>
                  </a:cubicBezTo>
                  <a:cubicBezTo>
                    <a:pt x="172" y="160"/>
                    <a:pt x="172" y="160"/>
                    <a:pt x="172" y="160"/>
                  </a:cubicBezTo>
                  <a:cubicBezTo>
                    <a:pt x="174" y="166"/>
                    <a:pt x="186" y="174"/>
                    <a:pt x="183" y="174"/>
                  </a:cubicBezTo>
                  <a:cubicBezTo>
                    <a:pt x="180" y="174"/>
                    <a:pt x="166" y="183"/>
                    <a:pt x="166" y="183"/>
                  </a:cubicBezTo>
                  <a:cubicBezTo>
                    <a:pt x="155" y="185"/>
                    <a:pt x="155" y="185"/>
                    <a:pt x="155" y="185"/>
                  </a:cubicBezTo>
                  <a:cubicBezTo>
                    <a:pt x="145" y="173"/>
                    <a:pt x="145" y="173"/>
                    <a:pt x="145" y="173"/>
                  </a:cubicBezTo>
                  <a:cubicBezTo>
                    <a:pt x="137" y="178"/>
                    <a:pt x="137" y="178"/>
                    <a:pt x="137" y="178"/>
                  </a:cubicBezTo>
                  <a:cubicBezTo>
                    <a:pt x="122" y="172"/>
                    <a:pt x="122" y="172"/>
                    <a:pt x="122" y="172"/>
                  </a:cubicBezTo>
                  <a:cubicBezTo>
                    <a:pt x="109" y="181"/>
                    <a:pt x="109" y="181"/>
                    <a:pt x="109" y="181"/>
                  </a:cubicBezTo>
                  <a:cubicBezTo>
                    <a:pt x="120" y="189"/>
                    <a:pt x="120" y="189"/>
                    <a:pt x="120" y="189"/>
                  </a:cubicBezTo>
                  <a:cubicBezTo>
                    <a:pt x="120" y="189"/>
                    <a:pt x="124" y="208"/>
                    <a:pt x="125" y="211"/>
                  </a:cubicBezTo>
                  <a:cubicBezTo>
                    <a:pt x="126" y="214"/>
                    <a:pt x="130" y="192"/>
                    <a:pt x="141" y="191"/>
                  </a:cubicBezTo>
                  <a:cubicBezTo>
                    <a:pt x="152" y="190"/>
                    <a:pt x="135" y="190"/>
                    <a:pt x="164" y="204"/>
                  </a:cubicBezTo>
                  <a:cubicBezTo>
                    <a:pt x="193" y="218"/>
                    <a:pt x="171" y="237"/>
                    <a:pt x="171" y="237"/>
                  </a:cubicBezTo>
                  <a:cubicBezTo>
                    <a:pt x="144" y="227"/>
                    <a:pt x="79" y="254"/>
                    <a:pt x="79" y="254"/>
                  </a:cubicBezTo>
                  <a:cubicBezTo>
                    <a:pt x="139" y="267"/>
                    <a:pt x="141" y="276"/>
                    <a:pt x="153" y="293"/>
                  </a:cubicBezTo>
                  <a:cubicBezTo>
                    <a:pt x="165" y="310"/>
                    <a:pt x="156" y="329"/>
                    <a:pt x="156" y="329"/>
                  </a:cubicBezTo>
                  <a:cubicBezTo>
                    <a:pt x="197" y="333"/>
                    <a:pt x="197" y="333"/>
                    <a:pt x="197" y="333"/>
                  </a:cubicBezTo>
                  <a:cubicBezTo>
                    <a:pt x="197" y="333"/>
                    <a:pt x="207" y="310"/>
                    <a:pt x="214" y="310"/>
                  </a:cubicBezTo>
                  <a:cubicBezTo>
                    <a:pt x="221" y="310"/>
                    <a:pt x="231" y="316"/>
                    <a:pt x="235" y="316"/>
                  </a:cubicBezTo>
                  <a:cubicBezTo>
                    <a:pt x="239" y="316"/>
                    <a:pt x="249" y="301"/>
                    <a:pt x="249" y="301"/>
                  </a:cubicBezTo>
                  <a:cubicBezTo>
                    <a:pt x="268" y="334"/>
                    <a:pt x="268" y="334"/>
                    <a:pt x="268" y="334"/>
                  </a:cubicBezTo>
                  <a:cubicBezTo>
                    <a:pt x="294" y="333"/>
                    <a:pt x="294" y="333"/>
                    <a:pt x="294" y="333"/>
                  </a:cubicBezTo>
                  <a:cubicBezTo>
                    <a:pt x="296" y="338"/>
                    <a:pt x="335" y="344"/>
                    <a:pt x="335" y="344"/>
                  </a:cubicBezTo>
                  <a:cubicBezTo>
                    <a:pt x="335" y="344"/>
                    <a:pt x="355" y="365"/>
                    <a:pt x="358" y="365"/>
                  </a:cubicBezTo>
                  <a:cubicBezTo>
                    <a:pt x="361" y="365"/>
                    <a:pt x="384" y="364"/>
                    <a:pt x="384" y="364"/>
                  </a:cubicBezTo>
                  <a:cubicBezTo>
                    <a:pt x="414" y="401"/>
                    <a:pt x="414" y="401"/>
                    <a:pt x="414" y="401"/>
                  </a:cubicBezTo>
                  <a:cubicBezTo>
                    <a:pt x="410" y="421"/>
                    <a:pt x="410" y="421"/>
                    <a:pt x="410" y="421"/>
                  </a:cubicBezTo>
                  <a:cubicBezTo>
                    <a:pt x="414" y="432"/>
                    <a:pt x="414" y="432"/>
                    <a:pt x="414" y="432"/>
                  </a:cubicBezTo>
                  <a:cubicBezTo>
                    <a:pt x="414" y="432"/>
                    <a:pt x="426" y="438"/>
                    <a:pt x="422" y="432"/>
                  </a:cubicBezTo>
                  <a:cubicBezTo>
                    <a:pt x="418" y="426"/>
                    <a:pt x="421" y="398"/>
                    <a:pt x="421" y="398"/>
                  </a:cubicBezTo>
                  <a:cubicBezTo>
                    <a:pt x="425" y="403"/>
                    <a:pt x="425" y="403"/>
                    <a:pt x="425" y="403"/>
                  </a:cubicBezTo>
                  <a:cubicBezTo>
                    <a:pt x="442" y="399"/>
                    <a:pt x="442" y="399"/>
                    <a:pt x="442" y="399"/>
                  </a:cubicBezTo>
                  <a:cubicBezTo>
                    <a:pt x="452" y="403"/>
                    <a:pt x="452" y="403"/>
                    <a:pt x="452" y="403"/>
                  </a:cubicBezTo>
                  <a:cubicBezTo>
                    <a:pt x="460" y="391"/>
                    <a:pt x="460" y="391"/>
                    <a:pt x="460" y="391"/>
                  </a:cubicBezTo>
                  <a:cubicBezTo>
                    <a:pt x="466" y="399"/>
                    <a:pt x="466" y="399"/>
                    <a:pt x="466" y="399"/>
                  </a:cubicBezTo>
                  <a:cubicBezTo>
                    <a:pt x="481" y="388"/>
                    <a:pt x="481" y="388"/>
                    <a:pt x="481" y="388"/>
                  </a:cubicBezTo>
                  <a:cubicBezTo>
                    <a:pt x="481" y="388"/>
                    <a:pt x="518" y="389"/>
                    <a:pt x="522" y="390"/>
                  </a:cubicBezTo>
                  <a:cubicBezTo>
                    <a:pt x="517" y="392"/>
                    <a:pt x="502" y="416"/>
                    <a:pt x="502" y="416"/>
                  </a:cubicBezTo>
                  <a:cubicBezTo>
                    <a:pt x="502" y="416"/>
                    <a:pt x="503" y="411"/>
                    <a:pt x="495" y="411"/>
                  </a:cubicBezTo>
                  <a:cubicBezTo>
                    <a:pt x="487" y="411"/>
                    <a:pt x="462" y="407"/>
                    <a:pt x="462" y="407"/>
                  </a:cubicBezTo>
                  <a:cubicBezTo>
                    <a:pt x="487" y="429"/>
                    <a:pt x="487" y="429"/>
                    <a:pt x="487" y="429"/>
                  </a:cubicBezTo>
                  <a:cubicBezTo>
                    <a:pt x="505" y="422"/>
                    <a:pt x="505" y="422"/>
                    <a:pt x="505" y="422"/>
                  </a:cubicBezTo>
                  <a:cubicBezTo>
                    <a:pt x="513" y="428"/>
                    <a:pt x="513" y="428"/>
                    <a:pt x="513" y="428"/>
                  </a:cubicBezTo>
                  <a:cubicBezTo>
                    <a:pt x="517" y="419"/>
                    <a:pt x="517" y="419"/>
                    <a:pt x="517" y="419"/>
                  </a:cubicBezTo>
                  <a:cubicBezTo>
                    <a:pt x="538" y="427"/>
                    <a:pt x="538" y="427"/>
                    <a:pt x="538" y="427"/>
                  </a:cubicBezTo>
                  <a:cubicBezTo>
                    <a:pt x="538" y="427"/>
                    <a:pt x="548" y="420"/>
                    <a:pt x="555" y="424"/>
                  </a:cubicBezTo>
                  <a:cubicBezTo>
                    <a:pt x="562" y="428"/>
                    <a:pt x="557" y="444"/>
                    <a:pt x="557" y="444"/>
                  </a:cubicBezTo>
                  <a:cubicBezTo>
                    <a:pt x="563" y="444"/>
                    <a:pt x="563" y="444"/>
                    <a:pt x="563" y="444"/>
                  </a:cubicBezTo>
                  <a:cubicBezTo>
                    <a:pt x="566" y="454"/>
                    <a:pt x="566" y="454"/>
                    <a:pt x="566" y="454"/>
                  </a:cubicBezTo>
                  <a:cubicBezTo>
                    <a:pt x="555" y="452"/>
                    <a:pt x="555" y="452"/>
                    <a:pt x="555" y="452"/>
                  </a:cubicBezTo>
                  <a:cubicBezTo>
                    <a:pt x="545" y="463"/>
                    <a:pt x="545" y="463"/>
                    <a:pt x="545" y="463"/>
                  </a:cubicBezTo>
                  <a:cubicBezTo>
                    <a:pt x="554" y="487"/>
                    <a:pt x="554" y="487"/>
                    <a:pt x="554" y="487"/>
                  </a:cubicBezTo>
                  <a:cubicBezTo>
                    <a:pt x="567" y="476"/>
                    <a:pt x="567" y="476"/>
                    <a:pt x="567" y="476"/>
                  </a:cubicBezTo>
                  <a:cubicBezTo>
                    <a:pt x="575" y="481"/>
                    <a:pt x="575" y="481"/>
                    <a:pt x="575" y="481"/>
                  </a:cubicBezTo>
                  <a:cubicBezTo>
                    <a:pt x="595" y="481"/>
                    <a:pt x="595" y="481"/>
                    <a:pt x="595" y="481"/>
                  </a:cubicBezTo>
                  <a:cubicBezTo>
                    <a:pt x="596" y="469"/>
                    <a:pt x="596" y="469"/>
                    <a:pt x="596" y="469"/>
                  </a:cubicBezTo>
                  <a:cubicBezTo>
                    <a:pt x="596" y="469"/>
                    <a:pt x="635" y="496"/>
                    <a:pt x="642" y="436"/>
                  </a:cubicBezTo>
                  <a:cubicBezTo>
                    <a:pt x="666" y="409"/>
                    <a:pt x="666" y="409"/>
                    <a:pt x="666" y="409"/>
                  </a:cubicBezTo>
                  <a:cubicBezTo>
                    <a:pt x="674" y="418"/>
                    <a:pt x="674" y="418"/>
                    <a:pt x="674" y="418"/>
                  </a:cubicBezTo>
                  <a:cubicBezTo>
                    <a:pt x="674" y="418"/>
                    <a:pt x="706" y="416"/>
                    <a:pt x="734" y="410"/>
                  </a:cubicBezTo>
                  <a:cubicBezTo>
                    <a:pt x="752" y="389"/>
                    <a:pt x="752" y="389"/>
                    <a:pt x="752" y="389"/>
                  </a:cubicBezTo>
                  <a:cubicBezTo>
                    <a:pt x="778" y="385"/>
                    <a:pt x="778" y="385"/>
                    <a:pt x="778" y="385"/>
                  </a:cubicBezTo>
                  <a:cubicBezTo>
                    <a:pt x="780" y="370"/>
                    <a:pt x="780" y="370"/>
                    <a:pt x="780" y="370"/>
                  </a:cubicBezTo>
                  <a:cubicBezTo>
                    <a:pt x="796" y="377"/>
                    <a:pt x="796" y="377"/>
                    <a:pt x="796" y="377"/>
                  </a:cubicBezTo>
                  <a:cubicBezTo>
                    <a:pt x="799" y="386"/>
                    <a:pt x="799" y="386"/>
                    <a:pt x="799" y="386"/>
                  </a:cubicBezTo>
                  <a:cubicBezTo>
                    <a:pt x="830" y="392"/>
                    <a:pt x="830" y="392"/>
                    <a:pt x="830" y="392"/>
                  </a:cubicBezTo>
                  <a:cubicBezTo>
                    <a:pt x="830" y="392"/>
                    <a:pt x="832" y="378"/>
                    <a:pt x="838" y="366"/>
                  </a:cubicBezTo>
                  <a:cubicBezTo>
                    <a:pt x="843" y="354"/>
                    <a:pt x="848" y="328"/>
                    <a:pt x="870" y="328"/>
                  </a:cubicBezTo>
                  <a:cubicBezTo>
                    <a:pt x="884" y="316"/>
                    <a:pt x="875" y="334"/>
                    <a:pt x="867" y="242"/>
                  </a:cubicBezTo>
                  <a:cubicBezTo>
                    <a:pt x="875" y="214"/>
                    <a:pt x="879" y="220"/>
                    <a:pt x="879" y="220"/>
                  </a:cubicBezTo>
                  <a:lnTo>
                    <a:pt x="872" y="18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2" name="Pays-de-la-Loire" descr="© INSCALE GmbH, 05.05.2010&#10;http://www.presentationload.com/">
              <a:extLst>
                <a:ext uri="{FF2B5EF4-FFF2-40B4-BE49-F238E27FC236}">
                  <a16:creationId xmlns:a16="http://schemas.microsoft.com/office/drawing/2014/main" id="{85508898-E58C-4F8D-BC43-AB4DB22941C3}"/>
                </a:ext>
              </a:extLst>
            </p:cNvPr>
            <p:cNvSpPr>
              <a:spLocks noEditPoints="1"/>
            </p:cNvSpPr>
            <p:nvPr/>
          </p:nvSpPr>
          <p:spPr bwMode="gray">
            <a:xfrm>
              <a:off x="644" y="1006"/>
              <a:ext cx="797" cy="790"/>
            </a:xfrm>
            <a:custGeom>
              <a:avLst/>
              <a:gdLst/>
              <a:ahLst/>
              <a:cxnLst>
                <a:cxn ang="0">
                  <a:pos x="16" y="534"/>
                </a:cxn>
                <a:cxn ang="0">
                  <a:pos x="51" y="448"/>
                </a:cxn>
                <a:cxn ang="0">
                  <a:pos x="219" y="694"/>
                </a:cxn>
                <a:cxn ang="0">
                  <a:pos x="191" y="687"/>
                </a:cxn>
                <a:cxn ang="0">
                  <a:pos x="211" y="706"/>
                </a:cxn>
                <a:cxn ang="0">
                  <a:pos x="222" y="703"/>
                </a:cxn>
                <a:cxn ang="0">
                  <a:pos x="707" y="141"/>
                </a:cxn>
                <a:cxn ang="0">
                  <a:pos x="651" y="103"/>
                </a:cxn>
                <a:cxn ang="0">
                  <a:pos x="541" y="75"/>
                </a:cxn>
                <a:cxn ang="0">
                  <a:pos x="521" y="24"/>
                </a:cxn>
                <a:cxn ang="0">
                  <a:pos x="482" y="25"/>
                </a:cxn>
                <a:cxn ang="0">
                  <a:pos x="439" y="31"/>
                </a:cxn>
                <a:cxn ang="0">
                  <a:pos x="391" y="47"/>
                </a:cxn>
                <a:cxn ang="0">
                  <a:pos x="321" y="28"/>
                </a:cxn>
                <a:cxn ang="0">
                  <a:pos x="314" y="105"/>
                </a:cxn>
                <a:cxn ang="0">
                  <a:pos x="277" y="255"/>
                </a:cxn>
                <a:cxn ang="0">
                  <a:pos x="227" y="233"/>
                </a:cxn>
                <a:cxn ang="0">
                  <a:pos x="181" y="273"/>
                </a:cxn>
                <a:cxn ang="0">
                  <a:pos x="89" y="299"/>
                </a:cxn>
                <a:cxn ang="0">
                  <a:pos x="22" y="344"/>
                </a:cxn>
                <a:cxn ang="0">
                  <a:pos x="3" y="354"/>
                </a:cxn>
                <a:cxn ang="0">
                  <a:pos x="24" y="359"/>
                </a:cxn>
                <a:cxn ang="0">
                  <a:pos x="105" y="349"/>
                </a:cxn>
                <a:cxn ang="0">
                  <a:pos x="67" y="376"/>
                </a:cxn>
                <a:cxn ang="0">
                  <a:pos x="52" y="399"/>
                </a:cxn>
                <a:cxn ang="0">
                  <a:pos x="104" y="444"/>
                </a:cxn>
                <a:cxn ang="0">
                  <a:pos x="72" y="483"/>
                </a:cxn>
                <a:cxn ang="0">
                  <a:pos x="55" y="465"/>
                </a:cxn>
                <a:cxn ang="0">
                  <a:pos x="72" y="511"/>
                </a:cxn>
                <a:cxn ang="0">
                  <a:pos x="135" y="611"/>
                </a:cxn>
                <a:cxn ang="0">
                  <a:pos x="210" y="658"/>
                </a:cxn>
                <a:cxn ang="0">
                  <a:pos x="251" y="669"/>
                </a:cxn>
                <a:cxn ang="0">
                  <a:pos x="287" y="680"/>
                </a:cxn>
                <a:cxn ang="0">
                  <a:pos x="289" y="723"/>
                </a:cxn>
                <a:cxn ang="0">
                  <a:pos x="337" y="729"/>
                </a:cxn>
                <a:cxn ang="0">
                  <a:pos x="385" y="728"/>
                </a:cxn>
                <a:cxn ang="0">
                  <a:pos x="389" y="707"/>
                </a:cxn>
                <a:cxn ang="0">
                  <a:pos x="394" y="664"/>
                </a:cxn>
                <a:cxn ang="0">
                  <a:pos x="386" y="605"/>
                </a:cxn>
                <a:cxn ang="0">
                  <a:pos x="353" y="548"/>
                </a:cxn>
                <a:cxn ang="0">
                  <a:pos x="378" y="511"/>
                </a:cxn>
                <a:cxn ang="0">
                  <a:pos x="434" y="488"/>
                </a:cxn>
                <a:cxn ang="0">
                  <a:pos x="502" y="480"/>
                </a:cxn>
                <a:cxn ang="0">
                  <a:pos x="514" y="483"/>
                </a:cxn>
                <a:cxn ang="0">
                  <a:pos x="549" y="461"/>
                </a:cxn>
                <a:cxn ang="0">
                  <a:pos x="585" y="359"/>
                </a:cxn>
                <a:cxn ang="0">
                  <a:pos x="615" y="320"/>
                </a:cxn>
                <a:cxn ang="0">
                  <a:pos x="674" y="299"/>
                </a:cxn>
                <a:cxn ang="0">
                  <a:pos x="717" y="229"/>
                </a:cxn>
                <a:cxn ang="0">
                  <a:pos x="722" y="192"/>
                </a:cxn>
                <a:cxn ang="0">
                  <a:pos x="725" y="157"/>
                </a:cxn>
                <a:cxn ang="0">
                  <a:pos x="719" y="140"/>
                </a:cxn>
              </a:cxnLst>
              <a:rect l="0" t="0" r="r" b="b"/>
              <a:pathLst>
                <a:path w="739" h="732">
                  <a:moveTo>
                    <a:pt x="16" y="534"/>
                  </a:moveTo>
                  <a:cubicBezTo>
                    <a:pt x="10" y="548"/>
                    <a:pt x="22" y="548"/>
                    <a:pt x="37" y="548"/>
                  </a:cubicBezTo>
                  <a:cubicBezTo>
                    <a:pt x="32" y="535"/>
                    <a:pt x="16" y="534"/>
                    <a:pt x="16" y="534"/>
                  </a:cubicBezTo>
                  <a:close/>
                  <a:moveTo>
                    <a:pt x="38" y="440"/>
                  </a:moveTo>
                  <a:cubicBezTo>
                    <a:pt x="36" y="461"/>
                    <a:pt x="44" y="460"/>
                    <a:pt x="47" y="462"/>
                  </a:cubicBezTo>
                  <a:cubicBezTo>
                    <a:pt x="50" y="464"/>
                    <a:pt x="51" y="458"/>
                    <a:pt x="51" y="448"/>
                  </a:cubicBezTo>
                  <a:cubicBezTo>
                    <a:pt x="51" y="438"/>
                    <a:pt x="38" y="440"/>
                    <a:pt x="38" y="440"/>
                  </a:cubicBezTo>
                  <a:close/>
                  <a:moveTo>
                    <a:pt x="222" y="703"/>
                  </a:moveTo>
                  <a:cubicBezTo>
                    <a:pt x="219" y="694"/>
                    <a:pt x="219" y="694"/>
                    <a:pt x="219" y="694"/>
                  </a:cubicBezTo>
                  <a:cubicBezTo>
                    <a:pt x="201" y="701"/>
                    <a:pt x="201" y="701"/>
                    <a:pt x="201" y="701"/>
                  </a:cubicBezTo>
                  <a:cubicBezTo>
                    <a:pt x="203" y="686"/>
                    <a:pt x="203" y="686"/>
                    <a:pt x="203" y="686"/>
                  </a:cubicBezTo>
                  <a:cubicBezTo>
                    <a:pt x="191" y="687"/>
                    <a:pt x="191" y="687"/>
                    <a:pt x="191" y="687"/>
                  </a:cubicBezTo>
                  <a:cubicBezTo>
                    <a:pt x="190" y="693"/>
                    <a:pt x="190" y="693"/>
                    <a:pt x="190" y="693"/>
                  </a:cubicBezTo>
                  <a:cubicBezTo>
                    <a:pt x="200" y="708"/>
                    <a:pt x="200" y="708"/>
                    <a:pt x="200" y="708"/>
                  </a:cubicBezTo>
                  <a:cubicBezTo>
                    <a:pt x="211" y="706"/>
                    <a:pt x="211" y="706"/>
                    <a:pt x="211" y="706"/>
                  </a:cubicBezTo>
                  <a:cubicBezTo>
                    <a:pt x="230" y="714"/>
                    <a:pt x="230" y="714"/>
                    <a:pt x="230" y="714"/>
                  </a:cubicBezTo>
                  <a:cubicBezTo>
                    <a:pt x="238" y="725"/>
                    <a:pt x="246" y="718"/>
                    <a:pt x="250" y="719"/>
                  </a:cubicBezTo>
                  <a:cubicBezTo>
                    <a:pt x="241" y="705"/>
                    <a:pt x="222" y="703"/>
                    <a:pt x="222" y="703"/>
                  </a:cubicBezTo>
                  <a:close/>
                  <a:moveTo>
                    <a:pt x="719" y="140"/>
                  </a:moveTo>
                  <a:cubicBezTo>
                    <a:pt x="719" y="139"/>
                    <a:pt x="719" y="139"/>
                    <a:pt x="719" y="139"/>
                  </a:cubicBezTo>
                  <a:cubicBezTo>
                    <a:pt x="707" y="141"/>
                    <a:pt x="707" y="141"/>
                    <a:pt x="707" y="141"/>
                  </a:cubicBezTo>
                  <a:cubicBezTo>
                    <a:pt x="683" y="117"/>
                    <a:pt x="683" y="117"/>
                    <a:pt x="683" y="117"/>
                  </a:cubicBezTo>
                  <a:cubicBezTo>
                    <a:pt x="658" y="123"/>
                    <a:pt x="658" y="123"/>
                    <a:pt x="658" y="123"/>
                  </a:cubicBezTo>
                  <a:cubicBezTo>
                    <a:pt x="651" y="103"/>
                    <a:pt x="651" y="103"/>
                    <a:pt x="651" y="103"/>
                  </a:cubicBezTo>
                  <a:cubicBezTo>
                    <a:pt x="651" y="103"/>
                    <a:pt x="638" y="96"/>
                    <a:pt x="631" y="91"/>
                  </a:cubicBezTo>
                  <a:cubicBezTo>
                    <a:pt x="623" y="0"/>
                    <a:pt x="561" y="75"/>
                    <a:pt x="561" y="75"/>
                  </a:cubicBezTo>
                  <a:cubicBezTo>
                    <a:pt x="541" y="75"/>
                    <a:pt x="541" y="75"/>
                    <a:pt x="541" y="75"/>
                  </a:cubicBezTo>
                  <a:cubicBezTo>
                    <a:pt x="537" y="48"/>
                    <a:pt x="537" y="48"/>
                    <a:pt x="537" y="48"/>
                  </a:cubicBezTo>
                  <a:cubicBezTo>
                    <a:pt x="537" y="48"/>
                    <a:pt x="531" y="49"/>
                    <a:pt x="519" y="49"/>
                  </a:cubicBezTo>
                  <a:cubicBezTo>
                    <a:pt x="507" y="49"/>
                    <a:pt x="521" y="24"/>
                    <a:pt x="521" y="24"/>
                  </a:cubicBezTo>
                  <a:cubicBezTo>
                    <a:pt x="521" y="24"/>
                    <a:pt x="498" y="15"/>
                    <a:pt x="494" y="15"/>
                  </a:cubicBezTo>
                  <a:cubicBezTo>
                    <a:pt x="490" y="15"/>
                    <a:pt x="498" y="20"/>
                    <a:pt x="494" y="28"/>
                  </a:cubicBezTo>
                  <a:cubicBezTo>
                    <a:pt x="490" y="36"/>
                    <a:pt x="482" y="25"/>
                    <a:pt x="482" y="25"/>
                  </a:cubicBezTo>
                  <a:cubicBezTo>
                    <a:pt x="467" y="37"/>
                    <a:pt x="467" y="37"/>
                    <a:pt x="467" y="37"/>
                  </a:cubicBezTo>
                  <a:cubicBezTo>
                    <a:pt x="461" y="32"/>
                    <a:pt x="461" y="32"/>
                    <a:pt x="461" y="32"/>
                  </a:cubicBezTo>
                  <a:cubicBezTo>
                    <a:pt x="461" y="32"/>
                    <a:pt x="446" y="31"/>
                    <a:pt x="439" y="31"/>
                  </a:cubicBezTo>
                  <a:cubicBezTo>
                    <a:pt x="434" y="45"/>
                    <a:pt x="411" y="45"/>
                    <a:pt x="411" y="45"/>
                  </a:cubicBezTo>
                  <a:cubicBezTo>
                    <a:pt x="407" y="36"/>
                    <a:pt x="407" y="36"/>
                    <a:pt x="407" y="36"/>
                  </a:cubicBezTo>
                  <a:cubicBezTo>
                    <a:pt x="407" y="36"/>
                    <a:pt x="391" y="37"/>
                    <a:pt x="391" y="47"/>
                  </a:cubicBezTo>
                  <a:cubicBezTo>
                    <a:pt x="391" y="56"/>
                    <a:pt x="366" y="32"/>
                    <a:pt x="366" y="32"/>
                  </a:cubicBezTo>
                  <a:cubicBezTo>
                    <a:pt x="366" y="32"/>
                    <a:pt x="353" y="28"/>
                    <a:pt x="343" y="23"/>
                  </a:cubicBezTo>
                  <a:cubicBezTo>
                    <a:pt x="338" y="30"/>
                    <a:pt x="331" y="31"/>
                    <a:pt x="321" y="28"/>
                  </a:cubicBezTo>
                  <a:cubicBezTo>
                    <a:pt x="319" y="51"/>
                    <a:pt x="319" y="51"/>
                    <a:pt x="319" y="51"/>
                  </a:cubicBezTo>
                  <a:cubicBezTo>
                    <a:pt x="326" y="83"/>
                    <a:pt x="326" y="83"/>
                    <a:pt x="326" y="83"/>
                  </a:cubicBezTo>
                  <a:cubicBezTo>
                    <a:pt x="326" y="83"/>
                    <a:pt x="322" y="77"/>
                    <a:pt x="314" y="105"/>
                  </a:cubicBezTo>
                  <a:cubicBezTo>
                    <a:pt x="322" y="197"/>
                    <a:pt x="331" y="179"/>
                    <a:pt x="317" y="191"/>
                  </a:cubicBezTo>
                  <a:cubicBezTo>
                    <a:pt x="295" y="191"/>
                    <a:pt x="290" y="217"/>
                    <a:pt x="285" y="229"/>
                  </a:cubicBezTo>
                  <a:cubicBezTo>
                    <a:pt x="279" y="241"/>
                    <a:pt x="277" y="255"/>
                    <a:pt x="277" y="255"/>
                  </a:cubicBezTo>
                  <a:cubicBezTo>
                    <a:pt x="246" y="249"/>
                    <a:pt x="246" y="249"/>
                    <a:pt x="246" y="249"/>
                  </a:cubicBezTo>
                  <a:cubicBezTo>
                    <a:pt x="243" y="240"/>
                    <a:pt x="243" y="240"/>
                    <a:pt x="243" y="240"/>
                  </a:cubicBezTo>
                  <a:cubicBezTo>
                    <a:pt x="227" y="233"/>
                    <a:pt x="227" y="233"/>
                    <a:pt x="227" y="233"/>
                  </a:cubicBezTo>
                  <a:cubicBezTo>
                    <a:pt x="225" y="248"/>
                    <a:pt x="225" y="248"/>
                    <a:pt x="225" y="248"/>
                  </a:cubicBezTo>
                  <a:cubicBezTo>
                    <a:pt x="199" y="252"/>
                    <a:pt x="199" y="252"/>
                    <a:pt x="199" y="252"/>
                  </a:cubicBezTo>
                  <a:cubicBezTo>
                    <a:pt x="199" y="252"/>
                    <a:pt x="199" y="252"/>
                    <a:pt x="181" y="273"/>
                  </a:cubicBezTo>
                  <a:cubicBezTo>
                    <a:pt x="153" y="279"/>
                    <a:pt x="121" y="281"/>
                    <a:pt x="121" y="281"/>
                  </a:cubicBezTo>
                  <a:cubicBezTo>
                    <a:pt x="113" y="272"/>
                    <a:pt x="113" y="272"/>
                    <a:pt x="113" y="272"/>
                  </a:cubicBezTo>
                  <a:cubicBezTo>
                    <a:pt x="113" y="272"/>
                    <a:pt x="113" y="272"/>
                    <a:pt x="89" y="299"/>
                  </a:cubicBezTo>
                  <a:cubicBezTo>
                    <a:pt x="82" y="359"/>
                    <a:pt x="43" y="332"/>
                    <a:pt x="43" y="332"/>
                  </a:cubicBezTo>
                  <a:cubicBezTo>
                    <a:pt x="42" y="344"/>
                    <a:pt x="42" y="344"/>
                    <a:pt x="42" y="344"/>
                  </a:cubicBezTo>
                  <a:cubicBezTo>
                    <a:pt x="22" y="344"/>
                    <a:pt x="22" y="344"/>
                    <a:pt x="22" y="344"/>
                  </a:cubicBezTo>
                  <a:cubicBezTo>
                    <a:pt x="14" y="339"/>
                    <a:pt x="14" y="339"/>
                    <a:pt x="14" y="339"/>
                  </a:cubicBezTo>
                  <a:cubicBezTo>
                    <a:pt x="1" y="350"/>
                    <a:pt x="1" y="350"/>
                    <a:pt x="1" y="350"/>
                  </a:cubicBezTo>
                  <a:cubicBezTo>
                    <a:pt x="3" y="354"/>
                    <a:pt x="3" y="354"/>
                    <a:pt x="3" y="354"/>
                  </a:cubicBezTo>
                  <a:cubicBezTo>
                    <a:pt x="0" y="355"/>
                    <a:pt x="0" y="355"/>
                    <a:pt x="0" y="355"/>
                  </a:cubicBezTo>
                  <a:cubicBezTo>
                    <a:pt x="2" y="357"/>
                    <a:pt x="4" y="360"/>
                    <a:pt x="7" y="364"/>
                  </a:cubicBezTo>
                  <a:cubicBezTo>
                    <a:pt x="14" y="363"/>
                    <a:pt x="24" y="359"/>
                    <a:pt x="24" y="359"/>
                  </a:cubicBezTo>
                  <a:cubicBezTo>
                    <a:pt x="24" y="359"/>
                    <a:pt x="39" y="374"/>
                    <a:pt x="45" y="374"/>
                  </a:cubicBezTo>
                  <a:cubicBezTo>
                    <a:pt x="51" y="374"/>
                    <a:pt x="70" y="351"/>
                    <a:pt x="70" y="351"/>
                  </a:cubicBezTo>
                  <a:cubicBezTo>
                    <a:pt x="70" y="351"/>
                    <a:pt x="103" y="344"/>
                    <a:pt x="105" y="349"/>
                  </a:cubicBezTo>
                  <a:cubicBezTo>
                    <a:pt x="107" y="354"/>
                    <a:pt x="96" y="361"/>
                    <a:pt x="96" y="361"/>
                  </a:cubicBezTo>
                  <a:cubicBezTo>
                    <a:pt x="72" y="363"/>
                    <a:pt x="72" y="363"/>
                    <a:pt x="72" y="363"/>
                  </a:cubicBezTo>
                  <a:cubicBezTo>
                    <a:pt x="67" y="376"/>
                    <a:pt x="67" y="376"/>
                    <a:pt x="67" y="376"/>
                  </a:cubicBezTo>
                  <a:cubicBezTo>
                    <a:pt x="71" y="385"/>
                    <a:pt x="71" y="385"/>
                    <a:pt x="71" y="385"/>
                  </a:cubicBezTo>
                  <a:cubicBezTo>
                    <a:pt x="65" y="399"/>
                    <a:pt x="65" y="399"/>
                    <a:pt x="65" y="399"/>
                  </a:cubicBezTo>
                  <a:cubicBezTo>
                    <a:pt x="52" y="399"/>
                    <a:pt x="52" y="399"/>
                    <a:pt x="52" y="399"/>
                  </a:cubicBezTo>
                  <a:cubicBezTo>
                    <a:pt x="52" y="408"/>
                    <a:pt x="52" y="408"/>
                    <a:pt x="52" y="408"/>
                  </a:cubicBezTo>
                  <a:cubicBezTo>
                    <a:pt x="91" y="415"/>
                    <a:pt x="91" y="415"/>
                    <a:pt x="91" y="415"/>
                  </a:cubicBezTo>
                  <a:cubicBezTo>
                    <a:pt x="104" y="444"/>
                    <a:pt x="104" y="444"/>
                    <a:pt x="104" y="444"/>
                  </a:cubicBezTo>
                  <a:cubicBezTo>
                    <a:pt x="95" y="445"/>
                    <a:pt x="95" y="445"/>
                    <a:pt x="95" y="445"/>
                  </a:cubicBezTo>
                  <a:cubicBezTo>
                    <a:pt x="92" y="462"/>
                    <a:pt x="92" y="462"/>
                    <a:pt x="92" y="462"/>
                  </a:cubicBezTo>
                  <a:cubicBezTo>
                    <a:pt x="72" y="483"/>
                    <a:pt x="72" y="483"/>
                    <a:pt x="72" y="483"/>
                  </a:cubicBezTo>
                  <a:cubicBezTo>
                    <a:pt x="69" y="468"/>
                    <a:pt x="69" y="468"/>
                    <a:pt x="69" y="468"/>
                  </a:cubicBezTo>
                  <a:cubicBezTo>
                    <a:pt x="55" y="458"/>
                    <a:pt x="55" y="458"/>
                    <a:pt x="55" y="458"/>
                  </a:cubicBezTo>
                  <a:cubicBezTo>
                    <a:pt x="55" y="465"/>
                    <a:pt x="55" y="465"/>
                    <a:pt x="55" y="465"/>
                  </a:cubicBezTo>
                  <a:cubicBezTo>
                    <a:pt x="55" y="465"/>
                    <a:pt x="62" y="463"/>
                    <a:pt x="63" y="469"/>
                  </a:cubicBezTo>
                  <a:cubicBezTo>
                    <a:pt x="64" y="475"/>
                    <a:pt x="68" y="489"/>
                    <a:pt x="68" y="489"/>
                  </a:cubicBezTo>
                  <a:cubicBezTo>
                    <a:pt x="68" y="489"/>
                    <a:pt x="73" y="508"/>
                    <a:pt x="72" y="511"/>
                  </a:cubicBezTo>
                  <a:cubicBezTo>
                    <a:pt x="91" y="521"/>
                    <a:pt x="103" y="549"/>
                    <a:pt x="103" y="549"/>
                  </a:cubicBezTo>
                  <a:cubicBezTo>
                    <a:pt x="111" y="549"/>
                    <a:pt x="111" y="549"/>
                    <a:pt x="111" y="549"/>
                  </a:cubicBezTo>
                  <a:cubicBezTo>
                    <a:pt x="126" y="569"/>
                    <a:pt x="135" y="611"/>
                    <a:pt x="135" y="611"/>
                  </a:cubicBezTo>
                  <a:cubicBezTo>
                    <a:pt x="135" y="611"/>
                    <a:pt x="135" y="603"/>
                    <a:pt x="149" y="617"/>
                  </a:cubicBezTo>
                  <a:cubicBezTo>
                    <a:pt x="163" y="631"/>
                    <a:pt x="200" y="642"/>
                    <a:pt x="200" y="642"/>
                  </a:cubicBezTo>
                  <a:cubicBezTo>
                    <a:pt x="210" y="658"/>
                    <a:pt x="210" y="658"/>
                    <a:pt x="210" y="658"/>
                  </a:cubicBezTo>
                  <a:cubicBezTo>
                    <a:pt x="210" y="658"/>
                    <a:pt x="229" y="658"/>
                    <a:pt x="235" y="660"/>
                  </a:cubicBezTo>
                  <a:cubicBezTo>
                    <a:pt x="241" y="662"/>
                    <a:pt x="248" y="678"/>
                    <a:pt x="248" y="678"/>
                  </a:cubicBezTo>
                  <a:cubicBezTo>
                    <a:pt x="251" y="669"/>
                    <a:pt x="251" y="669"/>
                    <a:pt x="251" y="669"/>
                  </a:cubicBezTo>
                  <a:cubicBezTo>
                    <a:pt x="265" y="682"/>
                    <a:pt x="265" y="682"/>
                    <a:pt x="265" y="682"/>
                  </a:cubicBezTo>
                  <a:cubicBezTo>
                    <a:pt x="274" y="666"/>
                    <a:pt x="274" y="666"/>
                    <a:pt x="274" y="666"/>
                  </a:cubicBezTo>
                  <a:cubicBezTo>
                    <a:pt x="274" y="666"/>
                    <a:pt x="284" y="675"/>
                    <a:pt x="287" y="680"/>
                  </a:cubicBezTo>
                  <a:cubicBezTo>
                    <a:pt x="290" y="685"/>
                    <a:pt x="262" y="717"/>
                    <a:pt x="262" y="717"/>
                  </a:cubicBezTo>
                  <a:cubicBezTo>
                    <a:pt x="267" y="720"/>
                    <a:pt x="271" y="724"/>
                    <a:pt x="275" y="728"/>
                  </a:cubicBezTo>
                  <a:cubicBezTo>
                    <a:pt x="289" y="723"/>
                    <a:pt x="289" y="723"/>
                    <a:pt x="289" y="723"/>
                  </a:cubicBezTo>
                  <a:cubicBezTo>
                    <a:pt x="322" y="712"/>
                    <a:pt x="322" y="712"/>
                    <a:pt x="322" y="712"/>
                  </a:cubicBezTo>
                  <a:cubicBezTo>
                    <a:pt x="322" y="728"/>
                    <a:pt x="322" y="728"/>
                    <a:pt x="322" y="728"/>
                  </a:cubicBezTo>
                  <a:cubicBezTo>
                    <a:pt x="337" y="729"/>
                    <a:pt x="337" y="729"/>
                    <a:pt x="337" y="729"/>
                  </a:cubicBezTo>
                  <a:cubicBezTo>
                    <a:pt x="346" y="723"/>
                    <a:pt x="346" y="723"/>
                    <a:pt x="346" y="723"/>
                  </a:cubicBezTo>
                  <a:cubicBezTo>
                    <a:pt x="361" y="732"/>
                    <a:pt x="361" y="732"/>
                    <a:pt x="361" y="732"/>
                  </a:cubicBezTo>
                  <a:cubicBezTo>
                    <a:pt x="361" y="732"/>
                    <a:pt x="378" y="728"/>
                    <a:pt x="385" y="728"/>
                  </a:cubicBezTo>
                  <a:cubicBezTo>
                    <a:pt x="391" y="728"/>
                    <a:pt x="391" y="717"/>
                    <a:pt x="391" y="717"/>
                  </a:cubicBezTo>
                  <a:cubicBezTo>
                    <a:pt x="391" y="717"/>
                    <a:pt x="421" y="719"/>
                    <a:pt x="398" y="699"/>
                  </a:cubicBezTo>
                  <a:cubicBezTo>
                    <a:pt x="389" y="707"/>
                    <a:pt x="389" y="707"/>
                    <a:pt x="389" y="707"/>
                  </a:cubicBezTo>
                  <a:cubicBezTo>
                    <a:pt x="393" y="684"/>
                    <a:pt x="393" y="684"/>
                    <a:pt x="393" y="684"/>
                  </a:cubicBezTo>
                  <a:cubicBezTo>
                    <a:pt x="383" y="664"/>
                    <a:pt x="383" y="664"/>
                    <a:pt x="383" y="664"/>
                  </a:cubicBezTo>
                  <a:cubicBezTo>
                    <a:pt x="394" y="664"/>
                    <a:pt x="394" y="664"/>
                    <a:pt x="394" y="664"/>
                  </a:cubicBezTo>
                  <a:cubicBezTo>
                    <a:pt x="394" y="627"/>
                    <a:pt x="394" y="627"/>
                    <a:pt x="394" y="627"/>
                  </a:cubicBezTo>
                  <a:cubicBezTo>
                    <a:pt x="383" y="627"/>
                    <a:pt x="383" y="627"/>
                    <a:pt x="383" y="627"/>
                  </a:cubicBezTo>
                  <a:cubicBezTo>
                    <a:pt x="386" y="605"/>
                    <a:pt x="386" y="605"/>
                    <a:pt x="386" y="605"/>
                  </a:cubicBezTo>
                  <a:cubicBezTo>
                    <a:pt x="371" y="585"/>
                    <a:pt x="371" y="585"/>
                    <a:pt x="371" y="585"/>
                  </a:cubicBezTo>
                  <a:cubicBezTo>
                    <a:pt x="378" y="573"/>
                    <a:pt x="378" y="573"/>
                    <a:pt x="378" y="573"/>
                  </a:cubicBezTo>
                  <a:cubicBezTo>
                    <a:pt x="353" y="548"/>
                    <a:pt x="353" y="548"/>
                    <a:pt x="353" y="548"/>
                  </a:cubicBezTo>
                  <a:cubicBezTo>
                    <a:pt x="357" y="537"/>
                    <a:pt x="357" y="537"/>
                    <a:pt x="357" y="537"/>
                  </a:cubicBezTo>
                  <a:cubicBezTo>
                    <a:pt x="357" y="537"/>
                    <a:pt x="337" y="532"/>
                    <a:pt x="339" y="523"/>
                  </a:cubicBezTo>
                  <a:cubicBezTo>
                    <a:pt x="342" y="513"/>
                    <a:pt x="371" y="503"/>
                    <a:pt x="378" y="511"/>
                  </a:cubicBezTo>
                  <a:cubicBezTo>
                    <a:pt x="385" y="519"/>
                    <a:pt x="413" y="501"/>
                    <a:pt x="413" y="501"/>
                  </a:cubicBezTo>
                  <a:cubicBezTo>
                    <a:pt x="415" y="485"/>
                    <a:pt x="415" y="485"/>
                    <a:pt x="415" y="485"/>
                  </a:cubicBezTo>
                  <a:cubicBezTo>
                    <a:pt x="434" y="488"/>
                    <a:pt x="434" y="488"/>
                    <a:pt x="434" y="488"/>
                  </a:cubicBezTo>
                  <a:cubicBezTo>
                    <a:pt x="433" y="496"/>
                    <a:pt x="433" y="496"/>
                    <a:pt x="433" y="496"/>
                  </a:cubicBezTo>
                  <a:cubicBezTo>
                    <a:pt x="459" y="481"/>
                    <a:pt x="459" y="481"/>
                    <a:pt x="459" y="481"/>
                  </a:cubicBezTo>
                  <a:cubicBezTo>
                    <a:pt x="502" y="480"/>
                    <a:pt x="502" y="480"/>
                    <a:pt x="502" y="480"/>
                  </a:cubicBezTo>
                  <a:cubicBezTo>
                    <a:pt x="499" y="492"/>
                    <a:pt x="499" y="492"/>
                    <a:pt x="499" y="492"/>
                  </a:cubicBezTo>
                  <a:cubicBezTo>
                    <a:pt x="509" y="492"/>
                    <a:pt x="509" y="492"/>
                    <a:pt x="509" y="492"/>
                  </a:cubicBezTo>
                  <a:cubicBezTo>
                    <a:pt x="514" y="483"/>
                    <a:pt x="514" y="483"/>
                    <a:pt x="514" y="483"/>
                  </a:cubicBezTo>
                  <a:cubicBezTo>
                    <a:pt x="519" y="484"/>
                    <a:pt x="519" y="484"/>
                    <a:pt x="519" y="484"/>
                  </a:cubicBezTo>
                  <a:cubicBezTo>
                    <a:pt x="519" y="484"/>
                    <a:pt x="518" y="464"/>
                    <a:pt x="549" y="464"/>
                  </a:cubicBezTo>
                  <a:cubicBezTo>
                    <a:pt x="549" y="463"/>
                    <a:pt x="549" y="462"/>
                    <a:pt x="549" y="461"/>
                  </a:cubicBezTo>
                  <a:cubicBezTo>
                    <a:pt x="546" y="433"/>
                    <a:pt x="575" y="399"/>
                    <a:pt x="575" y="399"/>
                  </a:cubicBezTo>
                  <a:cubicBezTo>
                    <a:pt x="569" y="387"/>
                    <a:pt x="569" y="387"/>
                    <a:pt x="569" y="387"/>
                  </a:cubicBezTo>
                  <a:cubicBezTo>
                    <a:pt x="569" y="387"/>
                    <a:pt x="581" y="369"/>
                    <a:pt x="585" y="359"/>
                  </a:cubicBezTo>
                  <a:cubicBezTo>
                    <a:pt x="578" y="351"/>
                    <a:pt x="589" y="323"/>
                    <a:pt x="589" y="323"/>
                  </a:cubicBezTo>
                  <a:cubicBezTo>
                    <a:pt x="626" y="335"/>
                    <a:pt x="626" y="335"/>
                    <a:pt x="626" y="335"/>
                  </a:cubicBezTo>
                  <a:cubicBezTo>
                    <a:pt x="615" y="320"/>
                    <a:pt x="615" y="320"/>
                    <a:pt x="615" y="320"/>
                  </a:cubicBezTo>
                  <a:cubicBezTo>
                    <a:pt x="615" y="320"/>
                    <a:pt x="626" y="313"/>
                    <a:pt x="625" y="311"/>
                  </a:cubicBezTo>
                  <a:cubicBezTo>
                    <a:pt x="642" y="329"/>
                    <a:pt x="641" y="307"/>
                    <a:pt x="641" y="307"/>
                  </a:cubicBezTo>
                  <a:cubicBezTo>
                    <a:pt x="641" y="307"/>
                    <a:pt x="670" y="300"/>
                    <a:pt x="674" y="299"/>
                  </a:cubicBezTo>
                  <a:cubicBezTo>
                    <a:pt x="658" y="293"/>
                    <a:pt x="690" y="272"/>
                    <a:pt x="690" y="272"/>
                  </a:cubicBezTo>
                  <a:cubicBezTo>
                    <a:pt x="690" y="272"/>
                    <a:pt x="703" y="252"/>
                    <a:pt x="707" y="248"/>
                  </a:cubicBezTo>
                  <a:cubicBezTo>
                    <a:pt x="707" y="233"/>
                    <a:pt x="717" y="229"/>
                    <a:pt x="717" y="229"/>
                  </a:cubicBezTo>
                  <a:cubicBezTo>
                    <a:pt x="725" y="219"/>
                    <a:pt x="725" y="219"/>
                    <a:pt x="725" y="219"/>
                  </a:cubicBezTo>
                  <a:cubicBezTo>
                    <a:pt x="718" y="205"/>
                    <a:pt x="718" y="205"/>
                    <a:pt x="718" y="205"/>
                  </a:cubicBezTo>
                  <a:cubicBezTo>
                    <a:pt x="722" y="192"/>
                    <a:pt x="722" y="192"/>
                    <a:pt x="722" y="192"/>
                  </a:cubicBezTo>
                  <a:cubicBezTo>
                    <a:pt x="714" y="180"/>
                    <a:pt x="714" y="180"/>
                    <a:pt x="714" y="180"/>
                  </a:cubicBezTo>
                  <a:cubicBezTo>
                    <a:pt x="725" y="175"/>
                    <a:pt x="725" y="175"/>
                    <a:pt x="725" y="175"/>
                  </a:cubicBezTo>
                  <a:cubicBezTo>
                    <a:pt x="725" y="157"/>
                    <a:pt x="725" y="157"/>
                    <a:pt x="725" y="157"/>
                  </a:cubicBezTo>
                  <a:cubicBezTo>
                    <a:pt x="739" y="156"/>
                    <a:pt x="739" y="156"/>
                    <a:pt x="739" y="156"/>
                  </a:cubicBezTo>
                  <a:cubicBezTo>
                    <a:pt x="739" y="147"/>
                    <a:pt x="739" y="147"/>
                    <a:pt x="739" y="147"/>
                  </a:cubicBezTo>
                  <a:lnTo>
                    <a:pt x="719" y="14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3" name="POitou-Charentes" descr="© INSCALE GmbH, 05.05.2010&#10;http://www.presentationload.com/">
              <a:extLst>
                <a:ext uri="{FF2B5EF4-FFF2-40B4-BE49-F238E27FC236}">
                  <a16:creationId xmlns:a16="http://schemas.microsoft.com/office/drawing/2014/main" id="{3AE2A17A-E1A4-415C-BCBD-27B07359DE41}"/>
                </a:ext>
              </a:extLst>
            </p:cNvPr>
            <p:cNvSpPr>
              <a:spLocks noEditPoints="1"/>
            </p:cNvSpPr>
            <p:nvPr/>
          </p:nvSpPr>
          <p:spPr bwMode="gray">
            <a:xfrm>
              <a:off x="881" y="1507"/>
              <a:ext cx="619" cy="717"/>
            </a:xfrm>
            <a:custGeom>
              <a:avLst/>
              <a:gdLst/>
              <a:ahLst/>
              <a:cxnLst>
                <a:cxn ang="0">
                  <a:pos x="39" y="333"/>
                </a:cxn>
                <a:cxn ang="0">
                  <a:pos x="19" y="308"/>
                </a:cxn>
                <a:cxn ang="0">
                  <a:pos x="6" y="327"/>
                </a:cxn>
                <a:cxn ang="0">
                  <a:pos x="32" y="355"/>
                </a:cxn>
                <a:cxn ang="0">
                  <a:pos x="46" y="345"/>
                </a:cxn>
                <a:cxn ang="0">
                  <a:pos x="559" y="229"/>
                </a:cxn>
                <a:cxn ang="0">
                  <a:pos x="533" y="197"/>
                </a:cxn>
                <a:cxn ang="0">
                  <a:pos x="486" y="111"/>
                </a:cxn>
                <a:cxn ang="0">
                  <a:pos x="434" y="52"/>
                </a:cxn>
                <a:cxn ang="0">
                  <a:pos x="419" y="65"/>
                </a:cxn>
                <a:cxn ang="0">
                  <a:pos x="393" y="67"/>
                </a:cxn>
                <a:cxn ang="0">
                  <a:pos x="382" y="39"/>
                </a:cxn>
                <a:cxn ang="0">
                  <a:pos x="369" y="28"/>
                </a:cxn>
                <a:cxn ang="0">
                  <a:pos x="355" y="21"/>
                </a:cxn>
                <a:cxn ang="0">
                  <a:pos x="299" y="20"/>
                </a:cxn>
                <a:cxn ang="0">
                  <a:pos x="289" y="28"/>
                </a:cxn>
                <a:cxn ang="0">
                  <a:pos x="282" y="16"/>
                </a:cxn>
                <a:cxn ang="0">
                  <a:pos x="213" y="32"/>
                </a:cxn>
                <a:cxn ang="0">
                  <a:pos x="195" y="21"/>
                </a:cxn>
                <a:cxn ang="0">
                  <a:pos x="158" y="47"/>
                </a:cxn>
                <a:cxn ang="0">
                  <a:pos x="137" y="73"/>
                </a:cxn>
                <a:cxn ang="0">
                  <a:pos x="158" y="109"/>
                </a:cxn>
                <a:cxn ang="0">
                  <a:pos x="166" y="141"/>
                </a:cxn>
                <a:cxn ang="0">
                  <a:pos x="174" y="163"/>
                </a:cxn>
                <a:cxn ang="0">
                  <a:pos x="163" y="200"/>
                </a:cxn>
                <a:cxn ang="0">
                  <a:pos x="169" y="243"/>
                </a:cxn>
                <a:cxn ang="0">
                  <a:pos x="171" y="253"/>
                </a:cxn>
                <a:cxn ang="0">
                  <a:pos x="141" y="268"/>
                </a:cxn>
                <a:cxn ang="0">
                  <a:pos x="117" y="265"/>
                </a:cxn>
                <a:cxn ang="0">
                  <a:pos x="102" y="248"/>
                </a:cxn>
                <a:cxn ang="0">
                  <a:pos x="55" y="264"/>
                </a:cxn>
                <a:cxn ang="0">
                  <a:pos x="64" y="309"/>
                </a:cxn>
                <a:cxn ang="0">
                  <a:pos x="69" y="324"/>
                </a:cxn>
                <a:cxn ang="0">
                  <a:pos x="63" y="352"/>
                </a:cxn>
                <a:cxn ang="0">
                  <a:pos x="58" y="367"/>
                </a:cxn>
                <a:cxn ang="0">
                  <a:pos x="44" y="372"/>
                </a:cxn>
                <a:cxn ang="0">
                  <a:pos x="37" y="406"/>
                </a:cxn>
                <a:cxn ang="0">
                  <a:pos x="80" y="427"/>
                </a:cxn>
                <a:cxn ang="0">
                  <a:pos x="103" y="454"/>
                </a:cxn>
                <a:cxn ang="0">
                  <a:pos x="147" y="539"/>
                </a:cxn>
                <a:cxn ang="0">
                  <a:pos x="152" y="564"/>
                </a:cxn>
                <a:cxn ang="0">
                  <a:pos x="151" y="581"/>
                </a:cxn>
                <a:cxn ang="0">
                  <a:pos x="171" y="593"/>
                </a:cxn>
                <a:cxn ang="0">
                  <a:pos x="210" y="643"/>
                </a:cxn>
                <a:cxn ang="0">
                  <a:pos x="293" y="652"/>
                </a:cxn>
                <a:cxn ang="0">
                  <a:pos x="327" y="625"/>
                </a:cxn>
                <a:cxn ang="0">
                  <a:pos x="357" y="597"/>
                </a:cxn>
                <a:cxn ang="0">
                  <a:pos x="405" y="524"/>
                </a:cxn>
                <a:cxn ang="0">
                  <a:pos x="411" y="495"/>
                </a:cxn>
                <a:cxn ang="0">
                  <a:pos x="461" y="451"/>
                </a:cxn>
                <a:cxn ang="0">
                  <a:pos x="481" y="439"/>
                </a:cxn>
                <a:cxn ang="0">
                  <a:pos x="487" y="395"/>
                </a:cxn>
                <a:cxn ang="0">
                  <a:pos x="513" y="391"/>
                </a:cxn>
                <a:cxn ang="0">
                  <a:pos x="490" y="332"/>
                </a:cxn>
                <a:cxn ang="0">
                  <a:pos x="494" y="301"/>
                </a:cxn>
                <a:cxn ang="0">
                  <a:pos x="529" y="287"/>
                </a:cxn>
                <a:cxn ang="0">
                  <a:pos x="555" y="263"/>
                </a:cxn>
                <a:cxn ang="0">
                  <a:pos x="570" y="252"/>
                </a:cxn>
              </a:cxnLst>
              <a:rect l="0" t="0" r="r" b="b"/>
              <a:pathLst>
                <a:path w="574" h="665">
                  <a:moveTo>
                    <a:pt x="46" y="345"/>
                  </a:moveTo>
                  <a:cubicBezTo>
                    <a:pt x="39" y="333"/>
                    <a:pt x="39" y="333"/>
                    <a:pt x="39" y="333"/>
                  </a:cubicBezTo>
                  <a:cubicBezTo>
                    <a:pt x="38" y="311"/>
                    <a:pt x="38" y="311"/>
                    <a:pt x="38" y="311"/>
                  </a:cubicBezTo>
                  <a:cubicBezTo>
                    <a:pt x="19" y="308"/>
                    <a:pt x="19" y="308"/>
                    <a:pt x="19" y="308"/>
                  </a:cubicBezTo>
                  <a:cubicBezTo>
                    <a:pt x="4" y="289"/>
                    <a:pt x="4" y="289"/>
                    <a:pt x="4" y="289"/>
                  </a:cubicBezTo>
                  <a:cubicBezTo>
                    <a:pt x="0" y="293"/>
                    <a:pt x="6" y="327"/>
                    <a:pt x="6" y="327"/>
                  </a:cubicBezTo>
                  <a:cubicBezTo>
                    <a:pt x="19" y="337"/>
                    <a:pt x="19" y="337"/>
                    <a:pt x="19" y="337"/>
                  </a:cubicBezTo>
                  <a:cubicBezTo>
                    <a:pt x="32" y="355"/>
                    <a:pt x="32" y="355"/>
                    <a:pt x="32" y="355"/>
                  </a:cubicBezTo>
                  <a:cubicBezTo>
                    <a:pt x="36" y="368"/>
                    <a:pt x="36" y="368"/>
                    <a:pt x="36" y="368"/>
                  </a:cubicBezTo>
                  <a:lnTo>
                    <a:pt x="46" y="345"/>
                  </a:lnTo>
                  <a:close/>
                  <a:moveTo>
                    <a:pt x="574" y="241"/>
                  </a:moveTo>
                  <a:cubicBezTo>
                    <a:pt x="574" y="241"/>
                    <a:pt x="563" y="236"/>
                    <a:pt x="559" y="229"/>
                  </a:cubicBezTo>
                  <a:cubicBezTo>
                    <a:pt x="553" y="187"/>
                    <a:pt x="534" y="208"/>
                    <a:pt x="534" y="208"/>
                  </a:cubicBezTo>
                  <a:cubicBezTo>
                    <a:pt x="534" y="208"/>
                    <a:pt x="537" y="199"/>
                    <a:pt x="533" y="197"/>
                  </a:cubicBezTo>
                  <a:cubicBezTo>
                    <a:pt x="505" y="196"/>
                    <a:pt x="510" y="167"/>
                    <a:pt x="511" y="153"/>
                  </a:cubicBezTo>
                  <a:cubicBezTo>
                    <a:pt x="479" y="120"/>
                    <a:pt x="503" y="127"/>
                    <a:pt x="486" y="111"/>
                  </a:cubicBezTo>
                  <a:cubicBezTo>
                    <a:pt x="469" y="95"/>
                    <a:pt x="466" y="63"/>
                    <a:pt x="466" y="63"/>
                  </a:cubicBezTo>
                  <a:cubicBezTo>
                    <a:pt x="434" y="52"/>
                    <a:pt x="434" y="52"/>
                    <a:pt x="434" y="52"/>
                  </a:cubicBezTo>
                  <a:cubicBezTo>
                    <a:pt x="442" y="65"/>
                    <a:pt x="442" y="65"/>
                    <a:pt x="442" y="65"/>
                  </a:cubicBezTo>
                  <a:cubicBezTo>
                    <a:pt x="419" y="65"/>
                    <a:pt x="419" y="65"/>
                    <a:pt x="419" y="65"/>
                  </a:cubicBezTo>
                  <a:cubicBezTo>
                    <a:pt x="405" y="73"/>
                    <a:pt x="405" y="73"/>
                    <a:pt x="405" y="73"/>
                  </a:cubicBezTo>
                  <a:cubicBezTo>
                    <a:pt x="393" y="67"/>
                    <a:pt x="393" y="67"/>
                    <a:pt x="393" y="67"/>
                  </a:cubicBezTo>
                  <a:cubicBezTo>
                    <a:pt x="393" y="67"/>
                    <a:pt x="394" y="73"/>
                    <a:pt x="382" y="69"/>
                  </a:cubicBezTo>
                  <a:cubicBezTo>
                    <a:pt x="370" y="65"/>
                    <a:pt x="382" y="39"/>
                    <a:pt x="382" y="39"/>
                  </a:cubicBezTo>
                  <a:cubicBezTo>
                    <a:pt x="373" y="35"/>
                    <a:pt x="373" y="35"/>
                    <a:pt x="373" y="35"/>
                  </a:cubicBezTo>
                  <a:cubicBezTo>
                    <a:pt x="369" y="28"/>
                    <a:pt x="369" y="28"/>
                    <a:pt x="369" y="28"/>
                  </a:cubicBezTo>
                  <a:cubicBezTo>
                    <a:pt x="355" y="35"/>
                    <a:pt x="355" y="35"/>
                    <a:pt x="355" y="35"/>
                  </a:cubicBezTo>
                  <a:cubicBezTo>
                    <a:pt x="355" y="21"/>
                    <a:pt x="355" y="21"/>
                    <a:pt x="355" y="21"/>
                  </a:cubicBezTo>
                  <a:cubicBezTo>
                    <a:pt x="355" y="21"/>
                    <a:pt x="333" y="25"/>
                    <a:pt x="329" y="0"/>
                  </a:cubicBezTo>
                  <a:cubicBezTo>
                    <a:pt x="298" y="0"/>
                    <a:pt x="299" y="20"/>
                    <a:pt x="299" y="20"/>
                  </a:cubicBezTo>
                  <a:cubicBezTo>
                    <a:pt x="294" y="19"/>
                    <a:pt x="294" y="19"/>
                    <a:pt x="294" y="19"/>
                  </a:cubicBezTo>
                  <a:cubicBezTo>
                    <a:pt x="289" y="28"/>
                    <a:pt x="289" y="28"/>
                    <a:pt x="289" y="28"/>
                  </a:cubicBezTo>
                  <a:cubicBezTo>
                    <a:pt x="279" y="28"/>
                    <a:pt x="279" y="28"/>
                    <a:pt x="279" y="28"/>
                  </a:cubicBezTo>
                  <a:cubicBezTo>
                    <a:pt x="282" y="16"/>
                    <a:pt x="282" y="16"/>
                    <a:pt x="282" y="16"/>
                  </a:cubicBezTo>
                  <a:cubicBezTo>
                    <a:pt x="239" y="17"/>
                    <a:pt x="239" y="17"/>
                    <a:pt x="239" y="17"/>
                  </a:cubicBezTo>
                  <a:cubicBezTo>
                    <a:pt x="213" y="32"/>
                    <a:pt x="213" y="32"/>
                    <a:pt x="213" y="32"/>
                  </a:cubicBezTo>
                  <a:cubicBezTo>
                    <a:pt x="214" y="24"/>
                    <a:pt x="214" y="24"/>
                    <a:pt x="214" y="24"/>
                  </a:cubicBezTo>
                  <a:cubicBezTo>
                    <a:pt x="195" y="21"/>
                    <a:pt x="195" y="21"/>
                    <a:pt x="195" y="21"/>
                  </a:cubicBezTo>
                  <a:cubicBezTo>
                    <a:pt x="193" y="37"/>
                    <a:pt x="193" y="37"/>
                    <a:pt x="193" y="37"/>
                  </a:cubicBezTo>
                  <a:cubicBezTo>
                    <a:pt x="193" y="37"/>
                    <a:pt x="165" y="55"/>
                    <a:pt x="158" y="47"/>
                  </a:cubicBezTo>
                  <a:cubicBezTo>
                    <a:pt x="151" y="39"/>
                    <a:pt x="122" y="49"/>
                    <a:pt x="119" y="59"/>
                  </a:cubicBezTo>
                  <a:cubicBezTo>
                    <a:pt x="117" y="68"/>
                    <a:pt x="137" y="73"/>
                    <a:pt x="137" y="73"/>
                  </a:cubicBezTo>
                  <a:cubicBezTo>
                    <a:pt x="133" y="84"/>
                    <a:pt x="133" y="84"/>
                    <a:pt x="133" y="84"/>
                  </a:cubicBezTo>
                  <a:cubicBezTo>
                    <a:pt x="158" y="109"/>
                    <a:pt x="158" y="109"/>
                    <a:pt x="158" y="109"/>
                  </a:cubicBezTo>
                  <a:cubicBezTo>
                    <a:pt x="151" y="121"/>
                    <a:pt x="151" y="121"/>
                    <a:pt x="151" y="121"/>
                  </a:cubicBezTo>
                  <a:cubicBezTo>
                    <a:pt x="166" y="141"/>
                    <a:pt x="166" y="141"/>
                    <a:pt x="166" y="141"/>
                  </a:cubicBezTo>
                  <a:cubicBezTo>
                    <a:pt x="163" y="163"/>
                    <a:pt x="163" y="163"/>
                    <a:pt x="163" y="163"/>
                  </a:cubicBezTo>
                  <a:cubicBezTo>
                    <a:pt x="174" y="163"/>
                    <a:pt x="174" y="163"/>
                    <a:pt x="174" y="163"/>
                  </a:cubicBezTo>
                  <a:cubicBezTo>
                    <a:pt x="174" y="200"/>
                    <a:pt x="174" y="200"/>
                    <a:pt x="174" y="200"/>
                  </a:cubicBezTo>
                  <a:cubicBezTo>
                    <a:pt x="163" y="200"/>
                    <a:pt x="163" y="200"/>
                    <a:pt x="163" y="200"/>
                  </a:cubicBezTo>
                  <a:cubicBezTo>
                    <a:pt x="173" y="220"/>
                    <a:pt x="173" y="220"/>
                    <a:pt x="173" y="220"/>
                  </a:cubicBezTo>
                  <a:cubicBezTo>
                    <a:pt x="169" y="243"/>
                    <a:pt x="169" y="243"/>
                    <a:pt x="169" y="243"/>
                  </a:cubicBezTo>
                  <a:cubicBezTo>
                    <a:pt x="178" y="235"/>
                    <a:pt x="178" y="235"/>
                    <a:pt x="178" y="235"/>
                  </a:cubicBezTo>
                  <a:cubicBezTo>
                    <a:pt x="201" y="255"/>
                    <a:pt x="171" y="253"/>
                    <a:pt x="171" y="253"/>
                  </a:cubicBezTo>
                  <a:cubicBezTo>
                    <a:pt x="171" y="253"/>
                    <a:pt x="171" y="264"/>
                    <a:pt x="165" y="264"/>
                  </a:cubicBezTo>
                  <a:cubicBezTo>
                    <a:pt x="158" y="264"/>
                    <a:pt x="141" y="268"/>
                    <a:pt x="141" y="268"/>
                  </a:cubicBezTo>
                  <a:cubicBezTo>
                    <a:pt x="126" y="259"/>
                    <a:pt x="126" y="259"/>
                    <a:pt x="126" y="259"/>
                  </a:cubicBezTo>
                  <a:cubicBezTo>
                    <a:pt x="117" y="265"/>
                    <a:pt x="117" y="265"/>
                    <a:pt x="117" y="265"/>
                  </a:cubicBezTo>
                  <a:cubicBezTo>
                    <a:pt x="102" y="264"/>
                    <a:pt x="102" y="264"/>
                    <a:pt x="102" y="264"/>
                  </a:cubicBezTo>
                  <a:cubicBezTo>
                    <a:pt x="102" y="248"/>
                    <a:pt x="102" y="248"/>
                    <a:pt x="102" y="248"/>
                  </a:cubicBezTo>
                  <a:cubicBezTo>
                    <a:pt x="69" y="259"/>
                    <a:pt x="69" y="259"/>
                    <a:pt x="69" y="259"/>
                  </a:cubicBezTo>
                  <a:cubicBezTo>
                    <a:pt x="55" y="264"/>
                    <a:pt x="55" y="264"/>
                    <a:pt x="55" y="264"/>
                  </a:cubicBezTo>
                  <a:cubicBezTo>
                    <a:pt x="71" y="282"/>
                    <a:pt x="78" y="307"/>
                    <a:pt x="78" y="307"/>
                  </a:cubicBezTo>
                  <a:cubicBezTo>
                    <a:pt x="64" y="309"/>
                    <a:pt x="64" y="309"/>
                    <a:pt x="64" y="309"/>
                  </a:cubicBezTo>
                  <a:cubicBezTo>
                    <a:pt x="69" y="320"/>
                    <a:pt x="69" y="320"/>
                    <a:pt x="69" y="320"/>
                  </a:cubicBezTo>
                  <a:cubicBezTo>
                    <a:pt x="69" y="324"/>
                    <a:pt x="69" y="324"/>
                    <a:pt x="69" y="324"/>
                  </a:cubicBezTo>
                  <a:cubicBezTo>
                    <a:pt x="71" y="335"/>
                    <a:pt x="71" y="335"/>
                    <a:pt x="71" y="335"/>
                  </a:cubicBezTo>
                  <a:cubicBezTo>
                    <a:pt x="63" y="352"/>
                    <a:pt x="63" y="352"/>
                    <a:pt x="63" y="352"/>
                  </a:cubicBezTo>
                  <a:cubicBezTo>
                    <a:pt x="52" y="352"/>
                    <a:pt x="52" y="352"/>
                    <a:pt x="52" y="352"/>
                  </a:cubicBezTo>
                  <a:cubicBezTo>
                    <a:pt x="58" y="367"/>
                    <a:pt x="58" y="367"/>
                    <a:pt x="58" y="367"/>
                  </a:cubicBezTo>
                  <a:cubicBezTo>
                    <a:pt x="67" y="382"/>
                    <a:pt x="67" y="382"/>
                    <a:pt x="67" y="382"/>
                  </a:cubicBezTo>
                  <a:cubicBezTo>
                    <a:pt x="67" y="382"/>
                    <a:pt x="51" y="372"/>
                    <a:pt x="44" y="372"/>
                  </a:cubicBezTo>
                  <a:cubicBezTo>
                    <a:pt x="37" y="372"/>
                    <a:pt x="35" y="378"/>
                    <a:pt x="33" y="389"/>
                  </a:cubicBezTo>
                  <a:cubicBezTo>
                    <a:pt x="31" y="400"/>
                    <a:pt x="37" y="406"/>
                    <a:pt x="37" y="406"/>
                  </a:cubicBezTo>
                  <a:cubicBezTo>
                    <a:pt x="70" y="427"/>
                    <a:pt x="70" y="427"/>
                    <a:pt x="70" y="427"/>
                  </a:cubicBezTo>
                  <a:cubicBezTo>
                    <a:pt x="80" y="427"/>
                    <a:pt x="80" y="427"/>
                    <a:pt x="80" y="427"/>
                  </a:cubicBezTo>
                  <a:cubicBezTo>
                    <a:pt x="93" y="454"/>
                    <a:pt x="93" y="454"/>
                    <a:pt x="93" y="454"/>
                  </a:cubicBezTo>
                  <a:cubicBezTo>
                    <a:pt x="103" y="454"/>
                    <a:pt x="103" y="454"/>
                    <a:pt x="103" y="454"/>
                  </a:cubicBezTo>
                  <a:cubicBezTo>
                    <a:pt x="103" y="454"/>
                    <a:pt x="104" y="457"/>
                    <a:pt x="114" y="462"/>
                  </a:cubicBezTo>
                  <a:cubicBezTo>
                    <a:pt x="124" y="467"/>
                    <a:pt x="147" y="539"/>
                    <a:pt x="147" y="539"/>
                  </a:cubicBezTo>
                  <a:cubicBezTo>
                    <a:pt x="145" y="553"/>
                    <a:pt x="145" y="553"/>
                    <a:pt x="145" y="553"/>
                  </a:cubicBezTo>
                  <a:cubicBezTo>
                    <a:pt x="152" y="564"/>
                    <a:pt x="152" y="564"/>
                    <a:pt x="152" y="564"/>
                  </a:cubicBezTo>
                  <a:cubicBezTo>
                    <a:pt x="148" y="576"/>
                    <a:pt x="148" y="576"/>
                    <a:pt x="148" y="576"/>
                  </a:cubicBezTo>
                  <a:cubicBezTo>
                    <a:pt x="148" y="576"/>
                    <a:pt x="149" y="578"/>
                    <a:pt x="151" y="581"/>
                  </a:cubicBezTo>
                  <a:cubicBezTo>
                    <a:pt x="165" y="580"/>
                    <a:pt x="165" y="580"/>
                    <a:pt x="165" y="580"/>
                  </a:cubicBezTo>
                  <a:cubicBezTo>
                    <a:pt x="171" y="593"/>
                    <a:pt x="171" y="593"/>
                    <a:pt x="171" y="593"/>
                  </a:cubicBezTo>
                  <a:cubicBezTo>
                    <a:pt x="171" y="593"/>
                    <a:pt x="211" y="604"/>
                    <a:pt x="205" y="619"/>
                  </a:cubicBezTo>
                  <a:cubicBezTo>
                    <a:pt x="210" y="637"/>
                    <a:pt x="210" y="643"/>
                    <a:pt x="210" y="643"/>
                  </a:cubicBezTo>
                  <a:cubicBezTo>
                    <a:pt x="210" y="643"/>
                    <a:pt x="218" y="628"/>
                    <a:pt x="235" y="645"/>
                  </a:cubicBezTo>
                  <a:cubicBezTo>
                    <a:pt x="253" y="663"/>
                    <a:pt x="286" y="665"/>
                    <a:pt x="293" y="652"/>
                  </a:cubicBezTo>
                  <a:cubicBezTo>
                    <a:pt x="299" y="639"/>
                    <a:pt x="315" y="616"/>
                    <a:pt x="315" y="616"/>
                  </a:cubicBezTo>
                  <a:cubicBezTo>
                    <a:pt x="315" y="616"/>
                    <a:pt x="323" y="625"/>
                    <a:pt x="327" y="625"/>
                  </a:cubicBezTo>
                  <a:cubicBezTo>
                    <a:pt x="331" y="625"/>
                    <a:pt x="350" y="597"/>
                    <a:pt x="350" y="597"/>
                  </a:cubicBezTo>
                  <a:cubicBezTo>
                    <a:pt x="357" y="597"/>
                    <a:pt x="357" y="597"/>
                    <a:pt x="357" y="597"/>
                  </a:cubicBezTo>
                  <a:cubicBezTo>
                    <a:pt x="357" y="597"/>
                    <a:pt x="345" y="544"/>
                    <a:pt x="397" y="537"/>
                  </a:cubicBezTo>
                  <a:cubicBezTo>
                    <a:pt x="401" y="523"/>
                    <a:pt x="405" y="524"/>
                    <a:pt x="405" y="524"/>
                  </a:cubicBezTo>
                  <a:cubicBezTo>
                    <a:pt x="417" y="523"/>
                    <a:pt x="417" y="523"/>
                    <a:pt x="417" y="523"/>
                  </a:cubicBezTo>
                  <a:cubicBezTo>
                    <a:pt x="417" y="523"/>
                    <a:pt x="407" y="495"/>
                    <a:pt x="411" y="495"/>
                  </a:cubicBezTo>
                  <a:cubicBezTo>
                    <a:pt x="415" y="495"/>
                    <a:pt x="426" y="493"/>
                    <a:pt x="426" y="493"/>
                  </a:cubicBezTo>
                  <a:cubicBezTo>
                    <a:pt x="461" y="451"/>
                    <a:pt x="461" y="451"/>
                    <a:pt x="461" y="451"/>
                  </a:cubicBezTo>
                  <a:cubicBezTo>
                    <a:pt x="461" y="443"/>
                    <a:pt x="461" y="443"/>
                    <a:pt x="461" y="443"/>
                  </a:cubicBezTo>
                  <a:cubicBezTo>
                    <a:pt x="481" y="439"/>
                    <a:pt x="481" y="439"/>
                    <a:pt x="481" y="439"/>
                  </a:cubicBezTo>
                  <a:cubicBezTo>
                    <a:pt x="489" y="413"/>
                    <a:pt x="489" y="413"/>
                    <a:pt x="489" y="413"/>
                  </a:cubicBezTo>
                  <a:cubicBezTo>
                    <a:pt x="489" y="413"/>
                    <a:pt x="483" y="393"/>
                    <a:pt x="487" y="395"/>
                  </a:cubicBezTo>
                  <a:cubicBezTo>
                    <a:pt x="491" y="396"/>
                    <a:pt x="501" y="399"/>
                    <a:pt x="501" y="399"/>
                  </a:cubicBezTo>
                  <a:cubicBezTo>
                    <a:pt x="513" y="391"/>
                    <a:pt x="513" y="391"/>
                    <a:pt x="513" y="391"/>
                  </a:cubicBezTo>
                  <a:cubicBezTo>
                    <a:pt x="506" y="371"/>
                    <a:pt x="506" y="371"/>
                    <a:pt x="506" y="371"/>
                  </a:cubicBezTo>
                  <a:cubicBezTo>
                    <a:pt x="506" y="371"/>
                    <a:pt x="478" y="372"/>
                    <a:pt x="490" y="332"/>
                  </a:cubicBezTo>
                  <a:cubicBezTo>
                    <a:pt x="482" y="311"/>
                    <a:pt x="482" y="311"/>
                    <a:pt x="482" y="311"/>
                  </a:cubicBezTo>
                  <a:cubicBezTo>
                    <a:pt x="494" y="301"/>
                    <a:pt x="494" y="301"/>
                    <a:pt x="494" y="301"/>
                  </a:cubicBezTo>
                  <a:cubicBezTo>
                    <a:pt x="510" y="285"/>
                    <a:pt x="510" y="285"/>
                    <a:pt x="510" y="285"/>
                  </a:cubicBezTo>
                  <a:cubicBezTo>
                    <a:pt x="529" y="287"/>
                    <a:pt x="529" y="287"/>
                    <a:pt x="529" y="287"/>
                  </a:cubicBezTo>
                  <a:cubicBezTo>
                    <a:pt x="541" y="261"/>
                    <a:pt x="541" y="261"/>
                    <a:pt x="541" y="261"/>
                  </a:cubicBezTo>
                  <a:cubicBezTo>
                    <a:pt x="555" y="263"/>
                    <a:pt x="555" y="263"/>
                    <a:pt x="555" y="263"/>
                  </a:cubicBezTo>
                  <a:cubicBezTo>
                    <a:pt x="573" y="256"/>
                    <a:pt x="573" y="256"/>
                    <a:pt x="573" y="256"/>
                  </a:cubicBezTo>
                  <a:cubicBezTo>
                    <a:pt x="570" y="252"/>
                    <a:pt x="570" y="252"/>
                    <a:pt x="570" y="252"/>
                  </a:cubicBezTo>
                  <a:lnTo>
                    <a:pt x="574" y="241"/>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4" name="Limousin" descr="© INSCALE GmbH, 05.05.2010&#10;http://www.presentationload.com/">
              <a:extLst>
                <a:ext uri="{FF2B5EF4-FFF2-40B4-BE49-F238E27FC236}">
                  <a16:creationId xmlns:a16="http://schemas.microsoft.com/office/drawing/2014/main" id="{4FA2DC5F-8B28-45E5-99F2-EB35462EE5EB}"/>
                </a:ext>
              </a:extLst>
            </p:cNvPr>
            <p:cNvSpPr>
              <a:spLocks/>
            </p:cNvSpPr>
            <p:nvPr/>
          </p:nvSpPr>
          <p:spPr bwMode="gray">
            <a:xfrm>
              <a:off x="1360" y="1756"/>
              <a:ext cx="473" cy="536"/>
            </a:xfrm>
            <a:custGeom>
              <a:avLst/>
              <a:gdLst/>
              <a:ahLst/>
              <a:cxnLst>
                <a:cxn ang="0">
                  <a:pos x="50" y="266"/>
                </a:cxn>
                <a:cxn ang="0">
                  <a:pos x="97" y="293"/>
                </a:cxn>
                <a:cxn ang="0">
                  <a:pos x="110" y="314"/>
                </a:cxn>
                <a:cxn ang="0">
                  <a:pos x="135" y="337"/>
                </a:cxn>
                <a:cxn ang="0">
                  <a:pos x="133" y="369"/>
                </a:cxn>
                <a:cxn ang="0">
                  <a:pos x="141" y="386"/>
                </a:cxn>
                <a:cxn ang="0">
                  <a:pos x="142" y="404"/>
                </a:cxn>
                <a:cxn ang="0">
                  <a:pos x="169" y="426"/>
                </a:cxn>
                <a:cxn ang="0">
                  <a:pos x="175" y="461"/>
                </a:cxn>
                <a:cxn ang="0">
                  <a:pos x="258" y="493"/>
                </a:cxn>
                <a:cxn ang="0">
                  <a:pos x="286" y="481"/>
                </a:cxn>
                <a:cxn ang="0">
                  <a:pos x="319" y="474"/>
                </a:cxn>
                <a:cxn ang="0">
                  <a:pos x="343" y="440"/>
                </a:cxn>
                <a:cxn ang="0">
                  <a:pos x="350" y="412"/>
                </a:cxn>
                <a:cxn ang="0">
                  <a:pos x="363" y="374"/>
                </a:cxn>
                <a:cxn ang="0">
                  <a:pos x="385" y="365"/>
                </a:cxn>
                <a:cxn ang="0">
                  <a:pos x="402" y="348"/>
                </a:cxn>
                <a:cxn ang="0">
                  <a:pos x="410" y="330"/>
                </a:cxn>
                <a:cxn ang="0">
                  <a:pos x="419" y="265"/>
                </a:cxn>
                <a:cxn ang="0">
                  <a:pos x="403" y="193"/>
                </a:cxn>
                <a:cxn ang="0">
                  <a:pos x="438" y="161"/>
                </a:cxn>
                <a:cxn ang="0">
                  <a:pos x="430" y="105"/>
                </a:cxn>
                <a:cxn ang="0">
                  <a:pos x="397" y="54"/>
                </a:cxn>
                <a:cxn ang="0">
                  <a:pos x="375" y="28"/>
                </a:cxn>
                <a:cxn ang="0">
                  <a:pos x="365" y="11"/>
                </a:cxn>
                <a:cxn ang="0">
                  <a:pos x="318" y="13"/>
                </a:cxn>
                <a:cxn ang="0">
                  <a:pos x="250" y="4"/>
                </a:cxn>
                <a:cxn ang="0">
                  <a:pos x="235" y="16"/>
                </a:cxn>
                <a:cxn ang="0">
                  <a:pos x="219" y="13"/>
                </a:cxn>
                <a:cxn ang="0">
                  <a:pos x="201" y="12"/>
                </a:cxn>
                <a:cxn ang="0">
                  <a:pos x="169" y="21"/>
                </a:cxn>
                <a:cxn ang="0">
                  <a:pos x="151" y="28"/>
                </a:cxn>
                <a:cxn ang="0">
                  <a:pos x="129" y="25"/>
                </a:cxn>
                <a:cxn ang="0">
                  <a:pos x="97" y="30"/>
                </a:cxn>
                <a:cxn ang="0">
                  <a:pos x="66" y="54"/>
                </a:cxn>
                <a:cxn ang="0">
                  <a:pos x="38" y="80"/>
                </a:cxn>
                <a:cxn ang="0">
                  <a:pos x="62" y="140"/>
                </a:cxn>
                <a:cxn ang="0">
                  <a:pos x="57" y="168"/>
                </a:cxn>
                <a:cxn ang="0">
                  <a:pos x="45" y="182"/>
                </a:cxn>
                <a:cxn ang="0">
                  <a:pos x="17" y="212"/>
                </a:cxn>
                <a:cxn ang="0">
                  <a:pos x="0" y="240"/>
                </a:cxn>
                <a:cxn ang="0">
                  <a:pos x="31" y="277"/>
                </a:cxn>
              </a:cxnLst>
              <a:rect l="0" t="0" r="r" b="b"/>
              <a:pathLst>
                <a:path w="439" h="497">
                  <a:moveTo>
                    <a:pt x="31" y="277"/>
                  </a:moveTo>
                  <a:cubicBezTo>
                    <a:pt x="38" y="281"/>
                    <a:pt x="50" y="266"/>
                    <a:pt x="50" y="266"/>
                  </a:cubicBezTo>
                  <a:cubicBezTo>
                    <a:pt x="85" y="270"/>
                    <a:pt x="85" y="270"/>
                    <a:pt x="85" y="270"/>
                  </a:cubicBezTo>
                  <a:cubicBezTo>
                    <a:pt x="85" y="270"/>
                    <a:pt x="90" y="293"/>
                    <a:pt x="97" y="293"/>
                  </a:cubicBezTo>
                  <a:cubicBezTo>
                    <a:pt x="103" y="293"/>
                    <a:pt x="115" y="294"/>
                    <a:pt x="115" y="294"/>
                  </a:cubicBezTo>
                  <a:cubicBezTo>
                    <a:pt x="110" y="314"/>
                    <a:pt x="110" y="314"/>
                    <a:pt x="110" y="314"/>
                  </a:cubicBezTo>
                  <a:cubicBezTo>
                    <a:pt x="142" y="336"/>
                    <a:pt x="142" y="336"/>
                    <a:pt x="142" y="336"/>
                  </a:cubicBezTo>
                  <a:cubicBezTo>
                    <a:pt x="135" y="337"/>
                    <a:pt x="135" y="337"/>
                    <a:pt x="135" y="337"/>
                  </a:cubicBezTo>
                  <a:cubicBezTo>
                    <a:pt x="135" y="337"/>
                    <a:pt x="149" y="341"/>
                    <a:pt x="149" y="348"/>
                  </a:cubicBezTo>
                  <a:cubicBezTo>
                    <a:pt x="149" y="354"/>
                    <a:pt x="133" y="369"/>
                    <a:pt x="133" y="369"/>
                  </a:cubicBezTo>
                  <a:cubicBezTo>
                    <a:pt x="133" y="380"/>
                    <a:pt x="133" y="380"/>
                    <a:pt x="133" y="380"/>
                  </a:cubicBezTo>
                  <a:cubicBezTo>
                    <a:pt x="141" y="386"/>
                    <a:pt x="141" y="386"/>
                    <a:pt x="141" y="386"/>
                  </a:cubicBezTo>
                  <a:cubicBezTo>
                    <a:pt x="134" y="402"/>
                    <a:pt x="134" y="402"/>
                    <a:pt x="134" y="402"/>
                  </a:cubicBezTo>
                  <a:cubicBezTo>
                    <a:pt x="142" y="404"/>
                    <a:pt x="142" y="404"/>
                    <a:pt x="142" y="404"/>
                  </a:cubicBezTo>
                  <a:cubicBezTo>
                    <a:pt x="138" y="414"/>
                    <a:pt x="138" y="414"/>
                    <a:pt x="138" y="414"/>
                  </a:cubicBezTo>
                  <a:cubicBezTo>
                    <a:pt x="169" y="426"/>
                    <a:pt x="169" y="426"/>
                    <a:pt x="169" y="426"/>
                  </a:cubicBezTo>
                  <a:cubicBezTo>
                    <a:pt x="163" y="436"/>
                    <a:pt x="163" y="436"/>
                    <a:pt x="163" y="436"/>
                  </a:cubicBezTo>
                  <a:cubicBezTo>
                    <a:pt x="175" y="461"/>
                    <a:pt x="175" y="461"/>
                    <a:pt x="175" y="461"/>
                  </a:cubicBezTo>
                  <a:cubicBezTo>
                    <a:pt x="186" y="454"/>
                    <a:pt x="218" y="458"/>
                    <a:pt x="218" y="458"/>
                  </a:cubicBezTo>
                  <a:cubicBezTo>
                    <a:pt x="218" y="458"/>
                    <a:pt x="247" y="489"/>
                    <a:pt x="258" y="493"/>
                  </a:cubicBezTo>
                  <a:cubicBezTo>
                    <a:pt x="269" y="497"/>
                    <a:pt x="283" y="474"/>
                    <a:pt x="283" y="474"/>
                  </a:cubicBezTo>
                  <a:cubicBezTo>
                    <a:pt x="286" y="481"/>
                    <a:pt x="286" y="481"/>
                    <a:pt x="286" y="481"/>
                  </a:cubicBezTo>
                  <a:cubicBezTo>
                    <a:pt x="298" y="476"/>
                    <a:pt x="298" y="476"/>
                    <a:pt x="298" y="476"/>
                  </a:cubicBezTo>
                  <a:cubicBezTo>
                    <a:pt x="319" y="474"/>
                    <a:pt x="319" y="474"/>
                    <a:pt x="319" y="474"/>
                  </a:cubicBezTo>
                  <a:cubicBezTo>
                    <a:pt x="319" y="474"/>
                    <a:pt x="323" y="468"/>
                    <a:pt x="331" y="466"/>
                  </a:cubicBezTo>
                  <a:cubicBezTo>
                    <a:pt x="319" y="444"/>
                    <a:pt x="343" y="440"/>
                    <a:pt x="343" y="440"/>
                  </a:cubicBezTo>
                  <a:cubicBezTo>
                    <a:pt x="342" y="421"/>
                    <a:pt x="342" y="421"/>
                    <a:pt x="342" y="421"/>
                  </a:cubicBezTo>
                  <a:cubicBezTo>
                    <a:pt x="350" y="412"/>
                    <a:pt x="350" y="412"/>
                    <a:pt x="350" y="412"/>
                  </a:cubicBezTo>
                  <a:cubicBezTo>
                    <a:pt x="346" y="401"/>
                    <a:pt x="346" y="401"/>
                    <a:pt x="346" y="401"/>
                  </a:cubicBezTo>
                  <a:cubicBezTo>
                    <a:pt x="363" y="374"/>
                    <a:pt x="363" y="374"/>
                    <a:pt x="363" y="374"/>
                  </a:cubicBezTo>
                  <a:cubicBezTo>
                    <a:pt x="371" y="366"/>
                    <a:pt x="371" y="366"/>
                    <a:pt x="371" y="366"/>
                  </a:cubicBezTo>
                  <a:cubicBezTo>
                    <a:pt x="385" y="365"/>
                    <a:pt x="385" y="365"/>
                    <a:pt x="385" y="365"/>
                  </a:cubicBezTo>
                  <a:cubicBezTo>
                    <a:pt x="385" y="365"/>
                    <a:pt x="378" y="336"/>
                    <a:pt x="385" y="334"/>
                  </a:cubicBezTo>
                  <a:cubicBezTo>
                    <a:pt x="391" y="333"/>
                    <a:pt x="402" y="348"/>
                    <a:pt x="402" y="348"/>
                  </a:cubicBezTo>
                  <a:cubicBezTo>
                    <a:pt x="421" y="342"/>
                    <a:pt x="421" y="342"/>
                    <a:pt x="421" y="342"/>
                  </a:cubicBezTo>
                  <a:cubicBezTo>
                    <a:pt x="410" y="330"/>
                    <a:pt x="410" y="330"/>
                    <a:pt x="410" y="330"/>
                  </a:cubicBezTo>
                  <a:cubicBezTo>
                    <a:pt x="410" y="330"/>
                    <a:pt x="415" y="325"/>
                    <a:pt x="418" y="293"/>
                  </a:cubicBezTo>
                  <a:cubicBezTo>
                    <a:pt x="399" y="269"/>
                    <a:pt x="419" y="265"/>
                    <a:pt x="419" y="265"/>
                  </a:cubicBezTo>
                  <a:cubicBezTo>
                    <a:pt x="419" y="265"/>
                    <a:pt x="426" y="258"/>
                    <a:pt x="403" y="226"/>
                  </a:cubicBezTo>
                  <a:cubicBezTo>
                    <a:pt x="381" y="194"/>
                    <a:pt x="403" y="193"/>
                    <a:pt x="403" y="193"/>
                  </a:cubicBezTo>
                  <a:cubicBezTo>
                    <a:pt x="403" y="193"/>
                    <a:pt x="414" y="208"/>
                    <a:pt x="419" y="185"/>
                  </a:cubicBezTo>
                  <a:cubicBezTo>
                    <a:pt x="425" y="162"/>
                    <a:pt x="438" y="161"/>
                    <a:pt x="438" y="161"/>
                  </a:cubicBezTo>
                  <a:cubicBezTo>
                    <a:pt x="438" y="161"/>
                    <a:pt x="437" y="145"/>
                    <a:pt x="439" y="141"/>
                  </a:cubicBezTo>
                  <a:cubicBezTo>
                    <a:pt x="410" y="118"/>
                    <a:pt x="430" y="105"/>
                    <a:pt x="430" y="105"/>
                  </a:cubicBezTo>
                  <a:cubicBezTo>
                    <a:pt x="411" y="56"/>
                    <a:pt x="411" y="56"/>
                    <a:pt x="411" y="56"/>
                  </a:cubicBezTo>
                  <a:cubicBezTo>
                    <a:pt x="397" y="54"/>
                    <a:pt x="397" y="54"/>
                    <a:pt x="397" y="54"/>
                  </a:cubicBezTo>
                  <a:cubicBezTo>
                    <a:pt x="397" y="54"/>
                    <a:pt x="395" y="45"/>
                    <a:pt x="393" y="44"/>
                  </a:cubicBezTo>
                  <a:cubicBezTo>
                    <a:pt x="354" y="56"/>
                    <a:pt x="375" y="28"/>
                    <a:pt x="375" y="28"/>
                  </a:cubicBezTo>
                  <a:cubicBezTo>
                    <a:pt x="369" y="28"/>
                    <a:pt x="369" y="28"/>
                    <a:pt x="369" y="28"/>
                  </a:cubicBezTo>
                  <a:cubicBezTo>
                    <a:pt x="365" y="11"/>
                    <a:pt x="365" y="11"/>
                    <a:pt x="365" y="11"/>
                  </a:cubicBezTo>
                  <a:cubicBezTo>
                    <a:pt x="365" y="11"/>
                    <a:pt x="365" y="12"/>
                    <a:pt x="365" y="12"/>
                  </a:cubicBezTo>
                  <a:cubicBezTo>
                    <a:pt x="365" y="12"/>
                    <a:pt x="323" y="22"/>
                    <a:pt x="318" y="13"/>
                  </a:cubicBezTo>
                  <a:cubicBezTo>
                    <a:pt x="293" y="0"/>
                    <a:pt x="298" y="9"/>
                    <a:pt x="286" y="12"/>
                  </a:cubicBezTo>
                  <a:cubicBezTo>
                    <a:pt x="274" y="14"/>
                    <a:pt x="250" y="4"/>
                    <a:pt x="250" y="4"/>
                  </a:cubicBezTo>
                  <a:cubicBezTo>
                    <a:pt x="245" y="22"/>
                    <a:pt x="245" y="22"/>
                    <a:pt x="245" y="22"/>
                  </a:cubicBezTo>
                  <a:cubicBezTo>
                    <a:pt x="235" y="16"/>
                    <a:pt x="235" y="16"/>
                    <a:pt x="235" y="16"/>
                  </a:cubicBezTo>
                  <a:cubicBezTo>
                    <a:pt x="222" y="21"/>
                    <a:pt x="222" y="21"/>
                    <a:pt x="222" y="21"/>
                  </a:cubicBezTo>
                  <a:cubicBezTo>
                    <a:pt x="219" y="13"/>
                    <a:pt x="219" y="13"/>
                    <a:pt x="219" y="13"/>
                  </a:cubicBezTo>
                  <a:cubicBezTo>
                    <a:pt x="202" y="24"/>
                    <a:pt x="202" y="24"/>
                    <a:pt x="202" y="24"/>
                  </a:cubicBezTo>
                  <a:cubicBezTo>
                    <a:pt x="201" y="12"/>
                    <a:pt x="201" y="12"/>
                    <a:pt x="201" y="12"/>
                  </a:cubicBezTo>
                  <a:cubicBezTo>
                    <a:pt x="174" y="32"/>
                    <a:pt x="174" y="32"/>
                    <a:pt x="174" y="32"/>
                  </a:cubicBezTo>
                  <a:cubicBezTo>
                    <a:pt x="169" y="21"/>
                    <a:pt x="169" y="21"/>
                    <a:pt x="169" y="21"/>
                  </a:cubicBezTo>
                  <a:cubicBezTo>
                    <a:pt x="151" y="21"/>
                    <a:pt x="151" y="21"/>
                    <a:pt x="151" y="21"/>
                  </a:cubicBezTo>
                  <a:cubicBezTo>
                    <a:pt x="151" y="28"/>
                    <a:pt x="151" y="28"/>
                    <a:pt x="151" y="28"/>
                  </a:cubicBezTo>
                  <a:cubicBezTo>
                    <a:pt x="133" y="30"/>
                    <a:pt x="133" y="30"/>
                    <a:pt x="133" y="30"/>
                  </a:cubicBezTo>
                  <a:cubicBezTo>
                    <a:pt x="129" y="25"/>
                    <a:pt x="129" y="25"/>
                    <a:pt x="129" y="25"/>
                  </a:cubicBezTo>
                  <a:cubicBezTo>
                    <a:pt x="111" y="32"/>
                    <a:pt x="111" y="32"/>
                    <a:pt x="111" y="32"/>
                  </a:cubicBezTo>
                  <a:cubicBezTo>
                    <a:pt x="97" y="30"/>
                    <a:pt x="97" y="30"/>
                    <a:pt x="97" y="30"/>
                  </a:cubicBezTo>
                  <a:cubicBezTo>
                    <a:pt x="85" y="56"/>
                    <a:pt x="85" y="56"/>
                    <a:pt x="85" y="56"/>
                  </a:cubicBezTo>
                  <a:cubicBezTo>
                    <a:pt x="66" y="54"/>
                    <a:pt x="66" y="54"/>
                    <a:pt x="66" y="54"/>
                  </a:cubicBezTo>
                  <a:cubicBezTo>
                    <a:pt x="50" y="70"/>
                    <a:pt x="50" y="70"/>
                    <a:pt x="50" y="70"/>
                  </a:cubicBezTo>
                  <a:cubicBezTo>
                    <a:pt x="38" y="80"/>
                    <a:pt x="38" y="80"/>
                    <a:pt x="38" y="80"/>
                  </a:cubicBezTo>
                  <a:cubicBezTo>
                    <a:pt x="46" y="101"/>
                    <a:pt x="46" y="101"/>
                    <a:pt x="46" y="101"/>
                  </a:cubicBezTo>
                  <a:cubicBezTo>
                    <a:pt x="34" y="141"/>
                    <a:pt x="62" y="140"/>
                    <a:pt x="62" y="140"/>
                  </a:cubicBezTo>
                  <a:cubicBezTo>
                    <a:pt x="69" y="160"/>
                    <a:pt x="69" y="160"/>
                    <a:pt x="69" y="160"/>
                  </a:cubicBezTo>
                  <a:cubicBezTo>
                    <a:pt x="57" y="168"/>
                    <a:pt x="57" y="168"/>
                    <a:pt x="57" y="168"/>
                  </a:cubicBezTo>
                  <a:cubicBezTo>
                    <a:pt x="57" y="168"/>
                    <a:pt x="47" y="165"/>
                    <a:pt x="43" y="164"/>
                  </a:cubicBezTo>
                  <a:cubicBezTo>
                    <a:pt x="39" y="162"/>
                    <a:pt x="45" y="182"/>
                    <a:pt x="45" y="182"/>
                  </a:cubicBezTo>
                  <a:cubicBezTo>
                    <a:pt x="37" y="208"/>
                    <a:pt x="37" y="208"/>
                    <a:pt x="37" y="208"/>
                  </a:cubicBezTo>
                  <a:cubicBezTo>
                    <a:pt x="17" y="212"/>
                    <a:pt x="17" y="212"/>
                    <a:pt x="17" y="212"/>
                  </a:cubicBezTo>
                  <a:cubicBezTo>
                    <a:pt x="17" y="220"/>
                    <a:pt x="17" y="220"/>
                    <a:pt x="17" y="220"/>
                  </a:cubicBezTo>
                  <a:cubicBezTo>
                    <a:pt x="0" y="240"/>
                    <a:pt x="0" y="240"/>
                    <a:pt x="0" y="240"/>
                  </a:cubicBezTo>
                  <a:cubicBezTo>
                    <a:pt x="18" y="243"/>
                    <a:pt x="31" y="249"/>
                    <a:pt x="31" y="249"/>
                  </a:cubicBezTo>
                  <a:cubicBezTo>
                    <a:pt x="31" y="249"/>
                    <a:pt x="25" y="273"/>
                    <a:pt x="31" y="2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5" name="Auvergne" descr="© INSCALE GmbH, 05.05.2010&#10;http://www.presentationload.com/">
              <a:extLst>
                <a:ext uri="{FF2B5EF4-FFF2-40B4-BE49-F238E27FC236}">
                  <a16:creationId xmlns:a16="http://schemas.microsoft.com/office/drawing/2014/main" id="{9BD5E988-15D3-4B08-876C-E8948F7A9579}"/>
                </a:ext>
              </a:extLst>
            </p:cNvPr>
            <p:cNvSpPr>
              <a:spLocks/>
            </p:cNvSpPr>
            <p:nvPr/>
          </p:nvSpPr>
          <p:spPr bwMode="gray">
            <a:xfrm>
              <a:off x="1704" y="1640"/>
              <a:ext cx="593" cy="753"/>
            </a:xfrm>
            <a:custGeom>
              <a:avLst/>
              <a:gdLst/>
              <a:ahLst/>
              <a:cxnLst>
                <a:cxn ang="0">
                  <a:pos x="15" y="669"/>
                </a:cxn>
                <a:cxn ang="0">
                  <a:pos x="31" y="697"/>
                </a:cxn>
                <a:cxn ang="0">
                  <a:pos x="60" y="689"/>
                </a:cxn>
                <a:cxn ang="0">
                  <a:pos x="111" y="665"/>
                </a:cxn>
                <a:cxn ang="0">
                  <a:pos x="122" y="617"/>
                </a:cxn>
                <a:cxn ang="0">
                  <a:pos x="186" y="636"/>
                </a:cxn>
                <a:cxn ang="0">
                  <a:pos x="218" y="663"/>
                </a:cxn>
                <a:cxn ang="0">
                  <a:pos x="231" y="607"/>
                </a:cxn>
                <a:cxn ang="0">
                  <a:pos x="266" y="611"/>
                </a:cxn>
                <a:cxn ang="0">
                  <a:pos x="266" y="603"/>
                </a:cxn>
                <a:cxn ang="0">
                  <a:pos x="318" y="635"/>
                </a:cxn>
                <a:cxn ang="0">
                  <a:pos x="378" y="629"/>
                </a:cxn>
                <a:cxn ang="0">
                  <a:pos x="424" y="628"/>
                </a:cxn>
                <a:cxn ang="0">
                  <a:pos x="472" y="612"/>
                </a:cxn>
                <a:cxn ang="0">
                  <a:pos x="504" y="560"/>
                </a:cxn>
                <a:cxn ang="0">
                  <a:pos x="522" y="535"/>
                </a:cxn>
                <a:cxn ang="0">
                  <a:pos x="536" y="517"/>
                </a:cxn>
                <a:cxn ang="0">
                  <a:pos x="507" y="467"/>
                </a:cxn>
                <a:cxn ang="0">
                  <a:pos x="450" y="463"/>
                </a:cxn>
                <a:cxn ang="0">
                  <a:pos x="430" y="449"/>
                </a:cxn>
                <a:cxn ang="0">
                  <a:pos x="408" y="445"/>
                </a:cxn>
                <a:cxn ang="0">
                  <a:pos x="364" y="320"/>
                </a:cxn>
                <a:cxn ang="0">
                  <a:pos x="362" y="273"/>
                </a:cxn>
                <a:cxn ang="0">
                  <a:pos x="386" y="217"/>
                </a:cxn>
                <a:cxn ang="0">
                  <a:pos x="378" y="176"/>
                </a:cxn>
                <a:cxn ang="0">
                  <a:pos x="411" y="159"/>
                </a:cxn>
                <a:cxn ang="0">
                  <a:pos x="424" y="101"/>
                </a:cxn>
                <a:cxn ang="0">
                  <a:pos x="370" y="81"/>
                </a:cxn>
                <a:cxn ang="0">
                  <a:pos x="327" y="32"/>
                </a:cxn>
                <a:cxn ang="0">
                  <a:pos x="306" y="31"/>
                </a:cxn>
                <a:cxn ang="0">
                  <a:pos x="263" y="25"/>
                </a:cxn>
                <a:cxn ang="0">
                  <a:pos x="171" y="23"/>
                </a:cxn>
                <a:cxn ang="0">
                  <a:pos x="115" y="49"/>
                </a:cxn>
                <a:cxn ang="0">
                  <a:pos x="46" y="118"/>
                </a:cxn>
                <a:cxn ang="0">
                  <a:pos x="74" y="151"/>
                </a:cxn>
                <a:cxn ang="0">
                  <a:pos x="111" y="212"/>
                </a:cxn>
                <a:cxn ang="0">
                  <a:pos x="100" y="292"/>
                </a:cxn>
                <a:cxn ang="0">
                  <a:pos x="100" y="372"/>
                </a:cxn>
                <a:cxn ang="0">
                  <a:pos x="102" y="449"/>
                </a:cxn>
                <a:cxn ang="0">
                  <a:pos x="66" y="472"/>
                </a:cxn>
                <a:cxn ang="0">
                  <a:pos x="27" y="508"/>
                </a:cxn>
                <a:cxn ang="0">
                  <a:pos x="24" y="547"/>
                </a:cxn>
                <a:cxn ang="0">
                  <a:pos x="4" y="608"/>
                </a:cxn>
              </a:cxnLst>
              <a:rect l="0" t="0" r="r" b="b"/>
              <a:pathLst>
                <a:path w="550" h="697">
                  <a:moveTo>
                    <a:pt x="4" y="608"/>
                  </a:moveTo>
                  <a:cubicBezTo>
                    <a:pt x="20" y="635"/>
                    <a:pt x="20" y="635"/>
                    <a:pt x="20" y="635"/>
                  </a:cubicBezTo>
                  <a:cubicBezTo>
                    <a:pt x="15" y="669"/>
                    <a:pt x="15" y="669"/>
                    <a:pt x="15" y="669"/>
                  </a:cubicBezTo>
                  <a:cubicBezTo>
                    <a:pt x="24" y="675"/>
                    <a:pt x="24" y="675"/>
                    <a:pt x="24" y="675"/>
                  </a:cubicBezTo>
                  <a:cubicBezTo>
                    <a:pt x="26" y="691"/>
                    <a:pt x="26" y="691"/>
                    <a:pt x="26" y="691"/>
                  </a:cubicBezTo>
                  <a:cubicBezTo>
                    <a:pt x="31" y="697"/>
                    <a:pt x="31" y="697"/>
                    <a:pt x="31" y="697"/>
                  </a:cubicBezTo>
                  <a:cubicBezTo>
                    <a:pt x="30" y="685"/>
                    <a:pt x="30" y="685"/>
                    <a:pt x="30" y="685"/>
                  </a:cubicBezTo>
                  <a:cubicBezTo>
                    <a:pt x="59" y="684"/>
                    <a:pt x="59" y="684"/>
                    <a:pt x="59" y="684"/>
                  </a:cubicBezTo>
                  <a:cubicBezTo>
                    <a:pt x="60" y="689"/>
                    <a:pt x="60" y="689"/>
                    <a:pt x="60" y="689"/>
                  </a:cubicBezTo>
                  <a:cubicBezTo>
                    <a:pt x="94" y="687"/>
                    <a:pt x="94" y="687"/>
                    <a:pt x="94" y="687"/>
                  </a:cubicBezTo>
                  <a:cubicBezTo>
                    <a:pt x="98" y="675"/>
                    <a:pt x="98" y="675"/>
                    <a:pt x="98" y="675"/>
                  </a:cubicBezTo>
                  <a:cubicBezTo>
                    <a:pt x="111" y="665"/>
                    <a:pt x="111" y="665"/>
                    <a:pt x="111" y="665"/>
                  </a:cubicBezTo>
                  <a:cubicBezTo>
                    <a:pt x="112" y="645"/>
                    <a:pt x="112" y="645"/>
                    <a:pt x="112" y="645"/>
                  </a:cubicBezTo>
                  <a:cubicBezTo>
                    <a:pt x="120" y="639"/>
                    <a:pt x="120" y="639"/>
                    <a:pt x="120" y="639"/>
                  </a:cubicBezTo>
                  <a:cubicBezTo>
                    <a:pt x="122" y="617"/>
                    <a:pt x="122" y="617"/>
                    <a:pt x="122" y="617"/>
                  </a:cubicBezTo>
                  <a:cubicBezTo>
                    <a:pt x="122" y="617"/>
                    <a:pt x="122" y="624"/>
                    <a:pt x="131" y="616"/>
                  </a:cubicBezTo>
                  <a:cubicBezTo>
                    <a:pt x="157" y="579"/>
                    <a:pt x="163" y="607"/>
                    <a:pt x="161" y="614"/>
                  </a:cubicBezTo>
                  <a:cubicBezTo>
                    <a:pt x="172" y="606"/>
                    <a:pt x="186" y="636"/>
                    <a:pt x="186" y="636"/>
                  </a:cubicBezTo>
                  <a:cubicBezTo>
                    <a:pt x="195" y="647"/>
                    <a:pt x="195" y="647"/>
                    <a:pt x="195" y="647"/>
                  </a:cubicBezTo>
                  <a:cubicBezTo>
                    <a:pt x="204" y="687"/>
                    <a:pt x="204" y="687"/>
                    <a:pt x="204" y="687"/>
                  </a:cubicBezTo>
                  <a:cubicBezTo>
                    <a:pt x="218" y="663"/>
                    <a:pt x="218" y="663"/>
                    <a:pt x="218" y="663"/>
                  </a:cubicBezTo>
                  <a:cubicBezTo>
                    <a:pt x="224" y="636"/>
                    <a:pt x="224" y="636"/>
                    <a:pt x="224" y="636"/>
                  </a:cubicBezTo>
                  <a:cubicBezTo>
                    <a:pt x="232" y="627"/>
                    <a:pt x="232" y="627"/>
                    <a:pt x="232" y="627"/>
                  </a:cubicBezTo>
                  <a:cubicBezTo>
                    <a:pt x="231" y="607"/>
                    <a:pt x="231" y="607"/>
                    <a:pt x="231" y="607"/>
                  </a:cubicBezTo>
                  <a:cubicBezTo>
                    <a:pt x="240" y="603"/>
                    <a:pt x="240" y="603"/>
                    <a:pt x="240" y="603"/>
                  </a:cubicBezTo>
                  <a:cubicBezTo>
                    <a:pt x="248" y="616"/>
                    <a:pt x="248" y="616"/>
                    <a:pt x="248" y="616"/>
                  </a:cubicBezTo>
                  <a:cubicBezTo>
                    <a:pt x="266" y="611"/>
                    <a:pt x="266" y="611"/>
                    <a:pt x="266" y="611"/>
                  </a:cubicBezTo>
                  <a:cubicBezTo>
                    <a:pt x="266" y="603"/>
                    <a:pt x="266" y="603"/>
                    <a:pt x="266" y="603"/>
                  </a:cubicBezTo>
                  <a:cubicBezTo>
                    <a:pt x="263" y="603"/>
                    <a:pt x="267" y="593"/>
                    <a:pt x="267" y="593"/>
                  </a:cubicBezTo>
                  <a:cubicBezTo>
                    <a:pt x="266" y="603"/>
                    <a:pt x="266" y="603"/>
                    <a:pt x="266" y="603"/>
                  </a:cubicBezTo>
                  <a:cubicBezTo>
                    <a:pt x="267" y="603"/>
                    <a:pt x="269" y="602"/>
                    <a:pt x="271" y="600"/>
                  </a:cubicBezTo>
                  <a:cubicBezTo>
                    <a:pt x="282" y="591"/>
                    <a:pt x="300" y="584"/>
                    <a:pt x="300" y="584"/>
                  </a:cubicBezTo>
                  <a:cubicBezTo>
                    <a:pt x="318" y="635"/>
                    <a:pt x="318" y="635"/>
                    <a:pt x="318" y="635"/>
                  </a:cubicBezTo>
                  <a:cubicBezTo>
                    <a:pt x="318" y="635"/>
                    <a:pt x="318" y="635"/>
                    <a:pt x="342" y="627"/>
                  </a:cubicBezTo>
                  <a:cubicBezTo>
                    <a:pt x="346" y="600"/>
                    <a:pt x="356" y="624"/>
                    <a:pt x="356" y="624"/>
                  </a:cubicBezTo>
                  <a:cubicBezTo>
                    <a:pt x="378" y="629"/>
                    <a:pt x="378" y="629"/>
                    <a:pt x="378" y="629"/>
                  </a:cubicBezTo>
                  <a:cubicBezTo>
                    <a:pt x="399" y="655"/>
                    <a:pt x="399" y="655"/>
                    <a:pt x="399" y="655"/>
                  </a:cubicBezTo>
                  <a:cubicBezTo>
                    <a:pt x="424" y="644"/>
                    <a:pt x="424" y="644"/>
                    <a:pt x="424" y="644"/>
                  </a:cubicBezTo>
                  <a:cubicBezTo>
                    <a:pt x="424" y="628"/>
                    <a:pt x="424" y="628"/>
                    <a:pt x="424" y="628"/>
                  </a:cubicBezTo>
                  <a:cubicBezTo>
                    <a:pt x="443" y="619"/>
                    <a:pt x="443" y="619"/>
                    <a:pt x="443" y="619"/>
                  </a:cubicBezTo>
                  <a:cubicBezTo>
                    <a:pt x="444" y="613"/>
                    <a:pt x="444" y="613"/>
                    <a:pt x="444" y="613"/>
                  </a:cubicBezTo>
                  <a:cubicBezTo>
                    <a:pt x="472" y="612"/>
                    <a:pt x="472" y="612"/>
                    <a:pt x="472" y="612"/>
                  </a:cubicBezTo>
                  <a:cubicBezTo>
                    <a:pt x="484" y="584"/>
                    <a:pt x="484" y="584"/>
                    <a:pt x="484" y="584"/>
                  </a:cubicBezTo>
                  <a:cubicBezTo>
                    <a:pt x="504" y="580"/>
                    <a:pt x="504" y="580"/>
                    <a:pt x="504" y="580"/>
                  </a:cubicBezTo>
                  <a:cubicBezTo>
                    <a:pt x="504" y="560"/>
                    <a:pt x="504" y="560"/>
                    <a:pt x="504" y="560"/>
                  </a:cubicBezTo>
                  <a:cubicBezTo>
                    <a:pt x="519" y="560"/>
                    <a:pt x="519" y="560"/>
                    <a:pt x="519" y="560"/>
                  </a:cubicBezTo>
                  <a:cubicBezTo>
                    <a:pt x="519" y="560"/>
                    <a:pt x="512" y="548"/>
                    <a:pt x="512" y="544"/>
                  </a:cubicBezTo>
                  <a:cubicBezTo>
                    <a:pt x="512" y="540"/>
                    <a:pt x="522" y="535"/>
                    <a:pt x="522" y="535"/>
                  </a:cubicBezTo>
                  <a:cubicBezTo>
                    <a:pt x="519" y="523"/>
                    <a:pt x="519" y="523"/>
                    <a:pt x="519" y="523"/>
                  </a:cubicBezTo>
                  <a:cubicBezTo>
                    <a:pt x="533" y="534"/>
                    <a:pt x="533" y="534"/>
                    <a:pt x="533" y="534"/>
                  </a:cubicBezTo>
                  <a:cubicBezTo>
                    <a:pt x="532" y="533"/>
                    <a:pt x="532" y="529"/>
                    <a:pt x="536" y="517"/>
                  </a:cubicBezTo>
                  <a:cubicBezTo>
                    <a:pt x="550" y="468"/>
                    <a:pt x="519" y="489"/>
                    <a:pt x="519" y="489"/>
                  </a:cubicBezTo>
                  <a:cubicBezTo>
                    <a:pt x="512" y="471"/>
                    <a:pt x="512" y="471"/>
                    <a:pt x="512" y="471"/>
                  </a:cubicBezTo>
                  <a:cubicBezTo>
                    <a:pt x="507" y="467"/>
                    <a:pt x="507" y="467"/>
                    <a:pt x="507" y="467"/>
                  </a:cubicBezTo>
                  <a:cubicBezTo>
                    <a:pt x="520" y="456"/>
                    <a:pt x="495" y="459"/>
                    <a:pt x="488" y="449"/>
                  </a:cubicBezTo>
                  <a:cubicBezTo>
                    <a:pt x="482" y="440"/>
                    <a:pt x="452" y="455"/>
                    <a:pt x="452" y="455"/>
                  </a:cubicBezTo>
                  <a:cubicBezTo>
                    <a:pt x="450" y="463"/>
                    <a:pt x="450" y="463"/>
                    <a:pt x="450" y="463"/>
                  </a:cubicBezTo>
                  <a:cubicBezTo>
                    <a:pt x="444" y="456"/>
                    <a:pt x="444" y="456"/>
                    <a:pt x="444" y="456"/>
                  </a:cubicBezTo>
                  <a:cubicBezTo>
                    <a:pt x="434" y="461"/>
                    <a:pt x="434" y="461"/>
                    <a:pt x="434" y="461"/>
                  </a:cubicBezTo>
                  <a:cubicBezTo>
                    <a:pt x="430" y="449"/>
                    <a:pt x="430" y="449"/>
                    <a:pt x="430" y="449"/>
                  </a:cubicBezTo>
                  <a:cubicBezTo>
                    <a:pt x="418" y="449"/>
                    <a:pt x="418" y="449"/>
                    <a:pt x="418" y="449"/>
                  </a:cubicBezTo>
                  <a:cubicBezTo>
                    <a:pt x="412" y="468"/>
                    <a:pt x="412" y="468"/>
                    <a:pt x="412" y="468"/>
                  </a:cubicBezTo>
                  <a:cubicBezTo>
                    <a:pt x="408" y="445"/>
                    <a:pt x="408" y="445"/>
                    <a:pt x="408" y="445"/>
                  </a:cubicBezTo>
                  <a:cubicBezTo>
                    <a:pt x="408" y="445"/>
                    <a:pt x="422" y="439"/>
                    <a:pt x="424" y="432"/>
                  </a:cubicBezTo>
                  <a:cubicBezTo>
                    <a:pt x="436" y="412"/>
                    <a:pt x="396" y="376"/>
                    <a:pt x="391" y="376"/>
                  </a:cubicBezTo>
                  <a:cubicBezTo>
                    <a:pt x="387" y="356"/>
                    <a:pt x="364" y="320"/>
                    <a:pt x="364" y="320"/>
                  </a:cubicBezTo>
                  <a:cubicBezTo>
                    <a:pt x="366" y="292"/>
                    <a:pt x="366" y="292"/>
                    <a:pt x="366" y="292"/>
                  </a:cubicBezTo>
                  <a:cubicBezTo>
                    <a:pt x="374" y="289"/>
                    <a:pt x="374" y="289"/>
                    <a:pt x="374" y="289"/>
                  </a:cubicBezTo>
                  <a:cubicBezTo>
                    <a:pt x="362" y="273"/>
                    <a:pt x="362" y="273"/>
                    <a:pt x="362" y="273"/>
                  </a:cubicBezTo>
                  <a:cubicBezTo>
                    <a:pt x="362" y="261"/>
                    <a:pt x="362" y="261"/>
                    <a:pt x="362" y="261"/>
                  </a:cubicBezTo>
                  <a:cubicBezTo>
                    <a:pt x="387" y="252"/>
                    <a:pt x="387" y="252"/>
                    <a:pt x="387" y="252"/>
                  </a:cubicBezTo>
                  <a:cubicBezTo>
                    <a:pt x="386" y="217"/>
                    <a:pt x="386" y="217"/>
                    <a:pt x="386" y="217"/>
                  </a:cubicBezTo>
                  <a:cubicBezTo>
                    <a:pt x="379" y="204"/>
                    <a:pt x="379" y="204"/>
                    <a:pt x="379" y="204"/>
                  </a:cubicBezTo>
                  <a:cubicBezTo>
                    <a:pt x="383" y="189"/>
                    <a:pt x="383" y="189"/>
                    <a:pt x="383" y="189"/>
                  </a:cubicBezTo>
                  <a:cubicBezTo>
                    <a:pt x="378" y="176"/>
                    <a:pt x="378" y="176"/>
                    <a:pt x="378" y="176"/>
                  </a:cubicBezTo>
                  <a:cubicBezTo>
                    <a:pt x="403" y="165"/>
                    <a:pt x="403" y="165"/>
                    <a:pt x="403" y="165"/>
                  </a:cubicBezTo>
                  <a:cubicBezTo>
                    <a:pt x="403" y="156"/>
                    <a:pt x="403" y="156"/>
                    <a:pt x="403" y="156"/>
                  </a:cubicBezTo>
                  <a:cubicBezTo>
                    <a:pt x="411" y="159"/>
                    <a:pt x="411" y="159"/>
                    <a:pt x="411" y="159"/>
                  </a:cubicBezTo>
                  <a:cubicBezTo>
                    <a:pt x="416" y="145"/>
                    <a:pt x="416" y="145"/>
                    <a:pt x="416" y="145"/>
                  </a:cubicBezTo>
                  <a:cubicBezTo>
                    <a:pt x="423" y="145"/>
                    <a:pt x="423" y="145"/>
                    <a:pt x="423" y="145"/>
                  </a:cubicBezTo>
                  <a:cubicBezTo>
                    <a:pt x="423" y="145"/>
                    <a:pt x="423" y="116"/>
                    <a:pt x="424" y="101"/>
                  </a:cubicBezTo>
                  <a:cubicBezTo>
                    <a:pt x="426" y="87"/>
                    <a:pt x="398" y="97"/>
                    <a:pt x="398" y="97"/>
                  </a:cubicBezTo>
                  <a:cubicBezTo>
                    <a:pt x="387" y="84"/>
                    <a:pt x="387" y="84"/>
                    <a:pt x="387" y="84"/>
                  </a:cubicBezTo>
                  <a:cubicBezTo>
                    <a:pt x="370" y="81"/>
                    <a:pt x="370" y="81"/>
                    <a:pt x="370" y="81"/>
                  </a:cubicBezTo>
                  <a:cubicBezTo>
                    <a:pt x="366" y="63"/>
                    <a:pt x="366" y="63"/>
                    <a:pt x="366" y="63"/>
                  </a:cubicBezTo>
                  <a:cubicBezTo>
                    <a:pt x="366" y="63"/>
                    <a:pt x="336" y="12"/>
                    <a:pt x="332" y="8"/>
                  </a:cubicBezTo>
                  <a:cubicBezTo>
                    <a:pt x="328" y="4"/>
                    <a:pt x="327" y="32"/>
                    <a:pt x="327" y="32"/>
                  </a:cubicBezTo>
                  <a:cubicBezTo>
                    <a:pt x="318" y="31"/>
                    <a:pt x="318" y="31"/>
                    <a:pt x="318" y="31"/>
                  </a:cubicBezTo>
                  <a:cubicBezTo>
                    <a:pt x="306" y="45"/>
                    <a:pt x="306" y="45"/>
                    <a:pt x="306" y="45"/>
                  </a:cubicBezTo>
                  <a:cubicBezTo>
                    <a:pt x="306" y="31"/>
                    <a:pt x="306" y="31"/>
                    <a:pt x="306" y="31"/>
                  </a:cubicBezTo>
                  <a:cubicBezTo>
                    <a:pt x="294" y="24"/>
                    <a:pt x="294" y="24"/>
                    <a:pt x="294" y="24"/>
                  </a:cubicBezTo>
                  <a:cubicBezTo>
                    <a:pt x="294" y="24"/>
                    <a:pt x="283" y="32"/>
                    <a:pt x="279" y="32"/>
                  </a:cubicBezTo>
                  <a:cubicBezTo>
                    <a:pt x="275" y="32"/>
                    <a:pt x="267" y="25"/>
                    <a:pt x="263" y="25"/>
                  </a:cubicBezTo>
                  <a:cubicBezTo>
                    <a:pt x="259" y="25"/>
                    <a:pt x="254" y="36"/>
                    <a:pt x="244" y="35"/>
                  </a:cubicBezTo>
                  <a:cubicBezTo>
                    <a:pt x="236" y="34"/>
                    <a:pt x="220" y="9"/>
                    <a:pt x="213" y="1"/>
                  </a:cubicBezTo>
                  <a:cubicBezTo>
                    <a:pt x="188" y="0"/>
                    <a:pt x="178" y="8"/>
                    <a:pt x="171" y="23"/>
                  </a:cubicBezTo>
                  <a:cubicBezTo>
                    <a:pt x="163" y="39"/>
                    <a:pt x="148" y="17"/>
                    <a:pt x="144" y="17"/>
                  </a:cubicBezTo>
                  <a:cubicBezTo>
                    <a:pt x="140" y="17"/>
                    <a:pt x="122" y="36"/>
                    <a:pt x="122" y="36"/>
                  </a:cubicBezTo>
                  <a:cubicBezTo>
                    <a:pt x="122" y="36"/>
                    <a:pt x="122" y="44"/>
                    <a:pt x="115" y="49"/>
                  </a:cubicBezTo>
                  <a:cubicBezTo>
                    <a:pt x="108" y="55"/>
                    <a:pt x="118" y="77"/>
                    <a:pt x="118" y="77"/>
                  </a:cubicBezTo>
                  <a:cubicBezTo>
                    <a:pt x="118" y="77"/>
                    <a:pt x="118" y="77"/>
                    <a:pt x="102" y="88"/>
                  </a:cubicBezTo>
                  <a:cubicBezTo>
                    <a:pt x="72" y="77"/>
                    <a:pt x="50" y="111"/>
                    <a:pt x="46" y="118"/>
                  </a:cubicBezTo>
                  <a:cubicBezTo>
                    <a:pt x="50" y="135"/>
                    <a:pt x="50" y="135"/>
                    <a:pt x="50" y="135"/>
                  </a:cubicBezTo>
                  <a:cubicBezTo>
                    <a:pt x="56" y="135"/>
                    <a:pt x="56" y="135"/>
                    <a:pt x="56" y="135"/>
                  </a:cubicBezTo>
                  <a:cubicBezTo>
                    <a:pt x="56" y="135"/>
                    <a:pt x="35" y="163"/>
                    <a:pt x="74" y="151"/>
                  </a:cubicBezTo>
                  <a:cubicBezTo>
                    <a:pt x="76" y="152"/>
                    <a:pt x="78" y="161"/>
                    <a:pt x="78" y="161"/>
                  </a:cubicBezTo>
                  <a:cubicBezTo>
                    <a:pt x="92" y="163"/>
                    <a:pt x="92" y="163"/>
                    <a:pt x="92" y="163"/>
                  </a:cubicBezTo>
                  <a:cubicBezTo>
                    <a:pt x="111" y="212"/>
                    <a:pt x="111" y="212"/>
                    <a:pt x="111" y="212"/>
                  </a:cubicBezTo>
                  <a:cubicBezTo>
                    <a:pt x="111" y="212"/>
                    <a:pt x="91" y="225"/>
                    <a:pt x="120" y="248"/>
                  </a:cubicBezTo>
                  <a:cubicBezTo>
                    <a:pt x="118" y="252"/>
                    <a:pt x="119" y="268"/>
                    <a:pt x="119" y="268"/>
                  </a:cubicBezTo>
                  <a:cubicBezTo>
                    <a:pt x="119" y="268"/>
                    <a:pt x="106" y="269"/>
                    <a:pt x="100" y="292"/>
                  </a:cubicBezTo>
                  <a:cubicBezTo>
                    <a:pt x="95" y="315"/>
                    <a:pt x="84" y="300"/>
                    <a:pt x="84" y="300"/>
                  </a:cubicBezTo>
                  <a:cubicBezTo>
                    <a:pt x="84" y="300"/>
                    <a:pt x="62" y="301"/>
                    <a:pt x="84" y="333"/>
                  </a:cubicBezTo>
                  <a:cubicBezTo>
                    <a:pt x="107" y="365"/>
                    <a:pt x="100" y="372"/>
                    <a:pt x="100" y="372"/>
                  </a:cubicBezTo>
                  <a:cubicBezTo>
                    <a:pt x="100" y="372"/>
                    <a:pt x="80" y="376"/>
                    <a:pt x="99" y="400"/>
                  </a:cubicBezTo>
                  <a:cubicBezTo>
                    <a:pt x="96" y="432"/>
                    <a:pt x="91" y="437"/>
                    <a:pt x="91" y="437"/>
                  </a:cubicBezTo>
                  <a:cubicBezTo>
                    <a:pt x="102" y="449"/>
                    <a:pt x="102" y="449"/>
                    <a:pt x="102" y="449"/>
                  </a:cubicBezTo>
                  <a:cubicBezTo>
                    <a:pt x="83" y="455"/>
                    <a:pt x="83" y="455"/>
                    <a:pt x="83" y="455"/>
                  </a:cubicBezTo>
                  <a:cubicBezTo>
                    <a:pt x="83" y="455"/>
                    <a:pt x="72" y="440"/>
                    <a:pt x="66" y="441"/>
                  </a:cubicBezTo>
                  <a:cubicBezTo>
                    <a:pt x="59" y="443"/>
                    <a:pt x="66" y="472"/>
                    <a:pt x="66" y="472"/>
                  </a:cubicBezTo>
                  <a:cubicBezTo>
                    <a:pt x="52" y="473"/>
                    <a:pt x="52" y="473"/>
                    <a:pt x="52" y="473"/>
                  </a:cubicBezTo>
                  <a:cubicBezTo>
                    <a:pt x="44" y="481"/>
                    <a:pt x="44" y="481"/>
                    <a:pt x="44" y="481"/>
                  </a:cubicBezTo>
                  <a:cubicBezTo>
                    <a:pt x="27" y="508"/>
                    <a:pt x="27" y="508"/>
                    <a:pt x="27" y="508"/>
                  </a:cubicBezTo>
                  <a:cubicBezTo>
                    <a:pt x="31" y="519"/>
                    <a:pt x="31" y="519"/>
                    <a:pt x="31" y="519"/>
                  </a:cubicBezTo>
                  <a:cubicBezTo>
                    <a:pt x="23" y="528"/>
                    <a:pt x="23" y="528"/>
                    <a:pt x="23" y="528"/>
                  </a:cubicBezTo>
                  <a:cubicBezTo>
                    <a:pt x="24" y="547"/>
                    <a:pt x="24" y="547"/>
                    <a:pt x="24" y="547"/>
                  </a:cubicBezTo>
                  <a:cubicBezTo>
                    <a:pt x="24" y="547"/>
                    <a:pt x="0" y="551"/>
                    <a:pt x="12" y="573"/>
                  </a:cubicBezTo>
                  <a:cubicBezTo>
                    <a:pt x="8" y="574"/>
                    <a:pt x="5" y="576"/>
                    <a:pt x="3" y="578"/>
                  </a:cubicBezTo>
                  <a:cubicBezTo>
                    <a:pt x="6" y="591"/>
                    <a:pt x="4" y="608"/>
                    <a:pt x="4" y="608"/>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6" name="Provence" descr="© INSCALE GmbH, 05.05.2010&#10;http://www.presentationload.com/">
              <a:extLst>
                <a:ext uri="{FF2B5EF4-FFF2-40B4-BE49-F238E27FC236}">
                  <a16:creationId xmlns:a16="http://schemas.microsoft.com/office/drawing/2014/main" id="{9A4171FE-BD58-4F57-89AE-DD2732B8B4B6}"/>
                </a:ext>
              </a:extLst>
            </p:cNvPr>
            <p:cNvSpPr>
              <a:spLocks/>
            </p:cNvSpPr>
            <p:nvPr/>
          </p:nvSpPr>
          <p:spPr bwMode="gray">
            <a:xfrm>
              <a:off x="2233" y="2198"/>
              <a:ext cx="838" cy="739"/>
            </a:xfrm>
            <a:custGeom>
              <a:avLst/>
              <a:gdLst/>
              <a:ahLst/>
              <a:cxnLst>
                <a:cxn ang="0">
                  <a:pos x="68" y="539"/>
                </a:cxn>
                <a:cxn ang="0">
                  <a:pos x="78" y="572"/>
                </a:cxn>
                <a:cxn ang="0">
                  <a:pos x="129" y="586"/>
                </a:cxn>
                <a:cxn ang="0">
                  <a:pos x="134" y="565"/>
                </a:cxn>
                <a:cxn ang="0">
                  <a:pos x="161" y="554"/>
                </a:cxn>
                <a:cxn ang="0">
                  <a:pos x="214" y="585"/>
                </a:cxn>
                <a:cxn ang="0">
                  <a:pos x="251" y="596"/>
                </a:cxn>
                <a:cxn ang="0">
                  <a:pos x="255" y="612"/>
                </a:cxn>
                <a:cxn ang="0">
                  <a:pos x="295" y="632"/>
                </a:cxn>
                <a:cxn ang="0">
                  <a:pos x="332" y="649"/>
                </a:cxn>
                <a:cxn ang="0">
                  <a:pos x="364" y="684"/>
                </a:cxn>
                <a:cxn ang="0">
                  <a:pos x="407" y="679"/>
                </a:cxn>
                <a:cxn ang="0">
                  <a:pos x="426" y="679"/>
                </a:cxn>
                <a:cxn ang="0">
                  <a:pos x="465" y="665"/>
                </a:cxn>
                <a:cxn ang="0">
                  <a:pos x="526" y="641"/>
                </a:cxn>
                <a:cxn ang="0">
                  <a:pos x="549" y="634"/>
                </a:cxn>
                <a:cxn ang="0">
                  <a:pos x="532" y="604"/>
                </a:cxn>
                <a:cxn ang="0">
                  <a:pos x="569" y="558"/>
                </a:cxn>
                <a:cxn ang="0">
                  <a:pos x="631" y="523"/>
                </a:cxn>
                <a:cxn ang="0">
                  <a:pos x="667" y="477"/>
                </a:cxn>
                <a:cxn ang="0">
                  <a:pos x="691" y="466"/>
                </a:cxn>
                <a:cxn ang="0">
                  <a:pos x="715" y="460"/>
                </a:cxn>
                <a:cxn ang="0">
                  <a:pos x="723" y="445"/>
                </a:cxn>
                <a:cxn ang="0">
                  <a:pos x="727" y="410"/>
                </a:cxn>
                <a:cxn ang="0">
                  <a:pos x="749" y="384"/>
                </a:cxn>
                <a:cxn ang="0">
                  <a:pos x="764" y="325"/>
                </a:cxn>
                <a:cxn ang="0">
                  <a:pos x="758" y="308"/>
                </a:cxn>
                <a:cxn ang="0">
                  <a:pos x="725" y="323"/>
                </a:cxn>
                <a:cxn ang="0">
                  <a:pos x="630" y="285"/>
                </a:cxn>
                <a:cxn ang="0">
                  <a:pos x="612" y="282"/>
                </a:cxn>
                <a:cxn ang="0">
                  <a:pos x="589" y="238"/>
                </a:cxn>
                <a:cxn ang="0">
                  <a:pos x="579" y="182"/>
                </a:cxn>
                <a:cxn ang="0">
                  <a:pos x="609" y="133"/>
                </a:cxn>
                <a:cxn ang="0">
                  <a:pos x="614" y="82"/>
                </a:cxn>
                <a:cxn ang="0">
                  <a:pos x="548" y="49"/>
                </a:cxn>
                <a:cxn ang="0">
                  <a:pos x="534" y="16"/>
                </a:cxn>
                <a:cxn ang="0">
                  <a:pos x="528" y="2"/>
                </a:cxn>
                <a:cxn ang="0">
                  <a:pos x="501" y="14"/>
                </a:cxn>
                <a:cxn ang="0">
                  <a:pos x="476" y="0"/>
                </a:cxn>
                <a:cxn ang="0">
                  <a:pos x="449" y="11"/>
                </a:cxn>
                <a:cxn ang="0">
                  <a:pos x="468" y="40"/>
                </a:cxn>
                <a:cxn ang="0">
                  <a:pos x="413" y="94"/>
                </a:cxn>
                <a:cxn ang="0">
                  <a:pos x="361" y="116"/>
                </a:cxn>
                <a:cxn ang="0">
                  <a:pos x="321" y="162"/>
                </a:cxn>
                <a:cxn ang="0">
                  <a:pos x="325" y="198"/>
                </a:cxn>
                <a:cxn ang="0">
                  <a:pos x="281" y="206"/>
                </a:cxn>
                <a:cxn ang="0">
                  <a:pos x="286" y="230"/>
                </a:cxn>
                <a:cxn ang="0">
                  <a:pos x="286" y="256"/>
                </a:cxn>
                <a:cxn ang="0">
                  <a:pos x="334" y="278"/>
                </a:cxn>
                <a:cxn ang="0">
                  <a:pos x="322" y="311"/>
                </a:cxn>
                <a:cxn ang="0">
                  <a:pos x="288" y="326"/>
                </a:cxn>
                <a:cxn ang="0">
                  <a:pos x="265" y="314"/>
                </a:cxn>
                <a:cxn ang="0">
                  <a:pos x="237" y="295"/>
                </a:cxn>
                <a:cxn ang="0">
                  <a:pos x="213" y="294"/>
                </a:cxn>
                <a:cxn ang="0">
                  <a:pos x="201" y="276"/>
                </a:cxn>
                <a:cxn ang="0">
                  <a:pos x="136" y="296"/>
                </a:cxn>
                <a:cxn ang="0">
                  <a:pos x="100" y="283"/>
                </a:cxn>
                <a:cxn ang="0">
                  <a:pos x="104" y="303"/>
                </a:cxn>
                <a:cxn ang="0">
                  <a:pos x="114" y="343"/>
                </a:cxn>
                <a:cxn ang="0">
                  <a:pos x="145" y="371"/>
                </a:cxn>
                <a:cxn ang="0">
                  <a:pos x="94" y="472"/>
                </a:cxn>
                <a:cxn ang="0">
                  <a:pos x="54" y="490"/>
                </a:cxn>
                <a:cxn ang="0">
                  <a:pos x="0" y="540"/>
                </a:cxn>
              </a:cxnLst>
              <a:rect l="0" t="0" r="r" b="b"/>
              <a:pathLst>
                <a:path w="778" h="684">
                  <a:moveTo>
                    <a:pt x="2" y="541"/>
                  </a:moveTo>
                  <a:cubicBezTo>
                    <a:pt x="3" y="544"/>
                    <a:pt x="54" y="539"/>
                    <a:pt x="68" y="539"/>
                  </a:cubicBezTo>
                  <a:cubicBezTo>
                    <a:pt x="82" y="539"/>
                    <a:pt x="80" y="555"/>
                    <a:pt x="80" y="555"/>
                  </a:cubicBezTo>
                  <a:cubicBezTo>
                    <a:pt x="57" y="564"/>
                    <a:pt x="80" y="563"/>
                    <a:pt x="78" y="572"/>
                  </a:cubicBezTo>
                  <a:cubicBezTo>
                    <a:pt x="76" y="581"/>
                    <a:pt x="119" y="577"/>
                    <a:pt x="119" y="577"/>
                  </a:cubicBezTo>
                  <a:cubicBezTo>
                    <a:pt x="119" y="577"/>
                    <a:pt x="127" y="583"/>
                    <a:pt x="129" y="586"/>
                  </a:cubicBezTo>
                  <a:cubicBezTo>
                    <a:pt x="131" y="589"/>
                    <a:pt x="138" y="577"/>
                    <a:pt x="144" y="575"/>
                  </a:cubicBezTo>
                  <a:cubicBezTo>
                    <a:pt x="150" y="573"/>
                    <a:pt x="138" y="576"/>
                    <a:pt x="134" y="565"/>
                  </a:cubicBezTo>
                  <a:cubicBezTo>
                    <a:pt x="130" y="554"/>
                    <a:pt x="139" y="558"/>
                    <a:pt x="139" y="554"/>
                  </a:cubicBezTo>
                  <a:cubicBezTo>
                    <a:pt x="139" y="550"/>
                    <a:pt x="151" y="554"/>
                    <a:pt x="161" y="554"/>
                  </a:cubicBezTo>
                  <a:cubicBezTo>
                    <a:pt x="171" y="554"/>
                    <a:pt x="177" y="583"/>
                    <a:pt x="177" y="583"/>
                  </a:cubicBezTo>
                  <a:cubicBezTo>
                    <a:pt x="214" y="585"/>
                    <a:pt x="214" y="585"/>
                    <a:pt x="214" y="585"/>
                  </a:cubicBezTo>
                  <a:cubicBezTo>
                    <a:pt x="214" y="585"/>
                    <a:pt x="233" y="578"/>
                    <a:pt x="240" y="569"/>
                  </a:cubicBezTo>
                  <a:cubicBezTo>
                    <a:pt x="247" y="560"/>
                    <a:pt x="251" y="596"/>
                    <a:pt x="251" y="596"/>
                  </a:cubicBezTo>
                  <a:cubicBezTo>
                    <a:pt x="251" y="596"/>
                    <a:pt x="248" y="600"/>
                    <a:pt x="245" y="600"/>
                  </a:cubicBezTo>
                  <a:cubicBezTo>
                    <a:pt x="242" y="600"/>
                    <a:pt x="252" y="608"/>
                    <a:pt x="255" y="612"/>
                  </a:cubicBezTo>
                  <a:cubicBezTo>
                    <a:pt x="258" y="616"/>
                    <a:pt x="248" y="623"/>
                    <a:pt x="248" y="623"/>
                  </a:cubicBezTo>
                  <a:cubicBezTo>
                    <a:pt x="248" y="623"/>
                    <a:pt x="291" y="631"/>
                    <a:pt x="295" y="632"/>
                  </a:cubicBezTo>
                  <a:cubicBezTo>
                    <a:pt x="305" y="651"/>
                    <a:pt x="316" y="636"/>
                    <a:pt x="322" y="637"/>
                  </a:cubicBezTo>
                  <a:cubicBezTo>
                    <a:pt x="328" y="638"/>
                    <a:pt x="320" y="648"/>
                    <a:pt x="332" y="649"/>
                  </a:cubicBezTo>
                  <a:cubicBezTo>
                    <a:pt x="344" y="650"/>
                    <a:pt x="354" y="671"/>
                    <a:pt x="348" y="676"/>
                  </a:cubicBezTo>
                  <a:cubicBezTo>
                    <a:pt x="342" y="681"/>
                    <a:pt x="356" y="680"/>
                    <a:pt x="364" y="684"/>
                  </a:cubicBezTo>
                  <a:cubicBezTo>
                    <a:pt x="372" y="671"/>
                    <a:pt x="393" y="669"/>
                    <a:pt x="399" y="666"/>
                  </a:cubicBezTo>
                  <a:cubicBezTo>
                    <a:pt x="405" y="663"/>
                    <a:pt x="404" y="681"/>
                    <a:pt x="407" y="679"/>
                  </a:cubicBezTo>
                  <a:cubicBezTo>
                    <a:pt x="410" y="677"/>
                    <a:pt x="418" y="669"/>
                    <a:pt x="424" y="674"/>
                  </a:cubicBezTo>
                  <a:cubicBezTo>
                    <a:pt x="426" y="676"/>
                    <a:pt x="426" y="678"/>
                    <a:pt x="426" y="679"/>
                  </a:cubicBezTo>
                  <a:cubicBezTo>
                    <a:pt x="427" y="679"/>
                    <a:pt x="437" y="672"/>
                    <a:pt x="443" y="663"/>
                  </a:cubicBezTo>
                  <a:cubicBezTo>
                    <a:pt x="449" y="654"/>
                    <a:pt x="443" y="663"/>
                    <a:pt x="465" y="665"/>
                  </a:cubicBezTo>
                  <a:cubicBezTo>
                    <a:pt x="472" y="679"/>
                    <a:pt x="481" y="671"/>
                    <a:pt x="481" y="671"/>
                  </a:cubicBezTo>
                  <a:cubicBezTo>
                    <a:pt x="469" y="660"/>
                    <a:pt x="520" y="642"/>
                    <a:pt x="526" y="641"/>
                  </a:cubicBezTo>
                  <a:cubicBezTo>
                    <a:pt x="532" y="640"/>
                    <a:pt x="538" y="646"/>
                    <a:pt x="538" y="646"/>
                  </a:cubicBezTo>
                  <a:cubicBezTo>
                    <a:pt x="538" y="646"/>
                    <a:pt x="547" y="639"/>
                    <a:pt x="549" y="634"/>
                  </a:cubicBezTo>
                  <a:cubicBezTo>
                    <a:pt x="551" y="629"/>
                    <a:pt x="551" y="618"/>
                    <a:pt x="548" y="610"/>
                  </a:cubicBezTo>
                  <a:cubicBezTo>
                    <a:pt x="518" y="622"/>
                    <a:pt x="535" y="604"/>
                    <a:pt x="532" y="604"/>
                  </a:cubicBezTo>
                  <a:cubicBezTo>
                    <a:pt x="529" y="604"/>
                    <a:pt x="552" y="584"/>
                    <a:pt x="560" y="578"/>
                  </a:cubicBezTo>
                  <a:cubicBezTo>
                    <a:pt x="559" y="561"/>
                    <a:pt x="569" y="558"/>
                    <a:pt x="569" y="558"/>
                  </a:cubicBezTo>
                  <a:cubicBezTo>
                    <a:pt x="581" y="586"/>
                    <a:pt x="609" y="532"/>
                    <a:pt x="609" y="532"/>
                  </a:cubicBezTo>
                  <a:cubicBezTo>
                    <a:pt x="603" y="509"/>
                    <a:pt x="629" y="516"/>
                    <a:pt x="631" y="523"/>
                  </a:cubicBezTo>
                  <a:cubicBezTo>
                    <a:pt x="630" y="511"/>
                    <a:pt x="644" y="515"/>
                    <a:pt x="648" y="508"/>
                  </a:cubicBezTo>
                  <a:cubicBezTo>
                    <a:pt x="647" y="480"/>
                    <a:pt x="667" y="477"/>
                    <a:pt x="667" y="477"/>
                  </a:cubicBezTo>
                  <a:cubicBezTo>
                    <a:pt x="675" y="465"/>
                    <a:pt x="675" y="465"/>
                    <a:pt x="675" y="465"/>
                  </a:cubicBezTo>
                  <a:cubicBezTo>
                    <a:pt x="691" y="466"/>
                    <a:pt x="691" y="466"/>
                    <a:pt x="691" y="466"/>
                  </a:cubicBezTo>
                  <a:cubicBezTo>
                    <a:pt x="696" y="456"/>
                    <a:pt x="696" y="456"/>
                    <a:pt x="696" y="456"/>
                  </a:cubicBezTo>
                  <a:cubicBezTo>
                    <a:pt x="715" y="460"/>
                    <a:pt x="715" y="460"/>
                    <a:pt x="715" y="460"/>
                  </a:cubicBezTo>
                  <a:cubicBezTo>
                    <a:pt x="713" y="442"/>
                    <a:pt x="713" y="442"/>
                    <a:pt x="713" y="442"/>
                  </a:cubicBezTo>
                  <a:cubicBezTo>
                    <a:pt x="723" y="445"/>
                    <a:pt x="723" y="445"/>
                    <a:pt x="723" y="445"/>
                  </a:cubicBezTo>
                  <a:cubicBezTo>
                    <a:pt x="736" y="435"/>
                    <a:pt x="736" y="435"/>
                    <a:pt x="736" y="435"/>
                  </a:cubicBezTo>
                  <a:cubicBezTo>
                    <a:pt x="727" y="410"/>
                    <a:pt x="727" y="410"/>
                    <a:pt x="727" y="410"/>
                  </a:cubicBezTo>
                  <a:cubicBezTo>
                    <a:pt x="746" y="398"/>
                    <a:pt x="746" y="398"/>
                    <a:pt x="746" y="398"/>
                  </a:cubicBezTo>
                  <a:cubicBezTo>
                    <a:pt x="749" y="384"/>
                    <a:pt x="749" y="384"/>
                    <a:pt x="749" y="384"/>
                  </a:cubicBezTo>
                  <a:cubicBezTo>
                    <a:pt x="763" y="390"/>
                    <a:pt x="778" y="338"/>
                    <a:pt x="778" y="338"/>
                  </a:cubicBezTo>
                  <a:cubicBezTo>
                    <a:pt x="764" y="325"/>
                    <a:pt x="764" y="325"/>
                    <a:pt x="764" y="325"/>
                  </a:cubicBezTo>
                  <a:cubicBezTo>
                    <a:pt x="768" y="311"/>
                    <a:pt x="768" y="311"/>
                    <a:pt x="768" y="311"/>
                  </a:cubicBezTo>
                  <a:cubicBezTo>
                    <a:pt x="758" y="308"/>
                    <a:pt x="758" y="308"/>
                    <a:pt x="758" y="308"/>
                  </a:cubicBezTo>
                  <a:cubicBezTo>
                    <a:pt x="751" y="316"/>
                    <a:pt x="751" y="316"/>
                    <a:pt x="751" y="316"/>
                  </a:cubicBezTo>
                  <a:cubicBezTo>
                    <a:pt x="751" y="316"/>
                    <a:pt x="730" y="316"/>
                    <a:pt x="725" y="323"/>
                  </a:cubicBezTo>
                  <a:cubicBezTo>
                    <a:pt x="717" y="339"/>
                    <a:pt x="690" y="316"/>
                    <a:pt x="690" y="316"/>
                  </a:cubicBezTo>
                  <a:cubicBezTo>
                    <a:pt x="630" y="285"/>
                    <a:pt x="630" y="285"/>
                    <a:pt x="630" y="285"/>
                  </a:cubicBezTo>
                  <a:cubicBezTo>
                    <a:pt x="623" y="288"/>
                    <a:pt x="623" y="288"/>
                    <a:pt x="623" y="288"/>
                  </a:cubicBezTo>
                  <a:cubicBezTo>
                    <a:pt x="612" y="282"/>
                    <a:pt x="612" y="282"/>
                    <a:pt x="612" y="282"/>
                  </a:cubicBezTo>
                  <a:cubicBezTo>
                    <a:pt x="613" y="271"/>
                    <a:pt x="613" y="271"/>
                    <a:pt x="613" y="271"/>
                  </a:cubicBezTo>
                  <a:cubicBezTo>
                    <a:pt x="589" y="238"/>
                    <a:pt x="589" y="238"/>
                    <a:pt x="589" y="238"/>
                  </a:cubicBezTo>
                  <a:cubicBezTo>
                    <a:pt x="598" y="219"/>
                    <a:pt x="598" y="219"/>
                    <a:pt x="598" y="219"/>
                  </a:cubicBezTo>
                  <a:cubicBezTo>
                    <a:pt x="579" y="182"/>
                    <a:pt x="579" y="182"/>
                    <a:pt x="579" y="182"/>
                  </a:cubicBezTo>
                  <a:cubicBezTo>
                    <a:pt x="579" y="182"/>
                    <a:pt x="601" y="155"/>
                    <a:pt x="604" y="152"/>
                  </a:cubicBezTo>
                  <a:cubicBezTo>
                    <a:pt x="598" y="134"/>
                    <a:pt x="611" y="136"/>
                    <a:pt x="609" y="133"/>
                  </a:cubicBezTo>
                  <a:cubicBezTo>
                    <a:pt x="622" y="140"/>
                    <a:pt x="620" y="121"/>
                    <a:pt x="624" y="123"/>
                  </a:cubicBezTo>
                  <a:cubicBezTo>
                    <a:pt x="611" y="113"/>
                    <a:pt x="614" y="82"/>
                    <a:pt x="614" y="82"/>
                  </a:cubicBezTo>
                  <a:cubicBezTo>
                    <a:pt x="577" y="74"/>
                    <a:pt x="577" y="74"/>
                    <a:pt x="577" y="74"/>
                  </a:cubicBezTo>
                  <a:cubicBezTo>
                    <a:pt x="548" y="49"/>
                    <a:pt x="548" y="49"/>
                    <a:pt x="548" y="49"/>
                  </a:cubicBezTo>
                  <a:cubicBezTo>
                    <a:pt x="550" y="19"/>
                    <a:pt x="550" y="19"/>
                    <a:pt x="550" y="19"/>
                  </a:cubicBezTo>
                  <a:cubicBezTo>
                    <a:pt x="534" y="16"/>
                    <a:pt x="534" y="16"/>
                    <a:pt x="534" y="16"/>
                  </a:cubicBezTo>
                  <a:cubicBezTo>
                    <a:pt x="532" y="7"/>
                    <a:pt x="532" y="7"/>
                    <a:pt x="532" y="7"/>
                  </a:cubicBezTo>
                  <a:cubicBezTo>
                    <a:pt x="530" y="6"/>
                    <a:pt x="529" y="4"/>
                    <a:pt x="528" y="2"/>
                  </a:cubicBezTo>
                  <a:cubicBezTo>
                    <a:pt x="504" y="6"/>
                    <a:pt x="504" y="6"/>
                    <a:pt x="504" y="6"/>
                  </a:cubicBezTo>
                  <a:cubicBezTo>
                    <a:pt x="501" y="14"/>
                    <a:pt x="501" y="14"/>
                    <a:pt x="501" y="14"/>
                  </a:cubicBezTo>
                  <a:cubicBezTo>
                    <a:pt x="477" y="14"/>
                    <a:pt x="477" y="14"/>
                    <a:pt x="477" y="14"/>
                  </a:cubicBezTo>
                  <a:cubicBezTo>
                    <a:pt x="476" y="0"/>
                    <a:pt x="476" y="0"/>
                    <a:pt x="476" y="0"/>
                  </a:cubicBezTo>
                  <a:cubicBezTo>
                    <a:pt x="446" y="3"/>
                    <a:pt x="446" y="3"/>
                    <a:pt x="446" y="3"/>
                  </a:cubicBezTo>
                  <a:cubicBezTo>
                    <a:pt x="449" y="11"/>
                    <a:pt x="449" y="11"/>
                    <a:pt x="449" y="11"/>
                  </a:cubicBezTo>
                  <a:cubicBezTo>
                    <a:pt x="449" y="11"/>
                    <a:pt x="444" y="24"/>
                    <a:pt x="444" y="35"/>
                  </a:cubicBezTo>
                  <a:cubicBezTo>
                    <a:pt x="444" y="46"/>
                    <a:pt x="468" y="40"/>
                    <a:pt x="468" y="40"/>
                  </a:cubicBezTo>
                  <a:cubicBezTo>
                    <a:pt x="468" y="40"/>
                    <a:pt x="469" y="59"/>
                    <a:pt x="476" y="82"/>
                  </a:cubicBezTo>
                  <a:cubicBezTo>
                    <a:pt x="410" y="80"/>
                    <a:pt x="420" y="100"/>
                    <a:pt x="413" y="94"/>
                  </a:cubicBezTo>
                  <a:cubicBezTo>
                    <a:pt x="406" y="87"/>
                    <a:pt x="397" y="110"/>
                    <a:pt x="397" y="110"/>
                  </a:cubicBezTo>
                  <a:cubicBezTo>
                    <a:pt x="397" y="110"/>
                    <a:pt x="373" y="116"/>
                    <a:pt x="361" y="116"/>
                  </a:cubicBezTo>
                  <a:cubicBezTo>
                    <a:pt x="349" y="116"/>
                    <a:pt x="354" y="128"/>
                    <a:pt x="358" y="138"/>
                  </a:cubicBezTo>
                  <a:cubicBezTo>
                    <a:pt x="362" y="147"/>
                    <a:pt x="321" y="162"/>
                    <a:pt x="321" y="162"/>
                  </a:cubicBezTo>
                  <a:cubicBezTo>
                    <a:pt x="308" y="188"/>
                    <a:pt x="308" y="188"/>
                    <a:pt x="308" y="188"/>
                  </a:cubicBezTo>
                  <a:cubicBezTo>
                    <a:pt x="325" y="198"/>
                    <a:pt x="325" y="198"/>
                    <a:pt x="325" y="198"/>
                  </a:cubicBezTo>
                  <a:cubicBezTo>
                    <a:pt x="310" y="210"/>
                    <a:pt x="310" y="210"/>
                    <a:pt x="310" y="210"/>
                  </a:cubicBezTo>
                  <a:cubicBezTo>
                    <a:pt x="281" y="206"/>
                    <a:pt x="281" y="206"/>
                    <a:pt x="281" y="206"/>
                  </a:cubicBezTo>
                  <a:cubicBezTo>
                    <a:pt x="278" y="218"/>
                    <a:pt x="278" y="218"/>
                    <a:pt x="278" y="218"/>
                  </a:cubicBezTo>
                  <a:cubicBezTo>
                    <a:pt x="286" y="230"/>
                    <a:pt x="286" y="230"/>
                    <a:pt x="286" y="230"/>
                  </a:cubicBezTo>
                  <a:cubicBezTo>
                    <a:pt x="270" y="231"/>
                    <a:pt x="270" y="231"/>
                    <a:pt x="270" y="231"/>
                  </a:cubicBezTo>
                  <a:cubicBezTo>
                    <a:pt x="286" y="256"/>
                    <a:pt x="286" y="256"/>
                    <a:pt x="286" y="256"/>
                  </a:cubicBezTo>
                  <a:cubicBezTo>
                    <a:pt x="317" y="258"/>
                    <a:pt x="317" y="258"/>
                    <a:pt x="317" y="258"/>
                  </a:cubicBezTo>
                  <a:cubicBezTo>
                    <a:pt x="334" y="278"/>
                    <a:pt x="334" y="278"/>
                    <a:pt x="334" y="278"/>
                  </a:cubicBezTo>
                  <a:cubicBezTo>
                    <a:pt x="334" y="300"/>
                    <a:pt x="334" y="300"/>
                    <a:pt x="334" y="300"/>
                  </a:cubicBezTo>
                  <a:cubicBezTo>
                    <a:pt x="334" y="300"/>
                    <a:pt x="320" y="314"/>
                    <a:pt x="322" y="311"/>
                  </a:cubicBezTo>
                  <a:cubicBezTo>
                    <a:pt x="298" y="303"/>
                    <a:pt x="308" y="314"/>
                    <a:pt x="308" y="314"/>
                  </a:cubicBezTo>
                  <a:cubicBezTo>
                    <a:pt x="288" y="326"/>
                    <a:pt x="288" y="326"/>
                    <a:pt x="288" y="326"/>
                  </a:cubicBezTo>
                  <a:cubicBezTo>
                    <a:pt x="278" y="319"/>
                    <a:pt x="278" y="319"/>
                    <a:pt x="278" y="319"/>
                  </a:cubicBezTo>
                  <a:cubicBezTo>
                    <a:pt x="278" y="319"/>
                    <a:pt x="265" y="323"/>
                    <a:pt x="265" y="314"/>
                  </a:cubicBezTo>
                  <a:cubicBezTo>
                    <a:pt x="265" y="304"/>
                    <a:pt x="258" y="300"/>
                    <a:pt x="258" y="300"/>
                  </a:cubicBezTo>
                  <a:cubicBezTo>
                    <a:pt x="237" y="295"/>
                    <a:pt x="237" y="295"/>
                    <a:pt x="237" y="295"/>
                  </a:cubicBezTo>
                  <a:cubicBezTo>
                    <a:pt x="238" y="302"/>
                    <a:pt x="238" y="302"/>
                    <a:pt x="238" y="302"/>
                  </a:cubicBezTo>
                  <a:cubicBezTo>
                    <a:pt x="213" y="294"/>
                    <a:pt x="213" y="294"/>
                    <a:pt x="213" y="294"/>
                  </a:cubicBezTo>
                  <a:cubicBezTo>
                    <a:pt x="213" y="270"/>
                    <a:pt x="213" y="270"/>
                    <a:pt x="213" y="270"/>
                  </a:cubicBezTo>
                  <a:cubicBezTo>
                    <a:pt x="201" y="276"/>
                    <a:pt x="201" y="276"/>
                    <a:pt x="201" y="276"/>
                  </a:cubicBezTo>
                  <a:cubicBezTo>
                    <a:pt x="190" y="272"/>
                    <a:pt x="190" y="272"/>
                    <a:pt x="190" y="272"/>
                  </a:cubicBezTo>
                  <a:cubicBezTo>
                    <a:pt x="136" y="296"/>
                    <a:pt x="136" y="296"/>
                    <a:pt x="136" y="296"/>
                  </a:cubicBezTo>
                  <a:cubicBezTo>
                    <a:pt x="134" y="260"/>
                    <a:pt x="100" y="268"/>
                    <a:pt x="100" y="268"/>
                  </a:cubicBezTo>
                  <a:cubicBezTo>
                    <a:pt x="100" y="283"/>
                    <a:pt x="100" y="283"/>
                    <a:pt x="100" y="283"/>
                  </a:cubicBezTo>
                  <a:cubicBezTo>
                    <a:pt x="95" y="281"/>
                    <a:pt x="95" y="281"/>
                    <a:pt x="95" y="281"/>
                  </a:cubicBezTo>
                  <a:cubicBezTo>
                    <a:pt x="104" y="303"/>
                    <a:pt x="104" y="303"/>
                    <a:pt x="104" y="303"/>
                  </a:cubicBezTo>
                  <a:cubicBezTo>
                    <a:pt x="114" y="304"/>
                    <a:pt x="114" y="304"/>
                    <a:pt x="114" y="304"/>
                  </a:cubicBezTo>
                  <a:cubicBezTo>
                    <a:pt x="114" y="343"/>
                    <a:pt x="114" y="343"/>
                    <a:pt x="114" y="343"/>
                  </a:cubicBezTo>
                  <a:cubicBezTo>
                    <a:pt x="125" y="339"/>
                    <a:pt x="125" y="339"/>
                    <a:pt x="125" y="339"/>
                  </a:cubicBezTo>
                  <a:cubicBezTo>
                    <a:pt x="145" y="371"/>
                    <a:pt x="145" y="371"/>
                    <a:pt x="145" y="371"/>
                  </a:cubicBezTo>
                  <a:cubicBezTo>
                    <a:pt x="102" y="415"/>
                    <a:pt x="102" y="415"/>
                    <a:pt x="102" y="415"/>
                  </a:cubicBezTo>
                  <a:cubicBezTo>
                    <a:pt x="94" y="472"/>
                    <a:pt x="94" y="472"/>
                    <a:pt x="94" y="472"/>
                  </a:cubicBezTo>
                  <a:cubicBezTo>
                    <a:pt x="69" y="466"/>
                    <a:pt x="69" y="466"/>
                    <a:pt x="69" y="466"/>
                  </a:cubicBezTo>
                  <a:cubicBezTo>
                    <a:pt x="54" y="490"/>
                    <a:pt x="54" y="490"/>
                    <a:pt x="54" y="490"/>
                  </a:cubicBezTo>
                  <a:cubicBezTo>
                    <a:pt x="58" y="500"/>
                    <a:pt x="58" y="500"/>
                    <a:pt x="58" y="500"/>
                  </a:cubicBezTo>
                  <a:cubicBezTo>
                    <a:pt x="0" y="540"/>
                    <a:pt x="0" y="540"/>
                    <a:pt x="0" y="540"/>
                  </a:cubicBezTo>
                  <a:cubicBezTo>
                    <a:pt x="1" y="541"/>
                    <a:pt x="2" y="541"/>
                    <a:pt x="2" y="54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7" name="Languedoc-Roussillon" descr="© INSCALE GmbH, 05.05.2010&#10;http://www.presentationload.com/">
              <a:extLst>
                <a:ext uri="{FF2B5EF4-FFF2-40B4-BE49-F238E27FC236}">
                  <a16:creationId xmlns:a16="http://schemas.microsoft.com/office/drawing/2014/main" id="{50A5143E-E69F-488B-AEDD-AD9B91FA6B95}"/>
                </a:ext>
              </a:extLst>
            </p:cNvPr>
            <p:cNvSpPr>
              <a:spLocks/>
            </p:cNvSpPr>
            <p:nvPr/>
          </p:nvSpPr>
          <p:spPr bwMode="gray">
            <a:xfrm>
              <a:off x="1594" y="2270"/>
              <a:ext cx="795" cy="930"/>
            </a:xfrm>
            <a:custGeom>
              <a:avLst/>
              <a:gdLst/>
              <a:ahLst/>
              <a:cxnLst>
                <a:cxn ang="0">
                  <a:pos x="20" y="800"/>
                </a:cxn>
                <a:cxn ang="0">
                  <a:pos x="61" y="817"/>
                </a:cxn>
                <a:cxn ang="0">
                  <a:pos x="99" y="847"/>
                </a:cxn>
                <a:cxn ang="0">
                  <a:pos x="151" y="830"/>
                </a:cxn>
                <a:cxn ang="0">
                  <a:pos x="230" y="858"/>
                </a:cxn>
                <a:cxn ang="0">
                  <a:pos x="248" y="831"/>
                </a:cxn>
                <a:cxn ang="0">
                  <a:pos x="282" y="817"/>
                </a:cxn>
                <a:cxn ang="0">
                  <a:pos x="318" y="812"/>
                </a:cxn>
                <a:cxn ang="0">
                  <a:pos x="347" y="824"/>
                </a:cxn>
                <a:cxn ang="0">
                  <a:pos x="335" y="788"/>
                </a:cxn>
                <a:cxn ang="0">
                  <a:pos x="322" y="658"/>
                </a:cxn>
                <a:cxn ang="0">
                  <a:pos x="319" y="622"/>
                </a:cxn>
                <a:cxn ang="0">
                  <a:pos x="466" y="488"/>
                </a:cxn>
                <a:cxn ang="0">
                  <a:pos x="564" y="442"/>
                </a:cxn>
                <a:cxn ang="0">
                  <a:pos x="650" y="433"/>
                </a:cxn>
                <a:cxn ang="0">
                  <a:pos x="661" y="399"/>
                </a:cxn>
                <a:cxn ang="0">
                  <a:pos x="694" y="348"/>
                </a:cxn>
                <a:cxn ang="0">
                  <a:pos x="717" y="272"/>
                </a:cxn>
                <a:cxn ang="0">
                  <a:pos x="706" y="237"/>
                </a:cxn>
                <a:cxn ang="0">
                  <a:pos x="687" y="214"/>
                </a:cxn>
                <a:cxn ang="0">
                  <a:pos x="641" y="209"/>
                </a:cxn>
                <a:cxn ang="0">
                  <a:pos x="634" y="195"/>
                </a:cxn>
                <a:cxn ang="0">
                  <a:pos x="600" y="225"/>
                </a:cxn>
                <a:cxn ang="0">
                  <a:pos x="549" y="208"/>
                </a:cxn>
                <a:cxn ang="0">
                  <a:pos x="536" y="159"/>
                </a:cxn>
                <a:cxn ang="0">
                  <a:pos x="518" y="121"/>
                </a:cxn>
                <a:cxn ang="0">
                  <a:pos x="501" y="71"/>
                </a:cxn>
                <a:cxn ang="0">
                  <a:pos x="458" y="40"/>
                </a:cxn>
                <a:cxn ang="0">
                  <a:pos x="420" y="51"/>
                </a:cxn>
                <a:cxn ang="0">
                  <a:pos x="373" y="16"/>
                </a:cxn>
                <a:cxn ang="0">
                  <a:pos x="368" y="27"/>
                </a:cxn>
                <a:cxn ang="0">
                  <a:pos x="342" y="19"/>
                </a:cxn>
                <a:cxn ang="0">
                  <a:pos x="334" y="43"/>
                </a:cxn>
                <a:cxn ang="0">
                  <a:pos x="320" y="79"/>
                </a:cxn>
                <a:cxn ang="0">
                  <a:pos x="308" y="108"/>
                </a:cxn>
                <a:cxn ang="0">
                  <a:pos x="325" y="155"/>
                </a:cxn>
                <a:cxn ang="0">
                  <a:pos x="348" y="208"/>
                </a:cxn>
                <a:cxn ang="0">
                  <a:pos x="361" y="232"/>
                </a:cxn>
                <a:cxn ang="0">
                  <a:pos x="393" y="256"/>
                </a:cxn>
                <a:cxn ang="0">
                  <a:pos x="393" y="285"/>
                </a:cxn>
                <a:cxn ang="0">
                  <a:pos x="418" y="303"/>
                </a:cxn>
                <a:cxn ang="0">
                  <a:pos x="394" y="345"/>
                </a:cxn>
                <a:cxn ang="0">
                  <a:pos x="373" y="364"/>
                </a:cxn>
                <a:cxn ang="0">
                  <a:pos x="328" y="405"/>
                </a:cxn>
                <a:cxn ang="0">
                  <a:pos x="253" y="427"/>
                </a:cxn>
                <a:cxn ang="0">
                  <a:pos x="198" y="492"/>
                </a:cxn>
                <a:cxn ang="0">
                  <a:pos x="130" y="509"/>
                </a:cxn>
                <a:cxn ang="0">
                  <a:pos x="96" y="496"/>
                </a:cxn>
                <a:cxn ang="0">
                  <a:pos x="62" y="508"/>
                </a:cxn>
                <a:cxn ang="0">
                  <a:pos x="37" y="520"/>
                </a:cxn>
                <a:cxn ang="0">
                  <a:pos x="14" y="572"/>
                </a:cxn>
                <a:cxn ang="0">
                  <a:pos x="68" y="612"/>
                </a:cxn>
                <a:cxn ang="0">
                  <a:pos x="64" y="651"/>
                </a:cxn>
                <a:cxn ang="0">
                  <a:pos x="77" y="669"/>
                </a:cxn>
                <a:cxn ang="0">
                  <a:pos x="53" y="693"/>
                </a:cxn>
                <a:cxn ang="0">
                  <a:pos x="101" y="713"/>
                </a:cxn>
                <a:cxn ang="0">
                  <a:pos x="76" y="743"/>
                </a:cxn>
                <a:cxn ang="0">
                  <a:pos x="57" y="760"/>
                </a:cxn>
                <a:cxn ang="0">
                  <a:pos x="26" y="768"/>
                </a:cxn>
                <a:cxn ang="0">
                  <a:pos x="25" y="777"/>
                </a:cxn>
              </a:cxnLst>
              <a:rect l="0" t="0" r="r" b="b"/>
              <a:pathLst>
                <a:path w="737" h="861">
                  <a:moveTo>
                    <a:pt x="25" y="777"/>
                  </a:moveTo>
                  <a:cubicBezTo>
                    <a:pt x="20" y="781"/>
                    <a:pt x="20" y="800"/>
                    <a:pt x="20" y="800"/>
                  </a:cubicBezTo>
                  <a:cubicBezTo>
                    <a:pt x="20" y="800"/>
                    <a:pt x="41" y="808"/>
                    <a:pt x="43" y="805"/>
                  </a:cubicBezTo>
                  <a:cubicBezTo>
                    <a:pt x="47" y="818"/>
                    <a:pt x="61" y="817"/>
                    <a:pt x="61" y="817"/>
                  </a:cubicBezTo>
                  <a:cubicBezTo>
                    <a:pt x="79" y="848"/>
                    <a:pt x="79" y="848"/>
                    <a:pt x="79" y="848"/>
                  </a:cubicBezTo>
                  <a:cubicBezTo>
                    <a:pt x="99" y="847"/>
                    <a:pt x="99" y="847"/>
                    <a:pt x="99" y="847"/>
                  </a:cubicBezTo>
                  <a:cubicBezTo>
                    <a:pt x="119" y="828"/>
                    <a:pt x="119" y="828"/>
                    <a:pt x="119" y="828"/>
                  </a:cubicBezTo>
                  <a:cubicBezTo>
                    <a:pt x="151" y="830"/>
                    <a:pt x="151" y="830"/>
                    <a:pt x="151" y="830"/>
                  </a:cubicBezTo>
                  <a:cubicBezTo>
                    <a:pt x="151" y="830"/>
                    <a:pt x="194" y="861"/>
                    <a:pt x="205" y="857"/>
                  </a:cubicBezTo>
                  <a:cubicBezTo>
                    <a:pt x="216" y="853"/>
                    <a:pt x="230" y="858"/>
                    <a:pt x="230" y="858"/>
                  </a:cubicBezTo>
                  <a:cubicBezTo>
                    <a:pt x="234" y="844"/>
                    <a:pt x="234" y="844"/>
                    <a:pt x="234" y="844"/>
                  </a:cubicBezTo>
                  <a:cubicBezTo>
                    <a:pt x="248" y="831"/>
                    <a:pt x="248" y="831"/>
                    <a:pt x="248" y="831"/>
                  </a:cubicBezTo>
                  <a:cubicBezTo>
                    <a:pt x="265" y="830"/>
                    <a:pt x="265" y="830"/>
                    <a:pt x="265" y="830"/>
                  </a:cubicBezTo>
                  <a:cubicBezTo>
                    <a:pt x="282" y="817"/>
                    <a:pt x="282" y="817"/>
                    <a:pt x="282" y="817"/>
                  </a:cubicBezTo>
                  <a:cubicBezTo>
                    <a:pt x="313" y="812"/>
                    <a:pt x="313" y="812"/>
                    <a:pt x="313" y="812"/>
                  </a:cubicBezTo>
                  <a:cubicBezTo>
                    <a:pt x="318" y="812"/>
                    <a:pt x="318" y="812"/>
                    <a:pt x="318" y="812"/>
                  </a:cubicBezTo>
                  <a:cubicBezTo>
                    <a:pt x="328" y="830"/>
                    <a:pt x="328" y="830"/>
                    <a:pt x="328" y="830"/>
                  </a:cubicBezTo>
                  <a:cubicBezTo>
                    <a:pt x="347" y="824"/>
                    <a:pt x="347" y="824"/>
                    <a:pt x="347" y="824"/>
                  </a:cubicBezTo>
                  <a:cubicBezTo>
                    <a:pt x="352" y="815"/>
                    <a:pt x="340" y="807"/>
                    <a:pt x="340" y="807"/>
                  </a:cubicBezTo>
                  <a:cubicBezTo>
                    <a:pt x="335" y="788"/>
                    <a:pt x="335" y="788"/>
                    <a:pt x="335" y="788"/>
                  </a:cubicBezTo>
                  <a:cubicBezTo>
                    <a:pt x="318" y="785"/>
                    <a:pt x="318" y="785"/>
                    <a:pt x="318" y="785"/>
                  </a:cubicBezTo>
                  <a:cubicBezTo>
                    <a:pt x="322" y="658"/>
                    <a:pt x="322" y="658"/>
                    <a:pt x="322" y="658"/>
                  </a:cubicBezTo>
                  <a:cubicBezTo>
                    <a:pt x="312" y="643"/>
                    <a:pt x="312" y="643"/>
                    <a:pt x="312" y="643"/>
                  </a:cubicBezTo>
                  <a:cubicBezTo>
                    <a:pt x="312" y="643"/>
                    <a:pt x="319" y="627"/>
                    <a:pt x="319" y="622"/>
                  </a:cubicBezTo>
                  <a:cubicBezTo>
                    <a:pt x="380" y="492"/>
                    <a:pt x="416" y="533"/>
                    <a:pt x="416" y="533"/>
                  </a:cubicBezTo>
                  <a:cubicBezTo>
                    <a:pt x="416" y="533"/>
                    <a:pt x="445" y="505"/>
                    <a:pt x="466" y="488"/>
                  </a:cubicBezTo>
                  <a:cubicBezTo>
                    <a:pt x="487" y="471"/>
                    <a:pt x="490" y="472"/>
                    <a:pt x="496" y="458"/>
                  </a:cubicBezTo>
                  <a:cubicBezTo>
                    <a:pt x="559" y="418"/>
                    <a:pt x="561" y="439"/>
                    <a:pt x="564" y="442"/>
                  </a:cubicBezTo>
                  <a:cubicBezTo>
                    <a:pt x="546" y="458"/>
                    <a:pt x="582" y="469"/>
                    <a:pt x="592" y="473"/>
                  </a:cubicBezTo>
                  <a:cubicBezTo>
                    <a:pt x="650" y="433"/>
                    <a:pt x="650" y="433"/>
                    <a:pt x="650" y="433"/>
                  </a:cubicBezTo>
                  <a:cubicBezTo>
                    <a:pt x="646" y="423"/>
                    <a:pt x="646" y="423"/>
                    <a:pt x="646" y="423"/>
                  </a:cubicBezTo>
                  <a:cubicBezTo>
                    <a:pt x="661" y="399"/>
                    <a:pt x="661" y="399"/>
                    <a:pt x="661" y="399"/>
                  </a:cubicBezTo>
                  <a:cubicBezTo>
                    <a:pt x="686" y="405"/>
                    <a:pt x="686" y="405"/>
                    <a:pt x="686" y="405"/>
                  </a:cubicBezTo>
                  <a:cubicBezTo>
                    <a:pt x="694" y="348"/>
                    <a:pt x="694" y="348"/>
                    <a:pt x="694" y="348"/>
                  </a:cubicBezTo>
                  <a:cubicBezTo>
                    <a:pt x="737" y="304"/>
                    <a:pt x="737" y="304"/>
                    <a:pt x="737" y="304"/>
                  </a:cubicBezTo>
                  <a:cubicBezTo>
                    <a:pt x="717" y="272"/>
                    <a:pt x="717" y="272"/>
                    <a:pt x="717" y="272"/>
                  </a:cubicBezTo>
                  <a:cubicBezTo>
                    <a:pt x="706" y="276"/>
                    <a:pt x="706" y="276"/>
                    <a:pt x="706" y="276"/>
                  </a:cubicBezTo>
                  <a:cubicBezTo>
                    <a:pt x="706" y="237"/>
                    <a:pt x="706" y="237"/>
                    <a:pt x="706" y="237"/>
                  </a:cubicBezTo>
                  <a:cubicBezTo>
                    <a:pt x="696" y="236"/>
                    <a:pt x="696" y="236"/>
                    <a:pt x="696" y="236"/>
                  </a:cubicBezTo>
                  <a:cubicBezTo>
                    <a:pt x="687" y="214"/>
                    <a:pt x="687" y="214"/>
                    <a:pt x="687" y="214"/>
                  </a:cubicBezTo>
                  <a:cubicBezTo>
                    <a:pt x="649" y="197"/>
                    <a:pt x="649" y="197"/>
                    <a:pt x="649" y="197"/>
                  </a:cubicBezTo>
                  <a:cubicBezTo>
                    <a:pt x="641" y="209"/>
                    <a:pt x="641" y="209"/>
                    <a:pt x="641" y="209"/>
                  </a:cubicBezTo>
                  <a:cubicBezTo>
                    <a:pt x="634" y="209"/>
                    <a:pt x="634" y="209"/>
                    <a:pt x="634" y="209"/>
                  </a:cubicBezTo>
                  <a:cubicBezTo>
                    <a:pt x="634" y="195"/>
                    <a:pt x="634" y="195"/>
                    <a:pt x="634" y="195"/>
                  </a:cubicBezTo>
                  <a:cubicBezTo>
                    <a:pt x="620" y="195"/>
                    <a:pt x="620" y="195"/>
                    <a:pt x="620" y="195"/>
                  </a:cubicBezTo>
                  <a:cubicBezTo>
                    <a:pt x="600" y="225"/>
                    <a:pt x="600" y="225"/>
                    <a:pt x="600" y="225"/>
                  </a:cubicBezTo>
                  <a:cubicBezTo>
                    <a:pt x="568" y="197"/>
                    <a:pt x="568" y="197"/>
                    <a:pt x="568" y="197"/>
                  </a:cubicBezTo>
                  <a:cubicBezTo>
                    <a:pt x="549" y="208"/>
                    <a:pt x="549" y="208"/>
                    <a:pt x="549" y="208"/>
                  </a:cubicBezTo>
                  <a:cubicBezTo>
                    <a:pt x="556" y="177"/>
                    <a:pt x="556" y="177"/>
                    <a:pt x="556" y="177"/>
                  </a:cubicBezTo>
                  <a:cubicBezTo>
                    <a:pt x="536" y="159"/>
                    <a:pt x="536" y="159"/>
                    <a:pt x="536" y="159"/>
                  </a:cubicBezTo>
                  <a:cubicBezTo>
                    <a:pt x="532" y="128"/>
                    <a:pt x="532" y="128"/>
                    <a:pt x="532" y="128"/>
                  </a:cubicBezTo>
                  <a:cubicBezTo>
                    <a:pt x="518" y="121"/>
                    <a:pt x="518" y="121"/>
                    <a:pt x="518" y="121"/>
                  </a:cubicBezTo>
                  <a:cubicBezTo>
                    <a:pt x="505" y="69"/>
                    <a:pt x="505" y="69"/>
                    <a:pt x="505" y="69"/>
                  </a:cubicBezTo>
                  <a:cubicBezTo>
                    <a:pt x="501" y="71"/>
                    <a:pt x="501" y="71"/>
                    <a:pt x="501" y="71"/>
                  </a:cubicBezTo>
                  <a:cubicBezTo>
                    <a:pt x="480" y="45"/>
                    <a:pt x="480" y="45"/>
                    <a:pt x="480" y="45"/>
                  </a:cubicBezTo>
                  <a:cubicBezTo>
                    <a:pt x="458" y="40"/>
                    <a:pt x="458" y="40"/>
                    <a:pt x="458" y="40"/>
                  </a:cubicBezTo>
                  <a:cubicBezTo>
                    <a:pt x="458" y="40"/>
                    <a:pt x="448" y="16"/>
                    <a:pt x="444" y="43"/>
                  </a:cubicBezTo>
                  <a:cubicBezTo>
                    <a:pt x="420" y="51"/>
                    <a:pt x="420" y="51"/>
                    <a:pt x="420" y="51"/>
                  </a:cubicBezTo>
                  <a:cubicBezTo>
                    <a:pt x="402" y="0"/>
                    <a:pt x="402" y="0"/>
                    <a:pt x="402" y="0"/>
                  </a:cubicBezTo>
                  <a:cubicBezTo>
                    <a:pt x="402" y="0"/>
                    <a:pt x="384" y="7"/>
                    <a:pt x="373" y="16"/>
                  </a:cubicBezTo>
                  <a:cubicBezTo>
                    <a:pt x="371" y="18"/>
                    <a:pt x="369" y="19"/>
                    <a:pt x="368" y="19"/>
                  </a:cubicBezTo>
                  <a:cubicBezTo>
                    <a:pt x="368" y="27"/>
                    <a:pt x="368" y="27"/>
                    <a:pt x="368" y="27"/>
                  </a:cubicBezTo>
                  <a:cubicBezTo>
                    <a:pt x="350" y="32"/>
                    <a:pt x="350" y="32"/>
                    <a:pt x="350" y="32"/>
                  </a:cubicBezTo>
                  <a:cubicBezTo>
                    <a:pt x="342" y="19"/>
                    <a:pt x="342" y="19"/>
                    <a:pt x="342" y="19"/>
                  </a:cubicBezTo>
                  <a:cubicBezTo>
                    <a:pt x="333" y="23"/>
                    <a:pt x="333" y="23"/>
                    <a:pt x="333" y="23"/>
                  </a:cubicBezTo>
                  <a:cubicBezTo>
                    <a:pt x="334" y="43"/>
                    <a:pt x="334" y="43"/>
                    <a:pt x="334" y="43"/>
                  </a:cubicBezTo>
                  <a:cubicBezTo>
                    <a:pt x="326" y="52"/>
                    <a:pt x="326" y="52"/>
                    <a:pt x="326" y="52"/>
                  </a:cubicBezTo>
                  <a:cubicBezTo>
                    <a:pt x="320" y="79"/>
                    <a:pt x="320" y="79"/>
                    <a:pt x="320" y="79"/>
                  </a:cubicBezTo>
                  <a:cubicBezTo>
                    <a:pt x="308" y="99"/>
                    <a:pt x="308" y="99"/>
                    <a:pt x="308" y="99"/>
                  </a:cubicBezTo>
                  <a:cubicBezTo>
                    <a:pt x="308" y="108"/>
                    <a:pt x="308" y="108"/>
                    <a:pt x="308" y="108"/>
                  </a:cubicBezTo>
                  <a:cubicBezTo>
                    <a:pt x="329" y="123"/>
                    <a:pt x="329" y="123"/>
                    <a:pt x="329" y="123"/>
                  </a:cubicBezTo>
                  <a:cubicBezTo>
                    <a:pt x="325" y="155"/>
                    <a:pt x="325" y="155"/>
                    <a:pt x="325" y="155"/>
                  </a:cubicBezTo>
                  <a:cubicBezTo>
                    <a:pt x="346" y="168"/>
                    <a:pt x="346" y="168"/>
                    <a:pt x="346" y="168"/>
                  </a:cubicBezTo>
                  <a:cubicBezTo>
                    <a:pt x="348" y="208"/>
                    <a:pt x="348" y="208"/>
                    <a:pt x="348" y="208"/>
                  </a:cubicBezTo>
                  <a:cubicBezTo>
                    <a:pt x="338" y="224"/>
                    <a:pt x="338" y="224"/>
                    <a:pt x="338" y="224"/>
                  </a:cubicBezTo>
                  <a:cubicBezTo>
                    <a:pt x="361" y="232"/>
                    <a:pt x="361" y="232"/>
                    <a:pt x="361" y="232"/>
                  </a:cubicBezTo>
                  <a:cubicBezTo>
                    <a:pt x="357" y="244"/>
                    <a:pt x="357" y="244"/>
                    <a:pt x="357" y="244"/>
                  </a:cubicBezTo>
                  <a:cubicBezTo>
                    <a:pt x="357" y="244"/>
                    <a:pt x="398" y="251"/>
                    <a:pt x="393" y="256"/>
                  </a:cubicBezTo>
                  <a:cubicBezTo>
                    <a:pt x="388" y="261"/>
                    <a:pt x="373" y="279"/>
                    <a:pt x="373" y="279"/>
                  </a:cubicBezTo>
                  <a:cubicBezTo>
                    <a:pt x="393" y="285"/>
                    <a:pt x="393" y="285"/>
                    <a:pt x="393" y="285"/>
                  </a:cubicBezTo>
                  <a:cubicBezTo>
                    <a:pt x="405" y="295"/>
                    <a:pt x="405" y="295"/>
                    <a:pt x="405" y="295"/>
                  </a:cubicBezTo>
                  <a:cubicBezTo>
                    <a:pt x="418" y="303"/>
                    <a:pt x="418" y="303"/>
                    <a:pt x="418" y="303"/>
                  </a:cubicBezTo>
                  <a:cubicBezTo>
                    <a:pt x="397" y="328"/>
                    <a:pt x="397" y="328"/>
                    <a:pt x="397" y="328"/>
                  </a:cubicBezTo>
                  <a:cubicBezTo>
                    <a:pt x="394" y="345"/>
                    <a:pt x="394" y="345"/>
                    <a:pt x="394" y="345"/>
                  </a:cubicBezTo>
                  <a:cubicBezTo>
                    <a:pt x="373" y="347"/>
                    <a:pt x="373" y="347"/>
                    <a:pt x="373" y="347"/>
                  </a:cubicBezTo>
                  <a:cubicBezTo>
                    <a:pt x="373" y="364"/>
                    <a:pt x="373" y="364"/>
                    <a:pt x="373" y="364"/>
                  </a:cubicBezTo>
                  <a:cubicBezTo>
                    <a:pt x="329" y="365"/>
                    <a:pt x="329" y="365"/>
                    <a:pt x="329" y="365"/>
                  </a:cubicBezTo>
                  <a:cubicBezTo>
                    <a:pt x="328" y="405"/>
                    <a:pt x="328" y="405"/>
                    <a:pt x="328" y="405"/>
                  </a:cubicBezTo>
                  <a:cubicBezTo>
                    <a:pt x="328" y="405"/>
                    <a:pt x="306" y="399"/>
                    <a:pt x="297" y="417"/>
                  </a:cubicBezTo>
                  <a:cubicBezTo>
                    <a:pt x="276" y="427"/>
                    <a:pt x="253" y="427"/>
                    <a:pt x="253" y="427"/>
                  </a:cubicBezTo>
                  <a:cubicBezTo>
                    <a:pt x="253" y="427"/>
                    <a:pt x="202" y="425"/>
                    <a:pt x="241" y="464"/>
                  </a:cubicBezTo>
                  <a:cubicBezTo>
                    <a:pt x="232" y="469"/>
                    <a:pt x="232" y="497"/>
                    <a:pt x="198" y="492"/>
                  </a:cubicBezTo>
                  <a:cubicBezTo>
                    <a:pt x="165" y="487"/>
                    <a:pt x="173" y="499"/>
                    <a:pt x="173" y="499"/>
                  </a:cubicBezTo>
                  <a:cubicBezTo>
                    <a:pt x="173" y="499"/>
                    <a:pt x="130" y="476"/>
                    <a:pt x="130" y="509"/>
                  </a:cubicBezTo>
                  <a:cubicBezTo>
                    <a:pt x="130" y="509"/>
                    <a:pt x="108" y="504"/>
                    <a:pt x="102" y="505"/>
                  </a:cubicBezTo>
                  <a:cubicBezTo>
                    <a:pt x="97" y="507"/>
                    <a:pt x="96" y="496"/>
                    <a:pt x="96" y="496"/>
                  </a:cubicBezTo>
                  <a:cubicBezTo>
                    <a:pt x="68" y="495"/>
                    <a:pt x="68" y="495"/>
                    <a:pt x="68" y="495"/>
                  </a:cubicBezTo>
                  <a:cubicBezTo>
                    <a:pt x="62" y="508"/>
                    <a:pt x="62" y="508"/>
                    <a:pt x="62" y="508"/>
                  </a:cubicBezTo>
                  <a:cubicBezTo>
                    <a:pt x="49" y="487"/>
                    <a:pt x="49" y="487"/>
                    <a:pt x="49" y="487"/>
                  </a:cubicBezTo>
                  <a:cubicBezTo>
                    <a:pt x="49" y="487"/>
                    <a:pt x="37" y="495"/>
                    <a:pt x="37" y="520"/>
                  </a:cubicBezTo>
                  <a:cubicBezTo>
                    <a:pt x="34" y="525"/>
                    <a:pt x="0" y="531"/>
                    <a:pt x="18" y="553"/>
                  </a:cubicBezTo>
                  <a:cubicBezTo>
                    <a:pt x="12" y="553"/>
                    <a:pt x="14" y="572"/>
                    <a:pt x="14" y="572"/>
                  </a:cubicBezTo>
                  <a:cubicBezTo>
                    <a:pt x="64" y="591"/>
                    <a:pt x="64" y="591"/>
                    <a:pt x="64" y="591"/>
                  </a:cubicBezTo>
                  <a:cubicBezTo>
                    <a:pt x="64" y="591"/>
                    <a:pt x="73" y="607"/>
                    <a:pt x="68" y="612"/>
                  </a:cubicBezTo>
                  <a:cubicBezTo>
                    <a:pt x="62" y="617"/>
                    <a:pt x="78" y="644"/>
                    <a:pt x="78" y="644"/>
                  </a:cubicBezTo>
                  <a:cubicBezTo>
                    <a:pt x="64" y="651"/>
                    <a:pt x="64" y="651"/>
                    <a:pt x="64" y="651"/>
                  </a:cubicBezTo>
                  <a:cubicBezTo>
                    <a:pt x="80" y="655"/>
                    <a:pt x="80" y="655"/>
                    <a:pt x="80" y="655"/>
                  </a:cubicBezTo>
                  <a:cubicBezTo>
                    <a:pt x="80" y="655"/>
                    <a:pt x="77" y="665"/>
                    <a:pt x="77" y="669"/>
                  </a:cubicBezTo>
                  <a:cubicBezTo>
                    <a:pt x="77" y="673"/>
                    <a:pt x="54" y="679"/>
                    <a:pt x="54" y="679"/>
                  </a:cubicBezTo>
                  <a:cubicBezTo>
                    <a:pt x="53" y="693"/>
                    <a:pt x="53" y="693"/>
                    <a:pt x="53" y="693"/>
                  </a:cubicBezTo>
                  <a:cubicBezTo>
                    <a:pt x="62" y="697"/>
                    <a:pt x="62" y="697"/>
                    <a:pt x="62" y="697"/>
                  </a:cubicBezTo>
                  <a:cubicBezTo>
                    <a:pt x="62" y="697"/>
                    <a:pt x="48" y="717"/>
                    <a:pt x="101" y="713"/>
                  </a:cubicBezTo>
                  <a:cubicBezTo>
                    <a:pt x="122" y="735"/>
                    <a:pt x="120" y="741"/>
                    <a:pt x="120" y="741"/>
                  </a:cubicBezTo>
                  <a:cubicBezTo>
                    <a:pt x="76" y="743"/>
                    <a:pt x="76" y="743"/>
                    <a:pt x="76" y="743"/>
                  </a:cubicBezTo>
                  <a:cubicBezTo>
                    <a:pt x="78" y="755"/>
                    <a:pt x="78" y="755"/>
                    <a:pt x="78" y="755"/>
                  </a:cubicBezTo>
                  <a:cubicBezTo>
                    <a:pt x="57" y="760"/>
                    <a:pt x="57" y="760"/>
                    <a:pt x="57" y="760"/>
                  </a:cubicBezTo>
                  <a:cubicBezTo>
                    <a:pt x="50" y="769"/>
                    <a:pt x="50" y="769"/>
                    <a:pt x="50" y="769"/>
                  </a:cubicBezTo>
                  <a:cubicBezTo>
                    <a:pt x="26" y="768"/>
                    <a:pt x="26" y="768"/>
                    <a:pt x="26" y="768"/>
                  </a:cubicBezTo>
                  <a:cubicBezTo>
                    <a:pt x="25" y="771"/>
                    <a:pt x="25" y="771"/>
                    <a:pt x="25" y="771"/>
                  </a:cubicBezTo>
                  <a:cubicBezTo>
                    <a:pt x="26" y="774"/>
                    <a:pt x="26" y="776"/>
                    <a:pt x="25" y="7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8" name="Midi-Pyrénnées" descr="© INSCALE GmbH, 05.05.2010&#10;http://www.presentationload.com/">
              <a:extLst>
                <a:ext uri="{FF2B5EF4-FFF2-40B4-BE49-F238E27FC236}">
                  <a16:creationId xmlns:a16="http://schemas.microsoft.com/office/drawing/2014/main" id="{A2F3FD82-C7EE-4A6F-8CF6-1DEA7DAD94F2}"/>
                </a:ext>
              </a:extLst>
            </p:cNvPr>
            <p:cNvSpPr>
              <a:spLocks/>
            </p:cNvSpPr>
            <p:nvPr/>
          </p:nvSpPr>
          <p:spPr bwMode="gray">
            <a:xfrm>
              <a:off x="1092" y="2246"/>
              <a:ext cx="953" cy="857"/>
            </a:xfrm>
            <a:custGeom>
              <a:avLst/>
              <a:gdLst/>
              <a:ahLst/>
              <a:cxnLst>
                <a:cxn ang="0">
                  <a:pos x="839" y="302"/>
                </a:cxn>
                <a:cxn ang="0">
                  <a:pos x="827" y="255"/>
                </a:cxn>
                <a:cxn ang="0">
                  <a:pos x="812" y="191"/>
                </a:cxn>
                <a:cxn ang="0">
                  <a:pos x="774" y="131"/>
                </a:cxn>
                <a:cxn ang="0">
                  <a:pos x="763" y="86"/>
                </a:cxn>
                <a:cxn ang="0">
                  <a:pos x="727" y="55"/>
                </a:cxn>
                <a:cxn ang="0">
                  <a:pos x="690" y="56"/>
                </a:cxn>
                <a:cxn ang="0">
                  <a:pos x="679" y="104"/>
                </a:cxn>
                <a:cxn ang="0">
                  <a:pos x="628" y="128"/>
                </a:cxn>
                <a:cxn ang="0">
                  <a:pos x="599" y="136"/>
                </a:cxn>
                <a:cxn ang="0">
                  <a:pos x="583" y="108"/>
                </a:cxn>
                <a:cxn ang="0">
                  <a:pos x="571" y="17"/>
                </a:cxn>
                <a:cxn ang="0">
                  <a:pos x="535" y="27"/>
                </a:cxn>
                <a:cxn ang="0">
                  <a:pos x="467" y="4"/>
                </a:cxn>
                <a:cxn ang="0">
                  <a:pos x="420" y="8"/>
                </a:cxn>
                <a:cxn ang="0">
                  <a:pos x="424" y="54"/>
                </a:cxn>
                <a:cxn ang="0">
                  <a:pos x="390" y="75"/>
                </a:cxn>
                <a:cxn ang="0">
                  <a:pos x="363" y="118"/>
                </a:cxn>
                <a:cxn ang="0">
                  <a:pos x="327" y="190"/>
                </a:cxn>
                <a:cxn ang="0">
                  <a:pos x="291" y="234"/>
                </a:cxn>
                <a:cxn ang="0">
                  <a:pos x="296" y="287"/>
                </a:cxn>
                <a:cxn ang="0">
                  <a:pos x="227" y="306"/>
                </a:cxn>
                <a:cxn ang="0">
                  <a:pos x="140" y="319"/>
                </a:cxn>
                <a:cxn ang="0">
                  <a:pos x="104" y="343"/>
                </a:cxn>
                <a:cxn ang="0">
                  <a:pos x="83" y="335"/>
                </a:cxn>
                <a:cxn ang="0">
                  <a:pos x="42" y="390"/>
                </a:cxn>
                <a:cxn ang="0">
                  <a:pos x="30" y="423"/>
                </a:cxn>
                <a:cxn ang="0">
                  <a:pos x="34" y="458"/>
                </a:cxn>
                <a:cxn ang="0">
                  <a:pos x="72" y="498"/>
                </a:cxn>
                <a:cxn ang="0">
                  <a:pos x="90" y="538"/>
                </a:cxn>
                <a:cxn ang="0">
                  <a:pos x="67" y="578"/>
                </a:cxn>
                <a:cxn ang="0">
                  <a:pos x="38" y="614"/>
                </a:cxn>
                <a:cxn ang="0">
                  <a:pos x="0" y="699"/>
                </a:cxn>
                <a:cxn ang="0">
                  <a:pos x="53" y="712"/>
                </a:cxn>
                <a:cxn ang="0">
                  <a:pos x="129" y="735"/>
                </a:cxn>
                <a:cxn ang="0">
                  <a:pos x="245" y="753"/>
                </a:cxn>
                <a:cxn ang="0">
                  <a:pos x="321" y="721"/>
                </a:cxn>
                <a:cxn ang="0">
                  <a:pos x="467" y="782"/>
                </a:cxn>
                <a:cxn ang="0">
                  <a:pos x="492" y="791"/>
                </a:cxn>
                <a:cxn ang="0">
                  <a:pos x="544" y="778"/>
                </a:cxn>
                <a:cxn ang="0">
                  <a:pos x="567" y="736"/>
                </a:cxn>
                <a:cxn ang="0">
                  <a:pos x="520" y="702"/>
                </a:cxn>
                <a:cxn ang="0">
                  <a:pos x="530" y="674"/>
                </a:cxn>
                <a:cxn ang="0">
                  <a:pos x="530" y="614"/>
                </a:cxn>
                <a:cxn ang="0">
                  <a:pos x="503" y="543"/>
                </a:cxn>
                <a:cxn ang="0">
                  <a:pos x="534" y="518"/>
                </a:cxn>
                <a:cxn ang="0">
                  <a:pos x="596" y="532"/>
                </a:cxn>
                <a:cxn ang="0">
                  <a:pos x="707" y="487"/>
                </a:cxn>
                <a:cxn ang="0">
                  <a:pos x="794" y="428"/>
                </a:cxn>
                <a:cxn ang="0">
                  <a:pos x="839" y="370"/>
                </a:cxn>
                <a:cxn ang="0">
                  <a:pos x="884" y="326"/>
                </a:cxn>
              </a:cxnLst>
              <a:rect l="0" t="0" r="r" b="b"/>
              <a:pathLst>
                <a:path w="884" h="794">
                  <a:moveTo>
                    <a:pt x="871" y="318"/>
                  </a:moveTo>
                  <a:cubicBezTo>
                    <a:pt x="859" y="308"/>
                    <a:pt x="859" y="308"/>
                    <a:pt x="859" y="308"/>
                  </a:cubicBezTo>
                  <a:cubicBezTo>
                    <a:pt x="839" y="302"/>
                    <a:pt x="839" y="302"/>
                    <a:pt x="839" y="302"/>
                  </a:cubicBezTo>
                  <a:cubicBezTo>
                    <a:pt x="839" y="302"/>
                    <a:pt x="854" y="284"/>
                    <a:pt x="859" y="279"/>
                  </a:cubicBezTo>
                  <a:cubicBezTo>
                    <a:pt x="864" y="274"/>
                    <a:pt x="823" y="267"/>
                    <a:pt x="823" y="267"/>
                  </a:cubicBezTo>
                  <a:cubicBezTo>
                    <a:pt x="827" y="255"/>
                    <a:pt x="827" y="255"/>
                    <a:pt x="827" y="255"/>
                  </a:cubicBezTo>
                  <a:cubicBezTo>
                    <a:pt x="804" y="247"/>
                    <a:pt x="804" y="247"/>
                    <a:pt x="804" y="247"/>
                  </a:cubicBezTo>
                  <a:cubicBezTo>
                    <a:pt x="814" y="231"/>
                    <a:pt x="814" y="231"/>
                    <a:pt x="814" y="231"/>
                  </a:cubicBezTo>
                  <a:cubicBezTo>
                    <a:pt x="812" y="191"/>
                    <a:pt x="812" y="191"/>
                    <a:pt x="812" y="191"/>
                  </a:cubicBezTo>
                  <a:cubicBezTo>
                    <a:pt x="791" y="178"/>
                    <a:pt x="791" y="178"/>
                    <a:pt x="791" y="178"/>
                  </a:cubicBezTo>
                  <a:cubicBezTo>
                    <a:pt x="795" y="146"/>
                    <a:pt x="795" y="146"/>
                    <a:pt x="795" y="146"/>
                  </a:cubicBezTo>
                  <a:cubicBezTo>
                    <a:pt x="774" y="131"/>
                    <a:pt x="774" y="131"/>
                    <a:pt x="774" y="131"/>
                  </a:cubicBezTo>
                  <a:cubicBezTo>
                    <a:pt x="774" y="122"/>
                    <a:pt x="774" y="122"/>
                    <a:pt x="774" y="122"/>
                  </a:cubicBezTo>
                  <a:cubicBezTo>
                    <a:pt x="772" y="126"/>
                    <a:pt x="772" y="126"/>
                    <a:pt x="772" y="126"/>
                  </a:cubicBezTo>
                  <a:cubicBezTo>
                    <a:pt x="763" y="86"/>
                    <a:pt x="763" y="86"/>
                    <a:pt x="763" y="86"/>
                  </a:cubicBezTo>
                  <a:cubicBezTo>
                    <a:pt x="754" y="75"/>
                    <a:pt x="754" y="75"/>
                    <a:pt x="754" y="75"/>
                  </a:cubicBezTo>
                  <a:cubicBezTo>
                    <a:pt x="754" y="75"/>
                    <a:pt x="740" y="45"/>
                    <a:pt x="729" y="53"/>
                  </a:cubicBezTo>
                  <a:cubicBezTo>
                    <a:pt x="729" y="55"/>
                    <a:pt x="728" y="56"/>
                    <a:pt x="727" y="55"/>
                  </a:cubicBezTo>
                  <a:cubicBezTo>
                    <a:pt x="728" y="54"/>
                    <a:pt x="728" y="54"/>
                    <a:pt x="729" y="53"/>
                  </a:cubicBezTo>
                  <a:cubicBezTo>
                    <a:pt x="731" y="46"/>
                    <a:pt x="725" y="18"/>
                    <a:pt x="699" y="55"/>
                  </a:cubicBezTo>
                  <a:cubicBezTo>
                    <a:pt x="690" y="63"/>
                    <a:pt x="690" y="56"/>
                    <a:pt x="690" y="56"/>
                  </a:cubicBezTo>
                  <a:cubicBezTo>
                    <a:pt x="688" y="78"/>
                    <a:pt x="688" y="78"/>
                    <a:pt x="688" y="78"/>
                  </a:cubicBezTo>
                  <a:cubicBezTo>
                    <a:pt x="680" y="84"/>
                    <a:pt x="680" y="84"/>
                    <a:pt x="680" y="84"/>
                  </a:cubicBezTo>
                  <a:cubicBezTo>
                    <a:pt x="679" y="104"/>
                    <a:pt x="679" y="104"/>
                    <a:pt x="679" y="104"/>
                  </a:cubicBezTo>
                  <a:cubicBezTo>
                    <a:pt x="666" y="114"/>
                    <a:pt x="666" y="114"/>
                    <a:pt x="666" y="114"/>
                  </a:cubicBezTo>
                  <a:cubicBezTo>
                    <a:pt x="662" y="126"/>
                    <a:pt x="662" y="126"/>
                    <a:pt x="662" y="126"/>
                  </a:cubicBezTo>
                  <a:cubicBezTo>
                    <a:pt x="628" y="128"/>
                    <a:pt x="628" y="128"/>
                    <a:pt x="628" y="128"/>
                  </a:cubicBezTo>
                  <a:cubicBezTo>
                    <a:pt x="627" y="123"/>
                    <a:pt x="627" y="123"/>
                    <a:pt x="627" y="123"/>
                  </a:cubicBezTo>
                  <a:cubicBezTo>
                    <a:pt x="598" y="124"/>
                    <a:pt x="598" y="124"/>
                    <a:pt x="598" y="124"/>
                  </a:cubicBezTo>
                  <a:cubicBezTo>
                    <a:pt x="599" y="136"/>
                    <a:pt x="599" y="136"/>
                    <a:pt x="599" y="136"/>
                  </a:cubicBezTo>
                  <a:cubicBezTo>
                    <a:pt x="594" y="130"/>
                    <a:pt x="594" y="130"/>
                    <a:pt x="594" y="130"/>
                  </a:cubicBezTo>
                  <a:cubicBezTo>
                    <a:pt x="592" y="114"/>
                    <a:pt x="592" y="114"/>
                    <a:pt x="592" y="114"/>
                  </a:cubicBezTo>
                  <a:cubicBezTo>
                    <a:pt x="583" y="108"/>
                    <a:pt x="583" y="108"/>
                    <a:pt x="583" y="108"/>
                  </a:cubicBezTo>
                  <a:cubicBezTo>
                    <a:pt x="588" y="74"/>
                    <a:pt x="588" y="74"/>
                    <a:pt x="588" y="74"/>
                  </a:cubicBezTo>
                  <a:cubicBezTo>
                    <a:pt x="572" y="47"/>
                    <a:pt x="572" y="47"/>
                    <a:pt x="572" y="47"/>
                  </a:cubicBezTo>
                  <a:cubicBezTo>
                    <a:pt x="572" y="47"/>
                    <a:pt x="574" y="30"/>
                    <a:pt x="571" y="17"/>
                  </a:cubicBezTo>
                  <a:cubicBezTo>
                    <a:pt x="569" y="19"/>
                    <a:pt x="568" y="20"/>
                    <a:pt x="568" y="20"/>
                  </a:cubicBezTo>
                  <a:cubicBezTo>
                    <a:pt x="547" y="22"/>
                    <a:pt x="547" y="22"/>
                    <a:pt x="547" y="22"/>
                  </a:cubicBezTo>
                  <a:cubicBezTo>
                    <a:pt x="535" y="27"/>
                    <a:pt x="535" y="27"/>
                    <a:pt x="535" y="27"/>
                  </a:cubicBezTo>
                  <a:cubicBezTo>
                    <a:pt x="532" y="20"/>
                    <a:pt x="532" y="20"/>
                    <a:pt x="532" y="20"/>
                  </a:cubicBezTo>
                  <a:cubicBezTo>
                    <a:pt x="532" y="20"/>
                    <a:pt x="518" y="43"/>
                    <a:pt x="507" y="39"/>
                  </a:cubicBezTo>
                  <a:cubicBezTo>
                    <a:pt x="496" y="35"/>
                    <a:pt x="467" y="4"/>
                    <a:pt x="467" y="4"/>
                  </a:cubicBezTo>
                  <a:cubicBezTo>
                    <a:pt x="467" y="4"/>
                    <a:pt x="435" y="0"/>
                    <a:pt x="424" y="7"/>
                  </a:cubicBezTo>
                  <a:cubicBezTo>
                    <a:pt x="423" y="4"/>
                    <a:pt x="423" y="4"/>
                    <a:pt x="423" y="4"/>
                  </a:cubicBezTo>
                  <a:cubicBezTo>
                    <a:pt x="420" y="8"/>
                    <a:pt x="420" y="8"/>
                    <a:pt x="420" y="8"/>
                  </a:cubicBezTo>
                  <a:cubicBezTo>
                    <a:pt x="426" y="39"/>
                    <a:pt x="426" y="39"/>
                    <a:pt x="426" y="39"/>
                  </a:cubicBezTo>
                  <a:cubicBezTo>
                    <a:pt x="419" y="44"/>
                    <a:pt x="419" y="44"/>
                    <a:pt x="419" y="44"/>
                  </a:cubicBezTo>
                  <a:cubicBezTo>
                    <a:pt x="424" y="54"/>
                    <a:pt x="424" y="54"/>
                    <a:pt x="424" y="54"/>
                  </a:cubicBezTo>
                  <a:cubicBezTo>
                    <a:pt x="407" y="60"/>
                    <a:pt x="407" y="60"/>
                    <a:pt x="407" y="60"/>
                  </a:cubicBezTo>
                  <a:cubicBezTo>
                    <a:pt x="406" y="74"/>
                    <a:pt x="406" y="74"/>
                    <a:pt x="406" y="74"/>
                  </a:cubicBezTo>
                  <a:cubicBezTo>
                    <a:pt x="390" y="75"/>
                    <a:pt x="390" y="75"/>
                    <a:pt x="390" y="75"/>
                  </a:cubicBezTo>
                  <a:cubicBezTo>
                    <a:pt x="398" y="92"/>
                    <a:pt x="398" y="92"/>
                    <a:pt x="398" y="92"/>
                  </a:cubicBezTo>
                  <a:cubicBezTo>
                    <a:pt x="384" y="112"/>
                    <a:pt x="384" y="112"/>
                    <a:pt x="384" y="112"/>
                  </a:cubicBezTo>
                  <a:cubicBezTo>
                    <a:pt x="363" y="118"/>
                    <a:pt x="363" y="118"/>
                    <a:pt x="363" y="118"/>
                  </a:cubicBezTo>
                  <a:cubicBezTo>
                    <a:pt x="344" y="147"/>
                    <a:pt x="344" y="147"/>
                    <a:pt x="344" y="147"/>
                  </a:cubicBezTo>
                  <a:cubicBezTo>
                    <a:pt x="316" y="156"/>
                    <a:pt x="316" y="156"/>
                    <a:pt x="316" y="156"/>
                  </a:cubicBezTo>
                  <a:cubicBezTo>
                    <a:pt x="316" y="156"/>
                    <a:pt x="327" y="186"/>
                    <a:pt x="327" y="190"/>
                  </a:cubicBezTo>
                  <a:cubicBezTo>
                    <a:pt x="327" y="194"/>
                    <a:pt x="334" y="198"/>
                    <a:pt x="334" y="198"/>
                  </a:cubicBezTo>
                  <a:cubicBezTo>
                    <a:pt x="334" y="198"/>
                    <a:pt x="331" y="223"/>
                    <a:pt x="312" y="216"/>
                  </a:cubicBezTo>
                  <a:cubicBezTo>
                    <a:pt x="294" y="210"/>
                    <a:pt x="291" y="234"/>
                    <a:pt x="291" y="234"/>
                  </a:cubicBezTo>
                  <a:cubicBezTo>
                    <a:pt x="308" y="246"/>
                    <a:pt x="308" y="246"/>
                    <a:pt x="308" y="246"/>
                  </a:cubicBezTo>
                  <a:cubicBezTo>
                    <a:pt x="291" y="270"/>
                    <a:pt x="291" y="270"/>
                    <a:pt x="291" y="270"/>
                  </a:cubicBezTo>
                  <a:cubicBezTo>
                    <a:pt x="296" y="287"/>
                    <a:pt x="296" y="287"/>
                    <a:pt x="296" y="287"/>
                  </a:cubicBezTo>
                  <a:cubicBezTo>
                    <a:pt x="274" y="286"/>
                    <a:pt x="274" y="286"/>
                    <a:pt x="274" y="286"/>
                  </a:cubicBezTo>
                  <a:cubicBezTo>
                    <a:pt x="274" y="286"/>
                    <a:pt x="262" y="322"/>
                    <a:pt x="247" y="322"/>
                  </a:cubicBezTo>
                  <a:cubicBezTo>
                    <a:pt x="232" y="322"/>
                    <a:pt x="227" y="306"/>
                    <a:pt x="227" y="306"/>
                  </a:cubicBezTo>
                  <a:cubicBezTo>
                    <a:pt x="214" y="311"/>
                    <a:pt x="214" y="311"/>
                    <a:pt x="214" y="311"/>
                  </a:cubicBezTo>
                  <a:cubicBezTo>
                    <a:pt x="214" y="311"/>
                    <a:pt x="183" y="326"/>
                    <a:pt x="168" y="327"/>
                  </a:cubicBezTo>
                  <a:cubicBezTo>
                    <a:pt x="154" y="328"/>
                    <a:pt x="140" y="319"/>
                    <a:pt x="140" y="319"/>
                  </a:cubicBezTo>
                  <a:cubicBezTo>
                    <a:pt x="127" y="328"/>
                    <a:pt x="127" y="328"/>
                    <a:pt x="127" y="328"/>
                  </a:cubicBezTo>
                  <a:cubicBezTo>
                    <a:pt x="118" y="326"/>
                    <a:pt x="118" y="326"/>
                    <a:pt x="118" y="326"/>
                  </a:cubicBezTo>
                  <a:cubicBezTo>
                    <a:pt x="118" y="326"/>
                    <a:pt x="103" y="338"/>
                    <a:pt x="104" y="343"/>
                  </a:cubicBezTo>
                  <a:cubicBezTo>
                    <a:pt x="106" y="348"/>
                    <a:pt x="112" y="362"/>
                    <a:pt x="104" y="359"/>
                  </a:cubicBezTo>
                  <a:cubicBezTo>
                    <a:pt x="96" y="356"/>
                    <a:pt x="91" y="348"/>
                    <a:pt x="88" y="342"/>
                  </a:cubicBezTo>
                  <a:cubicBezTo>
                    <a:pt x="86" y="335"/>
                    <a:pt x="83" y="335"/>
                    <a:pt x="83" y="335"/>
                  </a:cubicBezTo>
                  <a:cubicBezTo>
                    <a:pt x="83" y="335"/>
                    <a:pt x="74" y="344"/>
                    <a:pt x="67" y="344"/>
                  </a:cubicBezTo>
                  <a:cubicBezTo>
                    <a:pt x="60" y="344"/>
                    <a:pt x="38" y="358"/>
                    <a:pt x="38" y="358"/>
                  </a:cubicBezTo>
                  <a:cubicBezTo>
                    <a:pt x="42" y="390"/>
                    <a:pt x="42" y="390"/>
                    <a:pt x="42" y="390"/>
                  </a:cubicBezTo>
                  <a:cubicBezTo>
                    <a:pt x="38" y="387"/>
                    <a:pt x="38" y="387"/>
                    <a:pt x="38" y="387"/>
                  </a:cubicBezTo>
                  <a:cubicBezTo>
                    <a:pt x="43" y="408"/>
                    <a:pt x="43" y="408"/>
                    <a:pt x="43" y="408"/>
                  </a:cubicBezTo>
                  <a:cubicBezTo>
                    <a:pt x="30" y="423"/>
                    <a:pt x="30" y="423"/>
                    <a:pt x="30" y="423"/>
                  </a:cubicBezTo>
                  <a:cubicBezTo>
                    <a:pt x="31" y="442"/>
                    <a:pt x="31" y="442"/>
                    <a:pt x="31" y="442"/>
                  </a:cubicBezTo>
                  <a:cubicBezTo>
                    <a:pt x="22" y="446"/>
                    <a:pt x="22" y="446"/>
                    <a:pt x="22" y="446"/>
                  </a:cubicBezTo>
                  <a:cubicBezTo>
                    <a:pt x="34" y="458"/>
                    <a:pt x="34" y="458"/>
                    <a:pt x="34" y="458"/>
                  </a:cubicBezTo>
                  <a:cubicBezTo>
                    <a:pt x="34" y="458"/>
                    <a:pt x="72" y="471"/>
                    <a:pt x="76" y="480"/>
                  </a:cubicBezTo>
                  <a:cubicBezTo>
                    <a:pt x="80" y="490"/>
                    <a:pt x="83" y="494"/>
                    <a:pt x="83" y="494"/>
                  </a:cubicBezTo>
                  <a:cubicBezTo>
                    <a:pt x="72" y="498"/>
                    <a:pt x="72" y="498"/>
                    <a:pt x="72" y="498"/>
                  </a:cubicBezTo>
                  <a:cubicBezTo>
                    <a:pt x="72" y="514"/>
                    <a:pt x="72" y="514"/>
                    <a:pt x="72" y="514"/>
                  </a:cubicBezTo>
                  <a:cubicBezTo>
                    <a:pt x="88" y="508"/>
                    <a:pt x="88" y="508"/>
                    <a:pt x="88" y="508"/>
                  </a:cubicBezTo>
                  <a:cubicBezTo>
                    <a:pt x="90" y="538"/>
                    <a:pt x="90" y="538"/>
                    <a:pt x="90" y="538"/>
                  </a:cubicBezTo>
                  <a:cubicBezTo>
                    <a:pt x="78" y="543"/>
                    <a:pt x="78" y="543"/>
                    <a:pt x="78" y="543"/>
                  </a:cubicBezTo>
                  <a:cubicBezTo>
                    <a:pt x="78" y="543"/>
                    <a:pt x="72" y="555"/>
                    <a:pt x="79" y="563"/>
                  </a:cubicBezTo>
                  <a:cubicBezTo>
                    <a:pt x="79" y="568"/>
                    <a:pt x="67" y="578"/>
                    <a:pt x="67" y="578"/>
                  </a:cubicBezTo>
                  <a:cubicBezTo>
                    <a:pt x="67" y="588"/>
                    <a:pt x="67" y="588"/>
                    <a:pt x="67" y="588"/>
                  </a:cubicBezTo>
                  <a:cubicBezTo>
                    <a:pt x="58" y="588"/>
                    <a:pt x="58" y="588"/>
                    <a:pt x="58" y="588"/>
                  </a:cubicBezTo>
                  <a:cubicBezTo>
                    <a:pt x="38" y="614"/>
                    <a:pt x="38" y="614"/>
                    <a:pt x="38" y="614"/>
                  </a:cubicBezTo>
                  <a:cubicBezTo>
                    <a:pt x="38" y="632"/>
                    <a:pt x="38" y="632"/>
                    <a:pt x="38" y="632"/>
                  </a:cubicBezTo>
                  <a:cubicBezTo>
                    <a:pt x="22" y="634"/>
                    <a:pt x="22" y="634"/>
                    <a:pt x="22" y="634"/>
                  </a:cubicBezTo>
                  <a:cubicBezTo>
                    <a:pt x="0" y="699"/>
                    <a:pt x="0" y="699"/>
                    <a:pt x="0" y="699"/>
                  </a:cubicBezTo>
                  <a:cubicBezTo>
                    <a:pt x="0" y="699"/>
                    <a:pt x="1" y="701"/>
                    <a:pt x="1" y="705"/>
                  </a:cubicBezTo>
                  <a:cubicBezTo>
                    <a:pt x="24" y="689"/>
                    <a:pt x="48" y="712"/>
                    <a:pt x="48" y="712"/>
                  </a:cubicBezTo>
                  <a:cubicBezTo>
                    <a:pt x="53" y="712"/>
                    <a:pt x="53" y="712"/>
                    <a:pt x="53" y="712"/>
                  </a:cubicBezTo>
                  <a:cubicBezTo>
                    <a:pt x="79" y="748"/>
                    <a:pt x="79" y="748"/>
                    <a:pt x="79" y="748"/>
                  </a:cubicBezTo>
                  <a:cubicBezTo>
                    <a:pt x="119" y="746"/>
                    <a:pt x="119" y="746"/>
                    <a:pt x="119" y="746"/>
                  </a:cubicBezTo>
                  <a:cubicBezTo>
                    <a:pt x="129" y="735"/>
                    <a:pt x="129" y="735"/>
                    <a:pt x="129" y="735"/>
                  </a:cubicBezTo>
                  <a:cubicBezTo>
                    <a:pt x="129" y="735"/>
                    <a:pt x="153" y="752"/>
                    <a:pt x="162" y="757"/>
                  </a:cubicBezTo>
                  <a:cubicBezTo>
                    <a:pt x="170" y="733"/>
                    <a:pt x="192" y="748"/>
                    <a:pt x="192" y="748"/>
                  </a:cubicBezTo>
                  <a:cubicBezTo>
                    <a:pt x="192" y="748"/>
                    <a:pt x="239" y="752"/>
                    <a:pt x="245" y="753"/>
                  </a:cubicBezTo>
                  <a:cubicBezTo>
                    <a:pt x="251" y="754"/>
                    <a:pt x="245" y="741"/>
                    <a:pt x="245" y="741"/>
                  </a:cubicBezTo>
                  <a:cubicBezTo>
                    <a:pt x="234" y="718"/>
                    <a:pt x="253" y="691"/>
                    <a:pt x="253" y="691"/>
                  </a:cubicBezTo>
                  <a:cubicBezTo>
                    <a:pt x="253" y="691"/>
                    <a:pt x="302" y="721"/>
                    <a:pt x="321" y="721"/>
                  </a:cubicBezTo>
                  <a:cubicBezTo>
                    <a:pt x="340" y="721"/>
                    <a:pt x="364" y="744"/>
                    <a:pt x="364" y="744"/>
                  </a:cubicBezTo>
                  <a:cubicBezTo>
                    <a:pt x="398" y="728"/>
                    <a:pt x="420" y="779"/>
                    <a:pt x="421" y="782"/>
                  </a:cubicBezTo>
                  <a:cubicBezTo>
                    <a:pt x="442" y="756"/>
                    <a:pt x="467" y="782"/>
                    <a:pt x="467" y="782"/>
                  </a:cubicBezTo>
                  <a:cubicBezTo>
                    <a:pt x="479" y="774"/>
                    <a:pt x="479" y="774"/>
                    <a:pt x="479" y="774"/>
                  </a:cubicBezTo>
                  <a:cubicBezTo>
                    <a:pt x="479" y="774"/>
                    <a:pt x="488" y="786"/>
                    <a:pt x="491" y="794"/>
                  </a:cubicBezTo>
                  <a:cubicBezTo>
                    <a:pt x="492" y="791"/>
                    <a:pt x="492" y="791"/>
                    <a:pt x="492" y="791"/>
                  </a:cubicBezTo>
                  <a:cubicBezTo>
                    <a:pt x="516" y="792"/>
                    <a:pt x="516" y="792"/>
                    <a:pt x="516" y="792"/>
                  </a:cubicBezTo>
                  <a:cubicBezTo>
                    <a:pt x="523" y="783"/>
                    <a:pt x="523" y="783"/>
                    <a:pt x="523" y="783"/>
                  </a:cubicBezTo>
                  <a:cubicBezTo>
                    <a:pt x="544" y="778"/>
                    <a:pt x="544" y="778"/>
                    <a:pt x="544" y="778"/>
                  </a:cubicBezTo>
                  <a:cubicBezTo>
                    <a:pt x="542" y="766"/>
                    <a:pt x="542" y="766"/>
                    <a:pt x="542" y="766"/>
                  </a:cubicBezTo>
                  <a:cubicBezTo>
                    <a:pt x="586" y="764"/>
                    <a:pt x="586" y="764"/>
                    <a:pt x="586" y="764"/>
                  </a:cubicBezTo>
                  <a:cubicBezTo>
                    <a:pt x="586" y="764"/>
                    <a:pt x="588" y="758"/>
                    <a:pt x="567" y="736"/>
                  </a:cubicBezTo>
                  <a:cubicBezTo>
                    <a:pt x="514" y="740"/>
                    <a:pt x="528" y="720"/>
                    <a:pt x="528" y="720"/>
                  </a:cubicBezTo>
                  <a:cubicBezTo>
                    <a:pt x="519" y="716"/>
                    <a:pt x="519" y="716"/>
                    <a:pt x="519" y="716"/>
                  </a:cubicBezTo>
                  <a:cubicBezTo>
                    <a:pt x="520" y="702"/>
                    <a:pt x="520" y="702"/>
                    <a:pt x="520" y="702"/>
                  </a:cubicBezTo>
                  <a:cubicBezTo>
                    <a:pt x="520" y="702"/>
                    <a:pt x="543" y="696"/>
                    <a:pt x="543" y="692"/>
                  </a:cubicBezTo>
                  <a:cubicBezTo>
                    <a:pt x="543" y="688"/>
                    <a:pt x="546" y="678"/>
                    <a:pt x="546" y="678"/>
                  </a:cubicBezTo>
                  <a:cubicBezTo>
                    <a:pt x="530" y="674"/>
                    <a:pt x="530" y="674"/>
                    <a:pt x="530" y="674"/>
                  </a:cubicBezTo>
                  <a:cubicBezTo>
                    <a:pt x="544" y="667"/>
                    <a:pt x="544" y="667"/>
                    <a:pt x="544" y="667"/>
                  </a:cubicBezTo>
                  <a:cubicBezTo>
                    <a:pt x="544" y="667"/>
                    <a:pt x="528" y="640"/>
                    <a:pt x="534" y="635"/>
                  </a:cubicBezTo>
                  <a:cubicBezTo>
                    <a:pt x="539" y="630"/>
                    <a:pt x="530" y="614"/>
                    <a:pt x="530" y="614"/>
                  </a:cubicBezTo>
                  <a:cubicBezTo>
                    <a:pt x="480" y="595"/>
                    <a:pt x="480" y="595"/>
                    <a:pt x="480" y="595"/>
                  </a:cubicBezTo>
                  <a:cubicBezTo>
                    <a:pt x="480" y="595"/>
                    <a:pt x="478" y="576"/>
                    <a:pt x="484" y="576"/>
                  </a:cubicBezTo>
                  <a:cubicBezTo>
                    <a:pt x="466" y="554"/>
                    <a:pt x="500" y="548"/>
                    <a:pt x="503" y="543"/>
                  </a:cubicBezTo>
                  <a:cubicBezTo>
                    <a:pt x="503" y="518"/>
                    <a:pt x="515" y="510"/>
                    <a:pt x="515" y="510"/>
                  </a:cubicBezTo>
                  <a:cubicBezTo>
                    <a:pt x="528" y="531"/>
                    <a:pt x="528" y="531"/>
                    <a:pt x="528" y="531"/>
                  </a:cubicBezTo>
                  <a:cubicBezTo>
                    <a:pt x="534" y="518"/>
                    <a:pt x="534" y="518"/>
                    <a:pt x="534" y="518"/>
                  </a:cubicBezTo>
                  <a:cubicBezTo>
                    <a:pt x="562" y="519"/>
                    <a:pt x="562" y="519"/>
                    <a:pt x="562" y="519"/>
                  </a:cubicBezTo>
                  <a:cubicBezTo>
                    <a:pt x="562" y="519"/>
                    <a:pt x="563" y="530"/>
                    <a:pt x="568" y="528"/>
                  </a:cubicBezTo>
                  <a:cubicBezTo>
                    <a:pt x="574" y="527"/>
                    <a:pt x="596" y="532"/>
                    <a:pt x="596" y="532"/>
                  </a:cubicBezTo>
                  <a:cubicBezTo>
                    <a:pt x="596" y="499"/>
                    <a:pt x="639" y="522"/>
                    <a:pt x="639" y="522"/>
                  </a:cubicBezTo>
                  <a:cubicBezTo>
                    <a:pt x="639" y="522"/>
                    <a:pt x="631" y="510"/>
                    <a:pt x="664" y="515"/>
                  </a:cubicBezTo>
                  <a:cubicBezTo>
                    <a:pt x="698" y="520"/>
                    <a:pt x="698" y="492"/>
                    <a:pt x="707" y="487"/>
                  </a:cubicBezTo>
                  <a:cubicBezTo>
                    <a:pt x="668" y="448"/>
                    <a:pt x="719" y="450"/>
                    <a:pt x="719" y="450"/>
                  </a:cubicBezTo>
                  <a:cubicBezTo>
                    <a:pt x="719" y="450"/>
                    <a:pt x="742" y="450"/>
                    <a:pt x="763" y="440"/>
                  </a:cubicBezTo>
                  <a:cubicBezTo>
                    <a:pt x="772" y="422"/>
                    <a:pt x="794" y="428"/>
                    <a:pt x="794" y="428"/>
                  </a:cubicBezTo>
                  <a:cubicBezTo>
                    <a:pt x="795" y="388"/>
                    <a:pt x="795" y="388"/>
                    <a:pt x="795" y="388"/>
                  </a:cubicBezTo>
                  <a:cubicBezTo>
                    <a:pt x="839" y="387"/>
                    <a:pt x="839" y="387"/>
                    <a:pt x="839" y="387"/>
                  </a:cubicBezTo>
                  <a:cubicBezTo>
                    <a:pt x="839" y="370"/>
                    <a:pt x="839" y="370"/>
                    <a:pt x="839" y="370"/>
                  </a:cubicBezTo>
                  <a:cubicBezTo>
                    <a:pt x="860" y="368"/>
                    <a:pt x="860" y="368"/>
                    <a:pt x="860" y="368"/>
                  </a:cubicBezTo>
                  <a:cubicBezTo>
                    <a:pt x="863" y="351"/>
                    <a:pt x="863" y="351"/>
                    <a:pt x="863" y="351"/>
                  </a:cubicBezTo>
                  <a:cubicBezTo>
                    <a:pt x="884" y="326"/>
                    <a:pt x="884" y="326"/>
                    <a:pt x="884" y="326"/>
                  </a:cubicBezTo>
                  <a:lnTo>
                    <a:pt x="871" y="31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9" name="Aquitaine" descr="© INSCALE GmbH, 05.05.2010&#10;http://www.presentationload.com/">
              <a:extLst>
                <a:ext uri="{FF2B5EF4-FFF2-40B4-BE49-F238E27FC236}">
                  <a16:creationId xmlns:a16="http://schemas.microsoft.com/office/drawing/2014/main" id="{97CDBFD3-5115-4B18-AE8A-FC35BD36554B}"/>
                </a:ext>
              </a:extLst>
            </p:cNvPr>
            <p:cNvSpPr>
              <a:spLocks/>
            </p:cNvSpPr>
            <p:nvPr/>
          </p:nvSpPr>
          <p:spPr bwMode="gray">
            <a:xfrm>
              <a:off x="758" y="1992"/>
              <a:ext cx="793" cy="1021"/>
            </a:xfrm>
            <a:custGeom>
              <a:avLst/>
              <a:gdLst/>
              <a:ahLst/>
              <a:cxnLst>
                <a:cxn ang="0">
                  <a:pos x="347" y="849"/>
                </a:cxn>
                <a:cxn ang="0">
                  <a:pos x="376" y="813"/>
                </a:cxn>
                <a:cxn ang="0">
                  <a:pos x="399" y="773"/>
                </a:cxn>
                <a:cxn ang="0">
                  <a:pos x="381" y="733"/>
                </a:cxn>
                <a:cxn ang="0">
                  <a:pos x="343" y="693"/>
                </a:cxn>
                <a:cxn ang="0">
                  <a:pos x="339" y="658"/>
                </a:cxn>
                <a:cxn ang="0">
                  <a:pos x="351" y="625"/>
                </a:cxn>
                <a:cxn ang="0">
                  <a:pos x="392" y="570"/>
                </a:cxn>
                <a:cxn ang="0">
                  <a:pos x="413" y="578"/>
                </a:cxn>
                <a:cxn ang="0">
                  <a:pos x="449" y="554"/>
                </a:cxn>
                <a:cxn ang="0">
                  <a:pos x="536" y="541"/>
                </a:cxn>
                <a:cxn ang="0">
                  <a:pos x="605" y="522"/>
                </a:cxn>
                <a:cxn ang="0">
                  <a:pos x="600" y="469"/>
                </a:cxn>
                <a:cxn ang="0">
                  <a:pos x="636" y="425"/>
                </a:cxn>
                <a:cxn ang="0">
                  <a:pos x="672" y="353"/>
                </a:cxn>
                <a:cxn ang="0">
                  <a:pos x="699" y="310"/>
                </a:cxn>
                <a:cxn ang="0">
                  <a:pos x="733" y="289"/>
                </a:cxn>
                <a:cxn ang="0">
                  <a:pos x="729" y="243"/>
                </a:cxn>
                <a:cxn ang="0">
                  <a:pos x="727" y="207"/>
                </a:cxn>
                <a:cxn ang="0">
                  <a:pos x="692" y="183"/>
                </a:cxn>
                <a:cxn ang="0">
                  <a:pos x="691" y="150"/>
                </a:cxn>
                <a:cxn ang="0">
                  <a:pos x="700" y="117"/>
                </a:cxn>
                <a:cxn ang="0">
                  <a:pos x="655" y="74"/>
                </a:cxn>
                <a:cxn ang="0">
                  <a:pos x="589" y="58"/>
                </a:cxn>
                <a:cxn ang="0">
                  <a:pos x="540" y="43"/>
                </a:cxn>
                <a:cxn ang="0">
                  <a:pos x="519" y="74"/>
                </a:cxn>
                <a:cxn ang="0">
                  <a:pos x="464" y="147"/>
                </a:cxn>
                <a:cxn ang="0">
                  <a:pos x="407" y="202"/>
                </a:cxn>
                <a:cxn ang="0">
                  <a:pos x="319" y="169"/>
                </a:cxn>
                <a:cxn ang="0">
                  <a:pos x="265" y="131"/>
                </a:cxn>
                <a:cxn ang="0">
                  <a:pos x="279" y="178"/>
                </a:cxn>
                <a:cxn ang="0">
                  <a:pos x="239" y="76"/>
                </a:cxn>
                <a:cxn ang="0">
                  <a:pos x="185" y="0"/>
                </a:cxn>
                <a:cxn ang="0">
                  <a:pos x="133" y="309"/>
                </a:cxn>
                <a:cxn ang="0">
                  <a:pos x="147" y="302"/>
                </a:cxn>
                <a:cxn ang="0">
                  <a:pos x="23" y="730"/>
                </a:cxn>
                <a:cxn ang="0">
                  <a:pos x="34" y="764"/>
                </a:cxn>
                <a:cxn ang="0">
                  <a:pos x="86" y="787"/>
                </a:cxn>
                <a:cxn ang="0">
                  <a:pos x="110" y="831"/>
                </a:cxn>
                <a:cxn ang="0">
                  <a:pos x="142" y="869"/>
                </a:cxn>
                <a:cxn ang="0">
                  <a:pos x="228" y="882"/>
                </a:cxn>
                <a:cxn ang="0">
                  <a:pos x="293" y="943"/>
                </a:cxn>
                <a:cxn ang="0">
                  <a:pos x="309" y="934"/>
                </a:cxn>
              </a:cxnLst>
              <a:rect l="0" t="0" r="r" b="b"/>
              <a:pathLst>
                <a:path w="735" h="946">
                  <a:moveTo>
                    <a:pt x="331" y="869"/>
                  </a:moveTo>
                  <a:cubicBezTo>
                    <a:pt x="347" y="867"/>
                    <a:pt x="347" y="867"/>
                    <a:pt x="347" y="867"/>
                  </a:cubicBezTo>
                  <a:cubicBezTo>
                    <a:pt x="347" y="849"/>
                    <a:pt x="347" y="849"/>
                    <a:pt x="347" y="849"/>
                  </a:cubicBezTo>
                  <a:cubicBezTo>
                    <a:pt x="367" y="823"/>
                    <a:pt x="367" y="823"/>
                    <a:pt x="367" y="823"/>
                  </a:cubicBezTo>
                  <a:cubicBezTo>
                    <a:pt x="376" y="823"/>
                    <a:pt x="376" y="823"/>
                    <a:pt x="376" y="823"/>
                  </a:cubicBezTo>
                  <a:cubicBezTo>
                    <a:pt x="376" y="813"/>
                    <a:pt x="376" y="813"/>
                    <a:pt x="376" y="813"/>
                  </a:cubicBezTo>
                  <a:cubicBezTo>
                    <a:pt x="376" y="813"/>
                    <a:pt x="388" y="803"/>
                    <a:pt x="388" y="798"/>
                  </a:cubicBezTo>
                  <a:cubicBezTo>
                    <a:pt x="381" y="790"/>
                    <a:pt x="387" y="778"/>
                    <a:pt x="387" y="778"/>
                  </a:cubicBezTo>
                  <a:cubicBezTo>
                    <a:pt x="399" y="773"/>
                    <a:pt x="399" y="773"/>
                    <a:pt x="399" y="773"/>
                  </a:cubicBezTo>
                  <a:cubicBezTo>
                    <a:pt x="397" y="743"/>
                    <a:pt x="397" y="743"/>
                    <a:pt x="397" y="743"/>
                  </a:cubicBezTo>
                  <a:cubicBezTo>
                    <a:pt x="381" y="749"/>
                    <a:pt x="381" y="749"/>
                    <a:pt x="381" y="749"/>
                  </a:cubicBezTo>
                  <a:cubicBezTo>
                    <a:pt x="381" y="733"/>
                    <a:pt x="381" y="733"/>
                    <a:pt x="381" y="733"/>
                  </a:cubicBezTo>
                  <a:cubicBezTo>
                    <a:pt x="392" y="729"/>
                    <a:pt x="392" y="729"/>
                    <a:pt x="392" y="729"/>
                  </a:cubicBezTo>
                  <a:cubicBezTo>
                    <a:pt x="392" y="729"/>
                    <a:pt x="389" y="725"/>
                    <a:pt x="385" y="715"/>
                  </a:cubicBezTo>
                  <a:cubicBezTo>
                    <a:pt x="381" y="706"/>
                    <a:pt x="343" y="693"/>
                    <a:pt x="343" y="693"/>
                  </a:cubicBezTo>
                  <a:cubicBezTo>
                    <a:pt x="331" y="681"/>
                    <a:pt x="331" y="681"/>
                    <a:pt x="331" y="681"/>
                  </a:cubicBezTo>
                  <a:cubicBezTo>
                    <a:pt x="340" y="677"/>
                    <a:pt x="340" y="677"/>
                    <a:pt x="340" y="677"/>
                  </a:cubicBezTo>
                  <a:cubicBezTo>
                    <a:pt x="339" y="658"/>
                    <a:pt x="339" y="658"/>
                    <a:pt x="339" y="658"/>
                  </a:cubicBezTo>
                  <a:cubicBezTo>
                    <a:pt x="352" y="643"/>
                    <a:pt x="352" y="643"/>
                    <a:pt x="352" y="643"/>
                  </a:cubicBezTo>
                  <a:cubicBezTo>
                    <a:pt x="347" y="622"/>
                    <a:pt x="347" y="622"/>
                    <a:pt x="347" y="622"/>
                  </a:cubicBezTo>
                  <a:cubicBezTo>
                    <a:pt x="351" y="625"/>
                    <a:pt x="351" y="625"/>
                    <a:pt x="351" y="625"/>
                  </a:cubicBezTo>
                  <a:cubicBezTo>
                    <a:pt x="347" y="593"/>
                    <a:pt x="347" y="593"/>
                    <a:pt x="347" y="593"/>
                  </a:cubicBezTo>
                  <a:cubicBezTo>
                    <a:pt x="347" y="593"/>
                    <a:pt x="369" y="579"/>
                    <a:pt x="376" y="579"/>
                  </a:cubicBezTo>
                  <a:cubicBezTo>
                    <a:pt x="383" y="579"/>
                    <a:pt x="392" y="570"/>
                    <a:pt x="392" y="570"/>
                  </a:cubicBezTo>
                  <a:cubicBezTo>
                    <a:pt x="392" y="570"/>
                    <a:pt x="395" y="570"/>
                    <a:pt x="397" y="577"/>
                  </a:cubicBezTo>
                  <a:cubicBezTo>
                    <a:pt x="400" y="583"/>
                    <a:pt x="405" y="591"/>
                    <a:pt x="413" y="594"/>
                  </a:cubicBezTo>
                  <a:cubicBezTo>
                    <a:pt x="421" y="597"/>
                    <a:pt x="415" y="583"/>
                    <a:pt x="413" y="578"/>
                  </a:cubicBezTo>
                  <a:cubicBezTo>
                    <a:pt x="412" y="573"/>
                    <a:pt x="427" y="561"/>
                    <a:pt x="427" y="561"/>
                  </a:cubicBezTo>
                  <a:cubicBezTo>
                    <a:pt x="436" y="563"/>
                    <a:pt x="436" y="563"/>
                    <a:pt x="436" y="563"/>
                  </a:cubicBezTo>
                  <a:cubicBezTo>
                    <a:pt x="449" y="554"/>
                    <a:pt x="449" y="554"/>
                    <a:pt x="449" y="554"/>
                  </a:cubicBezTo>
                  <a:cubicBezTo>
                    <a:pt x="449" y="554"/>
                    <a:pt x="463" y="563"/>
                    <a:pt x="477" y="562"/>
                  </a:cubicBezTo>
                  <a:cubicBezTo>
                    <a:pt x="492" y="561"/>
                    <a:pt x="523" y="546"/>
                    <a:pt x="523" y="546"/>
                  </a:cubicBezTo>
                  <a:cubicBezTo>
                    <a:pt x="536" y="541"/>
                    <a:pt x="536" y="541"/>
                    <a:pt x="536" y="541"/>
                  </a:cubicBezTo>
                  <a:cubicBezTo>
                    <a:pt x="536" y="541"/>
                    <a:pt x="541" y="557"/>
                    <a:pt x="556" y="557"/>
                  </a:cubicBezTo>
                  <a:cubicBezTo>
                    <a:pt x="571" y="557"/>
                    <a:pt x="583" y="521"/>
                    <a:pt x="583" y="521"/>
                  </a:cubicBezTo>
                  <a:cubicBezTo>
                    <a:pt x="605" y="522"/>
                    <a:pt x="605" y="522"/>
                    <a:pt x="605" y="522"/>
                  </a:cubicBezTo>
                  <a:cubicBezTo>
                    <a:pt x="600" y="505"/>
                    <a:pt x="600" y="505"/>
                    <a:pt x="600" y="505"/>
                  </a:cubicBezTo>
                  <a:cubicBezTo>
                    <a:pt x="617" y="481"/>
                    <a:pt x="617" y="481"/>
                    <a:pt x="617" y="481"/>
                  </a:cubicBezTo>
                  <a:cubicBezTo>
                    <a:pt x="600" y="469"/>
                    <a:pt x="600" y="469"/>
                    <a:pt x="600" y="469"/>
                  </a:cubicBezTo>
                  <a:cubicBezTo>
                    <a:pt x="600" y="469"/>
                    <a:pt x="603" y="445"/>
                    <a:pt x="621" y="451"/>
                  </a:cubicBezTo>
                  <a:cubicBezTo>
                    <a:pt x="640" y="458"/>
                    <a:pt x="643" y="433"/>
                    <a:pt x="643" y="433"/>
                  </a:cubicBezTo>
                  <a:cubicBezTo>
                    <a:pt x="643" y="433"/>
                    <a:pt x="636" y="429"/>
                    <a:pt x="636" y="425"/>
                  </a:cubicBezTo>
                  <a:cubicBezTo>
                    <a:pt x="636" y="421"/>
                    <a:pt x="625" y="391"/>
                    <a:pt x="625" y="391"/>
                  </a:cubicBezTo>
                  <a:cubicBezTo>
                    <a:pt x="653" y="382"/>
                    <a:pt x="653" y="382"/>
                    <a:pt x="653" y="382"/>
                  </a:cubicBezTo>
                  <a:cubicBezTo>
                    <a:pt x="672" y="353"/>
                    <a:pt x="672" y="353"/>
                    <a:pt x="672" y="353"/>
                  </a:cubicBezTo>
                  <a:cubicBezTo>
                    <a:pt x="693" y="347"/>
                    <a:pt x="693" y="347"/>
                    <a:pt x="693" y="347"/>
                  </a:cubicBezTo>
                  <a:cubicBezTo>
                    <a:pt x="707" y="327"/>
                    <a:pt x="707" y="327"/>
                    <a:pt x="707" y="327"/>
                  </a:cubicBezTo>
                  <a:cubicBezTo>
                    <a:pt x="699" y="310"/>
                    <a:pt x="699" y="310"/>
                    <a:pt x="699" y="310"/>
                  </a:cubicBezTo>
                  <a:cubicBezTo>
                    <a:pt x="715" y="309"/>
                    <a:pt x="715" y="309"/>
                    <a:pt x="715" y="309"/>
                  </a:cubicBezTo>
                  <a:cubicBezTo>
                    <a:pt x="716" y="295"/>
                    <a:pt x="716" y="295"/>
                    <a:pt x="716" y="295"/>
                  </a:cubicBezTo>
                  <a:cubicBezTo>
                    <a:pt x="733" y="289"/>
                    <a:pt x="733" y="289"/>
                    <a:pt x="733" y="289"/>
                  </a:cubicBezTo>
                  <a:cubicBezTo>
                    <a:pt x="728" y="279"/>
                    <a:pt x="728" y="279"/>
                    <a:pt x="728" y="279"/>
                  </a:cubicBezTo>
                  <a:cubicBezTo>
                    <a:pt x="735" y="274"/>
                    <a:pt x="735" y="274"/>
                    <a:pt x="735" y="274"/>
                  </a:cubicBezTo>
                  <a:cubicBezTo>
                    <a:pt x="729" y="243"/>
                    <a:pt x="729" y="243"/>
                    <a:pt x="729" y="243"/>
                  </a:cubicBezTo>
                  <a:cubicBezTo>
                    <a:pt x="732" y="239"/>
                    <a:pt x="732" y="239"/>
                    <a:pt x="732" y="239"/>
                  </a:cubicBezTo>
                  <a:cubicBezTo>
                    <a:pt x="721" y="217"/>
                    <a:pt x="721" y="217"/>
                    <a:pt x="721" y="217"/>
                  </a:cubicBezTo>
                  <a:cubicBezTo>
                    <a:pt x="727" y="207"/>
                    <a:pt x="727" y="207"/>
                    <a:pt x="727" y="207"/>
                  </a:cubicBezTo>
                  <a:cubicBezTo>
                    <a:pt x="696" y="195"/>
                    <a:pt x="696" y="195"/>
                    <a:pt x="696" y="195"/>
                  </a:cubicBezTo>
                  <a:cubicBezTo>
                    <a:pt x="700" y="185"/>
                    <a:pt x="700" y="185"/>
                    <a:pt x="700" y="185"/>
                  </a:cubicBezTo>
                  <a:cubicBezTo>
                    <a:pt x="692" y="183"/>
                    <a:pt x="692" y="183"/>
                    <a:pt x="692" y="183"/>
                  </a:cubicBezTo>
                  <a:cubicBezTo>
                    <a:pt x="699" y="167"/>
                    <a:pt x="699" y="167"/>
                    <a:pt x="699" y="167"/>
                  </a:cubicBezTo>
                  <a:cubicBezTo>
                    <a:pt x="691" y="161"/>
                    <a:pt x="691" y="161"/>
                    <a:pt x="691" y="161"/>
                  </a:cubicBezTo>
                  <a:cubicBezTo>
                    <a:pt x="691" y="150"/>
                    <a:pt x="691" y="150"/>
                    <a:pt x="691" y="150"/>
                  </a:cubicBezTo>
                  <a:cubicBezTo>
                    <a:pt x="691" y="150"/>
                    <a:pt x="707" y="135"/>
                    <a:pt x="707" y="129"/>
                  </a:cubicBezTo>
                  <a:cubicBezTo>
                    <a:pt x="707" y="122"/>
                    <a:pt x="693" y="118"/>
                    <a:pt x="693" y="118"/>
                  </a:cubicBezTo>
                  <a:cubicBezTo>
                    <a:pt x="700" y="117"/>
                    <a:pt x="700" y="117"/>
                    <a:pt x="700" y="117"/>
                  </a:cubicBezTo>
                  <a:cubicBezTo>
                    <a:pt x="668" y="95"/>
                    <a:pt x="668" y="95"/>
                    <a:pt x="668" y="95"/>
                  </a:cubicBezTo>
                  <a:cubicBezTo>
                    <a:pt x="673" y="75"/>
                    <a:pt x="673" y="75"/>
                    <a:pt x="673" y="75"/>
                  </a:cubicBezTo>
                  <a:cubicBezTo>
                    <a:pt x="673" y="75"/>
                    <a:pt x="661" y="74"/>
                    <a:pt x="655" y="74"/>
                  </a:cubicBezTo>
                  <a:cubicBezTo>
                    <a:pt x="648" y="74"/>
                    <a:pt x="643" y="51"/>
                    <a:pt x="643" y="51"/>
                  </a:cubicBezTo>
                  <a:cubicBezTo>
                    <a:pt x="608" y="47"/>
                    <a:pt x="608" y="47"/>
                    <a:pt x="608" y="47"/>
                  </a:cubicBezTo>
                  <a:cubicBezTo>
                    <a:pt x="608" y="47"/>
                    <a:pt x="596" y="62"/>
                    <a:pt x="589" y="58"/>
                  </a:cubicBezTo>
                  <a:cubicBezTo>
                    <a:pt x="583" y="54"/>
                    <a:pt x="589" y="30"/>
                    <a:pt x="589" y="30"/>
                  </a:cubicBezTo>
                  <a:cubicBezTo>
                    <a:pt x="589" y="30"/>
                    <a:pt x="576" y="24"/>
                    <a:pt x="558" y="21"/>
                  </a:cubicBezTo>
                  <a:cubicBezTo>
                    <a:pt x="540" y="43"/>
                    <a:pt x="540" y="43"/>
                    <a:pt x="540" y="43"/>
                  </a:cubicBezTo>
                  <a:cubicBezTo>
                    <a:pt x="540" y="43"/>
                    <a:pt x="529" y="45"/>
                    <a:pt x="525" y="45"/>
                  </a:cubicBezTo>
                  <a:cubicBezTo>
                    <a:pt x="521" y="45"/>
                    <a:pt x="531" y="73"/>
                    <a:pt x="531" y="73"/>
                  </a:cubicBezTo>
                  <a:cubicBezTo>
                    <a:pt x="519" y="74"/>
                    <a:pt x="519" y="74"/>
                    <a:pt x="519" y="74"/>
                  </a:cubicBezTo>
                  <a:cubicBezTo>
                    <a:pt x="519" y="74"/>
                    <a:pt x="515" y="73"/>
                    <a:pt x="511" y="87"/>
                  </a:cubicBezTo>
                  <a:cubicBezTo>
                    <a:pt x="459" y="94"/>
                    <a:pt x="471" y="147"/>
                    <a:pt x="471" y="147"/>
                  </a:cubicBezTo>
                  <a:cubicBezTo>
                    <a:pt x="464" y="147"/>
                    <a:pt x="464" y="147"/>
                    <a:pt x="464" y="147"/>
                  </a:cubicBezTo>
                  <a:cubicBezTo>
                    <a:pt x="464" y="147"/>
                    <a:pt x="445" y="175"/>
                    <a:pt x="441" y="175"/>
                  </a:cubicBezTo>
                  <a:cubicBezTo>
                    <a:pt x="437" y="175"/>
                    <a:pt x="429" y="166"/>
                    <a:pt x="429" y="166"/>
                  </a:cubicBezTo>
                  <a:cubicBezTo>
                    <a:pt x="429" y="166"/>
                    <a:pt x="413" y="189"/>
                    <a:pt x="407" y="202"/>
                  </a:cubicBezTo>
                  <a:cubicBezTo>
                    <a:pt x="400" y="215"/>
                    <a:pt x="367" y="213"/>
                    <a:pt x="349" y="195"/>
                  </a:cubicBezTo>
                  <a:cubicBezTo>
                    <a:pt x="332" y="178"/>
                    <a:pt x="324" y="193"/>
                    <a:pt x="324" y="193"/>
                  </a:cubicBezTo>
                  <a:cubicBezTo>
                    <a:pt x="324" y="193"/>
                    <a:pt x="324" y="187"/>
                    <a:pt x="319" y="169"/>
                  </a:cubicBezTo>
                  <a:cubicBezTo>
                    <a:pt x="325" y="154"/>
                    <a:pt x="285" y="143"/>
                    <a:pt x="285" y="143"/>
                  </a:cubicBezTo>
                  <a:cubicBezTo>
                    <a:pt x="279" y="130"/>
                    <a:pt x="279" y="130"/>
                    <a:pt x="279" y="130"/>
                  </a:cubicBezTo>
                  <a:cubicBezTo>
                    <a:pt x="265" y="131"/>
                    <a:pt x="265" y="131"/>
                    <a:pt x="265" y="131"/>
                  </a:cubicBezTo>
                  <a:cubicBezTo>
                    <a:pt x="267" y="136"/>
                    <a:pt x="270" y="143"/>
                    <a:pt x="272" y="153"/>
                  </a:cubicBezTo>
                  <a:cubicBezTo>
                    <a:pt x="276" y="171"/>
                    <a:pt x="290" y="171"/>
                    <a:pt x="290" y="171"/>
                  </a:cubicBezTo>
                  <a:cubicBezTo>
                    <a:pt x="279" y="178"/>
                    <a:pt x="279" y="178"/>
                    <a:pt x="279" y="178"/>
                  </a:cubicBezTo>
                  <a:cubicBezTo>
                    <a:pt x="279" y="178"/>
                    <a:pt x="262" y="147"/>
                    <a:pt x="258" y="143"/>
                  </a:cubicBezTo>
                  <a:cubicBezTo>
                    <a:pt x="254" y="140"/>
                    <a:pt x="250" y="104"/>
                    <a:pt x="242" y="83"/>
                  </a:cubicBezTo>
                  <a:cubicBezTo>
                    <a:pt x="239" y="76"/>
                    <a:pt x="239" y="76"/>
                    <a:pt x="239" y="76"/>
                  </a:cubicBezTo>
                  <a:cubicBezTo>
                    <a:pt x="239" y="75"/>
                    <a:pt x="239" y="75"/>
                    <a:pt x="239" y="75"/>
                  </a:cubicBezTo>
                  <a:cubicBezTo>
                    <a:pt x="229" y="55"/>
                    <a:pt x="184" y="19"/>
                    <a:pt x="184" y="19"/>
                  </a:cubicBezTo>
                  <a:cubicBezTo>
                    <a:pt x="185" y="0"/>
                    <a:pt x="185" y="0"/>
                    <a:pt x="185" y="0"/>
                  </a:cubicBezTo>
                  <a:cubicBezTo>
                    <a:pt x="162" y="28"/>
                    <a:pt x="162" y="28"/>
                    <a:pt x="162" y="28"/>
                  </a:cubicBezTo>
                  <a:cubicBezTo>
                    <a:pt x="162" y="28"/>
                    <a:pt x="164" y="82"/>
                    <a:pt x="159" y="107"/>
                  </a:cubicBezTo>
                  <a:cubicBezTo>
                    <a:pt x="155" y="130"/>
                    <a:pt x="136" y="279"/>
                    <a:pt x="133" y="309"/>
                  </a:cubicBezTo>
                  <a:cubicBezTo>
                    <a:pt x="136" y="291"/>
                    <a:pt x="155" y="262"/>
                    <a:pt x="155" y="262"/>
                  </a:cubicBezTo>
                  <a:cubicBezTo>
                    <a:pt x="155" y="262"/>
                    <a:pt x="187" y="292"/>
                    <a:pt x="180" y="304"/>
                  </a:cubicBezTo>
                  <a:cubicBezTo>
                    <a:pt x="173" y="316"/>
                    <a:pt x="147" y="302"/>
                    <a:pt x="147" y="302"/>
                  </a:cubicBezTo>
                  <a:cubicBezTo>
                    <a:pt x="145" y="322"/>
                    <a:pt x="131" y="339"/>
                    <a:pt x="131" y="339"/>
                  </a:cubicBezTo>
                  <a:cubicBezTo>
                    <a:pt x="131" y="339"/>
                    <a:pt x="115" y="435"/>
                    <a:pt x="93" y="567"/>
                  </a:cubicBezTo>
                  <a:cubicBezTo>
                    <a:pt x="71" y="699"/>
                    <a:pt x="23" y="730"/>
                    <a:pt x="23" y="730"/>
                  </a:cubicBezTo>
                  <a:cubicBezTo>
                    <a:pt x="0" y="733"/>
                    <a:pt x="0" y="733"/>
                    <a:pt x="0" y="733"/>
                  </a:cubicBezTo>
                  <a:cubicBezTo>
                    <a:pt x="13" y="763"/>
                    <a:pt x="13" y="763"/>
                    <a:pt x="13" y="763"/>
                  </a:cubicBezTo>
                  <a:cubicBezTo>
                    <a:pt x="34" y="764"/>
                    <a:pt x="34" y="764"/>
                    <a:pt x="34" y="764"/>
                  </a:cubicBezTo>
                  <a:cubicBezTo>
                    <a:pt x="34" y="764"/>
                    <a:pt x="37" y="773"/>
                    <a:pt x="42" y="779"/>
                  </a:cubicBezTo>
                  <a:cubicBezTo>
                    <a:pt x="47" y="785"/>
                    <a:pt x="48" y="774"/>
                    <a:pt x="56" y="771"/>
                  </a:cubicBezTo>
                  <a:cubicBezTo>
                    <a:pt x="64" y="768"/>
                    <a:pt x="74" y="776"/>
                    <a:pt x="86" y="787"/>
                  </a:cubicBezTo>
                  <a:cubicBezTo>
                    <a:pt x="98" y="798"/>
                    <a:pt x="71" y="830"/>
                    <a:pt x="69" y="843"/>
                  </a:cubicBezTo>
                  <a:cubicBezTo>
                    <a:pt x="67" y="856"/>
                    <a:pt x="92" y="859"/>
                    <a:pt x="92" y="859"/>
                  </a:cubicBezTo>
                  <a:cubicBezTo>
                    <a:pt x="92" y="859"/>
                    <a:pt x="100" y="831"/>
                    <a:pt x="110" y="831"/>
                  </a:cubicBezTo>
                  <a:cubicBezTo>
                    <a:pt x="120" y="831"/>
                    <a:pt x="107" y="846"/>
                    <a:pt x="107" y="846"/>
                  </a:cubicBezTo>
                  <a:cubicBezTo>
                    <a:pt x="136" y="857"/>
                    <a:pt x="136" y="857"/>
                    <a:pt x="136" y="857"/>
                  </a:cubicBezTo>
                  <a:cubicBezTo>
                    <a:pt x="142" y="869"/>
                    <a:pt x="142" y="869"/>
                    <a:pt x="142" y="869"/>
                  </a:cubicBezTo>
                  <a:cubicBezTo>
                    <a:pt x="149" y="864"/>
                    <a:pt x="149" y="864"/>
                    <a:pt x="149" y="864"/>
                  </a:cubicBezTo>
                  <a:cubicBezTo>
                    <a:pt x="182" y="884"/>
                    <a:pt x="182" y="884"/>
                    <a:pt x="182" y="884"/>
                  </a:cubicBezTo>
                  <a:cubicBezTo>
                    <a:pt x="228" y="882"/>
                    <a:pt x="228" y="882"/>
                    <a:pt x="228" y="882"/>
                  </a:cubicBezTo>
                  <a:cubicBezTo>
                    <a:pt x="228" y="882"/>
                    <a:pt x="230" y="909"/>
                    <a:pt x="239" y="912"/>
                  </a:cubicBezTo>
                  <a:cubicBezTo>
                    <a:pt x="248" y="915"/>
                    <a:pt x="277" y="946"/>
                    <a:pt x="277" y="946"/>
                  </a:cubicBezTo>
                  <a:cubicBezTo>
                    <a:pt x="293" y="936"/>
                    <a:pt x="293" y="943"/>
                    <a:pt x="293" y="943"/>
                  </a:cubicBezTo>
                  <a:cubicBezTo>
                    <a:pt x="293" y="943"/>
                    <a:pt x="309" y="946"/>
                    <a:pt x="306" y="942"/>
                  </a:cubicBezTo>
                  <a:cubicBezTo>
                    <a:pt x="307" y="941"/>
                    <a:pt x="308" y="940"/>
                    <a:pt x="310" y="940"/>
                  </a:cubicBezTo>
                  <a:cubicBezTo>
                    <a:pt x="310" y="936"/>
                    <a:pt x="309" y="934"/>
                    <a:pt x="309" y="934"/>
                  </a:cubicBezTo>
                  <a:lnTo>
                    <a:pt x="331" y="869"/>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10" name="Rhône-Alpes" descr="© INSCALE GmbH, 05.05.2010&#10;http://www.presentationload.com/">
              <a:extLst>
                <a:ext uri="{FF2B5EF4-FFF2-40B4-BE49-F238E27FC236}">
                  <a16:creationId xmlns:a16="http://schemas.microsoft.com/office/drawing/2014/main" id="{C96232F3-AA0D-4686-B8F3-177F16EC3D67}"/>
                </a:ext>
              </a:extLst>
            </p:cNvPr>
            <p:cNvSpPr>
              <a:spLocks/>
            </p:cNvSpPr>
            <p:nvPr/>
          </p:nvSpPr>
          <p:spPr bwMode="gray">
            <a:xfrm>
              <a:off x="2094" y="1710"/>
              <a:ext cx="833" cy="840"/>
            </a:xfrm>
            <a:custGeom>
              <a:avLst/>
              <a:gdLst/>
              <a:ahLst/>
              <a:cxnLst>
                <a:cxn ang="0">
                  <a:pos x="92" y="696"/>
                </a:cxn>
                <a:cxn ang="0">
                  <a:pos x="136" y="744"/>
                </a:cxn>
                <a:cxn ang="0">
                  <a:pos x="170" y="728"/>
                </a:cxn>
                <a:cxn ang="0">
                  <a:pos x="228" y="735"/>
                </a:cxn>
                <a:cxn ang="0">
                  <a:pos x="318" y="724"/>
                </a:cxn>
                <a:cxn ang="0">
                  <a:pos x="341" y="746"/>
                </a:cxn>
                <a:cxn ang="0">
                  <a:pos x="386" y="752"/>
                </a:cxn>
                <a:cxn ang="0">
                  <a:pos x="416" y="778"/>
                </a:cxn>
                <a:cxn ang="0">
                  <a:pos x="462" y="752"/>
                </a:cxn>
                <a:cxn ang="0">
                  <a:pos x="414" y="708"/>
                </a:cxn>
                <a:cxn ang="0">
                  <a:pos x="406" y="670"/>
                </a:cxn>
                <a:cxn ang="0">
                  <a:pos x="453" y="650"/>
                </a:cxn>
                <a:cxn ang="0">
                  <a:pos x="486" y="590"/>
                </a:cxn>
                <a:cxn ang="0">
                  <a:pos x="541" y="546"/>
                </a:cxn>
                <a:cxn ang="0">
                  <a:pos x="572" y="487"/>
                </a:cxn>
                <a:cxn ang="0">
                  <a:pos x="604" y="452"/>
                </a:cxn>
                <a:cxn ang="0">
                  <a:pos x="632" y="458"/>
                </a:cxn>
                <a:cxn ang="0">
                  <a:pos x="685" y="426"/>
                </a:cxn>
                <a:cxn ang="0">
                  <a:pos x="772" y="342"/>
                </a:cxn>
                <a:cxn ang="0">
                  <a:pos x="686" y="232"/>
                </a:cxn>
                <a:cxn ang="0">
                  <a:pos x="706" y="121"/>
                </a:cxn>
                <a:cxn ang="0">
                  <a:pos x="684" y="108"/>
                </a:cxn>
                <a:cxn ang="0">
                  <a:pos x="670" y="33"/>
                </a:cxn>
                <a:cxn ang="0">
                  <a:pos x="611" y="0"/>
                </a:cxn>
                <a:cxn ang="0">
                  <a:pos x="560" y="31"/>
                </a:cxn>
                <a:cxn ang="0">
                  <a:pos x="569" y="68"/>
                </a:cxn>
                <a:cxn ang="0">
                  <a:pos x="517" y="99"/>
                </a:cxn>
                <a:cxn ang="0">
                  <a:pos x="512" y="67"/>
                </a:cxn>
                <a:cxn ang="0">
                  <a:pos x="534" y="29"/>
                </a:cxn>
                <a:cxn ang="0">
                  <a:pos x="441" y="74"/>
                </a:cxn>
                <a:cxn ang="0">
                  <a:pos x="388" y="79"/>
                </a:cxn>
                <a:cxn ang="0">
                  <a:pos x="350" y="50"/>
                </a:cxn>
                <a:cxn ang="0">
                  <a:pos x="326" y="16"/>
                </a:cxn>
                <a:cxn ang="0">
                  <a:pos x="237" y="126"/>
                </a:cxn>
                <a:cxn ang="0">
                  <a:pos x="217" y="100"/>
                </a:cxn>
                <a:cxn ang="0">
                  <a:pos x="188" y="88"/>
                </a:cxn>
                <a:cxn ang="0">
                  <a:pos x="152" y="88"/>
                </a:cxn>
                <a:cxn ang="0">
                  <a:pos x="125" y="136"/>
                </a:cxn>
                <a:cxn ang="0">
                  <a:pos x="86" y="126"/>
                </a:cxn>
                <a:cxn ang="0">
                  <a:pos x="42" y="119"/>
                </a:cxn>
                <a:cxn ang="0">
                  <a:pos x="21" y="124"/>
                </a:cxn>
                <a:cxn ang="0">
                  <a:pos x="25" y="187"/>
                </a:cxn>
                <a:cxn ang="0">
                  <a:pos x="12" y="224"/>
                </a:cxn>
                <a:cxn ang="0">
                  <a:pos x="29" y="311"/>
                </a:cxn>
                <a:cxn ang="0">
                  <a:pos x="50" y="403"/>
                </a:cxn>
                <a:cxn ang="0">
                  <a:pos x="72" y="396"/>
                </a:cxn>
                <a:cxn ang="0">
                  <a:pos x="90" y="390"/>
                </a:cxn>
                <a:cxn ang="0">
                  <a:pos x="150" y="406"/>
                </a:cxn>
                <a:cxn ang="0">
                  <a:pos x="171" y="469"/>
                </a:cxn>
                <a:cxn ang="0">
                  <a:pos x="157" y="458"/>
                </a:cxn>
                <a:cxn ang="0">
                  <a:pos x="157" y="495"/>
                </a:cxn>
                <a:cxn ang="0">
                  <a:pos x="122" y="519"/>
                </a:cxn>
                <a:cxn ang="0">
                  <a:pos x="81" y="554"/>
                </a:cxn>
                <a:cxn ang="0">
                  <a:pos x="41" y="588"/>
                </a:cxn>
              </a:cxnLst>
              <a:rect l="0" t="0" r="r" b="b"/>
              <a:pathLst>
                <a:path w="772" h="778">
                  <a:moveTo>
                    <a:pt x="68" y="647"/>
                  </a:moveTo>
                  <a:cubicBezTo>
                    <a:pt x="72" y="678"/>
                    <a:pt x="72" y="678"/>
                    <a:pt x="72" y="678"/>
                  </a:cubicBezTo>
                  <a:cubicBezTo>
                    <a:pt x="92" y="696"/>
                    <a:pt x="92" y="696"/>
                    <a:pt x="92" y="696"/>
                  </a:cubicBezTo>
                  <a:cubicBezTo>
                    <a:pt x="85" y="727"/>
                    <a:pt x="85" y="727"/>
                    <a:pt x="85" y="727"/>
                  </a:cubicBezTo>
                  <a:cubicBezTo>
                    <a:pt x="104" y="716"/>
                    <a:pt x="104" y="716"/>
                    <a:pt x="104" y="716"/>
                  </a:cubicBezTo>
                  <a:cubicBezTo>
                    <a:pt x="136" y="744"/>
                    <a:pt x="136" y="744"/>
                    <a:pt x="136" y="744"/>
                  </a:cubicBezTo>
                  <a:cubicBezTo>
                    <a:pt x="156" y="714"/>
                    <a:pt x="156" y="714"/>
                    <a:pt x="156" y="714"/>
                  </a:cubicBezTo>
                  <a:cubicBezTo>
                    <a:pt x="170" y="714"/>
                    <a:pt x="170" y="714"/>
                    <a:pt x="170" y="714"/>
                  </a:cubicBezTo>
                  <a:cubicBezTo>
                    <a:pt x="170" y="728"/>
                    <a:pt x="170" y="728"/>
                    <a:pt x="170" y="728"/>
                  </a:cubicBezTo>
                  <a:cubicBezTo>
                    <a:pt x="177" y="728"/>
                    <a:pt x="177" y="728"/>
                    <a:pt x="177" y="728"/>
                  </a:cubicBezTo>
                  <a:cubicBezTo>
                    <a:pt x="185" y="716"/>
                    <a:pt x="185" y="716"/>
                    <a:pt x="185" y="716"/>
                  </a:cubicBezTo>
                  <a:cubicBezTo>
                    <a:pt x="228" y="735"/>
                    <a:pt x="228" y="735"/>
                    <a:pt x="228" y="735"/>
                  </a:cubicBezTo>
                  <a:cubicBezTo>
                    <a:pt x="228" y="720"/>
                    <a:pt x="228" y="720"/>
                    <a:pt x="228" y="720"/>
                  </a:cubicBezTo>
                  <a:cubicBezTo>
                    <a:pt x="228" y="720"/>
                    <a:pt x="262" y="712"/>
                    <a:pt x="264" y="748"/>
                  </a:cubicBezTo>
                  <a:cubicBezTo>
                    <a:pt x="318" y="724"/>
                    <a:pt x="318" y="724"/>
                    <a:pt x="318" y="724"/>
                  </a:cubicBezTo>
                  <a:cubicBezTo>
                    <a:pt x="329" y="728"/>
                    <a:pt x="329" y="728"/>
                    <a:pt x="329" y="728"/>
                  </a:cubicBezTo>
                  <a:cubicBezTo>
                    <a:pt x="341" y="722"/>
                    <a:pt x="341" y="722"/>
                    <a:pt x="341" y="722"/>
                  </a:cubicBezTo>
                  <a:cubicBezTo>
                    <a:pt x="341" y="746"/>
                    <a:pt x="341" y="746"/>
                    <a:pt x="341" y="746"/>
                  </a:cubicBezTo>
                  <a:cubicBezTo>
                    <a:pt x="366" y="754"/>
                    <a:pt x="366" y="754"/>
                    <a:pt x="366" y="754"/>
                  </a:cubicBezTo>
                  <a:cubicBezTo>
                    <a:pt x="365" y="747"/>
                    <a:pt x="365" y="747"/>
                    <a:pt x="365" y="747"/>
                  </a:cubicBezTo>
                  <a:cubicBezTo>
                    <a:pt x="386" y="752"/>
                    <a:pt x="386" y="752"/>
                    <a:pt x="386" y="752"/>
                  </a:cubicBezTo>
                  <a:cubicBezTo>
                    <a:pt x="386" y="752"/>
                    <a:pt x="393" y="756"/>
                    <a:pt x="393" y="766"/>
                  </a:cubicBezTo>
                  <a:cubicBezTo>
                    <a:pt x="393" y="775"/>
                    <a:pt x="406" y="771"/>
                    <a:pt x="406" y="771"/>
                  </a:cubicBezTo>
                  <a:cubicBezTo>
                    <a:pt x="416" y="778"/>
                    <a:pt x="416" y="778"/>
                    <a:pt x="416" y="778"/>
                  </a:cubicBezTo>
                  <a:cubicBezTo>
                    <a:pt x="436" y="766"/>
                    <a:pt x="436" y="766"/>
                    <a:pt x="436" y="766"/>
                  </a:cubicBezTo>
                  <a:cubicBezTo>
                    <a:pt x="436" y="766"/>
                    <a:pt x="426" y="755"/>
                    <a:pt x="450" y="763"/>
                  </a:cubicBezTo>
                  <a:cubicBezTo>
                    <a:pt x="448" y="766"/>
                    <a:pt x="462" y="752"/>
                    <a:pt x="462" y="752"/>
                  </a:cubicBezTo>
                  <a:cubicBezTo>
                    <a:pt x="462" y="730"/>
                    <a:pt x="462" y="730"/>
                    <a:pt x="462" y="730"/>
                  </a:cubicBezTo>
                  <a:cubicBezTo>
                    <a:pt x="445" y="710"/>
                    <a:pt x="445" y="710"/>
                    <a:pt x="445" y="710"/>
                  </a:cubicBezTo>
                  <a:cubicBezTo>
                    <a:pt x="414" y="708"/>
                    <a:pt x="414" y="708"/>
                    <a:pt x="414" y="708"/>
                  </a:cubicBezTo>
                  <a:cubicBezTo>
                    <a:pt x="398" y="683"/>
                    <a:pt x="398" y="683"/>
                    <a:pt x="398" y="683"/>
                  </a:cubicBezTo>
                  <a:cubicBezTo>
                    <a:pt x="414" y="682"/>
                    <a:pt x="414" y="682"/>
                    <a:pt x="414" y="682"/>
                  </a:cubicBezTo>
                  <a:cubicBezTo>
                    <a:pt x="406" y="670"/>
                    <a:pt x="406" y="670"/>
                    <a:pt x="406" y="670"/>
                  </a:cubicBezTo>
                  <a:cubicBezTo>
                    <a:pt x="409" y="658"/>
                    <a:pt x="409" y="658"/>
                    <a:pt x="409" y="658"/>
                  </a:cubicBezTo>
                  <a:cubicBezTo>
                    <a:pt x="438" y="662"/>
                    <a:pt x="438" y="662"/>
                    <a:pt x="438" y="662"/>
                  </a:cubicBezTo>
                  <a:cubicBezTo>
                    <a:pt x="453" y="650"/>
                    <a:pt x="453" y="650"/>
                    <a:pt x="453" y="650"/>
                  </a:cubicBezTo>
                  <a:cubicBezTo>
                    <a:pt x="436" y="640"/>
                    <a:pt x="436" y="640"/>
                    <a:pt x="436" y="640"/>
                  </a:cubicBezTo>
                  <a:cubicBezTo>
                    <a:pt x="449" y="614"/>
                    <a:pt x="449" y="614"/>
                    <a:pt x="449" y="614"/>
                  </a:cubicBezTo>
                  <a:cubicBezTo>
                    <a:pt x="449" y="614"/>
                    <a:pt x="490" y="599"/>
                    <a:pt x="486" y="590"/>
                  </a:cubicBezTo>
                  <a:cubicBezTo>
                    <a:pt x="482" y="580"/>
                    <a:pt x="477" y="568"/>
                    <a:pt x="489" y="568"/>
                  </a:cubicBezTo>
                  <a:cubicBezTo>
                    <a:pt x="501" y="568"/>
                    <a:pt x="525" y="562"/>
                    <a:pt x="525" y="562"/>
                  </a:cubicBezTo>
                  <a:cubicBezTo>
                    <a:pt x="525" y="562"/>
                    <a:pt x="534" y="539"/>
                    <a:pt x="541" y="546"/>
                  </a:cubicBezTo>
                  <a:cubicBezTo>
                    <a:pt x="548" y="552"/>
                    <a:pt x="538" y="532"/>
                    <a:pt x="604" y="534"/>
                  </a:cubicBezTo>
                  <a:cubicBezTo>
                    <a:pt x="597" y="511"/>
                    <a:pt x="596" y="492"/>
                    <a:pt x="596" y="492"/>
                  </a:cubicBezTo>
                  <a:cubicBezTo>
                    <a:pt x="596" y="492"/>
                    <a:pt x="572" y="498"/>
                    <a:pt x="572" y="487"/>
                  </a:cubicBezTo>
                  <a:cubicBezTo>
                    <a:pt x="572" y="476"/>
                    <a:pt x="577" y="463"/>
                    <a:pt x="577" y="463"/>
                  </a:cubicBezTo>
                  <a:cubicBezTo>
                    <a:pt x="574" y="455"/>
                    <a:pt x="574" y="455"/>
                    <a:pt x="574" y="455"/>
                  </a:cubicBezTo>
                  <a:cubicBezTo>
                    <a:pt x="604" y="452"/>
                    <a:pt x="604" y="452"/>
                    <a:pt x="604" y="452"/>
                  </a:cubicBezTo>
                  <a:cubicBezTo>
                    <a:pt x="605" y="466"/>
                    <a:pt x="605" y="466"/>
                    <a:pt x="605" y="466"/>
                  </a:cubicBezTo>
                  <a:cubicBezTo>
                    <a:pt x="629" y="466"/>
                    <a:pt x="629" y="466"/>
                    <a:pt x="629" y="466"/>
                  </a:cubicBezTo>
                  <a:cubicBezTo>
                    <a:pt x="632" y="458"/>
                    <a:pt x="632" y="458"/>
                    <a:pt x="632" y="458"/>
                  </a:cubicBezTo>
                  <a:cubicBezTo>
                    <a:pt x="656" y="454"/>
                    <a:pt x="656" y="454"/>
                    <a:pt x="656" y="454"/>
                  </a:cubicBezTo>
                  <a:cubicBezTo>
                    <a:pt x="648" y="442"/>
                    <a:pt x="660" y="431"/>
                    <a:pt x="660" y="431"/>
                  </a:cubicBezTo>
                  <a:cubicBezTo>
                    <a:pt x="670" y="445"/>
                    <a:pt x="685" y="426"/>
                    <a:pt x="685" y="426"/>
                  </a:cubicBezTo>
                  <a:cubicBezTo>
                    <a:pt x="704" y="448"/>
                    <a:pt x="725" y="407"/>
                    <a:pt x="725" y="407"/>
                  </a:cubicBezTo>
                  <a:cubicBezTo>
                    <a:pt x="725" y="407"/>
                    <a:pt x="757" y="400"/>
                    <a:pt x="758" y="394"/>
                  </a:cubicBezTo>
                  <a:cubicBezTo>
                    <a:pt x="755" y="371"/>
                    <a:pt x="772" y="342"/>
                    <a:pt x="772" y="342"/>
                  </a:cubicBezTo>
                  <a:cubicBezTo>
                    <a:pt x="764" y="342"/>
                    <a:pt x="744" y="317"/>
                    <a:pt x="741" y="313"/>
                  </a:cubicBezTo>
                  <a:cubicBezTo>
                    <a:pt x="705" y="284"/>
                    <a:pt x="737" y="269"/>
                    <a:pt x="733" y="267"/>
                  </a:cubicBezTo>
                  <a:cubicBezTo>
                    <a:pt x="704" y="274"/>
                    <a:pt x="688" y="235"/>
                    <a:pt x="686" y="232"/>
                  </a:cubicBezTo>
                  <a:cubicBezTo>
                    <a:pt x="678" y="230"/>
                    <a:pt x="684" y="206"/>
                    <a:pt x="684" y="200"/>
                  </a:cubicBezTo>
                  <a:cubicBezTo>
                    <a:pt x="698" y="224"/>
                    <a:pt x="737" y="172"/>
                    <a:pt x="737" y="172"/>
                  </a:cubicBezTo>
                  <a:cubicBezTo>
                    <a:pt x="706" y="121"/>
                    <a:pt x="706" y="121"/>
                    <a:pt x="706" y="121"/>
                  </a:cubicBezTo>
                  <a:cubicBezTo>
                    <a:pt x="701" y="129"/>
                    <a:pt x="701" y="129"/>
                    <a:pt x="701" y="129"/>
                  </a:cubicBezTo>
                  <a:cubicBezTo>
                    <a:pt x="698" y="120"/>
                    <a:pt x="698" y="120"/>
                    <a:pt x="698" y="120"/>
                  </a:cubicBezTo>
                  <a:cubicBezTo>
                    <a:pt x="706" y="98"/>
                    <a:pt x="684" y="108"/>
                    <a:pt x="684" y="108"/>
                  </a:cubicBezTo>
                  <a:cubicBezTo>
                    <a:pt x="675" y="97"/>
                    <a:pt x="675" y="97"/>
                    <a:pt x="675" y="97"/>
                  </a:cubicBezTo>
                  <a:cubicBezTo>
                    <a:pt x="691" y="55"/>
                    <a:pt x="691" y="55"/>
                    <a:pt x="691" y="55"/>
                  </a:cubicBezTo>
                  <a:cubicBezTo>
                    <a:pt x="670" y="33"/>
                    <a:pt x="670" y="33"/>
                    <a:pt x="670" y="33"/>
                  </a:cubicBezTo>
                  <a:cubicBezTo>
                    <a:pt x="680" y="10"/>
                    <a:pt x="680" y="10"/>
                    <a:pt x="680" y="10"/>
                  </a:cubicBezTo>
                  <a:cubicBezTo>
                    <a:pt x="674" y="3"/>
                    <a:pt x="674" y="3"/>
                    <a:pt x="674" y="3"/>
                  </a:cubicBezTo>
                  <a:cubicBezTo>
                    <a:pt x="611" y="0"/>
                    <a:pt x="611" y="0"/>
                    <a:pt x="611" y="0"/>
                  </a:cubicBezTo>
                  <a:cubicBezTo>
                    <a:pt x="593" y="12"/>
                    <a:pt x="593" y="12"/>
                    <a:pt x="593" y="12"/>
                  </a:cubicBezTo>
                  <a:cubicBezTo>
                    <a:pt x="577" y="12"/>
                    <a:pt x="577" y="12"/>
                    <a:pt x="577" y="12"/>
                  </a:cubicBezTo>
                  <a:cubicBezTo>
                    <a:pt x="577" y="12"/>
                    <a:pt x="570" y="21"/>
                    <a:pt x="560" y="31"/>
                  </a:cubicBezTo>
                  <a:cubicBezTo>
                    <a:pt x="550" y="30"/>
                    <a:pt x="553" y="57"/>
                    <a:pt x="553" y="57"/>
                  </a:cubicBezTo>
                  <a:cubicBezTo>
                    <a:pt x="559" y="63"/>
                    <a:pt x="559" y="63"/>
                    <a:pt x="559" y="63"/>
                  </a:cubicBezTo>
                  <a:cubicBezTo>
                    <a:pt x="559" y="63"/>
                    <a:pt x="564" y="60"/>
                    <a:pt x="569" y="68"/>
                  </a:cubicBezTo>
                  <a:cubicBezTo>
                    <a:pt x="574" y="76"/>
                    <a:pt x="558" y="76"/>
                    <a:pt x="558" y="76"/>
                  </a:cubicBezTo>
                  <a:cubicBezTo>
                    <a:pt x="527" y="100"/>
                    <a:pt x="527" y="100"/>
                    <a:pt x="527" y="100"/>
                  </a:cubicBezTo>
                  <a:cubicBezTo>
                    <a:pt x="521" y="93"/>
                    <a:pt x="517" y="99"/>
                    <a:pt x="517" y="99"/>
                  </a:cubicBezTo>
                  <a:cubicBezTo>
                    <a:pt x="499" y="98"/>
                    <a:pt x="499" y="98"/>
                    <a:pt x="499" y="98"/>
                  </a:cubicBezTo>
                  <a:cubicBezTo>
                    <a:pt x="497" y="82"/>
                    <a:pt x="497" y="82"/>
                    <a:pt x="497" y="82"/>
                  </a:cubicBezTo>
                  <a:cubicBezTo>
                    <a:pt x="512" y="67"/>
                    <a:pt x="512" y="67"/>
                    <a:pt x="512" y="67"/>
                  </a:cubicBezTo>
                  <a:cubicBezTo>
                    <a:pt x="525" y="66"/>
                    <a:pt x="525" y="66"/>
                    <a:pt x="525" y="66"/>
                  </a:cubicBezTo>
                  <a:cubicBezTo>
                    <a:pt x="525" y="48"/>
                    <a:pt x="525" y="48"/>
                    <a:pt x="525" y="48"/>
                  </a:cubicBezTo>
                  <a:cubicBezTo>
                    <a:pt x="534" y="41"/>
                    <a:pt x="535" y="34"/>
                    <a:pt x="534" y="29"/>
                  </a:cubicBezTo>
                  <a:cubicBezTo>
                    <a:pt x="477" y="88"/>
                    <a:pt x="477" y="88"/>
                    <a:pt x="477" y="88"/>
                  </a:cubicBezTo>
                  <a:cubicBezTo>
                    <a:pt x="445" y="90"/>
                    <a:pt x="445" y="90"/>
                    <a:pt x="445" y="90"/>
                  </a:cubicBezTo>
                  <a:cubicBezTo>
                    <a:pt x="441" y="74"/>
                    <a:pt x="441" y="74"/>
                    <a:pt x="441" y="74"/>
                  </a:cubicBezTo>
                  <a:cubicBezTo>
                    <a:pt x="441" y="74"/>
                    <a:pt x="421" y="71"/>
                    <a:pt x="425" y="64"/>
                  </a:cubicBezTo>
                  <a:cubicBezTo>
                    <a:pt x="408" y="103"/>
                    <a:pt x="385" y="92"/>
                    <a:pt x="385" y="92"/>
                  </a:cubicBezTo>
                  <a:cubicBezTo>
                    <a:pt x="388" y="79"/>
                    <a:pt x="388" y="79"/>
                    <a:pt x="388" y="79"/>
                  </a:cubicBezTo>
                  <a:cubicBezTo>
                    <a:pt x="364" y="68"/>
                    <a:pt x="364" y="68"/>
                    <a:pt x="364" y="68"/>
                  </a:cubicBezTo>
                  <a:cubicBezTo>
                    <a:pt x="364" y="55"/>
                    <a:pt x="364" y="55"/>
                    <a:pt x="364" y="55"/>
                  </a:cubicBezTo>
                  <a:cubicBezTo>
                    <a:pt x="350" y="50"/>
                    <a:pt x="350" y="50"/>
                    <a:pt x="350" y="50"/>
                  </a:cubicBezTo>
                  <a:cubicBezTo>
                    <a:pt x="352" y="36"/>
                    <a:pt x="352" y="36"/>
                    <a:pt x="352" y="36"/>
                  </a:cubicBezTo>
                  <a:cubicBezTo>
                    <a:pt x="344" y="35"/>
                    <a:pt x="336" y="34"/>
                    <a:pt x="334" y="34"/>
                  </a:cubicBezTo>
                  <a:cubicBezTo>
                    <a:pt x="330" y="34"/>
                    <a:pt x="329" y="22"/>
                    <a:pt x="326" y="16"/>
                  </a:cubicBezTo>
                  <a:cubicBezTo>
                    <a:pt x="324" y="11"/>
                    <a:pt x="309" y="24"/>
                    <a:pt x="296" y="24"/>
                  </a:cubicBezTo>
                  <a:cubicBezTo>
                    <a:pt x="282" y="24"/>
                    <a:pt x="265" y="18"/>
                    <a:pt x="265" y="18"/>
                  </a:cubicBezTo>
                  <a:cubicBezTo>
                    <a:pt x="237" y="126"/>
                    <a:pt x="237" y="126"/>
                    <a:pt x="237" y="126"/>
                  </a:cubicBezTo>
                  <a:cubicBezTo>
                    <a:pt x="226" y="124"/>
                    <a:pt x="226" y="124"/>
                    <a:pt x="226" y="124"/>
                  </a:cubicBezTo>
                  <a:cubicBezTo>
                    <a:pt x="225" y="108"/>
                    <a:pt x="225" y="108"/>
                    <a:pt x="225" y="108"/>
                  </a:cubicBezTo>
                  <a:cubicBezTo>
                    <a:pt x="217" y="100"/>
                    <a:pt x="217" y="100"/>
                    <a:pt x="217" y="100"/>
                  </a:cubicBezTo>
                  <a:cubicBezTo>
                    <a:pt x="217" y="100"/>
                    <a:pt x="218" y="90"/>
                    <a:pt x="208" y="86"/>
                  </a:cubicBezTo>
                  <a:cubicBezTo>
                    <a:pt x="197" y="82"/>
                    <a:pt x="198" y="98"/>
                    <a:pt x="193" y="98"/>
                  </a:cubicBezTo>
                  <a:cubicBezTo>
                    <a:pt x="188" y="98"/>
                    <a:pt x="188" y="88"/>
                    <a:pt x="188" y="88"/>
                  </a:cubicBezTo>
                  <a:cubicBezTo>
                    <a:pt x="173" y="100"/>
                    <a:pt x="173" y="100"/>
                    <a:pt x="173" y="100"/>
                  </a:cubicBezTo>
                  <a:cubicBezTo>
                    <a:pt x="164" y="87"/>
                    <a:pt x="164" y="87"/>
                    <a:pt x="164" y="87"/>
                  </a:cubicBezTo>
                  <a:cubicBezTo>
                    <a:pt x="152" y="88"/>
                    <a:pt x="152" y="88"/>
                    <a:pt x="152" y="88"/>
                  </a:cubicBezTo>
                  <a:cubicBezTo>
                    <a:pt x="148" y="127"/>
                    <a:pt x="148" y="127"/>
                    <a:pt x="148" y="127"/>
                  </a:cubicBezTo>
                  <a:cubicBezTo>
                    <a:pt x="148" y="127"/>
                    <a:pt x="137" y="128"/>
                    <a:pt x="132" y="128"/>
                  </a:cubicBezTo>
                  <a:cubicBezTo>
                    <a:pt x="126" y="128"/>
                    <a:pt x="132" y="135"/>
                    <a:pt x="125" y="136"/>
                  </a:cubicBezTo>
                  <a:cubicBezTo>
                    <a:pt x="120" y="137"/>
                    <a:pt x="113" y="129"/>
                    <a:pt x="110" y="125"/>
                  </a:cubicBezTo>
                  <a:cubicBezTo>
                    <a:pt x="111" y="127"/>
                    <a:pt x="111" y="129"/>
                    <a:pt x="101" y="128"/>
                  </a:cubicBezTo>
                  <a:cubicBezTo>
                    <a:pt x="86" y="127"/>
                    <a:pt x="86" y="126"/>
                    <a:pt x="86" y="126"/>
                  </a:cubicBezTo>
                  <a:cubicBezTo>
                    <a:pt x="62" y="132"/>
                    <a:pt x="62" y="132"/>
                    <a:pt x="62" y="132"/>
                  </a:cubicBezTo>
                  <a:cubicBezTo>
                    <a:pt x="56" y="119"/>
                    <a:pt x="56" y="119"/>
                    <a:pt x="56" y="119"/>
                  </a:cubicBezTo>
                  <a:cubicBezTo>
                    <a:pt x="42" y="119"/>
                    <a:pt x="42" y="119"/>
                    <a:pt x="42" y="119"/>
                  </a:cubicBezTo>
                  <a:cubicBezTo>
                    <a:pt x="41" y="100"/>
                    <a:pt x="41" y="100"/>
                    <a:pt x="41" y="100"/>
                  </a:cubicBezTo>
                  <a:cubicBezTo>
                    <a:pt x="16" y="111"/>
                    <a:pt x="16" y="111"/>
                    <a:pt x="16" y="111"/>
                  </a:cubicBezTo>
                  <a:cubicBezTo>
                    <a:pt x="21" y="124"/>
                    <a:pt x="21" y="124"/>
                    <a:pt x="21" y="124"/>
                  </a:cubicBezTo>
                  <a:cubicBezTo>
                    <a:pt x="17" y="139"/>
                    <a:pt x="17" y="139"/>
                    <a:pt x="17" y="139"/>
                  </a:cubicBezTo>
                  <a:cubicBezTo>
                    <a:pt x="24" y="152"/>
                    <a:pt x="24" y="152"/>
                    <a:pt x="24" y="152"/>
                  </a:cubicBezTo>
                  <a:cubicBezTo>
                    <a:pt x="25" y="187"/>
                    <a:pt x="25" y="187"/>
                    <a:pt x="25" y="187"/>
                  </a:cubicBezTo>
                  <a:cubicBezTo>
                    <a:pt x="0" y="196"/>
                    <a:pt x="0" y="196"/>
                    <a:pt x="0" y="196"/>
                  </a:cubicBezTo>
                  <a:cubicBezTo>
                    <a:pt x="0" y="208"/>
                    <a:pt x="0" y="208"/>
                    <a:pt x="0" y="208"/>
                  </a:cubicBezTo>
                  <a:cubicBezTo>
                    <a:pt x="12" y="224"/>
                    <a:pt x="12" y="224"/>
                    <a:pt x="12" y="224"/>
                  </a:cubicBezTo>
                  <a:cubicBezTo>
                    <a:pt x="4" y="227"/>
                    <a:pt x="4" y="227"/>
                    <a:pt x="4" y="227"/>
                  </a:cubicBezTo>
                  <a:cubicBezTo>
                    <a:pt x="2" y="255"/>
                    <a:pt x="2" y="255"/>
                    <a:pt x="2" y="255"/>
                  </a:cubicBezTo>
                  <a:cubicBezTo>
                    <a:pt x="2" y="255"/>
                    <a:pt x="25" y="291"/>
                    <a:pt x="29" y="311"/>
                  </a:cubicBezTo>
                  <a:cubicBezTo>
                    <a:pt x="34" y="311"/>
                    <a:pt x="74" y="347"/>
                    <a:pt x="62" y="367"/>
                  </a:cubicBezTo>
                  <a:cubicBezTo>
                    <a:pt x="60" y="374"/>
                    <a:pt x="46" y="380"/>
                    <a:pt x="46" y="380"/>
                  </a:cubicBezTo>
                  <a:cubicBezTo>
                    <a:pt x="50" y="403"/>
                    <a:pt x="50" y="403"/>
                    <a:pt x="50" y="403"/>
                  </a:cubicBezTo>
                  <a:cubicBezTo>
                    <a:pt x="56" y="384"/>
                    <a:pt x="56" y="384"/>
                    <a:pt x="56" y="384"/>
                  </a:cubicBezTo>
                  <a:cubicBezTo>
                    <a:pt x="68" y="384"/>
                    <a:pt x="68" y="384"/>
                    <a:pt x="68" y="384"/>
                  </a:cubicBezTo>
                  <a:cubicBezTo>
                    <a:pt x="72" y="396"/>
                    <a:pt x="72" y="396"/>
                    <a:pt x="72" y="396"/>
                  </a:cubicBezTo>
                  <a:cubicBezTo>
                    <a:pt x="82" y="391"/>
                    <a:pt x="82" y="391"/>
                    <a:pt x="82" y="391"/>
                  </a:cubicBezTo>
                  <a:cubicBezTo>
                    <a:pt x="88" y="398"/>
                    <a:pt x="88" y="398"/>
                    <a:pt x="88" y="398"/>
                  </a:cubicBezTo>
                  <a:cubicBezTo>
                    <a:pt x="90" y="390"/>
                    <a:pt x="90" y="390"/>
                    <a:pt x="90" y="390"/>
                  </a:cubicBezTo>
                  <a:cubicBezTo>
                    <a:pt x="90" y="390"/>
                    <a:pt x="120" y="375"/>
                    <a:pt x="126" y="384"/>
                  </a:cubicBezTo>
                  <a:cubicBezTo>
                    <a:pt x="133" y="394"/>
                    <a:pt x="158" y="391"/>
                    <a:pt x="145" y="402"/>
                  </a:cubicBezTo>
                  <a:cubicBezTo>
                    <a:pt x="150" y="406"/>
                    <a:pt x="150" y="406"/>
                    <a:pt x="150" y="406"/>
                  </a:cubicBezTo>
                  <a:cubicBezTo>
                    <a:pt x="157" y="424"/>
                    <a:pt x="157" y="424"/>
                    <a:pt x="157" y="424"/>
                  </a:cubicBezTo>
                  <a:cubicBezTo>
                    <a:pt x="157" y="424"/>
                    <a:pt x="188" y="403"/>
                    <a:pt x="174" y="452"/>
                  </a:cubicBezTo>
                  <a:cubicBezTo>
                    <a:pt x="170" y="464"/>
                    <a:pt x="170" y="468"/>
                    <a:pt x="171" y="469"/>
                  </a:cubicBezTo>
                  <a:cubicBezTo>
                    <a:pt x="172" y="470"/>
                    <a:pt x="172" y="470"/>
                    <a:pt x="172" y="470"/>
                  </a:cubicBezTo>
                  <a:cubicBezTo>
                    <a:pt x="172" y="470"/>
                    <a:pt x="171" y="470"/>
                    <a:pt x="171" y="469"/>
                  </a:cubicBezTo>
                  <a:cubicBezTo>
                    <a:pt x="157" y="458"/>
                    <a:pt x="157" y="458"/>
                    <a:pt x="157" y="458"/>
                  </a:cubicBezTo>
                  <a:cubicBezTo>
                    <a:pt x="160" y="470"/>
                    <a:pt x="160" y="470"/>
                    <a:pt x="160" y="470"/>
                  </a:cubicBezTo>
                  <a:cubicBezTo>
                    <a:pt x="160" y="470"/>
                    <a:pt x="150" y="475"/>
                    <a:pt x="150" y="479"/>
                  </a:cubicBezTo>
                  <a:cubicBezTo>
                    <a:pt x="150" y="483"/>
                    <a:pt x="157" y="495"/>
                    <a:pt x="157" y="495"/>
                  </a:cubicBezTo>
                  <a:cubicBezTo>
                    <a:pt x="142" y="495"/>
                    <a:pt x="142" y="495"/>
                    <a:pt x="142" y="495"/>
                  </a:cubicBezTo>
                  <a:cubicBezTo>
                    <a:pt x="142" y="515"/>
                    <a:pt x="142" y="515"/>
                    <a:pt x="142" y="515"/>
                  </a:cubicBezTo>
                  <a:cubicBezTo>
                    <a:pt x="122" y="519"/>
                    <a:pt x="122" y="519"/>
                    <a:pt x="122" y="519"/>
                  </a:cubicBezTo>
                  <a:cubicBezTo>
                    <a:pt x="110" y="547"/>
                    <a:pt x="110" y="547"/>
                    <a:pt x="110" y="547"/>
                  </a:cubicBezTo>
                  <a:cubicBezTo>
                    <a:pt x="82" y="548"/>
                    <a:pt x="82" y="548"/>
                    <a:pt x="82" y="548"/>
                  </a:cubicBezTo>
                  <a:cubicBezTo>
                    <a:pt x="81" y="554"/>
                    <a:pt x="81" y="554"/>
                    <a:pt x="81" y="554"/>
                  </a:cubicBezTo>
                  <a:cubicBezTo>
                    <a:pt x="62" y="563"/>
                    <a:pt x="62" y="563"/>
                    <a:pt x="62" y="563"/>
                  </a:cubicBezTo>
                  <a:cubicBezTo>
                    <a:pt x="62" y="579"/>
                    <a:pt x="62" y="579"/>
                    <a:pt x="62" y="579"/>
                  </a:cubicBezTo>
                  <a:cubicBezTo>
                    <a:pt x="41" y="588"/>
                    <a:pt x="41" y="588"/>
                    <a:pt x="41" y="588"/>
                  </a:cubicBezTo>
                  <a:cubicBezTo>
                    <a:pt x="54" y="640"/>
                    <a:pt x="54" y="640"/>
                    <a:pt x="54" y="640"/>
                  </a:cubicBezTo>
                  <a:lnTo>
                    <a:pt x="68" y="647"/>
                  </a:lnTo>
                  <a:close/>
                </a:path>
              </a:pathLst>
            </a:custGeom>
            <a:solidFill>
              <a:srgbClr val="F4F3F0"/>
            </a:solid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grpSp>
      <p:pic>
        <p:nvPicPr>
          <p:cNvPr id="59" name="Graphique 58" descr="Utilisateur">
            <a:extLst>
              <a:ext uri="{FF2B5EF4-FFF2-40B4-BE49-F238E27FC236}">
                <a16:creationId xmlns:a16="http://schemas.microsoft.com/office/drawing/2014/main" id="{BCF539CA-033C-4E53-AA11-C9F1D57FD99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62600" y="918286"/>
            <a:ext cx="343642" cy="343642"/>
          </a:xfrm>
          <a:prstGeom prst="rect">
            <a:avLst/>
          </a:prstGeom>
        </p:spPr>
      </p:pic>
      <p:pic>
        <p:nvPicPr>
          <p:cNvPr id="60" name="Graphique 59" descr="Enfants">
            <a:extLst>
              <a:ext uri="{FF2B5EF4-FFF2-40B4-BE49-F238E27FC236}">
                <a16:creationId xmlns:a16="http://schemas.microsoft.com/office/drawing/2014/main" id="{D039143E-4976-4C18-9C94-0BA53EE64FF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82720" y="929748"/>
            <a:ext cx="357605" cy="357605"/>
          </a:xfrm>
          <a:prstGeom prst="rect">
            <a:avLst/>
          </a:prstGeom>
        </p:spPr>
      </p:pic>
      <p:pic>
        <p:nvPicPr>
          <p:cNvPr id="61" name="Graphique 60" descr="Hôpital">
            <a:extLst>
              <a:ext uri="{FF2B5EF4-FFF2-40B4-BE49-F238E27FC236}">
                <a16:creationId xmlns:a16="http://schemas.microsoft.com/office/drawing/2014/main" id="{5A6293E0-A850-432A-AEC2-55244F91F50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01315" y="898323"/>
            <a:ext cx="377667" cy="377667"/>
          </a:xfrm>
          <a:prstGeom prst="rect">
            <a:avLst/>
          </a:prstGeom>
        </p:spPr>
      </p:pic>
      <p:sp>
        <p:nvSpPr>
          <p:cNvPr id="71" name="ZoneTexte 70">
            <a:extLst>
              <a:ext uri="{FF2B5EF4-FFF2-40B4-BE49-F238E27FC236}">
                <a16:creationId xmlns:a16="http://schemas.microsoft.com/office/drawing/2014/main" id="{95275340-2C5E-4AB7-8968-428537133200}"/>
              </a:ext>
            </a:extLst>
          </p:cNvPr>
          <p:cNvSpPr txBox="1"/>
          <p:nvPr/>
        </p:nvSpPr>
        <p:spPr>
          <a:xfrm>
            <a:off x="3506076" y="959276"/>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ublic cible</a:t>
            </a:r>
          </a:p>
          <a:p>
            <a:pPr marL="171450" indent="-171450">
              <a:buFontTx/>
              <a:buChar char="-"/>
            </a:pPr>
            <a:endParaRPr lang="fr-FR" sz="1200">
              <a:solidFill>
                <a:srgbClr val="5F5F5F"/>
              </a:solidFill>
              <a:latin typeface="Tahoma"/>
            </a:endParaRPr>
          </a:p>
        </p:txBody>
      </p:sp>
      <p:sp>
        <p:nvSpPr>
          <p:cNvPr id="72" name="Rectangle 71">
            <a:extLst>
              <a:ext uri="{FF2B5EF4-FFF2-40B4-BE49-F238E27FC236}">
                <a16:creationId xmlns:a16="http://schemas.microsoft.com/office/drawing/2014/main" id="{CF33C1E5-DDE1-4156-A8BA-4E287E034C81}"/>
              </a:ext>
            </a:extLst>
          </p:cNvPr>
          <p:cNvSpPr/>
          <p:nvPr/>
        </p:nvSpPr>
        <p:spPr>
          <a:xfrm>
            <a:off x="3041222" y="920243"/>
            <a:ext cx="2566378"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3" name="Rectangle 72">
            <a:extLst>
              <a:ext uri="{FF2B5EF4-FFF2-40B4-BE49-F238E27FC236}">
                <a16:creationId xmlns:a16="http://schemas.microsoft.com/office/drawing/2014/main" id="{E85DFD2B-8AE0-4AEF-971A-2B7DB41E3803}"/>
              </a:ext>
            </a:extLst>
          </p:cNvPr>
          <p:cNvSpPr/>
          <p:nvPr/>
        </p:nvSpPr>
        <p:spPr>
          <a:xfrm>
            <a:off x="8329059" y="918287"/>
            <a:ext cx="2630482" cy="1028237"/>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4" name="ZoneTexte 73">
            <a:extLst>
              <a:ext uri="{FF2B5EF4-FFF2-40B4-BE49-F238E27FC236}">
                <a16:creationId xmlns:a16="http://schemas.microsoft.com/office/drawing/2014/main" id="{77576367-5766-4A85-8CC6-3A325240D7B8}"/>
              </a:ext>
            </a:extLst>
          </p:cNvPr>
          <p:cNvSpPr txBox="1"/>
          <p:nvPr/>
        </p:nvSpPr>
        <p:spPr>
          <a:xfrm>
            <a:off x="8699428" y="963457"/>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ortage / gestion du projet </a:t>
            </a:r>
          </a:p>
          <a:p>
            <a:pPr marL="171450" indent="-171450">
              <a:buFontTx/>
              <a:buChar char="-"/>
            </a:pPr>
            <a:endParaRPr lang="fr-FR" sz="1200">
              <a:solidFill>
                <a:srgbClr val="5F5F5F"/>
              </a:solidFill>
              <a:latin typeface="Tahoma"/>
            </a:endParaRPr>
          </a:p>
        </p:txBody>
      </p:sp>
      <p:sp>
        <p:nvSpPr>
          <p:cNvPr id="76" name="Rectangle 75">
            <a:extLst>
              <a:ext uri="{FF2B5EF4-FFF2-40B4-BE49-F238E27FC236}">
                <a16:creationId xmlns:a16="http://schemas.microsoft.com/office/drawing/2014/main" id="{DEA056E4-366B-4B6E-AD2A-2A7DACC2777B}"/>
              </a:ext>
            </a:extLst>
          </p:cNvPr>
          <p:cNvSpPr/>
          <p:nvPr/>
        </p:nvSpPr>
        <p:spPr>
          <a:xfrm>
            <a:off x="5657842" y="920242"/>
            <a:ext cx="2630482" cy="1026282"/>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7" name="ZoneTexte 76">
            <a:extLst>
              <a:ext uri="{FF2B5EF4-FFF2-40B4-BE49-F238E27FC236}">
                <a16:creationId xmlns:a16="http://schemas.microsoft.com/office/drawing/2014/main" id="{9B3B4E4E-968C-4AC1-A916-2CB2CBC81062}"/>
              </a:ext>
            </a:extLst>
          </p:cNvPr>
          <p:cNvSpPr txBox="1"/>
          <p:nvPr/>
        </p:nvSpPr>
        <p:spPr>
          <a:xfrm>
            <a:off x="6045885" y="987123"/>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Typologie de structure</a:t>
            </a:r>
          </a:p>
          <a:p>
            <a:pPr marL="171450" indent="-171450">
              <a:buFontTx/>
              <a:buChar char="-"/>
            </a:pPr>
            <a:endParaRPr lang="fr-FR" sz="1200">
              <a:solidFill>
                <a:srgbClr val="5F5F5F"/>
              </a:solidFill>
              <a:latin typeface="Tahoma"/>
            </a:endParaRPr>
          </a:p>
        </p:txBody>
      </p:sp>
      <p:sp>
        <p:nvSpPr>
          <p:cNvPr id="78" name="ZoneTexte 77">
            <a:extLst>
              <a:ext uri="{FF2B5EF4-FFF2-40B4-BE49-F238E27FC236}">
                <a16:creationId xmlns:a16="http://schemas.microsoft.com/office/drawing/2014/main" id="{96B574C6-E211-4064-9944-5448EE32BE54}"/>
              </a:ext>
            </a:extLst>
          </p:cNvPr>
          <p:cNvSpPr txBox="1"/>
          <p:nvPr/>
        </p:nvSpPr>
        <p:spPr>
          <a:xfrm>
            <a:off x="2992778" y="1229168"/>
            <a:ext cx="2660644" cy="900246"/>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pPr>
            <a:r>
              <a:rPr lang="fr-FR" sz="1050">
                <a:solidFill>
                  <a:srgbClr val="5F5F5F"/>
                </a:solidFill>
                <a:latin typeface="Tahoma"/>
              </a:rPr>
              <a:t>Personnes âgées dépendantes</a:t>
            </a:r>
          </a:p>
          <a:p>
            <a:pPr marL="171450" indent="-171450">
              <a:buClr>
                <a:srgbClr val="503078"/>
              </a:buClr>
              <a:buFont typeface="Tahoma" panose="020B0604030504040204" pitchFamily="34" charset="0"/>
              <a:buChar char="⁄"/>
            </a:pPr>
            <a:r>
              <a:rPr lang="fr-FR" sz="1050">
                <a:solidFill>
                  <a:srgbClr val="5F5F5F"/>
                </a:solidFill>
                <a:latin typeface="Tahoma"/>
              </a:rPr>
              <a:t>Personnes en situation de handicap</a:t>
            </a:r>
          </a:p>
          <a:p>
            <a:pPr marL="171450" indent="-171450">
              <a:buClr>
                <a:srgbClr val="503078"/>
              </a:buClr>
              <a:buFont typeface="Tahoma" panose="020B0604030504040204" pitchFamily="34" charset="0"/>
              <a:buChar char="⁄"/>
            </a:pPr>
            <a:r>
              <a:rPr lang="fr-FR" sz="1050">
                <a:solidFill>
                  <a:srgbClr val="5F5F5F"/>
                </a:solidFill>
                <a:latin typeface="Tahoma"/>
              </a:rPr>
              <a:t>Publics des ESMS (séjours de rupture)</a:t>
            </a:r>
          </a:p>
          <a:p>
            <a:pPr marL="171450" indent="-171450">
              <a:buClr>
                <a:srgbClr val="503078"/>
              </a:buClr>
              <a:buFont typeface="Tahoma" panose="020B0604030504040204" pitchFamily="34" charset="0"/>
              <a:buChar char="⁄"/>
            </a:pPr>
            <a:r>
              <a:rPr lang="fr-FR" sz="1050">
                <a:solidFill>
                  <a:srgbClr val="5F5F5F"/>
                </a:solidFill>
                <a:latin typeface="Tahoma"/>
              </a:rPr>
              <a:t>Leurs aidants</a:t>
            </a:r>
          </a:p>
          <a:p>
            <a:pPr marL="171450" indent="-171450">
              <a:buClr>
                <a:srgbClr val="503078"/>
              </a:buClr>
              <a:buFont typeface="Tahoma" panose="020B0604030504040204" pitchFamily="34" charset="0"/>
              <a:buChar char="⁄"/>
            </a:pPr>
            <a:endParaRPr lang="fr-FR" sz="1050">
              <a:solidFill>
                <a:srgbClr val="5F5F5F"/>
              </a:solidFill>
              <a:latin typeface="Tahoma"/>
            </a:endParaRPr>
          </a:p>
        </p:txBody>
      </p:sp>
      <p:sp>
        <p:nvSpPr>
          <p:cNvPr id="79" name="ZoneTexte 78">
            <a:extLst>
              <a:ext uri="{FF2B5EF4-FFF2-40B4-BE49-F238E27FC236}">
                <a16:creationId xmlns:a16="http://schemas.microsoft.com/office/drawing/2014/main" id="{201EC015-8921-47D5-8EEB-4F8E037742E5}"/>
              </a:ext>
            </a:extLst>
          </p:cNvPr>
          <p:cNvSpPr txBox="1"/>
          <p:nvPr/>
        </p:nvSpPr>
        <p:spPr>
          <a:xfrm>
            <a:off x="5633852" y="1228238"/>
            <a:ext cx="2734774" cy="595356"/>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Etablissement de tourisme social (labellisé Tourisme &amp; Handicaps sur les 4 familles de déficiences)</a:t>
            </a:r>
          </a:p>
        </p:txBody>
      </p:sp>
      <p:sp>
        <p:nvSpPr>
          <p:cNvPr id="80" name="ZoneTexte 79">
            <a:extLst>
              <a:ext uri="{FF2B5EF4-FFF2-40B4-BE49-F238E27FC236}">
                <a16:creationId xmlns:a16="http://schemas.microsoft.com/office/drawing/2014/main" id="{D486C829-4B6E-4981-9B49-72041AC2853F}"/>
              </a:ext>
            </a:extLst>
          </p:cNvPr>
          <p:cNvSpPr txBox="1"/>
          <p:nvPr/>
        </p:nvSpPr>
        <p:spPr>
          <a:xfrm>
            <a:off x="8270852" y="1233161"/>
            <a:ext cx="2770132" cy="595356"/>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Croix Rouge Française (gestion du projet) Pro-BTP en tant que membre fondateur</a:t>
            </a:r>
          </a:p>
        </p:txBody>
      </p:sp>
      <p:sp>
        <p:nvSpPr>
          <p:cNvPr id="139" name="Rectangle 138">
            <a:extLst>
              <a:ext uri="{FF2B5EF4-FFF2-40B4-BE49-F238E27FC236}">
                <a16:creationId xmlns:a16="http://schemas.microsoft.com/office/drawing/2014/main" id="{23DA1D13-F6FC-42CC-8CBC-A6643FFAA543}"/>
              </a:ext>
            </a:extLst>
          </p:cNvPr>
          <p:cNvSpPr/>
          <p:nvPr/>
        </p:nvSpPr>
        <p:spPr>
          <a:xfrm>
            <a:off x="1254009" y="923574"/>
            <a:ext cx="1728514"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81" name="ZoneTexte 80">
            <a:extLst>
              <a:ext uri="{FF2B5EF4-FFF2-40B4-BE49-F238E27FC236}">
                <a16:creationId xmlns:a16="http://schemas.microsoft.com/office/drawing/2014/main" id="{B6B02541-4955-4889-BA74-FB46F4880E07}"/>
              </a:ext>
            </a:extLst>
          </p:cNvPr>
          <p:cNvSpPr txBox="1"/>
          <p:nvPr/>
        </p:nvSpPr>
        <p:spPr>
          <a:xfrm>
            <a:off x="859987" y="1104011"/>
            <a:ext cx="1669594" cy="707886"/>
          </a:xfrm>
          <a:prstGeom prst="rect">
            <a:avLst/>
          </a:prstGeom>
          <a:noFill/>
        </p:spPr>
        <p:txBody>
          <a:bodyPr wrap="square" lIns="108000" rIns="108000" rtlCol="0">
            <a:spAutoFit/>
          </a:bodyPr>
          <a:lstStyle/>
          <a:p>
            <a:endParaRPr lang="fr-FR" sz="1000">
              <a:solidFill>
                <a:srgbClr val="5F5F5F"/>
              </a:solidFill>
              <a:latin typeface="Tahoma"/>
            </a:endParaRPr>
          </a:p>
          <a:p>
            <a:pPr algn="ctr"/>
            <a:r>
              <a:rPr lang="fr-FR" sz="1000" b="1">
                <a:solidFill>
                  <a:srgbClr val="503078"/>
                </a:solidFill>
                <a:latin typeface="Tahoma"/>
              </a:rPr>
              <a:t>VRF Mardor</a:t>
            </a:r>
          </a:p>
          <a:p>
            <a:pPr algn="ctr"/>
            <a:r>
              <a:rPr lang="fr-FR" sz="1000">
                <a:solidFill>
                  <a:srgbClr val="5F5F5F"/>
                </a:solidFill>
                <a:latin typeface="Tahoma"/>
              </a:rPr>
              <a:t>Couches (71)</a:t>
            </a:r>
          </a:p>
          <a:p>
            <a:endParaRPr lang="fr-FR" sz="1000">
              <a:solidFill>
                <a:srgbClr val="5F5F5F"/>
              </a:solidFill>
              <a:latin typeface="Tahoma"/>
            </a:endParaRPr>
          </a:p>
        </p:txBody>
      </p:sp>
      <p:pic>
        <p:nvPicPr>
          <p:cNvPr id="82" name="Location-White-Background">
            <a:extLst>
              <a:ext uri="{FF2B5EF4-FFF2-40B4-BE49-F238E27FC236}">
                <a16:creationId xmlns:a16="http://schemas.microsoft.com/office/drawing/2014/main" id="{23FE517D-84D3-4474-804F-DE6049B1856D}"/>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2153935" y="1264842"/>
            <a:ext cx="242960" cy="227494"/>
          </a:xfrm>
          <a:prstGeom prst="rect">
            <a:avLst/>
          </a:prstGeom>
        </p:spPr>
      </p:pic>
      <p:sp>
        <p:nvSpPr>
          <p:cNvPr id="86" name="ZoneTexte 85">
            <a:extLst>
              <a:ext uri="{FF2B5EF4-FFF2-40B4-BE49-F238E27FC236}">
                <a16:creationId xmlns:a16="http://schemas.microsoft.com/office/drawing/2014/main" id="{AF7C0632-E32A-4ADE-A0B6-E79C94E16B96}"/>
              </a:ext>
            </a:extLst>
          </p:cNvPr>
          <p:cNvSpPr txBox="1"/>
          <p:nvPr/>
        </p:nvSpPr>
        <p:spPr>
          <a:xfrm>
            <a:off x="1187839" y="1958068"/>
            <a:ext cx="5982318" cy="307777"/>
          </a:xfrm>
          <a:prstGeom prst="rect">
            <a:avLst/>
          </a:prstGeom>
          <a:noFill/>
          <a:ln>
            <a:solidFill>
              <a:schemeClr val="bg1"/>
            </a:solidFill>
          </a:ln>
        </p:spPr>
        <p:txBody>
          <a:bodyPr wrap="square" lIns="108000" rIns="108000" rtlCol="0">
            <a:spAutoFit/>
          </a:bodyPr>
          <a:lstStyle/>
          <a:p>
            <a:r>
              <a:rPr lang="fr-FR" sz="1400" b="1">
                <a:solidFill>
                  <a:srgbClr val="503078"/>
                </a:solidFill>
                <a:latin typeface="Tahoma"/>
              </a:rPr>
              <a:t>Description</a:t>
            </a:r>
          </a:p>
        </p:txBody>
      </p:sp>
      <p:sp>
        <p:nvSpPr>
          <p:cNvPr id="111" name="ZoneTexte 110">
            <a:extLst>
              <a:ext uri="{FF2B5EF4-FFF2-40B4-BE49-F238E27FC236}">
                <a16:creationId xmlns:a16="http://schemas.microsoft.com/office/drawing/2014/main" id="{BB52A159-B06C-455E-BD96-5C6FEF8A3B03}"/>
              </a:ext>
            </a:extLst>
          </p:cNvPr>
          <p:cNvSpPr txBox="1"/>
          <p:nvPr/>
        </p:nvSpPr>
        <p:spPr>
          <a:xfrm>
            <a:off x="1231327" y="2178299"/>
            <a:ext cx="9706664" cy="900246"/>
          </a:xfrm>
          <a:prstGeom prst="rect">
            <a:avLst/>
          </a:prstGeom>
          <a:noFill/>
        </p:spPr>
        <p:txBody>
          <a:bodyPr wrap="square">
            <a:spAutoFit/>
          </a:bodyPr>
          <a:lstStyle/>
          <a:p>
            <a:pPr algn="just"/>
            <a:r>
              <a:rPr lang="fr-FR" sz="1050">
                <a:solidFill>
                  <a:srgbClr val="5F5F5F"/>
                </a:solidFill>
                <a:latin typeface="Tahoma"/>
              </a:rPr>
              <a:t>Le projet VRF Mardor est né suite au transfert du Centre de Rééducation Fonctionnelle, initialement établi à Couches, vers Châlons-sur-Saône. Le centre de répit sera établi sur une propriété forestière du Morvan de plusieurs dizaines d’hectares. Ce projet sera mené et géré par la Croix-Rouge Française et </a:t>
            </a:r>
            <a:r>
              <a:rPr lang="fr-FR" sz="1050" err="1">
                <a:solidFill>
                  <a:srgbClr val="5F5F5F"/>
                </a:solidFill>
                <a:latin typeface="Tahoma"/>
              </a:rPr>
              <a:t>co</a:t>
            </a:r>
            <a:r>
              <a:rPr lang="fr-FR" sz="1050">
                <a:solidFill>
                  <a:srgbClr val="5F5F5F"/>
                </a:solidFill>
                <a:latin typeface="Tahoma"/>
              </a:rPr>
              <a:t>-porté par Pro-BTP, en partenariat avec l'État, la Communauté de Communes du Grand Autunois Morvan (CCGAM) et le Conseil Départemental. Le projet est en phase de finalisation de sa construction avant la phase de mise en œuvre. </a:t>
            </a:r>
          </a:p>
          <a:p>
            <a:pPr algn="just"/>
            <a:endParaRPr lang="fr-FR" sz="1050">
              <a:solidFill>
                <a:srgbClr val="5F5F5F"/>
              </a:solidFill>
              <a:latin typeface="Tahoma"/>
            </a:endParaRPr>
          </a:p>
        </p:txBody>
      </p:sp>
      <p:sp>
        <p:nvSpPr>
          <p:cNvPr id="113" name="ZoneTexte 112">
            <a:extLst>
              <a:ext uri="{FF2B5EF4-FFF2-40B4-BE49-F238E27FC236}">
                <a16:creationId xmlns:a16="http://schemas.microsoft.com/office/drawing/2014/main" id="{E4337566-1837-4B70-9967-9DB62463FDA4}"/>
              </a:ext>
            </a:extLst>
          </p:cNvPr>
          <p:cNvSpPr txBox="1"/>
          <p:nvPr/>
        </p:nvSpPr>
        <p:spPr>
          <a:xfrm>
            <a:off x="2624666" y="3439765"/>
            <a:ext cx="3376602" cy="770395"/>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4" name="ZoneTexte 113">
            <a:extLst>
              <a:ext uri="{FF2B5EF4-FFF2-40B4-BE49-F238E27FC236}">
                <a16:creationId xmlns:a16="http://schemas.microsoft.com/office/drawing/2014/main" id="{FD89C2E5-FED7-493C-9266-FF29C1B7979E}"/>
              </a:ext>
            </a:extLst>
          </p:cNvPr>
          <p:cNvSpPr txBox="1"/>
          <p:nvPr/>
        </p:nvSpPr>
        <p:spPr>
          <a:xfrm>
            <a:off x="2605143" y="5027645"/>
            <a:ext cx="3366617" cy="884842"/>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5" name="ZoneTexte 114">
            <a:extLst>
              <a:ext uri="{FF2B5EF4-FFF2-40B4-BE49-F238E27FC236}">
                <a16:creationId xmlns:a16="http://schemas.microsoft.com/office/drawing/2014/main" id="{DA822421-2B93-49D4-9926-891EEB3642A3}"/>
              </a:ext>
            </a:extLst>
          </p:cNvPr>
          <p:cNvSpPr txBox="1"/>
          <p:nvPr/>
        </p:nvSpPr>
        <p:spPr>
          <a:xfrm>
            <a:off x="2613326" y="4328038"/>
            <a:ext cx="3376602" cy="568894"/>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6" name="Rectangle 115">
            <a:extLst>
              <a:ext uri="{FF2B5EF4-FFF2-40B4-BE49-F238E27FC236}">
                <a16:creationId xmlns:a16="http://schemas.microsoft.com/office/drawing/2014/main" id="{4E763580-7D91-432C-8F6F-A920FAFABFF2}"/>
              </a:ext>
            </a:extLst>
          </p:cNvPr>
          <p:cNvSpPr/>
          <p:nvPr/>
        </p:nvSpPr>
        <p:spPr>
          <a:xfrm>
            <a:off x="1254008" y="2991001"/>
            <a:ext cx="4825165" cy="2964938"/>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17" name="ZoneTexte 116">
            <a:extLst>
              <a:ext uri="{FF2B5EF4-FFF2-40B4-BE49-F238E27FC236}">
                <a16:creationId xmlns:a16="http://schemas.microsoft.com/office/drawing/2014/main" id="{182D3F10-21AA-442A-93DA-4CC568287C1D}"/>
              </a:ext>
            </a:extLst>
          </p:cNvPr>
          <p:cNvSpPr txBox="1"/>
          <p:nvPr/>
        </p:nvSpPr>
        <p:spPr>
          <a:xfrm>
            <a:off x="1253624" y="2991080"/>
            <a:ext cx="4815764" cy="307777"/>
          </a:xfrm>
          <a:prstGeom prst="rect">
            <a:avLst/>
          </a:prstGeom>
          <a:solidFill>
            <a:srgbClr val="B0ADCC"/>
          </a:solidFill>
          <a:ln>
            <a:noFill/>
          </a:ln>
        </p:spPr>
        <p:txBody>
          <a:bodyPr wrap="square" lIns="108000" rIns="108000" rtlCol="0">
            <a:spAutoFit/>
          </a:bodyPr>
          <a:lstStyle/>
          <a:p>
            <a:pPr algn="ctr"/>
            <a:r>
              <a:rPr lang="fr-FR" sz="1400" b="1">
                <a:solidFill>
                  <a:srgbClr val="FFFFFF"/>
                </a:solidFill>
                <a:latin typeface="Tahoma"/>
              </a:rPr>
              <a:t>Modèle opérationnel </a:t>
            </a:r>
          </a:p>
        </p:txBody>
      </p:sp>
      <p:sp>
        <p:nvSpPr>
          <p:cNvPr id="118" name="Rectangle 117">
            <a:extLst>
              <a:ext uri="{FF2B5EF4-FFF2-40B4-BE49-F238E27FC236}">
                <a16:creationId xmlns:a16="http://schemas.microsoft.com/office/drawing/2014/main" id="{9F4F8913-31DD-4215-9C9D-20B16D9028ED}"/>
              </a:ext>
            </a:extLst>
          </p:cNvPr>
          <p:cNvSpPr/>
          <p:nvPr/>
        </p:nvSpPr>
        <p:spPr>
          <a:xfrm>
            <a:off x="6122613" y="2991001"/>
            <a:ext cx="4824000" cy="2964937"/>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19" name="ZoneTexte 118">
            <a:extLst>
              <a:ext uri="{FF2B5EF4-FFF2-40B4-BE49-F238E27FC236}">
                <a16:creationId xmlns:a16="http://schemas.microsoft.com/office/drawing/2014/main" id="{C0D85CA1-7814-4E8B-892B-D38C81EE6311}"/>
              </a:ext>
            </a:extLst>
          </p:cNvPr>
          <p:cNvSpPr txBox="1"/>
          <p:nvPr/>
        </p:nvSpPr>
        <p:spPr>
          <a:xfrm>
            <a:off x="6124765" y="3000312"/>
            <a:ext cx="4824000" cy="307777"/>
          </a:xfrm>
          <a:prstGeom prst="rect">
            <a:avLst/>
          </a:prstGeom>
          <a:solidFill>
            <a:srgbClr val="B24669"/>
          </a:solidFill>
          <a:ln>
            <a:noFill/>
          </a:ln>
        </p:spPr>
        <p:txBody>
          <a:bodyPr wrap="square" lIns="108000" rIns="108000" rtlCol="0">
            <a:spAutoFit/>
          </a:bodyPr>
          <a:lstStyle/>
          <a:p>
            <a:pPr algn="ctr"/>
            <a:r>
              <a:rPr lang="fr-FR" sz="1400" b="1">
                <a:solidFill>
                  <a:srgbClr val="FFFFFF"/>
                </a:solidFill>
                <a:latin typeface="Tahoma"/>
              </a:rPr>
              <a:t>Modèle économique </a:t>
            </a:r>
          </a:p>
        </p:txBody>
      </p:sp>
      <p:sp>
        <p:nvSpPr>
          <p:cNvPr id="120" name="ZoneTexte 119">
            <a:extLst>
              <a:ext uri="{FF2B5EF4-FFF2-40B4-BE49-F238E27FC236}">
                <a16:creationId xmlns:a16="http://schemas.microsoft.com/office/drawing/2014/main" id="{20FF5930-5718-4F27-881B-0B1484398F54}"/>
              </a:ext>
            </a:extLst>
          </p:cNvPr>
          <p:cNvSpPr txBox="1"/>
          <p:nvPr/>
        </p:nvSpPr>
        <p:spPr>
          <a:xfrm>
            <a:off x="2672137" y="3522738"/>
            <a:ext cx="3197058" cy="609975"/>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Une centaine de chambres disponibles et adaptable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Objectif de 30 places PA, 30 places PH</a:t>
            </a:r>
          </a:p>
        </p:txBody>
      </p:sp>
      <p:sp>
        <p:nvSpPr>
          <p:cNvPr id="121" name="ZoneTexte 120">
            <a:extLst>
              <a:ext uri="{FF2B5EF4-FFF2-40B4-BE49-F238E27FC236}">
                <a16:creationId xmlns:a16="http://schemas.microsoft.com/office/drawing/2014/main" id="{BBB71962-0BDB-4E55-A020-A17E234201BD}"/>
              </a:ext>
            </a:extLst>
          </p:cNvPr>
          <p:cNvSpPr txBox="1"/>
          <p:nvPr/>
        </p:nvSpPr>
        <p:spPr>
          <a:xfrm>
            <a:off x="2630249" y="5115168"/>
            <a:ext cx="3366617" cy="648447"/>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Balnéothérapie</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Salle de sport</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Salle de spectacles</a:t>
            </a:r>
          </a:p>
        </p:txBody>
      </p:sp>
      <p:sp>
        <p:nvSpPr>
          <p:cNvPr id="122" name="ZoneTexte 121">
            <a:extLst>
              <a:ext uri="{FF2B5EF4-FFF2-40B4-BE49-F238E27FC236}">
                <a16:creationId xmlns:a16="http://schemas.microsoft.com/office/drawing/2014/main" id="{AD26F451-16B6-4BEE-ADDB-19DAB6006F1D}"/>
              </a:ext>
            </a:extLst>
          </p:cNvPr>
          <p:cNvSpPr txBox="1"/>
          <p:nvPr/>
        </p:nvSpPr>
        <p:spPr>
          <a:xfrm>
            <a:off x="2640545" y="4337387"/>
            <a:ext cx="3376359" cy="445315"/>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Recrutement de personnels médicosociaux</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Hébergements et équipements adaptés </a:t>
            </a:r>
          </a:p>
        </p:txBody>
      </p:sp>
      <p:sp>
        <p:nvSpPr>
          <p:cNvPr id="123" name="ZoneTexte 122">
            <a:extLst>
              <a:ext uri="{FF2B5EF4-FFF2-40B4-BE49-F238E27FC236}">
                <a16:creationId xmlns:a16="http://schemas.microsoft.com/office/drawing/2014/main" id="{C8E25C27-B33B-464B-8F42-798B723AEB85}"/>
              </a:ext>
            </a:extLst>
          </p:cNvPr>
          <p:cNvSpPr txBox="1"/>
          <p:nvPr/>
        </p:nvSpPr>
        <p:spPr>
          <a:xfrm>
            <a:off x="6183557" y="3439766"/>
            <a:ext cx="3751654" cy="370536"/>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124" name="ZoneTexte 123">
            <a:extLst>
              <a:ext uri="{FF2B5EF4-FFF2-40B4-BE49-F238E27FC236}">
                <a16:creationId xmlns:a16="http://schemas.microsoft.com/office/drawing/2014/main" id="{1A6FBBA2-7A1C-44ED-8596-9D24D1CE4C29}"/>
              </a:ext>
            </a:extLst>
          </p:cNvPr>
          <p:cNvSpPr txBox="1"/>
          <p:nvPr/>
        </p:nvSpPr>
        <p:spPr>
          <a:xfrm>
            <a:off x="6191832" y="3924593"/>
            <a:ext cx="3751654" cy="1459770"/>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pic>
        <p:nvPicPr>
          <p:cNvPr id="125" name="Graphique 124" descr="Logement avec un remplissage uni">
            <a:extLst>
              <a:ext uri="{FF2B5EF4-FFF2-40B4-BE49-F238E27FC236}">
                <a16:creationId xmlns:a16="http://schemas.microsoft.com/office/drawing/2014/main" id="{594762C3-20A3-4F79-A2E3-163B15FE3BB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19350" y="3522738"/>
            <a:ext cx="447721" cy="447721"/>
          </a:xfrm>
          <a:prstGeom prst="rect">
            <a:avLst/>
          </a:prstGeom>
        </p:spPr>
      </p:pic>
      <p:sp>
        <p:nvSpPr>
          <p:cNvPr id="126" name="ZoneTexte 125">
            <a:extLst>
              <a:ext uri="{FF2B5EF4-FFF2-40B4-BE49-F238E27FC236}">
                <a16:creationId xmlns:a16="http://schemas.microsoft.com/office/drawing/2014/main" id="{7FAFC02B-AC77-49D1-9504-48F1E1C3C38E}"/>
              </a:ext>
            </a:extLst>
          </p:cNvPr>
          <p:cNvSpPr txBox="1"/>
          <p:nvPr/>
        </p:nvSpPr>
        <p:spPr>
          <a:xfrm>
            <a:off x="9796441" y="3354956"/>
            <a:ext cx="1244543" cy="446276"/>
          </a:xfrm>
          <a:prstGeom prst="rect">
            <a:avLst/>
          </a:prstGeom>
          <a:noFill/>
          <a:ln>
            <a:noFill/>
          </a:ln>
        </p:spPr>
        <p:txBody>
          <a:bodyPr wrap="square" lIns="108000" rIns="108000" rtlCol="0">
            <a:spAutoFit/>
          </a:bodyPr>
          <a:lstStyle/>
          <a:p>
            <a:pPr algn="ctr"/>
            <a:r>
              <a:rPr lang="fr-FR" sz="1100" b="1">
                <a:solidFill>
                  <a:srgbClr val="B24669"/>
                </a:solidFill>
                <a:latin typeface="Tahoma"/>
              </a:rPr>
              <a:t>Immobilier</a:t>
            </a:r>
          </a:p>
          <a:p>
            <a:pPr marL="171450" indent="-171450" algn="ctr">
              <a:buFontTx/>
              <a:buChar char="-"/>
            </a:pPr>
            <a:endParaRPr lang="fr-FR" sz="1200">
              <a:solidFill>
                <a:srgbClr val="B24669"/>
              </a:solidFill>
              <a:latin typeface="Tahoma"/>
            </a:endParaRPr>
          </a:p>
        </p:txBody>
      </p:sp>
      <p:sp>
        <p:nvSpPr>
          <p:cNvPr id="127" name="ZoneTexte 126">
            <a:extLst>
              <a:ext uri="{FF2B5EF4-FFF2-40B4-BE49-F238E27FC236}">
                <a16:creationId xmlns:a16="http://schemas.microsoft.com/office/drawing/2014/main" id="{0AEE0486-60F8-42EA-9321-A74182DC241C}"/>
              </a:ext>
            </a:extLst>
          </p:cNvPr>
          <p:cNvSpPr txBox="1"/>
          <p:nvPr/>
        </p:nvSpPr>
        <p:spPr>
          <a:xfrm>
            <a:off x="6146428" y="3424686"/>
            <a:ext cx="3769944" cy="400110"/>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defRPr/>
            </a:pPr>
            <a:r>
              <a:rPr lang="fr-FR" sz="1000">
                <a:solidFill>
                  <a:srgbClr val="5F5F5F"/>
                </a:solidFill>
                <a:latin typeface="Tahoma"/>
              </a:rPr>
              <a:t>Réutilisation de l’ancien site du Centre de Rééducation Fonctionnelle, réhabilitations à réaliser</a:t>
            </a:r>
          </a:p>
        </p:txBody>
      </p:sp>
      <p:sp>
        <p:nvSpPr>
          <p:cNvPr id="128" name="ZoneTexte 127">
            <a:extLst>
              <a:ext uri="{FF2B5EF4-FFF2-40B4-BE49-F238E27FC236}">
                <a16:creationId xmlns:a16="http://schemas.microsoft.com/office/drawing/2014/main" id="{A194A4C6-6B29-4D0F-8674-493C067DE374}"/>
              </a:ext>
            </a:extLst>
          </p:cNvPr>
          <p:cNvSpPr txBox="1"/>
          <p:nvPr/>
        </p:nvSpPr>
        <p:spPr>
          <a:xfrm>
            <a:off x="9948429" y="4104691"/>
            <a:ext cx="998185"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Frais de </a:t>
            </a:r>
            <a:r>
              <a:rPr lang="fr-FR" sz="1100" b="1" err="1">
                <a:solidFill>
                  <a:srgbClr val="B24669"/>
                </a:solidFill>
                <a:latin typeface="Tahoma"/>
              </a:rPr>
              <a:t>fonct</a:t>
            </a:r>
            <a:r>
              <a:rPr lang="fr-FR" sz="1100" b="1">
                <a:solidFill>
                  <a:srgbClr val="B24669"/>
                </a:solidFill>
                <a:latin typeface="Tahoma"/>
              </a:rPr>
              <a:t>.</a:t>
            </a:r>
          </a:p>
        </p:txBody>
      </p:sp>
      <p:sp>
        <p:nvSpPr>
          <p:cNvPr id="129" name="ZoneTexte 128">
            <a:extLst>
              <a:ext uri="{FF2B5EF4-FFF2-40B4-BE49-F238E27FC236}">
                <a16:creationId xmlns:a16="http://schemas.microsoft.com/office/drawing/2014/main" id="{C64BE7E0-AA5A-468A-89BE-01A697A14EDA}"/>
              </a:ext>
            </a:extLst>
          </p:cNvPr>
          <p:cNvSpPr txBox="1"/>
          <p:nvPr/>
        </p:nvSpPr>
        <p:spPr>
          <a:xfrm>
            <a:off x="6164882" y="3997572"/>
            <a:ext cx="3826750" cy="1323439"/>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defRPr/>
            </a:pPr>
            <a:r>
              <a:rPr lang="fr-FR" sz="1000">
                <a:solidFill>
                  <a:srgbClr val="5F5F5F"/>
                </a:solidFill>
                <a:latin typeface="Tahoma"/>
              </a:rPr>
              <a:t>Les agréments MS ont été obtenus. </a:t>
            </a:r>
          </a:p>
          <a:p>
            <a:pPr marL="171450" indent="-171450">
              <a:buClr>
                <a:srgbClr val="503078"/>
              </a:buClr>
              <a:buFont typeface="Tahoma" panose="020B0604030504040204" pitchFamily="34" charset="0"/>
              <a:buChar char="⁄"/>
              <a:defRPr/>
            </a:pPr>
            <a:r>
              <a:rPr lang="fr-FR" sz="1000">
                <a:solidFill>
                  <a:srgbClr val="5F5F5F"/>
                </a:solidFill>
                <a:latin typeface="Tahoma"/>
              </a:rPr>
              <a:t>Sur 18 millions d’euros, VRF est subventionnée à hauteur de 50 % : une 1</a:t>
            </a:r>
            <a:r>
              <a:rPr lang="fr-FR" sz="1000" baseline="30000">
                <a:solidFill>
                  <a:srgbClr val="5F5F5F"/>
                </a:solidFill>
                <a:latin typeface="Tahoma"/>
              </a:rPr>
              <a:t>ère</a:t>
            </a:r>
            <a:r>
              <a:rPr lang="fr-FR" sz="1000">
                <a:solidFill>
                  <a:srgbClr val="5F5F5F"/>
                </a:solidFill>
                <a:latin typeface="Tahoma"/>
              </a:rPr>
              <a:t> subvention du CD de 400 000 € va permettre de lancer les études architecturales, la </a:t>
            </a:r>
            <a:r>
              <a:rPr lang="fr-FR" sz="1000" err="1">
                <a:solidFill>
                  <a:srgbClr val="5F5F5F"/>
                </a:solidFill>
                <a:latin typeface="Tahoma"/>
              </a:rPr>
              <a:t>CCGam</a:t>
            </a:r>
            <a:r>
              <a:rPr lang="fr-FR" sz="1000">
                <a:solidFill>
                  <a:srgbClr val="5F5F5F"/>
                </a:solidFill>
                <a:latin typeface="Tahoma"/>
              </a:rPr>
              <a:t> a accordé une subvention de 200 000 €</a:t>
            </a:r>
          </a:p>
          <a:p>
            <a:pPr marL="171450" indent="-171450">
              <a:buClr>
                <a:srgbClr val="503078"/>
              </a:buClr>
              <a:buFont typeface="Tahoma" panose="020B0604030504040204" pitchFamily="34" charset="0"/>
              <a:buChar char="⁄"/>
              <a:defRPr/>
            </a:pPr>
            <a:r>
              <a:rPr lang="fr-FR" sz="1000">
                <a:solidFill>
                  <a:srgbClr val="5F5F5F"/>
                </a:solidFill>
                <a:latin typeface="Tahoma"/>
              </a:rPr>
              <a:t>La Croix-Rouge doit contracter un emprunt d’environ 9M€ auprès de la CDC qui accorderait ce prêt si l’organisme obtient une garantie d’emprunt à hauteur de 100 %.</a:t>
            </a:r>
          </a:p>
        </p:txBody>
      </p:sp>
      <p:sp>
        <p:nvSpPr>
          <p:cNvPr id="130" name="ZoneTexte 129">
            <a:extLst>
              <a:ext uri="{FF2B5EF4-FFF2-40B4-BE49-F238E27FC236}">
                <a16:creationId xmlns:a16="http://schemas.microsoft.com/office/drawing/2014/main" id="{0C142E82-2189-480E-9451-6BB485AEBE5C}"/>
              </a:ext>
            </a:extLst>
          </p:cNvPr>
          <p:cNvSpPr txBox="1"/>
          <p:nvPr/>
        </p:nvSpPr>
        <p:spPr>
          <a:xfrm>
            <a:off x="6191832" y="5495887"/>
            <a:ext cx="3742753" cy="398656"/>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31" name="ZoneTexte 130">
            <a:extLst>
              <a:ext uri="{FF2B5EF4-FFF2-40B4-BE49-F238E27FC236}">
                <a16:creationId xmlns:a16="http://schemas.microsoft.com/office/drawing/2014/main" id="{454A1DE1-5DC2-456E-81E3-700BC7DE5CC2}"/>
              </a:ext>
            </a:extLst>
          </p:cNvPr>
          <p:cNvSpPr txBox="1"/>
          <p:nvPr/>
        </p:nvSpPr>
        <p:spPr>
          <a:xfrm>
            <a:off x="9872325" y="5105872"/>
            <a:ext cx="1141769" cy="261610"/>
          </a:xfrm>
          <a:prstGeom prst="rect">
            <a:avLst/>
          </a:prstGeom>
          <a:noFill/>
          <a:ln>
            <a:noFill/>
          </a:ln>
        </p:spPr>
        <p:txBody>
          <a:bodyPr wrap="square" lIns="108000" rIns="108000" rtlCol="0">
            <a:spAutoFit/>
          </a:bodyPr>
          <a:lstStyle/>
          <a:p>
            <a:pPr algn="ctr"/>
            <a:r>
              <a:rPr lang="fr-FR" sz="1100" b="1">
                <a:solidFill>
                  <a:srgbClr val="B24669"/>
                </a:solidFill>
                <a:latin typeface="Tahoma"/>
              </a:rPr>
              <a:t>Tarifs</a:t>
            </a:r>
          </a:p>
        </p:txBody>
      </p:sp>
      <p:pic>
        <p:nvPicPr>
          <p:cNvPr id="132" name="Graphique 131" descr="Tirelire avec un remplissage uni">
            <a:extLst>
              <a:ext uri="{FF2B5EF4-FFF2-40B4-BE49-F238E27FC236}">
                <a16:creationId xmlns:a16="http://schemas.microsoft.com/office/drawing/2014/main" id="{BC07B714-93D7-4BD9-B3F7-97A7A65CD14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19349" y="4560330"/>
            <a:ext cx="514426" cy="514426"/>
          </a:xfrm>
          <a:prstGeom prst="rect">
            <a:avLst/>
          </a:prstGeom>
        </p:spPr>
      </p:pic>
      <p:sp>
        <p:nvSpPr>
          <p:cNvPr id="133" name="ZoneTexte 132">
            <a:extLst>
              <a:ext uri="{FF2B5EF4-FFF2-40B4-BE49-F238E27FC236}">
                <a16:creationId xmlns:a16="http://schemas.microsoft.com/office/drawing/2014/main" id="{6E20DB2A-A581-468C-9513-31BD1E4F2A7C}"/>
              </a:ext>
            </a:extLst>
          </p:cNvPr>
          <p:cNvSpPr txBox="1"/>
          <p:nvPr/>
        </p:nvSpPr>
        <p:spPr>
          <a:xfrm>
            <a:off x="6171850" y="5569772"/>
            <a:ext cx="3757590" cy="242182"/>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as d’informations à ce sujet</a:t>
            </a:r>
          </a:p>
        </p:txBody>
      </p:sp>
      <p:pic>
        <p:nvPicPr>
          <p:cNvPr id="134" name="Graphique 133" descr="Pièces avec un remplissage uni">
            <a:extLst>
              <a:ext uri="{FF2B5EF4-FFF2-40B4-BE49-F238E27FC236}">
                <a16:creationId xmlns:a16="http://schemas.microsoft.com/office/drawing/2014/main" id="{E94B1FD2-70A2-48CB-90A0-422663A3223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239173" y="5293196"/>
            <a:ext cx="457966" cy="457966"/>
          </a:xfrm>
          <a:prstGeom prst="rect">
            <a:avLst/>
          </a:prstGeom>
        </p:spPr>
      </p:pic>
      <p:pic>
        <p:nvPicPr>
          <p:cNvPr id="135" name="Graphique 134" descr="Dormir avec un remplissage uni">
            <a:extLst>
              <a:ext uri="{FF2B5EF4-FFF2-40B4-BE49-F238E27FC236}">
                <a16:creationId xmlns:a16="http://schemas.microsoft.com/office/drawing/2014/main" id="{25005308-EF2D-4938-80A4-882895E0E5A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648461" y="3515370"/>
            <a:ext cx="565198" cy="565198"/>
          </a:xfrm>
          <a:prstGeom prst="rect">
            <a:avLst/>
          </a:prstGeom>
        </p:spPr>
      </p:pic>
      <p:pic>
        <p:nvPicPr>
          <p:cNvPr id="136" name="Graphique 135" descr="Trousse de premiers secours avec un remplissage uni">
            <a:extLst>
              <a:ext uri="{FF2B5EF4-FFF2-40B4-BE49-F238E27FC236}">
                <a16:creationId xmlns:a16="http://schemas.microsoft.com/office/drawing/2014/main" id="{696A4C2E-65CA-467C-B9A5-29B53A43353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647823" y="4538975"/>
            <a:ext cx="557136" cy="557136"/>
          </a:xfrm>
          <a:prstGeom prst="rect">
            <a:avLst/>
          </a:prstGeom>
        </p:spPr>
      </p:pic>
      <p:pic>
        <p:nvPicPr>
          <p:cNvPr id="137" name="Graphique 136" descr="Assiette couverte avec un remplissage uni">
            <a:extLst>
              <a:ext uri="{FF2B5EF4-FFF2-40B4-BE49-F238E27FC236}">
                <a16:creationId xmlns:a16="http://schemas.microsoft.com/office/drawing/2014/main" id="{7375D139-F39D-4394-BA3F-C4C09318B41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659528" y="5390740"/>
            <a:ext cx="565199" cy="565199"/>
          </a:xfrm>
          <a:prstGeom prst="rect">
            <a:avLst/>
          </a:prstGeom>
        </p:spPr>
      </p:pic>
      <p:sp>
        <p:nvSpPr>
          <p:cNvPr id="138" name="ZoneTexte 137">
            <a:extLst>
              <a:ext uri="{FF2B5EF4-FFF2-40B4-BE49-F238E27FC236}">
                <a16:creationId xmlns:a16="http://schemas.microsoft.com/office/drawing/2014/main" id="{98EB007C-0929-4570-BEE4-0E5D39EADCEC}"/>
              </a:ext>
            </a:extLst>
          </p:cNvPr>
          <p:cNvSpPr txBox="1"/>
          <p:nvPr/>
        </p:nvSpPr>
        <p:spPr>
          <a:xfrm>
            <a:off x="1254006" y="3437426"/>
            <a:ext cx="1376242" cy="446276"/>
          </a:xfrm>
          <a:prstGeom prst="rect">
            <a:avLst/>
          </a:prstGeom>
          <a:noFill/>
          <a:ln>
            <a:noFill/>
          </a:ln>
        </p:spPr>
        <p:txBody>
          <a:bodyPr wrap="square" lIns="108000" rIns="108000" rtlCol="0">
            <a:spAutoFit/>
          </a:bodyPr>
          <a:lstStyle/>
          <a:p>
            <a:pPr algn="ctr"/>
            <a:r>
              <a:rPr lang="fr-FR" sz="1100" b="1">
                <a:solidFill>
                  <a:srgbClr val="B0ADCC"/>
                </a:solidFill>
                <a:latin typeface="Tahoma"/>
              </a:rPr>
              <a:t>Hébergement</a:t>
            </a:r>
          </a:p>
          <a:p>
            <a:pPr marL="171450" indent="-171450" algn="ctr">
              <a:buFontTx/>
              <a:buChar char="-"/>
            </a:pPr>
            <a:endParaRPr lang="fr-FR" sz="1200">
              <a:solidFill>
                <a:srgbClr val="B0ADCC"/>
              </a:solidFill>
              <a:latin typeface="Tahoma"/>
            </a:endParaRPr>
          </a:p>
        </p:txBody>
      </p:sp>
      <p:sp>
        <p:nvSpPr>
          <p:cNvPr id="140" name="ZoneTexte 139">
            <a:extLst>
              <a:ext uri="{FF2B5EF4-FFF2-40B4-BE49-F238E27FC236}">
                <a16:creationId xmlns:a16="http://schemas.microsoft.com/office/drawing/2014/main" id="{C4A68997-335A-4860-93F0-8FE5B6D0DEBD}"/>
              </a:ext>
            </a:extLst>
          </p:cNvPr>
          <p:cNvSpPr txBox="1"/>
          <p:nvPr/>
        </p:nvSpPr>
        <p:spPr>
          <a:xfrm>
            <a:off x="1439461" y="5105873"/>
            <a:ext cx="965590" cy="430887"/>
          </a:xfrm>
          <a:prstGeom prst="rect">
            <a:avLst/>
          </a:prstGeom>
          <a:noFill/>
          <a:ln>
            <a:noFill/>
          </a:ln>
        </p:spPr>
        <p:txBody>
          <a:bodyPr wrap="square" lIns="108000" rIns="108000" rtlCol="0">
            <a:spAutoFit/>
          </a:bodyPr>
          <a:lstStyle/>
          <a:p>
            <a:pPr algn="ctr"/>
            <a:r>
              <a:rPr lang="fr-FR" sz="1100" b="1">
                <a:solidFill>
                  <a:srgbClr val="B0ADCC"/>
                </a:solidFill>
                <a:latin typeface="Tahoma"/>
              </a:rPr>
              <a:t>Services </a:t>
            </a:r>
          </a:p>
          <a:p>
            <a:pPr algn="ctr"/>
            <a:r>
              <a:rPr lang="fr-FR" sz="1100" b="1">
                <a:solidFill>
                  <a:srgbClr val="B0ADCC"/>
                </a:solidFill>
                <a:latin typeface="Tahoma"/>
              </a:rPr>
              <a:t>hôteliers </a:t>
            </a:r>
          </a:p>
        </p:txBody>
      </p:sp>
      <p:sp>
        <p:nvSpPr>
          <p:cNvPr id="141" name="ZoneTexte 140">
            <a:extLst>
              <a:ext uri="{FF2B5EF4-FFF2-40B4-BE49-F238E27FC236}">
                <a16:creationId xmlns:a16="http://schemas.microsoft.com/office/drawing/2014/main" id="{FBFF45E9-3253-45B1-AAF4-8BFD87C71598}"/>
              </a:ext>
            </a:extLst>
          </p:cNvPr>
          <p:cNvSpPr txBox="1"/>
          <p:nvPr/>
        </p:nvSpPr>
        <p:spPr>
          <a:xfrm>
            <a:off x="1061813" y="4233000"/>
            <a:ext cx="1743708" cy="615553"/>
          </a:xfrm>
          <a:prstGeom prst="rect">
            <a:avLst/>
          </a:prstGeom>
          <a:noFill/>
          <a:ln>
            <a:noFill/>
          </a:ln>
        </p:spPr>
        <p:txBody>
          <a:bodyPr wrap="square" lIns="108000" rIns="108000" rtlCol="0">
            <a:spAutoFit/>
          </a:bodyPr>
          <a:lstStyle/>
          <a:p>
            <a:pPr algn="ctr"/>
            <a:r>
              <a:rPr lang="fr-FR" sz="1100" b="1">
                <a:solidFill>
                  <a:srgbClr val="B0ADCC"/>
                </a:solidFill>
                <a:latin typeface="Tahoma"/>
              </a:rPr>
              <a:t>Accompagnement médico-social</a:t>
            </a:r>
          </a:p>
          <a:p>
            <a:pPr marL="171450" indent="-171450" algn="ctr">
              <a:buFontTx/>
              <a:buChar char="-"/>
            </a:pPr>
            <a:endParaRPr lang="fr-FR" sz="1200">
              <a:solidFill>
                <a:srgbClr val="B0ADCC"/>
              </a:solidFill>
              <a:latin typeface="Tahoma"/>
            </a:endParaRPr>
          </a:p>
        </p:txBody>
      </p:sp>
      <p:sp>
        <p:nvSpPr>
          <p:cNvPr id="142" name="Rectangle 141">
            <a:extLst>
              <a:ext uri="{FF2B5EF4-FFF2-40B4-BE49-F238E27FC236}">
                <a16:creationId xmlns:a16="http://schemas.microsoft.com/office/drawing/2014/main" id="{EFB2D993-85FE-4616-8E82-616DA38EC56E}"/>
              </a:ext>
            </a:extLst>
          </p:cNvPr>
          <p:cNvSpPr/>
          <p:nvPr/>
        </p:nvSpPr>
        <p:spPr>
          <a:xfrm>
            <a:off x="1254981" y="6040345"/>
            <a:ext cx="9683009" cy="716725"/>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43" name="ZoneTexte 142">
            <a:extLst>
              <a:ext uri="{FF2B5EF4-FFF2-40B4-BE49-F238E27FC236}">
                <a16:creationId xmlns:a16="http://schemas.microsoft.com/office/drawing/2014/main" id="{5D58F903-6452-4780-8F29-71608717E01C}"/>
              </a:ext>
            </a:extLst>
          </p:cNvPr>
          <p:cNvSpPr txBox="1"/>
          <p:nvPr/>
        </p:nvSpPr>
        <p:spPr>
          <a:xfrm>
            <a:off x="1222727" y="6025491"/>
            <a:ext cx="5982318" cy="276999"/>
          </a:xfrm>
          <a:prstGeom prst="rect">
            <a:avLst/>
          </a:prstGeom>
          <a:noFill/>
          <a:ln>
            <a:solidFill>
              <a:schemeClr val="bg1"/>
            </a:solidFill>
          </a:ln>
        </p:spPr>
        <p:txBody>
          <a:bodyPr wrap="square" lIns="108000" rIns="108000" rtlCol="0">
            <a:spAutoFit/>
          </a:bodyPr>
          <a:lstStyle/>
          <a:p>
            <a:r>
              <a:rPr lang="fr-FR" sz="1200" b="1">
                <a:solidFill>
                  <a:srgbClr val="503078"/>
                </a:solidFill>
                <a:latin typeface="Tahoma"/>
              </a:rPr>
              <a:t>Difficultés rencontrées / enjeux </a:t>
            </a:r>
          </a:p>
        </p:txBody>
      </p:sp>
      <p:sp>
        <p:nvSpPr>
          <p:cNvPr id="144" name="ZoneTexte 143">
            <a:extLst>
              <a:ext uri="{FF2B5EF4-FFF2-40B4-BE49-F238E27FC236}">
                <a16:creationId xmlns:a16="http://schemas.microsoft.com/office/drawing/2014/main" id="{4D4E5198-03F7-4ABF-806C-C8EA2A96A7E7}"/>
              </a:ext>
            </a:extLst>
          </p:cNvPr>
          <p:cNvSpPr txBox="1"/>
          <p:nvPr/>
        </p:nvSpPr>
        <p:spPr>
          <a:xfrm>
            <a:off x="1231327" y="6240088"/>
            <a:ext cx="9531076" cy="553998"/>
          </a:xfrm>
          <a:prstGeom prst="rect">
            <a:avLst/>
          </a:prstGeom>
          <a:noFill/>
        </p:spPr>
        <p:txBody>
          <a:bodyPr wrap="square">
            <a:spAutoFit/>
          </a:bodyPr>
          <a:lstStyle/>
          <a:p>
            <a:pPr marL="171450" indent="-171450">
              <a:buClr>
                <a:srgbClr val="503078"/>
              </a:buClr>
              <a:buFont typeface="Tahoma" panose="020B0604030504040204" pitchFamily="34" charset="0"/>
              <a:buChar char="⁄"/>
            </a:pPr>
            <a:r>
              <a:rPr lang="fr-FR" sz="1000">
                <a:solidFill>
                  <a:srgbClr val="5F5F5F"/>
                </a:solidFill>
                <a:latin typeface="Tahoma"/>
              </a:rPr>
              <a:t>Si les collectivités s’engagent à garantir l’emprunt à hauteur de 50 %, la Croix-Rouge devra trouver un organisme privé pour garantir les 50 % restants. </a:t>
            </a:r>
          </a:p>
          <a:p>
            <a:pPr marL="171450" indent="-171450">
              <a:buClr>
                <a:srgbClr val="503078"/>
              </a:buClr>
              <a:buFont typeface="Tahoma" panose="020B0604030504040204" pitchFamily="34" charset="0"/>
              <a:buChar char="⁄"/>
            </a:pPr>
            <a:r>
              <a:rPr lang="fr-FR" sz="1000">
                <a:solidFill>
                  <a:srgbClr val="5F5F5F"/>
                </a:solidFill>
                <a:latin typeface="Tahoma"/>
              </a:rPr>
              <a:t>Durée de validité des subventions accordées par les collectivités : 2 ans </a:t>
            </a:r>
          </a:p>
          <a:p>
            <a:pPr marL="171450" indent="-171450">
              <a:buClr>
                <a:srgbClr val="503078"/>
              </a:buClr>
              <a:buFont typeface="Tahoma" panose="020B0604030504040204" pitchFamily="34" charset="0"/>
              <a:buChar char="⁄"/>
            </a:pPr>
            <a:r>
              <a:rPr lang="fr-FR" sz="1000">
                <a:solidFill>
                  <a:srgbClr val="5F5F5F"/>
                </a:solidFill>
                <a:latin typeface="Tahoma"/>
              </a:rPr>
              <a:t>Le permis de construire (en cours d’instruction) est également valable trois ans, à compter de la notification. </a:t>
            </a:r>
          </a:p>
        </p:txBody>
      </p:sp>
      <p:pic>
        <p:nvPicPr>
          <p:cNvPr id="145" name="Picture 2" descr="Accueil">
            <a:extLst>
              <a:ext uri="{FF2B5EF4-FFF2-40B4-BE49-F238E27FC236}">
                <a16:creationId xmlns:a16="http://schemas.microsoft.com/office/drawing/2014/main" id="{D512D302-AF4C-4C9E-91F7-8B7B3251A9C9}"/>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t="-3186" r="72972"/>
          <a:stretch/>
        </p:blipFill>
        <p:spPr bwMode="auto">
          <a:xfrm>
            <a:off x="9872324" y="197073"/>
            <a:ext cx="1039236" cy="554289"/>
          </a:xfrm>
          <a:prstGeom prst="rect">
            <a:avLst/>
          </a:prstGeom>
          <a:noFill/>
          <a:extLst>
            <a:ext uri="{909E8E84-426E-40DD-AFC4-6F175D3DCCD1}">
              <a14:hiddenFill xmlns:a14="http://schemas.microsoft.com/office/drawing/2010/main">
                <a:solidFill>
                  <a:srgbClr val="FFFFFF"/>
                </a:solidFill>
              </a14:hiddenFill>
            </a:ext>
          </a:extLst>
        </p:spPr>
      </p:pic>
      <p:sp>
        <p:nvSpPr>
          <p:cNvPr id="87" name="Rectangle 86">
            <a:extLst>
              <a:ext uri="{FF2B5EF4-FFF2-40B4-BE49-F238E27FC236}">
                <a16:creationId xmlns:a16="http://schemas.microsoft.com/office/drawing/2014/main" id="{8EBE94F6-5AA1-4008-8577-121195FDA416}"/>
              </a:ext>
            </a:extLst>
          </p:cNvPr>
          <p:cNvSpPr/>
          <p:nvPr/>
        </p:nvSpPr>
        <p:spPr>
          <a:xfrm>
            <a:off x="1254009" y="2016706"/>
            <a:ext cx="9705530" cy="862770"/>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Tree>
    <p:extLst>
      <p:ext uri="{BB962C8B-B14F-4D97-AF65-F5344CB8AC3E}">
        <p14:creationId xmlns:p14="http://schemas.microsoft.com/office/powerpoint/2010/main" val="20436364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45E749-14D8-42BA-A566-C272C57C4B42}"/>
              </a:ext>
            </a:extLst>
          </p:cNvPr>
          <p:cNvSpPr>
            <a:spLocks noGrp="1"/>
          </p:cNvSpPr>
          <p:nvPr>
            <p:ph type="title"/>
          </p:nvPr>
        </p:nvSpPr>
        <p:spPr/>
        <p:txBody>
          <a:bodyPr/>
          <a:lstStyle/>
          <a:p>
            <a:r>
              <a:rPr lang="fr-FR">
                <a:latin typeface="Tahoma"/>
                <a:ea typeface="+mn-ea"/>
                <a:cs typeface="+mn-cs"/>
              </a:rPr>
              <a:t>Fiches initiatives</a:t>
            </a:r>
            <a:br>
              <a:rPr lang="fr-FR">
                <a:latin typeface="Tahoma"/>
                <a:ea typeface="+mn-ea"/>
                <a:cs typeface="+mn-cs"/>
              </a:rPr>
            </a:br>
            <a:endParaRPr lang="fr-FR"/>
          </a:p>
        </p:txBody>
      </p:sp>
      <p:sp>
        <p:nvSpPr>
          <p:cNvPr id="3" name="Espace réservé du texte 2">
            <a:extLst>
              <a:ext uri="{FF2B5EF4-FFF2-40B4-BE49-F238E27FC236}">
                <a16:creationId xmlns:a16="http://schemas.microsoft.com/office/drawing/2014/main" id="{56CE6F7E-B7E2-4D0A-84E0-E9105A72B01A}"/>
              </a:ext>
            </a:extLst>
          </p:cNvPr>
          <p:cNvSpPr>
            <a:spLocks noGrp="1"/>
          </p:cNvSpPr>
          <p:nvPr>
            <p:ph type="body" sz="quarter" idx="38"/>
          </p:nvPr>
        </p:nvSpPr>
        <p:spPr/>
        <p:txBody>
          <a:bodyPr/>
          <a:lstStyle/>
          <a:p>
            <a:r>
              <a:rPr lang="fr-FR"/>
              <a:t>A</a:t>
            </a:r>
          </a:p>
        </p:txBody>
      </p:sp>
      <p:sp>
        <p:nvSpPr>
          <p:cNvPr id="4" name="Titre 1">
            <a:extLst>
              <a:ext uri="{FF2B5EF4-FFF2-40B4-BE49-F238E27FC236}">
                <a16:creationId xmlns:a16="http://schemas.microsoft.com/office/drawing/2014/main" id="{194C32C5-5DBB-403E-A7AF-719FF8062640}"/>
              </a:ext>
            </a:extLst>
          </p:cNvPr>
          <p:cNvSpPr txBox="1">
            <a:spLocks/>
          </p:cNvSpPr>
          <p:nvPr/>
        </p:nvSpPr>
        <p:spPr bwMode="gray">
          <a:xfrm>
            <a:off x="4260050" y="3816823"/>
            <a:ext cx="6300000" cy="964800"/>
          </a:xfrm>
          <a:prstGeom prst="rect">
            <a:avLst/>
          </a:prstGeom>
          <a:noFill/>
        </p:spPr>
        <p:txBody>
          <a:bodyPr vert="horz" lIns="108000" tIns="108000" rIns="0" bIns="0" rtlCol="0" anchor="t">
            <a:noAutofit/>
          </a:bodyPr>
          <a:lstStyle>
            <a:lvl1pPr algn="r" defTabSz="914400" rtl="0" eaLnBrk="1" latinLnBrk="0" hangingPunct="1">
              <a:lnSpc>
                <a:spcPct val="100000"/>
              </a:lnSpc>
              <a:spcBef>
                <a:spcPct val="0"/>
              </a:spcBef>
              <a:buNone/>
              <a:defRPr sz="2400" kern="1200" cap="none" baseline="0">
                <a:solidFill>
                  <a:schemeClr val="bg2"/>
                </a:solidFill>
                <a:latin typeface="+mj-lt"/>
                <a:ea typeface="+mj-ea"/>
                <a:cs typeface="+mj-cs"/>
              </a:defRPr>
            </a:lvl1pPr>
          </a:lstStyle>
          <a:p>
            <a:r>
              <a:rPr lang="fr-FR" i="1">
                <a:solidFill>
                  <a:srgbClr val="048B9A"/>
                </a:solidFill>
                <a:latin typeface="Tahoma"/>
              </a:rPr>
              <a:t>Focus sur les Maisons de Répit</a:t>
            </a:r>
          </a:p>
        </p:txBody>
      </p:sp>
    </p:spTree>
    <p:extLst>
      <p:ext uri="{BB962C8B-B14F-4D97-AF65-F5344CB8AC3E}">
        <p14:creationId xmlns:p14="http://schemas.microsoft.com/office/powerpoint/2010/main" val="226713513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DDB96D-5870-433E-8224-8BA70AB31D5A}"/>
              </a:ext>
            </a:extLst>
          </p:cNvPr>
          <p:cNvSpPr>
            <a:spLocks noGrp="1"/>
          </p:cNvSpPr>
          <p:nvPr>
            <p:ph type="title"/>
          </p:nvPr>
        </p:nvSpPr>
        <p:spPr/>
        <p:txBody>
          <a:bodyPr/>
          <a:lstStyle/>
          <a:p>
            <a:r>
              <a:rPr lang="fr-FR"/>
              <a:t>Maison de Répit de Lyon</a:t>
            </a:r>
          </a:p>
        </p:txBody>
      </p:sp>
      <p:sp>
        <p:nvSpPr>
          <p:cNvPr id="3" name="Espace réservé du texte 2">
            <a:extLst>
              <a:ext uri="{FF2B5EF4-FFF2-40B4-BE49-F238E27FC236}">
                <a16:creationId xmlns:a16="http://schemas.microsoft.com/office/drawing/2014/main" id="{9C630387-01A6-4667-A171-E57EE95EAA8D}"/>
              </a:ext>
            </a:extLst>
          </p:cNvPr>
          <p:cNvSpPr>
            <a:spLocks noGrp="1"/>
          </p:cNvSpPr>
          <p:nvPr>
            <p:ph type="body" sz="quarter" idx="13"/>
          </p:nvPr>
        </p:nvSpPr>
        <p:spPr/>
        <p:txBody>
          <a:bodyPr/>
          <a:lstStyle/>
          <a:p>
            <a:r>
              <a:rPr lang="fr-FR"/>
              <a:t>fiches initiatives</a:t>
            </a:r>
          </a:p>
        </p:txBody>
      </p:sp>
      <p:grpSp>
        <p:nvGrpSpPr>
          <p:cNvPr id="89" name="Group 219">
            <a:extLst>
              <a:ext uri="{FF2B5EF4-FFF2-40B4-BE49-F238E27FC236}">
                <a16:creationId xmlns:a16="http://schemas.microsoft.com/office/drawing/2014/main" id="{23563D0E-A6E2-449B-BBEF-8098E393884C}"/>
              </a:ext>
            </a:extLst>
          </p:cNvPr>
          <p:cNvGrpSpPr>
            <a:grpSpLocks/>
          </p:cNvGrpSpPr>
          <p:nvPr/>
        </p:nvGrpSpPr>
        <p:grpSpPr bwMode="gray">
          <a:xfrm>
            <a:off x="1498106" y="972493"/>
            <a:ext cx="1015402" cy="933665"/>
            <a:chOff x="48" y="168"/>
            <a:chExt cx="3077" cy="3032"/>
          </a:xfrm>
          <a:solidFill>
            <a:schemeClr val="tx2"/>
          </a:solidFill>
          <a:effectLst>
            <a:outerShdw blurRad="127000" dist="50800" dir="2700000" algn="ctr" rotWithShape="0">
              <a:schemeClr val="tx1">
                <a:alpha val="40000"/>
              </a:schemeClr>
            </a:outerShdw>
          </a:effectLst>
        </p:grpSpPr>
        <p:sp>
          <p:nvSpPr>
            <p:cNvPr id="90" name="Nord-Pas-de-Calais" descr="© INSCALE GmbH, 05.05.2010&#10;http://www.presentationload.com/">
              <a:extLst>
                <a:ext uri="{FF2B5EF4-FFF2-40B4-BE49-F238E27FC236}">
                  <a16:creationId xmlns:a16="http://schemas.microsoft.com/office/drawing/2014/main" id="{AB720DBB-1E99-4155-8615-016531D8396C}"/>
                </a:ext>
              </a:extLst>
            </p:cNvPr>
            <p:cNvSpPr>
              <a:spLocks/>
            </p:cNvSpPr>
            <p:nvPr/>
          </p:nvSpPr>
          <p:spPr bwMode="gray">
            <a:xfrm>
              <a:off x="1600" y="168"/>
              <a:ext cx="608" cy="383"/>
            </a:xfrm>
            <a:custGeom>
              <a:avLst/>
              <a:gdLst/>
              <a:ahLst/>
              <a:cxnLst>
                <a:cxn ang="0">
                  <a:pos x="77" y="236"/>
                </a:cxn>
                <a:cxn ang="0">
                  <a:pos x="101" y="257"/>
                </a:cxn>
                <a:cxn ang="0">
                  <a:pos x="117" y="279"/>
                </a:cxn>
                <a:cxn ang="0">
                  <a:pos x="159" y="269"/>
                </a:cxn>
                <a:cxn ang="0">
                  <a:pos x="187" y="273"/>
                </a:cxn>
                <a:cxn ang="0">
                  <a:pos x="173" y="309"/>
                </a:cxn>
                <a:cxn ang="0">
                  <a:pos x="208" y="304"/>
                </a:cxn>
                <a:cxn ang="0">
                  <a:pos x="232" y="300"/>
                </a:cxn>
                <a:cxn ang="0">
                  <a:pos x="244" y="323"/>
                </a:cxn>
                <a:cxn ang="0">
                  <a:pos x="272" y="324"/>
                </a:cxn>
                <a:cxn ang="0">
                  <a:pos x="279" y="321"/>
                </a:cxn>
                <a:cxn ang="0">
                  <a:pos x="343" y="329"/>
                </a:cxn>
                <a:cxn ang="0">
                  <a:pos x="364" y="327"/>
                </a:cxn>
                <a:cxn ang="0">
                  <a:pos x="440" y="317"/>
                </a:cxn>
                <a:cxn ang="0">
                  <a:pos x="473" y="333"/>
                </a:cxn>
                <a:cxn ang="0">
                  <a:pos x="492" y="335"/>
                </a:cxn>
                <a:cxn ang="0">
                  <a:pos x="548" y="320"/>
                </a:cxn>
                <a:cxn ang="0">
                  <a:pos x="556" y="283"/>
                </a:cxn>
                <a:cxn ang="0">
                  <a:pos x="545" y="269"/>
                </a:cxn>
                <a:cxn ang="0">
                  <a:pos x="559" y="243"/>
                </a:cxn>
                <a:cxn ang="0">
                  <a:pos x="543" y="243"/>
                </a:cxn>
                <a:cxn ang="0">
                  <a:pos x="517" y="215"/>
                </a:cxn>
                <a:cxn ang="0">
                  <a:pos x="500" y="219"/>
                </a:cxn>
                <a:cxn ang="0">
                  <a:pos x="486" y="217"/>
                </a:cxn>
                <a:cxn ang="0">
                  <a:pos x="452" y="228"/>
                </a:cxn>
                <a:cxn ang="0">
                  <a:pos x="442" y="201"/>
                </a:cxn>
                <a:cxn ang="0">
                  <a:pos x="436" y="174"/>
                </a:cxn>
                <a:cxn ang="0">
                  <a:pos x="409" y="165"/>
                </a:cxn>
                <a:cxn ang="0">
                  <a:pos x="362" y="157"/>
                </a:cxn>
                <a:cxn ang="0">
                  <a:pos x="353" y="124"/>
                </a:cxn>
                <a:cxn ang="0">
                  <a:pos x="350" y="110"/>
                </a:cxn>
                <a:cxn ang="0">
                  <a:pos x="325" y="90"/>
                </a:cxn>
                <a:cxn ang="0">
                  <a:pos x="283" y="114"/>
                </a:cxn>
                <a:cxn ang="0">
                  <a:pos x="262" y="106"/>
                </a:cxn>
                <a:cxn ang="0">
                  <a:pos x="245" y="76"/>
                </a:cxn>
                <a:cxn ang="0">
                  <a:pos x="221" y="67"/>
                </a:cxn>
                <a:cxn ang="0">
                  <a:pos x="224" y="42"/>
                </a:cxn>
                <a:cxn ang="0">
                  <a:pos x="212" y="9"/>
                </a:cxn>
                <a:cxn ang="0">
                  <a:pos x="157" y="7"/>
                </a:cxn>
                <a:cxn ang="0">
                  <a:pos x="54" y="31"/>
                </a:cxn>
                <a:cxn ang="0">
                  <a:pos x="7" y="57"/>
                </a:cxn>
                <a:cxn ang="0">
                  <a:pos x="5" y="106"/>
                </a:cxn>
                <a:cxn ang="0">
                  <a:pos x="4" y="192"/>
                </a:cxn>
                <a:cxn ang="0">
                  <a:pos x="1" y="228"/>
                </a:cxn>
                <a:cxn ang="0">
                  <a:pos x="12" y="235"/>
                </a:cxn>
                <a:cxn ang="0">
                  <a:pos x="65" y="237"/>
                </a:cxn>
              </a:cxnLst>
              <a:rect l="0" t="0" r="r" b="b"/>
              <a:pathLst>
                <a:path w="564" h="355">
                  <a:moveTo>
                    <a:pt x="65" y="237"/>
                  </a:moveTo>
                  <a:cubicBezTo>
                    <a:pt x="77" y="236"/>
                    <a:pt x="77" y="236"/>
                    <a:pt x="77" y="236"/>
                  </a:cubicBezTo>
                  <a:cubicBezTo>
                    <a:pt x="79" y="247"/>
                    <a:pt x="79" y="247"/>
                    <a:pt x="79" y="247"/>
                  </a:cubicBezTo>
                  <a:cubicBezTo>
                    <a:pt x="101" y="257"/>
                    <a:pt x="101" y="257"/>
                    <a:pt x="101" y="257"/>
                  </a:cubicBezTo>
                  <a:cubicBezTo>
                    <a:pt x="109" y="275"/>
                    <a:pt x="109" y="275"/>
                    <a:pt x="109" y="275"/>
                  </a:cubicBezTo>
                  <a:cubicBezTo>
                    <a:pt x="117" y="279"/>
                    <a:pt x="117" y="279"/>
                    <a:pt x="117" y="279"/>
                  </a:cubicBezTo>
                  <a:cubicBezTo>
                    <a:pt x="143" y="265"/>
                    <a:pt x="143" y="265"/>
                    <a:pt x="143" y="265"/>
                  </a:cubicBezTo>
                  <a:cubicBezTo>
                    <a:pt x="159" y="269"/>
                    <a:pt x="159" y="269"/>
                    <a:pt x="159" y="269"/>
                  </a:cubicBezTo>
                  <a:cubicBezTo>
                    <a:pt x="180" y="263"/>
                    <a:pt x="180" y="263"/>
                    <a:pt x="180" y="263"/>
                  </a:cubicBezTo>
                  <a:cubicBezTo>
                    <a:pt x="187" y="273"/>
                    <a:pt x="187" y="273"/>
                    <a:pt x="187" y="273"/>
                  </a:cubicBezTo>
                  <a:cubicBezTo>
                    <a:pt x="187" y="273"/>
                    <a:pt x="163" y="293"/>
                    <a:pt x="163" y="304"/>
                  </a:cubicBezTo>
                  <a:cubicBezTo>
                    <a:pt x="163" y="315"/>
                    <a:pt x="173" y="309"/>
                    <a:pt x="173" y="309"/>
                  </a:cubicBezTo>
                  <a:cubicBezTo>
                    <a:pt x="173" y="309"/>
                    <a:pt x="193" y="289"/>
                    <a:pt x="193" y="300"/>
                  </a:cubicBezTo>
                  <a:cubicBezTo>
                    <a:pt x="193" y="300"/>
                    <a:pt x="208" y="297"/>
                    <a:pt x="208" y="304"/>
                  </a:cubicBezTo>
                  <a:cubicBezTo>
                    <a:pt x="208" y="311"/>
                    <a:pt x="227" y="313"/>
                    <a:pt x="227" y="313"/>
                  </a:cubicBezTo>
                  <a:cubicBezTo>
                    <a:pt x="232" y="300"/>
                    <a:pt x="232" y="300"/>
                    <a:pt x="232" y="300"/>
                  </a:cubicBezTo>
                  <a:cubicBezTo>
                    <a:pt x="248" y="303"/>
                    <a:pt x="248" y="303"/>
                    <a:pt x="248" y="303"/>
                  </a:cubicBezTo>
                  <a:cubicBezTo>
                    <a:pt x="244" y="323"/>
                    <a:pt x="244" y="323"/>
                    <a:pt x="244" y="323"/>
                  </a:cubicBezTo>
                  <a:cubicBezTo>
                    <a:pt x="263" y="313"/>
                    <a:pt x="263" y="313"/>
                    <a:pt x="263" y="313"/>
                  </a:cubicBezTo>
                  <a:cubicBezTo>
                    <a:pt x="272" y="324"/>
                    <a:pt x="272" y="324"/>
                    <a:pt x="272" y="324"/>
                  </a:cubicBezTo>
                  <a:cubicBezTo>
                    <a:pt x="265" y="332"/>
                    <a:pt x="265" y="332"/>
                    <a:pt x="265" y="332"/>
                  </a:cubicBezTo>
                  <a:cubicBezTo>
                    <a:pt x="279" y="321"/>
                    <a:pt x="279" y="321"/>
                    <a:pt x="279" y="321"/>
                  </a:cubicBezTo>
                  <a:cubicBezTo>
                    <a:pt x="313" y="321"/>
                    <a:pt x="313" y="321"/>
                    <a:pt x="313" y="321"/>
                  </a:cubicBezTo>
                  <a:cubicBezTo>
                    <a:pt x="313" y="321"/>
                    <a:pt x="320" y="341"/>
                    <a:pt x="343" y="329"/>
                  </a:cubicBezTo>
                  <a:cubicBezTo>
                    <a:pt x="348" y="331"/>
                    <a:pt x="348" y="335"/>
                    <a:pt x="348" y="335"/>
                  </a:cubicBezTo>
                  <a:cubicBezTo>
                    <a:pt x="348" y="335"/>
                    <a:pt x="359" y="339"/>
                    <a:pt x="364" y="327"/>
                  </a:cubicBezTo>
                  <a:cubicBezTo>
                    <a:pt x="364" y="327"/>
                    <a:pt x="400" y="337"/>
                    <a:pt x="404" y="319"/>
                  </a:cubicBezTo>
                  <a:cubicBezTo>
                    <a:pt x="403" y="323"/>
                    <a:pt x="413" y="339"/>
                    <a:pt x="440" y="317"/>
                  </a:cubicBezTo>
                  <a:cubicBezTo>
                    <a:pt x="473" y="327"/>
                    <a:pt x="473" y="327"/>
                    <a:pt x="473" y="327"/>
                  </a:cubicBezTo>
                  <a:cubicBezTo>
                    <a:pt x="473" y="333"/>
                    <a:pt x="473" y="333"/>
                    <a:pt x="473" y="333"/>
                  </a:cubicBezTo>
                  <a:cubicBezTo>
                    <a:pt x="492" y="321"/>
                    <a:pt x="492" y="321"/>
                    <a:pt x="492" y="321"/>
                  </a:cubicBezTo>
                  <a:cubicBezTo>
                    <a:pt x="492" y="335"/>
                    <a:pt x="492" y="335"/>
                    <a:pt x="492" y="335"/>
                  </a:cubicBezTo>
                  <a:cubicBezTo>
                    <a:pt x="492" y="335"/>
                    <a:pt x="522" y="355"/>
                    <a:pt x="554" y="333"/>
                  </a:cubicBezTo>
                  <a:cubicBezTo>
                    <a:pt x="551" y="330"/>
                    <a:pt x="549" y="325"/>
                    <a:pt x="548" y="320"/>
                  </a:cubicBezTo>
                  <a:cubicBezTo>
                    <a:pt x="547" y="313"/>
                    <a:pt x="558" y="305"/>
                    <a:pt x="561" y="303"/>
                  </a:cubicBezTo>
                  <a:cubicBezTo>
                    <a:pt x="564" y="301"/>
                    <a:pt x="556" y="283"/>
                    <a:pt x="556" y="283"/>
                  </a:cubicBezTo>
                  <a:cubicBezTo>
                    <a:pt x="556" y="283"/>
                    <a:pt x="553" y="283"/>
                    <a:pt x="547" y="283"/>
                  </a:cubicBezTo>
                  <a:cubicBezTo>
                    <a:pt x="541" y="283"/>
                    <a:pt x="545" y="269"/>
                    <a:pt x="545" y="269"/>
                  </a:cubicBezTo>
                  <a:cubicBezTo>
                    <a:pt x="547" y="260"/>
                    <a:pt x="547" y="260"/>
                    <a:pt x="547" y="260"/>
                  </a:cubicBezTo>
                  <a:cubicBezTo>
                    <a:pt x="547" y="260"/>
                    <a:pt x="558" y="246"/>
                    <a:pt x="559" y="243"/>
                  </a:cubicBezTo>
                  <a:cubicBezTo>
                    <a:pt x="560" y="240"/>
                    <a:pt x="554" y="236"/>
                    <a:pt x="554" y="236"/>
                  </a:cubicBezTo>
                  <a:cubicBezTo>
                    <a:pt x="543" y="243"/>
                    <a:pt x="543" y="243"/>
                    <a:pt x="543" y="243"/>
                  </a:cubicBezTo>
                  <a:cubicBezTo>
                    <a:pt x="542" y="233"/>
                    <a:pt x="542" y="233"/>
                    <a:pt x="542" y="233"/>
                  </a:cubicBezTo>
                  <a:cubicBezTo>
                    <a:pt x="517" y="215"/>
                    <a:pt x="517" y="215"/>
                    <a:pt x="517" y="215"/>
                  </a:cubicBezTo>
                  <a:cubicBezTo>
                    <a:pt x="514" y="219"/>
                    <a:pt x="514" y="219"/>
                    <a:pt x="514" y="219"/>
                  </a:cubicBezTo>
                  <a:cubicBezTo>
                    <a:pt x="500" y="219"/>
                    <a:pt x="500" y="219"/>
                    <a:pt x="500" y="219"/>
                  </a:cubicBezTo>
                  <a:cubicBezTo>
                    <a:pt x="493" y="225"/>
                    <a:pt x="493" y="225"/>
                    <a:pt x="493" y="225"/>
                  </a:cubicBezTo>
                  <a:cubicBezTo>
                    <a:pt x="486" y="217"/>
                    <a:pt x="486" y="217"/>
                    <a:pt x="486" y="217"/>
                  </a:cubicBezTo>
                  <a:cubicBezTo>
                    <a:pt x="460" y="216"/>
                    <a:pt x="460" y="216"/>
                    <a:pt x="460" y="216"/>
                  </a:cubicBezTo>
                  <a:cubicBezTo>
                    <a:pt x="452" y="228"/>
                    <a:pt x="452" y="228"/>
                    <a:pt x="452" y="228"/>
                  </a:cubicBezTo>
                  <a:cubicBezTo>
                    <a:pt x="443" y="216"/>
                    <a:pt x="443" y="216"/>
                    <a:pt x="443" y="216"/>
                  </a:cubicBezTo>
                  <a:cubicBezTo>
                    <a:pt x="442" y="201"/>
                    <a:pt x="442" y="201"/>
                    <a:pt x="442" y="201"/>
                  </a:cubicBezTo>
                  <a:cubicBezTo>
                    <a:pt x="449" y="195"/>
                    <a:pt x="449" y="195"/>
                    <a:pt x="449" y="195"/>
                  </a:cubicBezTo>
                  <a:cubicBezTo>
                    <a:pt x="436" y="174"/>
                    <a:pt x="436" y="174"/>
                    <a:pt x="436" y="174"/>
                  </a:cubicBezTo>
                  <a:cubicBezTo>
                    <a:pt x="410" y="172"/>
                    <a:pt x="410" y="172"/>
                    <a:pt x="410" y="172"/>
                  </a:cubicBezTo>
                  <a:cubicBezTo>
                    <a:pt x="409" y="165"/>
                    <a:pt x="409" y="165"/>
                    <a:pt x="409" y="165"/>
                  </a:cubicBezTo>
                  <a:cubicBezTo>
                    <a:pt x="409" y="165"/>
                    <a:pt x="390" y="174"/>
                    <a:pt x="383" y="174"/>
                  </a:cubicBezTo>
                  <a:cubicBezTo>
                    <a:pt x="376" y="174"/>
                    <a:pt x="362" y="157"/>
                    <a:pt x="362" y="157"/>
                  </a:cubicBezTo>
                  <a:cubicBezTo>
                    <a:pt x="362" y="141"/>
                    <a:pt x="362" y="141"/>
                    <a:pt x="362" y="141"/>
                  </a:cubicBezTo>
                  <a:cubicBezTo>
                    <a:pt x="353" y="124"/>
                    <a:pt x="353" y="124"/>
                    <a:pt x="353" y="124"/>
                  </a:cubicBezTo>
                  <a:cubicBezTo>
                    <a:pt x="353" y="124"/>
                    <a:pt x="360" y="119"/>
                    <a:pt x="359" y="116"/>
                  </a:cubicBezTo>
                  <a:cubicBezTo>
                    <a:pt x="358" y="113"/>
                    <a:pt x="350" y="110"/>
                    <a:pt x="350" y="110"/>
                  </a:cubicBezTo>
                  <a:cubicBezTo>
                    <a:pt x="335" y="85"/>
                    <a:pt x="335" y="85"/>
                    <a:pt x="335" y="85"/>
                  </a:cubicBezTo>
                  <a:cubicBezTo>
                    <a:pt x="325" y="90"/>
                    <a:pt x="325" y="90"/>
                    <a:pt x="325" y="90"/>
                  </a:cubicBezTo>
                  <a:cubicBezTo>
                    <a:pt x="325" y="90"/>
                    <a:pt x="291" y="99"/>
                    <a:pt x="291" y="106"/>
                  </a:cubicBezTo>
                  <a:cubicBezTo>
                    <a:pt x="291" y="113"/>
                    <a:pt x="283" y="114"/>
                    <a:pt x="283" y="114"/>
                  </a:cubicBezTo>
                  <a:cubicBezTo>
                    <a:pt x="273" y="106"/>
                    <a:pt x="273" y="106"/>
                    <a:pt x="273" y="106"/>
                  </a:cubicBezTo>
                  <a:cubicBezTo>
                    <a:pt x="262" y="106"/>
                    <a:pt x="262" y="106"/>
                    <a:pt x="262" y="106"/>
                  </a:cubicBezTo>
                  <a:cubicBezTo>
                    <a:pt x="262" y="106"/>
                    <a:pt x="253" y="99"/>
                    <a:pt x="253" y="95"/>
                  </a:cubicBezTo>
                  <a:cubicBezTo>
                    <a:pt x="253" y="91"/>
                    <a:pt x="245" y="76"/>
                    <a:pt x="245" y="76"/>
                  </a:cubicBezTo>
                  <a:cubicBezTo>
                    <a:pt x="231" y="77"/>
                    <a:pt x="231" y="77"/>
                    <a:pt x="231" y="77"/>
                  </a:cubicBezTo>
                  <a:cubicBezTo>
                    <a:pt x="221" y="67"/>
                    <a:pt x="221" y="67"/>
                    <a:pt x="221" y="67"/>
                  </a:cubicBezTo>
                  <a:cubicBezTo>
                    <a:pt x="223" y="56"/>
                    <a:pt x="223" y="56"/>
                    <a:pt x="223" y="56"/>
                  </a:cubicBezTo>
                  <a:cubicBezTo>
                    <a:pt x="223" y="56"/>
                    <a:pt x="221" y="42"/>
                    <a:pt x="224" y="42"/>
                  </a:cubicBezTo>
                  <a:cubicBezTo>
                    <a:pt x="227" y="42"/>
                    <a:pt x="221" y="27"/>
                    <a:pt x="221" y="27"/>
                  </a:cubicBezTo>
                  <a:cubicBezTo>
                    <a:pt x="221" y="27"/>
                    <a:pt x="212" y="15"/>
                    <a:pt x="212" y="9"/>
                  </a:cubicBezTo>
                  <a:cubicBezTo>
                    <a:pt x="212" y="3"/>
                    <a:pt x="207" y="0"/>
                    <a:pt x="207" y="0"/>
                  </a:cubicBezTo>
                  <a:cubicBezTo>
                    <a:pt x="207" y="0"/>
                    <a:pt x="174" y="6"/>
                    <a:pt x="157" y="7"/>
                  </a:cubicBezTo>
                  <a:cubicBezTo>
                    <a:pt x="140" y="8"/>
                    <a:pt x="143" y="8"/>
                    <a:pt x="115" y="17"/>
                  </a:cubicBezTo>
                  <a:cubicBezTo>
                    <a:pt x="87" y="26"/>
                    <a:pt x="75" y="27"/>
                    <a:pt x="54" y="31"/>
                  </a:cubicBezTo>
                  <a:cubicBezTo>
                    <a:pt x="33" y="35"/>
                    <a:pt x="26" y="54"/>
                    <a:pt x="26" y="54"/>
                  </a:cubicBezTo>
                  <a:cubicBezTo>
                    <a:pt x="7" y="57"/>
                    <a:pt x="7" y="57"/>
                    <a:pt x="7" y="57"/>
                  </a:cubicBezTo>
                  <a:cubicBezTo>
                    <a:pt x="7" y="57"/>
                    <a:pt x="16" y="74"/>
                    <a:pt x="15" y="87"/>
                  </a:cubicBezTo>
                  <a:cubicBezTo>
                    <a:pt x="14" y="100"/>
                    <a:pt x="5" y="100"/>
                    <a:pt x="5" y="106"/>
                  </a:cubicBezTo>
                  <a:cubicBezTo>
                    <a:pt x="5" y="112"/>
                    <a:pt x="14" y="157"/>
                    <a:pt x="14" y="157"/>
                  </a:cubicBezTo>
                  <a:cubicBezTo>
                    <a:pt x="4" y="192"/>
                    <a:pt x="4" y="192"/>
                    <a:pt x="4" y="192"/>
                  </a:cubicBezTo>
                  <a:cubicBezTo>
                    <a:pt x="4" y="192"/>
                    <a:pt x="7" y="201"/>
                    <a:pt x="12" y="203"/>
                  </a:cubicBezTo>
                  <a:cubicBezTo>
                    <a:pt x="4" y="203"/>
                    <a:pt x="0" y="217"/>
                    <a:pt x="1" y="228"/>
                  </a:cubicBezTo>
                  <a:cubicBezTo>
                    <a:pt x="2" y="239"/>
                    <a:pt x="9" y="232"/>
                    <a:pt x="9" y="232"/>
                  </a:cubicBezTo>
                  <a:cubicBezTo>
                    <a:pt x="9" y="232"/>
                    <a:pt x="10" y="233"/>
                    <a:pt x="12" y="235"/>
                  </a:cubicBezTo>
                  <a:cubicBezTo>
                    <a:pt x="21" y="231"/>
                    <a:pt x="35" y="224"/>
                    <a:pt x="39" y="224"/>
                  </a:cubicBezTo>
                  <a:cubicBezTo>
                    <a:pt x="44" y="224"/>
                    <a:pt x="65" y="237"/>
                    <a:pt x="65" y="23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1" name="Picardie" descr="© INSCALE GmbH, 05.05.2010&#10;http://www.presentationload.com/">
              <a:extLst>
                <a:ext uri="{FF2B5EF4-FFF2-40B4-BE49-F238E27FC236}">
                  <a16:creationId xmlns:a16="http://schemas.microsoft.com/office/drawing/2014/main" id="{2A78403A-7F28-4A1F-B641-DECB4BC24BE4}"/>
                </a:ext>
              </a:extLst>
            </p:cNvPr>
            <p:cNvSpPr>
              <a:spLocks/>
            </p:cNvSpPr>
            <p:nvPr/>
          </p:nvSpPr>
          <p:spPr bwMode="gray">
            <a:xfrm>
              <a:off x="1552" y="410"/>
              <a:ext cx="644" cy="519"/>
            </a:xfrm>
            <a:custGeom>
              <a:avLst/>
              <a:gdLst/>
              <a:ahLst/>
              <a:cxnLst>
                <a:cxn ang="0">
                  <a:pos x="17" y="99"/>
                </a:cxn>
                <a:cxn ang="0">
                  <a:pos x="85" y="189"/>
                </a:cxn>
                <a:cxn ang="0">
                  <a:pos x="79" y="213"/>
                </a:cxn>
                <a:cxn ang="0">
                  <a:pos x="79" y="264"/>
                </a:cxn>
                <a:cxn ang="0">
                  <a:pos x="83" y="275"/>
                </a:cxn>
                <a:cxn ang="0">
                  <a:pos x="84" y="355"/>
                </a:cxn>
                <a:cxn ang="0">
                  <a:pos x="76" y="379"/>
                </a:cxn>
                <a:cxn ang="0">
                  <a:pos x="144" y="371"/>
                </a:cxn>
                <a:cxn ang="0">
                  <a:pos x="160" y="373"/>
                </a:cxn>
                <a:cxn ang="0">
                  <a:pos x="173" y="376"/>
                </a:cxn>
                <a:cxn ang="0">
                  <a:pos x="196" y="375"/>
                </a:cxn>
                <a:cxn ang="0">
                  <a:pos x="196" y="375"/>
                </a:cxn>
                <a:cxn ang="0">
                  <a:pos x="232" y="403"/>
                </a:cxn>
                <a:cxn ang="0">
                  <a:pos x="251" y="409"/>
                </a:cxn>
                <a:cxn ang="0">
                  <a:pos x="280" y="412"/>
                </a:cxn>
                <a:cxn ang="0">
                  <a:pos x="311" y="413"/>
                </a:cxn>
                <a:cxn ang="0">
                  <a:pos x="356" y="397"/>
                </a:cxn>
                <a:cxn ang="0">
                  <a:pos x="392" y="451"/>
                </a:cxn>
                <a:cxn ang="0">
                  <a:pos x="407" y="457"/>
                </a:cxn>
                <a:cxn ang="0">
                  <a:pos x="421" y="476"/>
                </a:cxn>
                <a:cxn ang="0">
                  <a:pos x="451" y="461"/>
                </a:cxn>
                <a:cxn ang="0">
                  <a:pos x="480" y="424"/>
                </a:cxn>
                <a:cxn ang="0">
                  <a:pos x="463" y="415"/>
                </a:cxn>
                <a:cxn ang="0">
                  <a:pos x="465" y="391"/>
                </a:cxn>
                <a:cxn ang="0">
                  <a:pos x="473" y="364"/>
                </a:cxn>
                <a:cxn ang="0">
                  <a:pos x="473" y="333"/>
                </a:cxn>
                <a:cxn ang="0">
                  <a:pos x="517" y="309"/>
                </a:cxn>
                <a:cxn ang="0">
                  <a:pos x="552" y="316"/>
                </a:cxn>
                <a:cxn ang="0">
                  <a:pos x="560" y="260"/>
                </a:cxn>
                <a:cxn ang="0">
                  <a:pos x="564" y="229"/>
                </a:cxn>
                <a:cxn ang="0">
                  <a:pos x="593" y="187"/>
                </a:cxn>
                <a:cxn ang="0">
                  <a:pos x="592" y="143"/>
                </a:cxn>
                <a:cxn ang="0">
                  <a:pos x="536" y="111"/>
                </a:cxn>
                <a:cxn ang="0">
                  <a:pos x="517" y="109"/>
                </a:cxn>
                <a:cxn ang="0">
                  <a:pos x="484" y="93"/>
                </a:cxn>
                <a:cxn ang="0">
                  <a:pos x="408" y="103"/>
                </a:cxn>
                <a:cxn ang="0">
                  <a:pos x="387" y="105"/>
                </a:cxn>
                <a:cxn ang="0">
                  <a:pos x="323" y="97"/>
                </a:cxn>
                <a:cxn ang="0">
                  <a:pos x="316" y="100"/>
                </a:cxn>
                <a:cxn ang="0">
                  <a:pos x="288" y="99"/>
                </a:cxn>
                <a:cxn ang="0">
                  <a:pos x="276" y="76"/>
                </a:cxn>
                <a:cxn ang="0">
                  <a:pos x="252" y="80"/>
                </a:cxn>
                <a:cxn ang="0">
                  <a:pos x="217" y="85"/>
                </a:cxn>
                <a:cxn ang="0">
                  <a:pos x="231" y="49"/>
                </a:cxn>
                <a:cxn ang="0">
                  <a:pos x="203" y="45"/>
                </a:cxn>
                <a:cxn ang="0">
                  <a:pos x="161" y="55"/>
                </a:cxn>
                <a:cxn ang="0">
                  <a:pos x="145" y="33"/>
                </a:cxn>
                <a:cxn ang="0">
                  <a:pos x="121" y="12"/>
                </a:cxn>
                <a:cxn ang="0">
                  <a:pos x="83" y="0"/>
                </a:cxn>
                <a:cxn ang="0">
                  <a:pos x="63" y="30"/>
                </a:cxn>
                <a:cxn ang="0">
                  <a:pos x="25" y="60"/>
                </a:cxn>
                <a:cxn ang="0">
                  <a:pos x="5" y="92"/>
                </a:cxn>
              </a:cxnLst>
              <a:rect l="0" t="0" r="r" b="b"/>
              <a:pathLst>
                <a:path w="597" h="481">
                  <a:moveTo>
                    <a:pt x="17" y="95"/>
                  </a:moveTo>
                  <a:cubicBezTo>
                    <a:pt x="17" y="99"/>
                    <a:pt x="17" y="99"/>
                    <a:pt x="17" y="99"/>
                  </a:cubicBezTo>
                  <a:cubicBezTo>
                    <a:pt x="17" y="99"/>
                    <a:pt x="43" y="136"/>
                    <a:pt x="61" y="139"/>
                  </a:cubicBezTo>
                  <a:cubicBezTo>
                    <a:pt x="85" y="189"/>
                    <a:pt x="85" y="189"/>
                    <a:pt x="85" y="189"/>
                  </a:cubicBezTo>
                  <a:cubicBezTo>
                    <a:pt x="85" y="189"/>
                    <a:pt x="64" y="211"/>
                    <a:pt x="68" y="212"/>
                  </a:cubicBezTo>
                  <a:cubicBezTo>
                    <a:pt x="72" y="213"/>
                    <a:pt x="79" y="213"/>
                    <a:pt x="79" y="213"/>
                  </a:cubicBezTo>
                  <a:cubicBezTo>
                    <a:pt x="69" y="244"/>
                    <a:pt x="69" y="244"/>
                    <a:pt x="69" y="244"/>
                  </a:cubicBezTo>
                  <a:cubicBezTo>
                    <a:pt x="79" y="264"/>
                    <a:pt x="79" y="264"/>
                    <a:pt x="79" y="264"/>
                  </a:cubicBezTo>
                  <a:cubicBezTo>
                    <a:pt x="73" y="276"/>
                    <a:pt x="73" y="276"/>
                    <a:pt x="73" y="276"/>
                  </a:cubicBezTo>
                  <a:cubicBezTo>
                    <a:pt x="83" y="275"/>
                    <a:pt x="83" y="275"/>
                    <a:pt x="83" y="275"/>
                  </a:cubicBezTo>
                  <a:cubicBezTo>
                    <a:pt x="73" y="303"/>
                    <a:pt x="73" y="303"/>
                    <a:pt x="73" y="303"/>
                  </a:cubicBezTo>
                  <a:cubicBezTo>
                    <a:pt x="73" y="303"/>
                    <a:pt x="85" y="340"/>
                    <a:pt x="84" y="355"/>
                  </a:cubicBezTo>
                  <a:cubicBezTo>
                    <a:pt x="65" y="349"/>
                    <a:pt x="65" y="349"/>
                    <a:pt x="65" y="349"/>
                  </a:cubicBezTo>
                  <a:cubicBezTo>
                    <a:pt x="76" y="379"/>
                    <a:pt x="76" y="379"/>
                    <a:pt x="76" y="379"/>
                  </a:cubicBezTo>
                  <a:cubicBezTo>
                    <a:pt x="128" y="375"/>
                    <a:pt x="128" y="375"/>
                    <a:pt x="128" y="375"/>
                  </a:cubicBezTo>
                  <a:cubicBezTo>
                    <a:pt x="144" y="371"/>
                    <a:pt x="144" y="371"/>
                    <a:pt x="144" y="371"/>
                  </a:cubicBezTo>
                  <a:cubicBezTo>
                    <a:pt x="151" y="376"/>
                    <a:pt x="151" y="376"/>
                    <a:pt x="151" y="376"/>
                  </a:cubicBezTo>
                  <a:cubicBezTo>
                    <a:pt x="160" y="373"/>
                    <a:pt x="160" y="373"/>
                    <a:pt x="160" y="373"/>
                  </a:cubicBezTo>
                  <a:cubicBezTo>
                    <a:pt x="169" y="383"/>
                    <a:pt x="169" y="383"/>
                    <a:pt x="169" y="383"/>
                  </a:cubicBezTo>
                  <a:cubicBezTo>
                    <a:pt x="173" y="376"/>
                    <a:pt x="173" y="376"/>
                    <a:pt x="173" y="376"/>
                  </a:cubicBezTo>
                  <a:cubicBezTo>
                    <a:pt x="177" y="384"/>
                    <a:pt x="177" y="384"/>
                    <a:pt x="177" y="384"/>
                  </a:cubicBezTo>
                  <a:cubicBezTo>
                    <a:pt x="196" y="375"/>
                    <a:pt x="196" y="375"/>
                    <a:pt x="196" y="375"/>
                  </a:cubicBezTo>
                  <a:cubicBezTo>
                    <a:pt x="197" y="375"/>
                    <a:pt x="197" y="375"/>
                    <a:pt x="197" y="375"/>
                  </a:cubicBezTo>
                  <a:cubicBezTo>
                    <a:pt x="196" y="375"/>
                    <a:pt x="196" y="375"/>
                    <a:pt x="196" y="375"/>
                  </a:cubicBezTo>
                  <a:cubicBezTo>
                    <a:pt x="194" y="376"/>
                    <a:pt x="190" y="380"/>
                    <a:pt x="203" y="383"/>
                  </a:cubicBezTo>
                  <a:cubicBezTo>
                    <a:pt x="219" y="387"/>
                    <a:pt x="237" y="399"/>
                    <a:pt x="232" y="403"/>
                  </a:cubicBezTo>
                  <a:cubicBezTo>
                    <a:pt x="227" y="407"/>
                    <a:pt x="245" y="399"/>
                    <a:pt x="245" y="399"/>
                  </a:cubicBezTo>
                  <a:cubicBezTo>
                    <a:pt x="251" y="409"/>
                    <a:pt x="251" y="409"/>
                    <a:pt x="251" y="409"/>
                  </a:cubicBezTo>
                  <a:cubicBezTo>
                    <a:pt x="251" y="409"/>
                    <a:pt x="253" y="397"/>
                    <a:pt x="260" y="401"/>
                  </a:cubicBezTo>
                  <a:cubicBezTo>
                    <a:pt x="267" y="405"/>
                    <a:pt x="272" y="409"/>
                    <a:pt x="280" y="412"/>
                  </a:cubicBezTo>
                  <a:cubicBezTo>
                    <a:pt x="288" y="415"/>
                    <a:pt x="297" y="405"/>
                    <a:pt x="297" y="405"/>
                  </a:cubicBezTo>
                  <a:cubicBezTo>
                    <a:pt x="311" y="413"/>
                    <a:pt x="311" y="413"/>
                    <a:pt x="311" y="413"/>
                  </a:cubicBezTo>
                  <a:cubicBezTo>
                    <a:pt x="349" y="403"/>
                    <a:pt x="349" y="403"/>
                    <a:pt x="349" y="403"/>
                  </a:cubicBezTo>
                  <a:cubicBezTo>
                    <a:pt x="356" y="397"/>
                    <a:pt x="356" y="397"/>
                    <a:pt x="356" y="397"/>
                  </a:cubicBezTo>
                  <a:cubicBezTo>
                    <a:pt x="356" y="397"/>
                    <a:pt x="380" y="399"/>
                    <a:pt x="376" y="431"/>
                  </a:cubicBezTo>
                  <a:cubicBezTo>
                    <a:pt x="377" y="436"/>
                    <a:pt x="393" y="443"/>
                    <a:pt x="392" y="451"/>
                  </a:cubicBezTo>
                  <a:cubicBezTo>
                    <a:pt x="391" y="459"/>
                    <a:pt x="404" y="449"/>
                    <a:pt x="404" y="449"/>
                  </a:cubicBezTo>
                  <a:cubicBezTo>
                    <a:pt x="407" y="457"/>
                    <a:pt x="407" y="457"/>
                    <a:pt x="407" y="457"/>
                  </a:cubicBezTo>
                  <a:cubicBezTo>
                    <a:pt x="417" y="457"/>
                    <a:pt x="417" y="457"/>
                    <a:pt x="417" y="457"/>
                  </a:cubicBezTo>
                  <a:cubicBezTo>
                    <a:pt x="417" y="457"/>
                    <a:pt x="417" y="476"/>
                    <a:pt x="421" y="476"/>
                  </a:cubicBezTo>
                  <a:cubicBezTo>
                    <a:pt x="425" y="476"/>
                    <a:pt x="441" y="481"/>
                    <a:pt x="441" y="481"/>
                  </a:cubicBezTo>
                  <a:cubicBezTo>
                    <a:pt x="451" y="461"/>
                    <a:pt x="451" y="461"/>
                    <a:pt x="451" y="461"/>
                  </a:cubicBezTo>
                  <a:cubicBezTo>
                    <a:pt x="457" y="459"/>
                    <a:pt x="457" y="459"/>
                    <a:pt x="457" y="459"/>
                  </a:cubicBezTo>
                  <a:cubicBezTo>
                    <a:pt x="457" y="459"/>
                    <a:pt x="487" y="429"/>
                    <a:pt x="480" y="424"/>
                  </a:cubicBezTo>
                  <a:cubicBezTo>
                    <a:pt x="473" y="419"/>
                    <a:pt x="461" y="420"/>
                    <a:pt x="461" y="420"/>
                  </a:cubicBezTo>
                  <a:cubicBezTo>
                    <a:pt x="463" y="415"/>
                    <a:pt x="463" y="415"/>
                    <a:pt x="463" y="415"/>
                  </a:cubicBezTo>
                  <a:cubicBezTo>
                    <a:pt x="471" y="408"/>
                    <a:pt x="471" y="408"/>
                    <a:pt x="471" y="408"/>
                  </a:cubicBezTo>
                  <a:cubicBezTo>
                    <a:pt x="471" y="408"/>
                    <a:pt x="463" y="396"/>
                    <a:pt x="465" y="391"/>
                  </a:cubicBezTo>
                  <a:cubicBezTo>
                    <a:pt x="468" y="385"/>
                    <a:pt x="492" y="380"/>
                    <a:pt x="492" y="380"/>
                  </a:cubicBezTo>
                  <a:cubicBezTo>
                    <a:pt x="473" y="364"/>
                    <a:pt x="473" y="364"/>
                    <a:pt x="473" y="364"/>
                  </a:cubicBezTo>
                  <a:cubicBezTo>
                    <a:pt x="479" y="353"/>
                    <a:pt x="479" y="353"/>
                    <a:pt x="479" y="353"/>
                  </a:cubicBezTo>
                  <a:cubicBezTo>
                    <a:pt x="473" y="333"/>
                    <a:pt x="473" y="333"/>
                    <a:pt x="473" y="333"/>
                  </a:cubicBezTo>
                  <a:cubicBezTo>
                    <a:pt x="473" y="333"/>
                    <a:pt x="495" y="315"/>
                    <a:pt x="512" y="320"/>
                  </a:cubicBezTo>
                  <a:cubicBezTo>
                    <a:pt x="516" y="319"/>
                    <a:pt x="517" y="309"/>
                    <a:pt x="517" y="309"/>
                  </a:cubicBezTo>
                  <a:cubicBezTo>
                    <a:pt x="528" y="303"/>
                    <a:pt x="528" y="303"/>
                    <a:pt x="528" y="303"/>
                  </a:cubicBezTo>
                  <a:cubicBezTo>
                    <a:pt x="528" y="303"/>
                    <a:pt x="547" y="316"/>
                    <a:pt x="552" y="316"/>
                  </a:cubicBezTo>
                  <a:cubicBezTo>
                    <a:pt x="557" y="316"/>
                    <a:pt x="552" y="267"/>
                    <a:pt x="552" y="267"/>
                  </a:cubicBezTo>
                  <a:cubicBezTo>
                    <a:pt x="560" y="260"/>
                    <a:pt x="560" y="260"/>
                    <a:pt x="560" y="260"/>
                  </a:cubicBezTo>
                  <a:cubicBezTo>
                    <a:pt x="548" y="231"/>
                    <a:pt x="548" y="231"/>
                    <a:pt x="548" y="231"/>
                  </a:cubicBezTo>
                  <a:cubicBezTo>
                    <a:pt x="564" y="229"/>
                    <a:pt x="564" y="229"/>
                    <a:pt x="564" y="229"/>
                  </a:cubicBezTo>
                  <a:cubicBezTo>
                    <a:pt x="571" y="215"/>
                    <a:pt x="571" y="215"/>
                    <a:pt x="571" y="215"/>
                  </a:cubicBezTo>
                  <a:cubicBezTo>
                    <a:pt x="593" y="187"/>
                    <a:pt x="593" y="187"/>
                    <a:pt x="593" y="187"/>
                  </a:cubicBezTo>
                  <a:cubicBezTo>
                    <a:pt x="587" y="180"/>
                    <a:pt x="587" y="180"/>
                    <a:pt x="587" y="180"/>
                  </a:cubicBezTo>
                  <a:cubicBezTo>
                    <a:pt x="592" y="143"/>
                    <a:pt x="592" y="143"/>
                    <a:pt x="592" y="143"/>
                  </a:cubicBezTo>
                  <a:cubicBezTo>
                    <a:pt x="592" y="143"/>
                    <a:pt x="583" y="130"/>
                    <a:pt x="597" y="110"/>
                  </a:cubicBezTo>
                  <a:cubicBezTo>
                    <a:pt x="566" y="131"/>
                    <a:pt x="536" y="111"/>
                    <a:pt x="536" y="111"/>
                  </a:cubicBezTo>
                  <a:cubicBezTo>
                    <a:pt x="536" y="97"/>
                    <a:pt x="536" y="97"/>
                    <a:pt x="536" y="97"/>
                  </a:cubicBezTo>
                  <a:cubicBezTo>
                    <a:pt x="517" y="109"/>
                    <a:pt x="517" y="109"/>
                    <a:pt x="517" y="109"/>
                  </a:cubicBezTo>
                  <a:cubicBezTo>
                    <a:pt x="517" y="103"/>
                    <a:pt x="517" y="103"/>
                    <a:pt x="517" y="103"/>
                  </a:cubicBezTo>
                  <a:cubicBezTo>
                    <a:pt x="484" y="93"/>
                    <a:pt x="484" y="93"/>
                    <a:pt x="484" y="93"/>
                  </a:cubicBezTo>
                  <a:cubicBezTo>
                    <a:pt x="457" y="115"/>
                    <a:pt x="447" y="99"/>
                    <a:pt x="448" y="95"/>
                  </a:cubicBezTo>
                  <a:cubicBezTo>
                    <a:pt x="444" y="113"/>
                    <a:pt x="408" y="103"/>
                    <a:pt x="408" y="103"/>
                  </a:cubicBezTo>
                  <a:cubicBezTo>
                    <a:pt x="403" y="115"/>
                    <a:pt x="392" y="111"/>
                    <a:pt x="392" y="111"/>
                  </a:cubicBezTo>
                  <a:cubicBezTo>
                    <a:pt x="392" y="111"/>
                    <a:pt x="392" y="107"/>
                    <a:pt x="387" y="105"/>
                  </a:cubicBezTo>
                  <a:cubicBezTo>
                    <a:pt x="364" y="117"/>
                    <a:pt x="357" y="97"/>
                    <a:pt x="357" y="97"/>
                  </a:cubicBezTo>
                  <a:cubicBezTo>
                    <a:pt x="323" y="97"/>
                    <a:pt x="323" y="97"/>
                    <a:pt x="323" y="97"/>
                  </a:cubicBezTo>
                  <a:cubicBezTo>
                    <a:pt x="309" y="108"/>
                    <a:pt x="309" y="108"/>
                    <a:pt x="309" y="108"/>
                  </a:cubicBezTo>
                  <a:cubicBezTo>
                    <a:pt x="316" y="100"/>
                    <a:pt x="316" y="100"/>
                    <a:pt x="316" y="100"/>
                  </a:cubicBezTo>
                  <a:cubicBezTo>
                    <a:pt x="307" y="89"/>
                    <a:pt x="307" y="89"/>
                    <a:pt x="307" y="89"/>
                  </a:cubicBezTo>
                  <a:cubicBezTo>
                    <a:pt x="288" y="99"/>
                    <a:pt x="288" y="99"/>
                    <a:pt x="288" y="99"/>
                  </a:cubicBezTo>
                  <a:cubicBezTo>
                    <a:pt x="292" y="79"/>
                    <a:pt x="292" y="79"/>
                    <a:pt x="292" y="79"/>
                  </a:cubicBezTo>
                  <a:cubicBezTo>
                    <a:pt x="276" y="76"/>
                    <a:pt x="276" y="76"/>
                    <a:pt x="276" y="76"/>
                  </a:cubicBezTo>
                  <a:cubicBezTo>
                    <a:pt x="271" y="89"/>
                    <a:pt x="271" y="89"/>
                    <a:pt x="271" y="89"/>
                  </a:cubicBezTo>
                  <a:cubicBezTo>
                    <a:pt x="271" y="89"/>
                    <a:pt x="252" y="87"/>
                    <a:pt x="252" y="80"/>
                  </a:cubicBezTo>
                  <a:cubicBezTo>
                    <a:pt x="252" y="73"/>
                    <a:pt x="237" y="76"/>
                    <a:pt x="237" y="76"/>
                  </a:cubicBezTo>
                  <a:cubicBezTo>
                    <a:pt x="237" y="65"/>
                    <a:pt x="217" y="85"/>
                    <a:pt x="217" y="85"/>
                  </a:cubicBezTo>
                  <a:cubicBezTo>
                    <a:pt x="217" y="85"/>
                    <a:pt x="207" y="91"/>
                    <a:pt x="207" y="80"/>
                  </a:cubicBezTo>
                  <a:cubicBezTo>
                    <a:pt x="207" y="69"/>
                    <a:pt x="231" y="49"/>
                    <a:pt x="231" y="49"/>
                  </a:cubicBezTo>
                  <a:cubicBezTo>
                    <a:pt x="224" y="39"/>
                    <a:pt x="224" y="39"/>
                    <a:pt x="224" y="39"/>
                  </a:cubicBezTo>
                  <a:cubicBezTo>
                    <a:pt x="203" y="45"/>
                    <a:pt x="203" y="45"/>
                    <a:pt x="203" y="45"/>
                  </a:cubicBezTo>
                  <a:cubicBezTo>
                    <a:pt x="187" y="41"/>
                    <a:pt x="187" y="41"/>
                    <a:pt x="187" y="41"/>
                  </a:cubicBezTo>
                  <a:cubicBezTo>
                    <a:pt x="161" y="55"/>
                    <a:pt x="161" y="55"/>
                    <a:pt x="161" y="55"/>
                  </a:cubicBezTo>
                  <a:cubicBezTo>
                    <a:pt x="153" y="51"/>
                    <a:pt x="153" y="51"/>
                    <a:pt x="153" y="51"/>
                  </a:cubicBezTo>
                  <a:cubicBezTo>
                    <a:pt x="145" y="33"/>
                    <a:pt x="145" y="33"/>
                    <a:pt x="145" y="33"/>
                  </a:cubicBezTo>
                  <a:cubicBezTo>
                    <a:pt x="123" y="23"/>
                    <a:pt x="123" y="23"/>
                    <a:pt x="123" y="23"/>
                  </a:cubicBezTo>
                  <a:cubicBezTo>
                    <a:pt x="121" y="12"/>
                    <a:pt x="121" y="12"/>
                    <a:pt x="121" y="12"/>
                  </a:cubicBezTo>
                  <a:cubicBezTo>
                    <a:pt x="109" y="13"/>
                    <a:pt x="109" y="13"/>
                    <a:pt x="109" y="13"/>
                  </a:cubicBezTo>
                  <a:cubicBezTo>
                    <a:pt x="109" y="13"/>
                    <a:pt x="88" y="0"/>
                    <a:pt x="83" y="0"/>
                  </a:cubicBezTo>
                  <a:cubicBezTo>
                    <a:pt x="79" y="0"/>
                    <a:pt x="65" y="7"/>
                    <a:pt x="56" y="11"/>
                  </a:cubicBezTo>
                  <a:cubicBezTo>
                    <a:pt x="60" y="16"/>
                    <a:pt x="69" y="27"/>
                    <a:pt x="63" y="30"/>
                  </a:cubicBezTo>
                  <a:cubicBezTo>
                    <a:pt x="55" y="34"/>
                    <a:pt x="45" y="21"/>
                    <a:pt x="45" y="21"/>
                  </a:cubicBezTo>
                  <a:cubicBezTo>
                    <a:pt x="35" y="27"/>
                    <a:pt x="25" y="60"/>
                    <a:pt x="25" y="60"/>
                  </a:cubicBezTo>
                  <a:cubicBezTo>
                    <a:pt x="25" y="60"/>
                    <a:pt x="14" y="68"/>
                    <a:pt x="0" y="77"/>
                  </a:cubicBezTo>
                  <a:cubicBezTo>
                    <a:pt x="5" y="92"/>
                    <a:pt x="5" y="92"/>
                    <a:pt x="5" y="92"/>
                  </a:cubicBezTo>
                  <a:lnTo>
                    <a:pt x="17" y="9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2" name="Haute Normandie" descr="© INSCALE GmbH, 05.05.2010&#10;http://www.presentationload.com/">
              <a:extLst>
                <a:ext uri="{FF2B5EF4-FFF2-40B4-BE49-F238E27FC236}">
                  <a16:creationId xmlns:a16="http://schemas.microsoft.com/office/drawing/2014/main" id="{67DE9D41-AD0D-42D6-AE91-CBB98FF22C82}"/>
                </a:ext>
              </a:extLst>
            </p:cNvPr>
            <p:cNvSpPr>
              <a:spLocks/>
            </p:cNvSpPr>
            <p:nvPr/>
          </p:nvSpPr>
          <p:spPr bwMode="gray">
            <a:xfrm>
              <a:off x="1259" y="493"/>
              <a:ext cx="385" cy="503"/>
            </a:xfrm>
            <a:custGeom>
              <a:avLst/>
              <a:gdLst/>
              <a:ahLst/>
              <a:cxnLst>
                <a:cxn ang="0">
                  <a:pos x="355" y="198"/>
                </a:cxn>
                <a:cxn ang="0">
                  <a:pos x="345" y="199"/>
                </a:cxn>
                <a:cxn ang="0">
                  <a:pos x="351" y="187"/>
                </a:cxn>
                <a:cxn ang="0">
                  <a:pos x="341" y="167"/>
                </a:cxn>
                <a:cxn ang="0">
                  <a:pos x="351" y="136"/>
                </a:cxn>
                <a:cxn ang="0">
                  <a:pos x="340" y="135"/>
                </a:cxn>
                <a:cxn ang="0">
                  <a:pos x="357" y="112"/>
                </a:cxn>
                <a:cxn ang="0">
                  <a:pos x="333" y="62"/>
                </a:cxn>
                <a:cxn ang="0">
                  <a:pos x="289" y="22"/>
                </a:cxn>
                <a:cxn ang="0">
                  <a:pos x="289" y="18"/>
                </a:cxn>
                <a:cxn ang="0">
                  <a:pos x="277" y="15"/>
                </a:cxn>
                <a:cxn ang="0">
                  <a:pos x="272" y="0"/>
                </a:cxn>
                <a:cxn ang="0">
                  <a:pos x="220" y="29"/>
                </a:cxn>
                <a:cxn ang="0">
                  <a:pos x="155" y="47"/>
                </a:cxn>
                <a:cxn ang="0">
                  <a:pos x="108" y="50"/>
                </a:cxn>
                <a:cxn ang="0">
                  <a:pos x="30" y="93"/>
                </a:cxn>
                <a:cxn ang="0">
                  <a:pos x="0" y="150"/>
                </a:cxn>
                <a:cxn ang="0">
                  <a:pos x="10" y="167"/>
                </a:cxn>
                <a:cxn ang="0">
                  <a:pos x="39" y="178"/>
                </a:cxn>
                <a:cxn ang="0">
                  <a:pos x="52" y="263"/>
                </a:cxn>
                <a:cxn ang="0">
                  <a:pos x="53" y="271"/>
                </a:cxn>
                <a:cxn ang="0">
                  <a:pos x="67" y="288"/>
                </a:cxn>
                <a:cxn ang="0">
                  <a:pos x="67" y="303"/>
                </a:cxn>
                <a:cxn ang="0">
                  <a:pos x="72" y="311"/>
                </a:cxn>
                <a:cxn ang="0">
                  <a:pos x="71" y="331"/>
                </a:cxn>
                <a:cxn ang="0">
                  <a:pos x="63" y="332"/>
                </a:cxn>
                <a:cxn ang="0">
                  <a:pos x="72" y="344"/>
                </a:cxn>
                <a:cxn ang="0">
                  <a:pos x="65" y="379"/>
                </a:cxn>
                <a:cxn ang="0">
                  <a:pos x="72" y="388"/>
                </a:cxn>
                <a:cxn ang="0">
                  <a:pos x="105" y="390"/>
                </a:cxn>
                <a:cxn ang="0">
                  <a:pos x="112" y="410"/>
                </a:cxn>
                <a:cxn ang="0">
                  <a:pos x="136" y="448"/>
                </a:cxn>
                <a:cxn ang="0">
                  <a:pos x="139" y="459"/>
                </a:cxn>
                <a:cxn ang="0">
                  <a:pos x="167" y="444"/>
                </a:cxn>
                <a:cxn ang="0">
                  <a:pos x="201" y="434"/>
                </a:cxn>
                <a:cxn ang="0">
                  <a:pos x="211" y="438"/>
                </a:cxn>
                <a:cxn ang="0">
                  <a:pos x="212" y="427"/>
                </a:cxn>
                <a:cxn ang="0">
                  <a:pos x="263" y="431"/>
                </a:cxn>
                <a:cxn ang="0">
                  <a:pos x="268" y="408"/>
                </a:cxn>
                <a:cxn ang="0">
                  <a:pos x="288" y="395"/>
                </a:cxn>
                <a:cxn ang="0">
                  <a:pos x="288" y="383"/>
                </a:cxn>
                <a:cxn ang="0">
                  <a:pos x="297" y="379"/>
                </a:cxn>
                <a:cxn ang="0">
                  <a:pos x="284" y="343"/>
                </a:cxn>
                <a:cxn ang="0">
                  <a:pos x="297" y="338"/>
                </a:cxn>
                <a:cxn ang="0">
                  <a:pos x="295" y="331"/>
                </a:cxn>
                <a:cxn ang="0">
                  <a:pos x="323" y="328"/>
                </a:cxn>
                <a:cxn ang="0">
                  <a:pos x="340" y="281"/>
                </a:cxn>
                <a:cxn ang="0">
                  <a:pos x="337" y="272"/>
                </a:cxn>
                <a:cxn ang="0">
                  <a:pos x="354" y="277"/>
                </a:cxn>
                <a:cxn ang="0">
                  <a:pos x="356" y="278"/>
                </a:cxn>
                <a:cxn ang="0">
                  <a:pos x="356" y="277"/>
                </a:cxn>
                <a:cxn ang="0">
                  <a:pos x="345" y="226"/>
                </a:cxn>
                <a:cxn ang="0">
                  <a:pos x="355" y="198"/>
                </a:cxn>
              </a:cxnLst>
              <a:rect l="0" t="0" r="r" b="b"/>
              <a:pathLst>
                <a:path w="357" h="466">
                  <a:moveTo>
                    <a:pt x="355" y="198"/>
                  </a:moveTo>
                  <a:cubicBezTo>
                    <a:pt x="345" y="199"/>
                    <a:pt x="345" y="199"/>
                    <a:pt x="345" y="199"/>
                  </a:cubicBezTo>
                  <a:cubicBezTo>
                    <a:pt x="351" y="187"/>
                    <a:pt x="351" y="187"/>
                    <a:pt x="351" y="187"/>
                  </a:cubicBezTo>
                  <a:cubicBezTo>
                    <a:pt x="341" y="167"/>
                    <a:pt x="341" y="167"/>
                    <a:pt x="341" y="167"/>
                  </a:cubicBezTo>
                  <a:cubicBezTo>
                    <a:pt x="351" y="136"/>
                    <a:pt x="351" y="136"/>
                    <a:pt x="351" y="136"/>
                  </a:cubicBezTo>
                  <a:cubicBezTo>
                    <a:pt x="351" y="136"/>
                    <a:pt x="344" y="136"/>
                    <a:pt x="340" y="135"/>
                  </a:cubicBezTo>
                  <a:cubicBezTo>
                    <a:pt x="336" y="134"/>
                    <a:pt x="357" y="112"/>
                    <a:pt x="357" y="112"/>
                  </a:cubicBezTo>
                  <a:cubicBezTo>
                    <a:pt x="333" y="62"/>
                    <a:pt x="333" y="62"/>
                    <a:pt x="333" y="62"/>
                  </a:cubicBezTo>
                  <a:cubicBezTo>
                    <a:pt x="315" y="59"/>
                    <a:pt x="289" y="22"/>
                    <a:pt x="289" y="22"/>
                  </a:cubicBezTo>
                  <a:cubicBezTo>
                    <a:pt x="289" y="18"/>
                    <a:pt x="289" y="18"/>
                    <a:pt x="289" y="18"/>
                  </a:cubicBezTo>
                  <a:cubicBezTo>
                    <a:pt x="277" y="15"/>
                    <a:pt x="277" y="15"/>
                    <a:pt x="277" y="15"/>
                  </a:cubicBezTo>
                  <a:cubicBezTo>
                    <a:pt x="272" y="0"/>
                    <a:pt x="272" y="0"/>
                    <a:pt x="272" y="0"/>
                  </a:cubicBezTo>
                  <a:cubicBezTo>
                    <a:pt x="255" y="11"/>
                    <a:pt x="233" y="25"/>
                    <a:pt x="220" y="29"/>
                  </a:cubicBezTo>
                  <a:cubicBezTo>
                    <a:pt x="196" y="38"/>
                    <a:pt x="155" y="47"/>
                    <a:pt x="155" y="47"/>
                  </a:cubicBezTo>
                  <a:cubicBezTo>
                    <a:pt x="155" y="47"/>
                    <a:pt x="110" y="54"/>
                    <a:pt x="108" y="50"/>
                  </a:cubicBezTo>
                  <a:cubicBezTo>
                    <a:pt x="81" y="78"/>
                    <a:pt x="30" y="93"/>
                    <a:pt x="30" y="93"/>
                  </a:cubicBezTo>
                  <a:cubicBezTo>
                    <a:pt x="0" y="150"/>
                    <a:pt x="0" y="150"/>
                    <a:pt x="0" y="150"/>
                  </a:cubicBezTo>
                  <a:cubicBezTo>
                    <a:pt x="10" y="167"/>
                    <a:pt x="10" y="167"/>
                    <a:pt x="10" y="167"/>
                  </a:cubicBezTo>
                  <a:cubicBezTo>
                    <a:pt x="10" y="167"/>
                    <a:pt x="44" y="176"/>
                    <a:pt x="39" y="178"/>
                  </a:cubicBezTo>
                  <a:cubicBezTo>
                    <a:pt x="52" y="263"/>
                    <a:pt x="52" y="263"/>
                    <a:pt x="52" y="263"/>
                  </a:cubicBezTo>
                  <a:cubicBezTo>
                    <a:pt x="52" y="263"/>
                    <a:pt x="84" y="260"/>
                    <a:pt x="53" y="271"/>
                  </a:cubicBezTo>
                  <a:cubicBezTo>
                    <a:pt x="51" y="278"/>
                    <a:pt x="67" y="288"/>
                    <a:pt x="67" y="288"/>
                  </a:cubicBezTo>
                  <a:cubicBezTo>
                    <a:pt x="67" y="303"/>
                    <a:pt x="67" y="303"/>
                    <a:pt x="67" y="303"/>
                  </a:cubicBezTo>
                  <a:cubicBezTo>
                    <a:pt x="72" y="311"/>
                    <a:pt x="72" y="311"/>
                    <a:pt x="72" y="311"/>
                  </a:cubicBezTo>
                  <a:cubicBezTo>
                    <a:pt x="71" y="331"/>
                    <a:pt x="71" y="331"/>
                    <a:pt x="71" y="331"/>
                  </a:cubicBezTo>
                  <a:cubicBezTo>
                    <a:pt x="63" y="332"/>
                    <a:pt x="63" y="332"/>
                    <a:pt x="63" y="332"/>
                  </a:cubicBezTo>
                  <a:cubicBezTo>
                    <a:pt x="72" y="344"/>
                    <a:pt x="72" y="344"/>
                    <a:pt x="72" y="344"/>
                  </a:cubicBezTo>
                  <a:cubicBezTo>
                    <a:pt x="72" y="344"/>
                    <a:pt x="72" y="374"/>
                    <a:pt x="65" y="379"/>
                  </a:cubicBezTo>
                  <a:cubicBezTo>
                    <a:pt x="59" y="384"/>
                    <a:pt x="72" y="388"/>
                    <a:pt x="72" y="388"/>
                  </a:cubicBezTo>
                  <a:cubicBezTo>
                    <a:pt x="105" y="390"/>
                    <a:pt x="105" y="390"/>
                    <a:pt x="105" y="390"/>
                  </a:cubicBezTo>
                  <a:cubicBezTo>
                    <a:pt x="112" y="410"/>
                    <a:pt x="112" y="410"/>
                    <a:pt x="112" y="410"/>
                  </a:cubicBezTo>
                  <a:cubicBezTo>
                    <a:pt x="112" y="410"/>
                    <a:pt x="157" y="434"/>
                    <a:pt x="136" y="448"/>
                  </a:cubicBezTo>
                  <a:cubicBezTo>
                    <a:pt x="132" y="448"/>
                    <a:pt x="139" y="459"/>
                    <a:pt x="139" y="459"/>
                  </a:cubicBezTo>
                  <a:cubicBezTo>
                    <a:pt x="139" y="459"/>
                    <a:pt x="159" y="466"/>
                    <a:pt x="167" y="444"/>
                  </a:cubicBezTo>
                  <a:cubicBezTo>
                    <a:pt x="171" y="444"/>
                    <a:pt x="179" y="456"/>
                    <a:pt x="201" y="434"/>
                  </a:cubicBezTo>
                  <a:cubicBezTo>
                    <a:pt x="203" y="438"/>
                    <a:pt x="211" y="438"/>
                    <a:pt x="211" y="438"/>
                  </a:cubicBezTo>
                  <a:cubicBezTo>
                    <a:pt x="212" y="427"/>
                    <a:pt x="212" y="427"/>
                    <a:pt x="212" y="427"/>
                  </a:cubicBezTo>
                  <a:cubicBezTo>
                    <a:pt x="212" y="427"/>
                    <a:pt x="256" y="442"/>
                    <a:pt x="263" y="431"/>
                  </a:cubicBezTo>
                  <a:cubicBezTo>
                    <a:pt x="269" y="420"/>
                    <a:pt x="268" y="408"/>
                    <a:pt x="268" y="408"/>
                  </a:cubicBezTo>
                  <a:cubicBezTo>
                    <a:pt x="268" y="408"/>
                    <a:pt x="287" y="400"/>
                    <a:pt x="288" y="395"/>
                  </a:cubicBezTo>
                  <a:cubicBezTo>
                    <a:pt x="289" y="390"/>
                    <a:pt x="288" y="383"/>
                    <a:pt x="288" y="383"/>
                  </a:cubicBezTo>
                  <a:cubicBezTo>
                    <a:pt x="297" y="379"/>
                    <a:pt x="297" y="379"/>
                    <a:pt x="297" y="379"/>
                  </a:cubicBezTo>
                  <a:cubicBezTo>
                    <a:pt x="284" y="343"/>
                    <a:pt x="284" y="343"/>
                    <a:pt x="284" y="343"/>
                  </a:cubicBezTo>
                  <a:cubicBezTo>
                    <a:pt x="284" y="343"/>
                    <a:pt x="301" y="338"/>
                    <a:pt x="297" y="338"/>
                  </a:cubicBezTo>
                  <a:cubicBezTo>
                    <a:pt x="293" y="338"/>
                    <a:pt x="295" y="331"/>
                    <a:pt x="295" y="331"/>
                  </a:cubicBezTo>
                  <a:cubicBezTo>
                    <a:pt x="323" y="328"/>
                    <a:pt x="323" y="328"/>
                    <a:pt x="323" y="328"/>
                  </a:cubicBezTo>
                  <a:cubicBezTo>
                    <a:pt x="340" y="281"/>
                    <a:pt x="340" y="281"/>
                    <a:pt x="340" y="281"/>
                  </a:cubicBezTo>
                  <a:cubicBezTo>
                    <a:pt x="337" y="272"/>
                    <a:pt x="337" y="272"/>
                    <a:pt x="337" y="272"/>
                  </a:cubicBezTo>
                  <a:cubicBezTo>
                    <a:pt x="354" y="277"/>
                    <a:pt x="354" y="277"/>
                    <a:pt x="354" y="277"/>
                  </a:cubicBezTo>
                  <a:cubicBezTo>
                    <a:pt x="356" y="278"/>
                    <a:pt x="356" y="278"/>
                    <a:pt x="356" y="278"/>
                  </a:cubicBezTo>
                  <a:cubicBezTo>
                    <a:pt x="356" y="278"/>
                    <a:pt x="356" y="277"/>
                    <a:pt x="356" y="277"/>
                  </a:cubicBezTo>
                  <a:cubicBezTo>
                    <a:pt x="357" y="262"/>
                    <a:pt x="345" y="226"/>
                    <a:pt x="345" y="226"/>
                  </a:cubicBezTo>
                  <a:lnTo>
                    <a:pt x="355" y="19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3" name="Ile-de-France" descr="© INSCALE GmbH, 05.05.2010&#10;http://www.presentationload.com/">
              <a:extLst>
                <a:ext uri="{FF2B5EF4-FFF2-40B4-BE49-F238E27FC236}">
                  <a16:creationId xmlns:a16="http://schemas.microsoft.com/office/drawing/2014/main" id="{AC31993E-D426-4B7A-9900-2091A79541F4}"/>
                </a:ext>
              </a:extLst>
            </p:cNvPr>
            <p:cNvSpPr>
              <a:spLocks/>
            </p:cNvSpPr>
            <p:nvPr/>
          </p:nvSpPr>
          <p:spPr bwMode="gray">
            <a:xfrm>
              <a:off x="1565" y="796"/>
              <a:ext cx="483" cy="386"/>
            </a:xfrm>
            <a:custGeom>
              <a:avLst/>
              <a:gdLst/>
              <a:ahLst/>
              <a:cxnLst>
                <a:cxn ang="0">
                  <a:pos x="31" y="127"/>
                </a:cxn>
                <a:cxn ang="0">
                  <a:pos x="36" y="158"/>
                </a:cxn>
                <a:cxn ang="0">
                  <a:pos x="35" y="177"/>
                </a:cxn>
                <a:cxn ang="0">
                  <a:pos x="48" y="199"/>
                </a:cxn>
                <a:cxn ang="0">
                  <a:pos x="56" y="214"/>
                </a:cxn>
                <a:cxn ang="0">
                  <a:pos x="71" y="246"/>
                </a:cxn>
                <a:cxn ang="0">
                  <a:pos x="103" y="267"/>
                </a:cxn>
                <a:cxn ang="0">
                  <a:pos x="111" y="303"/>
                </a:cxn>
                <a:cxn ang="0">
                  <a:pos x="153" y="301"/>
                </a:cxn>
                <a:cxn ang="0">
                  <a:pos x="167" y="290"/>
                </a:cxn>
                <a:cxn ang="0">
                  <a:pos x="183" y="293"/>
                </a:cxn>
                <a:cxn ang="0">
                  <a:pos x="201" y="297"/>
                </a:cxn>
                <a:cxn ang="0">
                  <a:pos x="229" y="338"/>
                </a:cxn>
                <a:cxn ang="0">
                  <a:pos x="273" y="354"/>
                </a:cxn>
                <a:cxn ang="0">
                  <a:pos x="285" y="346"/>
                </a:cxn>
                <a:cxn ang="0">
                  <a:pos x="316" y="345"/>
                </a:cxn>
                <a:cxn ang="0">
                  <a:pos x="333" y="297"/>
                </a:cxn>
                <a:cxn ang="0">
                  <a:pos x="400" y="277"/>
                </a:cxn>
                <a:cxn ang="0">
                  <a:pos x="411" y="243"/>
                </a:cxn>
                <a:cxn ang="0">
                  <a:pos x="413" y="225"/>
                </a:cxn>
                <a:cxn ang="0">
                  <a:pos x="424" y="210"/>
                </a:cxn>
                <a:cxn ang="0">
                  <a:pos x="437" y="199"/>
                </a:cxn>
                <a:cxn ang="0">
                  <a:pos x="440" y="191"/>
                </a:cxn>
                <a:cxn ang="0">
                  <a:pos x="425" y="158"/>
                </a:cxn>
                <a:cxn ang="0">
                  <a:pos x="411" y="147"/>
                </a:cxn>
                <a:cxn ang="0">
                  <a:pos x="412" y="137"/>
                </a:cxn>
                <a:cxn ang="0">
                  <a:pos x="428" y="123"/>
                </a:cxn>
                <a:cxn ang="0">
                  <a:pos x="405" y="99"/>
                </a:cxn>
                <a:cxn ang="0">
                  <a:pos x="392" y="91"/>
                </a:cxn>
                <a:cxn ang="0">
                  <a:pos x="364" y="73"/>
                </a:cxn>
                <a:cxn ang="0">
                  <a:pos x="337" y="45"/>
                </a:cxn>
                <a:cxn ang="0">
                  <a:pos x="285" y="47"/>
                </a:cxn>
                <a:cxn ang="0">
                  <a:pos x="248" y="43"/>
                </a:cxn>
                <a:cxn ang="0">
                  <a:pos x="233" y="41"/>
                </a:cxn>
                <a:cxn ang="0">
                  <a:pos x="191" y="25"/>
                </a:cxn>
                <a:cxn ang="0">
                  <a:pos x="165" y="26"/>
                </a:cxn>
                <a:cxn ang="0">
                  <a:pos x="157" y="25"/>
                </a:cxn>
                <a:cxn ang="0">
                  <a:pos x="139" y="18"/>
                </a:cxn>
                <a:cxn ang="0">
                  <a:pos x="116" y="17"/>
                </a:cxn>
                <a:cxn ang="0">
                  <a:pos x="56" y="0"/>
                </a:cxn>
                <a:cxn ang="0">
                  <a:pos x="11" y="50"/>
                </a:cxn>
                <a:cxn ang="0">
                  <a:pos x="0" y="62"/>
                </a:cxn>
                <a:cxn ang="0">
                  <a:pos x="12" y="99"/>
                </a:cxn>
                <a:cxn ang="0">
                  <a:pos x="23" y="122"/>
                </a:cxn>
              </a:cxnLst>
              <a:rect l="0" t="0" r="r" b="b"/>
              <a:pathLst>
                <a:path w="448" h="357">
                  <a:moveTo>
                    <a:pt x="23" y="122"/>
                  </a:moveTo>
                  <a:cubicBezTo>
                    <a:pt x="31" y="127"/>
                    <a:pt x="31" y="127"/>
                    <a:pt x="31" y="127"/>
                  </a:cubicBezTo>
                  <a:cubicBezTo>
                    <a:pt x="29" y="151"/>
                    <a:pt x="29" y="151"/>
                    <a:pt x="29" y="151"/>
                  </a:cubicBezTo>
                  <a:cubicBezTo>
                    <a:pt x="36" y="158"/>
                    <a:pt x="36" y="158"/>
                    <a:pt x="36" y="158"/>
                  </a:cubicBezTo>
                  <a:cubicBezTo>
                    <a:pt x="25" y="173"/>
                    <a:pt x="25" y="173"/>
                    <a:pt x="25" y="173"/>
                  </a:cubicBezTo>
                  <a:cubicBezTo>
                    <a:pt x="35" y="177"/>
                    <a:pt x="35" y="177"/>
                    <a:pt x="35" y="177"/>
                  </a:cubicBezTo>
                  <a:cubicBezTo>
                    <a:pt x="33" y="187"/>
                    <a:pt x="33" y="187"/>
                    <a:pt x="33" y="187"/>
                  </a:cubicBezTo>
                  <a:cubicBezTo>
                    <a:pt x="48" y="199"/>
                    <a:pt x="48" y="199"/>
                    <a:pt x="48" y="199"/>
                  </a:cubicBezTo>
                  <a:cubicBezTo>
                    <a:pt x="57" y="202"/>
                    <a:pt x="57" y="202"/>
                    <a:pt x="57" y="202"/>
                  </a:cubicBezTo>
                  <a:cubicBezTo>
                    <a:pt x="56" y="214"/>
                    <a:pt x="56" y="214"/>
                    <a:pt x="56" y="214"/>
                  </a:cubicBezTo>
                  <a:cubicBezTo>
                    <a:pt x="69" y="221"/>
                    <a:pt x="69" y="221"/>
                    <a:pt x="69" y="221"/>
                  </a:cubicBezTo>
                  <a:cubicBezTo>
                    <a:pt x="71" y="246"/>
                    <a:pt x="71" y="246"/>
                    <a:pt x="71" y="246"/>
                  </a:cubicBezTo>
                  <a:cubicBezTo>
                    <a:pt x="71" y="246"/>
                    <a:pt x="95" y="261"/>
                    <a:pt x="97" y="253"/>
                  </a:cubicBezTo>
                  <a:cubicBezTo>
                    <a:pt x="101" y="254"/>
                    <a:pt x="103" y="267"/>
                    <a:pt x="103" y="267"/>
                  </a:cubicBezTo>
                  <a:cubicBezTo>
                    <a:pt x="113" y="269"/>
                    <a:pt x="113" y="269"/>
                    <a:pt x="113" y="269"/>
                  </a:cubicBezTo>
                  <a:cubicBezTo>
                    <a:pt x="113" y="269"/>
                    <a:pt x="101" y="295"/>
                    <a:pt x="111" y="303"/>
                  </a:cubicBezTo>
                  <a:cubicBezTo>
                    <a:pt x="120" y="311"/>
                    <a:pt x="127" y="301"/>
                    <a:pt x="135" y="301"/>
                  </a:cubicBezTo>
                  <a:cubicBezTo>
                    <a:pt x="143" y="301"/>
                    <a:pt x="153" y="301"/>
                    <a:pt x="153" y="301"/>
                  </a:cubicBezTo>
                  <a:cubicBezTo>
                    <a:pt x="160" y="287"/>
                    <a:pt x="160" y="287"/>
                    <a:pt x="160" y="287"/>
                  </a:cubicBezTo>
                  <a:cubicBezTo>
                    <a:pt x="167" y="290"/>
                    <a:pt x="167" y="290"/>
                    <a:pt x="167" y="290"/>
                  </a:cubicBezTo>
                  <a:cubicBezTo>
                    <a:pt x="169" y="301"/>
                    <a:pt x="169" y="301"/>
                    <a:pt x="169" y="301"/>
                  </a:cubicBezTo>
                  <a:cubicBezTo>
                    <a:pt x="183" y="293"/>
                    <a:pt x="183" y="293"/>
                    <a:pt x="183" y="293"/>
                  </a:cubicBezTo>
                  <a:cubicBezTo>
                    <a:pt x="199" y="298"/>
                    <a:pt x="199" y="298"/>
                    <a:pt x="199" y="298"/>
                  </a:cubicBezTo>
                  <a:cubicBezTo>
                    <a:pt x="201" y="297"/>
                    <a:pt x="201" y="297"/>
                    <a:pt x="201" y="297"/>
                  </a:cubicBezTo>
                  <a:cubicBezTo>
                    <a:pt x="205" y="313"/>
                    <a:pt x="205" y="313"/>
                    <a:pt x="205" y="313"/>
                  </a:cubicBezTo>
                  <a:cubicBezTo>
                    <a:pt x="205" y="313"/>
                    <a:pt x="232" y="319"/>
                    <a:pt x="229" y="338"/>
                  </a:cubicBezTo>
                  <a:cubicBezTo>
                    <a:pt x="228" y="349"/>
                    <a:pt x="222" y="352"/>
                    <a:pt x="218" y="353"/>
                  </a:cubicBezTo>
                  <a:cubicBezTo>
                    <a:pt x="273" y="354"/>
                    <a:pt x="273" y="354"/>
                    <a:pt x="273" y="354"/>
                  </a:cubicBezTo>
                  <a:cubicBezTo>
                    <a:pt x="273" y="346"/>
                    <a:pt x="273" y="346"/>
                    <a:pt x="273" y="346"/>
                  </a:cubicBezTo>
                  <a:cubicBezTo>
                    <a:pt x="285" y="346"/>
                    <a:pt x="285" y="346"/>
                    <a:pt x="285" y="346"/>
                  </a:cubicBezTo>
                  <a:cubicBezTo>
                    <a:pt x="285" y="357"/>
                    <a:pt x="285" y="357"/>
                    <a:pt x="285" y="357"/>
                  </a:cubicBezTo>
                  <a:cubicBezTo>
                    <a:pt x="285" y="357"/>
                    <a:pt x="308" y="353"/>
                    <a:pt x="316" y="345"/>
                  </a:cubicBezTo>
                  <a:cubicBezTo>
                    <a:pt x="324" y="337"/>
                    <a:pt x="339" y="313"/>
                    <a:pt x="339" y="313"/>
                  </a:cubicBezTo>
                  <a:cubicBezTo>
                    <a:pt x="333" y="297"/>
                    <a:pt x="333" y="297"/>
                    <a:pt x="333" y="297"/>
                  </a:cubicBezTo>
                  <a:cubicBezTo>
                    <a:pt x="341" y="277"/>
                    <a:pt x="341" y="277"/>
                    <a:pt x="341" y="277"/>
                  </a:cubicBezTo>
                  <a:cubicBezTo>
                    <a:pt x="400" y="277"/>
                    <a:pt x="400" y="277"/>
                    <a:pt x="400" y="277"/>
                  </a:cubicBezTo>
                  <a:cubicBezTo>
                    <a:pt x="415" y="269"/>
                    <a:pt x="415" y="269"/>
                    <a:pt x="415" y="269"/>
                  </a:cubicBezTo>
                  <a:cubicBezTo>
                    <a:pt x="411" y="243"/>
                    <a:pt x="411" y="243"/>
                    <a:pt x="411" y="243"/>
                  </a:cubicBezTo>
                  <a:cubicBezTo>
                    <a:pt x="420" y="234"/>
                    <a:pt x="420" y="234"/>
                    <a:pt x="420" y="234"/>
                  </a:cubicBezTo>
                  <a:cubicBezTo>
                    <a:pt x="413" y="225"/>
                    <a:pt x="413" y="225"/>
                    <a:pt x="413" y="225"/>
                  </a:cubicBezTo>
                  <a:cubicBezTo>
                    <a:pt x="428" y="222"/>
                    <a:pt x="428" y="222"/>
                    <a:pt x="428" y="222"/>
                  </a:cubicBezTo>
                  <a:cubicBezTo>
                    <a:pt x="424" y="210"/>
                    <a:pt x="424" y="210"/>
                    <a:pt x="424" y="210"/>
                  </a:cubicBezTo>
                  <a:cubicBezTo>
                    <a:pt x="436" y="210"/>
                    <a:pt x="436" y="210"/>
                    <a:pt x="436" y="210"/>
                  </a:cubicBezTo>
                  <a:cubicBezTo>
                    <a:pt x="437" y="199"/>
                    <a:pt x="437" y="199"/>
                    <a:pt x="437" y="199"/>
                  </a:cubicBezTo>
                  <a:cubicBezTo>
                    <a:pt x="448" y="201"/>
                    <a:pt x="448" y="201"/>
                    <a:pt x="448" y="201"/>
                  </a:cubicBezTo>
                  <a:cubicBezTo>
                    <a:pt x="440" y="191"/>
                    <a:pt x="440" y="191"/>
                    <a:pt x="440" y="191"/>
                  </a:cubicBezTo>
                  <a:cubicBezTo>
                    <a:pt x="424" y="190"/>
                    <a:pt x="424" y="190"/>
                    <a:pt x="424" y="190"/>
                  </a:cubicBezTo>
                  <a:cubicBezTo>
                    <a:pt x="425" y="158"/>
                    <a:pt x="425" y="158"/>
                    <a:pt x="425" y="158"/>
                  </a:cubicBezTo>
                  <a:cubicBezTo>
                    <a:pt x="411" y="157"/>
                    <a:pt x="411" y="157"/>
                    <a:pt x="411" y="157"/>
                  </a:cubicBezTo>
                  <a:cubicBezTo>
                    <a:pt x="411" y="147"/>
                    <a:pt x="411" y="147"/>
                    <a:pt x="411" y="147"/>
                  </a:cubicBezTo>
                  <a:cubicBezTo>
                    <a:pt x="419" y="146"/>
                    <a:pt x="419" y="146"/>
                    <a:pt x="419" y="146"/>
                  </a:cubicBezTo>
                  <a:cubicBezTo>
                    <a:pt x="412" y="137"/>
                    <a:pt x="412" y="137"/>
                    <a:pt x="412" y="137"/>
                  </a:cubicBezTo>
                  <a:cubicBezTo>
                    <a:pt x="428" y="130"/>
                    <a:pt x="428" y="130"/>
                    <a:pt x="428" y="130"/>
                  </a:cubicBezTo>
                  <a:cubicBezTo>
                    <a:pt x="428" y="123"/>
                    <a:pt x="428" y="123"/>
                    <a:pt x="428" y="123"/>
                  </a:cubicBezTo>
                  <a:cubicBezTo>
                    <a:pt x="424" y="122"/>
                    <a:pt x="413" y="118"/>
                    <a:pt x="409" y="118"/>
                  </a:cubicBezTo>
                  <a:cubicBezTo>
                    <a:pt x="405" y="118"/>
                    <a:pt x="405" y="99"/>
                    <a:pt x="405" y="99"/>
                  </a:cubicBezTo>
                  <a:cubicBezTo>
                    <a:pt x="395" y="99"/>
                    <a:pt x="395" y="99"/>
                    <a:pt x="395" y="99"/>
                  </a:cubicBezTo>
                  <a:cubicBezTo>
                    <a:pt x="392" y="91"/>
                    <a:pt x="392" y="91"/>
                    <a:pt x="392" y="91"/>
                  </a:cubicBezTo>
                  <a:cubicBezTo>
                    <a:pt x="392" y="91"/>
                    <a:pt x="379" y="101"/>
                    <a:pt x="380" y="93"/>
                  </a:cubicBezTo>
                  <a:cubicBezTo>
                    <a:pt x="381" y="85"/>
                    <a:pt x="365" y="78"/>
                    <a:pt x="364" y="73"/>
                  </a:cubicBezTo>
                  <a:cubicBezTo>
                    <a:pt x="368" y="41"/>
                    <a:pt x="344" y="39"/>
                    <a:pt x="344" y="39"/>
                  </a:cubicBezTo>
                  <a:cubicBezTo>
                    <a:pt x="337" y="45"/>
                    <a:pt x="337" y="45"/>
                    <a:pt x="337" y="45"/>
                  </a:cubicBezTo>
                  <a:cubicBezTo>
                    <a:pt x="299" y="55"/>
                    <a:pt x="299" y="55"/>
                    <a:pt x="299" y="55"/>
                  </a:cubicBezTo>
                  <a:cubicBezTo>
                    <a:pt x="285" y="47"/>
                    <a:pt x="285" y="47"/>
                    <a:pt x="285" y="47"/>
                  </a:cubicBezTo>
                  <a:cubicBezTo>
                    <a:pt x="285" y="47"/>
                    <a:pt x="276" y="57"/>
                    <a:pt x="268" y="54"/>
                  </a:cubicBezTo>
                  <a:cubicBezTo>
                    <a:pt x="260" y="51"/>
                    <a:pt x="255" y="47"/>
                    <a:pt x="248" y="43"/>
                  </a:cubicBezTo>
                  <a:cubicBezTo>
                    <a:pt x="241" y="39"/>
                    <a:pt x="239" y="51"/>
                    <a:pt x="239" y="51"/>
                  </a:cubicBezTo>
                  <a:cubicBezTo>
                    <a:pt x="233" y="41"/>
                    <a:pt x="233" y="41"/>
                    <a:pt x="233" y="41"/>
                  </a:cubicBezTo>
                  <a:cubicBezTo>
                    <a:pt x="233" y="41"/>
                    <a:pt x="215" y="49"/>
                    <a:pt x="220" y="45"/>
                  </a:cubicBezTo>
                  <a:cubicBezTo>
                    <a:pt x="225" y="41"/>
                    <a:pt x="207" y="29"/>
                    <a:pt x="191" y="25"/>
                  </a:cubicBezTo>
                  <a:cubicBezTo>
                    <a:pt x="178" y="22"/>
                    <a:pt x="182" y="18"/>
                    <a:pt x="184" y="17"/>
                  </a:cubicBezTo>
                  <a:cubicBezTo>
                    <a:pt x="165" y="26"/>
                    <a:pt x="165" y="26"/>
                    <a:pt x="165" y="26"/>
                  </a:cubicBezTo>
                  <a:cubicBezTo>
                    <a:pt x="161" y="18"/>
                    <a:pt x="161" y="18"/>
                    <a:pt x="161" y="18"/>
                  </a:cubicBezTo>
                  <a:cubicBezTo>
                    <a:pt x="157" y="25"/>
                    <a:pt x="157" y="25"/>
                    <a:pt x="157" y="25"/>
                  </a:cubicBezTo>
                  <a:cubicBezTo>
                    <a:pt x="148" y="15"/>
                    <a:pt x="148" y="15"/>
                    <a:pt x="148" y="15"/>
                  </a:cubicBezTo>
                  <a:cubicBezTo>
                    <a:pt x="139" y="18"/>
                    <a:pt x="139" y="18"/>
                    <a:pt x="139" y="18"/>
                  </a:cubicBezTo>
                  <a:cubicBezTo>
                    <a:pt x="132" y="13"/>
                    <a:pt x="132" y="13"/>
                    <a:pt x="132" y="13"/>
                  </a:cubicBezTo>
                  <a:cubicBezTo>
                    <a:pt x="116" y="17"/>
                    <a:pt x="116" y="17"/>
                    <a:pt x="116" y="17"/>
                  </a:cubicBezTo>
                  <a:cubicBezTo>
                    <a:pt x="64" y="21"/>
                    <a:pt x="64" y="21"/>
                    <a:pt x="64" y="21"/>
                  </a:cubicBezTo>
                  <a:cubicBezTo>
                    <a:pt x="56" y="0"/>
                    <a:pt x="56" y="0"/>
                    <a:pt x="56" y="0"/>
                  </a:cubicBezTo>
                  <a:cubicBezTo>
                    <a:pt x="39" y="47"/>
                    <a:pt x="39" y="47"/>
                    <a:pt x="39" y="47"/>
                  </a:cubicBezTo>
                  <a:cubicBezTo>
                    <a:pt x="11" y="50"/>
                    <a:pt x="11" y="50"/>
                    <a:pt x="11" y="50"/>
                  </a:cubicBezTo>
                  <a:cubicBezTo>
                    <a:pt x="11" y="50"/>
                    <a:pt x="9" y="57"/>
                    <a:pt x="13" y="57"/>
                  </a:cubicBezTo>
                  <a:cubicBezTo>
                    <a:pt x="17" y="57"/>
                    <a:pt x="0" y="62"/>
                    <a:pt x="0" y="62"/>
                  </a:cubicBezTo>
                  <a:cubicBezTo>
                    <a:pt x="13" y="98"/>
                    <a:pt x="13" y="98"/>
                    <a:pt x="13" y="98"/>
                  </a:cubicBezTo>
                  <a:cubicBezTo>
                    <a:pt x="12" y="99"/>
                    <a:pt x="12" y="99"/>
                    <a:pt x="12" y="99"/>
                  </a:cubicBezTo>
                  <a:cubicBezTo>
                    <a:pt x="27" y="113"/>
                    <a:pt x="27" y="113"/>
                    <a:pt x="27" y="113"/>
                  </a:cubicBezTo>
                  <a:lnTo>
                    <a:pt x="23" y="12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4" name="Champagne-Ardenne" descr="© INSCALE GmbH, 05.05.2010&#10;http://www.presentationload.com/">
              <a:extLst>
                <a:ext uri="{FF2B5EF4-FFF2-40B4-BE49-F238E27FC236}">
                  <a16:creationId xmlns:a16="http://schemas.microsoft.com/office/drawing/2014/main" id="{42702F3F-420E-4857-A133-B4AD3E556CC4}"/>
                </a:ext>
              </a:extLst>
            </p:cNvPr>
            <p:cNvSpPr>
              <a:spLocks/>
            </p:cNvSpPr>
            <p:nvPr/>
          </p:nvSpPr>
          <p:spPr bwMode="gray">
            <a:xfrm>
              <a:off x="2008" y="466"/>
              <a:ext cx="578" cy="893"/>
            </a:xfrm>
            <a:custGeom>
              <a:avLst/>
              <a:gdLst/>
              <a:ahLst/>
              <a:cxnLst>
                <a:cxn ang="0">
                  <a:pos x="514" y="699"/>
                </a:cxn>
                <a:cxn ang="0">
                  <a:pos x="493" y="668"/>
                </a:cxn>
                <a:cxn ang="0">
                  <a:pos x="497" y="623"/>
                </a:cxn>
                <a:cxn ang="0">
                  <a:pos x="465" y="599"/>
                </a:cxn>
                <a:cxn ang="0">
                  <a:pos x="432" y="580"/>
                </a:cxn>
                <a:cxn ang="0">
                  <a:pos x="429" y="563"/>
                </a:cxn>
                <a:cxn ang="0">
                  <a:pos x="381" y="521"/>
                </a:cxn>
                <a:cxn ang="0">
                  <a:pos x="341" y="497"/>
                </a:cxn>
                <a:cxn ang="0">
                  <a:pos x="322" y="425"/>
                </a:cxn>
                <a:cxn ang="0">
                  <a:pos x="333" y="363"/>
                </a:cxn>
                <a:cxn ang="0">
                  <a:pos x="324" y="299"/>
                </a:cxn>
                <a:cxn ang="0">
                  <a:pos x="354" y="240"/>
                </a:cxn>
                <a:cxn ang="0">
                  <a:pos x="365" y="192"/>
                </a:cxn>
                <a:cxn ang="0">
                  <a:pos x="394" y="184"/>
                </a:cxn>
                <a:cxn ang="0">
                  <a:pos x="416" y="161"/>
                </a:cxn>
                <a:cxn ang="0">
                  <a:pos x="351" y="115"/>
                </a:cxn>
                <a:cxn ang="0">
                  <a:pos x="321" y="99"/>
                </a:cxn>
                <a:cxn ang="0">
                  <a:pos x="301" y="55"/>
                </a:cxn>
                <a:cxn ang="0">
                  <a:pos x="320" y="8"/>
                </a:cxn>
                <a:cxn ang="0">
                  <a:pos x="282" y="21"/>
                </a:cxn>
                <a:cxn ang="0">
                  <a:pos x="230" y="63"/>
                </a:cxn>
                <a:cxn ang="0">
                  <a:pos x="175" y="57"/>
                </a:cxn>
                <a:cxn ang="0">
                  <a:pos x="164" y="128"/>
                </a:cxn>
                <a:cxn ang="0">
                  <a:pos x="141" y="177"/>
                </a:cxn>
                <a:cxn ang="0">
                  <a:pos x="129" y="215"/>
                </a:cxn>
                <a:cxn ang="0">
                  <a:pos x="94" y="257"/>
                </a:cxn>
                <a:cxn ang="0">
                  <a:pos x="56" y="301"/>
                </a:cxn>
                <a:cxn ang="0">
                  <a:pos x="42" y="339"/>
                </a:cxn>
                <a:cxn ang="0">
                  <a:pos x="38" y="368"/>
                </a:cxn>
                <a:cxn ang="0">
                  <a:pos x="28" y="409"/>
                </a:cxn>
                <a:cxn ang="0">
                  <a:pos x="17" y="436"/>
                </a:cxn>
                <a:cxn ang="0">
                  <a:pos x="0" y="453"/>
                </a:cxn>
                <a:cxn ang="0">
                  <a:pos x="13" y="496"/>
                </a:cxn>
                <a:cxn ang="0">
                  <a:pos x="26" y="505"/>
                </a:cxn>
                <a:cxn ang="0">
                  <a:pos x="17" y="528"/>
                </a:cxn>
                <a:cxn ang="0">
                  <a:pos x="0" y="549"/>
                </a:cxn>
                <a:cxn ang="0">
                  <a:pos x="14" y="583"/>
                </a:cxn>
                <a:cxn ang="0">
                  <a:pos x="44" y="644"/>
                </a:cxn>
                <a:cxn ang="0">
                  <a:pos x="68" y="653"/>
                </a:cxn>
                <a:cxn ang="0">
                  <a:pos x="76" y="656"/>
                </a:cxn>
                <a:cxn ang="0">
                  <a:pos x="108" y="720"/>
                </a:cxn>
                <a:cxn ang="0">
                  <a:pos x="156" y="723"/>
                </a:cxn>
                <a:cxn ang="0">
                  <a:pos x="173" y="707"/>
                </a:cxn>
                <a:cxn ang="0">
                  <a:pos x="197" y="723"/>
                </a:cxn>
                <a:cxn ang="0">
                  <a:pos x="301" y="691"/>
                </a:cxn>
                <a:cxn ang="0">
                  <a:pos x="318" y="713"/>
                </a:cxn>
                <a:cxn ang="0">
                  <a:pos x="325" y="719"/>
                </a:cxn>
                <a:cxn ang="0">
                  <a:pos x="332" y="767"/>
                </a:cxn>
                <a:cxn ang="0">
                  <a:pos x="353" y="787"/>
                </a:cxn>
                <a:cxn ang="0">
                  <a:pos x="388" y="807"/>
                </a:cxn>
                <a:cxn ang="0">
                  <a:pos x="421" y="816"/>
                </a:cxn>
                <a:cxn ang="0">
                  <a:pos x="468" y="792"/>
                </a:cxn>
                <a:cxn ang="0">
                  <a:pos x="500" y="788"/>
                </a:cxn>
                <a:cxn ang="0">
                  <a:pos x="497" y="747"/>
                </a:cxn>
                <a:cxn ang="0">
                  <a:pos x="525" y="735"/>
                </a:cxn>
                <a:cxn ang="0">
                  <a:pos x="530" y="697"/>
                </a:cxn>
              </a:cxnLst>
              <a:rect l="0" t="0" r="r" b="b"/>
              <a:pathLst>
                <a:path w="536" h="828">
                  <a:moveTo>
                    <a:pt x="530" y="697"/>
                  </a:moveTo>
                  <a:cubicBezTo>
                    <a:pt x="517" y="701"/>
                    <a:pt x="517" y="701"/>
                    <a:pt x="517" y="701"/>
                  </a:cubicBezTo>
                  <a:cubicBezTo>
                    <a:pt x="514" y="699"/>
                    <a:pt x="514" y="699"/>
                    <a:pt x="514" y="699"/>
                  </a:cubicBezTo>
                  <a:cubicBezTo>
                    <a:pt x="514" y="701"/>
                    <a:pt x="514" y="701"/>
                    <a:pt x="514" y="701"/>
                  </a:cubicBezTo>
                  <a:cubicBezTo>
                    <a:pt x="513" y="681"/>
                    <a:pt x="513" y="681"/>
                    <a:pt x="513" y="681"/>
                  </a:cubicBezTo>
                  <a:cubicBezTo>
                    <a:pt x="493" y="668"/>
                    <a:pt x="493" y="668"/>
                    <a:pt x="493" y="668"/>
                  </a:cubicBezTo>
                  <a:cubicBezTo>
                    <a:pt x="476" y="664"/>
                    <a:pt x="476" y="664"/>
                    <a:pt x="476" y="664"/>
                  </a:cubicBezTo>
                  <a:cubicBezTo>
                    <a:pt x="486" y="652"/>
                    <a:pt x="486" y="652"/>
                    <a:pt x="486" y="652"/>
                  </a:cubicBezTo>
                  <a:cubicBezTo>
                    <a:pt x="486" y="652"/>
                    <a:pt x="486" y="628"/>
                    <a:pt x="497" y="623"/>
                  </a:cubicBezTo>
                  <a:cubicBezTo>
                    <a:pt x="490" y="612"/>
                    <a:pt x="490" y="612"/>
                    <a:pt x="490" y="612"/>
                  </a:cubicBezTo>
                  <a:cubicBezTo>
                    <a:pt x="481" y="611"/>
                    <a:pt x="481" y="611"/>
                    <a:pt x="481" y="611"/>
                  </a:cubicBezTo>
                  <a:cubicBezTo>
                    <a:pt x="481" y="611"/>
                    <a:pt x="481" y="588"/>
                    <a:pt x="465" y="599"/>
                  </a:cubicBezTo>
                  <a:cubicBezTo>
                    <a:pt x="452" y="576"/>
                    <a:pt x="452" y="576"/>
                    <a:pt x="452" y="576"/>
                  </a:cubicBezTo>
                  <a:cubicBezTo>
                    <a:pt x="452" y="576"/>
                    <a:pt x="442" y="573"/>
                    <a:pt x="436" y="577"/>
                  </a:cubicBezTo>
                  <a:cubicBezTo>
                    <a:pt x="435" y="579"/>
                    <a:pt x="434" y="581"/>
                    <a:pt x="432" y="580"/>
                  </a:cubicBezTo>
                  <a:cubicBezTo>
                    <a:pt x="433" y="579"/>
                    <a:pt x="434" y="578"/>
                    <a:pt x="436" y="577"/>
                  </a:cubicBezTo>
                  <a:cubicBezTo>
                    <a:pt x="436" y="574"/>
                    <a:pt x="434" y="571"/>
                    <a:pt x="434" y="571"/>
                  </a:cubicBezTo>
                  <a:cubicBezTo>
                    <a:pt x="429" y="563"/>
                    <a:pt x="429" y="563"/>
                    <a:pt x="429" y="563"/>
                  </a:cubicBezTo>
                  <a:cubicBezTo>
                    <a:pt x="441" y="557"/>
                    <a:pt x="441" y="557"/>
                    <a:pt x="441" y="557"/>
                  </a:cubicBezTo>
                  <a:cubicBezTo>
                    <a:pt x="441" y="557"/>
                    <a:pt x="400" y="521"/>
                    <a:pt x="383" y="521"/>
                  </a:cubicBezTo>
                  <a:cubicBezTo>
                    <a:pt x="383" y="522"/>
                    <a:pt x="382" y="522"/>
                    <a:pt x="381" y="521"/>
                  </a:cubicBezTo>
                  <a:cubicBezTo>
                    <a:pt x="382" y="521"/>
                    <a:pt x="382" y="521"/>
                    <a:pt x="383" y="521"/>
                  </a:cubicBezTo>
                  <a:cubicBezTo>
                    <a:pt x="384" y="518"/>
                    <a:pt x="349" y="491"/>
                    <a:pt x="349" y="491"/>
                  </a:cubicBezTo>
                  <a:cubicBezTo>
                    <a:pt x="341" y="497"/>
                    <a:pt x="341" y="497"/>
                    <a:pt x="341" y="497"/>
                  </a:cubicBezTo>
                  <a:cubicBezTo>
                    <a:pt x="342" y="457"/>
                    <a:pt x="342" y="457"/>
                    <a:pt x="342" y="457"/>
                  </a:cubicBezTo>
                  <a:cubicBezTo>
                    <a:pt x="316" y="439"/>
                    <a:pt x="316" y="439"/>
                    <a:pt x="316" y="439"/>
                  </a:cubicBezTo>
                  <a:cubicBezTo>
                    <a:pt x="322" y="425"/>
                    <a:pt x="322" y="425"/>
                    <a:pt x="322" y="425"/>
                  </a:cubicBezTo>
                  <a:cubicBezTo>
                    <a:pt x="320" y="404"/>
                    <a:pt x="320" y="404"/>
                    <a:pt x="320" y="404"/>
                  </a:cubicBezTo>
                  <a:cubicBezTo>
                    <a:pt x="320" y="404"/>
                    <a:pt x="344" y="395"/>
                    <a:pt x="342" y="385"/>
                  </a:cubicBezTo>
                  <a:cubicBezTo>
                    <a:pt x="341" y="376"/>
                    <a:pt x="344" y="357"/>
                    <a:pt x="333" y="363"/>
                  </a:cubicBezTo>
                  <a:cubicBezTo>
                    <a:pt x="336" y="359"/>
                    <a:pt x="320" y="313"/>
                    <a:pt x="320" y="313"/>
                  </a:cubicBezTo>
                  <a:cubicBezTo>
                    <a:pt x="330" y="305"/>
                    <a:pt x="330" y="305"/>
                    <a:pt x="330" y="305"/>
                  </a:cubicBezTo>
                  <a:cubicBezTo>
                    <a:pt x="324" y="299"/>
                    <a:pt x="324" y="299"/>
                    <a:pt x="324" y="299"/>
                  </a:cubicBezTo>
                  <a:cubicBezTo>
                    <a:pt x="341" y="287"/>
                    <a:pt x="341" y="287"/>
                    <a:pt x="341" y="287"/>
                  </a:cubicBezTo>
                  <a:cubicBezTo>
                    <a:pt x="341" y="287"/>
                    <a:pt x="333" y="275"/>
                    <a:pt x="337" y="269"/>
                  </a:cubicBezTo>
                  <a:cubicBezTo>
                    <a:pt x="341" y="264"/>
                    <a:pt x="354" y="240"/>
                    <a:pt x="354" y="240"/>
                  </a:cubicBezTo>
                  <a:cubicBezTo>
                    <a:pt x="354" y="240"/>
                    <a:pt x="354" y="225"/>
                    <a:pt x="342" y="211"/>
                  </a:cubicBezTo>
                  <a:cubicBezTo>
                    <a:pt x="346" y="213"/>
                    <a:pt x="348" y="187"/>
                    <a:pt x="348" y="187"/>
                  </a:cubicBezTo>
                  <a:cubicBezTo>
                    <a:pt x="365" y="192"/>
                    <a:pt x="365" y="192"/>
                    <a:pt x="365" y="192"/>
                  </a:cubicBezTo>
                  <a:cubicBezTo>
                    <a:pt x="374" y="192"/>
                    <a:pt x="374" y="192"/>
                    <a:pt x="374" y="192"/>
                  </a:cubicBezTo>
                  <a:cubicBezTo>
                    <a:pt x="386" y="199"/>
                    <a:pt x="386" y="199"/>
                    <a:pt x="386" y="199"/>
                  </a:cubicBezTo>
                  <a:cubicBezTo>
                    <a:pt x="394" y="184"/>
                    <a:pt x="394" y="184"/>
                    <a:pt x="394" y="184"/>
                  </a:cubicBezTo>
                  <a:cubicBezTo>
                    <a:pt x="408" y="183"/>
                    <a:pt x="408" y="183"/>
                    <a:pt x="408" y="183"/>
                  </a:cubicBezTo>
                  <a:cubicBezTo>
                    <a:pt x="420" y="162"/>
                    <a:pt x="420" y="162"/>
                    <a:pt x="420" y="162"/>
                  </a:cubicBezTo>
                  <a:cubicBezTo>
                    <a:pt x="417" y="162"/>
                    <a:pt x="416" y="161"/>
                    <a:pt x="416" y="161"/>
                  </a:cubicBezTo>
                  <a:cubicBezTo>
                    <a:pt x="420" y="146"/>
                    <a:pt x="412" y="145"/>
                    <a:pt x="412" y="145"/>
                  </a:cubicBezTo>
                  <a:cubicBezTo>
                    <a:pt x="412" y="145"/>
                    <a:pt x="402" y="139"/>
                    <a:pt x="385" y="140"/>
                  </a:cubicBezTo>
                  <a:cubicBezTo>
                    <a:pt x="369" y="118"/>
                    <a:pt x="358" y="115"/>
                    <a:pt x="351" y="115"/>
                  </a:cubicBezTo>
                  <a:cubicBezTo>
                    <a:pt x="346" y="106"/>
                    <a:pt x="344" y="108"/>
                    <a:pt x="334" y="109"/>
                  </a:cubicBezTo>
                  <a:cubicBezTo>
                    <a:pt x="325" y="118"/>
                    <a:pt x="316" y="104"/>
                    <a:pt x="316" y="104"/>
                  </a:cubicBezTo>
                  <a:cubicBezTo>
                    <a:pt x="321" y="99"/>
                    <a:pt x="321" y="99"/>
                    <a:pt x="321" y="99"/>
                  </a:cubicBezTo>
                  <a:cubicBezTo>
                    <a:pt x="321" y="99"/>
                    <a:pt x="319" y="96"/>
                    <a:pt x="315" y="89"/>
                  </a:cubicBezTo>
                  <a:cubicBezTo>
                    <a:pt x="322" y="83"/>
                    <a:pt x="321" y="72"/>
                    <a:pt x="321" y="72"/>
                  </a:cubicBezTo>
                  <a:cubicBezTo>
                    <a:pt x="321" y="72"/>
                    <a:pt x="296" y="57"/>
                    <a:pt x="301" y="55"/>
                  </a:cubicBezTo>
                  <a:cubicBezTo>
                    <a:pt x="306" y="53"/>
                    <a:pt x="311" y="35"/>
                    <a:pt x="311" y="35"/>
                  </a:cubicBezTo>
                  <a:cubicBezTo>
                    <a:pt x="308" y="25"/>
                    <a:pt x="308" y="25"/>
                    <a:pt x="308" y="25"/>
                  </a:cubicBezTo>
                  <a:cubicBezTo>
                    <a:pt x="308" y="25"/>
                    <a:pt x="319" y="13"/>
                    <a:pt x="320" y="8"/>
                  </a:cubicBezTo>
                  <a:cubicBezTo>
                    <a:pt x="321" y="3"/>
                    <a:pt x="311" y="0"/>
                    <a:pt x="303" y="0"/>
                  </a:cubicBezTo>
                  <a:cubicBezTo>
                    <a:pt x="295" y="0"/>
                    <a:pt x="289" y="17"/>
                    <a:pt x="289" y="17"/>
                  </a:cubicBezTo>
                  <a:cubicBezTo>
                    <a:pt x="289" y="17"/>
                    <a:pt x="286" y="17"/>
                    <a:pt x="282" y="21"/>
                  </a:cubicBezTo>
                  <a:cubicBezTo>
                    <a:pt x="278" y="25"/>
                    <a:pt x="280" y="45"/>
                    <a:pt x="279" y="49"/>
                  </a:cubicBezTo>
                  <a:cubicBezTo>
                    <a:pt x="278" y="53"/>
                    <a:pt x="263" y="50"/>
                    <a:pt x="254" y="49"/>
                  </a:cubicBezTo>
                  <a:cubicBezTo>
                    <a:pt x="249" y="63"/>
                    <a:pt x="236" y="63"/>
                    <a:pt x="230" y="63"/>
                  </a:cubicBezTo>
                  <a:cubicBezTo>
                    <a:pt x="224" y="63"/>
                    <a:pt x="207" y="56"/>
                    <a:pt x="199" y="55"/>
                  </a:cubicBezTo>
                  <a:cubicBezTo>
                    <a:pt x="191" y="54"/>
                    <a:pt x="187" y="59"/>
                    <a:pt x="181" y="60"/>
                  </a:cubicBezTo>
                  <a:cubicBezTo>
                    <a:pt x="179" y="61"/>
                    <a:pt x="176" y="59"/>
                    <a:pt x="175" y="57"/>
                  </a:cubicBezTo>
                  <a:cubicBezTo>
                    <a:pt x="174" y="57"/>
                    <a:pt x="174" y="58"/>
                    <a:pt x="174" y="58"/>
                  </a:cubicBezTo>
                  <a:cubicBezTo>
                    <a:pt x="160" y="78"/>
                    <a:pt x="169" y="91"/>
                    <a:pt x="169" y="91"/>
                  </a:cubicBezTo>
                  <a:cubicBezTo>
                    <a:pt x="164" y="128"/>
                    <a:pt x="164" y="128"/>
                    <a:pt x="164" y="128"/>
                  </a:cubicBezTo>
                  <a:cubicBezTo>
                    <a:pt x="170" y="135"/>
                    <a:pt x="170" y="135"/>
                    <a:pt x="170" y="135"/>
                  </a:cubicBezTo>
                  <a:cubicBezTo>
                    <a:pt x="148" y="163"/>
                    <a:pt x="148" y="163"/>
                    <a:pt x="148" y="163"/>
                  </a:cubicBezTo>
                  <a:cubicBezTo>
                    <a:pt x="141" y="177"/>
                    <a:pt x="141" y="177"/>
                    <a:pt x="141" y="177"/>
                  </a:cubicBezTo>
                  <a:cubicBezTo>
                    <a:pt x="125" y="179"/>
                    <a:pt x="125" y="179"/>
                    <a:pt x="125" y="179"/>
                  </a:cubicBezTo>
                  <a:cubicBezTo>
                    <a:pt x="137" y="208"/>
                    <a:pt x="137" y="208"/>
                    <a:pt x="137" y="208"/>
                  </a:cubicBezTo>
                  <a:cubicBezTo>
                    <a:pt x="129" y="215"/>
                    <a:pt x="129" y="215"/>
                    <a:pt x="129" y="215"/>
                  </a:cubicBezTo>
                  <a:cubicBezTo>
                    <a:pt x="129" y="215"/>
                    <a:pt x="134" y="264"/>
                    <a:pt x="129" y="264"/>
                  </a:cubicBezTo>
                  <a:cubicBezTo>
                    <a:pt x="124" y="264"/>
                    <a:pt x="105" y="251"/>
                    <a:pt x="105" y="251"/>
                  </a:cubicBezTo>
                  <a:cubicBezTo>
                    <a:pt x="94" y="257"/>
                    <a:pt x="94" y="257"/>
                    <a:pt x="94" y="257"/>
                  </a:cubicBezTo>
                  <a:cubicBezTo>
                    <a:pt x="94" y="257"/>
                    <a:pt x="93" y="267"/>
                    <a:pt x="89" y="268"/>
                  </a:cubicBezTo>
                  <a:cubicBezTo>
                    <a:pt x="72" y="263"/>
                    <a:pt x="50" y="281"/>
                    <a:pt x="50" y="281"/>
                  </a:cubicBezTo>
                  <a:cubicBezTo>
                    <a:pt x="56" y="301"/>
                    <a:pt x="56" y="301"/>
                    <a:pt x="56" y="301"/>
                  </a:cubicBezTo>
                  <a:cubicBezTo>
                    <a:pt x="50" y="312"/>
                    <a:pt x="50" y="312"/>
                    <a:pt x="50" y="312"/>
                  </a:cubicBezTo>
                  <a:cubicBezTo>
                    <a:pt x="69" y="328"/>
                    <a:pt x="69" y="328"/>
                    <a:pt x="69" y="328"/>
                  </a:cubicBezTo>
                  <a:cubicBezTo>
                    <a:pt x="69" y="328"/>
                    <a:pt x="45" y="333"/>
                    <a:pt x="42" y="339"/>
                  </a:cubicBezTo>
                  <a:cubicBezTo>
                    <a:pt x="40" y="344"/>
                    <a:pt x="48" y="356"/>
                    <a:pt x="48" y="356"/>
                  </a:cubicBezTo>
                  <a:cubicBezTo>
                    <a:pt x="40" y="363"/>
                    <a:pt x="40" y="363"/>
                    <a:pt x="40" y="363"/>
                  </a:cubicBezTo>
                  <a:cubicBezTo>
                    <a:pt x="38" y="368"/>
                    <a:pt x="38" y="368"/>
                    <a:pt x="38" y="368"/>
                  </a:cubicBezTo>
                  <a:cubicBezTo>
                    <a:pt x="38" y="368"/>
                    <a:pt x="50" y="367"/>
                    <a:pt x="57" y="372"/>
                  </a:cubicBezTo>
                  <a:cubicBezTo>
                    <a:pt x="64" y="377"/>
                    <a:pt x="34" y="407"/>
                    <a:pt x="34" y="407"/>
                  </a:cubicBezTo>
                  <a:cubicBezTo>
                    <a:pt x="28" y="409"/>
                    <a:pt x="28" y="409"/>
                    <a:pt x="28" y="409"/>
                  </a:cubicBezTo>
                  <a:cubicBezTo>
                    <a:pt x="18" y="429"/>
                    <a:pt x="18" y="429"/>
                    <a:pt x="18" y="429"/>
                  </a:cubicBezTo>
                  <a:cubicBezTo>
                    <a:pt x="18" y="429"/>
                    <a:pt x="18" y="429"/>
                    <a:pt x="17" y="429"/>
                  </a:cubicBezTo>
                  <a:cubicBezTo>
                    <a:pt x="17" y="436"/>
                    <a:pt x="17" y="436"/>
                    <a:pt x="17" y="436"/>
                  </a:cubicBezTo>
                  <a:cubicBezTo>
                    <a:pt x="1" y="443"/>
                    <a:pt x="1" y="443"/>
                    <a:pt x="1" y="443"/>
                  </a:cubicBezTo>
                  <a:cubicBezTo>
                    <a:pt x="8" y="452"/>
                    <a:pt x="8" y="452"/>
                    <a:pt x="8" y="452"/>
                  </a:cubicBezTo>
                  <a:cubicBezTo>
                    <a:pt x="0" y="453"/>
                    <a:pt x="0" y="453"/>
                    <a:pt x="0" y="453"/>
                  </a:cubicBezTo>
                  <a:cubicBezTo>
                    <a:pt x="0" y="463"/>
                    <a:pt x="0" y="463"/>
                    <a:pt x="0" y="463"/>
                  </a:cubicBezTo>
                  <a:cubicBezTo>
                    <a:pt x="14" y="464"/>
                    <a:pt x="14" y="464"/>
                    <a:pt x="14" y="464"/>
                  </a:cubicBezTo>
                  <a:cubicBezTo>
                    <a:pt x="13" y="496"/>
                    <a:pt x="13" y="496"/>
                    <a:pt x="13" y="496"/>
                  </a:cubicBezTo>
                  <a:cubicBezTo>
                    <a:pt x="29" y="497"/>
                    <a:pt x="29" y="497"/>
                    <a:pt x="29" y="497"/>
                  </a:cubicBezTo>
                  <a:cubicBezTo>
                    <a:pt x="37" y="507"/>
                    <a:pt x="37" y="507"/>
                    <a:pt x="37" y="507"/>
                  </a:cubicBezTo>
                  <a:cubicBezTo>
                    <a:pt x="26" y="505"/>
                    <a:pt x="26" y="505"/>
                    <a:pt x="26" y="505"/>
                  </a:cubicBezTo>
                  <a:cubicBezTo>
                    <a:pt x="25" y="516"/>
                    <a:pt x="25" y="516"/>
                    <a:pt x="25" y="516"/>
                  </a:cubicBezTo>
                  <a:cubicBezTo>
                    <a:pt x="13" y="516"/>
                    <a:pt x="13" y="516"/>
                    <a:pt x="13" y="516"/>
                  </a:cubicBezTo>
                  <a:cubicBezTo>
                    <a:pt x="17" y="528"/>
                    <a:pt x="17" y="528"/>
                    <a:pt x="17" y="528"/>
                  </a:cubicBezTo>
                  <a:cubicBezTo>
                    <a:pt x="2" y="531"/>
                    <a:pt x="2" y="531"/>
                    <a:pt x="2" y="531"/>
                  </a:cubicBezTo>
                  <a:cubicBezTo>
                    <a:pt x="9" y="540"/>
                    <a:pt x="9" y="540"/>
                    <a:pt x="9" y="540"/>
                  </a:cubicBezTo>
                  <a:cubicBezTo>
                    <a:pt x="0" y="549"/>
                    <a:pt x="0" y="549"/>
                    <a:pt x="0" y="549"/>
                  </a:cubicBezTo>
                  <a:cubicBezTo>
                    <a:pt x="4" y="575"/>
                    <a:pt x="4" y="575"/>
                    <a:pt x="4" y="575"/>
                  </a:cubicBezTo>
                  <a:cubicBezTo>
                    <a:pt x="8" y="585"/>
                    <a:pt x="8" y="585"/>
                    <a:pt x="8" y="585"/>
                  </a:cubicBezTo>
                  <a:cubicBezTo>
                    <a:pt x="14" y="583"/>
                    <a:pt x="14" y="583"/>
                    <a:pt x="14" y="583"/>
                  </a:cubicBezTo>
                  <a:cubicBezTo>
                    <a:pt x="14" y="583"/>
                    <a:pt x="41" y="593"/>
                    <a:pt x="41" y="608"/>
                  </a:cubicBezTo>
                  <a:cubicBezTo>
                    <a:pt x="45" y="613"/>
                    <a:pt x="45" y="613"/>
                    <a:pt x="45" y="613"/>
                  </a:cubicBezTo>
                  <a:cubicBezTo>
                    <a:pt x="45" y="613"/>
                    <a:pt x="53" y="635"/>
                    <a:pt x="44" y="644"/>
                  </a:cubicBezTo>
                  <a:cubicBezTo>
                    <a:pt x="53" y="641"/>
                    <a:pt x="53" y="641"/>
                    <a:pt x="53" y="641"/>
                  </a:cubicBezTo>
                  <a:cubicBezTo>
                    <a:pt x="62" y="656"/>
                    <a:pt x="62" y="656"/>
                    <a:pt x="62" y="656"/>
                  </a:cubicBezTo>
                  <a:cubicBezTo>
                    <a:pt x="68" y="653"/>
                    <a:pt x="68" y="653"/>
                    <a:pt x="68" y="653"/>
                  </a:cubicBezTo>
                  <a:cubicBezTo>
                    <a:pt x="68" y="644"/>
                    <a:pt x="68" y="644"/>
                    <a:pt x="68" y="644"/>
                  </a:cubicBezTo>
                  <a:cubicBezTo>
                    <a:pt x="76" y="645"/>
                    <a:pt x="76" y="645"/>
                    <a:pt x="76" y="645"/>
                  </a:cubicBezTo>
                  <a:cubicBezTo>
                    <a:pt x="76" y="656"/>
                    <a:pt x="76" y="656"/>
                    <a:pt x="76" y="656"/>
                  </a:cubicBezTo>
                  <a:cubicBezTo>
                    <a:pt x="76" y="656"/>
                    <a:pt x="85" y="664"/>
                    <a:pt x="94" y="684"/>
                  </a:cubicBezTo>
                  <a:cubicBezTo>
                    <a:pt x="104" y="704"/>
                    <a:pt x="102" y="708"/>
                    <a:pt x="112" y="700"/>
                  </a:cubicBezTo>
                  <a:cubicBezTo>
                    <a:pt x="112" y="703"/>
                    <a:pt x="108" y="720"/>
                    <a:pt x="108" y="720"/>
                  </a:cubicBezTo>
                  <a:cubicBezTo>
                    <a:pt x="142" y="721"/>
                    <a:pt x="142" y="721"/>
                    <a:pt x="142" y="721"/>
                  </a:cubicBezTo>
                  <a:cubicBezTo>
                    <a:pt x="144" y="716"/>
                    <a:pt x="144" y="716"/>
                    <a:pt x="144" y="716"/>
                  </a:cubicBezTo>
                  <a:cubicBezTo>
                    <a:pt x="156" y="723"/>
                    <a:pt x="156" y="723"/>
                    <a:pt x="156" y="723"/>
                  </a:cubicBezTo>
                  <a:cubicBezTo>
                    <a:pt x="169" y="712"/>
                    <a:pt x="169" y="712"/>
                    <a:pt x="169" y="712"/>
                  </a:cubicBezTo>
                  <a:cubicBezTo>
                    <a:pt x="176" y="716"/>
                    <a:pt x="176" y="716"/>
                    <a:pt x="176" y="716"/>
                  </a:cubicBezTo>
                  <a:cubicBezTo>
                    <a:pt x="173" y="707"/>
                    <a:pt x="173" y="707"/>
                    <a:pt x="173" y="707"/>
                  </a:cubicBezTo>
                  <a:cubicBezTo>
                    <a:pt x="182" y="707"/>
                    <a:pt x="182" y="707"/>
                    <a:pt x="182" y="707"/>
                  </a:cubicBezTo>
                  <a:cubicBezTo>
                    <a:pt x="188" y="720"/>
                    <a:pt x="188" y="720"/>
                    <a:pt x="188" y="720"/>
                  </a:cubicBezTo>
                  <a:cubicBezTo>
                    <a:pt x="197" y="723"/>
                    <a:pt x="197" y="723"/>
                    <a:pt x="197" y="723"/>
                  </a:cubicBezTo>
                  <a:cubicBezTo>
                    <a:pt x="197" y="711"/>
                    <a:pt x="197" y="711"/>
                    <a:pt x="197" y="711"/>
                  </a:cubicBezTo>
                  <a:cubicBezTo>
                    <a:pt x="252" y="709"/>
                    <a:pt x="252" y="709"/>
                    <a:pt x="252" y="709"/>
                  </a:cubicBezTo>
                  <a:cubicBezTo>
                    <a:pt x="252" y="709"/>
                    <a:pt x="220" y="675"/>
                    <a:pt x="301" y="691"/>
                  </a:cubicBezTo>
                  <a:cubicBezTo>
                    <a:pt x="300" y="708"/>
                    <a:pt x="300" y="708"/>
                    <a:pt x="300" y="708"/>
                  </a:cubicBezTo>
                  <a:cubicBezTo>
                    <a:pt x="313" y="708"/>
                    <a:pt x="313" y="708"/>
                    <a:pt x="313" y="708"/>
                  </a:cubicBezTo>
                  <a:cubicBezTo>
                    <a:pt x="318" y="713"/>
                    <a:pt x="318" y="713"/>
                    <a:pt x="318" y="713"/>
                  </a:cubicBezTo>
                  <a:cubicBezTo>
                    <a:pt x="312" y="721"/>
                    <a:pt x="312" y="721"/>
                    <a:pt x="312" y="721"/>
                  </a:cubicBezTo>
                  <a:cubicBezTo>
                    <a:pt x="318" y="725"/>
                    <a:pt x="318" y="725"/>
                    <a:pt x="318" y="725"/>
                  </a:cubicBezTo>
                  <a:cubicBezTo>
                    <a:pt x="325" y="719"/>
                    <a:pt x="325" y="719"/>
                    <a:pt x="325" y="719"/>
                  </a:cubicBezTo>
                  <a:cubicBezTo>
                    <a:pt x="325" y="719"/>
                    <a:pt x="336" y="740"/>
                    <a:pt x="342" y="748"/>
                  </a:cubicBezTo>
                  <a:cubicBezTo>
                    <a:pt x="332" y="766"/>
                    <a:pt x="332" y="766"/>
                    <a:pt x="332" y="766"/>
                  </a:cubicBezTo>
                  <a:cubicBezTo>
                    <a:pt x="332" y="767"/>
                    <a:pt x="332" y="767"/>
                    <a:pt x="332" y="767"/>
                  </a:cubicBezTo>
                  <a:cubicBezTo>
                    <a:pt x="341" y="769"/>
                    <a:pt x="341" y="769"/>
                    <a:pt x="341" y="769"/>
                  </a:cubicBezTo>
                  <a:cubicBezTo>
                    <a:pt x="341" y="792"/>
                    <a:pt x="341" y="792"/>
                    <a:pt x="341" y="792"/>
                  </a:cubicBezTo>
                  <a:cubicBezTo>
                    <a:pt x="353" y="787"/>
                    <a:pt x="353" y="787"/>
                    <a:pt x="353" y="787"/>
                  </a:cubicBezTo>
                  <a:cubicBezTo>
                    <a:pt x="353" y="787"/>
                    <a:pt x="365" y="801"/>
                    <a:pt x="374" y="801"/>
                  </a:cubicBezTo>
                  <a:cubicBezTo>
                    <a:pt x="384" y="801"/>
                    <a:pt x="388" y="797"/>
                    <a:pt x="388" y="797"/>
                  </a:cubicBezTo>
                  <a:cubicBezTo>
                    <a:pt x="388" y="807"/>
                    <a:pt x="388" y="807"/>
                    <a:pt x="388" y="807"/>
                  </a:cubicBezTo>
                  <a:cubicBezTo>
                    <a:pt x="404" y="815"/>
                    <a:pt x="404" y="815"/>
                    <a:pt x="404" y="815"/>
                  </a:cubicBezTo>
                  <a:cubicBezTo>
                    <a:pt x="404" y="828"/>
                    <a:pt x="404" y="828"/>
                    <a:pt x="404" y="828"/>
                  </a:cubicBezTo>
                  <a:cubicBezTo>
                    <a:pt x="421" y="816"/>
                    <a:pt x="421" y="816"/>
                    <a:pt x="421" y="816"/>
                  </a:cubicBezTo>
                  <a:cubicBezTo>
                    <a:pt x="421" y="816"/>
                    <a:pt x="426" y="819"/>
                    <a:pt x="430" y="819"/>
                  </a:cubicBezTo>
                  <a:cubicBezTo>
                    <a:pt x="434" y="819"/>
                    <a:pt x="438" y="791"/>
                    <a:pt x="438" y="791"/>
                  </a:cubicBezTo>
                  <a:cubicBezTo>
                    <a:pt x="468" y="792"/>
                    <a:pt x="468" y="792"/>
                    <a:pt x="468" y="792"/>
                  </a:cubicBezTo>
                  <a:cubicBezTo>
                    <a:pt x="469" y="785"/>
                    <a:pt x="469" y="785"/>
                    <a:pt x="469" y="785"/>
                  </a:cubicBezTo>
                  <a:cubicBezTo>
                    <a:pt x="481" y="793"/>
                    <a:pt x="481" y="793"/>
                    <a:pt x="481" y="793"/>
                  </a:cubicBezTo>
                  <a:cubicBezTo>
                    <a:pt x="500" y="788"/>
                    <a:pt x="500" y="788"/>
                    <a:pt x="500" y="788"/>
                  </a:cubicBezTo>
                  <a:cubicBezTo>
                    <a:pt x="502" y="757"/>
                    <a:pt x="502" y="757"/>
                    <a:pt x="502" y="757"/>
                  </a:cubicBezTo>
                  <a:cubicBezTo>
                    <a:pt x="492" y="757"/>
                    <a:pt x="492" y="757"/>
                    <a:pt x="492" y="757"/>
                  </a:cubicBezTo>
                  <a:cubicBezTo>
                    <a:pt x="497" y="747"/>
                    <a:pt x="497" y="747"/>
                    <a:pt x="497" y="747"/>
                  </a:cubicBezTo>
                  <a:cubicBezTo>
                    <a:pt x="505" y="748"/>
                    <a:pt x="505" y="748"/>
                    <a:pt x="505" y="748"/>
                  </a:cubicBezTo>
                  <a:cubicBezTo>
                    <a:pt x="512" y="733"/>
                    <a:pt x="512" y="733"/>
                    <a:pt x="512" y="733"/>
                  </a:cubicBezTo>
                  <a:cubicBezTo>
                    <a:pt x="525" y="735"/>
                    <a:pt x="525" y="735"/>
                    <a:pt x="525" y="735"/>
                  </a:cubicBezTo>
                  <a:cubicBezTo>
                    <a:pt x="528" y="720"/>
                    <a:pt x="528" y="720"/>
                    <a:pt x="528" y="720"/>
                  </a:cubicBezTo>
                  <a:cubicBezTo>
                    <a:pt x="536" y="715"/>
                    <a:pt x="536" y="715"/>
                    <a:pt x="536" y="715"/>
                  </a:cubicBezTo>
                  <a:lnTo>
                    <a:pt x="530" y="697"/>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5" name="Lorraine" descr="© INSCALE GmbH, 05.05.2010&#10;http://www.presentationload.com/">
              <a:extLst>
                <a:ext uri="{FF2B5EF4-FFF2-40B4-BE49-F238E27FC236}">
                  <a16:creationId xmlns:a16="http://schemas.microsoft.com/office/drawing/2014/main" id="{2ACB0F13-E462-48F4-A8B6-FD41570E9DC6}"/>
                </a:ext>
              </a:extLst>
            </p:cNvPr>
            <p:cNvSpPr>
              <a:spLocks/>
            </p:cNvSpPr>
            <p:nvPr/>
          </p:nvSpPr>
          <p:spPr bwMode="gray">
            <a:xfrm>
              <a:off x="2349" y="641"/>
              <a:ext cx="619" cy="618"/>
            </a:xfrm>
            <a:custGeom>
              <a:avLst/>
              <a:gdLst/>
              <a:ahLst/>
              <a:cxnLst>
                <a:cxn ang="0">
                  <a:pos x="552" y="140"/>
                </a:cxn>
                <a:cxn ang="0">
                  <a:pos x="524" y="152"/>
                </a:cxn>
                <a:cxn ang="0">
                  <a:pos x="482" y="143"/>
                </a:cxn>
                <a:cxn ang="0">
                  <a:pos x="464" y="142"/>
                </a:cxn>
                <a:cxn ang="0">
                  <a:pos x="429" y="124"/>
                </a:cxn>
                <a:cxn ang="0">
                  <a:pos x="423" y="143"/>
                </a:cxn>
                <a:cxn ang="0">
                  <a:pos x="395" y="131"/>
                </a:cxn>
                <a:cxn ang="0">
                  <a:pos x="388" y="114"/>
                </a:cxn>
                <a:cxn ang="0">
                  <a:pos x="365" y="84"/>
                </a:cxn>
                <a:cxn ang="0">
                  <a:pos x="368" y="71"/>
                </a:cxn>
                <a:cxn ang="0">
                  <a:pos x="333" y="43"/>
                </a:cxn>
                <a:cxn ang="0">
                  <a:pos x="281" y="38"/>
                </a:cxn>
                <a:cxn ang="0">
                  <a:pos x="233" y="36"/>
                </a:cxn>
                <a:cxn ang="0">
                  <a:pos x="191" y="20"/>
                </a:cxn>
                <a:cxn ang="0">
                  <a:pos x="165" y="33"/>
                </a:cxn>
                <a:cxn ang="0">
                  <a:pos x="128" y="21"/>
                </a:cxn>
                <a:cxn ang="0">
                  <a:pos x="92" y="21"/>
                </a:cxn>
                <a:cxn ang="0">
                  <a:pos x="70" y="37"/>
                </a:cxn>
                <a:cxn ang="0">
                  <a:pos x="49" y="30"/>
                </a:cxn>
                <a:cxn ang="0">
                  <a:pos x="26" y="49"/>
                </a:cxn>
                <a:cxn ang="0">
                  <a:pos x="21" y="107"/>
                </a:cxn>
                <a:cxn ang="0">
                  <a:pos x="8" y="137"/>
                </a:cxn>
                <a:cxn ang="0">
                  <a:pos x="4" y="151"/>
                </a:cxn>
                <a:cxn ang="0">
                  <a:pos x="26" y="223"/>
                </a:cxn>
                <a:cxn ang="0">
                  <a:pos x="6" y="263"/>
                </a:cxn>
                <a:cxn ang="0">
                  <a:pos x="26" y="295"/>
                </a:cxn>
                <a:cxn ang="0">
                  <a:pos x="33" y="329"/>
                </a:cxn>
                <a:cxn ang="0">
                  <a:pos x="125" y="395"/>
                </a:cxn>
                <a:cxn ang="0">
                  <a:pos x="118" y="409"/>
                </a:cxn>
                <a:cxn ang="0">
                  <a:pos x="136" y="414"/>
                </a:cxn>
                <a:cxn ang="0">
                  <a:pos x="165" y="449"/>
                </a:cxn>
                <a:cxn ang="0">
                  <a:pos x="181" y="461"/>
                </a:cxn>
                <a:cxn ang="0">
                  <a:pos x="160" y="502"/>
                </a:cxn>
                <a:cxn ang="0">
                  <a:pos x="197" y="519"/>
                </a:cxn>
                <a:cxn ang="0">
                  <a:pos x="201" y="539"/>
                </a:cxn>
                <a:cxn ang="0">
                  <a:pos x="217" y="544"/>
                </a:cxn>
                <a:cxn ang="0">
                  <a:pos x="234" y="534"/>
                </a:cxn>
                <a:cxn ang="0">
                  <a:pos x="244" y="537"/>
                </a:cxn>
                <a:cxn ang="0">
                  <a:pos x="274" y="517"/>
                </a:cxn>
                <a:cxn ang="0">
                  <a:pos x="286" y="534"/>
                </a:cxn>
                <a:cxn ang="0">
                  <a:pos x="337" y="537"/>
                </a:cxn>
                <a:cxn ang="0">
                  <a:pos x="372" y="537"/>
                </a:cxn>
                <a:cxn ang="0">
                  <a:pos x="414" y="562"/>
                </a:cxn>
                <a:cxn ang="0">
                  <a:pos x="442" y="559"/>
                </a:cxn>
                <a:cxn ang="0">
                  <a:pos x="441" y="545"/>
                </a:cxn>
                <a:cxn ang="0">
                  <a:pos x="472" y="470"/>
                </a:cxn>
                <a:cxn ang="0">
                  <a:pos x="490" y="411"/>
                </a:cxn>
                <a:cxn ang="0">
                  <a:pos x="469" y="399"/>
                </a:cxn>
                <a:cxn ang="0">
                  <a:pos x="458" y="343"/>
                </a:cxn>
                <a:cxn ang="0">
                  <a:pos x="508" y="299"/>
                </a:cxn>
                <a:cxn ang="0">
                  <a:pos x="477" y="242"/>
                </a:cxn>
                <a:cxn ang="0">
                  <a:pos x="449" y="243"/>
                </a:cxn>
                <a:cxn ang="0">
                  <a:pos x="429" y="223"/>
                </a:cxn>
                <a:cxn ang="0">
                  <a:pos x="450" y="166"/>
                </a:cxn>
                <a:cxn ang="0">
                  <a:pos x="465" y="189"/>
                </a:cxn>
                <a:cxn ang="0">
                  <a:pos x="533" y="197"/>
                </a:cxn>
                <a:cxn ang="0">
                  <a:pos x="563" y="150"/>
                </a:cxn>
              </a:cxnLst>
              <a:rect l="0" t="0" r="r" b="b"/>
              <a:pathLst>
                <a:path w="574" h="573">
                  <a:moveTo>
                    <a:pt x="563" y="150"/>
                  </a:moveTo>
                  <a:cubicBezTo>
                    <a:pt x="569" y="145"/>
                    <a:pt x="561" y="142"/>
                    <a:pt x="552" y="140"/>
                  </a:cubicBezTo>
                  <a:cubicBezTo>
                    <a:pt x="542" y="130"/>
                    <a:pt x="536" y="147"/>
                    <a:pt x="536" y="147"/>
                  </a:cubicBezTo>
                  <a:cubicBezTo>
                    <a:pt x="524" y="152"/>
                    <a:pt x="524" y="152"/>
                    <a:pt x="524" y="152"/>
                  </a:cubicBezTo>
                  <a:cubicBezTo>
                    <a:pt x="489" y="154"/>
                    <a:pt x="489" y="154"/>
                    <a:pt x="489" y="154"/>
                  </a:cubicBezTo>
                  <a:cubicBezTo>
                    <a:pt x="482" y="143"/>
                    <a:pt x="482" y="143"/>
                    <a:pt x="482" y="143"/>
                  </a:cubicBezTo>
                  <a:cubicBezTo>
                    <a:pt x="471" y="154"/>
                    <a:pt x="471" y="154"/>
                    <a:pt x="471" y="154"/>
                  </a:cubicBezTo>
                  <a:cubicBezTo>
                    <a:pt x="464" y="142"/>
                    <a:pt x="464" y="142"/>
                    <a:pt x="464" y="142"/>
                  </a:cubicBezTo>
                  <a:cubicBezTo>
                    <a:pt x="464" y="122"/>
                    <a:pt x="438" y="126"/>
                    <a:pt x="438" y="126"/>
                  </a:cubicBezTo>
                  <a:cubicBezTo>
                    <a:pt x="429" y="124"/>
                    <a:pt x="429" y="124"/>
                    <a:pt x="429" y="124"/>
                  </a:cubicBezTo>
                  <a:cubicBezTo>
                    <a:pt x="431" y="135"/>
                    <a:pt x="431" y="135"/>
                    <a:pt x="431" y="135"/>
                  </a:cubicBezTo>
                  <a:cubicBezTo>
                    <a:pt x="423" y="143"/>
                    <a:pt x="423" y="143"/>
                    <a:pt x="423" y="143"/>
                  </a:cubicBezTo>
                  <a:cubicBezTo>
                    <a:pt x="419" y="140"/>
                    <a:pt x="419" y="140"/>
                    <a:pt x="419" y="140"/>
                  </a:cubicBezTo>
                  <a:cubicBezTo>
                    <a:pt x="397" y="145"/>
                    <a:pt x="395" y="131"/>
                    <a:pt x="395" y="131"/>
                  </a:cubicBezTo>
                  <a:cubicBezTo>
                    <a:pt x="403" y="125"/>
                    <a:pt x="397" y="121"/>
                    <a:pt x="397" y="121"/>
                  </a:cubicBezTo>
                  <a:cubicBezTo>
                    <a:pt x="392" y="126"/>
                    <a:pt x="388" y="114"/>
                    <a:pt x="388" y="114"/>
                  </a:cubicBezTo>
                  <a:cubicBezTo>
                    <a:pt x="389" y="107"/>
                    <a:pt x="377" y="99"/>
                    <a:pt x="370" y="96"/>
                  </a:cubicBezTo>
                  <a:cubicBezTo>
                    <a:pt x="370" y="88"/>
                    <a:pt x="365" y="84"/>
                    <a:pt x="365" y="84"/>
                  </a:cubicBezTo>
                  <a:cubicBezTo>
                    <a:pt x="371" y="79"/>
                    <a:pt x="371" y="79"/>
                    <a:pt x="371" y="79"/>
                  </a:cubicBezTo>
                  <a:cubicBezTo>
                    <a:pt x="368" y="71"/>
                    <a:pt x="368" y="71"/>
                    <a:pt x="368" y="71"/>
                  </a:cubicBezTo>
                  <a:cubicBezTo>
                    <a:pt x="361" y="71"/>
                    <a:pt x="358" y="59"/>
                    <a:pt x="358" y="59"/>
                  </a:cubicBezTo>
                  <a:cubicBezTo>
                    <a:pt x="333" y="43"/>
                    <a:pt x="333" y="43"/>
                    <a:pt x="333" y="43"/>
                  </a:cubicBezTo>
                  <a:cubicBezTo>
                    <a:pt x="317" y="61"/>
                    <a:pt x="297" y="38"/>
                    <a:pt x="297" y="38"/>
                  </a:cubicBezTo>
                  <a:cubicBezTo>
                    <a:pt x="297" y="38"/>
                    <a:pt x="297" y="38"/>
                    <a:pt x="281" y="38"/>
                  </a:cubicBezTo>
                  <a:cubicBezTo>
                    <a:pt x="272" y="54"/>
                    <a:pt x="245" y="52"/>
                    <a:pt x="243" y="48"/>
                  </a:cubicBezTo>
                  <a:cubicBezTo>
                    <a:pt x="241" y="44"/>
                    <a:pt x="233" y="36"/>
                    <a:pt x="233" y="36"/>
                  </a:cubicBezTo>
                  <a:cubicBezTo>
                    <a:pt x="233" y="36"/>
                    <a:pt x="223" y="33"/>
                    <a:pt x="212" y="31"/>
                  </a:cubicBezTo>
                  <a:cubicBezTo>
                    <a:pt x="206" y="20"/>
                    <a:pt x="191" y="20"/>
                    <a:pt x="191" y="20"/>
                  </a:cubicBezTo>
                  <a:cubicBezTo>
                    <a:pt x="175" y="19"/>
                    <a:pt x="175" y="19"/>
                    <a:pt x="175" y="19"/>
                  </a:cubicBezTo>
                  <a:cubicBezTo>
                    <a:pt x="165" y="33"/>
                    <a:pt x="165" y="33"/>
                    <a:pt x="165" y="33"/>
                  </a:cubicBezTo>
                  <a:cubicBezTo>
                    <a:pt x="165" y="33"/>
                    <a:pt x="162" y="29"/>
                    <a:pt x="145" y="30"/>
                  </a:cubicBezTo>
                  <a:cubicBezTo>
                    <a:pt x="126" y="45"/>
                    <a:pt x="129" y="24"/>
                    <a:pt x="128" y="21"/>
                  </a:cubicBezTo>
                  <a:cubicBezTo>
                    <a:pt x="128" y="5"/>
                    <a:pt x="111" y="1"/>
                    <a:pt x="104" y="0"/>
                  </a:cubicBezTo>
                  <a:cubicBezTo>
                    <a:pt x="92" y="21"/>
                    <a:pt x="92" y="21"/>
                    <a:pt x="92" y="21"/>
                  </a:cubicBezTo>
                  <a:cubicBezTo>
                    <a:pt x="78" y="22"/>
                    <a:pt x="78" y="22"/>
                    <a:pt x="78" y="22"/>
                  </a:cubicBezTo>
                  <a:cubicBezTo>
                    <a:pt x="70" y="37"/>
                    <a:pt x="70" y="37"/>
                    <a:pt x="70" y="37"/>
                  </a:cubicBezTo>
                  <a:cubicBezTo>
                    <a:pt x="58" y="30"/>
                    <a:pt x="58" y="30"/>
                    <a:pt x="58" y="30"/>
                  </a:cubicBezTo>
                  <a:cubicBezTo>
                    <a:pt x="49" y="30"/>
                    <a:pt x="49" y="30"/>
                    <a:pt x="49" y="30"/>
                  </a:cubicBezTo>
                  <a:cubicBezTo>
                    <a:pt x="32" y="25"/>
                    <a:pt x="32" y="25"/>
                    <a:pt x="32" y="25"/>
                  </a:cubicBezTo>
                  <a:cubicBezTo>
                    <a:pt x="32" y="25"/>
                    <a:pt x="30" y="51"/>
                    <a:pt x="26" y="49"/>
                  </a:cubicBezTo>
                  <a:cubicBezTo>
                    <a:pt x="38" y="63"/>
                    <a:pt x="38" y="78"/>
                    <a:pt x="38" y="78"/>
                  </a:cubicBezTo>
                  <a:cubicBezTo>
                    <a:pt x="38" y="78"/>
                    <a:pt x="25" y="102"/>
                    <a:pt x="21" y="107"/>
                  </a:cubicBezTo>
                  <a:cubicBezTo>
                    <a:pt x="17" y="113"/>
                    <a:pt x="25" y="125"/>
                    <a:pt x="25" y="125"/>
                  </a:cubicBezTo>
                  <a:cubicBezTo>
                    <a:pt x="8" y="137"/>
                    <a:pt x="8" y="137"/>
                    <a:pt x="8" y="137"/>
                  </a:cubicBezTo>
                  <a:cubicBezTo>
                    <a:pt x="14" y="143"/>
                    <a:pt x="14" y="143"/>
                    <a:pt x="14" y="143"/>
                  </a:cubicBezTo>
                  <a:cubicBezTo>
                    <a:pt x="4" y="151"/>
                    <a:pt x="4" y="151"/>
                    <a:pt x="4" y="151"/>
                  </a:cubicBezTo>
                  <a:cubicBezTo>
                    <a:pt x="4" y="151"/>
                    <a:pt x="20" y="197"/>
                    <a:pt x="17" y="201"/>
                  </a:cubicBezTo>
                  <a:cubicBezTo>
                    <a:pt x="28" y="195"/>
                    <a:pt x="25" y="214"/>
                    <a:pt x="26" y="223"/>
                  </a:cubicBezTo>
                  <a:cubicBezTo>
                    <a:pt x="28" y="233"/>
                    <a:pt x="4" y="242"/>
                    <a:pt x="4" y="242"/>
                  </a:cubicBezTo>
                  <a:cubicBezTo>
                    <a:pt x="6" y="263"/>
                    <a:pt x="6" y="263"/>
                    <a:pt x="6" y="263"/>
                  </a:cubicBezTo>
                  <a:cubicBezTo>
                    <a:pt x="0" y="277"/>
                    <a:pt x="0" y="277"/>
                    <a:pt x="0" y="277"/>
                  </a:cubicBezTo>
                  <a:cubicBezTo>
                    <a:pt x="26" y="295"/>
                    <a:pt x="26" y="295"/>
                    <a:pt x="26" y="295"/>
                  </a:cubicBezTo>
                  <a:cubicBezTo>
                    <a:pt x="25" y="335"/>
                    <a:pt x="25" y="335"/>
                    <a:pt x="25" y="335"/>
                  </a:cubicBezTo>
                  <a:cubicBezTo>
                    <a:pt x="33" y="329"/>
                    <a:pt x="33" y="329"/>
                    <a:pt x="33" y="329"/>
                  </a:cubicBezTo>
                  <a:cubicBezTo>
                    <a:pt x="33" y="329"/>
                    <a:pt x="68" y="356"/>
                    <a:pt x="67" y="359"/>
                  </a:cubicBezTo>
                  <a:cubicBezTo>
                    <a:pt x="84" y="359"/>
                    <a:pt x="125" y="395"/>
                    <a:pt x="125" y="395"/>
                  </a:cubicBezTo>
                  <a:cubicBezTo>
                    <a:pt x="113" y="401"/>
                    <a:pt x="113" y="401"/>
                    <a:pt x="113" y="401"/>
                  </a:cubicBezTo>
                  <a:cubicBezTo>
                    <a:pt x="118" y="409"/>
                    <a:pt x="118" y="409"/>
                    <a:pt x="118" y="409"/>
                  </a:cubicBezTo>
                  <a:cubicBezTo>
                    <a:pt x="118" y="409"/>
                    <a:pt x="120" y="412"/>
                    <a:pt x="120" y="415"/>
                  </a:cubicBezTo>
                  <a:cubicBezTo>
                    <a:pt x="126" y="411"/>
                    <a:pt x="136" y="414"/>
                    <a:pt x="136" y="414"/>
                  </a:cubicBezTo>
                  <a:cubicBezTo>
                    <a:pt x="149" y="437"/>
                    <a:pt x="149" y="437"/>
                    <a:pt x="149" y="437"/>
                  </a:cubicBezTo>
                  <a:cubicBezTo>
                    <a:pt x="165" y="426"/>
                    <a:pt x="165" y="449"/>
                    <a:pt x="165" y="449"/>
                  </a:cubicBezTo>
                  <a:cubicBezTo>
                    <a:pt x="174" y="450"/>
                    <a:pt x="174" y="450"/>
                    <a:pt x="174" y="450"/>
                  </a:cubicBezTo>
                  <a:cubicBezTo>
                    <a:pt x="181" y="461"/>
                    <a:pt x="181" y="461"/>
                    <a:pt x="181" y="461"/>
                  </a:cubicBezTo>
                  <a:cubicBezTo>
                    <a:pt x="170" y="466"/>
                    <a:pt x="170" y="490"/>
                    <a:pt x="170" y="490"/>
                  </a:cubicBezTo>
                  <a:cubicBezTo>
                    <a:pt x="160" y="502"/>
                    <a:pt x="160" y="502"/>
                    <a:pt x="160" y="502"/>
                  </a:cubicBezTo>
                  <a:cubicBezTo>
                    <a:pt x="177" y="506"/>
                    <a:pt x="177" y="506"/>
                    <a:pt x="177" y="506"/>
                  </a:cubicBezTo>
                  <a:cubicBezTo>
                    <a:pt x="197" y="519"/>
                    <a:pt x="197" y="519"/>
                    <a:pt x="197" y="519"/>
                  </a:cubicBezTo>
                  <a:cubicBezTo>
                    <a:pt x="198" y="537"/>
                    <a:pt x="198" y="537"/>
                    <a:pt x="198" y="537"/>
                  </a:cubicBezTo>
                  <a:cubicBezTo>
                    <a:pt x="201" y="539"/>
                    <a:pt x="201" y="539"/>
                    <a:pt x="201" y="539"/>
                  </a:cubicBezTo>
                  <a:cubicBezTo>
                    <a:pt x="214" y="547"/>
                    <a:pt x="214" y="547"/>
                    <a:pt x="214" y="547"/>
                  </a:cubicBezTo>
                  <a:cubicBezTo>
                    <a:pt x="217" y="544"/>
                    <a:pt x="217" y="544"/>
                    <a:pt x="217" y="544"/>
                  </a:cubicBezTo>
                  <a:cubicBezTo>
                    <a:pt x="224" y="533"/>
                    <a:pt x="224" y="533"/>
                    <a:pt x="224" y="533"/>
                  </a:cubicBezTo>
                  <a:cubicBezTo>
                    <a:pt x="234" y="534"/>
                    <a:pt x="234" y="534"/>
                    <a:pt x="234" y="534"/>
                  </a:cubicBezTo>
                  <a:cubicBezTo>
                    <a:pt x="230" y="543"/>
                    <a:pt x="230" y="543"/>
                    <a:pt x="230" y="543"/>
                  </a:cubicBezTo>
                  <a:cubicBezTo>
                    <a:pt x="244" y="537"/>
                    <a:pt x="244" y="537"/>
                    <a:pt x="244" y="537"/>
                  </a:cubicBezTo>
                  <a:cubicBezTo>
                    <a:pt x="249" y="523"/>
                    <a:pt x="249" y="523"/>
                    <a:pt x="249" y="523"/>
                  </a:cubicBezTo>
                  <a:cubicBezTo>
                    <a:pt x="274" y="517"/>
                    <a:pt x="274" y="517"/>
                    <a:pt x="274" y="517"/>
                  </a:cubicBezTo>
                  <a:cubicBezTo>
                    <a:pt x="273" y="533"/>
                    <a:pt x="273" y="533"/>
                    <a:pt x="273" y="533"/>
                  </a:cubicBezTo>
                  <a:cubicBezTo>
                    <a:pt x="286" y="534"/>
                    <a:pt x="286" y="534"/>
                    <a:pt x="286" y="534"/>
                  </a:cubicBezTo>
                  <a:cubicBezTo>
                    <a:pt x="285" y="543"/>
                    <a:pt x="285" y="543"/>
                    <a:pt x="285" y="543"/>
                  </a:cubicBezTo>
                  <a:cubicBezTo>
                    <a:pt x="285" y="543"/>
                    <a:pt x="333" y="526"/>
                    <a:pt x="337" y="537"/>
                  </a:cubicBezTo>
                  <a:cubicBezTo>
                    <a:pt x="341" y="547"/>
                    <a:pt x="346" y="554"/>
                    <a:pt x="346" y="554"/>
                  </a:cubicBezTo>
                  <a:cubicBezTo>
                    <a:pt x="372" y="537"/>
                    <a:pt x="372" y="537"/>
                    <a:pt x="372" y="537"/>
                  </a:cubicBezTo>
                  <a:cubicBezTo>
                    <a:pt x="381" y="549"/>
                    <a:pt x="381" y="549"/>
                    <a:pt x="381" y="549"/>
                  </a:cubicBezTo>
                  <a:cubicBezTo>
                    <a:pt x="414" y="562"/>
                    <a:pt x="414" y="562"/>
                    <a:pt x="414" y="562"/>
                  </a:cubicBezTo>
                  <a:cubicBezTo>
                    <a:pt x="414" y="562"/>
                    <a:pt x="422" y="573"/>
                    <a:pt x="428" y="570"/>
                  </a:cubicBezTo>
                  <a:cubicBezTo>
                    <a:pt x="433" y="567"/>
                    <a:pt x="442" y="559"/>
                    <a:pt x="442" y="559"/>
                  </a:cubicBezTo>
                  <a:cubicBezTo>
                    <a:pt x="437" y="550"/>
                    <a:pt x="437" y="550"/>
                    <a:pt x="437" y="550"/>
                  </a:cubicBezTo>
                  <a:cubicBezTo>
                    <a:pt x="441" y="545"/>
                    <a:pt x="441" y="545"/>
                    <a:pt x="441" y="545"/>
                  </a:cubicBezTo>
                  <a:cubicBezTo>
                    <a:pt x="442" y="514"/>
                    <a:pt x="442" y="514"/>
                    <a:pt x="442" y="514"/>
                  </a:cubicBezTo>
                  <a:cubicBezTo>
                    <a:pt x="442" y="514"/>
                    <a:pt x="460" y="511"/>
                    <a:pt x="472" y="470"/>
                  </a:cubicBezTo>
                  <a:cubicBezTo>
                    <a:pt x="476" y="470"/>
                    <a:pt x="469" y="466"/>
                    <a:pt x="469" y="466"/>
                  </a:cubicBezTo>
                  <a:cubicBezTo>
                    <a:pt x="490" y="411"/>
                    <a:pt x="490" y="411"/>
                    <a:pt x="490" y="411"/>
                  </a:cubicBezTo>
                  <a:cubicBezTo>
                    <a:pt x="489" y="402"/>
                    <a:pt x="489" y="402"/>
                    <a:pt x="489" y="402"/>
                  </a:cubicBezTo>
                  <a:cubicBezTo>
                    <a:pt x="489" y="402"/>
                    <a:pt x="469" y="411"/>
                    <a:pt x="469" y="399"/>
                  </a:cubicBezTo>
                  <a:cubicBezTo>
                    <a:pt x="469" y="387"/>
                    <a:pt x="472" y="349"/>
                    <a:pt x="472" y="349"/>
                  </a:cubicBezTo>
                  <a:cubicBezTo>
                    <a:pt x="458" y="343"/>
                    <a:pt x="458" y="343"/>
                    <a:pt x="458" y="343"/>
                  </a:cubicBezTo>
                  <a:cubicBezTo>
                    <a:pt x="480" y="338"/>
                    <a:pt x="480" y="338"/>
                    <a:pt x="480" y="338"/>
                  </a:cubicBezTo>
                  <a:cubicBezTo>
                    <a:pt x="480" y="338"/>
                    <a:pt x="505" y="337"/>
                    <a:pt x="508" y="299"/>
                  </a:cubicBezTo>
                  <a:cubicBezTo>
                    <a:pt x="506" y="304"/>
                    <a:pt x="487" y="294"/>
                    <a:pt x="505" y="262"/>
                  </a:cubicBezTo>
                  <a:cubicBezTo>
                    <a:pt x="502" y="260"/>
                    <a:pt x="483" y="244"/>
                    <a:pt x="477" y="242"/>
                  </a:cubicBezTo>
                  <a:cubicBezTo>
                    <a:pt x="470" y="239"/>
                    <a:pt x="457" y="258"/>
                    <a:pt x="457" y="258"/>
                  </a:cubicBezTo>
                  <a:cubicBezTo>
                    <a:pt x="449" y="243"/>
                    <a:pt x="449" y="243"/>
                    <a:pt x="449" y="243"/>
                  </a:cubicBezTo>
                  <a:cubicBezTo>
                    <a:pt x="457" y="233"/>
                    <a:pt x="457" y="233"/>
                    <a:pt x="457" y="233"/>
                  </a:cubicBezTo>
                  <a:cubicBezTo>
                    <a:pt x="429" y="223"/>
                    <a:pt x="429" y="223"/>
                    <a:pt x="429" y="223"/>
                  </a:cubicBezTo>
                  <a:cubicBezTo>
                    <a:pt x="429" y="223"/>
                    <a:pt x="434" y="203"/>
                    <a:pt x="444" y="205"/>
                  </a:cubicBezTo>
                  <a:cubicBezTo>
                    <a:pt x="450" y="166"/>
                    <a:pt x="450" y="166"/>
                    <a:pt x="450" y="166"/>
                  </a:cubicBezTo>
                  <a:cubicBezTo>
                    <a:pt x="456" y="167"/>
                    <a:pt x="456" y="167"/>
                    <a:pt x="456" y="167"/>
                  </a:cubicBezTo>
                  <a:cubicBezTo>
                    <a:pt x="465" y="189"/>
                    <a:pt x="465" y="189"/>
                    <a:pt x="465" y="189"/>
                  </a:cubicBezTo>
                  <a:cubicBezTo>
                    <a:pt x="493" y="193"/>
                    <a:pt x="493" y="193"/>
                    <a:pt x="493" y="193"/>
                  </a:cubicBezTo>
                  <a:cubicBezTo>
                    <a:pt x="493" y="193"/>
                    <a:pt x="498" y="217"/>
                    <a:pt x="533" y="197"/>
                  </a:cubicBezTo>
                  <a:cubicBezTo>
                    <a:pt x="533" y="197"/>
                    <a:pt x="553" y="229"/>
                    <a:pt x="574" y="164"/>
                  </a:cubicBezTo>
                  <a:lnTo>
                    <a:pt x="563" y="15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6" name="Alsace" descr="© INSCALE GmbH, 05.05.2010&#10;http://www.presentationload.com/">
              <a:extLst>
                <a:ext uri="{FF2B5EF4-FFF2-40B4-BE49-F238E27FC236}">
                  <a16:creationId xmlns:a16="http://schemas.microsoft.com/office/drawing/2014/main" id="{F0F39AF0-5E77-4803-A309-B0A4DD2EAFF8}"/>
                </a:ext>
              </a:extLst>
            </p:cNvPr>
            <p:cNvSpPr>
              <a:spLocks/>
            </p:cNvSpPr>
            <p:nvPr/>
          </p:nvSpPr>
          <p:spPr bwMode="gray">
            <a:xfrm>
              <a:off x="2808" y="818"/>
              <a:ext cx="317" cy="567"/>
            </a:xfrm>
            <a:custGeom>
              <a:avLst/>
              <a:gdLst/>
              <a:ahLst/>
              <a:cxnLst>
                <a:cxn ang="0">
                  <a:pos x="271" y="35"/>
                </a:cxn>
                <a:cxn ang="0">
                  <a:pos x="250" y="20"/>
                </a:cxn>
                <a:cxn ang="0">
                  <a:pos x="242" y="22"/>
                </a:cxn>
                <a:cxn ang="0">
                  <a:pos x="225" y="13"/>
                </a:cxn>
                <a:cxn ang="0">
                  <a:pos x="206" y="12"/>
                </a:cxn>
                <a:cxn ang="0">
                  <a:pos x="172" y="14"/>
                </a:cxn>
                <a:cxn ang="0">
                  <a:pos x="164" y="2"/>
                </a:cxn>
                <a:cxn ang="0">
                  <a:pos x="152" y="4"/>
                </a:cxn>
                <a:cxn ang="0">
                  <a:pos x="148" y="0"/>
                </a:cxn>
                <a:cxn ang="0">
                  <a:pos x="107" y="33"/>
                </a:cxn>
                <a:cxn ang="0">
                  <a:pos x="67" y="29"/>
                </a:cxn>
                <a:cxn ang="0">
                  <a:pos x="39" y="25"/>
                </a:cxn>
                <a:cxn ang="0">
                  <a:pos x="30" y="3"/>
                </a:cxn>
                <a:cxn ang="0">
                  <a:pos x="24" y="2"/>
                </a:cxn>
                <a:cxn ang="0">
                  <a:pos x="18" y="41"/>
                </a:cxn>
                <a:cxn ang="0">
                  <a:pos x="3" y="59"/>
                </a:cxn>
                <a:cxn ang="0">
                  <a:pos x="31" y="69"/>
                </a:cxn>
                <a:cxn ang="0">
                  <a:pos x="23" y="79"/>
                </a:cxn>
                <a:cxn ang="0">
                  <a:pos x="31" y="94"/>
                </a:cxn>
                <a:cxn ang="0">
                  <a:pos x="51" y="78"/>
                </a:cxn>
                <a:cxn ang="0">
                  <a:pos x="79" y="98"/>
                </a:cxn>
                <a:cxn ang="0">
                  <a:pos x="82" y="135"/>
                </a:cxn>
                <a:cxn ang="0">
                  <a:pos x="54" y="174"/>
                </a:cxn>
                <a:cxn ang="0">
                  <a:pos x="32" y="179"/>
                </a:cxn>
                <a:cxn ang="0">
                  <a:pos x="46" y="185"/>
                </a:cxn>
                <a:cxn ang="0">
                  <a:pos x="43" y="235"/>
                </a:cxn>
                <a:cxn ang="0">
                  <a:pos x="63" y="238"/>
                </a:cxn>
                <a:cxn ang="0">
                  <a:pos x="64" y="247"/>
                </a:cxn>
                <a:cxn ang="0">
                  <a:pos x="43" y="302"/>
                </a:cxn>
                <a:cxn ang="0">
                  <a:pos x="46" y="306"/>
                </a:cxn>
                <a:cxn ang="0">
                  <a:pos x="16" y="350"/>
                </a:cxn>
                <a:cxn ang="0">
                  <a:pos x="15" y="381"/>
                </a:cxn>
                <a:cxn ang="0">
                  <a:pos x="11" y="386"/>
                </a:cxn>
                <a:cxn ang="0">
                  <a:pos x="16" y="395"/>
                </a:cxn>
                <a:cxn ang="0">
                  <a:pos x="2" y="406"/>
                </a:cxn>
                <a:cxn ang="0">
                  <a:pos x="0" y="406"/>
                </a:cxn>
                <a:cxn ang="0">
                  <a:pos x="4" y="417"/>
                </a:cxn>
                <a:cxn ang="0">
                  <a:pos x="43" y="471"/>
                </a:cxn>
                <a:cxn ang="0">
                  <a:pos x="66" y="496"/>
                </a:cxn>
                <a:cxn ang="0">
                  <a:pos x="90" y="499"/>
                </a:cxn>
                <a:cxn ang="0">
                  <a:pos x="113" y="510"/>
                </a:cxn>
                <a:cxn ang="0">
                  <a:pos x="143" y="491"/>
                </a:cxn>
                <a:cxn ang="0">
                  <a:pos x="152" y="503"/>
                </a:cxn>
                <a:cxn ang="0">
                  <a:pos x="161" y="493"/>
                </a:cxn>
                <a:cxn ang="0">
                  <a:pos x="174" y="463"/>
                </a:cxn>
                <a:cxn ang="0">
                  <a:pos x="165" y="419"/>
                </a:cxn>
                <a:cxn ang="0">
                  <a:pos x="167" y="386"/>
                </a:cxn>
                <a:cxn ang="0">
                  <a:pos x="176" y="349"/>
                </a:cxn>
                <a:cxn ang="0">
                  <a:pos x="176" y="336"/>
                </a:cxn>
                <a:cxn ang="0">
                  <a:pos x="185" y="262"/>
                </a:cxn>
                <a:cxn ang="0">
                  <a:pos x="199" y="229"/>
                </a:cxn>
                <a:cxn ang="0">
                  <a:pos x="209" y="177"/>
                </a:cxn>
                <a:cxn ang="0">
                  <a:pos x="218" y="138"/>
                </a:cxn>
                <a:cxn ang="0">
                  <a:pos x="245" y="104"/>
                </a:cxn>
                <a:cxn ang="0">
                  <a:pos x="261" y="93"/>
                </a:cxn>
                <a:cxn ang="0">
                  <a:pos x="279" y="58"/>
                </a:cxn>
                <a:cxn ang="0">
                  <a:pos x="294" y="35"/>
                </a:cxn>
                <a:cxn ang="0">
                  <a:pos x="271" y="35"/>
                </a:cxn>
              </a:cxnLst>
              <a:rect l="0" t="0" r="r" b="b"/>
              <a:pathLst>
                <a:path w="294" h="526">
                  <a:moveTo>
                    <a:pt x="271" y="35"/>
                  </a:moveTo>
                  <a:cubicBezTo>
                    <a:pt x="250" y="20"/>
                    <a:pt x="250" y="20"/>
                    <a:pt x="250" y="20"/>
                  </a:cubicBezTo>
                  <a:cubicBezTo>
                    <a:pt x="242" y="22"/>
                    <a:pt x="242" y="22"/>
                    <a:pt x="242" y="22"/>
                  </a:cubicBezTo>
                  <a:cubicBezTo>
                    <a:pt x="233" y="7"/>
                    <a:pt x="232" y="15"/>
                    <a:pt x="225" y="13"/>
                  </a:cubicBezTo>
                  <a:cubicBezTo>
                    <a:pt x="215" y="25"/>
                    <a:pt x="206" y="12"/>
                    <a:pt x="206" y="12"/>
                  </a:cubicBezTo>
                  <a:cubicBezTo>
                    <a:pt x="172" y="14"/>
                    <a:pt x="172" y="14"/>
                    <a:pt x="172" y="14"/>
                  </a:cubicBezTo>
                  <a:cubicBezTo>
                    <a:pt x="164" y="2"/>
                    <a:pt x="164" y="2"/>
                    <a:pt x="164" y="2"/>
                  </a:cubicBezTo>
                  <a:cubicBezTo>
                    <a:pt x="152" y="4"/>
                    <a:pt x="152" y="4"/>
                    <a:pt x="152" y="4"/>
                  </a:cubicBezTo>
                  <a:cubicBezTo>
                    <a:pt x="148" y="0"/>
                    <a:pt x="148" y="0"/>
                    <a:pt x="148" y="0"/>
                  </a:cubicBezTo>
                  <a:cubicBezTo>
                    <a:pt x="127" y="65"/>
                    <a:pt x="107" y="33"/>
                    <a:pt x="107" y="33"/>
                  </a:cubicBezTo>
                  <a:cubicBezTo>
                    <a:pt x="72" y="53"/>
                    <a:pt x="67" y="29"/>
                    <a:pt x="67" y="29"/>
                  </a:cubicBezTo>
                  <a:cubicBezTo>
                    <a:pt x="39" y="25"/>
                    <a:pt x="39" y="25"/>
                    <a:pt x="39" y="25"/>
                  </a:cubicBezTo>
                  <a:cubicBezTo>
                    <a:pt x="30" y="3"/>
                    <a:pt x="30" y="3"/>
                    <a:pt x="30" y="3"/>
                  </a:cubicBezTo>
                  <a:cubicBezTo>
                    <a:pt x="24" y="2"/>
                    <a:pt x="24" y="2"/>
                    <a:pt x="24" y="2"/>
                  </a:cubicBezTo>
                  <a:cubicBezTo>
                    <a:pt x="18" y="41"/>
                    <a:pt x="18" y="41"/>
                    <a:pt x="18" y="41"/>
                  </a:cubicBezTo>
                  <a:cubicBezTo>
                    <a:pt x="8" y="39"/>
                    <a:pt x="3" y="59"/>
                    <a:pt x="3" y="59"/>
                  </a:cubicBezTo>
                  <a:cubicBezTo>
                    <a:pt x="31" y="69"/>
                    <a:pt x="31" y="69"/>
                    <a:pt x="31" y="69"/>
                  </a:cubicBezTo>
                  <a:cubicBezTo>
                    <a:pt x="23" y="79"/>
                    <a:pt x="23" y="79"/>
                    <a:pt x="23" y="79"/>
                  </a:cubicBezTo>
                  <a:cubicBezTo>
                    <a:pt x="31" y="94"/>
                    <a:pt x="31" y="94"/>
                    <a:pt x="31" y="94"/>
                  </a:cubicBezTo>
                  <a:cubicBezTo>
                    <a:pt x="31" y="94"/>
                    <a:pt x="44" y="75"/>
                    <a:pt x="51" y="78"/>
                  </a:cubicBezTo>
                  <a:cubicBezTo>
                    <a:pt x="57" y="80"/>
                    <a:pt x="76" y="96"/>
                    <a:pt x="79" y="98"/>
                  </a:cubicBezTo>
                  <a:cubicBezTo>
                    <a:pt x="61" y="130"/>
                    <a:pt x="80" y="140"/>
                    <a:pt x="82" y="135"/>
                  </a:cubicBezTo>
                  <a:cubicBezTo>
                    <a:pt x="79" y="173"/>
                    <a:pt x="54" y="174"/>
                    <a:pt x="54" y="174"/>
                  </a:cubicBezTo>
                  <a:cubicBezTo>
                    <a:pt x="32" y="179"/>
                    <a:pt x="32" y="179"/>
                    <a:pt x="32" y="179"/>
                  </a:cubicBezTo>
                  <a:cubicBezTo>
                    <a:pt x="46" y="185"/>
                    <a:pt x="46" y="185"/>
                    <a:pt x="46" y="185"/>
                  </a:cubicBezTo>
                  <a:cubicBezTo>
                    <a:pt x="46" y="185"/>
                    <a:pt x="43" y="223"/>
                    <a:pt x="43" y="235"/>
                  </a:cubicBezTo>
                  <a:cubicBezTo>
                    <a:pt x="43" y="247"/>
                    <a:pt x="63" y="238"/>
                    <a:pt x="63" y="238"/>
                  </a:cubicBezTo>
                  <a:cubicBezTo>
                    <a:pt x="64" y="247"/>
                    <a:pt x="64" y="247"/>
                    <a:pt x="64" y="247"/>
                  </a:cubicBezTo>
                  <a:cubicBezTo>
                    <a:pt x="43" y="302"/>
                    <a:pt x="43" y="302"/>
                    <a:pt x="43" y="302"/>
                  </a:cubicBezTo>
                  <a:cubicBezTo>
                    <a:pt x="43" y="302"/>
                    <a:pt x="50" y="306"/>
                    <a:pt x="46" y="306"/>
                  </a:cubicBezTo>
                  <a:cubicBezTo>
                    <a:pt x="34" y="347"/>
                    <a:pt x="16" y="350"/>
                    <a:pt x="16" y="350"/>
                  </a:cubicBezTo>
                  <a:cubicBezTo>
                    <a:pt x="15" y="381"/>
                    <a:pt x="15" y="381"/>
                    <a:pt x="15" y="381"/>
                  </a:cubicBezTo>
                  <a:cubicBezTo>
                    <a:pt x="11" y="386"/>
                    <a:pt x="11" y="386"/>
                    <a:pt x="11" y="386"/>
                  </a:cubicBezTo>
                  <a:cubicBezTo>
                    <a:pt x="16" y="395"/>
                    <a:pt x="16" y="395"/>
                    <a:pt x="16" y="395"/>
                  </a:cubicBezTo>
                  <a:cubicBezTo>
                    <a:pt x="16" y="395"/>
                    <a:pt x="7" y="403"/>
                    <a:pt x="2" y="406"/>
                  </a:cubicBezTo>
                  <a:cubicBezTo>
                    <a:pt x="1" y="406"/>
                    <a:pt x="1" y="406"/>
                    <a:pt x="0" y="406"/>
                  </a:cubicBezTo>
                  <a:cubicBezTo>
                    <a:pt x="4" y="417"/>
                    <a:pt x="4" y="417"/>
                    <a:pt x="4" y="417"/>
                  </a:cubicBezTo>
                  <a:cubicBezTo>
                    <a:pt x="4" y="417"/>
                    <a:pt x="52" y="414"/>
                    <a:pt x="43" y="471"/>
                  </a:cubicBezTo>
                  <a:cubicBezTo>
                    <a:pt x="45" y="477"/>
                    <a:pt x="61" y="476"/>
                    <a:pt x="66" y="496"/>
                  </a:cubicBezTo>
                  <a:cubicBezTo>
                    <a:pt x="76" y="498"/>
                    <a:pt x="87" y="500"/>
                    <a:pt x="90" y="499"/>
                  </a:cubicBezTo>
                  <a:cubicBezTo>
                    <a:pt x="92" y="526"/>
                    <a:pt x="116" y="512"/>
                    <a:pt x="113" y="510"/>
                  </a:cubicBezTo>
                  <a:cubicBezTo>
                    <a:pt x="153" y="521"/>
                    <a:pt x="143" y="491"/>
                    <a:pt x="143" y="491"/>
                  </a:cubicBezTo>
                  <a:cubicBezTo>
                    <a:pt x="152" y="503"/>
                    <a:pt x="152" y="503"/>
                    <a:pt x="152" y="503"/>
                  </a:cubicBezTo>
                  <a:cubicBezTo>
                    <a:pt x="152" y="503"/>
                    <a:pt x="152" y="503"/>
                    <a:pt x="161" y="493"/>
                  </a:cubicBezTo>
                  <a:cubicBezTo>
                    <a:pt x="158" y="468"/>
                    <a:pt x="174" y="468"/>
                    <a:pt x="174" y="463"/>
                  </a:cubicBezTo>
                  <a:cubicBezTo>
                    <a:pt x="154" y="435"/>
                    <a:pt x="165" y="419"/>
                    <a:pt x="165" y="419"/>
                  </a:cubicBezTo>
                  <a:cubicBezTo>
                    <a:pt x="165" y="419"/>
                    <a:pt x="159" y="406"/>
                    <a:pt x="167" y="386"/>
                  </a:cubicBezTo>
                  <a:cubicBezTo>
                    <a:pt x="166" y="363"/>
                    <a:pt x="176" y="349"/>
                    <a:pt x="176" y="349"/>
                  </a:cubicBezTo>
                  <a:cubicBezTo>
                    <a:pt x="176" y="336"/>
                    <a:pt x="176" y="336"/>
                    <a:pt x="176" y="336"/>
                  </a:cubicBezTo>
                  <a:cubicBezTo>
                    <a:pt x="144" y="322"/>
                    <a:pt x="179" y="281"/>
                    <a:pt x="185" y="262"/>
                  </a:cubicBezTo>
                  <a:cubicBezTo>
                    <a:pt x="180" y="238"/>
                    <a:pt x="199" y="232"/>
                    <a:pt x="199" y="229"/>
                  </a:cubicBezTo>
                  <a:cubicBezTo>
                    <a:pt x="191" y="200"/>
                    <a:pt x="207" y="183"/>
                    <a:pt x="209" y="177"/>
                  </a:cubicBezTo>
                  <a:cubicBezTo>
                    <a:pt x="200" y="156"/>
                    <a:pt x="215" y="141"/>
                    <a:pt x="218" y="138"/>
                  </a:cubicBezTo>
                  <a:cubicBezTo>
                    <a:pt x="247" y="113"/>
                    <a:pt x="245" y="104"/>
                    <a:pt x="245" y="104"/>
                  </a:cubicBezTo>
                  <a:cubicBezTo>
                    <a:pt x="251" y="104"/>
                    <a:pt x="261" y="93"/>
                    <a:pt x="261" y="93"/>
                  </a:cubicBezTo>
                  <a:cubicBezTo>
                    <a:pt x="270" y="94"/>
                    <a:pt x="279" y="58"/>
                    <a:pt x="279" y="58"/>
                  </a:cubicBezTo>
                  <a:cubicBezTo>
                    <a:pt x="294" y="35"/>
                    <a:pt x="294" y="35"/>
                    <a:pt x="294" y="35"/>
                  </a:cubicBezTo>
                  <a:lnTo>
                    <a:pt x="271" y="3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7" name="Franche-Comté" descr="© INSCALE GmbH, 05.05.2010&#10;http://www.presentationload.com/">
              <a:extLst>
                <a:ext uri="{FF2B5EF4-FFF2-40B4-BE49-F238E27FC236}">
                  <a16:creationId xmlns:a16="http://schemas.microsoft.com/office/drawing/2014/main" id="{1F490D34-6D95-4776-8198-C2E5920D6864}"/>
                </a:ext>
              </a:extLst>
            </p:cNvPr>
            <p:cNvSpPr>
              <a:spLocks/>
            </p:cNvSpPr>
            <p:nvPr/>
          </p:nvSpPr>
          <p:spPr bwMode="gray">
            <a:xfrm>
              <a:off x="2452" y="1199"/>
              <a:ext cx="435" cy="623"/>
            </a:xfrm>
            <a:custGeom>
              <a:avLst/>
              <a:gdLst/>
              <a:ahLst/>
              <a:cxnLst>
                <a:cxn ang="0">
                  <a:pos x="40" y="136"/>
                </a:cxn>
                <a:cxn ang="0">
                  <a:pos x="17" y="186"/>
                </a:cxn>
                <a:cxn ang="0">
                  <a:pos x="30" y="212"/>
                </a:cxn>
                <a:cxn ang="0">
                  <a:pos x="46" y="228"/>
                </a:cxn>
                <a:cxn ang="0">
                  <a:pos x="13" y="312"/>
                </a:cxn>
                <a:cxn ang="0">
                  <a:pos x="12" y="326"/>
                </a:cxn>
                <a:cxn ang="0">
                  <a:pos x="14" y="353"/>
                </a:cxn>
                <a:cxn ang="0">
                  <a:pos x="46" y="380"/>
                </a:cxn>
                <a:cxn ang="0">
                  <a:pos x="25" y="402"/>
                </a:cxn>
                <a:cxn ang="0">
                  <a:pos x="36" y="418"/>
                </a:cxn>
                <a:cxn ang="0">
                  <a:pos x="37" y="465"/>
                </a:cxn>
                <a:cxn ang="0">
                  <a:pos x="40" y="498"/>
                </a:cxn>
                <a:cxn ang="0">
                  <a:pos x="18" y="524"/>
                </a:cxn>
                <a:cxn ang="0">
                  <a:pos x="32" y="542"/>
                </a:cxn>
                <a:cxn ang="0">
                  <a:pos x="53" y="566"/>
                </a:cxn>
                <a:cxn ang="0">
                  <a:pos x="109" y="548"/>
                </a:cxn>
                <a:cxn ang="0">
                  <a:pos x="145" y="562"/>
                </a:cxn>
                <a:cxn ang="0">
                  <a:pos x="200" y="497"/>
                </a:cxn>
                <a:cxn ang="0">
                  <a:pos x="201" y="425"/>
                </a:cxn>
                <a:cxn ang="0">
                  <a:pos x="257" y="358"/>
                </a:cxn>
                <a:cxn ang="0">
                  <a:pos x="272" y="305"/>
                </a:cxn>
                <a:cxn ang="0">
                  <a:pos x="312" y="288"/>
                </a:cxn>
                <a:cxn ang="0">
                  <a:pos x="370" y="218"/>
                </a:cxn>
                <a:cxn ang="0">
                  <a:pos x="373" y="202"/>
                </a:cxn>
                <a:cxn ang="0">
                  <a:pos x="386" y="180"/>
                </a:cxn>
                <a:cxn ang="0">
                  <a:pos x="364" y="161"/>
                </a:cxn>
                <a:cxn ang="0">
                  <a:pos x="378" y="139"/>
                </a:cxn>
                <a:cxn ang="0">
                  <a:pos x="373" y="118"/>
                </a:cxn>
                <a:cxn ang="0">
                  <a:pos x="330" y="53"/>
                </a:cxn>
                <a:cxn ang="0">
                  <a:pos x="285" y="32"/>
                </a:cxn>
                <a:cxn ang="0">
                  <a:pos x="250" y="37"/>
                </a:cxn>
                <a:cxn ang="0">
                  <a:pos x="189" y="26"/>
                </a:cxn>
                <a:cxn ang="0">
                  <a:pos x="177" y="16"/>
                </a:cxn>
                <a:cxn ang="0">
                  <a:pos x="153" y="6"/>
                </a:cxn>
                <a:cxn ang="0">
                  <a:pos x="134" y="26"/>
                </a:cxn>
                <a:cxn ang="0">
                  <a:pos x="128" y="16"/>
                </a:cxn>
                <a:cxn ang="0">
                  <a:pos x="124" y="36"/>
                </a:cxn>
                <a:cxn ang="0">
                  <a:pos x="113" y="56"/>
                </a:cxn>
                <a:cxn ang="0">
                  <a:pos x="93" y="69"/>
                </a:cxn>
                <a:cxn ang="0">
                  <a:pos x="80" y="78"/>
                </a:cxn>
                <a:cxn ang="0">
                  <a:pos x="88" y="109"/>
                </a:cxn>
                <a:cxn ang="0">
                  <a:pos x="57" y="106"/>
                </a:cxn>
                <a:cxn ang="0">
                  <a:pos x="26" y="112"/>
                </a:cxn>
                <a:cxn ang="0">
                  <a:pos x="24" y="140"/>
                </a:cxn>
              </a:cxnLst>
              <a:rect l="0" t="0" r="r" b="b"/>
              <a:pathLst>
                <a:path w="403" h="577">
                  <a:moveTo>
                    <a:pt x="32" y="132"/>
                  </a:moveTo>
                  <a:cubicBezTo>
                    <a:pt x="40" y="136"/>
                    <a:pt x="40" y="136"/>
                    <a:pt x="40" y="136"/>
                  </a:cubicBezTo>
                  <a:cubicBezTo>
                    <a:pt x="40" y="136"/>
                    <a:pt x="45" y="176"/>
                    <a:pt x="29" y="176"/>
                  </a:cubicBezTo>
                  <a:cubicBezTo>
                    <a:pt x="13" y="176"/>
                    <a:pt x="25" y="186"/>
                    <a:pt x="17" y="186"/>
                  </a:cubicBezTo>
                  <a:cubicBezTo>
                    <a:pt x="9" y="186"/>
                    <a:pt x="30" y="190"/>
                    <a:pt x="30" y="190"/>
                  </a:cubicBezTo>
                  <a:cubicBezTo>
                    <a:pt x="30" y="212"/>
                    <a:pt x="30" y="212"/>
                    <a:pt x="30" y="212"/>
                  </a:cubicBezTo>
                  <a:cubicBezTo>
                    <a:pt x="49" y="208"/>
                    <a:pt x="49" y="208"/>
                    <a:pt x="49" y="208"/>
                  </a:cubicBezTo>
                  <a:cubicBezTo>
                    <a:pt x="46" y="228"/>
                    <a:pt x="46" y="228"/>
                    <a:pt x="46" y="228"/>
                  </a:cubicBezTo>
                  <a:cubicBezTo>
                    <a:pt x="54" y="236"/>
                    <a:pt x="54" y="236"/>
                    <a:pt x="54" y="236"/>
                  </a:cubicBezTo>
                  <a:cubicBezTo>
                    <a:pt x="54" y="236"/>
                    <a:pt x="34" y="301"/>
                    <a:pt x="13" y="312"/>
                  </a:cubicBezTo>
                  <a:cubicBezTo>
                    <a:pt x="10" y="316"/>
                    <a:pt x="5" y="325"/>
                    <a:pt x="5" y="325"/>
                  </a:cubicBezTo>
                  <a:cubicBezTo>
                    <a:pt x="12" y="326"/>
                    <a:pt x="12" y="326"/>
                    <a:pt x="12" y="326"/>
                  </a:cubicBezTo>
                  <a:cubicBezTo>
                    <a:pt x="12" y="326"/>
                    <a:pt x="0" y="340"/>
                    <a:pt x="0" y="352"/>
                  </a:cubicBezTo>
                  <a:cubicBezTo>
                    <a:pt x="14" y="353"/>
                    <a:pt x="14" y="353"/>
                    <a:pt x="14" y="353"/>
                  </a:cubicBezTo>
                  <a:cubicBezTo>
                    <a:pt x="18" y="364"/>
                    <a:pt x="18" y="364"/>
                    <a:pt x="18" y="364"/>
                  </a:cubicBezTo>
                  <a:cubicBezTo>
                    <a:pt x="18" y="364"/>
                    <a:pt x="30" y="368"/>
                    <a:pt x="46" y="380"/>
                  </a:cubicBezTo>
                  <a:cubicBezTo>
                    <a:pt x="13" y="392"/>
                    <a:pt x="13" y="392"/>
                    <a:pt x="13" y="392"/>
                  </a:cubicBezTo>
                  <a:cubicBezTo>
                    <a:pt x="25" y="402"/>
                    <a:pt x="25" y="402"/>
                    <a:pt x="25" y="402"/>
                  </a:cubicBezTo>
                  <a:cubicBezTo>
                    <a:pt x="25" y="422"/>
                    <a:pt x="25" y="422"/>
                    <a:pt x="25" y="422"/>
                  </a:cubicBezTo>
                  <a:cubicBezTo>
                    <a:pt x="36" y="418"/>
                    <a:pt x="36" y="418"/>
                    <a:pt x="36" y="418"/>
                  </a:cubicBezTo>
                  <a:cubicBezTo>
                    <a:pt x="36" y="418"/>
                    <a:pt x="28" y="436"/>
                    <a:pt x="45" y="445"/>
                  </a:cubicBezTo>
                  <a:cubicBezTo>
                    <a:pt x="40" y="445"/>
                    <a:pt x="37" y="465"/>
                    <a:pt x="37" y="465"/>
                  </a:cubicBezTo>
                  <a:cubicBezTo>
                    <a:pt x="37" y="465"/>
                    <a:pt x="16" y="484"/>
                    <a:pt x="41" y="490"/>
                  </a:cubicBezTo>
                  <a:cubicBezTo>
                    <a:pt x="44" y="492"/>
                    <a:pt x="40" y="498"/>
                    <a:pt x="40" y="498"/>
                  </a:cubicBezTo>
                  <a:cubicBezTo>
                    <a:pt x="21" y="504"/>
                    <a:pt x="21" y="504"/>
                    <a:pt x="21" y="504"/>
                  </a:cubicBezTo>
                  <a:cubicBezTo>
                    <a:pt x="18" y="524"/>
                    <a:pt x="18" y="524"/>
                    <a:pt x="18" y="524"/>
                  </a:cubicBezTo>
                  <a:cubicBezTo>
                    <a:pt x="32" y="529"/>
                    <a:pt x="32" y="529"/>
                    <a:pt x="32" y="529"/>
                  </a:cubicBezTo>
                  <a:cubicBezTo>
                    <a:pt x="32" y="542"/>
                    <a:pt x="32" y="542"/>
                    <a:pt x="32" y="542"/>
                  </a:cubicBezTo>
                  <a:cubicBezTo>
                    <a:pt x="56" y="553"/>
                    <a:pt x="56" y="553"/>
                    <a:pt x="56" y="553"/>
                  </a:cubicBezTo>
                  <a:cubicBezTo>
                    <a:pt x="53" y="566"/>
                    <a:pt x="53" y="566"/>
                    <a:pt x="53" y="566"/>
                  </a:cubicBezTo>
                  <a:cubicBezTo>
                    <a:pt x="53" y="566"/>
                    <a:pt x="76" y="577"/>
                    <a:pt x="93" y="538"/>
                  </a:cubicBezTo>
                  <a:cubicBezTo>
                    <a:pt x="89" y="545"/>
                    <a:pt x="109" y="548"/>
                    <a:pt x="109" y="548"/>
                  </a:cubicBezTo>
                  <a:cubicBezTo>
                    <a:pt x="113" y="564"/>
                    <a:pt x="113" y="564"/>
                    <a:pt x="113" y="564"/>
                  </a:cubicBezTo>
                  <a:cubicBezTo>
                    <a:pt x="145" y="562"/>
                    <a:pt x="145" y="562"/>
                    <a:pt x="145" y="562"/>
                  </a:cubicBezTo>
                  <a:cubicBezTo>
                    <a:pt x="202" y="503"/>
                    <a:pt x="202" y="503"/>
                    <a:pt x="202" y="503"/>
                  </a:cubicBezTo>
                  <a:cubicBezTo>
                    <a:pt x="201" y="500"/>
                    <a:pt x="200" y="497"/>
                    <a:pt x="200" y="497"/>
                  </a:cubicBezTo>
                  <a:cubicBezTo>
                    <a:pt x="166" y="487"/>
                    <a:pt x="201" y="445"/>
                    <a:pt x="201" y="445"/>
                  </a:cubicBezTo>
                  <a:cubicBezTo>
                    <a:pt x="188" y="434"/>
                    <a:pt x="201" y="425"/>
                    <a:pt x="201" y="425"/>
                  </a:cubicBezTo>
                  <a:cubicBezTo>
                    <a:pt x="201" y="425"/>
                    <a:pt x="253" y="379"/>
                    <a:pt x="253" y="376"/>
                  </a:cubicBezTo>
                  <a:cubicBezTo>
                    <a:pt x="261" y="375"/>
                    <a:pt x="271" y="367"/>
                    <a:pt x="257" y="358"/>
                  </a:cubicBezTo>
                  <a:cubicBezTo>
                    <a:pt x="276" y="339"/>
                    <a:pt x="259" y="323"/>
                    <a:pt x="259" y="323"/>
                  </a:cubicBezTo>
                  <a:cubicBezTo>
                    <a:pt x="272" y="305"/>
                    <a:pt x="272" y="305"/>
                    <a:pt x="272" y="305"/>
                  </a:cubicBezTo>
                  <a:cubicBezTo>
                    <a:pt x="302" y="298"/>
                    <a:pt x="302" y="298"/>
                    <a:pt x="302" y="298"/>
                  </a:cubicBezTo>
                  <a:cubicBezTo>
                    <a:pt x="312" y="288"/>
                    <a:pt x="312" y="288"/>
                    <a:pt x="312" y="288"/>
                  </a:cubicBezTo>
                  <a:cubicBezTo>
                    <a:pt x="315" y="277"/>
                    <a:pt x="315" y="277"/>
                    <a:pt x="315" y="277"/>
                  </a:cubicBezTo>
                  <a:cubicBezTo>
                    <a:pt x="315" y="277"/>
                    <a:pt x="368" y="222"/>
                    <a:pt x="370" y="218"/>
                  </a:cubicBezTo>
                  <a:cubicBezTo>
                    <a:pt x="365" y="210"/>
                    <a:pt x="376" y="203"/>
                    <a:pt x="375" y="202"/>
                  </a:cubicBezTo>
                  <a:cubicBezTo>
                    <a:pt x="374" y="202"/>
                    <a:pt x="374" y="202"/>
                    <a:pt x="373" y="202"/>
                  </a:cubicBezTo>
                  <a:cubicBezTo>
                    <a:pt x="374" y="202"/>
                    <a:pt x="374" y="202"/>
                    <a:pt x="375" y="202"/>
                  </a:cubicBezTo>
                  <a:cubicBezTo>
                    <a:pt x="403" y="203"/>
                    <a:pt x="386" y="180"/>
                    <a:pt x="386" y="180"/>
                  </a:cubicBezTo>
                  <a:cubicBezTo>
                    <a:pt x="354" y="184"/>
                    <a:pt x="354" y="184"/>
                    <a:pt x="354" y="184"/>
                  </a:cubicBezTo>
                  <a:cubicBezTo>
                    <a:pt x="364" y="161"/>
                    <a:pt x="364" y="161"/>
                    <a:pt x="364" y="161"/>
                  </a:cubicBezTo>
                  <a:cubicBezTo>
                    <a:pt x="380" y="152"/>
                    <a:pt x="380" y="152"/>
                    <a:pt x="380" y="152"/>
                  </a:cubicBezTo>
                  <a:cubicBezTo>
                    <a:pt x="378" y="139"/>
                    <a:pt x="378" y="139"/>
                    <a:pt x="378" y="139"/>
                  </a:cubicBezTo>
                  <a:cubicBezTo>
                    <a:pt x="378" y="139"/>
                    <a:pt x="387" y="141"/>
                    <a:pt x="396" y="143"/>
                  </a:cubicBezTo>
                  <a:cubicBezTo>
                    <a:pt x="391" y="123"/>
                    <a:pt x="375" y="124"/>
                    <a:pt x="373" y="118"/>
                  </a:cubicBezTo>
                  <a:cubicBezTo>
                    <a:pt x="382" y="61"/>
                    <a:pt x="334" y="64"/>
                    <a:pt x="334" y="64"/>
                  </a:cubicBezTo>
                  <a:cubicBezTo>
                    <a:pt x="330" y="53"/>
                    <a:pt x="330" y="53"/>
                    <a:pt x="330" y="53"/>
                  </a:cubicBezTo>
                  <a:cubicBezTo>
                    <a:pt x="325" y="54"/>
                    <a:pt x="318" y="45"/>
                    <a:pt x="318" y="45"/>
                  </a:cubicBezTo>
                  <a:cubicBezTo>
                    <a:pt x="285" y="32"/>
                    <a:pt x="285" y="32"/>
                    <a:pt x="285" y="32"/>
                  </a:cubicBezTo>
                  <a:cubicBezTo>
                    <a:pt x="276" y="20"/>
                    <a:pt x="276" y="20"/>
                    <a:pt x="276" y="20"/>
                  </a:cubicBezTo>
                  <a:cubicBezTo>
                    <a:pt x="250" y="37"/>
                    <a:pt x="250" y="37"/>
                    <a:pt x="250" y="37"/>
                  </a:cubicBezTo>
                  <a:cubicBezTo>
                    <a:pt x="250" y="37"/>
                    <a:pt x="245" y="30"/>
                    <a:pt x="241" y="20"/>
                  </a:cubicBezTo>
                  <a:cubicBezTo>
                    <a:pt x="237" y="9"/>
                    <a:pt x="189" y="26"/>
                    <a:pt x="189" y="26"/>
                  </a:cubicBezTo>
                  <a:cubicBezTo>
                    <a:pt x="190" y="17"/>
                    <a:pt x="190" y="17"/>
                    <a:pt x="190" y="17"/>
                  </a:cubicBezTo>
                  <a:cubicBezTo>
                    <a:pt x="177" y="16"/>
                    <a:pt x="177" y="16"/>
                    <a:pt x="177" y="16"/>
                  </a:cubicBezTo>
                  <a:cubicBezTo>
                    <a:pt x="178" y="0"/>
                    <a:pt x="178" y="0"/>
                    <a:pt x="178" y="0"/>
                  </a:cubicBezTo>
                  <a:cubicBezTo>
                    <a:pt x="153" y="6"/>
                    <a:pt x="153" y="6"/>
                    <a:pt x="153" y="6"/>
                  </a:cubicBezTo>
                  <a:cubicBezTo>
                    <a:pt x="148" y="20"/>
                    <a:pt x="148" y="20"/>
                    <a:pt x="148" y="20"/>
                  </a:cubicBezTo>
                  <a:cubicBezTo>
                    <a:pt x="134" y="26"/>
                    <a:pt x="134" y="26"/>
                    <a:pt x="134" y="26"/>
                  </a:cubicBezTo>
                  <a:cubicBezTo>
                    <a:pt x="138" y="17"/>
                    <a:pt x="138" y="17"/>
                    <a:pt x="138" y="17"/>
                  </a:cubicBezTo>
                  <a:cubicBezTo>
                    <a:pt x="128" y="16"/>
                    <a:pt x="128" y="16"/>
                    <a:pt x="128" y="16"/>
                  </a:cubicBezTo>
                  <a:cubicBezTo>
                    <a:pt x="121" y="27"/>
                    <a:pt x="121" y="27"/>
                    <a:pt x="121" y="27"/>
                  </a:cubicBezTo>
                  <a:cubicBezTo>
                    <a:pt x="124" y="36"/>
                    <a:pt x="124" y="36"/>
                    <a:pt x="124" y="36"/>
                  </a:cubicBezTo>
                  <a:cubicBezTo>
                    <a:pt x="116" y="41"/>
                    <a:pt x="116" y="41"/>
                    <a:pt x="116" y="41"/>
                  </a:cubicBezTo>
                  <a:cubicBezTo>
                    <a:pt x="113" y="56"/>
                    <a:pt x="113" y="56"/>
                    <a:pt x="113" y="56"/>
                  </a:cubicBezTo>
                  <a:cubicBezTo>
                    <a:pt x="100" y="54"/>
                    <a:pt x="100" y="54"/>
                    <a:pt x="100" y="54"/>
                  </a:cubicBezTo>
                  <a:cubicBezTo>
                    <a:pt x="93" y="69"/>
                    <a:pt x="93" y="69"/>
                    <a:pt x="93" y="69"/>
                  </a:cubicBezTo>
                  <a:cubicBezTo>
                    <a:pt x="85" y="68"/>
                    <a:pt x="85" y="68"/>
                    <a:pt x="85" y="68"/>
                  </a:cubicBezTo>
                  <a:cubicBezTo>
                    <a:pt x="80" y="78"/>
                    <a:pt x="80" y="78"/>
                    <a:pt x="80" y="78"/>
                  </a:cubicBezTo>
                  <a:cubicBezTo>
                    <a:pt x="90" y="78"/>
                    <a:pt x="90" y="78"/>
                    <a:pt x="90" y="78"/>
                  </a:cubicBezTo>
                  <a:cubicBezTo>
                    <a:pt x="88" y="109"/>
                    <a:pt x="88" y="109"/>
                    <a:pt x="88" y="109"/>
                  </a:cubicBezTo>
                  <a:cubicBezTo>
                    <a:pt x="69" y="114"/>
                    <a:pt x="69" y="114"/>
                    <a:pt x="69" y="114"/>
                  </a:cubicBezTo>
                  <a:cubicBezTo>
                    <a:pt x="57" y="106"/>
                    <a:pt x="57" y="106"/>
                    <a:pt x="57" y="106"/>
                  </a:cubicBezTo>
                  <a:cubicBezTo>
                    <a:pt x="56" y="113"/>
                    <a:pt x="56" y="113"/>
                    <a:pt x="56" y="113"/>
                  </a:cubicBezTo>
                  <a:cubicBezTo>
                    <a:pt x="26" y="112"/>
                    <a:pt x="26" y="112"/>
                    <a:pt x="26" y="112"/>
                  </a:cubicBezTo>
                  <a:cubicBezTo>
                    <a:pt x="26" y="112"/>
                    <a:pt x="24" y="129"/>
                    <a:pt x="21" y="136"/>
                  </a:cubicBezTo>
                  <a:cubicBezTo>
                    <a:pt x="24" y="140"/>
                    <a:pt x="24" y="140"/>
                    <a:pt x="24" y="140"/>
                  </a:cubicBezTo>
                  <a:lnTo>
                    <a:pt x="32" y="13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8" name="Bourgogne" descr="© INSCALE GmbH, 05.05.2010&#10;http://www.presentationload.com/">
              <a:extLst>
                <a:ext uri="{FF2B5EF4-FFF2-40B4-BE49-F238E27FC236}">
                  <a16:creationId xmlns:a16="http://schemas.microsoft.com/office/drawing/2014/main" id="{67CEE325-8000-4C18-B665-933A28B6F9A2}"/>
                </a:ext>
              </a:extLst>
            </p:cNvPr>
            <p:cNvSpPr>
              <a:spLocks/>
            </p:cNvSpPr>
            <p:nvPr/>
          </p:nvSpPr>
          <p:spPr bwMode="gray">
            <a:xfrm>
              <a:off x="1885" y="1086"/>
              <a:ext cx="625" cy="772"/>
            </a:xfrm>
            <a:custGeom>
              <a:avLst/>
              <a:gdLst/>
              <a:ahLst/>
              <a:cxnLst>
                <a:cxn ang="0">
                  <a:pos x="43" y="156"/>
                </a:cxn>
                <a:cxn ang="0">
                  <a:pos x="36" y="170"/>
                </a:cxn>
                <a:cxn ang="0">
                  <a:pos x="0" y="220"/>
                </a:cxn>
                <a:cxn ang="0">
                  <a:pos x="19" y="253"/>
                </a:cxn>
                <a:cxn ang="0">
                  <a:pos x="20" y="309"/>
                </a:cxn>
                <a:cxn ang="0">
                  <a:pos x="40" y="429"/>
                </a:cxn>
                <a:cxn ang="0">
                  <a:pos x="43" y="512"/>
                </a:cxn>
                <a:cxn ang="0">
                  <a:pos x="111" y="545"/>
                </a:cxn>
                <a:cxn ang="0">
                  <a:pos x="138" y="558"/>
                </a:cxn>
                <a:cxn ang="0">
                  <a:pos x="164" y="521"/>
                </a:cxn>
                <a:cxn ang="0">
                  <a:pos x="219" y="597"/>
                </a:cxn>
                <a:cxn ang="0">
                  <a:pos x="255" y="658"/>
                </a:cxn>
                <a:cxn ang="0">
                  <a:pos x="235" y="669"/>
                </a:cxn>
                <a:cxn ang="0">
                  <a:pos x="256" y="710"/>
                </a:cxn>
                <a:cxn ang="0">
                  <a:pos x="304" y="703"/>
                </a:cxn>
                <a:cxn ang="0">
                  <a:pos x="319" y="714"/>
                </a:cxn>
                <a:cxn ang="0">
                  <a:pos x="346" y="666"/>
                </a:cxn>
                <a:cxn ang="0">
                  <a:pos x="382" y="666"/>
                </a:cxn>
                <a:cxn ang="0">
                  <a:pos x="411" y="678"/>
                </a:cxn>
                <a:cxn ang="0">
                  <a:pos x="431" y="704"/>
                </a:cxn>
                <a:cxn ang="0">
                  <a:pos x="520" y="594"/>
                </a:cxn>
                <a:cxn ang="0">
                  <a:pos x="547" y="608"/>
                </a:cxn>
                <a:cxn ang="0">
                  <a:pos x="563" y="569"/>
                </a:cxn>
                <a:cxn ang="0">
                  <a:pos x="551" y="526"/>
                </a:cxn>
                <a:cxn ang="0">
                  <a:pos x="572" y="484"/>
                </a:cxn>
                <a:cxn ang="0">
                  <a:pos x="526" y="456"/>
                </a:cxn>
                <a:cxn ang="0">
                  <a:pos x="539" y="416"/>
                </a:cxn>
                <a:cxn ang="0">
                  <a:pos x="575" y="312"/>
                </a:cxn>
                <a:cxn ang="0">
                  <a:pos x="543" y="290"/>
                </a:cxn>
                <a:cxn ang="0">
                  <a:pos x="558" y="236"/>
                </a:cxn>
                <a:cxn ang="0">
                  <a:pos x="544" y="244"/>
                </a:cxn>
                <a:cxn ang="0">
                  <a:pos x="518" y="240"/>
                </a:cxn>
                <a:cxn ang="0">
                  <a:pos x="488" y="226"/>
                </a:cxn>
                <a:cxn ang="0">
                  <a:pos x="455" y="194"/>
                </a:cxn>
                <a:cxn ang="0">
                  <a:pos x="456" y="173"/>
                </a:cxn>
                <a:cxn ang="0">
                  <a:pos x="426" y="146"/>
                </a:cxn>
                <a:cxn ang="0">
                  <a:pos x="414" y="133"/>
                </a:cxn>
                <a:cxn ang="0">
                  <a:pos x="311" y="136"/>
                </a:cxn>
                <a:cxn ang="0">
                  <a:pos x="296" y="132"/>
                </a:cxn>
                <a:cxn ang="0">
                  <a:pos x="283" y="137"/>
                </a:cxn>
                <a:cxn ang="0">
                  <a:pos x="256" y="146"/>
                </a:cxn>
                <a:cxn ang="0">
                  <a:pos x="208" y="109"/>
                </a:cxn>
                <a:cxn ang="0">
                  <a:pos x="182" y="69"/>
                </a:cxn>
                <a:cxn ang="0">
                  <a:pos x="167" y="66"/>
                </a:cxn>
                <a:cxn ang="0">
                  <a:pos x="155" y="33"/>
                </a:cxn>
                <a:cxn ang="0">
                  <a:pos x="118" y="0"/>
                </a:cxn>
                <a:cxn ang="0">
                  <a:pos x="36" y="28"/>
                </a:cxn>
                <a:cxn ang="0">
                  <a:pos x="39" y="84"/>
                </a:cxn>
              </a:cxnLst>
              <a:rect l="0" t="0" r="r" b="b"/>
              <a:pathLst>
                <a:path w="580" h="715">
                  <a:moveTo>
                    <a:pt x="58" y="114"/>
                  </a:moveTo>
                  <a:cubicBezTo>
                    <a:pt x="59" y="133"/>
                    <a:pt x="59" y="133"/>
                    <a:pt x="59" y="133"/>
                  </a:cubicBezTo>
                  <a:cubicBezTo>
                    <a:pt x="43" y="156"/>
                    <a:pt x="43" y="156"/>
                    <a:pt x="43" y="156"/>
                  </a:cubicBezTo>
                  <a:cubicBezTo>
                    <a:pt x="34" y="157"/>
                    <a:pt x="34" y="157"/>
                    <a:pt x="34" y="157"/>
                  </a:cubicBezTo>
                  <a:cubicBezTo>
                    <a:pt x="31" y="170"/>
                    <a:pt x="31" y="170"/>
                    <a:pt x="31" y="170"/>
                  </a:cubicBezTo>
                  <a:cubicBezTo>
                    <a:pt x="36" y="170"/>
                    <a:pt x="36" y="170"/>
                    <a:pt x="36" y="170"/>
                  </a:cubicBezTo>
                  <a:cubicBezTo>
                    <a:pt x="36" y="194"/>
                    <a:pt x="36" y="194"/>
                    <a:pt x="36" y="194"/>
                  </a:cubicBezTo>
                  <a:cubicBezTo>
                    <a:pt x="2" y="204"/>
                    <a:pt x="2" y="204"/>
                    <a:pt x="2" y="204"/>
                  </a:cubicBezTo>
                  <a:cubicBezTo>
                    <a:pt x="0" y="220"/>
                    <a:pt x="0" y="220"/>
                    <a:pt x="0" y="220"/>
                  </a:cubicBezTo>
                  <a:cubicBezTo>
                    <a:pt x="10" y="218"/>
                    <a:pt x="10" y="218"/>
                    <a:pt x="10" y="218"/>
                  </a:cubicBezTo>
                  <a:cubicBezTo>
                    <a:pt x="23" y="240"/>
                    <a:pt x="23" y="240"/>
                    <a:pt x="23" y="240"/>
                  </a:cubicBezTo>
                  <a:cubicBezTo>
                    <a:pt x="19" y="253"/>
                    <a:pt x="19" y="253"/>
                    <a:pt x="19" y="253"/>
                  </a:cubicBezTo>
                  <a:cubicBezTo>
                    <a:pt x="27" y="265"/>
                    <a:pt x="27" y="265"/>
                    <a:pt x="27" y="265"/>
                  </a:cubicBezTo>
                  <a:cubicBezTo>
                    <a:pt x="4" y="270"/>
                    <a:pt x="4" y="270"/>
                    <a:pt x="4" y="270"/>
                  </a:cubicBezTo>
                  <a:cubicBezTo>
                    <a:pt x="20" y="309"/>
                    <a:pt x="20" y="309"/>
                    <a:pt x="20" y="309"/>
                  </a:cubicBezTo>
                  <a:cubicBezTo>
                    <a:pt x="6" y="344"/>
                    <a:pt x="6" y="344"/>
                    <a:pt x="6" y="344"/>
                  </a:cubicBezTo>
                  <a:cubicBezTo>
                    <a:pt x="31" y="365"/>
                    <a:pt x="31" y="365"/>
                    <a:pt x="31" y="365"/>
                  </a:cubicBezTo>
                  <a:cubicBezTo>
                    <a:pt x="31" y="365"/>
                    <a:pt x="40" y="385"/>
                    <a:pt x="40" y="429"/>
                  </a:cubicBezTo>
                  <a:cubicBezTo>
                    <a:pt x="50" y="437"/>
                    <a:pt x="50" y="437"/>
                    <a:pt x="50" y="437"/>
                  </a:cubicBezTo>
                  <a:cubicBezTo>
                    <a:pt x="50" y="437"/>
                    <a:pt x="51" y="469"/>
                    <a:pt x="46" y="474"/>
                  </a:cubicBezTo>
                  <a:cubicBezTo>
                    <a:pt x="40" y="480"/>
                    <a:pt x="56" y="497"/>
                    <a:pt x="43" y="512"/>
                  </a:cubicBezTo>
                  <a:cubicBezTo>
                    <a:pt x="47" y="514"/>
                    <a:pt x="67" y="546"/>
                    <a:pt x="76" y="548"/>
                  </a:cubicBezTo>
                  <a:cubicBezTo>
                    <a:pt x="86" y="549"/>
                    <a:pt x="91" y="538"/>
                    <a:pt x="95" y="538"/>
                  </a:cubicBezTo>
                  <a:cubicBezTo>
                    <a:pt x="99" y="538"/>
                    <a:pt x="107" y="545"/>
                    <a:pt x="111" y="545"/>
                  </a:cubicBezTo>
                  <a:cubicBezTo>
                    <a:pt x="115" y="545"/>
                    <a:pt x="126" y="537"/>
                    <a:pt x="126" y="537"/>
                  </a:cubicBezTo>
                  <a:cubicBezTo>
                    <a:pt x="138" y="544"/>
                    <a:pt x="138" y="544"/>
                    <a:pt x="138" y="544"/>
                  </a:cubicBezTo>
                  <a:cubicBezTo>
                    <a:pt x="138" y="558"/>
                    <a:pt x="138" y="558"/>
                    <a:pt x="138" y="558"/>
                  </a:cubicBezTo>
                  <a:cubicBezTo>
                    <a:pt x="150" y="544"/>
                    <a:pt x="150" y="544"/>
                    <a:pt x="150" y="544"/>
                  </a:cubicBezTo>
                  <a:cubicBezTo>
                    <a:pt x="159" y="545"/>
                    <a:pt x="159" y="545"/>
                    <a:pt x="159" y="545"/>
                  </a:cubicBezTo>
                  <a:cubicBezTo>
                    <a:pt x="159" y="545"/>
                    <a:pt x="160" y="517"/>
                    <a:pt x="164" y="521"/>
                  </a:cubicBezTo>
                  <a:cubicBezTo>
                    <a:pt x="168" y="525"/>
                    <a:pt x="198" y="576"/>
                    <a:pt x="198" y="576"/>
                  </a:cubicBezTo>
                  <a:cubicBezTo>
                    <a:pt x="202" y="594"/>
                    <a:pt x="202" y="594"/>
                    <a:pt x="202" y="594"/>
                  </a:cubicBezTo>
                  <a:cubicBezTo>
                    <a:pt x="219" y="597"/>
                    <a:pt x="219" y="597"/>
                    <a:pt x="219" y="597"/>
                  </a:cubicBezTo>
                  <a:cubicBezTo>
                    <a:pt x="230" y="610"/>
                    <a:pt x="230" y="610"/>
                    <a:pt x="230" y="610"/>
                  </a:cubicBezTo>
                  <a:cubicBezTo>
                    <a:pt x="230" y="610"/>
                    <a:pt x="258" y="600"/>
                    <a:pt x="256" y="614"/>
                  </a:cubicBezTo>
                  <a:cubicBezTo>
                    <a:pt x="255" y="629"/>
                    <a:pt x="255" y="658"/>
                    <a:pt x="255" y="658"/>
                  </a:cubicBezTo>
                  <a:cubicBezTo>
                    <a:pt x="248" y="658"/>
                    <a:pt x="248" y="658"/>
                    <a:pt x="248" y="658"/>
                  </a:cubicBezTo>
                  <a:cubicBezTo>
                    <a:pt x="243" y="672"/>
                    <a:pt x="243" y="672"/>
                    <a:pt x="243" y="672"/>
                  </a:cubicBezTo>
                  <a:cubicBezTo>
                    <a:pt x="235" y="669"/>
                    <a:pt x="235" y="669"/>
                    <a:pt x="235" y="669"/>
                  </a:cubicBezTo>
                  <a:cubicBezTo>
                    <a:pt x="236" y="697"/>
                    <a:pt x="236" y="697"/>
                    <a:pt x="236" y="697"/>
                  </a:cubicBezTo>
                  <a:cubicBezTo>
                    <a:pt x="250" y="697"/>
                    <a:pt x="250" y="697"/>
                    <a:pt x="250" y="697"/>
                  </a:cubicBezTo>
                  <a:cubicBezTo>
                    <a:pt x="256" y="710"/>
                    <a:pt x="256" y="710"/>
                    <a:pt x="256" y="710"/>
                  </a:cubicBezTo>
                  <a:cubicBezTo>
                    <a:pt x="280" y="704"/>
                    <a:pt x="280" y="704"/>
                    <a:pt x="280" y="704"/>
                  </a:cubicBezTo>
                  <a:cubicBezTo>
                    <a:pt x="280" y="704"/>
                    <a:pt x="280" y="705"/>
                    <a:pt x="295" y="706"/>
                  </a:cubicBezTo>
                  <a:cubicBezTo>
                    <a:pt x="305" y="707"/>
                    <a:pt x="305" y="705"/>
                    <a:pt x="304" y="703"/>
                  </a:cubicBezTo>
                  <a:cubicBezTo>
                    <a:pt x="303" y="702"/>
                    <a:pt x="303" y="701"/>
                    <a:pt x="303" y="701"/>
                  </a:cubicBezTo>
                  <a:cubicBezTo>
                    <a:pt x="303" y="701"/>
                    <a:pt x="304" y="702"/>
                    <a:pt x="304" y="703"/>
                  </a:cubicBezTo>
                  <a:cubicBezTo>
                    <a:pt x="307" y="707"/>
                    <a:pt x="314" y="715"/>
                    <a:pt x="319" y="714"/>
                  </a:cubicBezTo>
                  <a:cubicBezTo>
                    <a:pt x="326" y="713"/>
                    <a:pt x="320" y="706"/>
                    <a:pt x="326" y="706"/>
                  </a:cubicBezTo>
                  <a:cubicBezTo>
                    <a:pt x="331" y="706"/>
                    <a:pt x="342" y="705"/>
                    <a:pt x="342" y="705"/>
                  </a:cubicBezTo>
                  <a:cubicBezTo>
                    <a:pt x="346" y="666"/>
                    <a:pt x="346" y="666"/>
                    <a:pt x="346" y="666"/>
                  </a:cubicBezTo>
                  <a:cubicBezTo>
                    <a:pt x="358" y="665"/>
                    <a:pt x="358" y="665"/>
                    <a:pt x="358" y="665"/>
                  </a:cubicBezTo>
                  <a:cubicBezTo>
                    <a:pt x="367" y="678"/>
                    <a:pt x="367" y="678"/>
                    <a:pt x="367" y="678"/>
                  </a:cubicBezTo>
                  <a:cubicBezTo>
                    <a:pt x="382" y="666"/>
                    <a:pt x="382" y="666"/>
                    <a:pt x="382" y="666"/>
                  </a:cubicBezTo>
                  <a:cubicBezTo>
                    <a:pt x="382" y="666"/>
                    <a:pt x="382" y="676"/>
                    <a:pt x="387" y="676"/>
                  </a:cubicBezTo>
                  <a:cubicBezTo>
                    <a:pt x="392" y="676"/>
                    <a:pt x="391" y="660"/>
                    <a:pt x="402" y="664"/>
                  </a:cubicBezTo>
                  <a:cubicBezTo>
                    <a:pt x="412" y="668"/>
                    <a:pt x="411" y="678"/>
                    <a:pt x="411" y="678"/>
                  </a:cubicBezTo>
                  <a:cubicBezTo>
                    <a:pt x="419" y="686"/>
                    <a:pt x="419" y="686"/>
                    <a:pt x="419" y="686"/>
                  </a:cubicBezTo>
                  <a:cubicBezTo>
                    <a:pt x="420" y="702"/>
                    <a:pt x="420" y="702"/>
                    <a:pt x="420" y="702"/>
                  </a:cubicBezTo>
                  <a:cubicBezTo>
                    <a:pt x="431" y="704"/>
                    <a:pt x="431" y="704"/>
                    <a:pt x="431" y="704"/>
                  </a:cubicBezTo>
                  <a:cubicBezTo>
                    <a:pt x="459" y="596"/>
                    <a:pt x="459" y="596"/>
                    <a:pt x="459" y="596"/>
                  </a:cubicBezTo>
                  <a:cubicBezTo>
                    <a:pt x="459" y="596"/>
                    <a:pt x="476" y="602"/>
                    <a:pt x="490" y="602"/>
                  </a:cubicBezTo>
                  <a:cubicBezTo>
                    <a:pt x="503" y="602"/>
                    <a:pt x="518" y="589"/>
                    <a:pt x="520" y="594"/>
                  </a:cubicBezTo>
                  <a:cubicBezTo>
                    <a:pt x="523" y="600"/>
                    <a:pt x="524" y="612"/>
                    <a:pt x="528" y="612"/>
                  </a:cubicBezTo>
                  <a:cubicBezTo>
                    <a:pt x="530" y="612"/>
                    <a:pt x="538" y="613"/>
                    <a:pt x="546" y="614"/>
                  </a:cubicBezTo>
                  <a:cubicBezTo>
                    <a:pt x="547" y="608"/>
                    <a:pt x="547" y="608"/>
                    <a:pt x="547" y="608"/>
                  </a:cubicBezTo>
                  <a:cubicBezTo>
                    <a:pt x="566" y="602"/>
                    <a:pt x="566" y="602"/>
                    <a:pt x="566" y="602"/>
                  </a:cubicBezTo>
                  <a:cubicBezTo>
                    <a:pt x="566" y="602"/>
                    <a:pt x="570" y="596"/>
                    <a:pt x="567" y="594"/>
                  </a:cubicBezTo>
                  <a:cubicBezTo>
                    <a:pt x="542" y="588"/>
                    <a:pt x="563" y="569"/>
                    <a:pt x="563" y="569"/>
                  </a:cubicBezTo>
                  <a:cubicBezTo>
                    <a:pt x="563" y="569"/>
                    <a:pt x="566" y="549"/>
                    <a:pt x="571" y="549"/>
                  </a:cubicBezTo>
                  <a:cubicBezTo>
                    <a:pt x="554" y="540"/>
                    <a:pt x="562" y="522"/>
                    <a:pt x="562" y="522"/>
                  </a:cubicBezTo>
                  <a:cubicBezTo>
                    <a:pt x="551" y="526"/>
                    <a:pt x="551" y="526"/>
                    <a:pt x="551" y="526"/>
                  </a:cubicBezTo>
                  <a:cubicBezTo>
                    <a:pt x="551" y="506"/>
                    <a:pt x="551" y="506"/>
                    <a:pt x="551" y="506"/>
                  </a:cubicBezTo>
                  <a:cubicBezTo>
                    <a:pt x="539" y="496"/>
                    <a:pt x="539" y="496"/>
                    <a:pt x="539" y="496"/>
                  </a:cubicBezTo>
                  <a:cubicBezTo>
                    <a:pt x="572" y="484"/>
                    <a:pt x="572" y="484"/>
                    <a:pt x="572" y="484"/>
                  </a:cubicBezTo>
                  <a:cubicBezTo>
                    <a:pt x="556" y="472"/>
                    <a:pt x="544" y="468"/>
                    <a:pt x="544" y="468"/>
                  </a:cubicBezTo>
                  <a:cubicBezTo>
                    <a:pt x="540" y="457"/>
                    <a:pt x="540" y="457"/>
                    <a:pt x="540" y="457"/>
                  </a:cubicBezTo>
                  <a:cubicBezTo>
                    <a:pt x="526" y="456"/>
                    <a:pt x="526" y="456"/>
                    <a:pt x="526" y="456"/>
                  </a:cubicBezTo>
                  <a:cubicBezTo>
                    <a:pt x="526" y="444"/>
                    <a:pt x="538" y="430"/>
                    <a:pt x="538" y="430"/>
                  </a:cubicBezTo>
                  <a:cubicBezTo>
                    <a:pt x="531" y="429"/>
                    <a:pt x="531" y="429"/>
                    <a:pt x="531" y="429"/>
                  </a:cubicBezTo>
                  <a:cubicBezTo>
                    <a:pt x="531" y="429"/>
                    <a:pt x="536" y="420"/>
                    <a:pt x="539" y="416"/>
                  </a:cubicBezTo>
                  <a:cubicBezTo>
                    <a:pt x="560" y="405"/>
                    <a:pt x="580" y="340"/>
                    <a:pt x="580" y="340"/>
                  </a:cubicBezTo>
                  <a:cubicBezTo>
                    <a:pt x="572" y="332"/>
                    <a:pt x="572" y="332"/>
                    <a:pt x="572" y="332"/>
                  </a:cubicBezTo>
                  <a:cubicBezTo>
                    <a:pt x="575" y="312"/>
                    <a:pt x="575" y="312"/>
                    <a:pt x="575" y="312"/>
                  </a:cubicBezTo>
                  <a:cubicBezTo>
                    <a:pt x="556" y="316"/>
                    <a:pt x="556" y="316"/>
                    <a:pt x="556" y="316"/>
                  </a:cubicBezTo>
                  <a:cubicBezTo>
                    <a:pt x="556" y="294"/>
                    <a:pt x="556" y="294"/>
                    <a:pt x="556" y="294"/>
                  </a:cubicBezTo>
                  <a:cubicBezTo>
                    <a:pt x="556" y="294"/>
                    <a:pt x="535" y="290"/>
                    <a:pt x="543" y="290"/>
                  </a:cubicBezTo>
                  <a:cubicBezTo>
                    <a:pt x="551" y="290"/>
                    <a:pt x="539" y="280"/>
                    <a:pt x="555" y="280"/>
                  </a:cubicBezTo>
                  <a:cubicBezTo>
                    <a:pt x="571" y="280"/>
                    <a:pt x="566" y="240"/>
                    <a:pt x="566" y="240"/>
                  </a:cubicBezTo>
                  <a:cubicBezTo>
                    <a:pt x="558" y="236"/>
                    <a:pt x="558" y="236"/>
                    <a:pt x="558" y="236"/>
                  </a:cubicBezTo>
                  <a:cubicBezTo>
                    <a:pt x="550" y="244"/>
                    <a:pt x="550" y="244"/>
                    <a:pt x="550" y="244"/>
                  </a:cubicBezTo>
                  <a:cubicBezTo>
                    <a:pt x="547" y="240"/>
                    <a:pt x="547" y="240"/>
                    <a:pt x="547" y="240"/>
                  </a:cubicBezTo>
                  <a:cubicBezTo>
                    <a:pt x="546" y="242"/>
                    <a:pt x="545" y="244"/>
                    <a:pt x="544" y="244"/>
                  </a:cubicBezTo>
                  <a:cubicBezTo>
                    <a:pt x="540" y="244"/>
                    <a:pt x="535" y="241"/>
                    <a:pt x="535" y="241"/>
                  </a:cubicBezTo>
                  <a:cubicBezTo>
                    <a:pt x="518" y="253"/>
                    <a:pt x="518" y="253"/>
                    <a:pt x="518" y="253"/>
                  </a:cubicBezTo>
                  <a:cubicBezTo>
                    <a:pt x="518" y="240"/>
                    <a:pt x="518" y="240"/>
                    <a:pt x="518" y="240"/>
                  </a:cubicBezTo>
                  <a:cubicBezTo>
                    <a:pt x="502" y="232"/>
                    <a:pt x="502" y="232"/>
                    <a:pt x="502" y="232"/>
                  </a:cubicBezTo>
                  <a:cubicBezTo>
                    <a:pt x="502" y="222"/>
                    <a:pt x="502" y="222"/>
                    <a:pt x="502" y="222"/>
                  </a:cubicBezTo>
                  <a:cubicBezTo>
                    <a:pt x="502" y="222"/>
                    <a:pt x="498" y="226"/>
                    <a:pt x="488" y="226"/>
                  </a:cubicBezTo>
                  <a:cubicBezTo>
                    <a:pt x="479" y="226"/>
                    <a:pt x="467" y="212"/>
                    <a:pt x="467" y="212"/>
                  </a:cubicBezTo>
                  <a:cubicBezTo>
                    <a:pt x="455" y="217"/>
                    <a:pt x="455" y="217"/>
                    <a:pt x="455" y="217"/>
                  </a:cubicBezTo>
                  <a:cubicBezTo>
                    <a:pt x="455" y="194"/>
                    <a:pt x="455" y="194"/>
                    <a:pt x="455" y="194"/>
                  </a:cubicBezTo>
                  <a:cubicBezTo>
                    <a:pt x="446" y="192"/>
                    <a:pt x="446" y="192"/>
                    <a:pt x="446" y="192"/>
                  </a:cubicBezTo>
                  <a:cubicBezTo>
                    <a:pt x="446" y="191"/>
                    <a:pt x="446" y="191"/>
                    <a:pt x="446" y="191"/>
                  </a:cubicBezTo>
                  <a:cubicBezTo>
                    <a:pt x="456" y="173"/>
                    <a:pt x="456" y="173"/>
                    <a:pt x="456" y="173"/>
                  </a:cubicBezTo>
                  <a:cubicBezTo>
                    <a:pt x="450" y="165"/>
                    <a:pt x="439" y="144"/>
                    <a:pt x="439" y="144"/>
                  </a:cubicBezTo>
                  <a:cubicBezTo>
                    <a:pt x="432" y="150"/>
                    <a:pt x="432" y="150"/>
                    <a:pt x="432" y="150"/>
                  </a:cubicBezTo>
                  <a:cubicBezTo>
                    <a:pt x="426" y="146"/>
                    <a:pt x="426" y="146"/>
                    <a:pt x="426" y="146"/>
                  </a:cubicBezTo>
                  <a:cubicBezTo>
                    <a:pt x="432" y="138"/>
                    <a:pt x="432" y="138"/>
                    <a:pt x="432" y="138"/>
                  </a:cubicBezTo>
                  <a:cubicBezTo>
                    <a:pt x="427" y="133"/>
                    <a:pt x="427" y="133"/>
                    <a:pt x="427" y="133"/>
                  </a:cubicBezTo>
                  <a:cubicBezTo>
                    <a:pt x="414" y="133"/>
                    <a:pt x="414" y="133"/>
                    <a:pt x="414" y="133"/>
                  </a:cubicBezTo>
                  <a:cubicBezTo>
                    <a:pt x="414" y="133"/>
                    <a:pt x="414" y="133"/>
                    <a:pt x="415" y="116"/>
                  </a:cubicBezTo>
                  <a:cubicBezTo>
                    <a:pt x="334" y="100"/>
                    <a:pt x="366" y="134"/>
                    <a:pt x="366" y="134"/>
                  </a:cubicBezTo>
                  <a:cubicBezTo>
                    <a:pt x="311" y="136"/>
                    <a:pt x="311" y="136"/>
                    <a:pt x="311" y="136"/>
                  </a:cubicBezTo>
                  <a:cubicBezTo>
                    <a:pt x="311" y="148"/>
                    <a:pt x="311" y="148"/>
                    <a:pt x="311" y="148"/>
                  </a:cubicBezTo>
                  <a:cubicBezTo>
                    <a:pt x="302" y="145"/>
                    <a:pt x="302" y="145"/>
                    <a:pt x="302" y="145"/>
                  </a:cubicBezTo>
                  <a:cubicBezTo>
                    <a:pt x="296" y="132"/>
                    <a:pt x="296" y="132"/>
                    <a:pt x="296" y="132"/>
                  </a:cubicBezTo>
                  <a:cubicBezTo>
                    <a:pt x="287" y="132"/>
                    <a:pt x="287" y="132"/>
                    <a:pt x="287" y="132"/>
                  </a:cubicBezTo>
                  <a:cubicBezTo>
                    <a:pt x="290" y="141"/>
                    <a:pt x="290" y="141"/>
                    <a:pt x="290" y="141"/>
                  </a:cubicBezTo>
                  <a:cubicBezTo>
                    <a:pt x="283" y="137"/>
                    <a:pt x="283" y="137"/>
                    <a:pt x="283" y="137"/>
                  </a:cubicBezTo>
                  <a:cubicBezTo>
                    <a:pt x="270" y="148"/>
                    <a:pt x="270" y="148"/>
                    <a:pt x="270" y="148"/>
                  </a:cubicBezTo>
                  <a:cubicBezTo>
                    <a:pt x="258" y="141"/>
                    <a:pt x="258" y="141"/>
                    <a:pt x="258" y="141"/>
                  </a:cubicBezTo>
                  <a:cubicBezTo>
                    <a:pt x="256" y="146"/>
                    <a:pt x="256" y="146"/>
                    <a:pt x="256" y="146"/>
                  </a:cubicBezTo>
                  <a:cubicBezTo>
                    <a:pt x="222" y="145"/>
                    <a:pt x="222" y="145"/>
                    <a:pt x="222" y="145"/>
                  </a:cubicBezTo>
                  <a:cubicBezTo>
                    <a:pt x="222" y="145"/>
                    <a:pt x="226" y="128"/>
                    <a:pt x="226" y="125"/>
                  </a:cubicBezTo>
                  <a:cubicBezTo>
                    <a:pt x="216" y="133"/>
                    <a:pt x="218" y="129"/>
                    <a:pt x="208" y="109"/>
                  </a:cubicBezTo>
                  <a:cubicBezTo>
                    <a:pt x="199" y="89"/>
                    <a:pt x="190" y="81"/>
                    <a:pt x="190" y="81"/>
                  </a:cubicBezTo>
                  <a:cubicBezTo>
                    <a:pt x="190" y="70"/>
                    <a:pt x="190" y="70"/>
                    <a:pt x="190" y="70"/>
                  </a:cubicBezTo>
                  <a:cubicBezTo>
                    <a:pt x="182" y="69"/>
                    <a:pt x="182" y="69"/>
                    <a:pt x="182" y="69"/>
                  </a:cubicBezTo>
                  <a:cubicBezTo>
                    <a:pt x="182" y="78"/>
                    <a:pt x="182" y="78"/>
                    <a:pt x="182" y="78"/>
                  </a:cubicBezTo>
                  <a:cubicBezTo>
                    <a:pt x="176" y="81"/>
                    <a:pt x="176" y="81"/>
                    <a:pt x="176" y="81"/>
                  </a:cubicBezTo>
                  <a:cubicBezTo>
                    <a:pt x="167" y="66"/>
                    <a:pt x="167" y="66"/>
                    <a:pt x="167" y="66"/>
                  </a:cubicBezTo>
                  <a:cubicBezTo>
                    <a:pt x="158" y="69"/>
                    <a:pt x="158" y="69"/>
                    <a:pt x="158" y="69"/>
                  </a:cubicBezTo>
                  <a:cubicBezTo>
                    <a:pt x="167" y="60"/>
                    <a:pt x="159" y="38"/>
                    <a:pt x="159" y="38"/>
                  </a:cubicBezTo>
                  <a:cubicBezTo>
                    <a:pt x="155" y="33"/>
                    <a:pt x="155" y="33"/>
                    <a:pt x="155" y="33"/>
                  </a:cubicBezTo>
                  <a:cubicBezTo>
                    <a:pt x="155" y="18"/>
                    <a:pt x="128" y="8"/>
                    <a:pt x="128" y="8"/>
                  </a:cubicBezTo>
                  <a:cubicBezTo>
                    <a:pt x="122" y="10"/>
                    <a:pt x="122" y="10"/>
                    <a:pt x="122" y="10"/>
                  </a:cubicBezTo>
                  <a:cubicBezTo>
                    <a:pt x="118" y="0"/>
                    <a:pt x="118" y="0"/>
                    <a:pt x="118" y="0"/>
                  </a:cubicBezTo>
                  <a:cubicBezTo>
                    <a:pt x="103" y="8"/>
                    <a:pt x="103" y="8"/>
                    <a:pt x="103" y="8"/>
                  </a:cubicBezTo>
                  <a:cubicBezTo>
                    <a:pt x="44" y="8"/>
                    <a:pt x="44" y="8"/>
                    <a:pt x="44" y="8"/>
                  </a:cubicBezTo>
                  <a:cubicBezTo>
                    <a:pt x="36" y="28"/>
                    <a:pt x="36" y="28"/>
                    <a:pt x="36" y="28"/>
                  </a:cubicBezTo>
                  <a:cubicBezTo>
                    <a:pt x="42" y="44"/>
                    <a:pt x="42" y="44"/>
                    <a:pt x="42" y="44"/>
                  </a:cubicBezTo>
                  <a:cubicBezTo>
                    <a:pt x="42" y="44"/>
                    <a:pt x="28" y="66"/>
                    <a:pt x="20" y="75"/>
                  </a:cubicBezTo>
                  <a:cubicBezTo>
                    <a:pt x="39" y="84"/>
                    <a:pt x="39" y="84"/>
                    <a:pt x="39" y="84"/>
                  </a:cubicBezTo>
                  <a:cubicBezTo>
                    <a:pt x="39" y="84"/>
                    <a:pt x="28" y="104"/>
                    <a:pt x="58" y="114"/>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9" name="Centre" descr="© INSCALE GmbH, 05.05.2010&#10;http://www.presentationload.com/">
              <a:extLst>
                <a:ext uri="{FF2B5EF4-FFF2-40B4-BE49-F238E27FC236}">
                  <a16:creationId xmlns:a16="http://schemas.microsoft.com/office/drawing/2014/main" id="{2F93616E-9714-40DC-8DC4-1824DBEBEE72}"/>
                </a:ext>
              </a:extLst>
            </p:cNvPr>
            <p:cNvSpPr>
              <a:spLocks/>
            </p:cNvSpPr>
            <p:nvPr/>
          </p:nvSpPr>
          <p:spPr bwMode="gray">
            <a:xfrm>
              <a:off x="1233" y="903"/>
              <a:ext cx="716" cy="887"/>
            </a:xfrm>
            <a:custGeom>
              <a:avLst/>
              <a:gdLst/>
              <a:ahLst/>
              <a:cxnLst>
                <a:cxn ang="0">
                  <a:pos x="209" y="158"/>
                </a:cxn>
                <a:cxn ang="0">
                  <a:pos x="173" y="227"/>
                </a:cxn>
                <a:cxn ang="0">
                  <a:pos x="193" y="251"/>
                </a:cxn>
                <a:cxn ang="0">
                  <a:pos x="168" y="275"/>
                </a:cxn>
                <a:cxn ang="0">
                  <a:pos x="179" y="314"/>
                </a:cxn>
                <a:cxn ang="0">
                  <a:pos x="144" y="367"/>
                </a:cxn>
                <a:cxn ang="0">
                  <a:pos x="79" y="406"/>
                </a:cxn>
                <a:cxn ang="0">
                  <a:pos x="43" y="418"/>
                </a:cxn>
                <a:cxn ang="0">
                  <a:pos x="29" y="494"/>
                </a:cxn>
                <a:cxn ang="0">
                  <a:pos x="29" y="594"/>
                </a:cxn>
                <a:cxn ang="0">
                  <a:pos x="56" y="598"/>
                </a:cxn>
                <a:cxn ang="0">
                  <a:pos x="79" y="632"/>
                </a:cxn>
                <a:cxn ang="0">
                  <a:pos x="108" y="611"/>
                </a:cxn>
                <a:cxn ang="0">
                  <a:pos x="185" y="712"/>
                </a:cxn>
                <a:cxn ang="0">
                  <a:pos x="233" y="788"/>
                </a:cxn>
                <a:cxn ang="0">
                  <a:pos x="251" y="820"/>
                </a:cxn>
                <a:cxn ang="0">
                  <a:pos x="287" y="811"/>
                </a:cxn>
                <a:cxn ang="0">
                  <a:pos x="320" y="814"/>
                </a:cxn>
                <a:cxn ang="0">
                  <a:pos x="353" y="806"/>
                </a:cxn>
                <a:cxn ang="0">
                  <a:pos x="404" y="802"/>
                </a:cxn>
                <a:cxn ang="0">
                  <a:pos x="539" y="771"/>
                </a:cxn>
                <a:cxn ang="0">
                  <a:pos x="559" y="719"/>
                </a:cxn>
                <a:cxn ang="0">
                  <a:pos x="650" y="684"/>
                </a:cxn>
                <a:cxn ang="0">
                  <a:pos x="655" y="607"/>
                </a:cxn>
                <a:cxn ang="0">
                  <a:pos x="611" y="514"/>
                </a:cxn>
                <a:cxn ang="0">
                  <a:pos x="632" y="435"/>
                </a:cxn>
                <a:cxn ang="0">
                  <a:pos x="615" y="388"/>
                </a:cxn>
                <a:cxn ang="0">
                  <a:pos x="641" y="364"/>
                </a:cxn>
                <a:cxn ang="0">
                  <a:pos x="639" y="327"/>
                </a:cxn>
                <a:cxn ang="0">
                  <a:pos x="663" y="284"/>
                </a:cxn>
                <a:cxn ang="0">
                  <a:pos x="624" y="246"/>
                </a:cxn>
                <a:cxn ang="0">
                  <a:pos x="581" y="247"/>
                </a:cxn>
                <a:cxn ang="0">
                  <a:pos x="520" y="254"/>
                </a:cxn>
                <a:cxn ang="0">
                  <a:pos x="513" y="214"/>
                </a:cxn>
                <a:cxn ang="0">
                  <a:pos x="491" y="194"/>
                </a:cxn>
                <a:cxn ang="0">
                  <a:pos x="468" y="188"/>
                </a:cxn>
                <a:cxn ang="0">
                  <a:pos x="419" y="204"/>
                </a:cxn>
                <a:cxn ang="0">
                  <a:pos x="405" y="154"/>
                </a:cxn>
                <a:cxn ang="0">
                  <a:pos x="364" y="115"/>
                </a:cxn>
                <a:cxn ang="0">
                  <a:pos x="341" y="88"/>
                </a:cxn>
                <a:cxn ang="0">
                  <a:pos x="344" y="59"/>
                </a:cxn>
                <a:cxn ang="0">
                  <a:pos x="331" y="23"/>
                </a:cxn>
                <a:cxn ang="0">
                  <a:pos x="312" y="3"/>
                </a:cxn>
                <a:cxn ang="0">
                  <a:pos x="287" y="51"/>
                </a:cxn>
                <a:cxn ang="0">
                  <a:pos x="225" y="54"/>
                </a:cxn>
                <a:cxn ang="0">
                  <a:pos x="177" y="98"/>
                </a:cxn>
              </a:cxnLst>
              <a:rect l="0" t="0" r="r" b="b"/>
              <a:pathLst>
                <a:path w="664" h="822">
                  <a:moveTo>
                    <a:pt x="205" y="131"/>
                  </a:moveTo>
                  <a:cubicBezTo>
                    <a:pt x="205" y="136"/>
                    <a:pt x="201" y="144"/>
                    <a:pt x="201" y="144"/>
                  </a:cubicBezTo>
                  <a:cubicBezTo>
                    <a:pt x="209" y="158"/>
                    <a:pt x="209" y="158"/>
                    <a:pt x="209" y="158"/>
                  </a:cubicBezTo>
                  <a:cubicBezTo>
                    <a:pt x="197" y="172"/>
                    <a:pt x="197" y="172"/>
                    <a:pt x="197" y="172"/>
                  </a:cubicBezTo>
                  <a:cubicBezTo>
                    <a:pt x="197" y="172"/>
                    <a:pt x="171" y="179"/>
                    <a:pt x="168" y="190"/>
                  </a:cubicBezTo>
                  <a:cubicBezTo>
                    <a:pt x="165" y="200"/>
                    <a:pt x="173" y="227"/>
                    <a:pt x="173" y="227"/>
                  </a:cubicBezTo>
                  <a:cubicBezTo>
                    <a:pt x="173" y="235"/>
                    <a:pt x="173" y="235"/>
                    <a:pt x="173" y="235"/>
                  </a:cubicBezTo>
                  <a:cubicBezTo>
                    <a:pt x="193" y="242"/>
                    <a:pt x="193" y="242"/>
                    <a:pt x="193" y="242"/>
                  </a:cubicBezTo>
                  <a:cubicBezTo>
                    <a:pt x="193" y="251"/>
                    <a:pt x="193" y="251"/>
                    <a:pt x="193" y="251"/>
                  </a:cubicBezTo>
                  <a:cubicBezTo>
                    <a:pt x="179" y="252"/>
                    <a:pt x="179" y="252"/>
                    <a:pt x="179" y="252"/>
                  </a:cubicBezTo>
                  <a:cubicBezTo>
                    <a:pt x="179" y="270"/>
                    <a:pt x="179" y="270"/>
                    <a:pt x="179" y="270"/>
                  </a:cubicBezTo>
                  <a:cubicBezTo>
                    <a:pt x="168" y="275"/>
                    <a:pt x="168" y="275"/>
                    <a:pt x="168" y="275"/>
                  </a:cubicBezTo>
                  <a:cubicBezTo>
                    <a:pt x="176" y="287"/>
                    <a:pt x="176" y="287"/>
                    <a:pt x="176" y="287"/>
                  </a:cubicBezTo>
                  <a:cubicBezTo>
                    <a:pt x="172" y="300"/>
                    <a:pt x="172" y="300"/>
                    <a:pt x="172" y="300"/>
                  </a:cubicBezTo>
                  <a:cubicBezTo>
                    <a:pt x="179" y="314"/>
                    <a:pt x="179" y="314"/>
                    <a:pt x="179" y="314"/>
                  </a:cubicBezTo>
                  <a:cubicBezTo>
                    <a:pt x="171" y="324"/>
                    <a:pt x="171" y="324"/>
                    <a:pt x="171" y="324"/>
                  </a:cubicBezTo>
                  <a:cubicBezTo>
                    <a:pt x="171" y="324"/>
                    <a:pt x="161" y="328"/>
                    <a:pt x="161" y="343"/>
                  </a:cubicBezTo>
                  <a:cubicBezTo>
                    <a:pt x="157" y="347"/>
                    <a:pt x="144" y="367"/>
                    <a:pt x="144" y="367"/>
                  </a:cubicBezTo>
                  <a:cubicBezTo>
                    <a:pt x="144" y="367"/>
                    <a:pt x="112" y="388"/>
                    <a:pt x="128" y="394"/>
                  </a:cubicBezTo>
                  <a:cubicBezTo>
                    <a:pt x="124" y="395"/>
                    <a:pt x="95" y="402"/>
                    <a:pt x="95" y="402"/>
                  </a:cubicBezTo>
                  <a:cubicBezTo>
                    <a:pt x="95" y="402"/>
                    <a:pt x="96" y="424"/>
                    <a:pt x="79" y="406"/>
                  </a:cubicBezTo>
                  <a:cubicBezTo>
                    <a:pt x="80" y="408"/>
                    <a:pt x="69" y="415"/>
                    <a:pt x="69" y="415"/>
                  </a:cubicBezTo>
                  <a:cubicBezTo>
                    <a:pt x="80" y="430"/>
                    <a:pt x="80" y="430"/>
                    <a:pt x="80" y="430"/>
                  </a:cubicBezTo>
                  <a:cubicBezTo>
                    <a:pt x="43" y="418"/>
                    <a:pt x="43" y="418"/>
                    <a:pt x="43" y="418"/>
                  </a:cubicBezTo>
                  <a:cubicBezTo>
                    <a:pt x="43" y="418"/>
                    <a:pt x="32" y="446"/>
                    <a:pt x="39" y="454"/>
                  </a:cubicBezTo>
                  <a:cubicBezTo>
                    <a:pt x="35" y="464"/>
                    <a:pt x="23" y="482"/>
                    <a:pt x="23" y="482"/>
                  </a:cubicBezTo>
                  <a:cubicBezTo>
                    <a:pt x="29" y="494"/>
                    <a:pt x="29" y="494"/>
                    <a:pt x="29" y="494"/>
                  </a:cubicBezTo>
                  <a:cubicBezTo>
                    <a:pt x="29" y="494"/>
                    <a:pt x="0" y="528"/>
                    <a:pt x="3" y="556"/>
                  </a:cubicBezTo>
                  <a:cubicBezTo>
                    <a:pt x="5" y="584"/>
                    <a:pt x="29" y="580"/>
                    <a:pt x="29" y="580"/>
                  </a:cubicBezTo>
                  <a:cubicBezTo>
                    <a:pt x="29" y="594"/>
                    <a:pt x="29" y="594"/>
                    <a:pt x="29" y="594"/>
                  </a:cubicBezTo>
                  <a:cubicBezTo>
                    <a:pt x="43" y="587"/>
                    <a:pt x="43" y="587"/>
                    <a:pt x="43" y="587"/>
                  </a:cubicBezTo>
                  <a:cubicBezTo>
                    <a:pt x="47" y="594"/>
                    <a:pt x="47" y="594"/>
                    <a:pt x="47" y="594"/>
                  </a:cubicBezTo>
                  <a:cubicBezTo>
                    <a:pt x="56" y="598"/>
                    <a:pt x="56" y="598"/>
                    <a:pt x="56" y="598"/>
                  </a:cubicBezTo>
                  <a:cubicBezTo>
                    <a:pt x="56" y="598"/>
                    <a:pt x="44" y="624"/>
                    <a:pt x="56" y="628"/>
                  </a:cubicBezTo>
                  <a:cubicBezTo>
                    <a:pt x="68" y="632"/>
                    <a:pt x="67" y="626"/>
                    <a:pt x="67" y="626"/>
                  </a:cubicBezTo>
                  <a:cubicBezTo>
                    <a:pt x="79" y="632"/>
                    <a:pt x="79" y="632"/>
                    <a:pt x="79" y="632"/>
                  </a:cubicBezTo>
                  <a:cubicBezTo>
                    <a:pt x="93" y="624"/>
                    <a:pt x="93" y="624"/>
                    <a:pt x="93" y="624"/>
                  </a:cubicBezTo>
                  <a:cubicBezTo>
                    <a:pt x="116" y="624"/>
                    <a:pt x="116" y="624"/>
                    <a:pt x="116" y="624"/>
                  </a:cubicBezTo>
                  <a:cubicBezTo>
                    <a:pt x="108" y="611"/>
                    <a:pt x="108" y="611"/>
                    <a:pt x="108" y="611"/>
                  </a:cubicBezTo>
                  <a:cubicBezTo>
                    <a:pt x="140" y="622"/>
                    <a:pt x="140" y="622"/>
                    <a:pt x="140" y="622"/>
                  </a:cubicBezTo>
                  <a:cubicBezTo>
                    <a:pt x="140" y="622"/>
                    <a:pt x="143" y="654"/>
                    <a:pt x="160" y="670"/>
                  </a:cubicBezTo>
                  <a:cubicBezTo>
                    <a:pt x="177" y="686"/>
                    <a:pt x="153" y="679"/>
                    <a:pt x="185" y="712"/>
                  </a:cubicBezTo>
                  <a:cubicBezTo>
                    <a:pt x="184" y="726"/>
                    <a:pt x="179" y="755"/>
                    <a:pt x="207" y="756"/>
                  </a:cubicBezTo>
                  <a:cubicBezTo>
                    <a:pt x="211" y="758"/>
                    <a:pt x="208" y="767"/>
                    <a:pt x="208" y="767"/>
                  </a:cubicBezTo>
                  <a:cubicBezTo>
                    <a:pt x="208" y="767"/>
                    <a:pt x="227" y="746"/>
                    <a:pt x="233" y="788"/>
                  </a:cubicBezTo>
                  <a:cubicBezTo>
                    <a:pt x="237" y="795"/>
                    <a:pt x="248" y="800"/>
                    <a:pt x="248" y="800"/>
                  </a:cubicBezTo>
                  <a:cubicBezTo>
                    <a:pt x="244" y="811"/>
                    <a:pt x="244" y="811"/>
                    <a:pt x="244" y="811"/>
                  </a:cubicBezTo>
                  <a:cubicBezTo>
                    <a:pt x="251" y="820"/>
                    <a:pt x="251" y="820"/>
                    <a:pt x="251" y="820"/>
                  </a:cubicBezTo>
                  <a:cubicBezTo>
                    <a:pt x="269" y="818"/>
                    <a:pt x="269" y="818"/>
                    <a:pt x="269" y="818"/>
                  </a:cubicBezTo>
                  <a:cubicBezTo>
                    <a:pt x="269" y="811"/>
                    <a:pt x="269" y="811"/>
                    <a:pt x="269" y="811"/>
                  </a:cubicBezTo>
                  <a:cubicBezTo>
                    <a:pt x="287" y="811"/>
                    <a:pt x="287" y="811"/>
                    <a:pt x="287" y="811"/>
                  </a:cubicBezTo>
                  <a:cubicBezTo>
                    <a:pt x="292" y="822"/>
                    <a:pt x="292" y="822"/>
                    <a:pt x="292" y="822"/>
                  </a:cubicBezTo>
                  <a:cubicBezTo>
                    <a:pt x="319" y="802"/>
                    <a:pt x="319" y="802"/>
                    <a:pt x="319" y="802"/>
                  </a:cubicBezTo>
                  <a:cubicBezTo>
                    <a:pt x="320" y="814"/>
                    <a:pt x="320" y="814"/>
                    <a:pt x="320" y="814"/>
                  </a:cubicBezTo>
                  <a:cubicBezTo>
                    <a:pt x="337" y="803"/>
                    <a:pt x="337" y="803"/>
                    <a:pt x="337" y="803"/>
                  </a:cubicBezTo>
                  <a:cubicBezTo>
                    <a:pt x="340" y="811"/>
                    <a:pt x="340" y="811"/>
                    <a:pt x="340" y="811"/>
                  </a:cubicBezTo>
                  <a:cubicBezTo>
                    <a:pt x="353" y="806"/>
                    <a:pt x="353" y="806"/>
                    <a:pt x="353" y="806"/>
                  </a:cubicBezTo>
                  <a:cubicBezTo>
                    <a:pt x="363" y="812"/>
                    <a:pt x="363" y="812"/>
                    <a:pt x="363" y="812"/>
                  </a:cubicBezTo>
                  <a:cubicBezTo>
                    <a:pt x="368" y="794"/>
                    <a:pt x="368" y="794"/>
                    <a:pt x="368" y="794"/>
                  </a:cubicBezTo>
                  <a:cubicBezTo>
                    <a:pt x="368" y="794"/>
                    <a:pt x="392" y="804"/>
                    <a:pt x="404" y="802"/>
                  </a:cubicBezTo>
                  <a:cubicBezTo>
                    <a:pt x="416" y="799"/>
                    <a:pt x="411" y="790"/>
                    <a:pt x="436" y="803"/>
                  </a:cubicBezTo>
                  <a:cubicBezTo>
                    <a:pt x="441" y="812"/>
                    <a:pt x="483" y="802"/>
                    <a:pt x="483" y="802"/>
                  </a:cubicBezTo>
                  <a:cubicBezTo>
                    <a:pt x="483" y="802"/>
                    <a:pt x="505" y="759"/>
                    <a:pt x="539" y="771"/>
                  </a:cubicBezTo>
                  <a:cubicBezTo>
                    <a:pt x="555" y="760"/>
                    <a:pt x="555" y="760"/>
                    <a:pt x="555" y="760"/>
                  </a:cubicBezTo>
                  <a:cubicBezTo>
                    <a:pt x="555" y="760"/>
                    <a:pt x="545" y="738"/>
                    <a:pt x="552" y="732"/>
                  </a:cubicBezTo>
                  <a:cubicBezTo>
                    <a:pt x="559" y="727"/>
                    <a:pt x="559" y="719"/>
                    <a:pt x="559" y="719"/>
                  </a:cubicBezTo>
                  <a:cubicBezTo>
                    <a:pt x="559" y="719"/>
                    <a:pt x="577" y="700"/>
                    <a:pt x="581" y="700"/>
                  </a:cubicBezTo>
                  <a:cubicBezTo>
                    <a:pt x="585" y="700"/>
                    <a:pt x="600" y="722"/>
                    <a:pt x="608" y="706"/>
                  </a:cubicBezTo>
                  <a:cubicBezTo>
                    <a:pt x="615" y="691"/>
                    <a:pt x="625" y="683"/>
                    <a:pt x="650" y="684"/>
                  </a:cubicBezTo>
                  <a:cubicBezTo>
                    <a:pt x="649" y="683"/>
                    <a:pt x="649" y="682"/>
                    <a:pt x="648" y="682"/>
                  </a:cubicBezTo>
                  <a:cubicBezTo>
                    <a:pt x="661" y="667"/>
                    <a:pt x="645" y="650"/>
                    <a:pt x="651" y="644"/>
                  </a:cubicBezTo>
                  <a:cubicBezTo>
                    <a:pt x="656" y="639"/>
                    <a:pt x="655" y="607"/>
                    <a:pt x="655" y="607"/>
                  </a:cubicBezTo>
                  <a:cubicBezTo>
                    <a:pt x="645" y="599"/>
                    <a:pt x="645" y="599"/>
                    <a:pt x="645" y="599"/>
                  </a:cubicBezTo>
                  <a:cubicBezTo>
                    <a:pt x="645" y="555"/>
                    <a:pt x="636" y="535"/>
                    <a:pt x="636" y="535"/>
                  </a:cubicBezTo>
                  <a:cubicBezTo>
                    <a:pt x="611" y="514"/>
                    <a:pt x="611" y="514"/>
                    <a:pt x="611" y="514"/>
                  </a:cubicBezTo>
                  <a:cubicBezTo>
                    <a:pt x="625" y="479"/>
                    <a:pt x="625" y="479"/>
                    <a:pt x="625" y="479"/>
                  </a:cubicBezTo>
                  <a:cubicBezTo>
                    <a:pt x="609" y="440"/>
                    <a:pt x="609" y="440"/>
                    <a:pt x="609" y="440"/>
                  </a:cubicBezTo>
                  <a:cubicBezTo>
                    <a:pt x="632" y="435"/>
                    <a:pt x="632" y="435"/>
                    <a:pt x="632" y="435"/>
                  </a:cubicBezTo>
                  <a:cubicBezTo>
                    <a:pt x="624" y="423"/>
                    <a:pt x="624" y="423"/>
                    <a:pt x="624" y="423"/>
                  </a:cubicBezTo>
                  <a:cubicBezTo>
                    <a:pt x="628" y="410"/>
                    <a:pt x="628" y="410"/>
                    <a:pt x="628" y="410"/>
                  </a:cubicBezTo>
                  <a:cubicBezTo>
                    <a:pt x="615" y="388"/>
                    <a:pt x="615" y="388"/>
                    <a:pt x="615" y="388"/>
                  </a:cubicBezTo>
                  <a:cubicBezTo>
                    <a:pt x="605" y="390"/>
                    <a:pt x="605" y="390"/>
                    <a:pt x="605" y="390"/>
                  </a:cubicBezTo>
                  <a:cubicBezTo>
                    <a:pt x="607" y="374"/>
                    <a:pt x="607" y="374"/>
                    <a:pt x="607" y="374"/>
                  </a:cubicBezTo>
                  <a:cubicBezTo>
                    <a:pt x="641" y="364"/>
                    <a:pt x="641" y="364"/>
                    <a:pt x="641" y="364"/>
                  </a:cubicBezTo>
                  <a:cubicBezTo>
                    <a:pt x="641" y="340"/>
                    <a:pt x="641" y="340"/>
                    <a:pt x="641" y="340"/>
                  </a:cubicBezTo>
                  <a:cubicBezTo>
                    <a:pt x="636" y="340"/>
                    <a:pt x="636" y="340"/>
                    <a:pt x="636" y="340"/>
                  </a:cubicBezTo>
                  <a:cubicBezTo>
                    <a:pt x="639" y="327"/>
                    <a:pt x="639" y="327"/>
                    <a:pt x="639" y="327"/>
                  </a:cubicBezTo>
                  <a:cubicBezTo>
                    <a:pt x="648" y="326"/>
                    <a:pt x="648" y="326"/>
                    <a:pt x="648" y="326"/>
                  </a:cubicBezTo>
                  <a:cubicBezTo>
                    <a:pt x="664" y="303"/>
                    <a:pt x="664" y="303"/>
                    <a:pt x="664" y="303"/>
                  </a:cubicBezTo>
                  <a:cubicBezTo>
                    <a:pt x="663" y="284"/>
                    <a:pt x="663" y="284"/>
                    <a:pt x="663" y="284"/>
                  </a:cubicBezTo>
                  <a:cubicBezTo>
                    <a:pt x="633" y="274"/>
                    <a:pt x="644" y="254"/>
                    <a:pt x="644" y="254"/>
                  </a:cubicBezTo>
                  <a:cubicBezTo>
                    <a:pt x="625" y="245"/>
                    <a:pt x="625" y="245"/>
                    <a:pt x="625" y="245"/>
                  </a:cubicBezTo>
                  <a:cubicBezTo>
                    <a:pt x="625" y="245"/>
                    <a:pt x="624" y="246"/>
                    <a:pt x="624" y="246"/>
                  </a:cubicBezTo>
                  <a:cubicBezTo>
                    <a:pt x="616" y="254"/>
                    <a:pt x="593" y="258"/>
                    <a:pt x="593" y="258"/>
                  </a:cubicBezTo>
                  <a:cubicBezTo>
                    <a:pt x="593" y="247"/>
                    <a:pt x="593" y="247"/>
                    <a:pt x="593" y="247"/>
                  </a:cubicBezTo>
                  <a:cubicBezTo>
                    <a:pt x="581" y="247"/>
                    <a:pt x="581" y="247"/>
                    <a:pt x="581" y="247"/>
                  </a:cubicBezTo>
                  <a:cubicBezTo>
                    <a:pt x="581" y="255"/>
                    <a:pt x="581" y="255"/>
                    <a:pt x="581" y="255"/>
                  </a:cubicBezTo>
                  <a:cubicBezTo>
                    <a:pt x="526" y="254"/>
                    <a:pt x="526" y="254"/>
                    <a:pt x="526" y="254"/>
                  </a:cubicBezTo>
                  <a:cubicBezTo>
                    <a:pt x="523" y="254"/>
                    <a:pt x="520" y="254"/>
                    <a:pt x="520" y="254"/>
                  </a:cubicBezTo>
                  <a:cubicBezTo>
                    <a:pt x="526" y="254"/>
                    <a:pt x="526" y="254"/>
                    <a:pt x="526" y="254"/>
                  </a:cubicBezTo>
                  <a:cubicBezTo>
                    <a:pt x="530" y="253"/>
                    <a:pt x="536" y="250"/>
                    <a:pt x="537" y="239"/>
                  </a:cubicBezTo>
                  <a:cubicBezTo>
                    <a:pt x="540" y="220"/>
                    <a:pt x="513" y="214"/>
                    <a:pt x="513" y="214"/>
                  </a:cubicBezTo>
                  <a:cubicBezTo>
                    <a:pt x="509" y="198"/>
                    <a:pt x="509" y="198"/>
                    <a:pt x="509" y="198"/>
                  </a:cubicBezTo>
                  <a:cubicBezTo>
                    <a:pt x="507" y="199"/>
                    <a:pt x="507" y="199"/>
                    <a:pt x="507" y="199"/>
                  </a:cubicBezTo>
                  <a:cubicBezTo>
                    <a:pt x="491" y="194"/>
                    <a:pt x="491" y="194"/>
                    <a:pt x="491" y="194"/>
                  </a:cubicBezTo>
                  <a:cubicBezTo>
                    <a:pt x="477" y="202"/>
                    <a:pt x="477" y="202"/>
                    <a:pt x="477" y="202"/>
                  </a:cubicBezTo>
                  <a:cubicBezTo>
                    <a:pt x="475" y="191"/>
                    <a:pt x="475" y="191"/>
                    <a:pt x="475" y="191"/>
                  </a:cubicBezTo>
                  <a:cubicBezTo>
                    <a:pt x="468" y="188"/>
                    <a:pt x="468" y="188"/>
                    <a:pt x="468" y="188"/>
                  </a:cubicBezTo>
                  <a:cubicBezTo>
                    <a:pt x="461" y="202"/>
                    <a:pt x="461" y="202"/>
                    <a:pt x="461" y="202"/>
                  </a:cubicBezTo>
                  <a:cubicBezTo>
                    <a:pt x="461" y="202"/>
                    <a:pt x="451" y="202"/>
                    <a:pt x="443" y="202"/>
                  </a:cubicBezTo>
                  <a:cubicBezTo>
                    <a:pt x="435" y="202"/>
                    <a:pt x="428" y="212"/>
                    <a:pt x="419" y="204"/>
                  </a:cubicBezTo>
                  <a:cubicBezTo>
                    <a:pt x="409" y="196"/>
                    <a:pt x="421" y="170"/>
                    <a:pt x="421" y="170"/>
                  </a:cubicBezTo>
                  <a:cubicBezTo>
                    <a:pt x="411" y="168"/>
                    <a:pt x="411" y="168"/>
                    <a:pt x="411" y="168"/>
                  </a:cubicBezTo>
                  <a:cubicBezTo>
                    <a:pt x="411" y="168"/>
                    <a:pt x="409" y="155"/>
                    <a:pt x="405" y="154"/>
                  </a:cubicBezTo>
                  <a:cubicBezTo>
                    <a:pt x="403" y="162"/>
                    <a:pt x="379" y="147"/>
                    <a:pt x="379" y="147"/>
                  </a:cubicBezTo>
                  <a:cubicBezTo>
                    <a:pt x="377" y="122"/>
                    <a:pt x="377" y="122"/>
                    <a:pt x="377" y="122"/>
                  </a:cubicBezTo>
                  <a:cubicBezTo>
                    <a:pt x="364" y="115"/>
                    <a:pt x="364" y="115"/>
                    <a:pt x="364" y="115"/>
                  </a:cubicBezTo>
                  <a:cubicBezTo>
                    <a:pt x="365" y="103"/>
                    <a:pt x="365" y="103"/>
                    <a:pt x="365" y="103"/>
                  </a:cubicBezTo>
                  <a:cubicBezTo>
                    <a:pt x="356" y="100"/>
                    <a:pt x="356" y="100"/>
                    <a:pt x="356" y="100"/>
                  </a:cubicBezTo>
                  <a:cubicBezTo>
                    <a:pt x="341" y="88"/>
                    <a:pt x="341" y="88"/>
                    <a:pt x="341" y="88"/>
                  </a:cubicBezTo>
                  <a:cubicBezTo>
                    <a:pt x="343" y="78"/>
                    <a:pt x="343" y="78"/>
                    <a:pt x="343" y="78"/>
                  </a:cubicBezTo>
                  <a:cubicBezTo>
                    <a:pt x="333" y="74"/>
                    <a:pt x="333" y="74"/>
                    <a:pt x="333" y="74"/>
                  </a:cubicBezTo>
                  <a:cubicBezTo>
                    <a:pt x="344" y="59"/>
                    <a:pt x="344" y="59"/>
                    <a:pt x="344" y="59"/>
                  </a:cubicBezTo>
                  <a:cubicBezTo>
                    <a:pt x="337" y="52"/>
                    <a:pt x="337" y="52"/>
                    <a:pt x="337" y="52"/>
                  </a:cubicBezTo>
                  <a:cubicBezTo>
                    <a:pt x="339" y="28"/>
                    <a:pt x="339" y="28"/>
                    <a:pt x="339" y="28"/>
                  </a:cubicBezTo>
                  <a:cubicBezTo>
                    <a:pt x="331" y="23"/>
                    <a:pt x="331" y="23"/>
                    <a:pt x="331" y="23"/>
                  </a:cubicBezTo>
                  <a:cubicBezTo>
                    <a:pt x="335" y="14"/>
                    <a:pt x="335" y="14"/>
                    <a:pt x="335" y="14"/>
                  </a:cubicBezTo>
                  <a:cubicBezTo>
                    <a:pt x="320" y="0"/>
                    <a:pt x="320" y="0"/>
                    <a:pt x="320" y="0"/>
                  </a:cubicBezTo>
                  <a:cubicBezTo>
                    <a:pt x="312" y="3"/>
                    <a:pt x="312" y="3"/>
                    <a:pt x="312" y="3"/>
                  </a:cubicBezTo>
                  <a:cubicBezTo>
                    <a:pt x="312" y="3"/>
                    <a:pt x="313" y="10"/>
                    <a:pt x="312" y="15"/>
                  </a:cubicBezTo>
                  <a:cubicBezTo>
                    <a:pt x="311" y="20"/>
                    <a:pt x="292" y="28"/>
                    <a:pt x="292" y="28"/>
                  </a:cubicBezTo>
                  <a:cubicBezTo>
                    <a:pt x="292" y="28"/>
                    <a:pt x="293" y="40"/>
                    <a:pt x="287" y="51"/>
                  </a:cubicBezTo>
                  <a:cubicBezTo>
                    <a:pt x="280" y="62"/>
                    <a:pt x="236" y="47"/>
                    <a:pt x="236" y="47"/>
                  </a:cubicBezTo>
                  <a:cubicBezTo>
                    <a:pt x="235" y="58"/>
                    <a:pt x="235" y="58"/>
                    <a:pt x="235" y="58"/>
                  </a:cubicBezTo>
                  <a:cubicBezTo>
                    <a:pt x="235" y="58"/>
                    <a:pt x="227" y="58"/>
                    <a:pt x="225" y="54"/>
                  </a:cubicBezTo>
                  <a:cubicBezTo>
                    <a:pt x="203" y="76"/>
                    <a:pt x="195" y="64"/>
                    <a:pt x="191" y="64"/>
                  </a:cubicBezTo>
                  <a:cubicBezTo>
                    <a:pt x="187" y="74"/>
                    <a:pt x="182" y="78"/>
                    <a:pt x="176" y="79"/>
                  </a:cubicBezTo>
                  <a:cubicBezTo>
                    <a:pt x="177" y="98"/>
                    <a:pt x="177" y="98"/>
                    <a:pt x="177" y="98"/>
                  </a:cubicBezTo>
                  <a:cubicBezTo>
                    <a:pt x="177" y="98"/>
                    <a:pt x="205" y="126"/>
                    <a:pt x="205" y="13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0" name="Basse Normandie" descr="© INSCALE GmbH, 05.05.2010&#10;http://www.presentationload.com/">
              <a:extLst>
                <a:ext uri="{FF2B5EF4-FFF2-40B4-BE49-F238E27FC236}">
                  <a16:creationId xmlns:a16="http://schemas.microsoft.com/office/drawing/2014/main" id="{96C755B5-878D-43B1-9DB9-C3827DF7190E}"/>
                </a:ext>
              </a:extLst>
            </p:cNvPr>
            <p:cNvSpPr>
              <a:spLocks/>
            </p:cNvSpPr>
            <p:nvPr/>
          </p:nvSpPr>
          <p:spPr bwMode="gray">
            <a:xfrm>
              <a:off x="801" y="585"/>
              <a:ext cx="657" cy="573"/>
            </a:xfrm>
            <a:custGeom>
              <a:avLst/>
              <a:gdLst/>
              <a:ahLst/>
              <a:cxnLst>
                <a:cxn ang="0">
                  <a:pos x="197" y="413"/>
                </a:cxn>
                <a:cxn ang="0">
                  <a:pos x="245" y="437"/>
                </a:cxn>
                <a:cxn ang="0">
                  <a:pos x="265" y="435"/>
                </a:cxn>
                <a:cxn ang="0">
                  <a:pos x="315" y="422"/>
                </a:cxn>
                <a:cxn ang="0">
                  <a:pos x="336" y="415"/>
                </a:cxn>
                <a:cxn ang="0">
                  <a:pos x="348" y="405"/>
                </a:cxn>
                <a:cxn ang="0">
                  <a:pos x="373" y="439"/>
                </a:cxn>
                <a:cxn ang="0">
                  <a:pos x="395" y="465"/>
                </a:cxn>
                <a:cxn ang="0">
                  <a:pos x="485" y="481"/>
                </a:cxn>
                <a:cxn ang="0">
                  <a:pos x="512" y="513"/>
                </a:cxn>
                <a:cxn ang="0">
                  <a:pos x="561" y="531"/>
                </a:cxn>
                <a:cxn ang="0">
                  <a:pos x="573" y="522"/>
                </a:cxn>
                <a:cxn ang="0">
                  <a:pos x="597" y="467"/>
                </a:cxn>
                <a:cxn ang="0">
                  <a:pos x="601" y="439"/>
                </a:cxn>
                <a:cxn ang="0">
                  <a:pos x="577" y="393"/>
                </a:cxn>
                <a:cxn ang="0">
                  <a:pos x="563" y="374"/>
                </a:cxn>
                <a:cxn ang="0">
                  <a:pos x="536" y="325"/>
                </a:cxn>
                <a:cxn ang="0">
                  <a:pos x="496" y="303"/>
                </a:cxn>
                <a:cxn ang="0">
                  <a:pos x="496" y="259"/>
                </a:cxn>
                <a:cxn ang="0">
                  <a:pos x="495" y="246"/>
                </a:cxn>
                <a:cxn ang="0">
                  <a:pos x="491" y="218"/>
                </a:cxn>
                <a:cxn ang="0">
                  <a:pos x="477" y="186"/>
                </a:cxn>
                <a:cxn ang="0">
                  <a:pos x="463" y="93"/>
                </a:cxn>
                <a:cxn ang="0">
                  <a:pos x="357" y="137"/>
                </a:cxn>
                <a:cxn ang="0">
                  <a:pos x="239" y="114"/>
                </a:cxn>
                <a:cxn ang="0">
                  <a:pos x="168" y="123"/>
                </a:cxn>
                <a:cxn ang="0">
                  <a:pos x="157" y="102"/>
                </a:cxn>
                <a:cxn ang="0">
                  <a:pos x="130" y="51"/>
                </a:cxn>
                <a:cxn ang="0">
                  <a:pos x="140" y="11"/>
                </a:cxn>
                <a:cxn ang="0">
                  <a:pos x="91" y="21"/>
                </a:cxn>
                <a:cxn ang="0">
                  <a:pos x="1" y="0"/>
                </a:cxn>
                <a:cxn ang="0">
                  <a:pos x="16" y="23"/>
                </a:cxn>
                <a:cxn ang="0">
                  <a:pos x="22" y="85"/>
                </a:cxn>
                <a:cxn ang="0">
                  <a:pos x="66" y="158"/>
                </a:cxn>
                <a:cxn ang="0">
                  <a:pos x="73" y="216"/>
                </a:cxn>
                <a:cxn ang="0">
                  <a:pos x="78" y="239"/>
                </a:cxn>
                <a:cxn ang="0">
                  <a:pos x="69" y="294"/>
                </a:cxn>
                <a:cxn ang="0">
                  <a:pos x="83" y="331"/>
                </a:cxn>
                <a:cxn ang="0">
                  <a:pos x="58" y="332"/>
                </a:cxn>
                <a:cxn ang="0">
                  <a:pos x="136" y="402"/>
                </a:cxn>
              </a:cxnLst>
              <a:rect l="0" t="0" r="r" b="b"/>
              <a:pathLst>
                <a:path w="609" h="531">
                  <a:moveTo>
                    <a:pt x="136" y="402"/>
                  </a:moveTo>
                  <a:cubicBezTo>
                    <a:pt x="173" y="418"/>
                    <a:pt x="187" y="426"/>
                    <a:pt x="197" y="413"/>
                  </a:cubicBezTo>
                  <a:cubicBezTo>
                    <a:pt x="207" y="418"/>
                    <a:pt x="220" y="422"/>
                    <a:pt x="220" y="422"/>
                  </a:cubicBezTo>
                  <a:cubicBezTo>
                    <a:pt x="220" y="422"/>
                    <a:pt x="245" y="446"/>
                    <a:pt x="245" y="437"/>
                  </a:cubicBezTo>
                  <a:cubicBezTo>
                    <a:pt x="245" y="427"/>
                    <a:pt x="261" y="426"/>
                    <a:pt x="261" y="426"/>
                  </a:cubicBezTo>
                  <a:cubicBezTo>
                    <a:pt x="265" y="435"/>
                    <a:pt x="265" y="435"/>
                    <a:pt x="265" y="435"/>
                  </a:cubicBezTo>
                  <a:cubicBezTo>
                    <a:pt x="265" y="435"/>
                    <a:pt x="288" y="435"/>
                    <a:pt x="293" y="421"/>
                  </a:cubicBezTo>
                  <a:cubicBezTo>
                    <a:pt x="300" y="421"/>
                    <a:pt x="315" y="422"/>
                    <a:pt x="315" y="422"/>
                  </a:cubicBezTo>
                  <a:cubicBezTo>
                    <a:pt x="321" y="427"/>
                    <a:pt x="321" y="427"/>
                    <a:pt x="321" y="427"/>
                  </a:cubicBezTo>
                  <a:cubicBezTo>
                    <a:pt x="336" y="415"/>
                    <a:pt x="336" y="415"/>
                    <a:pt x="336" y="415"/>
                  </a:cubicBezTo>
                  <a:cubicBezTo>
                    <a:pt x="336" y="415"/>
                    <a:pt x="344" y="426"/>
                    <a:pt x="348" y="418"/>
                  </a:cubicBezTo>
                  <a:cubicBezTo>
                    <a:pt x="352" y="410"/>
                    <a:pt x="344" y="405"/>
                    <a:pt x="348" y="405"/>
                  </a:cubicBezTo>
                  <a:cubicBezTo>
                    <a:pt x="352" y="405"/>
                    <a:pt x="375" y="414"/>
                    <a:pt x="375" y="414"/>
                  </a:cubicBezTo>
                  <a:cubicBezTo>
                    <a:pt x="375" y="414"/>
                    <a:pt x="361" y="439"/>
                    <a:pt x="373" y="439"/>
                  </a:cubicBezTo>
                  <a:cubicBezTo>
                    <a:pt x="385" y="439"/>
                    <a:pt x="391" y="438"/>
                    <a:pt x="391" y="438"/>
                  </a:cubicBezTo>
                  <a:cubicBezTo>
                    <a:pt x="395" y="465"/>
                    <a:pt x="395" y="465"/>
                    <a:pt x="395" y="465"/>
                  </a:cubicBezTo>
                  <a:cubicBezTo>
                    <a:pt x="415" y="465"/>
                    <a:pt x="415" y="465"/>
                    <a:pt x="415" y="465"/>
                  </a:cubicBezTo>
                  <a:cubicBezTo>
                    <a:pt x="415" y="465"/>
                    <a:pt x="477" y="390"/>
                    <a:pt x="485" y="481"/>
                  </a:cubicBezTo>
                  <a:cubicBezTo>
                    <a:pt x="492" y="486"/>
                    <a:pt x="505" y="493"/>
                    <a:pt x="505" y="493"/>
                  </a:cubicBezTo>
                  <a:cubicBezTo>
                    <a:pt x="512" y="513"/>
                    <a:pt x="512" y="513"/>
                    <a:pt x="512" y="513"/>
                  </a:cubicBezTo>
                  <a:cubicBezTo>
                    <a:pt x="537" y="507"/>
                    <a:pt x="537" y="507"/>
                    <a:pt x="537" y="507"/>
                  </a:cubicBezTo>
                  <a:cubicBezTo>
                    <a:pt x="561" y="531"/>
                    <a:pt x="561" y="531"/>
                    <a:pt x="561" y="531"/>
                  </a:cubicBezTo>
                  <a:cubicBezTo>
                    <a:pt x="573" y="529"/>
                    <a:pt x="573" y="529"/>
                    <a:pt x="573" y="529"/>
                  </a:cubicBezTo>
                  <a:cubicBezTo>
                    <a:pt x="573" y="522"/>
                    <a:pt x="573" y="522"/>
                    <a:pt x="573" y="522"/>
                  </a:cubicBezTo>
                  <a:cubicBezTo>
                    <a:pt x="573" y="522"/>
                    <a:pt x="565" y="495"/>
                    <a:pt x="568" y="485"/>
                  </a:cubicBezTo>
                  <a:cubicBezTo>
                    <a:pt x="571" y="474"/>
                    <a:pt x="597" y="467"/>
                    <a:pt x="597" y="467"/>
                  </a:cubicBezTo>
                  <a:cubicBezTo>
                    <a:pt x="609" y="453"/>
                    <a:pt x="609" y="453"/>
                    <a:pt x="609" y="453"/>
                  </a:cubicBezTo>
                  <a:cubicBezTo>
                    <a:pt x="601" y="439"/>
                    <a:pt x="601" y="439"/>
                    <a:pt x="601" y="439"/>
                  </a:cubicBezTo>
                  <a:cubicBezTo>
                    <a:pt x="601" y="439"/>
                    <a:pt x="605" y="431"/>
                    <a:pt x="605" y="426"/>
                  </a:cubicBezTo>
                  <a:cubicBezTo>
                    <a:pt x="605" y="421"/>
                    <a:pt x="577" y="393"/>
                    <a:pt x="577" y="393"/>
                  </a:cubicBezTo>
                  <a:cubicBezTo>
                    <a:pt x="576" y="374"/>
                    <a:pt x="576" y="374"/>
                    <a:pt x="576" y="374"/>
                  </a:cubicBezTo>
                  <a:cubicBezTo>
                    <a:pt x="569" y="376"/>
                    <a:pt x="563" y="374"/>
                    <a:pt x="563" y="374"/>
                  </a:cubicBezTo>
                  <a:cubicBezTo>
                    <a:pt x="563" y="374"/>
                    <a:pt x="556" y="363"/>
                    <a:pt x="560" y="363"/>
                  </a:cubicBezTo>
                  <a:cubicBezTo>
                    <a:pt x="581" y="349"/>
                    <a:pt x="536" y="325"/>
                    <a:pt x="536" y="325"/>
                  </a:cubicBezTo>
                  <a:cubicBezTo>
                    <a:pt x="529" y="305"/>
                    <a:pt x="529" y="305"/>
                    <a:pt x="529" y="305"/>
                  </a:cubicBezTo>
                  <a:cubicBezTo>
                    <a:pt x="496" y="303"/>
                    <a:pt x="496" y="303"/>
                    <a:pt x="496" y="303"/>
                  </a:cubicBezTo>
                  <a:cubicBezTo>
                    <a:pt x="496" y="303"/>
                    <a:pt x="483" y="299"/>
                    <a:pt x="489" y="294"/>
                  </a:cubicBezTo>
                  <a:cubicBezTo>
                    <a:pt x="496" y="289"/>
                    <a:pt x="496" y="259"/>
                    <a:pt x="496" y="259"/>
                  </a:cubicBezTo>
                  <a:cubicBezTo>
                    <a:pt x="487" y="247"/>
                    <a:pt x="487" y="247"/>
                    <a:pt x="487" y="247"/>
                  </a:cubicBezTo>
                  <a:cubicBezTo>
                    <a:pt x="495" y="246"/>
                    <a:pt x="495" y="246"/>
                    <a:pt x="495" y="246"/>
                  </a:cubicBezTo>
                  <a:cubicBezTo>
                    <a:pt x="496" y="226"/>
                    <a:pt x="496" y="226"/>
                    <a:pt x="496" y="226"/>
                  </a:cubicBezTo>
                  <a:cubicBezTo>
                    <a:pt x="491" y="218"/>
                    <a:pt x="491" y="218"/>
                    <a:pt x="491" y="218"/>
                  </a:cubicBezTo>
                  <a:cubicBezTo>
                    <a:pt x="491" y="203"/>
                    <a:pt x="491" y="203"/>
                    <a:pt x="491" y="203"/>
                  </a:cubicBezTo>
                  <a:cubicBezTo>
                    <a:pt x="491" y="203"/>
                    <a:pt x="475" y="193"/>
                    <a:pt x="477" y="186"/>
                  </a:cubicBezTo>
                  <a:cubicBezTo>
                    <a:pt x="508" y="175"/>
                    <a:pt x="476" y="178"/>
                    <a:pt x="476" y="178"/>
                  </a:cubicBezTo>
                  <a:cubicBezTo>
                    <a:pt x="463" y="93"/>
                    <a:pt x="463" y="93"/>
                    <a:pt x="463" y="93"/>
                  </a:cubicBezTo>
                  <a:cubicBezTo>
                    <a:pt x="458" y="95"/>
                    <a:pt x="436" y="105"/>
                    <a:pt x="435" y="102"/>
                  </a:cubicBezTo>
                  <a:cubicBezTo>
                    <a:pt x="418" y="138"/>
                    <a:pt x="357" y="137"/>
                    <a:pt x="357" y="137"/>
                  </a:cubicBezTo>
                  <a:cubicBezTo>
                    <a:pt x="325" y="122"/>
                    <a:pt x="325" y="122"/>
                    <a:pt x="325" y="122"/>
                  </a:cubicBezTo>
                  <a:cubicBezTo>
                    <a:pt x="325" y="122"/>
                    <a:pt x="286" y="117"/>
                    <a:pt x="239" y="114"/>
                  </a:cubicBezTo>
                  <a:cubicBezTo>
                    <a:pt x="194" y="93"/>
                    <a:pt x="170" y="107"/>
                    <a:pt x="170" y="107"/>
                  </a:cubicBezTo>
                  <a:cubicBezTo>
                    <a:pt x="168" y="123"/>
                    <a:pt x="168" y="123"/>
                    <a:pt x="168" y="123"/>
                  </a:cubicBezTo>
                  <a:cubicBezTo>
                    <a:pt x="160" y="116"/>
                    <a:pt x="160" y="116"/>
                    <a:pt x="160" y="116"/>
                  </a:cubicBezTo>
                  <a:cubicBezTo>
                    <a:pt x="160" y="116"/>
                    <a:pt x="150" y="108"/>
                    <a:pt x="157" y="102"/>
                  </a:cubicBezTo>
                  <a:cubicBezTo>
                    <a:pt x="164" y="96"/>
                    <a:pt x="152" y="88"/>
                    <a:pt x="152" y="88"/>
                  </a:cubicBezTo>
                  <a:cubicBezTo>
                    <a:pt x="130" y="51"/>
                    <a:pt x="130" y="51"/>
                    <a:pt x="130" y="51"/>
                  </a:cubicBezTo>
                  <a:cubicBezTo>
                    <a:pt x="150" y="35"/>
                    <a:pt x="150" y="35"/>
                    <a:pt x="150" y="35"/>
                  </a:cubicBezTo>
                  <a:cubicBezTo>
                    <a:pt x="140" y="11"/>
                    <a:pt x="140" y="11"/>
                    <a:pt x="140" y="11"/>
                  </a:cubicBezTo>
                  <a:cubicBezTo>
                    <a:pt x="104" y="7"/>
                    <a:pt x="104" y="7"/>
                    <a:pt x="104" y="7"/>
                  </a:cubicBezTo>
                  <a:cubicBezTo>
                    <a:pt x="91" y="21"/>
                    <a:pt x="91" y="21"/>
                    <a:pt x="91" y="21"/>
                  </a:cubicBezTo>
                  <a:cubicBezTo>
                    <a:pt x="91" y="21"/>
                    <a:pt x="82" y="30"/>
                    <a:pt x="59" y="24"/>
                  </a:cubicBezTo>
                  <a:cubicBezTo>
                    <a:pt x="36" y="18"/>
                    <a:pt x="1" y="0"/>
                    <a:pt x="1" y="0"/>
                  </a:cubicBezTo>
                  <a:cubicBezTo>
                    <a:pt x="0" y="16"/>
                    <a:pt x="0" y="16"/>
                    <a:pt x="0" y="16"/>
                  </a:cubicBezTo>
                  <a:cubicBezTo>
                    <a:pt x="0" y="16"/>
                    <a:pt x="4" y="16"/>
                    <a:pt x="16" y="23"/>
                  </a:cubicBezTo>
                  <a:cubicBezTo>
                    <a:pt x="28" y="30"/>
                    <a:pt x="12" y="63"/>
                    <a:pt x="12" y="63"/>
                  </a:cubicBezTo>
                  <a:cubicBezTo>
                    <a:pt x="12" y="63"/>
                    <a:pt x="21" y="81"/>
                    <a:pt x="22" y="85"/>
                  </a:cubicBezTo>
                  <a:cubicBezTo>
                    <a:pt x="22" y="112"/>
                    <a:pt x="34" y="108"/>
                    <a:pt x="34" y="108"/>
                  </a:cubicBezTo>
                  <a:cubicBezTo>
                    <a:pt x="66" y="158"/>
                    <a:pt x="66" y="158"/>
                    <a:pt x="66" y="158"/>
                  </a:cubicBezTo>
                  <a:cubicBezTo>
                    <a:pt x="65" y="214"/>
                    <a:pt x="65" y="214"/>
                    <a:pt x="65" y="214"/>
                  </a:cubicBezTo>
                  <a:cubicBezTo>
                    <a:pt x="73" y="216"/>
                    <a:pt x="73" y="216"/>
                    <a:pt x="73" y="216"/>
                  </a:cubicBezTo>
                  <a:cubicBezTo>
                    <a:pt x="69" y="232"/>
                    <a:pt x="69" y="232"/>
                    <a:pt x="69" y="232"/>
                  </a:cubicBezTo>
                  <a:cubicBezTo>
                    <a:pt x="78" y="239"/>
                    <a:pt x="78" y="239"/>
                    <a:pt x="78" y="239"/>
                  </a:cubicBezTo>
                  <a:cubicBezTo>
                    <a:pt x="70" y="245"/>
                    <a:pt x="70" y="245"/>
                    <a:pt x="70" y="245"/>
                  </a:cubicBezTo>
                  <a:cubicBezTo>
                    <a:pt x="70" y="245"/>
                    <a:pt x="66" y="280"/>
                    <a:pt x="69" y="294"/>
                  </a:cubicBezTo>
                  <a:cubicBezTo>
                    <a:pt x="71" y="315"/>
                    <a:pt x="108" y="326"/>
                    <a:pt x="108" y="326"/>
                  </a:cubicBezTo>
                  <a:cubicBezTo>
                    <a:pt x="83" y="331"/>
                    <a:pt x="83" y="331"/>
                    <a:pt x="83" y="331"/>
                  </a:cubicBezTo>
                  <a:cubicBezTo>
                    <a:pt x="83" y="331"/>
                    <a:pt x="75" y="328"/>
                    <a:pt x="68" y="329"/>
                  </a:cubicBezTo>
                  <a:cubicBezTo>
                    <a:pt x="66" y="330"/>
                    <a:pt x="62" y="331"/>
                    <a:pt x="58" y="332"/>
                  </a:cubicBezTo>
                  <a:cubicBezTo>
                    <a:pt x="77" y="377"/>
                    <a:pt x="77" y="377"/>
                    <a:pt x="77" y="377"/>
                  </a:cubicBezTo>
                  <a:cubicBezTo>
                    <a:pt x="77" y="377"/>
                    <a:pt x="87" y="470"/>
                    <a:pt x="136" y="402"/>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1" name="Bretagne" descr="© INSCALE GmbH, 05.05.2010&#10;http://www.presentationload.com/">
              <a:extLst>
                <a:ext uri="{FF2B5EF4-FFF2-40B4-BE49-F238E27FC236}">
                  <a16:creationId xmlns:a16="http://schemas.microsoft.com/office/drawing/2014/main" id="{F823883D-B803-4C7E-982B-A6EA279E0036}"/>
                </a:ext>
              </a:extLst>
            </p:cNvPr>
            <p:cNvSpPr>
              <a:spLocks noEditPoints="1"/>
            </p:cNvSpPr>
            <p:nvPr/>
          </p:nvSpPr>
          <p:spPr bwMode="gray">
            <a:xfrm>
              <a:off x="48" y="857"/>
              <a:ext cx="953" cy="536"/>
            </a:xfrm>
            <a:custGeom>
              <a:avLst/>
              <a:gdLst/>
              <a:ahLst/>
              <a:cxnLst>
                <a:cxn ang="0">
                  <a:pos x="459" y="18"/>
                </a:cxn>
                <a:cxn ang="0">
                  <a:pos x="5" y="133"/>
                </a:cxn>
                <a:cxn ang="0">
                  <a:pos x="355" y="388"/>
                </a:cxn>
                <a:cxn ang="0">
                  <a:pos x="355" y="388"/>
                </a:cxn>
                <a:cxn ang="0">
                  <a:pos x="394" y="465"/>
                </a:cxn>
                <a:cxn ang="0">
                  <a:pos x="422" y="494"/>
                </a:cxn>
                <a:cxn ang="0">
                  <a:pos x="413" y="479"/>
                </a:cxn>
                <a:cxn ang="0">
                  <a:pos x="448" y="462"/>
                </a:cxn>
                <a:cxn ang="0">
                  <a:pos x="467" y="479"/>
                </a:cxn>
                <a:cxn ang="0">
                  <a:pos x="55" y="259"/>
                </a:cxn>
                <a:cxn ang="0">
                  <a:pos x="36" y="144"/>
                </a:cxn>
                <a:cxn ang="0">
                  <a:pos x="56" y="163"/>
                </a:cxn>
                <a:cxn ang="0">
                  <a:pos x="246" y="42"/>
                </a:cxn>
                <a:cxn ang="0">
                  <a:pos x="874" y="165"/>
                </a:cxn>
                <a:cxn ang="0">
                  <a:pos x="757" y="79"/>
                </a:cxn>
                <a:cxn ang="0">
                  <a:pos x="705" y="58"/>
                </a:cxn>
                <a:cxn ang="0">
                  <a:pos x="628" y="92"/>
                </a:cxn>
                <a:cxn ang="0">
                  <a:pos x="606" y="63"/>
                </a:cxn>
                <a:cxn ang="0">
                  <a:pos x="570" y="80"/>
                </a:cxn>
                <a:cxn ang="0">
                  <a:pos x="526" y="116"/>
                </a:cxn>
                <a:cxn ang="0">
                  <a:pos x="496" y="71"/>
                </a:cxn>
                <a:cxn ang="0">
                  <a:pos x="458" y="31"/>
                </a:cxn>
                <a:cxn ang="0">
                  <a:pos x="446" y="0"/>
                </a:cxn>
                <a:cxn ang="0">
                  <a:pos x="401" y="13"/>
                </a:cxn>
                <a:cxn ang="0">
                  <a:pos x="347" y="22"/>
                </a:cxn>
                <a:cxn ang="0">
                  <a:pos x="333" y="59"/>
                </a:cxn>
                <a:cxn ang="0">
                  <a:pos x="268" y="58"/>
                </a:cxn>
                <a:cxn ang="0">
                  <a:pos x="237" y="58"/>
                </a:cxn>
                <a:cxn ang="0">
                  <a:pos x="186" y="70"/>
                </a:cxn>
                <a:cxn ang="0">
                  <a:pos x="147" y="76"/>
                </a:cxn>
                <a:cxn ang="0">
                  <a:pos x="115" y="80"/>
                </a:cxn>
                <a:cxn ang="0">
                  <a:pos x="84" y="106"/>
                </a:cxn>
                <a:cxn ang="0">
                  <a:pos x="79" y="148"/>
                </a:cxn>
                <a:cxn ang="0">
                  <a:pos x="98" y="154"/>
                </a:cxn>
                <a:cxn ang="0">
                  <a:pos x="156" y="145"/>
                </a:cxn>
                <a:cxn ang="0">
                  <a:pos x="172" y="160"/>
                </a:cxn>
                <a:cxn ang="0">
                  <a:pos x="155" y="185"/>
                </a:cxn>
                <a:cxn ang="0">
                  <a:pos x="122" y="172"/>
                </a:cxn>
                <a:cxn ang="0">
                  <a:pos x="125" y="211"/>
                </a:cxn>
                <a:cxn ang="0">
                  <a:pos x="171" y="237"/>
                </a:cxn>
                <a:cxn ang="0">
                  <a:pos x="156" y="329"/>
                </a:cxn>
                <a:cxn ang="0">
                  <a:pos x="235" y="316"/>
                </a:cxn>
                <a:cxn ang="0">
                  <a:pos x="294" y="333"/>
                </a:cxn>
                <a:cxn ang="0">
                  <a:pos x="384" y="364"/>
                </a:cxn>
                <a:cxn ang="0">
                  <a:pos x="414" y="432"/>
                </a:cxn>
                <a:cxn ang="0">
                  <a:pos x="425" y="403"/>
                </a:cxn>
                <a:cxn ang="0">
                  <a:pos x="460" y="391"/>
                </a:cxn>
                <a:cxn ang="0">
                  <a:pos x="522" y="390"/>
                </a:cxn>
                <a:cxn ang="0">
                  <a:pos x="462" y="407"/>
                </a:cxn>
                <a:cxn ang="0">
                  <a:pos x="513" y="428"/>
                </a:cxn>
                <a:cxn ang="0">
                  <a:pos x="555" y="424"/>
                </a:cxn>
                <a:cxn ang="0">
                  <a:pos x="566" y="454"/>
                </a:cxn>
                <a:cxn ang="0">
                  <a:pos x="554" y="487"/>
                </a:cxn>
                <a:cxn ang="0">
                  <a:pos x="595" y="481"/>
                </a:cxn>
                <a:cxn ang="0">
                  <a:pos x="666" y="409"/>
                </a:cxn>
                <a:cxn ang="0">
                  <a:pos x="752" y="389"/>
                </a:cxn>
                <a:cxn ang="0">
                  <a:pos x="796" y="377"/>
                </a:cxn>
                <a:cxn ang="0">
                  <a:pos x="838" y="366"/>
                </a:cxn>
                <a:cxn ang="0">
                  <a:pos x="879" y="220"/>
                </a:cxn>
              </a:cxnLst>
              <a:rect l="0" t="0" r="r" b="b"/>
              <a:pathLst>
                <a:path w="884" h="496">
                  <a:moveTo>
                    <a:pt x="459" y="18"/>
                  </a:moveTo>
                  <a:cubicBezTo>
                    <a:pt x="460" y="17"/>
                    <a:pt x="460" y="17"/>
                    <a:pt x="460" y="15"/>
                  </a:cubicBezTo>
                  <a:cubicBezTo>
                    <a:pt x="460" y="12"/>
                    <a:pt x="459" y="14"/>
                    <a:pt x="459" y="18"/>
                  </a:cubicBezTo>
                  <a:close/>
                  <a:moveTo>
                    <a:pt x="17" y="117"/>
                  </a:moveTo>
                  <a:cubicBezTo>
                    <a:pt x="11" y="117"/>
                    <a:pt x="0" y="125"/>
                    <a:pt x="0" y="125"/>
                  </a:cubicBezTo>
                  <a:cubicBezTo>
                    <a:pt x="5" y="133"/>
                    <a:pt x="5" y="133"/>
                    <a:pt x="5" y="133"/>
                  </a:cubicBezTo>
                  <a:cubicBezTo>
                    <a:pt x="21" y="123"/>
                    <a:pt x="21" y="123"/>
                    <a:pt x="21" y="123"/>
                  </a:cubicBezTo>
                  <a:cubicBezTo>
                    <a:pt x="21" y="123"/>
                    <a:pt x="23" y="117"/>
                    <a:pt x="17" y="117"/>
                  </a:cubicBezTo>
                  <a:close/>
                  <a:moveTo>
                    <a:pt x="355" y="388"/>
                  </a:moveTo>
                  <a:cubicBezTo>
                    <a:pt x="346" y="382"/>
                    <a:pt x="339" y="378"/>
                    <a:pt x="339" y="378"/>
                  </a:cubicBezTo>
                  <a:cubicBezTo>
                    <a:pt x="339" y="378"/>
                    <a:pt x="333" y="390"/>
                    <a:pt x="344" y="389"/>
                  </a:cubicBezTo>
                  <a:cubicBezTo>
                    <a:pt x="355" y="388"/>
                    <a:pt x="364" y="394"/>
                    <a:pt x="355" y="388"/>
                  </a:cubicBezTo>
                  <a:close/>
                  <a:moveTo>
                    <a:pt x="413" y="479"/>
                  </a:moveTo>
                  <a:cubicBezTo>
                    <a:pt x="409" y="469"/>
                    <a:pt x="409" y="469"/>
                    <a:pt x="409" y="469"/>
                  </a:cubicBezTo>
                  <a:cubicBezTo>
                    <a:pt x="394" y="465"/>
                    <a:pt x="394" y="465"/>
                    <a:pt x="394" y="465"/>
                  </a:cubicBezTo>
                  <a:cubicBezTo>
                    <a:pt x="384" y="466"/>
                    <a:pt x="393" y="490"/>
                    <a:pt x="393" y="490"/>
                  </a:cubicBezTo>
                  <a:cubicBezTo>
                    <a:pt x="413" y="490"/>
                    <a:pt x="413" y="490"/>
                    <a:pt x="413" y="490"/>
                  </a:cubicBezTo>
                  <a:cubicBezTo>
                    <a:pt x="422" y="494"/>
                    <a:pt x="422" y="494"/>
                    <a:pt x="422" y="494"/>
                  </a:cubicBezTo>
                  <a:cubicBezTo>
                    <a:pt x="427" y="485"/>
                    <a:pt x="427" y="485"/>
                    <a:pt x="427" y="485"/>
                  </a:cubicBezTo>
                  <a:cubicBezTo>
                    <a:pt x="425" y="480"/>
                    <a:pt x="425" y="480"/>
                    <a:pt x="425" y="480"/>
                  </a:cubicBezTo>
                  <a:lnTo>
                    <a:pt x="413" y="479"/>
                  </a:lnTo>
                  <a:close/>
                  <a:moveTo>
                    <a:pt x="448" y="462"/>
                  </a:moveTo>
                  <a:cubicBezTo>
                    <a:pt x="448" y="462"/>
                    <a:pt x="454" y="467"/>
                    <a:pt x="454" y="465"/>
                  </a:cubicBezTo>
                  <a:cubicBezTo>
                    <a:pt x="454" y="462"/>
                    <a:pt x="454" y="462"/>
                    <a:pt x="448" y="462"/>
                  </a:cubicBezTo>
                  <a:close/>
                  <a:moveTo>
                    <a:pt x="467" y="479"/>
                  </a:moveTo>
                  <a:cubicBezTo>
                    <a:pt x="467" y="479"/>
                    <a:pt x="473" y="479"/>
                    <a:pt x="473" y="476"/>
                  </a:cubicBezTo>
                  <a:cubicBezTo>
                    <a:pt x="473" y="473"/>
                    <a:pt x="467" y="479"/>
                    <a:pt x="467" y="479"/>
                  </a:cubicBezTo>
                  <a:close/>
                  <a:moveTo>
                    <a:pt x="55" y="259"/>
                  </a:moveTo>
                  <a:cubicBezTo>
                    <a:pt x="58" y="258"/>
                    <a:pt x="53" y="251"/>
                    <a:pt x="53" y="251"/>
                  </a:cubicBezTo>
                  <a:cubicBezTo>
                    <a:pt x="53" y="251"/>
                    <a:pt x="52" y="260"/>
                    <a:pt x="55" y="259"/>
                  </a:cubicBezTo>
                  <a:close/>
                  <a:moveTo>
                    <a:pt x="36" y="144"/>
                  </a:moveTo>
                  <a:cubicBezTo>
                    <a:pt x="41" y="150"/>
                    <a:pt x="40" y="142"/>
                    <a:pt x="40" y="142"/>
                  </a:cubicBezTo>
                  <a:cubicBezTo>
                    <a:pt x="40" y="142"/>
                    <a:pt x="31" y="139"/>
                    <a:pt x="36" y="144"/>
                  </a:cubicBezTo>
                  <a:close/>
                  <a:moveTo>
                    <a:pt x="56" y="163"/>
                  </a:moveTo>
                  <a:cubicBezTo>
                    <a:pt x="56" y="163"/>
                    <a:pt x="64" y="161"/>
                    <a:pt x="59" y="156"/>
                  </a:cubicBezTo>
                  <a:cubicBezTo>
                    <a:pt x="54" y="152"/>
                    <a:pt x="56" y="163"/>
                    <a:pt x="56" y="163"/>
                  </a:cubicBezTo>
                  <a:close/>
                  <a:moveTo>
                    <a:pt x="247" y="36"/>
                  </a:moveTo>
                  <a:cubicBezTo>
                    <a:pt x="242" y="39"/>
                    <a:pt x="242" y="39"/>
                    <a:pt x="242" y="39"/>
                  </a:cubicBezTo>
                  <a:cubicBezTo>
                    <a:pt x="246" y="42"/>
                    <a:pt x="246" y="42"/>
                    <a:pt x="246" y="42"/>
                  </a:cubicBezTo>
                  <a:lnTo>
                    <a:pt x="247" y="36"/>
                  </a:lnTo>
                  <a:close/>
                  <a:moveTo>
                    <a:pt x="872" y="188"/>
                  </a:moveTo>
                  <a:cubicBezTo>
                    <a:pt x="874" y="165"/>
                    <a:pt x="874" y="165"/>
                    <a:pt x="874" y="165"/>
                  </a:cubicBezTo>
                  <a:cubicBezTo>
                    <a:pt x="865" y="163"/>
                    <a:pt x="853" y="157"/>
                    <a:pt x="835" y="149"/>
                  </a:cubicBezTo>
                  <a:cubicBezTo>
                    <a:pt x="786" y="217"/>
                    <a:pt x="776" y="124"/>
                    <a:pt x="776" y="124"/>
                  </a:cubicBezTo>
                  <a:cubicBezTo>
                    <a:pt x="757" y="79"/>
                    <a:pt x="757" y="79"/>
                    <a:pt x="757" y="79"/>
                  </a:cubicBezTo>
                  <a:cubicBezTo>
                    <a:pt x="750" y="81"/>
                    <a:pt x="742" y="83"/>
                    <a:pt x="742" y="83"/>
                  </a:cubicBezTo>
                  <a:cubicBezTo>
                    <a:pt x="742" y="83"/>
                    <a:pt x="722" y="85"/>
                    <a:pt x="710" y="84"/>
                  </a:cubicBezTo>
                  <a:cubicBezTo>
                    <a:pt x="698" y="83"/>
                    <a:pt x="705" y="58"/>
                    <a:pt x="705" y="58"/>
                  </a:cubicBezTo>
                  <a:cubicBezTo>
                    <a:pt x="692" y="58"/>
                    <a:pt x="664" y="78"/>
                    <a:pt x="664" y="78"/>
                  </a:cubicBezTo>
                  <a:cubicBezTo>
                    <a:pt x="647" y="76"/>
                    <a:pt x="647" y="76"/>
                    <a:pt x="647" y="76"/>
                  </a:cubicBezTo>
                  <a:cubicBezTo>
                    <a:pt x="647" y="76"/>
                    <a:pt x="636" y="91"/>
                    <a:pt x="628" y="92"/>
                  </a:cubicBezTo>
                  <a:cubicBezTo>
                    <a:pt x="620" y="93"/>
                    <a:pt x="616" y="75"/>
                    <a:pt x="616" y="75"/>
                  </a:cubicBezTo>
                  <a:cubicBezTo>
                    <a:pt x="601" y="80"/>
                    <a:pt x="601" y="80"/>
                    <a:pt x="601" y="80"/>
                  </a:cubicBezTo>
                  <a:cubicBezTo>
                    <a:pt x="601" y="80"/>
                    <a:pt x="609" y="67"/>
                    <a:pt x="606" y="63"/>
                  </a:cubicBezTo>
                  <a:cubicBezTo>
                    <a:pt x="603" y="59"/>
                    <a:pt x="584" y="75"/>
                    <a:pt x="584" y="75"/>
                  </a:cubicBezTo>
                  <a:cubicBezTo>
                    <a:pt x="571" y="72"/>
                    <a:pt x="571" y="72"/>
                    <a:pt x="571" y="72"/>
                  </a:cubicBezTo>
                  <a:cubicBezTo>
                    <a:pt x="570" y="80"/>
                    <a:pt x="570" y="80"/>
                    <a:pt x="570" y="80"/>
                  </a:cubicBezTo>
                  <a:cubicBezTo>
                    <a:pt x="533" y="109"/>
                    <a:pt x="533" y="109"/>
                    <a:pt x="533" y="109"/>
                  </a:cubicBezTo>
                  <a:cubicBezTo>
                    <a:pt x="529" y="106"/>
                    <a:pt x="529" y="106"/>
                    <a:pt x="529" y="106"/>
                  </a:cubicBezTo>
                  <a:cubicBezTo>
                    <a:pt x="526" y="116"/>
                    <a:pt x="526" y="116"/>
                    <a:pt x="526" y="116"/>
                  </a:cubicBezTo>
                  <a:cubicBezTo>
                    <a:pt x="516" y="96"/>
                    <a:pt x="516" y="96"/>
                    <a:pt x="516" y="96"/>
                  </a:cubicBezTo>
                  <a:cubicBezTo>
                    <a:pt x="499" y="88"/>
                    <a:pt x="499" y="88"/>
                    <a:pt x="499" y="88"/>
                  </a:cubicBezTo>
                  <a:cubicBezTo>
                    <a:pt x="496" y="71"/>
                    <a:pt x="496" y="71"/>
                    <a:pt x="496" y="71"/>
                  </a:cubicBezTo>
                  <a:cubicBezTo>
                    <a:pt x="473" y="49"/>
                    <a:pt x="473" y="49"/>
                    <a:pt x="473" y="49"/>
                  </a:cubicBezTo>
                  <a:cubicBezTo>
                    <a:pt x="473" y="36"/>
                    <a:pt x="473" y="36"/>
                    <a:pt x="473" y="36"/>
                  </a:cubicBezTo>
                  <a:cubicBezTo>
                    <a:pt x="473" y="36"/>
                    <a:pt x="459" y="35"/>
                    <a:pt x="458" y="31"/>
                  </a:cubicBezTo>
                  <a:cubicBezTo>
                    <a:pt x="457" y="29"/>
                    <a:pt x="458" y="22"/>
                    <a:pt x="459" y="18"/>
                  </a:cubicBezTo>
                  <a:cubicBezTo>
                    <a:pt x="455" y="21"/>
                    <a:pt x="444" y="18"/>
                    <a:pt x="444" y="18"/>
                  </a:cubicBezTo>
                  <a:cubicBezTo>
                    <a:pt x="446" y="0"/>
                    <a:pt x="446" y="0"/>
                    <a:pt x="446" y="0"/>
                  </a:cubicBezTo>
                  <a:cubicBezTo>
                    <a:pt x="426" y="10"/>
                    <a:pt x="426" y="10"/>
                    <a:pt x="426" y="10"/>
                  </a:cubicBezTo>
                  <a:cubicBezTo>
                    <a:pt x="415" y="4"/>
                    <a:pt x="415" y="4"/>
                    <a:pt x="415" y="4"/>
                  </a:cubicBezTo>
                  <a:cubicBezTo>
                    <a:pt x="415" y="4"/>
                    <a:pt x="411" y="10"/>
                    <a:pt x="401" y="13"/>
                  </a:cubicBezTo>
                  <a:cubicBezTo>
                    <a:pt x="387" y="15"/>
                    <a:pt x="372" y="26"/>
                    <a:pt x="372" y="26"/>
                  </a:cubicBezTo>
                  <a:cubicBezTo>
                    <a:pt x="371" y="19"/>
                    <a:pt x="356" y="12"/>
                    <a:pt x="351" y="12"/>
                  </a:cubicBezTo>
                  <a:cubicBezTo>
                    <a:pt x="346" y="12"/>
                    <a:pt x="347" y="22"/>
                    <a:pt x="347" y="22"/>
                  </a:cubicBezTo>
                  <a:cubicBezTo>
                    <a:pt x="341" y="25"/>
                    <a:pt x="341" y="25"/>
                    <a:pt x="341" y="25"/>
                  </a:cubicBezTo>
                  <a:cubicBezTo>
                    <a:pt x="347" y="40"/>
                    <a:pt x="347" y="40"/>
                    <a:pt x="347" y="40"/>
                  </a:cubicBezTo>
                  <a:cubicBezTo>
                    <a:pt x="347" y="40"/>
                    <a:pt x="336" y="60"/>
                    <a:pt x="333" y="59"/>
                  </a:cubicBezTo>
                  <a:cubicBezTo>
                    <a:pt x="300" y="51"/>
                    <a:pt x="285" y="50"/>
                    <a:pt x="282" y="56"/>
                  </a:cubicBezTo>
                  <a:cubicBezTo>
                    <a:pt x="279" y="62"/>
                    <a:pt x="280" y="72"/>
                    <a:pt x="277" y="72"/>
                  </a:cubicBezTo>
                  <a:cubicBezTo>
                    <a:pt x="274" y="72"/>
                    <a:pt x="268" y="58"/>
                    <a:pt x="268" y="58"/>
                  </a:cubicBezTo>
                  <a:cubicBezTo>
                    <a:pt x="258" y="63"/>
                    <a:pt x="258" y="63"/>
                    <a:pt x="258" y="63"/>
                  </a:cubicBezTo>
                  <a:cubicBezTo>
                    <a:pt x="258" y="63"/>
                    <a:pt x="251" y="44"/>
                    <a:pt x="245" y="47"/>
                  </a:cubicBezTo>
                  <a:cubicBezTo>
                    <a:pt x="239" y="50"/>
                    <a:pt x="237" y="58"/>
                    <a:pt x="237" y="58"/>
                  </a:cubicBezTo>
                  <a:cubicBezTo>
                    <a:pt x="237" y="58"/>
                    <a:pt x="226" y="55"/>
                    <a:pt x="217" y="54"/>
                  </a:cubicBezTo>
                  <a:cubicBezTo>
                    <a:pt x="208" y="53"/>
                    <a:pt x="200" y="64"/>
                    <a:pt x="200" y="64"/>
                  </a:cubicBezTo>
                  <a:cubicBezTo>
                    <a:pt x="186" y="70"/>
                    <a:pt x="186" y="70"/>
                    <a:pt x="186" y="70"/>
                  </a:cubicBezTo>
                  <a:cubicBezTo>
                    <a:pt x="173" y="60"/>
                    <a:pt x="173" y="60"/>
                    <a:pt x="173" y="60"/>
                  </a:cubicBezTo>
                  <a:cubicBezTo>
                    <a:pt x="173" y="60"/>
                    <a:pt x="168" y="65"/>
                    <a:pt x="161" y="69"/>
                  </a:cubicBezTo>
                  <a:cubicBezTo>
                    <a:pt x="154" y="73"/>
                    <a:pt x="147" y="76"/>
                    <a:pt x="147" y="76"/>
                  </a:cubicBezTo>
                  <a:cubicBezTo>
                    <a:pt x="147" y="76"/>
                    <a:pt x="131" y="70"/>
                    <a:pt x="126" y="70"/>
                  </a:cubicBezTo>
                  <a:cubicBezTo>
                    <a:pt x="121" y="70"/>
                    <a:pt x="134" y="84"/>
                    <a:pt x="134" y="84"/>
                  </a:cubicBezTo>
                  <a:cubicBezTo>
                    <a:pt x="115" y="80"/>
                    <a:pt x="115" y="80"/>
                    <a:pt x="115" y="80"/>
                  </a:cubicBezTo>
                  <a:cubicBezTo>
                    <a:pt x="115" y="85"/>
                    <a:pt x="115" y="85"/>
                    <a:pt x="115" y="85"/>
                  </a:cubicBezTo>
                  <a:cubicBezTo>
                    <a:pt x="105" y="87"/>
                    <a:pt x="105" y="87"/>
                    <a:pt x="105" y="87"/>
                  </a:cubicBezTo>
                  <a:cubicBezTo>
                    <a:pt x="105" y="87"/>
                    <a:pt x="96" y="98"/>
                    <a:pt x="84" y="106"/>
                  </a:cubicBezTo>
                  <a:cubicBezTo>
                    <a:pt x="72" y="114"/>
                    <a:pt x="86" y="121"/>
                    <a:pt x="86" y="121"/>
                  </a:cubicBezTo>
                  <a:cubicBezTo>
                    <a:pt x="86" y="121"/>
                    <a:pt x="76" y="131"/>
                    <a:pt x="75" y="139"/>
                  </a:cubicBezTo>
                  <a:cubicBezTo>
                    <a:pt x="74" y="147"/>
                    <a:pt x="79" y="148"/>
                    <a:pt x="79" y="148"/>
                  </a:cubicBezTo>
                  <a:cubicBezTo>
                    <a:pt x="79" y="148"/>
                    <a:pt x="74" y="150"/>
                    <a:pt x="75" y="160"/>
                  </a:cubicBezTo>
                  <a:cubicBezTo>
                    <a:pt x="76" y="170"/>
                    <a:pt x="86" y="164"/>
                    <a:pt x="86" y="164"/>
                  </a:cubicBezTo>
                  <a:cubicBezTo>
                    <a:pt x="98" y="154"/>
                    <a:pt x="98" y="154"/>
                    <a:pt x="98" y="154"/>
                  </a:cubicBezTo>
                  <a:cubicBezTo>
                    <a:pt x="107" y="157"/>
                    <a:pt x="107" y="157"/>
                    <a:pt x="107" y="157"/>
                  </a:cubicBezTo>
                  <a:cubicBezTo>
                    <a:pt x="107" y="157"/>
                    <a:pt x="112" y="161"/>
                    <a:pt x="122" y="156"/>
                  </a:cubicBezTo>
                  <a:cubicBezTo>
                    <a:pt x="132" y="151"/>
                    <a:pt x="156" y="145"/>
                    <a:pt x="156" y="145"/>
                  </a:cubicBezTo>
                  <a:cubicBezTo>
                    <a:pt x="145" y="163"/>
                    <a:pt x="145" y="163"/>
                    <a:pt x="145" y="163"/>
                  </a:cubicBezTo>
                  <a:cubicBezTo>
                    <a:pt x="157" y="168"/>
                    <a:pt x="157" y="168"/>
                    <a:pt x="157" y="168"/>
                  </a:cubicBezTo>
                  <a:cubicBezTo>
                    <a:pt x="172" y="160"/>
                    <a:pt x="172" y="160"/>
                    <a:pt x="172" y="160"/>
                  </a:cubicBezTo>
                  <a:cubicBezTo>
                    <a:pt x="174" y="166"/>
                    <a:pt x="186" y="174"/>
                    <a:pt x="183" y="174"/>
                  </a:cubicBezTo>
                  <a:cubicBezTo>
                    <a:pt x="180" y="174"/>
                    <a:pt x="166" y="183"/>
                    <a:pt x="166" y="183"/>
                  </a:cubicBezTo>
                  <a:cubicBezTo>
                    <a:pt x="155" y="185"/>
                    <a:pt x="155" y="185"/>
                    <a:pt x="155" y="185"/>
                  </a:cubicBezTo>
                  <a:cubicBezTo>
                    <a:pt x="145" y="173"/>
                    <a:pt x="145" y="173"/>
                    <a:pt x="145" y="173"/>
                  </a:cubicBezTo>
                  <a:cubicBezTo>
                    <a:pt x="137" y="178"/>
                    <a:pt x="137" y="178"/>
                    <a:pt x="137" y="178"/>
                  </a:cubicBezTo>
                  <a:cubicBezTo>
                    <a:pt x="122" y="172"/>
                    <a:pt x="122" y="172"/>
                    <a:pt x="122" y="172"/>
                  </a:cubicBezTo>
                  <a:cubicBezTo>
                    <a:pt x="109" y="181"/>
                    <a:pt x="109" y="181"/>
                    <a:pt x="109" y="181"/>
                  </a:cubicBezTo>
                  <a:cubicBezTo>
                    <a:pt x="120" y="189"/>
                    <a:pt x="120" y="189"/>
                    <a:pt x="120" y="189"/>
                  </a:cubicBezTo>
                  <a:cubicBezTo>
                    <a:pt x="120" y="189"/>
                    <a:pt x="124" y="208"/>
                    <a:pt x="125" y="211"/>
                  </a:cubicBezTo>
                  <a:cubicBezTo>
                    <a:pt x="126" y="214"/>
                    <a:pt x="130" y="192"/>
                    <a:pt x="141" y="191"/>
                  </a:cubicBezTo>
                  <a:cubicBezTo>
                    <a:pt x="152" y="190"/>
                    <a:pt x="135" y="190"/>
                    <a:pt x="164" y="204"/>
                  </a:cubicBezTo>
                  <a:cubicBezTo>
                    <a:pt x="193" y="218"/>
                    <a:pt x="171" y="237"/>
                    <a:pt x="171" y="237"/>
                  </a:cubicBezTo>
                  <a:cubicBezTo>
                    <a:pt x="144" y="227"/>
                    <a:pt x="79" y="254"/>
                    <a:pt x="79" y="254"/>
                  </a:cubicBezTo>
                  <a:cubicBezTo>
                    <a:pt x="139" y="267"/>
                    <a:pt x="141" y="276"/>
                    <a:pt x="153" y="293"/>
                  </a:cubicBezTo>
                  <a:cubicBezTo>
                    <a:pt x="165" y="310"/>
                    <a:pt x="156" y="329"/>
                    <a:pt x="156" y="329"/>
                  </a:cubicBezTo>
                  <a:cubicBezTo>
                    <a:pt x="197" y="333"/>
                    <a:pt x="197" y="333"/>
                    <a:pt x="197" y="333"/>
                  </a:cubicBezTo>
                  <a:cubicBezTo>
                    <a:pt x="197" y="333"/>
                    <a:pt x="207" y="310"/>
                    <a:pt x="214" y="310"/>
                  </a:cubicBezTo>
                  <a:cubicBezTo>
                    <a:pt x="221" y="310"/>
                    <a:pt x="231" y="316"/>
                    <a:pt x="235" y="316"/>
                  </a:cubicBezTo>
                  <a:cubicBezTo>
                    <a:pt x="239" y="316"/>
                    <a:pt x="249" y="301"/>
                    <a:pt x="249" y="301"/>
                  </a:cubicBezTo>
                  <a:cubicBezTo>
                    <a:pt x="268" y="334"/>
                    <a:pt x="268" y="334"/>
                    <a:pt x="268" y="334"/>
                  </a:cubicBezTo>
                  <a:cubicBezTo>
                    <a:pt x="294" y="333"/>
                    <a:pt x="294" y="333"/>
                    <a:pt x="294" y="333"/>
                  </a:cubicBezTo>
                  <a:cubicBezTo>
                    <a:pt x="296" y="338"/>
                    <a:pt x="335" y="344"/>
                    <a:pt x="335" y="344"/>
                  </a:cubicBezTo>
                  <a:cubicBezTo>
                    <a:pt x="335" y="344"/>
                    <a:pt x="355" y="365"/>
                    <a:pt x="358" y="365"/>
                  </a:cubicBezTo>
                  <a:cubicBezTo>
                    <a:pt x="361" y="365"/>
                    <a:pt x="384" y="364"/>
                    <a:pt x="384" y="364"/>
                  </a:cubicBezTo>
                  <a:cubicBezTo>
                    <a:pt x="414" y="401"/>
                    <a:pt x="414" y="401"/>
                    <a:pt x="414" y="401"/>
                  </a:cubicBezTo>
                  <a:cubicBezTo>
                    <a:pt x="410" y="421"/>
                    <a:pt x="410" y="421"/>
                    <a:pt x="410" y="421"/>
                  </a:cubicBezTo>
                  <a:cubicBezTo>
                    <a:pt x="414" y="432"/>
                    <a:pt x="414" y="432"/>
                    <a:pt x="414" y="432"/>
                  </a:cubicBezTo>
                  <a:cubicBezTo>
                    <a:pt x="414" y="432"/>
                    <a:pt x="426" y="438"/>
                    <a:pt x="422" y="432"/>
                  </a:cubicBezTo>
                  <a:cubicBezTo>
                    <a:pt x="418" y="426"/>
                    <a:pt x="421" y="398"/>
                    <a:pt x="421" y="398"/>
                  </a:cubicBezTo>
                  <a:cubicBezTo>
                    <a:pt x="425" y="403"/>
                    <a:pt x="425" y="403"/>
                    <a:pt x="425" y="403"/>
                  </a:cubicBezTo>
                  <a:cubicBezTo>
                    <a:pt x="442" y="399"/>
                    <a:pt x="442" y="399"/>
                    <a:pt x="442" y="399"/>
                  </a:cubicBezTo>
                  <a:cubicBezTo>
                    <a:pt x="452" y="403"/>
                    <a:pt x="452" y="403"/>
                    <a:pt x="452" y="403"/>
                  </a:cubicBezTo>
                  <a:cubicBezTo>
                    <a:pt x="460" y="391"/>
                    <a:pt x="460" y="391"/>
                    <a:pt x="460" y="391"/>
                  </a:cubicBezTo>
                  <a:cubicBezTo>
                    <a:pt x="466" y="399"/>
                    <a:pt x="466" y="399"/>
                    <a:pt x="466" y="399"/>
                  </a:cubicBezTo>
                  <a:cubicBezTo>
                    <a:pt x="481" y="388"/>
                    <a:pt x="481" y="388"/>
                    <a:pt x="481" y="388"/>
                  </a:cubicBezTo>
                  <a:cubicBezTo>
                    <a:pt x="481" y="388"/>
                    <a:pt x="518" y="389"/>
                    <a:pt x="522" y="390"/>
                  </a:cubicBezTo>
                  <a:cubicBezTo>
                    <a:pt x="517" y="392"/>
                    <a:pt x="502" y="416"/>
                    <a:pt x="502" y="416"/>
                  </a:cubicBezTo>
                  <a:cubicBezTo>
                    <a:pt x="502" y="416"/>
                    <a:pt x="503" y="411"/>
                    <a:pt x="495" y="411"/>
                  </a:cubicBezTo>
                  <a:cubicBezTo>
                    <a:pt x="487" y="411"/>
                    <a:pt x="462" y="407"/>
                    <a:pt x="462" y="407"/>
                  </a:cubicBezTo>
                  <a:cubicBezTo>
                    <a:pt x="487" y="429"/>
                    <a:pt x="487" y="429"/>
                    <a:pt x="487" y="429"/>
                  </a:cubicBezTo>
                  <a:cubicBezTo>
                    <a:pt x="505" y="422"/>
                    <a:pt x="505" y="422"/>
                    <a:pt x="505" y="422"/>
                  </a:cubicBezTo>
                  <a:cubicBezTo>
                    <a:pt x="513" y="428"/>
                    <a:pt x="513" y="428"/>
                    <a:pt x="513" y="428"/>
                  </a:cubicBezTo>
                  <a:cubicBezTo>
                    <a:pt x="517" y="419"/>
                    <a:pt x="517" y="419"/>
                    <a:pt x="517" y="419"/>
                  </a:cubicBezTo>
                  <a:cubicBezTo>
                    <a:pt x="538" y="427"/>
                    <a:pt x="538" y="427"/>
                    <a:pt x="538" y="427"/>
                  </a:cubicBezTo>
                  <a:cubicBezTo>
                    <a:pt x="538" y="427"/>
                    <a:pt x="548" y="420"/>
                    <a:pt x="555" y="424"/>
                  </a:cubicBezTo>
                  <a:cubicBezTo>
                    <a:pt x="562" y="428"/>
                    <a:pt x="557" y="444"/>
                    <a:pt x="557" y="444"/>
                  </a:cubicBezTo>
                  <a:cubicBezTo>
                    <a:pt x="563" y="444"/>
                    <a:pt x="563" y="444"/>
                    <a:pt x="563" y="444"/>
                  </a:cubicBezTo>
                  <a:cubicBezTo>
                    <a:pt x="566" y="454"/>
                    <a:pt x="566" y="454"/>
                    <a:pt x="566" y="454"/>
                  </a:cubicBezTo>
                  <a:cubicBezTo>
                    <a:pt x="555" y="452"/>
                    <a:pt x="555" y="452"/>
                    <a:pt x="555" y="452"/>
                  </a:cubicBezTo>
                  <a:cubicBezTo>
                    <a:pt x="545" y="463"/>
                    <a:pt x="545" y="463"/>
                    <a:pt x="545" y="463"/>
                  </a:cubicBezTo>
                  <a:cubicBezTo>
                    <a:pt x="554" y="487"/>
                    <a:pt x="554" y="487"/>
                    <a:pt x="554" y="487"/>
                  </a:cubicBezTo>
                  <a:cubicBezTo>
                    <a:pt x="567" y="476"/>
                    <a:pt x="567" y="476"/>
                    <a:pt x="567" y="476"/>
                  </a:cubicBezTo>
                  <a:cubicBezTo>
                    <a:pt x="575" y="481"/>
                    <a:pt x="575" y="481"/>
                    <a:pt x="575" y="481"/>
                  </a:cubicBezTo>
                  <a:cubicBezTo>
                    <a:pt x="595" y="481"/>
                    <a:pt x="595" y="481"/>
                    <a:pt x="595" y="481"/>
                  </a:cubicBezTo>
                  <a:cubicBezTo>
                    <a:pt x="596" y="469"/>
                    <a:pt x="596" y="469"/>
                    <a:pt x="596" y="469"/>
                  </a:cubicBezTo>
                  <a:cubicBezTo>
                    <a:pt x="596" y="469"/>
                    <a:pt x="635" y="496"/>
                    <a:pt x="642" y="436"/>
                  </a:cubicBezTo>
                  <a:cubicBezTo>
                    <a:pt x="666" y="409"/>
                    <a:pt x="666" y="409"/>
                    <a:pt x="666" y="409"/>
                  </a:cubicBezTo>
                  <a:cubicBezTo>
                    <a:pt x="674" y="418"/>
                    <a:pt x="674" y="418"/>
                    <a:pt x="674" y="418"/>
                  </a:cubicBezTo>
                  <a:cubicBezTo>
                    <a:pt x="674" y="418"/>
                    <a:pt x="706" y="416"/>
                    <a:pt x="734" y="410"/>
                  </a:cubicBezTo>
                  <a:cubicBezTo>
                    <a:pt x="752" y="389"/>
                    <a:pt x="752" y="389"/>
                    <a:pt x="752" y="389"/>
                  </a:cubicBezTo>
                  <a:cubicBezTo>
                    <a:pt x="778" y="385"/>
                    <a:pt x="778" y="385"/>
                    <a:pt x="778" y="385"/>
                  </a:cubicBezTo>
                  <a:cubicBezTo>
                    <a:pt x="780" y="370"/>
                    <a:pt x="780" y="370"/>
                    <a:pt x="780" y="370"/>
                  </a:cubicBezTo>
                  <a:cubicBezTo>
                    <a:pt x="796" y="377"/>
                    <a:pt x="796" y="377"/>
                    <a:pt x="796" y="377"/>
                  </a:cubicBezTo>
                  <a:cubicBezTo>
                    <a:pt x="799" y="386"/>
                    <a:pt x="799" y="386"/>
                    <a:pt x="799" y="386"/>
                  </a:cubicBezTo>
                  <a:cubicBezTo>
                    <a:pt x="830" y="392"/>
                    <a:pt x="830" y="392"/>
                    <a:pt x="830" y="392"/>
                  </a:cubicBezTo>
                  <a:cubicBezTo>
                    <a:pt x="830" y="392"/>
                    <a:pt x="832" y="378"/>
                    <a:pt x="838" y="366"/>
                  </a:cubicBezTo>
                  <a:cubicBezTo>
                    <a:pt x="843" y="354"/>
                    <a:pt x="848" y="328"/>
                    <a:pt x="870" y="328"/>
                  </a:cubicBezTo>
                  <a:cubicBezTo>
                    <a:pt x="884" y="316"/>
                    <a:pt x="875" y="334"/>
                    <a:pt x="867" y="242"/>
                  </a:cubicBezTo>
                  <a:cubicBezTo>
                    <a:pt x="875" y="214"/>
                    <a:pt x="879" y="220"/>
                    <a:pt x="879" y="220"/>
                  </a:cubicBezTo>
                  <a:lnTo>
                    <a:pt x="872" y="18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2" name="Pays-de-la-Loire" descr="© INSCALE GmbH, 05.05.2010&#10;http://www.presentationload.com/">
              <a:extLst>
                <a:ext uri="{FF2B5EF4-FFF2-40B4-BE49-F238E27FC236}">
                  <a16:creationId xmlns:a16="http://schemas.microsoft.com/office/drawing/2014/main" id="{85508898-E58C-4F8D-BC43-AB4DB22941C3}"/>
                </a:ext>
              </a:extLst>
            </p:cNvPr>
            <p:cNvSpPr>
              <a:spLocks noEditPoints="1"/>
            </p:cNvSpPr>
            <p:nvPr/>
          </p:nvSpPr>
          <p:spPr bwMode="gray">
            <a:xfrm>
              <a:off x="644" y="1006"/>
              <a:ext cx="797" cy="790"/>
            </a:xfrm>
            <a:custGeom>
              <a:avLst/>
              <a:gdLst/>
              <a:ahLst/>
              <a:cxnLst>
                <a:cxn ang="0">
                  <a:pos x="16" y="534"/>
                </a:cxn>
                <a:cxn ang="0">
                  <a:pos x="51" y="448"/>
                </a:cxn>
                <a:cxn ang="0">
                  <a:pos x="219" y="694"/>
                </a:cxn>
                <a:cxn ang="0">
                  <a:pos x="191" y="687"/>
                </a:cxn>
                <a:cxn ang="0">
                  <a:pos x="211" y="706"/>
                </a:cxn>
                <a:cxn ang="0">
                  <a:pos x="222" y="703"/>
                </a:cxn>
                <a:cxn ang="0">
                  <a:pos x="707" y="141"/>
                </a:cxn>
                <a:cxn ang="0">
                  <a:pos x="651" y="103"/>
                </a:cxn>
                <a:cxn ang="0">
                  <a:pos x="541" y="75"/>
                </a:cxn>
                <a:cxn ang="0">
                  <a:pos x="521" y="24"/>
                </a:cxn>
                <a:cxn ang="0">
                  <a:pos x="482" y="25"/>
                </a:cxn>
                <a:cxn ang="0">
                  <a:pos x="439" y="31"/>
                </a:cxn>
                <a:cxn ang="0">
                  <a:pos x="391" y="47"/>
                </a:cxn>
                <a:cxn ang="0">
                  <a:pos x="321" y="28"/>
                </a:cxn>
                <a:cxn ang="0">
                  <a:pos x="314" y="105"/>
                </a:cxn>
                <a:cxn ang="0">
                  <a:pos x="277" y="255"/>
                </a:cxn>
                <a:cxn ang="0">
                  <a:pos x="227" y="233"/>
                </a:cxn>
                <a:cxn ang="0">
                  <a:pos x="181" y="273"/>
                </a:cxn>
                <a:cxn ang="0">
                  <a:pos x="89" y="299"/>
                </a:cxn>
                <a:cxn ang="0">
                  <a:pos x="22" y="344"/>
                </a:cxn>
                <a:cxn ang="0">
                  <a:pos x="3" y="354"/>
                </a:cxn>
                <a:cxn ang="0">
                  <a:pos x="24" y="359"/>
                </a:cxn>
                <a:cxn ang="0">
                  <a:pos x="105" y="349"/>
                </a:cxn>
                <a:cxn ang="0">
                  <a:pos x="67" y="376"/>
                </a:cxn>
                <a:cxn ang="0">
                  <a:pos x="52" y="399"/>
                </a:cxn>
                <a:cxn ang="0">
                  <a:pos x="104" y="444"/>
                </a:cxn>
                <a:cxn ang="0">
                  <a:pos x="72" y="483"/>
                </a:cxn>
                <a:cxn ang="0">
                  <a:pos x="55" y="465"/>
                </a:cxn>
                <a:cxn ang="0">
                  <a:pos x="72" y="511"/>
                </a:cxn>
                <a:cxn ang="0">
                  <a:pos x="135" y="611"/>
                </a:cxn>
                <a:cxn ang="0">
                  <a:pos x="210" y="658"/>
                </a:cxn>
                <a:cxn ang="0">
                  <a:pos x="251" y="669"/>
                </a:cxn>
                <a:cxn ang="0">
                  <a:pos x="287" y="680"/>
                </a:cxn>
                <a:cxn ang="0">
                  <a:pos x="289" y="723"/>
                </a:cxn>
                <a:cxn ang="0">
                  <a:pos x="337" y="729"/>
                </a:cxn>
                <a:cxn ang="0">
                  <a:pos x="385" y="728"/>
                </a:cxn>
                <a:cxn ang="0">
                  <a:pos x="389" y="707"/>
                </a:cxn>
                <a:cxn ang="0">
                  <a:pos x="394" y="664"/>
                </a:cxn>
                <a:cxn ang="0">
                  <a:pos x="386" y="605"/>
                </a:cxn>
                <a:cxn ang="0">
                  <a:pos x="353" y="548"/>
                </a:cxn>
                <a:cxn ang="0">
                  <a:pos x="378" y="511"/>
                </a:cxn>
                <a:cxn ang="0">
                  <a:pos x="434" y="488"/>
                </a:cxn>
                <a:cxn ang="0">
                  <a:pos x="502" y="480"/>
                </a:cxn>
                <a:cxn ang="0">
                  <a:pos x="514" y="483"/>
                </a:cxn>
                <a:cxn ang="0">
                  <a:pos x="549" y="461"/>
                </a:cxn>
                <a:cxn ang="0">
                  <a:pos x="585" y="359"/>
                </a:cxn>
                <a:cxn ang="0">
                  <a:pos x="615" y="320"/>
                </a:cxn>
                <a:cxn ang="0">
                  <a:pos x="674" y="299"/>
                </a:cxn>
                <a:cxn ang="0">
                  <a:pos x="717" y="229"/>
                </a:cxn>
                <a:cxn ang="0">
                  <a:pos x="722" y="192"/>
                </a:cxn>
                <a:cxn ang="0">
                  <a:pos x="725" y="157"/>
                </a:cxn>
                <a:cxn ang="0">
                  <a:pos x="719" y="140"/>
                </a:cxn>
              </a:cxnLst>
              <a:rect l="0" t="0" r="r" b="b"/>
              <a:pathLst>
                <a:path w="739" h="732">
                  <a:moveTo>
                    <a:pt x="16" y="534"/>
                  </a:moveTo>
                  <a:cubicBezTo>
                    <a:pt x="10" y="548"/>
                    <a:pt x="22" y="548"/>
                    <a:pt x="37" y="548"/>
                  </a:cubicBezTo>
                  <a:cubicBezTo>
                    <a:pt x="32" y="535"/>
                    <a:pt x="16" y="534"/>
                    <a:pt x="16" y="534"/>
                  </a:cubicBezTo>
                  <a:close/>
                  <a:moveTo>
                    <a:pt x="38" y="440"/>
                  </a:moveTo>
                  <a:cubicBezTo>
                    <a:pt x="36" y="461"/>
                    <a:pt x="44" y="460"/>
                    <a:pt x="47" y="462"/>
                  </a:cubicBezTo>
                  <a:cubicBezTo>
                    <a:pt x="50" y="464"/>
                    <a:pt x="51" y="458"/>
                    <a:pt x="51" y="448"/>
                  </a:cubicBezTo>
                  <a:cubicBezTo>
                    <a:pt x="51" y="438"/>
                    <a:pt x="38" y="440"/>
                    <a:pt x="38" y="440"/>
                  </a:cubicBezTo>
                  <a:close/>
                  <a:moveTo>
                    <a:pt x="222" y="703"/>
                  </a:moveTo>
                  <a:cubicBezTo>
                    <a:pt x="219" y="694"/>
                    <a:pt x="219" y="694"/>
                    <a:pt x="219" y="694"/>
                  </a:cubicBezTo>
                  <a:cubicBezTo>
                    <a:pt x="201" y="701"/>
                    <a:pt x="201" y="701"/>
                    <a:pt x="201" y="701"/>
                  </a:cubicBezTo>
                  <a:cubicBezTo>
                    <a:pt x="203" y="686"/>
                    <a:pt x="203" y="686"/>
                    <a:pt x="203" y="686"/>
                  </a:cubicBezTo>
                  <a:cubicBezTo>
                    <a:pt x="191" y="687"/>
                    <a:pt x="191" y="687"/>
                    <a:pt x="191" y="687"/>
                  </a:cubicBezTo>
                  <a:cubicBezTo>
                    <a:pt x="190" y="693"/>
                    <a:pt x="190" y="693"/>
                    <a:pt x="190" y="693"/>
                  </a:cubicBezTo>
                  <a:cubicBezTo>
                    <a:pt x="200" y="708"/>
                    <a:pt x="200" y="708"/>
                    <a:pt x="200" y="708"/>
                  </a:cubicBezTo>
                  <a:cubicBezTo>
                    <a:pt x="211" y="706"/>
                    <a:pt x="211" y="706"/>
                    <a:pt x="211" y="706"/>
                  </a:cubicBezTo>
                  <a:cubicBezTo>
                    <a:pt x="230" y="714"/>
                    <a:pt x="230" y="714"/>
                    <a:pt x="230" y="714"/>
                  </a:cubicBezTo>
                  <a:cubicBezTo>
                    <a:pt x="238" y="725"/>
                    <a:pt x="246" y="718"/>
                    <a:pt x="250" y="719"/>
                  </a:cubicBezTo>
                  <a:cubicBezTo>
                    <a:pt x="241" y="705"/>
                    <a:pt x="222" y="703"/>
                    <a:pt x="222" y="703"/>
                  </a:cubicBezTo>
                  <a:close/>
                  <a:moveTo>
                    <a:pt x="719" y="140"/>
                  </a:moveTo>
                  <a:cubicBezTo>
                    <a:pt x="719" y="139"/>
                    <a:pt x="719" y="139"/>
                    <a:pt x="719" y="139"/>
                  </a:cubicBezTo>
                  <a:cubicBezTo>
                    <a:pt x="707" y="141"/>
                    <a:pt x="707" y="141"/>
                    <a:pt x="707" y="141"/>
                  </a:cubicBezTo>
                  <a:cubicBezTo>
                    <a:pt x="683" y="117"/>
                    <a:pt x="683" y="117"/>
                    <a:pt x="683" y="117"/>
                  </a:cubicBezTo>
                  <a:cubicBezTo>
                    <a:pt x="658" y="123"/>
                    <a:pt x="658" y="123"/>
                    <a:pt x="658" y="123"/>
                  </a:cubicBezTo>
                  <a:cubicBezTo>
                    <a:pt x="651" y="103"/>
                    <a:pt x="651" y="103"/>
                    <a:pt x="651" y="103"/>
                  </a:cubicBezTo>
                  <a:cubicBezTo>
                    <a:pt x="651" y="103"/>
                    <a:pt x="638" y="96"/>
                    <a:pt x="631" y="91"/>
                  </a:cubicBezTo>
                  <a:cubicBezTo>
                    <a:pt x="623" y="0"/>
                    <a:pt x="561" y="75"/>
                    <a:pt x="561" y="75"/>
                  </a:cubicBezTo>
                  <a:cubicBezTo>
                    <a:pt x="541" y="75"/>
                    <a:pt x="541" y="75"/>
                    <a:pt x="541" y="75"/>
                  </a:cubicBezTo>
                  <a:cubicBezTo>
                    <a:pt x="537" y="48"/>
                    <a:pt x="537" y="48"/>
                    <a:pt x="537" y="48"/>
                  </a:cubicBezTo>
                  <a:cubicBezTo>
                    <a:pt x="537" y="48"/>
                    <a:pt x="531" y="49"/>
                    <a:pt x="519" y="49"/>
                  </a:cubicBezTo>
                  <a:cubicBezTo>
                    <a:pt x="507" y="49"/>
                    <a:pt x="521" y="24"/>
                    <a:pt x="521" y="24"/>
                  </a:cubicBezTo>
                  <a:cubicBezTo>
                    <a:pt x="521" y="24"/>
                    <a:pt x="498" y="15"/>
                    <a:pt x="494" y="15"/>
                  </a:cubicBezTo>
                  <a:cubicBezTo>
                    <a:pt x="490" y="15"/>
                    <a:pt x="498" y="20"/>
                    <a:pt x="494" y="28"/>
                  </a:cubicBezTo>
                  <a:cubicBezTo>
                    <a:pt x="490" y="36"/>
                    <a:pt x="482" y="25"/>
                    <a:pt x="482" y="25"/>
                  </a:cubicBezTo>
                  <a:cubicBezTo>
                    <a:pt x="467" y="37"/>
                    <a:pt x="467" y="37"/>
                    <a:pt x="467" y="37"/>
                  </a:cubicBezTo>
                  <a:cubicBezTo>
                    <a:pt x="461" y="32"/>
                    <a:pt x="461" y="32"/>
                    <a:pt x="461" y="32"/>
                  </a:cubicBezTo>
                  <a:cubicBezTo>
                    <a:pt x="461" y="32"/>
                    <a:pt x="446" y="31"/>
                    <a:pt x="439" y="31"/>
                  </a:cubicBezTo>
                  <a:cubicBezTo>
                    <a:pt x="434" y="45"/>
                    <a:pt x="411" y="45"/>
                    <a:pt x="411" y="45"/>
                  </a:cubicBezTo>
                  <a:cubicBezTo>
                    <a:pt x="407" y="36"/>
                    <a:pt x="407" y="36"/>
                    <a:pt x="407" y="36"/>
                  </a:cubicBezTo>
                  <a:cubicBezTo>
                    <a:pt x="407" y="36"/>
                    <a:pt x="391" y="37"/>
                    <a:pt x="391" y="47"/>
                  </a:cubicBezTo>
                  <a:cubicBezTo>
                    <a:pt x="391" y="56"/>
                    <a:pt x="366" y="32"/>
                    <a:pt x="366" y="32"/>
                  </a:cubicBezTo>
                  <a:cubicBezTo>
                    <a:pt x="366" y="32"/>
                    <a:pt x="353" y="28"/>
                    <a:pt x="343" y="23"/>
                  </a:cubicBezTo>
                  <a:cubicBezTo>
                    <a:pt x="338" y="30"/>
                    <a:pt x="331" y="31"/>
                    <a:pt x="321" y="28"/>
                  </a:cubicBezTo>
                  <a:cubicBezTo>
                    <a:pt x="319" y="51"/>
                    <a:pt x="319" y="51"/>
                    <a:pt x="319" y="51"/>
                  </a:cubicBezTo>
                  <a:cubicBezTo>
                    <a:pt x="326" y="83"/>
                    <a:pt x="326" y="83"/>
                    <a:pt x="326" y="83"/>
                  </a:cubicBezTo>
                  <a:cubicBezTo>
                    <a:pt x="326" y="83"/>
                    <a:pt x="322" y="77"/>
                    <a:pt x="314" y="105"/>
                  </a:cubicBezTo>
                  <a:cubicBezTo>
                    <a:pt x="322" y="197"/>
                    <a:pt x="331" y="179"/>
                    <a:pt x="317" y="191"/>
                  </a:cubicBezTo>
                  <a:cubicBezTo>
                    <a:pt x="295" y="191"/>
                    <a:pt x="290" y="217"/>
                    <a:pt x="285" y="229"/>
                  </a:cubicBezTo>
                  <a:cubicBezTo>
                    <a:pt x="279" y="241"/>
                    <a:pt x="277" y="255"/>
                    <a:pt x="277" y="255"/>
                  </a:cubicBezTo>
                  <a:cubicBezTo>
                    <a:pt x="246" y="249"/>
                    <a:pt x="246" y="249"/>
                    <a:pt x="246" y="249"/>
                  </a:cubicBezTo>
                  <a:cubicBezTo>
                    <a:pt x="243" y="240"/>
                    <a:pt x="243" y="240"/>
                    <a:pt x="243" y="240"/>
                  </a:cubicBezTo>
                  <a:cubicBezTo>
                    <a:pt x="227" y="233"/>
                    <a:pt x="227" y="233"/>
                    <a:pt x="227" y="233"/>
                  </a:cubicBezTo>
                  <a:cubicBezTo>
                    <a:pt x="225" y="248"/>
                    <a:pt x="225" y="248"/>
                    <a:pt x="225" y="248"/>
                  </a:cubicBezTo>
                  <a:cubicBezTo>
                    <a:pt x="199" y="252"/>
                    <a:pt x="199" y="252"/>
                    <a:pt x="199" y="252"/>
                  </a:cubicBezTo>
                  <a:cubicBezTo>
                    <a:pt x="199" y="252"/>
                    <a:pt x="199" y="252"/>
                    <a:pt x="181" y="273"/>
                  </a:cubicBezTo>
                  <a:cubicBezTo>
                    <a:pt x="153" y="279"/>
                    <a:pt x="121" y="281"/>
                    <a:pt x="121" y="281"/>
                  </a:cubicBezTo>
                  <a:cubicBezTo>
                    <a:pt x="113" y="272"/>
                    <a:pt x="113" y="272"/>
                    <a:pt x="113" y="272"/>
                  </a:cubicBezTo>
                  <a:cubicBezTo>
                    <a:pt x="113" y="272"/>
                    <a:pt x="113" y="272"/>
                    <a:pt x="89" y="299"/>
                  </a:cubicBezTo>
                  <a:cubicBezTo>
                    <a:pt x="82" y="359"/>
                    <a:pt x="43" y="332"/>
                    <a:pt x="43" y="332"/>
                  </a:cubicBezTo>
                  <a:cubicBezTo>
                    <a:pt x="42" y="344"/>
                    <a:pt x="42" y="344"/>
                    <a:pt x="42" y="344"/>
                  </a:cubicBezTo>
                  <a:cubicBezTo>
                    <a:pt x="22" y="344"/>
                    <a:pt x="22" y="344"/>
                    <a:pt x="22" y="344"/>
                  </a:cubicBezTo>
                  <a:cubicBezTo>
                    <a:pt x="14" y="339"/>
                    <a:pt x="14" y="339"/>
                    <a:pt x="14" y="339"/>
                  </a:cubicBezTo>
                  <a:cubicBezTo>
                    <a:pt x="1" y="350"/>
                    <a:pt x="1" y="350"/>
                    <a:pt x="1" y="350"/>
                  </a:cubicBezTo>
                  <a:cubicBezTo>
                    <a:pt x="3" y="354"/>
                    <a:pt x="3" y="354"/>
                    <a:pt x="3" y="354"/>
                  </a:cubicBezTo>
                  <a:cubicBezTo>
                    <a:pt x="0" y="355"/>
                    <a:pt x="0" y="355"/>
                    <a:pt x="0" y="355"/>
                  </a:cubicBezTo>
                  <a:cubicBezTo>
                    <a:pt x="2" y="357"/>
                    <a:pt x="4" y="360"/>
                    <a:pt x="7" y="364"/>
                  </a:cubicBezTo>
                  <a:cubicBezTo>
                    <a:pt x="14" y="363"/>
                    <a:pt x="24" y="359"/>
                    <a:pt x="24" y="359"/>
                  </a:cubicBezTo>
                  <a:cubicBezTo>
                    <a:pt x="24" y="359"/>
                    <a:pt x="39" y="374"/>
                    <a:pt x="45" y="374"/>
                  </a:cubicBezTo>
                  <a:cubicBezTo>
                    <a:pt x="51" y="374"/>
                    <a:pt x="70" y="351"/>
                    <a:pt x="70" y="351"/>
                  </a:cubicBezTo>
                  <a:cubicBezTo>
                    <a:pt x="70" y="351"/>
                    <a:pt x="103" y="344"/>
                    <a:pt x="105" y="349"/>
                  </a:cubicBezTo>
                  <a:cubicBezTo>
                    <a:pt x="107" y="354"/>
                    <a:pt x="96" y="361"/>
                    <a:pt x="96" y="361"/>
                  </a:cubicBezTo>
                  <a:cubicBezTo>
                    <a:pt x="72" y="363"/>
                    <a:pt x="72" y="363"/>
                    <a:pt x="72" y="363"/>
                  </a:cubicBezTo>
                  <a:cubicBezTo>
                    <a:pt x="67" y="376"/>
                    <a:pt x="67" y="376"/>
                    <a:pt x="67" y="376"/>
                  </a:cubicBezTo>
                  <a:cubicBezTo>
                    <a:pt x="71" y="385"/>
                    <a:pt x="71" y="385"/>
                    <a:pt x="71" y="385"/>
                  </a:cubicBezTo>
                  <a:cubicBezTo>
                    <a:pt x="65" y="399"/>
                    <a:pt x="65" y="399"/>
                    <a:pt x="65" y="399"/>
                  </a:cubicBezTo>
                  <a:cubicBezTo>
                    <a:pt x="52" y="399"/>
                    <a:pt x="52" y="399"/>
                    <a:pt x="52" y="399"/>
                  </a:cubicBezTo>
                  <a:cubicBezTo>
                    <a:pt x="52" y="408"/>
                    <a:pt x="52" y="408"/>
                    <a:pt x="52" y="408"/>
                  </a:cubicBezTo>
                  <a:cubicBezTo>
                    <a:pt x="91" y="415"/>
                    <a:pt x="91" y="415"/>
                    <a:pt x="91" y="415"/>
                  </a:cubicBezTo>
                  <a:cubicBezTo>
                    <a:pt x="104" y="444"/>
                    <a:pt x="104" y="444"/>
                    <a:pt x="104" y="444"/>
                  </a:cubicBezTo>
                  <a:cubicBezTo>
                    <a:pt x="95" y="445"/>
                    <a:pt x="95" y="445"/>
                    <a:pt x="95" y="445"/>
                  </a:cubicBezTo>
                  <a:cubicBezTo>
                    <a:pt x="92" y="462"/>
                    <a:pt x="92" y="462"/>
                    <a:pt x="92" y="462"/>
                  </a:cubicBezTo>
                  <a:cubicBezTo>
                    <a:pt x="72" y="483"/>
                    <a:pt x="72" y="483"/>
                    <a:pt x="72" y="483"/>
                  </a:cubicBezTo>
                  <a:cubicBezTo>
                    <a:pt x="69" y="468"/>
                    <a:pt x="69" y="468"/>
                    <a:pt x="69" y="468"/>
                  </a:cubicBezTo>
                  <a:cubicBezTo>
                    <a:pt x="55" y="458"/>
                    <a:pt x="55" y="458"/>
                    <a:pt x="55" y="458"/>
                  </a:cubicBezTo>
                  <a:cubicBezTo>
                    <a:pt x="55" y="465"/>
                    <a:pt x="55" y="465"/>
                    <a:pt x="55" y="465"/>
                  </a:cubicBezTo>
                  <a:cubicBezTo>
                    <a:pt x="55" y="465"/>
                    <a:pt x="62" y="463"/>
                    <a:pt x="63" y="469"/>
                  </a:cubicBezTo>
                  <a:cubicBezTo>
                    <a:pt x="64" y="475"/>
                    <a:pt x="68" y="489"/>
                    <a:pt x="68" y="489"/>
                  </a:cubicBezTo>
                  <a:cubicBezTo>
                    <a:pt x="68" y="489"/>
                    <a:pt x="73" y="508"/>
                    <a:pt x="72" y="511"/>
                  </a:cubicBezTo>
                  <a:cubicBezTo>
                    <a:pt x="91" y="521"/>
                    <a:pt x="103" y="549"/>
                    <a:pt x="103" y="549"/>
                  </a:cubicBezTo>
                  <a:cubicBezTo>
                    <a:pt x="111" y="549"/>
                    <a:pt x="111" y="549"/>
                    <a:pt x="111" y="549"/>
                  </a:cubicBezTo>
                  <a:cubicBezTo>
                    <a:pt x="126" y="569"/>
                    <a:pt x="135" y="611"/>
                    <a:pt x="135" y="611"/>
                  </a:cubicBezTo>
                  <a:cubicBezTo>
                    <a:pt x="135" y="611"/>
                    <a:pt x="135" y="603"/>
                    <a:pt x="149" y="617"/>
                  </a:cubicBezTo>
                  <a:cubicBezTo>
                    <a:pt x="163" y="631"/>
                    <a:pt x="200" y="642"/>
                    <a:pt x="200" y="642"/>
                  </a:cubicBezTo>
                  <a:cubicBezTo>
                    <a:pt x="210" y="658"/>
                    <a:pt x="210" y="658"/>
                    <a:pt x="210" y="658"/>
                  </a:cubicBezTo>
                  <a:cubicBezTo>
                    <a:pt x="210" y="658"/>
                    <a:pt x="229" y="658"/>
                    <a:pt x="235" y="660"/>
                  </a:cubicBezTo>
                  <a:cubicBezTo>
                    <a:pt x="241" y="662"/>
                    <a:pt x="248" y="678"/>
                    <a:pt x="248" y="678"/>
                  </a:cubicBezTo>
                  <a:cubicBezTo>
                    <a:pt x="251" y="669"/>
                    <a:pt x="251" y="669"/>
                    <a:pt x="251" y="669"/>
                  </a:cubicBezTo>
                  <a:cubicBezTo>
                    <a:pt x="265" y="682"/>
                    <a:pt x="265" y="682"/>
                    <a:pt x="265" y="682"/>
                  </a:cubicBezTo>
                  <a:cubicBezTo>
                    <a:pt x="274" y="666"/>
                    <a:pt x="274" y="666"/>
                    <a:pt x="274" y="666"/>
                  </a:cubicBezTo>
                  <a:cubicBezTo>
                    <a:pt x="274" y="666"/>
                    <a:pt x="284" y="675"/>
                    <a:pt x="287" y="680"/>
                  </a:cubicBezTo>
                  <a:cubicBezTo>
                    <a:pt x="290" y="685"/>
                    <a:pt x="262" y="717"/>
                    <a:pt x="262" y="717"/>
                  </a:cubicBezTo>
                  <a:cubicBezTo>
                    <a:pt x="267" y="720"/>
                    <a:pt x="271" y="724"/>
                    <a:pt x="275" y="728"/>
                  </a:cubicBezTo>
                  <a:cubicBezTo>
                    <a:pt x="289" y="723"/>
                    <a:pt x="289" y="723"/>
                    <a:pt x="289" y="723"/>
                  </a:cubicBezTo>
                  <a:cubicBezTo>
                    <a:pt x="322" y="712"/>
                    <a:pt x="322" y="712"/>
                    <a:pt x="322" y="712"/>
                  </a:cubicBezTo>
                  <a:cubicBezTo>
                    <a:pt x="322" y="728"/>
                    <a:pt x="322" y="728"/>
                    <a:pt x="322" y="728"/>
                  </a:cubicBezTo>
                  <a:cubicBezTo>
                    <a:pt x="337" y="729"/>
                    <a:pt x="337" y="729"/>
                    <a:pt x="337" y="729"/>
                  </a:cubicBezTo>
                  <a:cubicBezTo>
                    <a:pt x="346" y="723"/>
                    <a:pt x="346" y="723"/>
                    <a:pt x="346" y="723"/>
                  </a:cubicBezTo>
                  <a:cubicBezTo>
                    <a:pt x="361" y="732"/>
                    <a:pt x="361" y="732"/>
                    <a:pt x="361" y="732"/>
                  </a:cubicBezTo>
                  <a:cubicBezTo>
                    <a:pt x="361" y="732"/>
                    <a:pt x="378" y="728"/>
                    <a:pt x="385" y="728"/>
                  </a:cubicBezTo>
                  <a:cubicBezTo>
                    <a:pt x="391" y="728"/>
                    <a:pt x="391" y="717"/>
                    <a:pt x="391" y="717"/>
                  </a:cubicBezTo>
                  <a:cubicBezTo>
                    <a:pt x="391" y="717"/>
                    <a:pt x="421" y="719"/>
                    <a:pt x="398" y="699"/>
                  </a:cubicBezTo>
                  <a:cubicBezTo>
                    <a:pt x="389" y="707"/>
                    <a:pt x="389" y="707"/>
                    <a:pt x="389" y="707"/>
                  </a:cubicBezTo>
                  <a:cubicBezTo>
                    <a:pt x="393" y="684"/>
                    <a:pt x="393" y="684"/>
                    <a:pt x="393" y="684"/>
                  </a:cubicBezTo>
                  <a:cubicBezTo>
                    <a:pt x="383" y="664"/>
                    <a:pt x="383" y="664"/>
                    <a:pt x="383" y="664"/>
                  </a:cubicBezTo>
                  <a:cubicBezTo>
                    <a:pt x="394" y="664"/>
                    <a:pt x="394" y="664"/>
                    <a:pt x="394" y="664"/>
                  </a:cubicBezTo>
                  <a:cubicBezTo>
                    <a:pt x="394" y="627"/>
                    <a:pt x="394" y="627"/>
                    <a:pt x="394" y="627"/>
                  </a:cubicBezTo>
                  <a:cubicBezTo>
                    <a:pt x="383" y="627"/>
                    <a:pt x="383" y="627"/>
                    <a:pt x="383" y="627"/>
                  </a:cubicBezTo>
                  <a:cubicBezTo>
                    <a:pt x="386" y="605"/>
                    <a:pt x="386" y="605"/>
                    <a:pt x="386" y="605"/>
                  </a:cubicBezTo>
                  <a:cubicBezTo>
                    <a:pt x="371" y="585"/>
                    <a:pt x="371" y="585"/>
                    <a:pt x="371" y="585"/>
                  </a:cubicBezTo>
                  <a:cubicBezTo>
                    <a:pt x="378" y="573"/>
                    <a:pt x="378" y="573"/>
                    <a:pt x="378" y="573"/>
                  </a:cubicBezTo>
                  <a:cubicBezTo>
                    <a:pt x="353" y="548"/>
                    <a:pt x="353" y="548"/>
                    <a:pt x="353" y="548"/>
                  </a:cubicBezTo>
                  <a:cubicBezTo>
                    <a:pt x="357" y="537"/>
                    <a:pt x="357" y="537"/>
                    <a:pt x="357" y="537"/>
                  </a:cubicBezTo>
                  <a:cubicBezTo>
                    <a:pt x="357" y="537"/>
                    <a:pt x="337" y="532"/>
                    <a:pt x="339" y="523"/>
                  </a:cubicBezTo>
                  <a:cubicBezTo>
                    <a:pt x="342" y="513"/>
                    <a:pt x="371" y="503"/>
                    <a:pt x="378" y="511"/>
                  </a:cubicBezTo>
                  <a:cubicBezTo>
                    <a:pt x="385" y="519"/>
                    <a:pt x="413" y="501"/>
                    <a:pt x="413" y="501"/>
                  </a:cubicBezTo>
                  <a:cubicBezTo>
                    <a:pt x="415" y="485"/>
                    <a:pt x="415" y="485"/>
                    <a:pt x="415" y="485"/>
                  </a:cubicBezTo>
                  <a:cubicBezTo>
                    <a:pt x="434" y="488"/>
                    <a:pt x="434" y="488"/>
                    <a:pt x="434" y="488"/>
                  </a:cubicBezTo>
                  <a:cubicBezTo>
                    <a:pt x="433" y="496"/>
                    <a:pt x="433" y="496"/>
                    <a:pt x="433" y="496"/>
                  </a:cubicBezTo>
                  <a:cubicBezTo>
                    <a:pt x="459" y="481"/>
                    <a:pt x="459" y="481"/>
                    <a:pt x="459" y="481"/>
                  </a:cubicBezTo>
                  <a:cubicBezTo>
                    <a:pt x="502" y="480"/>
                    <a:pt x="502" y="480"/>
                    <a:pt x="502" y="480"/>
                  </a:cubicBezTo>
                  <a:cubicBezTo>
                    <a:pt x="499" y="492"/>
                    <a:pt x="499" y="492"/>
                    <a:pt x="499" y="492"/>
                  </a:cubicBezTo>
                  <a:cubicBezTo>
                    <a:pt x="509" y="492"/>
                    <a:pt x="509" y="492"/>
                    <a:pt x="509" y="492"/>
                  </a:cubicBezTo>
                  <a:cubicBezTo>
                    <a:pt x="514" y="483"/>
                    <a:pt x="514" y="483"/>
                    <a:pt x="514" y="483"/>
                  </a:cubicBezTo>
                  <a:cubicBezTo>
                    <a:pt x="519" y="484"/>
                    <a:pt x="519" y="484"/>
                    <a:pt x="519" y="484"/>
                  </a:cubicBezTo>
                  <a:cubicBezTo>
                    <a:pt x="519" y="484"/>
                    <a:pt x="518" y="464"/>
                    <a:pt x="549" y="464"/>
                  </a:cubicBezTo>
                  <a:cubicBezTo>
                    <a:pt x="549" y="463"/>
                    <a:pt x="549" y="462"/>
                    <a:pt x="549" y="461"/>
                  </a:cubicBezTo>
                  <a:cubicBezTo>
                    <a:pt x="546" y="433"/>
                    <a:pt x="575" y="399"/>
                    <a:pt x="575" y="399"/>
                  </a:cubicBezTo>
                  <a:cubicBezTo>
                    <a:pt x="569" y="387"/>
                    <a:pt x="569" y="387"/>
                    <a:pt x="569" y="387"/>
                  </a:cubicBezTo>
                  <a:cubicBezTo>
                    <a:pt x="569" y="387"/>
                    <a:pt x="581" y="369"/>
                    <a:pt x="585" y="359"/>
                  </a:cubicBezTo>
                  <a:cubicBezTo>
                    <a:pt x="578" y="351"/>
                    <a:pt x="589" y="323"/>
                    <a:pt x="589" y="323"/>
                  </a:cubicBezTo>
                  <a:cubicBezTo>
                    <a:pt x="626" y="335"/>
                    <a:pt x="626" y="335"/>
                    <a:pt x="626" y="335"/>
                  </a:cubicBezTo>
                  <a:cubicBezTo>
                    <a:pt x="615" y="320"/>
                    <a:pt x="615" y="320"/>
                    <a:pt x="615" y="320"/>
                  </a:cubicBezTo>
                  <a:cubicBezTo>
                    <a:pt x="615" y="320"/>
                    <a:pt x="626" y="313"/>
                    <a:pt x="625" y="311"/>
                  </a:cubicBezTo>
                  <a:cubicBezTo>
                    <a:pt x="642" y="329"/>
                    <a:pt x="641" y="307"/>
                    <a:pt x="641" y="307"/>
                  </a:cubicBezTo>
                  <a:cubicBezTo>
                    <a:pt x="641" y="307"/>
                    <a:pt x="670" y="300"/>
                    <a:pt x="674" y="299"/>
                  </a:cubicBezTo>
                  <a:cubicBezTo>
                    <a:pt x="658" y="293"/>
                    <a:pt x="690" y="272"/>
                    <a:pt x="690" y="272"/>
                  </a:cubicBezTo>
                  <a:cubicBezTo>
                    <a:pt x="690" y="272"/>
                    <a:pt x="703" y="252"/>
                    <a:pt x="707" y="248"/>
                  </a:cubicBezTo>
                  <a:cubicBezTo>
                    <a:pt x="707" y="233"/>
                    <a:pt x="717" y="229"/>
                    <a:pt x="717" y="229"/>
                  </a:cubicBezTo>
                  <a:cubicBezTo>
                    <a:pt x="725" y="219"/>
                    <a:pt x="725" y="219"/>
                    <a:pt x="725" y="219"/>
                  </a:cubicBezTo>
                  <a:cubicBezTo>
                    <a:pt x="718" y="205"/>
                    <a:pt x="718" y="205"/>
                    <a:pt x="718" y="205"/>
                  </a:cubicBezTo>
                  <a:cubicBezTo>
                    <a:pt x="722" y="192"/>
                    <a:pt x="722" y="192"/>
                    <a:pt x="722" y="192"/>
                  </a:cubicBezTo>
                  <a:cubicBezTo>
                    <a:pt x="714" y="180"/>
                    <a:pt x="714" y="180"/>
                    <a:pt x="714" y="180"/>
                  </a:cubicBezTo>
                  <a:cubicBezTo>
                    <a:pt x="725" y="175"/>
                    <a:pt x="725" y="175"/>
                    <a:pt x="725" y="175"/>
                  </a:cubicBezTo>
                  <a:cubicBezTo>
                    <a:pt x="725" y="157"/>
                    <a:pt x="725" y="157"/>
                    <a:pt x="725" y="157"/>
                  </a:cubicBezTo>
                  <a:cubicBezTo>
                    <a:pt x="739" y="156"/>
                    <a:pt x="739" y="156"/>
                    <a:pt x="739" y="156"/>
                  </a:cubicBezTo>
                  <a:cubicBezTo>
                    <a:pt x="739" y="147"/>
                    <a:pt x="739" y="147"/>
                    <a:pt x="739" y="147"/>
                  </a:cubicBezTo>
                  <a:lnTo>
                    <a:pt x="719" y="14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3" name="POitou-Charentes" descr="© INSCALE GmbH, 05.05.2010&#10;http://www.presentationload.com/">
              <a:extLst>
                <a:ext uri="{FF2B5EF4-FFF2-40B4-BE49-F238E27FC236}">
                  <a16:creationId xmlns:a16="http://schemas.microsoft.com/office/drawing/2014/main" id="{3AE2A17A-E1A4-415C-BCBD-27B07359DE41}"/>
                </a:ext>
              </a:extLst>
            </p:cNvPr>
            <p:cNvSpPr>
              <a:spLocks noEditPoints="1"/>
            </p:cNvSpPr>
            <p:nvPr/>
          </p:nvSpPr>
          <p:spPr bwMode="gray">
            <a:xfrm>
              <a:off x="881" y="1507"/>
              <a:ext cx="619" cy="717"/>
            </a:xfrm>
            <a:custGeom>
              <a:avLst/>
              <a:gdLst/>
              <a:ahLst/>
              <a:cxnLst>
                <a:cxn ang="0">
                  <a:pos x="39" y="333"/>
                </a:cxn>
                <a:cxn ang="0">
                  <a:pos x="19" y="308"/>
                </a:cxn>
                <a:cxn ang="0">
                  <a:pos x="6" y="327"/>
                </a:cxn>
                <a:cxn ang="0">
                  <a:pos x="32" y="355"/>
                </a:cxn>
                <a:cxn ang="0">
                  <a:pos x="46" y="345"/>
                </a:cxn>
                <a:cxn ang="0">
                  <a:pos x="559" y="229"/>
                </a:cxn>
                <a:cxn ang="0">
                  <a:pos x="533" y="197"/>
                </a:cxn>
                <a:cxn ang="0">
                  <a:pos x="486" y="111"/>
                </a:cxn>
                <a:cxn ang="0">
                  <a:pos x="434" y="52"/>
                </a:cxn>
                <a:cxn ang="0">
                  <a:pos x="419" y="65"/>
                </a:cxn>
                <a:cxn ang="0">
                  <a:pos x="393" y="67"/>
                </a:cxn>
                <a:cxn ang="0">
                  <a:pos x="382" y="39"/>
                </a:cxn>
                <a:cxn ang="0">
                  <a:pos x="369" y="28"/>
                </a:cxn>
                <a:cxn ang="0">
                  <a:pos x="355" y="21"/>
                </a:cxn>
                <a:cxn ang="0">
                  <a:pos x="299" y="20"/>
                </a:cxn>
                <a:cxn ang="0">
                  <a:pos x="289" y="28"/>
                </a:cxn>
                <a:cxn ang="0">
                  <a:pos x="282" y="16"/>
                </a:cxn>
                <a:cxn ang="0">
                  <a:pos x="213" y="32"/>
                </a:cxn>
                <a:cxn ang="0">
                  <a:pos x="195" y="21"/>
                </a:cxn>
                <a:cxn ang="0">
                  <a:pos x="158" y="47"/>
                </a:cxn>
                <a:cxn ang="0">
                  <a:pos x="137" y="73"/>
                </a:cxn>
                <a:cxn ang="0">
                  <a:pos x="158" y="109"/>
                </a:cxn>
                <a:cxn ang="0">
                  <a:pos x="166" y="141"/>
                </a:cxn>
                <a:cxn ang="0">
                  <a:pos x="174" y="163"/>
                </a:cxn>
                <a:cxn ang="0">
                  <a:pos x="163" y="200"/>
                </a:cxn>
                <a:cxn ang="0">
                  <a:pos x="169" y="243"/>
                </a:cxn>
                <a:cxn ang="0">
                  <a:pos x="171" y="253"/>
                </a:cxn>
                <a:cxn ang="0">
                  <a:pos x="141" y="268"/>
                </a:cxn>
                <a:cxn ang="0">
                  <a:pos x="117" y="265"/>
                </a:cxn>
                <a:cxn ang="0">
                  <a:pos x="102" y="248"/>
                </a:cxn>
                <a:cxn ang="0">
                  <a:pos x="55" y="264"/>
                </a:cxn>
                <a:cxn ang="0">
                  <a:pos x="64" y="309"/>
                </a:cxn>
                <a:cxn ang="0">
                  <a:pos x="69" y="324"/>
                </a:cxn>
                <a:cxn ang="0">
                  <a:pos x="63" y="352"/>
                </a:cxn>
                <a:cxn ang="0">
                  <a:pos x="58" y="367"/>
                </a:cxn>
                <a:cxn ang="0">
                  <a:pos x="44" y="372"/>
                </a:cxn>
                <a:cxn ang="0">
                  <a:pos x="37" y="406"/>
                </a:cxn>
                <a:cxn ang="0">
                  <a:pos x="80" y="427"/>
                </a:cxn>
                <a:cxn ang="0">
                  <a:pos x="103" y="454"/>
                </a:cxn>
                <a:cxn ang="0">
                  <a:pos x="147" y="539"/>
                </a:cxn>
                <a:cxn ang="0">
                  <a:pos x="152" y="564"/>
                </a:cxn>
                <a:cxn ang="0">
                  <a:pos x="151" y="581"/>
                </a:cxn>
                <a:cxn ang="0">
                  <a:pos x="171" y="593"/>
                </a:cxn>
                <a:cxn ang="0">
                  <a:pos x="210" y="643"/>
                </a:cxn>
                <a:cxn ang="0">
                  <a:pos x="293" y="652"/>
                </a:cxn>
                <a:cxn ang="0">
                  <a:pos x="327" y="625"/>
                </a:cxn>
                <a:cxn ang="0">
                  <a:pos x="357" y="597"/>
                </a:cxn>
                <a:cxn ang="0">
                  <a:pos x="405" y="524"/>
                </a:cxn>
                <a:cxn ang="0">
                  <a:pos x="411" y="495"/>
                </a:cxn>
                <a:cxn ang="0">
                  <a:pos x="461" y="451"/>
                </a:cxn>
                <a:cxn ang="0">
                  <a:pos x="481" y="439"/>
                </a:cxn>
                <a:cxn ang="0">
                  <a:pos x="487" y="395"/>
                </a:cxn>
                <a:cxn ang="0">
                  <a:pos x="513" y="391"/>
                </a:cxn>
                <a:cxn ang="0">
                  <a:pos x="490" y="332"/>
                </a:cxn>
                <a:cxn ang="0">
                  <a:pos x="494" y="301"/>
                </a:cxn>
                <a:cxn ang="0">
                  <a:pos x="529" y="287"/>
                </a:cxn>
                <a:cxn ang="0">
                  <a:pos x="555" y="263"/>
                </a:cxn>
                <a:cxn ang="0">
                  <a:pos x="570" y="252"/>
                </a:cxn>
              </a:cxnLst>
              <a:rect l="0" t="0" r="r" b="b"/>
              <a:pathLst>
                <a:path w="574" h="665">
                  <a:moveTo>
                    <a:pt x="46" y="345"/>
                  </a:moveTo>
                  <a:cubicBezTo>
                    <a:pt x="39" y="333"/>
                    <a:pt x="39" y="333"/>
                    <a:pt x="39" y="333"/>
                  </a:cubicBezTo>
                  <a:cubicBezTo>
                    <a:pt x="38" y="311"/>
                    <a:pt x="38" y="311"/>
                    <a:pt x="38" y="311"/>
                  </a:cubicBezTo>
                  <a:cubicBezTo>
                    <a:pt x="19" y="308"/>
                    <a:pt x="19" y="308"/>
                    <a:pt x="19" y="308"/>
                  </a:cubicBezTo>
                  <a:cubicBezTo>
                    <a:pt x="4" y="289"/>
                    <a:pt x="4" y="289"/>
                    <a:pt x="4" y="289"/>
                  </a:cubicBezTo>
                  <a:cubicBezTo>
                    <a:pt x="0" y="293"/>
                    <a:pt x="6" y="327"/>
                    <a:pt x="6" y="327"/>
                  </a:cubicBezTo>
                  <a:cubicBezTo>
                    <a:pt x="19" y="337"/>
                    <a:pt x="19" y="337"/>
                    <a:pt x="19" y="337"/>
                  </a:cubicBezTo>
                  <a:cubicBezTo>
                    <a:pt x="32" y="355"/>
                    <a:pt x="32" y="355"/>
                    <a:pt x="32" y="355"/>
                  </a:cubicBezTo>
                  <a:cubicBezTo>
                    <a:pt x="36" y="368"/>
                    <a:pt x="36" y="368"/>
                    <a:pt x="36" y="368"/>
                  </a:cubicBezTo>
                  <a:lnTo>
                    <a:pt x="46" y="345"/>
                  </a:lnTo>
                  <a:close/>
                  <a:moveTo>
                    <a:pt x="574" y="241"/>
                  </a:moveTo>
                  <a:cubicBezTo>
                    <a:pt x="574" y="241"/>
                    <a:pt x="563" y="236"/>
                    <a:pt x="559" y="229"/>
                  </a:cubicBezTo>
                  <a:cubicBezTo>
                    <a:pt x="553" y="187"/>
                    <a:pt x="534" y="208"/>
                    <a:pt x="534" y="208"/>
                  </a:cubicBezTo>
                  <a:cubicBezTo>
                    <a:pt x="534" y="208"/>
                    <a:pt x="537" y="199"/>
                    <a:pt x="533" y="197"/>
                  </a:cubicBezTo>
                  <a:cubicBezTo>
                    <a:pt x="505" y="196"/>
                    <a:pt x="510" y="167"/>
                    <a:pt x="511" y="153"/>
                  </a:cubicBezTo>
                  <a:cubicBezTo>
                    <a:pt x="479" y="120"/>
                    <a:pt x="503" y="127"/>
                    <a:pt x="486" y="111"/>
                  </a:cubicBezTo>
                  <a:cubicBezTo>
                    <a:pt x="469" y="95"/>
                    <a:pt x="466" y="63"/>
                    <a:pt x="466" y="63"/>
                  </a:cubicBezTo>
                  <a:cubicBezTo>
                    <a:pt x="434" y="52"/>
                    <a:pt x="434" y="52"/>
                    <a:pt x="434" y="52"/>
                  </a:cubicBezTo>
                  <a:cubicBezTo>
                    <a:pt x="442" y="65"/>
                    <a:pt x="442" y="65"/>
                    <a:pt x="442" y="65"/>
                  </a:cubicBezTo>
                  <a:cubicBezTo>
                    <a:pt x="419" y="65"/>
                    <a:pt x="419" y="65"/>
                    <a:pt x="419" y="65"/>
                  </a:cubicBezTo>
                  <a:cubicBezTo>
                    <a:pt x="405" y="73"/>
                    <a:pt x="405" y="73"/>
                    <a:pt x="405" y="73"/>
                  </a:cubicBezTo>
                  <a:cubicBezTo>
                    <a:pt x="393" y="67"/>
                    <a:pt x="393" y="67"/>
                    <a:pt x="393" y="67"/>
                  </a:cubicBezTo>
                  <a:cubicBezTo>
                    <a:pt x="393" y="67"/>
                    <a:pt x="394" y="73"/>
                    <a:pt x="382" y="69"/>
                  </a:cubicBezTo>
                  <a:cubicBezTo>
                    <a:pt x="370" y="65"/>
                    <a:pt x="382" y="39"/>
                    <a:pt x="382" y="39"/>
                  </a:cubicBezTo>
                  <a:cubicBezTo>
                    <a:pt x="373" y="35"/>
                    <a:pt x="373" y="35"/>
                    <a:pt x="373" y="35"/>
                  </a:cubicBezTo>
                  <a:cubicBezTo>
                    <a:pt x="369" y="28"/>
                    <a:pt x="369" y="28"/>
                    <a:pt x="369" y="28"/>
                  </a:cubicBezTo>
                  <a:cubicBezTo>
                    <a:pt x="355" y="35"/>
                    <a:pt x="355" y="35"/>
                    <a:pt x="355" y="35"/>
                  </a:cubicBezTo>
                  <a:cubicBezTo>
                    <a:pt x="355" y="21"/>
                    <a:pt x="355" y="21"/>
                    <a:pt x="355" y="21"/>
                  </a:cubicBezTo>
                  <a:cubicBezTo>
                    <a:pt x="355" y="21"/>
                    <a:pt x="333" y="25"/>
                    <a:pt x="329" y="0"/>
                  </a:cubicBezTo>
                  <a:cubicBezTo>
                    <a:pt x="298" y="0"/>
                    <a:pt x="299" y="20"/>
                    <a:pt x="299" y="20"/>
                  </a:cubicBezTo>
                  <a:cubicBezTo>
                    <a:pt x="294" y="19"/>
                    <a:pt x="294" y="19"/>
                    <a:pt x="294" y="19"/>
                  </a:cubicBezTo>
                  <a:cubicBezTo>
                    <a:pt x="289" y="28"/>
                    <a:pt x="289" y="28"/>
                    <a:pt x="289" y="28"/>
                  </a:cubicBezTo>
                  <a:cubicBezTo>
                    <a:pt x="279" y="28"/>
                    <a:pt x="279" y="28"/>
                    <a:pt x="279" y="28"/>
                  </a:cubicBezTo>
                  <a:cubicBezTo>
                    <a:pt x="282" y="16"/>
                    <a:pt x="282" y="16"/>
                    <a:pt x="282" y="16"/>
                  </a:cubicBezTo>
                  <a:cubicBezTo>
                    <a:pt x="239" y="17"/>
                    <a:pt x="239" y="17"/>
                    <a:pt x="239" y="17"/>
                  </a:cubicBezTo>
                  <a:cubicBezTo>
                    <a:pt x="213" y="32"/>
                    <a:pt x="213" y="32"/>
                    <a:pt x="213" y="32"/>
                  </a:cubicBezTo>
                  <a:cubicBezTo>
                    <a:pt x="214" y="24"/>
                    <a:pt x="214" y="24"/>
                    <a:pt x="214" y="24"/>
                  </a:cubicBezTo>
                  <a:cubicBezTo>
                    <a:pt x="195" y="21"/>
                    <a:pt x="195" y="21"/>
                    <a:pt x="195" y="21"/>
                  </a:cubicBezTo>
                  <a:cubicBezTo>
                    <a:pt x="193" y="37"/>
                    <a:pt x="193" y="37"/>
                    <a:pt x="193" y="37"/>
                  </a:cubicBezTo>
                  <a:cubicBezTo>
                    <a:pt x="193" y="37"/>
                    <a:pt x="165" y="55"/>
                    <a:pt x="158" y="47"/>
                  </a:cubicBezTo>
                  <a:cubicBezTo>
                    <a:pt x="151" y="39"/>
                    <a:pt x="122" y="49"/>
                    <a:pt x="119" y="59"/>
                  </a:cubicBezTo>
                  <a:cubicBezTo>
                    <a:pt x="117" y="68"/>
                    <a:pt x="137" y="73"/>
                    <a:pt x="137" y="73"/>
                  </a:cubicBezTo>
                  <a:cubicBezTo>
                    <a:pt x="133" y="84"/>
                    <a:pt x="133" y="84"/>
                    <a:pt x="133" y="84"/>
                  </a:cubicBezTo>
                  <a:cubicBezTo>
                    <a:pt x="158" y="109"/>
                    <a:pt x="158" y="109"/>
                    <a:pt x="158" y="109"/>
                  </a:cubicBezTo>
                  <a:cubicBezTo>
                    <a:pt x="151" y="121"/>
                    <a:pt x="151" y="121"/>
                    <a:pt x="151" y="121"/>
                  </a:cubicBezTo>
                  <a:cubicBezTo>
                    <a:pt x="166" y="141"/>
                    <a:pt x="166" y="141"/>
                    <a:pt x="166" y="141"/>
                  </a:cubicBezTo>
                  <a:cubicBezTo>
                    <a:pt x="163" y="163"/>
                    <a:pt x="163" y="163"/>
                    <a:pt x="163" y="163"/>
                  </a:cubicBezTo>
                  <a:cubicBezTo>
                    <a:pt x="174" y="163"/>
                    <a:pt x="174" y="163"/>
                    <a:pt x="174" y="163"/>
                  </a:cubicBezTo>
                  <a:cubicBezTo>
                    <a:pt x="174" y="200"/>
                    <a:pt x="174" y="200"/>
                    <a:pt x="174" y="200"/>
                  </a:cubicBezTo>
                  <a:cubicBezTo>
                    <a:pt x="163" y="200"/>
                    <a:pt x="163" y="200"/>
                    <a:pt x="163" y="200"/>
                  </a:cubicBezTo>
                  <a:cubicBezTo>
                    <a:pt x="173" y="220"/>
                    <a:pt x="173" y="220"/>
                    <a:pt x="173" y="220"/>
                  </a:cubicBezTo>
                  <a:cubicBezTo>
                    <a:pt x="169" y="243"/>
                    <a:pt x="169" y="243"/>
                    <a:pt x="169" y="243"/>
                  </a:cubicBezTo>
                  <a:cubicBezTo>
                    <a:pt x="178" y="235"/>
                    <a:pt x="178" y="235"/>
                    <a:pt x="178" y="235"/>
                  </a:cubicBezTo>
                  <a:cubicBezTo>
                    <a:pt x="201" y="255"/>
                    <a:pt x="171" y="253"/>
                    <a:pt x="171" y="253"/>
                  </a:cubicBezTo>
                  <a:cubicBezTo>
                    <a:pt x="171" y="253"/>
                    <a:pt x="171" y="264"/>
                    <a:pt x="165" y="264"/>
                  </a:cubicBezTo>
                  <a:cubicBezTo>
                    <a:pt x="158" y="264"/>
                    <a:pt x="141" y="268"/>
                    <a:pt x="141" y="268"/>
                  </a:cubicBezTo>
                  <a:cubicBezTo>
                    <a:pt x="126" y="259"/>
                    <a:pt x="126" y="259"/>
                    <a:pt x="126" y="259"/>
                  </a:cubicBezTo>
                  <a:cubicBezTo>
                    <a:pt x="117" y="265"/>
                    <a:pt x="117" y="265"/>
                    <a:pt x="117" y="265"/>
                  </a:cubicBezTo>
                  <a:cubicBezTo>
                    <a:pt x="102" y="264"/>
                    <a:pt x="102" y="264"/>
                    <a:pt x="102" y="264"/>
                  </a:cubicBezTo>
                  <a:cubicBezTo>
                    <a:pt x="102" y="248"/>
                    <a:pt x="102" y="248"/>
                    <a:pt x="102" y="248"/>
                  </a:cubicBezTo>
                  <a:cubicBezTo>
                    <a:pt x="69" y="259"/>
                    <a:pt x="69" y="259"/>
                    <a:pt x="69" y="259"/>
                  </a:cubicBezTo>
                  <a:cubicBezTo>
                    <a:pt x="55" y="264"/>
                    <a:pt x="55" y="264"/>
                    <a:pt x="55" y="264"/>
                  </a:cubicBezTo>
                  <a:cubicBezTo>
                    <a:pt x="71" y="282"/>
                    <a:pt x="78" y="307"/>
                    <a:pt x="78" y="307"/>
                  </a:cubicBezTo>
                  <a:cubicBezTo>
                    <a:pt x="64" y="309"/>
                    <a:pt x="64" y="309"/>
                    <a:pt x="64" y="309"/>
                  </a:cubicBezTo>
                  <a:cubicBezTo>
                    <a:pt x="69" y="320"/>
                    <a:pt x="69" y="320"/>
                    <a:pt x="69" y="320"/>
                  </a:cubicBezTo>
                  <a:cubicBezTo>
                    <a:pt x="69" y="324"/>
                    <a:pt x="69" y="324"/>
                    <a:pt x="69" y="324"/>
                  </a:cubicBezTo>
                  <a:cubicBezTo>
                    <a:pt x="71" y="335"/>
                    <a:pt x="71" y="335"/>
                    <a:pt x="71" y="335"/>
                  </a:cubicBezTo>
                  <a:cubicBezTo>
                    <a:pt x="63" y="352"/>
                    <a:pt x="63" y="352"/>
                    <a:pt x="63" y="352"/>
                  </a:cubicBezTo>
                  <a:cubicBezTo>
                    <a:pt x="52" y="352"/>
                    <a:pt x="52" y="352"/>
                    <a:pt x="52" y="352"/>
                  </a:cubicBezTo>
                  <a:cubicBezTo>
                    <a:pt x="58" y="367"/>
                    <a:pt x="58" y="367"/>
                    <a:pt x="58" y="367"/>
                  </a:cubicBezTo>
                  <a:cubicBezTo>
                    <a:pt x="67" y="382"/>
                    <a:pt x="67" y="382"/>
                    <a:pt x="67" y="382"/>
                  </a:cubicBezTo>
                  <a:cubicBezTo>
                    <a:pt x="67" y="382"/>
                    <a:pt x="51" y="372"/>
                    <a:pt x="44" y="372"/>
                  </a:cubicBezTo>
                  <a:cubicBezTo>
                    <a:pt x="37" y="372"/>
                    <a:pt x="35" y="378"/>
                    <a:pt x="33" y="389"/>
                  </a:cubicBezTo>
                  <a:cubicBezTo>
                    <a:pt x="31" y="400"/>
                    <a:pt x="37" y="406"/>
                    <a:pt x="37" y="406"/>
                  </a:cubicBezTo>
                  <a:cubicBezTo>
                    <a:pt x="70" y="427"/>
                    <a:pt x="70" y="427"/>
                    <a:pt x="70" y="427"/>
                  </a:cubicBezTo>
                  <a:cubicBezTo>
                    <a:pt x="80" y="427"/>
                    <a:pt x="80" y="427"/>
                    <a:pt x="80" y="427"/>
                  </a:cubicBezTo>
                  <a:cubicBezTo>
                    <a:pt x="93" y="454"/>
                    <a:pt x="93" y="454"/>
                    <a:pt x="93" y="454"/>
                  </a:cubicBezTo>
                  <a:cubicBezTo>
                    <a:pt x="103" y="454"/>
                    <a:pt x="103" y="454"/>
                    <a:pt x="103" y="454"/>
                  </a:cubicBezTo>
                  <a:cubicBezTo>
                    <a:pt x="103" y="454"/>
                    <a:pt x="104" y="457"/>
                    <a:pt x="114" y="462"/>
                  </a:cubicBezTo>
                  <a:cubicBezTo>
                    <a:pt x="124" y="467"/>
                    <a:pt x="147" y="539"/>
                    <a:pt x="147" y="539"/>
                  </a:cubicBezTo>
                  <a:cubicBezTo>
                    <a:pt x="145" y="553"/>
                    <a:pt x="145" y="553"/>
                    <a:pt x="145" y="553"/>
                  </a:cubicBezTo>
                  <a:cubicBezTo>
                    <a:pt x="152" y="564"/>
                    <a:pt x="152" y="564"/>
                    <a:pt x="152" y="564"/>
                  </a:cubicBezTo>
                  <a:cubicBezTo>
                    <a:pt x="148" y="576"/>
                    <a:pt x="148" y="576"/>
                    <a:pt x="148" y="576"/>
                  </a:cubicBezTo>
                  <a:cubicBezTo>
                    <a:pt x="148" y="576"/>
                    <a:pt x="149" y="578"/>
                    <a:pt x="151" y="581"/>
                  </a:cubicBezTo>
                  <a:cubicBezTo>
                    <a:pt x="165" y="580"/>
                    <a:pt x="165" y="580"/>
                    <a:pt x="165" y="580"/>
                  </a:cubicBezTo>
                  <a:cubicBezTo>
                    <a:pt x="171" y="593"/>
                    <a:pt x="171" y="593"/>
                    <a:pt x="171" y="593"/>
                  </a:cubicBezTo>
                  <a:cubicBezTo>
                    <a:pt x="171" y="593"/>
                    <a:pt x="211" y="604"/>
                    <a:pt x="205" y="619"/>
                  </a:cubicBezTo>
                  <a:cubicBezTo>
                    <a:pt x="210" y="637"/>
                    <a:pt x="210" y="643"/>
                    <a:pt x="210" y="643"/>
                  </a:cubicBezTo>
                  <a:cubicBezTo>
                    <a:pt x="210" y="643"/>
                    <a:pt x="218" y="628"/>
                    <a:pt x="235" y="645"/>
                  </a:cubicBezTo>
                  <a:cubicBezTo>
                    <a:pt x="253" y="663"/>
                    <a:pt x="286" y="665"/>
                    <a:pt x="293" y="652"/>
                  </a:cubicBezTo>
                  <a:cubicBezTo>
                    <a:pt x="299" y="639"/>
                    <a:pt x="315" y="616"/>
                    <a:pt x="315" y="616"/>
                  </a:cubicBezTo>
                  <a:cubicBezTo>
                    <a:pt x="315" y="616"/>
                    <a:pt x="323" y="625"/>
                    <a:pt x="327" y="625"/>
                  </a:cubicBezTo>
                  <a:cubicBezTo>
                    <a:pt x="331" y="625"/>
                    <a:pt x="350" y="597"/>
                    <a:pt x="350" y="597"/>
                  </a:cubicBezTo>
                  <a:cubicBezTo>
                    <a:pt x="357" y="597"/>
                    <a:pt x="357" y="597"/>
                    <a:pt x="357" y="597"/>
                  </a:cubicBezTo>
                  <a:cubicBezTo>
                    <a:pt x="357" y="597"/>
                    <a:pt x="345" y="544"/>
                    <a:pt x="397" y="537"/>
                  </a:cubicBezTo>
                  <a:cubicBezTo>
                    <a:pt x="401" y="523"/>
                    <a:pt x="405" y="524"/>
                    <a:pt x="405" y="524"/>
                  </a:cubicBezTo>
                  <a:cubicBezTo>
                    <a:pt x="417" y="523"/>
                    <a:pt x="417" y="523"/>
                    <a:pt x="417" y="523"/>
                  </a:cubicBezTo>
                  <a:cubicBezTo>
                    <a:pt x="417" y="523"/>
                    <a:pt x="407" y="495"/>
                    <a:pt x="411" y="495"/>
                  </a:cubicBezTo>
                  <a:cubicBezTo>
                    <a:pt x="415" y="495"/>
                    <a:pt x="426" y="493"/>
                    <a:pt x="426" y="493"/>
                  </a:cubicBezTo>
                  <a:cubicBezTo>
                    <a:pt x="461" y="451"/>
                    <a:pt x="461" y="451"/>
                    <a:pt x="461" y="451"/>
                  </a:cubicBezTo>
                  <a:cubicBezTo>
                    <a:pt x="461" y="443"/>
                    <a:pt x="461" y="443"/>
                    <a:pt x="461" y="443"/>
                  </a:cubicBezTo>
                  <a:cubicBezTo>
                    <a:pt x="481" y="439"/>
                    <a:pt x="481" y="439"/>
                    <a:pt x="481" y="439"/>
                  </a:cubicBezTo>
                  <a:cubicBezTo>
                    <a:pt x="489" y="413"/>
                    <a:pt x="489" y="413"/>
                    <a:pt x="489" y="413"/>
                  </a:cubicBezTo>
                  <a:cubicBezTo>
                    <a:pt x="489" y="413"/>
                    <a:pt x="483" y="393"/>
                    <a:pt x="487" y="395"/>
                  </a:cubicBezTo>
                  <a:cubicBezTo>
                    <a:pt x="491" y="396"/>
                    <a:pt x="501" y="399"/>
                    <a:pt x="501" y="399"/>
                  </a:cubicBezTo>
                  <a:cubicBezTo>
                    <a:pt x="513" y="391"/>
                    <a:pt x="513" y="391"/>
                    <a:pt x="513" y="391"/>
                  </a:cubicBezTo>
                  <a:cubicBezTo>
                    <a:pt x="506" y="371"/>
                    <a:pt x="506" y="371"/>
                    <a:pt x="506" y="371"/>
                  </a:cubicBezTo>
                  <a:cubicBezTo>
                    <a:pt x="506" y="371"/>
                    <a:pt x="478" y="372"/>
                    <a:pt x="490" y="332"/>
                  </a:cubicBezTo>
                  <a:cubicBezTo>
                    <a:pt x="482" y="311"/>
                    <a:pt x="482" y="311"/>
                    <a:pt x="482" y="311"/>
                  </a:cubicBezTo>
                  <a:cubicBezTo>
                    <a:pt x="494" y="301"/>
                    <a:pt x="494" y="301"/>
                    <a:pt x="494" y="301"/>
                  </a:cubicBezTo>
                  <a:cubicBezTo>
                    <a:pt x="510" y="285"/>
                    <a:pt x="510" y="285"/>
                    <a:pt x="510" y="285"/>
                  </a:cubicBezTo>
                  <a:cubicBezTo>
                    <a:pt x="529" y="287"/>
                    <a:pt x="529" y="287"/>
                    <a:pt x="529" y="287"/>
                  </a:cubicBezTo>
                  <a:cubicBezTo>
                    <a:pt x="541" y="261"/>
                    <a:pt x="541" y="261"/>
                    <a:pt x="541" y="261"/>
                  </a:cubicBezTo>
                  <a:cubicBezTo>
                    <a:pt x="555" y="263"/>
                    <a:pt x="555" y="263"/>
                    <a:pt x="555" y="263"/>
                  </a:cubicBezTo>
                  <a:cubicBezTo>
                    <a:pt x="573" y="256"/>
                    <a:pt x="573" y="256"/>
                    <a:pt x="573" y="256"/>
                  </a:cubicBezTo>
                  <a:cubicBezTo>
                    <a:pt x="570" y="252"/>
                    <a:pt x="570" y="252"/>
                    <a:pt x="570" y="252"/>
                  </a:cubicBezTo>
                  <a:lnTo>
                    <a:pt x="574" y="241"/>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4" name="Limousin" descr="© INSCALE GmbH, 05.05.2010&#10;http://www.presentationload.com/">
              <a:extLst>
                <a:ext uri="{FF2B5EF4-FFF2-40B4-BE49-F238E27FC236}">
                  <a16:creationId xmlns:a16="http://schemas.microsoft.com/office/drawing/2014/main" id="{4FA2DC5F-8B28-45E5-99F2-EB35462EE5EB}"/>
                </a:ext>
              </a:extLst>
            </p:cNvPr>
            <p:cNvSpPr>
              <a:spLocks/>
            </p:cNvSpPr>
            <p:nvPr/>
          </p:nvSpPr>
          <p:spPr bwMode="gray">
            <a:xfrm>
              <a:off x="1360" y="1756"/>
              <a:ext cx="473" cy="536"/>
            </a:xfrm>
            <a:custGeom>
              <a:avLst/>
              <a:gdLst/>
              <a:ahLst/>
              <a:cxnLst>
                <a:cxn ang="0">
                  <a:pos x="50" y="266"/>
                </a:cxn>
                <a:cxn ang="0">
                  <a:pos x="97" y="293"/>
                </a:cxn>
                <a:cxn ang="0">
                  <a:pos x="110" y="314"/>
                </a:cxn>
                <a:cxn ang="0">
                  <a:pos x="135" y="337"/>
                </a:cxn>
                <a:cxn ang="0">
                  <a:pos x="133" y="369"/>
                </a:cxn>
                <a:cxn ang="0">
                  <a:pos x="141" y="386"/>
                </a:cxn>
                <a:cxn ang="0">
                  <a:pos x="142" y="404"/>
                </a:cxn>
                <a:cxn ang="0">
                  <a:pos x="169" y="426"/>
                </a:cxn>
                <a:cxn ang="0">
                  <a:pos x="175" y="461"/>
                </a:cxn>
                <a:cxn ang="0">
                  <a:pos x="258" y="493"/>
                </a:cxn>
                <a:cxn ang="0">
                  <a:pos x="286" y="481"/>
                </a:cxn>
                <a:cxn ang="0">
                  <a:pos x="319" y="474"/>
                </a:cxn>
                <a:cxn ang="0">
                  <a:pos x="343" y="440"/>
                </a:cxn>
                <a:cxn ang="0">
                  <a:pos x="350" y="412"/>
                </a:cxn>
                <a:cxn ang="0">
                  <a:pos x="363" y="374"/>
                </a:cxn>
                <a:cxn ang="0">
                  <a:pos x="385" y="365"/>
                </a:cxn>
                <a:cxn ang="0">
                  <a:pos x="402" y="348"/>
                </a:cxn>
                <a:cxn ang="0">
                  <a:pos x="410" y="330"/>
                </a:cxn>
                <a:cxn ang="0">
                  <a:pos x="419" y="265"/>
                </a:cxn>
                <a:cxn ang="0">
                  <a:pos x="403" y="193"/>
                </a:cxn>
                <a:cxn ang="0">
                  <a:pos x="438" y="161"/>
                </a:cxn>
                <a:cxn ang="0">
                  <a:pos x="430" y="105"/>
                </a:cxn>
                <a:cxn ang="0">
                  <a:pos x="397" y="54"/>
                </a:cxn>
                <a:cxn ang="0">
                  <a:pos x="375" y="28"/>
                </a:cxn>
                <a:cxn ang="0">
                  <a:pos x="365" y="11"/>
                </a:cxn>
                <a:cxn ang="0">
                  <a:pos x="318" y="13"/>
                </a:cxn>
                <a:cxn ang="0">
                  <a:pos x="250" y="4"/>
                </a:cxn>
                <a:cxn ang="0">
                  <a:pos x="235" y="16"/>
                </a:cxn>
                <a:cxn ang="0">
                  <a:pos x="219" y="13"/>
                </a:cxn>
                <a:cxn ang="0">
                  <a:pos x="201" y="12"/>
                </a:cxn>
                <a:cxn ang="0">
                  <a:pos x="169" y="21"/>
                </a:cxn>
                <a:cxn ang="0">
                  <a:pos x="151" y="28"/>
                </a:cxn>
                <a:cxn ang="0">
                  <a:pos x="129" y="25"/>
                </a:cxn>
                <a:cxn ang="0">
                  <a:pos x="97" y="30"/>
                </a:cxn>
                <a:cxn ang="0">
                  <a:pos x="66" y="54"/>
                </a:cxn>
                <a:cxn ang="0">
                  <a:pos x="38" y="80"/>
                </a:cxn>
                <a:cxn ang="0">
                  <a:pos x="62" y="140"/>
                </a:cxn>
                <a:cxn ang="0">
                  <a:pos x="57" y="168"/>
                </a:cxn>
                <a:cxn ang="0">
                  <a:pos x="45" y="182"/>
                </a:cxn>
                <a:cxn ang="0">
                  <a:pos x="17" y="212"/>
                </a:cxn>
                <a:cxn ang="0">
                  <a:pos x="0" y="240"/>
                </a:cxn>
                <a:cxn ang="0">
                  <a:pos x="31" y="277"/>
                </a:cxn>
              </a:cxnLst>
              <a:rect l="0" t="0" r="r" b="b"/>
              <a:pathLst>
                <a:path w="439" h="497">
                  <a:moveTo>
                    <a:pt x="31" y="277"/>
                  </a:moveTo>
                  <a:cubicBezTo>
                    <a:pt x="38" y="281"/>
                    <a:pt x="50" y="266"/>
                    <a:pt x="50" y="266"/>
                  </a:cubicBezTo>
                  <a:cubicBezTo>
                    <a:pt x="85" y="270"/>
                    <a:pt x="85" y="270"/>
                    <a:pt x="85" y="270"/>
                  </a:cubicBezTo>
                  <a:cubicBezTo>
                    <a:pt x="85" y="270"/>
                    <a:pt x="90" y="293"/>
                    <a:pt x="97" y="293"/>
                  </a:cubicBezTo>
                  <a:cubicBezTo>
                    <a:pt x="103" y="293"/>
                    <a:pt x="115" y="294"/>
                    <a:pt x="115" y="294"/>
                  </a:cubicBezTo>
                  <a:cubicBezTo>
                    <a:pt x="110" y="314"/>
                    <a:pt x="110" y="314"/>
                    <a:pt x="110" y="314"/>
                  </a:cubicBezTo>
                  <a:cubicBezTo>
                    <a:pt x="142" y="336"/>
                    <a:pt x="142" y="336"/>
                    <a:pt x="142" y="336"/>
                  </a:cubicBezTo>
                  <a:cubicBezTo>
                    <a:pt x="135" y="337"/>
                    <a:pt x="135" y="337"/>
                    <a:pt x="135" y="337"/>
                  </a:cubicBezTo>
                  <a:cubicBezTo>
                    <a:pt x="135" y="337"/>
                    <a:pt x="149" y="341"/>
                    <a:pt x="149" y="348"/>
                  </a:cubicBezTo>
                  <a:cubicBezTo>
                    <a:pt x="149" y="354"/>
                    <a:pt x="133" y="369"/>
                    <a:pt x="133" y="369"/>
                  </a:cubicBezTo>
                  <a:cubicBezTo>
                    <a:pt x="133" y="380"/>
                    <a:pt x="133" y="380"/>
                    <a:pt x="133" y="380"/>
                  </a:cubicBezTo>
                  <a:cubicBezTo>
                    <a:pt x="141" y="386"/>
                    <a:pt x="141" y="386"/>
                    <a:pt x="141" y="386"/>
                  </a:cubicBezTo>
                  <a:cubicBezTo>
                    <a:pt x="134" y="402"/>
                    <a:pt x="134" y="402"/>
                    <a:pt x="134" y="402"/>
                  </a:cubicBezTo>
                  <a:cubicBezTo>
                    <a:pt x="142" y="404"/>
                    <a:pt x="142" y="404"/>
                    <a:pt x="142" y="404"/>
                  </a:cubicBezTo>
                  <a:cubicBezTo>
                    <a:pt x="138" y="414"/>
                    <a:pt x="138" y="414"/>
                    <a:pt x="138" y="414"/>
                  </a:cubicBezTo>
                  <a:cubicBezTo>
                    <a:pt x="169" y="426"/>
                    <a:pt x="169" y="426"/>
                    <a:pt x="169" y="426"/>
                  </a:cubicBezTo>
                  <a:cubicBezTo>
                    <a:pt x="163" y="436"/>
                    <a:pt x="163" y="436"/>
                    <a:pt x="163" y="436"/>
                  </a:cubicBezTo>
                  <a:cubicBezTo>
                    <a:pt x="175" y="461"/>
                    <a:pt x="175" y="461"/>
                    <a:pt x="175" y="461"/>
                  </a:cubicBezTo>
                  <a:cubicBezTo>
                    <a:pt x="186" y="454"/>
                    <a:pt x="218" y="458"/>
                    <a:pt x="218" y="458"/>
                  </a:cubicBezTo>
                  <a:cubicBezTo>
                    <a:pt x="218" y="458"/>
                    <a:pt x="247" y="489"/>
                    <a:pt x="258" y="493"/>
                  </a:cubicBezTo>
                  <a:cubicBezTo>
                    <a:pt x="269" y="497"/>
                    <a:pt x="283" y="474"/>
                    <a:pt x="283" y="474"/>
                  </a:cubicBezTo>
                  <a:cubicBezTo>
                    <a:pt x="286" y="481"/>
                    <a:pt x="286" y="481"/>
                    <a:pt x="286" y="481"/>
                  </a:cubicBezTo>
                  <a:cubicBezTo>
                    <a:pt x="298" y="476"/>
                    <a:pt x="298" y="476"/>
                    <a:pt x="298" y="476"/>
                  </a:cubicBezTo>
                  <a:cubicBezTo>
                    <a:pt x="319" y="474"/>
                    <a:pt x="319" y="474"/>
                    <a:pt x="319" y="474"/>
                  </a:cubicBezTo>
                  <a:cubicBezTo>
                    <a:pt x="319" y="474"/>
                    <a:pt x="323" y="468"/>
                    <a:pt x="331" y="466"/>
                  </a:cubicBezTo>
                  <a:cubicBezTo>
                    <a:pt x="319" y="444"/>
                    <a:pt x="343" y="440"/>
                    <a:pt x="343" y="440"/>
                  </a:cubicBezTo>
                  <a:cubicBezTo>
                    <a:pt x="342" y="421"/>
                    <a:pt x="342" y="421"/>
                    <a:pt x="342" y="421"/>
                  </a:cubicBezTo>
                  <a:cubicBezTo>
                    <a:pt x="350" y="412"/>
                    <a:pt x="350" y="412"/>
                    <a:pt x="350" y="412"/>
                  </a:cubicBezTo>
                  <a:cubicBezTo>
                    <a:pt x="346" y="401"/>
                    <a:pt x="346" y="401"/>
                    <a:pt x="346" y="401"/>
                  </a:cubicBezTo>
                  <a:cubicBezTo>
                    <a:pt x="363" y="374"/>
                    <a:pt x="363" y="374"/>
                    <a:pt x="363" y="374"/>
                  </a:cubicBezTo>
                  <a:cubicBezTo>
                    <a:pt x="371" y="366"/>
                    <a:pt x="371" y="366"/>
                    <a:pt x="371" y="366"/>
                  </a:cubicBezTo>
                  <a:cubicBezTo>
                    <a:pt x="385" y="365"/>
                    <a:pt x="385" y="365"/>
                    <a:pt x="385" y="365"/>
                  </a:cubicBezTo>
                  <a:cubicBezTo>
                    <a:pt x="385" y="365"/>
                    <a:pt x="378" y="336"/>
                    <a:pt x="385" y="334"/>
                  </a:cubicBezTo>
                  <a:cubicBezTo>
                    <a:pt x="391" y="333"/>
                    <a:pt x="402" y="348"/>
                    <a:pt x="402" y="348"/>
                  </a:cubicBezTo>
                  <a:cubicBezTo>
                    <a:pt x="421" y="342"/>
                    <a:pt x="421" y="342"/>
                    <a:pt x="421" y="342"/>
                  </a:cubicBezTo>
                  <a:cubicBezTo>
                    <a:pt x="410" y="330"/>
                    <a:pt x="410" y="330"/>
                    <a:pt x="410" y="330"/>
                  </a:cubicBezTo>
                  <a:cubicBezTo>
                    <a:pt x="410" y="330"/>
                    <a:pt x="415" y="325"/>
                    <a:pt x="418" y="293"/>
                  </a:cubicBezTo>
                  <a:cubicBezTo>
                    <a:pt x="399" y="269"/>
                    <a:pt x="419" y="265"/>
                    <a:pt x="419" y="265"/>
                  </a:cubicBezTo>
                  <a:cubicBezTo>
                    <a:pt x="419" y="265"/>
                    <a:pt x="426" y="258"/>
                    <a:pt x="403" y="226"/>
                  </a:cubicBezTo>
                  <a:cubicBezTo>
                    <a:pt x="381" y="194"/>
                    <a:pt x="403" y="193"/>
                    <a:pt x="403" y="193"/>
                  </a:cubicBezTo>
                  <a:cubicBezTo>
                    <a:pt x="403" y="193"/>
                    <a:pt x="414" y="208"/>
                    <a:pt x="419" y="185"/>
                  </a:cubicBezTo>
                  <a:cubicBezTo>
                    <a:pt x="425" y="162"/>
                    <a:pt x="438" y="161"/>
                    <a:pt x="438" y="161"/>
                  </a:cubicBezTo>
                  <a:cubicBezTo>
                    <a:pt x="438" y="161"/>
                    <a:pt x="437" y="145"/>
                    <a:pt x="439" y="141"/>
                  </a:cubicBezTo>
                  <a:cubicBezTo>
                    <a:pt x="410" y="118"/>
                    <a:pt x="430" y="105"/>
                    <a:pt x="430" y="105"/>
                  </a:cubicBezTo>
                  <a:cubicBezTo>
                    <a:pt x="411" y="56"/>
                    <a:pt x="411" y="56"/>
                    <a:pt x="411" y="56"/>
                  </a:cubicBezTo>
                  <a:cubicBezTo>
                    <a:pt x="397" y="54"/>
                    <a:pt x="397" y="54"/>
                    <a:pt x="397" y="54"/>
                  </a:cubicBezTo>
                  <a:cubicBezTo>
                    <a:pt x="397" y="54"/>
                    <a:pt x="395" y="45"/>
                    <a:pt x="393" y="44"/>
                  </a:cubicBezTo>
                  <a:cubicBezTo>
                    <a:pt x="354" y="56"/>
                    <a:pt x="375" y="28"/>
                    <a:pt x="375" y="28"/>
                  </a:cubicBezTo>
                  <a:cubicBezTo>
                    <a:pt x="369" y="28"/>
                    <a:pt x="369" y="28"/>
                    <a:pt x="369" y="28"/>
                  </a:cubicBezTo>
                  <a:cubicBezTo>
                    <a:pt x="365" y="11"/>
                    <a:pt x="365" y="11"/>
                    <a:pt x="365" y="11"/>
                  </a:cubicBezTo>
                  <a:cubicBezTo>
                    <a:pt x="365" y="11"/>
                    <a:pt x="365" y="12"/>
                    <a:pt x="365" y="12"/>
                  </a:cubicBezTo>
                  <a:cubicBezTo>
                    <a:pt x="365" y="12"/>
                    <a:pt x="323" y="22"/>
                    <a:pt x="318" y="13"/>
                  </a:cubicBezTo>
                  <a:cubicBezTo>
                    <a:pt x="293" y="0"/>
                    <a:pt x="298" y="9"/>
                    <a:pt x="286" y="12"/>
                  </a:cubicBezTo>
                  <a:cubicBezTo>
                    <a:pt x="274" y="14"/>
                    <a:pt x="250" y="4"/>
                    <a:pt x="250" y="4"/>
                  </a:cubicBezTo>
                  <a:cubicBezTo>
                    <a:pt x="245" y="22"/>
                    <a:pt x="245" y="22"/>
                    <a:pt x="245" y="22"/>
                  </a:cubicBezTo>
                  <a:cubicBezTo>
                    <a:pt x="235" y="16"/>
                    <a:pt x="235" y="16"/>
                    <a:pt x="235" y="16"/>
                  </a:cubicBezTo>
                  <a:cubicBezTo>
                    <a:pt x="222" y="21"/>
                    <a:pt x="222" y="21"/>
                    <a:pt x="222" y="21"/>
                  </a:cubicBezTo>
                  <a:cubicBezTo>
                    <a:pt x="219" y="13"/>
                    <a:pt x="219" y="13"/>
                    <a:pt x="219" y="13"/>
                  </a:cubicBezTo>
                  <a:cubicBezTo>
                    <a:pt x="202" y="24"/>
                    <a:pt x="202" y="24"/>
                    <a:pt x="202" y="24"/>
                  </a:cubicBezTo>
                  <a:cubicBezTo>
                    <a:pt x="201" y="12"/>
                    <a:pt x="201" y="12"/>
                    <a:pt x="201" y="12"/>
                  </a:cubicBezTo>
                  <a:cubicBezTo>
                    <a:pt x="174" y="32"/>
                    <a:pt x="174" y="32"/>
                    <a:pt x="174" y="32"/>
                  </a:cubicBezTo>
                  <a:cubicBezTo>
                    <a:pt x="169" y="21"/>
                    <a:pt x="169" y="21"/>
                    <a:pt x="169" y="21"/>
                  </a:cubicBezTo>
                  <a:cubicBezTo>
                    <a:pt x="151" y="21"/>
                    <a:pt x="151" y="21"/>
                    <a:pt x="151" y="21"/>
                  </a:cubicBezTo>
                  <a:cubicBezTo>
                    <a:pt x="151" y="28"/>
                    <a:pt x="151" y="28"/>
                    <a:pt x="151" y="28"/>
                  </a:cubicBezTo>
                  <a:cubicBezTo>
                    <a:pt x="133" y="30"/>
                    <a:pt x="133" y="30"/>
                    <a:pt x="133" y="30"/>
                  </a:cubicBezTo>
                  <a:cubicBezTo>
                    <a:pt x="129" y="25"/>
                    <a:pt x="129" y="25"/>
                    <a:pt x="129" y="25"/>
                  </a:cubicBezTo>
                  <a:cubicBezTo>
                    <a:pt x="111" y="32"/>
                    <a:pt x="111" y="32"/>
                    <a:pt x="111" y="32"/>
                  </a:cubicBezTo>
                  <a:cubicBezTo>
                    <a:pt x="97" y="30"/>
                    <a:pt x="97" y="30"/>
                    <a:pt x="97" y="30"/>
                  </a:cubicBezTo>
                  <a:cubicBezTo>
                    <a:pt x="85" y="56"/>
                    <a:pt x="85" y="56"/>
                    <a:pt x="85" y="56"/>
                  </a:cubicBezTo>
                  <a:cubicBezTo>
                    <a:pt x="66" y="54"/>
                    <a:pt x="66" y="54"/>
                    <a:pt x="66" y="54"/>
                  </a:cubicBezTo>
                  <a:cubicBezTo>
                    <a:pt x="50" y="70"/>
                    <a:pt x="50" y="70"/>
                    <a:pt x="50" y="70"/>
                  </a:cubicBezTo>
                  <a:cubicBezTo>
                    <a:pt x="38" y="80"/>
                    <a:pt x="38" y="80"/>
                    <a:pt x="38" y="80"/>
                  </a:cubicBezTo>
                  <a:cubicBezTo>
                    <a:pt x="46" y="101"/>
                    <a:pt x="46" y="101"/>
                    <a:pt x="46" y="101"/>
                  </a:cubicBezTo>
                  <a:cubicBezTo>
                    <a:pt x="34" y="141"/>
                    <a:pt x="62" y="140"/>
                    <a:pt x="62" y="140"/>
                  </a:cubicBezTo>
                  <a:cubicBezTo>
                    <a:pt x="69" y="160"/>
                    <a:pt x="69" y="160"/>
                    <a:pt x="69" y="160"/>
                  </a:cubicBezTo>
                  <a:cubicBezTo>
                    <a:pt x="57" y="168"/>
                    <a:pt x="57" y="168"/>
                    <a:pt x="57" y="168"/>
                  </a:cubicBezTo>
                  <a:cubicBezTo>
                    <a:pt x="57" y="168"/>
                    <a:pt x="47" y="165"/>
                    <a:pt x="43" y="164"/>
                  </a:cubicBezTo>
                  <a:cubicBezTo>
                    <a:pt x="39" y="162"/>
                    <a:pt x="45" y="182"/>
                    <a:pt x="45" y="182"/>
                  </a:cubicBezTo>
                  <a:cubicBezTo>
                    <a:pt x="37" y="208"/>
                    <a:pt x="37" y="208"/>
                    <a:pt x="37" y="208"/>
                  </a:cubicBezTo>
                  <a:cubicBezTo>
                    <a:pt x="17" y="212"/>
                    <a:pt x="17" y="212"/>
                    <a:pt x="17" y="212"/>
                  </a:cubicBezTo>
                  <a:cubicBezTo>
                    <a:pt x="17" y="220"/>
                    <a:pt x="17" y="220"/>
                    <a:pt x="17" y="220"/>
                  </a:cubicBezTo>
                  <a:cubicBezTo>
                    <a:pt x="0" y="240"/>
                    <a:pt x="0" y="240"/>
                    <a:pt x="0" y="240"/>
                  </a:cubicBezTo>
                  <a:cubicBezTo>
                    <a:pt x="18" y="243"/>
                    <a:pt x="31" y="249"/>
                    <a:pt x="31" y="249"/>
                  </a:cubicBezTo>
                  <a:cubicBezTo>
                    <a:pt x="31" y="249"/>
                    <a:pt x="25" y="273"/>
                    <a:pt x="31" y="2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5" name="Auvergne" descr="© INSCALE GmbH, 05.05.2010&#10;http://www.presentationload.com/">
              <a:extLst>
                <a:ext uri="{FF2B5EF4-FFF2-40B4-BE49-F238E27FC236}">
                  <a16:creationId xmlns:a16="http://schemas.microsoft.com/office/drawing/2014/main" id="{9BD5E988-15D3-4B08-876C-E8948F7A9579}"/>
                </a:ext>
              </a:extLst>
            </p:cNvPr>
            <p:cNvSpPr>
              <a:spLocks/>
            </p:cNvSpPr>
            <p:nvPr/>
          </p:nvSpPr>
          <p:spPr bwMode="gray">
            <a:xfrm>
              <a:off x="1704" y="1640"/>
              <a:ext cx="593" cy="753"/>
            </a:xfrm>
            <a:custGeom>
              <a:avLst/>
              <a:gdLst/>
              <a:ahLst/>
              <a:cxnLst>
                <a:cxn ang="0">
                  <a:pos x="15" y="669"/>
                </a:cxn>
                <a:cxn ang="0">
                  <a:pos x="31" y="697"/>
                </a:cxn>
                <a:cxn ang="0">
                  <a:pos x="60" y="689"/>
                </a:cxn>
                <a:cxn ang="0">
                  <a:pos x="111" y="665"/>
                </a:cxn>
                <a:cxn ang="0">
                  <a:pos x="122" y="617"/>
                </a:cxn>
                <a:cxn ang="0">
                  <a:pos x="186" y="636"/>
                </a:cxn>
                <a:cxn ang="0">
                  <a:pos x="218" y="663"/>
                </a:cxn>
                <a:cxn ang="0">
                  <a:pos x="231" y="607"/>
                </a:cxn>
                <a:cxn ang="0">
                  <a:pos x="266" y="611"/>
                </a:cxn>
                <a:cxn ang="0">
                  <a:pos x="266" y="603"/>
                </a:cxn>
                <a:cxn ang="0">
                  <a:pos x="318" y="635"/>
                </a:cxn>
                <a:cxn ang="0">
                  <a:pos x="378" y="629"/>
                </a:cxn>
                <a:cxn ang="0">
                  <a:pos x="424" y="628"/>
                </a:cxn>
                <a:cxn ang="0">
                  <a:pos x="472" y="612"/>
                </a:cxn>
                <a:cxn ang="0">
                  <a:pos x="504" y="560"/>
                </a:cxn>
                <a:cxn ang="0">
                  <a:pos x="522" y="535"/>
                </a:cxn>
                <a:cxn ang="0">
                  <a:pos x="536" y="517"/>
                </a:cxn>
                <a:cxn ang="0">
                  <a:pos x="507" y="467"/>
                </a:cxn>
                <a:cxn ang="0">
                  <a:pos x="450" y="463"/>
                </a:cxn>
                <a:cxn ang="0">
                  <a:pos x="430" y="449"/>
                </a:cxn>
                <a:cxn ang="0">
                  <a:pos x="408" y="445"/>
                </a:cxn>
                <a:cxn ang="0">
                  <a:pos x="364" y="320"/>
                </a:cxn>
                <a:cxn ang="0">
                  <a:pos x="362" y="273"/>
                </a:cxn>
                <a:cxn ang="0">
                  <a:pos x="386" y="217"/>
                </a:cxn>
                <a:cxn ang="0">
                  <a:pos x="378" y="176"/>
                </a:cxn>
                <a:cxn ang="0">
                  <a:pos x="411" y="159"/>
                </a:cxn>
                <a:cxn ang="0">
                  <a:pos x="424" y="101"/>
                </a:cxn>
                <a:cxn ang="0">
                  <a:pos x="370" y="81"/>
                </a:cxn>
                <a:cxn ang="0">
                  <a:pos x="327" y="32"/>
                </a:cxn>
                <a:cxn ang="0">
                  <a:pos x="306" y="31"/>
                </a:cxn>
                <a:cxn ang="0">
                  <a:pos x="263" y="25"/>
                </a:cxn>
                <a:cxn ang="0">
                  <a:pos x="171" y="23"/>
                </a:cxn>
                <a:cxn ang="0">
                  <a:pos x="115" y="49"/>
                </a:cxn>
                <a:cxn ang="0">
                  <a:pos x="46" y="118"/>
                </a:cxn>
                <a:cxn ang="0">
                  <a:pos x="74" y="151"/>
                </a:cxn>
                <a:cxn ang="0">
                  <a:pos x="111" y="212"/>
                </a:cxn>
                <a:cxn ang="0">
                  <a:pos x="100" y="292"/>
                </a:cxn>
                <a:cxn ang="0">
                  <a:pos x="100" y="372"/>
                </a:cxn>
                <a:cxn ang="0">
                  <a:pos x="102" y="449"/>
                </a:cxn>
                <a:cxn ang="0">
                  <a:pos x="66" y="472"/>
                </a:cxn>
                <a:cxn ang="0">
                  <a:pos x="27" y="508"/>
                </a:cxn>
                <a:cxn ang="0">
                  <a:pos x="24" y="547"/>
                </a:cxn>
                <a:cxn ang="0">
                  <a:pos x="4" y="608"/>
                </a:cxn>
              </a:cxnLst>
              <a:rect l="0" t="0" r="r" b="b"/>
              <a:pathLst>
                <a:path w="550" h="697">
                  <a:moveTo>
                    <a:pt x="4" y="608"/>
                  </a:moveTo>
                  <a:cubicBezTo>
                    <a:pt x="20" y="635"/>
                    <a:pt x="20" y="635"/>
                    <a:pt x="20" y="635"/>
                  </a:cubicBezTo>
                  <a:cubicBezTo>
                    <a:pt x="15" y="669"/>
                    <a:pt x="15" y="669"/>
                    <a:pt x="15" y="669"/>
                  </a:cubicBezTo>
                  <a:cubicBezTo>
                    <a:pt x="24" y="675"/>
                    <a:pt x="24" y="675"/>
                    <a:pt x="24" y="675"/>
                  </a:cubicBezTo>
                  <a:cubicBezTo>
                    <a:pt x="26" y="691"/>
                    <a:pt x="26" y="691"/>
                    <a:pt x="26" y="691"/>
                  </a:cubicBezTo>
                  <a:cubicBezTo>
                    <a:pt x="31" y="697"/>
                    <a:pt x="31" y="697"/>
                    <a:pt x="31" y="697"/>
                  </a:cubicBezTo>
                  <a:cubicBezTo>
                    <a:pt x="30" y="685"/>
                    <a:pt x="30" y="685"/>
                    <a:pt x="30" y="685"/>
                  </a:cubicBezTo>
                  <a:cubicBezTo>
                    <a:pt x="59" y="684"/>
                    <a:pt x="59" y="684"/>
                    <a:pt x="59" y="684"/>
                  </a:cubicBezTo>
                  <a:cubicBezTo>
                    <a:pt x="60" y="689"/>
                    <a:pt x="60" y="689"/>
                    <a:pt x="60" y="689"/>
                  </a:cubicBezTo>
                  <a:cubicBezTo>
                    <a:pt x="94" y="687"/>
                    <a:pt x="94" y="687"/>
                    <a:pt x="94" y="687"/>
                  </a:cubicBezTo>
                  <a:cubicBezTo>
                    <a:pt x="98" y="675"/>
                    <a:pt x="98" y="675"/>
                    <a:pt x="98" y="675"/>
                  </a:cubicBezTo>
                  <a:cubicBezTo>
                    <a:pt x="111" y="665"/>
                    <a:pt x="111" y="665"/>
                    <a:pt x="111" y="665"/>
                  </a:cubicBezTo>
                  <a:cubicBezTo>
                    <a:pt x="112" y="645"/>
                    <a:pt x="112" y="645"/>
                    <a:pt x="112" y="645"/>
                  </a:cubicBezTo>
                  <a:cubicBezTo>
                    <a:pt x="120" y="639"/>
                    <a:pt x="120" y="639"/>
                    <a:pt x="120" y="639"/>
                  </a:cubicBezTo>
                  <a:cubicBezTo>
                    <a:pt x="122" y="617"/>
                    <a:pt x="122" y="617"/>
                    <a:pt x="122" y="617"/>
                  </a:cubicBezTo>
                  <a:cubicBezTo>
                    <a:pt x="122" y="617"/>
                    <a:pt x="122" y="624"/>
                    <a:pt x="131" y="616"/>
                  </a:cubicBezTo>
                  <a:cubicBezTo>
                    <a:pt x="157" y="579"/>
                    <a:pt x="163" y="607"/>
                    <a:pt x="161" y="614"/>
                  </a:cubicBezTo>
                  <a:cubicBezTo>
                    <a:pt x="172" y="606"/>
                    <a:pt x="186" y="636"/>
                    <a:pt x="186" y="636"/>
                  </a:cubicBezTo>
                  <a:cubicBezTo>
                    <a:pt x="195" y="647"/>
                    <a:pt x="195" y="647"/>
                    <a:pt x="195" y="647"/>
                  </a:cubicBezTo>
                  <a:cubicBezTo>
                    <a:pt x="204" y="687"/>
                    <a:pt x="204" y="687"/>
                    <a:pt x="204" y="687"/>
                  </a:cubicBezTo>
                  <a:cubicBezTo>
                    <a:pt x="218" y="663"/>
                    <a:pt x="218" y="663"/>
                    <a:pt x="218" y="663"/>
                  </a:cubicBezTo>
                  <a:cubicBezTo>
                    <a:pt x="224" y="636"/>
                    <a:pt x="224" y="636"/>
                    <a:pt x="224" y="636"/>
                  </a:cubicBezTo>
                  <a:cubicBezTo>
                    <a:pt x="232" y="627"/>
                    <a:pt x="232" y="627"/>
                    <a:pt x="232" y="627"/>
                  </a:cubicBezTo>
                  <a:cubicBezTo>
                    <a:pt x="231" y="607"/>
                    <a:pt x="231" y="607"/>
                    <a:pt x="231" y="607"/>
                  </a:cubicBezTo>
                  <a:cubicBezTo>
                    <a:pt x="240" y="603"/>
                    <a:pt x="240" y="603"/>
                    <a:pt x="240" y="603"/>
                  </a:cubicBezTo>
                  <a:cubicBezTo>
                    <a:pt x="248" y="616"/>
                    <a:pt x="248" y="616"/>
                    <a:pt x="248" y="616"/>
                  </a:cubicBezTo>
                  <a:cubicBezTo>
                    <a:pt x="266" y="611"/>
                    <a:pt x="266" y="611"/>
                    <a:pt x="266" y="611"/>
                  </a:cubicBezTo>
                  <a:cubicBezTo>
                    <a:pt x="266" y="603"/>
                    <a:pt x="266" y="603"/>
                    <a:pt x="266" y="603"/>
                  </a:cubicBezTo>
                  <a:cubicBezTo>
                    <a:pt x="263" y="603"/>
                    <a:pt x="267" y="593"/>
                    <a:pt x="267" y="593"/>
                  </a:cubicBezTo>
                  <a:cubicBezTo>
                    <a:pt x="266" y="603"/>
                    <a:pt x="266" y="603"/>
                    <a:pt x="266" y="603"/>
                  </a:cubicBezTo>
                  <a:cubicBezTo>
                    <a:pt x="267" y="603"/>
                    <a:pt x="269" y="602"/>
                    <a:pt x="271" y="600"/>
                  </a:cubicBezTo>
                  <a:cubicBezTo>
                    <a:pt x="282" y="591"/>
                    <a:pt x="300" y="584"/>
                    <a:pt x="300" y="584"/>
                  </a:cubicBezTo>
                  <a:cubicBezTo>
                    <a:pt x="318" y="635"/>
                    <a:pt x="318" y="635"/>
                    <a:pt x="318" y="635"/>
                  </a:cubicBezTo>
                  <a:cubicBezTo>
                    <a:pt x="318" y="635"/>
                    <a:pt x="318" y="635"/>
                    <a:pt x="342" y="627"/>
                  </a:cubicBezTo>
                  <a:cubicBezTo>
                    <a:pt x="346" y="600"/>
                    <a:pt x="356" y="624"/>
                    <a:pt x="356" y="624"/>
                  </a:cubicBezTo>
                  <a:cubicBezTo>
                    <a:pt x="378" y="629"/>
                    <a:pt x="378" y="629"/>
                    <a:pt x="378" y="629"/>
                  </a:cubicBezTo>
                  <a:cubicBezTo>
                    <a:pt x="399" y="655"/>
                    <a:pt x="399" y="655"/>
                    <a:pt x="399" y="655"/>
                  </a:cubicBezTo>
                  <a:cubicBezTo>
                    <a:pt x="424" y="644"/>
                    <a:pt x="424" y="644"/>
                    <a:pt x="424" y="644"/>
                  </a:cubicBezTo>
                  <a:cubicBezTo>
                    <a:pt x="424" y="628"/>
                    <a:pt x="424" y="628"/>
                    <a:pt x="424" y="628"/>
                  </a:cubicBezTo>
                  <a:cubicBezTo>
                    <a:pt x="443" y="619"/>
                    <a:pt x="443" y="619"/>
                    <a:pt x="443" y="619"/>
                  </a:cubicBezTo>
                  <a:cubicBezTo>
                    <a:pt x="444" y="613"/>
                    <a:pt x="444" y="613"/>
                    <a:pt x="444" y="613"/>
                  </a:cubicBezTo>
                  <a:cubicBezTo>
                    <a:pt x="472" y="612"/>
                    <a:pt x="472" y="612"/>
                    <a:pt x="472" y="612"/>
                  </a:cubicBezTo>
                  <a:cubicBezTo>
                    <a:pt x="484" y="584"/>
                    <a:pt x="484" y="584"/>
                    <a:pt x="484" y="584"/>
                  </a:cubicBezTo>
                  <a:cubicBezTo>
                    <a:pt x="504" y="580"/>
                    <a:pt x="504" y="580"/>
                    <a:pt x="504" y="580"/>
                  </a:cubicBezTo>
                  <a:cubicBezTo>
                    <a:pt x="504" y="560"/>
                    <a:pt x="504" y="560"/>
                    <a:pt x="504" y="560"/>
                  </a:cubicBezTo>
                  <a:cubicBezTo>
                    <a:pt x="519" y="560"/>
                    <a:pt x="519" y="560"/>
                    <a:pt x="519" y="560"/>
                  </a:cubicBezTo>
                  <a:cubicBezTo>
                    <a:pt x="519" y="560"/>
                    <a:pt x="512" y="548"/>
                    <a:pt x="512" y="544"/>
                  </a:cubicBezTo>
                  <a:cubicBezTo>
                    <a:pt x="512" y="540"/>
                    <a:pt x="522" y="535"/>
                    <a:pt x="522" y="535"/>
                  </a:cubicBezTo>
                  <a:cubicBezTo>
                    <a:pt x="519" y="523"/>
                    <a:pt x="519" y="523"/>
                    <a:pt x="519" y="523"/>
                  </a:cubicBezTo>
                  <a:cubicBezTo>
                    <a:pt x="533" y="534"/>
                    <a:pt x="533" y="534"/>
                    <a:pt x="533" y="534"/>
                  </a:cubicBezTo>
                  <a:cubicBezTo>
                    <a:pt x="532" y="533"/>
                    <a:pt x="532" y="529"/>
                    <a:pt x="536" y="517"/>
                  </a:cubicBezTo>
                  <a:cubicBezTo>
                    <a:pt x="550" y="468"/>
                    <a:pt x="519" y="489"/>
                    <a:pt x="519" y="489"/>
                  </a:cubicBezTo>
                  <a:cubicBezTo>
                    <a:pt x="512" y="471"/>
                    <a:pt x="512" y="471"/>
                    <a:pt x="512" y="471"/>
                  </a:cubicBezTo>
                  <a:cubicBezTo>
                    <a:pt x="507" y="467"/>
                    <a:pt x="507" y="467"/>
                    <a:pt x="507" y="467"/>
                  </a:cubicBezTo>
                  <a:cubicBezTo>
                    <a:pt x="520" y="456"/>
                    <a:pt x="495" y="459"/>
                    <a:pt x="488" y="449"/>
                  </a:cubicBezTo>
                  <a:cubicBezTo>
                    <a:pt x="482" y="440"/>
                    <a:pt x="452" y="455"/>
                    <a:pt x="452" y="455"/>
                  </a:cubicBezTo>
                  <a:cubicBezTo>
                    <a:pt x="450" y="463"/>
                    <a:pt x="450" y="463"/>
                    <a:pt x="450" y="463"/>
                  </a:cubicBezTo>
                  <a:cubicBezTo>
                    <a:pt x="444" y="456"/>
                    <a:pt x="444" y="456"/>
                    <a:pt x="444" y="456"/>
                  </a:cubicBezTo>
                  <a:cubicBezTo>
                    <a:pt x="434" y="461"/>
                    <a:pt x="434" y="461"/>
                    <a:pt x="434" y="461"/>
                  </a:cubicBezTo>
                  <a:cubicBezTo>
                    <a:pt x="430" y="449"/>
                    <a:pt x="430" y="449"/>
                    <a:pt x="430" y="449"/>
                  </a:cubicBezTo>
                  <a:cubicBezTo>
                    <a:pt x="418" y="449"/>
                    <a:pt x="418" y="449"/>
                    <a:pt x="418" y="449"/>
                  </a:cubicBezTo>
                  <a:cubicBezTo>
                    <a:pt x="412" y="468"/>
                    <a:pt x="412" y="468"/>
                    <a:pt x="412" y="468"/>
                  </a:cubicBezTo>
                  <a:cubicBezTo>
                    <a:pt x="408" y="445"/>
                    <a:pt x="408" y="445"/>
                    <a:pt x="408" y="445"/>
                  </a:cubicBezTo>
                  <a:cubicBezTo>
                    <a:pt x="408" y="445"/>
                    <a:pt x="422" y="439"/>
                    <a:pt x="424" y="432"/>
                  </a:cubicBezTo>
                  <a:cubicBezTo>
                    <a:pt x="436" y="412"/>
                    <a:pt x="396" y="376"/>
                    <a:pt x="391" y="376"/>
                  </a:cubicBezTo>
                  <a:cubicBezTo>
                    <a:pt x="387" y="356"/>
                    <a:pt x="364" y="320"/>
                    <a:pt x="364" y="320"/>
                  </a:cubicBezTo>
                  <a:cubicBezTo>
                    <a:pt x="366" y="292"/>
                    <a:pt x="366" y="292"/>
                    <a:pt x="366" y="292"/>
                  </a:cubicBezTo>
                  <a:cubicBezTo>
                    <a:pt x="374" y="289"/>
                    <a:pt x="374" y="289"/>
                    <a:pt x="374" y="289"/>
                  </a:cubicBezTo>
                  <a:cubicBezTo>
                    <a:pt x="362" y="273"/>
                    <a:pt x="362" y="273"/>
                    <a:pt x="362" y="273"/>
                  </a:cubicBezTo>
                  <a:cubicBezTo>
                    <a:pt x="362" y="261"/>
                    <a:pt x="362" y="261"/>
                    <a:pt x="362" y="261"/>
                  </a:cubicBezTo>
                  <a:cubicBezTo>
                    <a:pt x="387" y="252"/>
                    <a:pt x="387" y="252"/>
                    <a:pt x="387" y="252"/>
                  </a:cubicBezTo>
                  <a:cubicBezTo>
                    <a:pt x="386" y="217"/>
                    <a:pt x="386" y="217"/>
                    <a:pt x="386" y="217"/>
                  </a:cubicBezTo>
                  <a:cubicBezTo>
                    <a:pt x="379" y="204"/>
                    <a:pt x="379" y="204"/>
                    <a:pt x="379" y="204"/>
                  </a:cubicBezTo>
                  <a:cubicBezTo>
                    <a:pt x="383" y="189"/>
                    <a:pt x="383" y="189"/>
                    <a:pt x="383" y="189"/>
                  </a:cubicBezTo>
                  <a:cubicBezTo>
                    <a:pt x="378" y="176"/>
                    <a:pt x="378" y="176"/>
                    <a:pt x="378" y="176"/>
                  </a:cubicBezTo>
                  <a:cubicBezTo>
                    <a:pt x="403" y="165"/>
                    <a:pt x="403" y="165"/>
                    <a:pt x="403" y="165"/>
                  </a:cubicBezTo>
                  <a:cubicBezTo>
                    <a:pt x="403" y="156"/>
                    <a:pt x="403" y="156"/>
                    <a:pt x="403" y="156"/>
                  </a:cubicBezTo>
                  <a:cubicBezTo>
                    <a:pt x="411" y="159"/>
                    <a:pt x="411" y="159"/>
                    <a:pt x="411" y="159"/>
                  </a:cubicBezTo>
                  <a:cubicBezTo>
                    <a:pt x="416" y="145"/>
                    <a:pt x="416" y="145"/>
                    <a:pt x="416" y="145"/>
                  </a:cubicBezTo>
                  <a:cubicBezTo>
                    <a:pt x="423" y="145"/>
                    <a:pt x="423" y="145"/>
                    <a:pt x="423" y="145"/>
                  </a:cubicBezTo>
                  <a:cubicBezTo>
                    <a:pt x="423" y="145"/>
                    <a:pt x="423" y="116"/>
                    <a:pt x="424" y="101"/>
                  </a:cubicBezTo>
                  <a:cubicBezTo>
                    <a:pt x="426" y="87"/>
                    <a:pt x="398" y="97"/>
                    <a:pt x="398" y="97"/>
                  </a:cubicBezTo>
                  <a:cubicBezTo>
                    <a:pt x="387" y="84"/>
                    <a:pt x="387" y="84"/>
                    <a:pt x="387" y="84"/>
                  </a:cubicBezTo>
                  <a:cubicBezTo>
                    <a:pt x="370" y="81"/>
                    <a:pt x="370" y="81"/>
                    <a:pt x="370" y="81"/>
                  </a:cubicBezTo>
                  <a:cubicBezTo>
                    <a:pt x="366" y="63"/>
                    <a:pt x="366" y="63"/>
                    <a:pt x="366" y="63"/>
                  </a:cubicBezTo>
                  <a:cubicBezTo>
                    <a:pt x="366" y="63"/>
                    <a:pt x="336" y="12"/>
                    <a:pt x="332" y="8"/>
                  </a:cubicBezTo>
                  <a:cubicBezTo>
                    <a:pt x="328" y="4"/>
                    <a:pt x="327" y="32"/>
                    <a:pt x="327" y="32"/>
                  </a:cubicBezTo>
                  <a:cubicBezTo>
                    <a:pt x="318" y="31"/>
                    <a:pt x="318" y="31"/>
                    <a:pt x="318" y="31"/>
                  </a:cubicBezTo>
                  <a:cubicBezTo>
                    <a:pt x="306" y="45"/>
                    <a:pt x="306" y="45"/>
                    <a:pt x="306" y="45"/>
                  </a:cubicBezTo>
                  <a:cubicBezTo>
                    <a:pt x="306" y="31"/>
                    <a:pt x="306" y="31"/>
                    <a:pt x="306" y="31"/>
                  </a:cubicBezTo>
                  <a:cubicBezTo>
                    <a:pt x="294" y="24"/>
                    <a:pt x="294" y="24"/>
                    <a:pt x="294" y="24"/>
                  </a:cubicBezTo>
                  <a:cubicBezTo>
                    <a:pt x="294" y="24"/>
                    <a:pt x="283" y="32"/>
                    <a:pt x="279" y="32"/>
                  </a:cubicBezTo>
                  <a:cubicBezTo>
                    <a:pt x="275" y="32"/>
                    <a:pt x="267" y="25"/>
                    <a:pt x="263" y="25"/>
                  </a:cubicBezTo>
                  <a:cubicBezTo>
                    <a:pt x="259" y="25"/>
                    <a:pt x="254" y="36"/>
                    <a:pt x="244" y="35"/>
                  </a:cubicBezTo>
                  <a:cubicBezTo>
                    <a:pt x="236" y="34"/>
                    <a:pt x="220" y="9"/>
                    <a:pt x="213" y="1"/>
                  </a:cubicBezTo>
                  <a:cubicBezTo>
                    <a:pt x="188" y="0"/>
                    <a:pt x="178" y="8"/>
                    <a:pt x="171" y="23"/>
                  </a:cubicBezTo>
                  <a:cubicBezTo>
                    <a:pt x="163" y="39"/>
                    <a:pt x="148" y="17"/>
                    <a:pt x="144" y="17"/>
                  </a:cubicBezTo>
                  <a:cubicBezTo>
                    <a:pt x="140" y="17"/>
                    <a:pt x="122" y="36"/>
                    <a:pt x="122" y="36"/>
                  </a:cubicBezTo>
                  <a:cubicBezTo>
                    <a:pt x="122" y="36"/>
                    <a:pt x="122" y="44"/>
                    <a:pt x="115" y="49"/>
                  </a:cubicBezTo>
                  <a:cubicBezTo>
                    <a:pt x="108" y="55"/>
                    <a:pt x="118" y="77"/>
                    <a:pt x="118" y="77"/>
                  </a:cubicBezTo>
                  <a:cubicBezTo>
                    <a:pt x="118" y="77"/>
                    <a:pt x="118" y="77"/>
                    <a:pt x="102" y="88"/>
                  </a:cubicBezTo>
                  <a:cubicBezTo>
                    <a:pt x="72" y="77"/>
                    <a:pt x="50" y="111"/>
                    <a:pt x="46" y="118"/>
                  </a:cubicBezTo>
                  <a:cubicBezTo>
                    <a:pt x="50" y="135"/>
                    <a:pt x="50" y="135"/>
                    <a:pt x="50" y="135"/>
                  </a:cubicBezTo>
                  <a:cubicBezTo>
                    <a:pt x="56" y="135"/>
                    <a:pt x="56" y="135"/>
                    <a:pt x="56" y="135"/>
                  </a:cubicBezTo>
                  <a:cubicBezTo>
                    <a:pt x="56" y="135"/>
                    <a:pt x="35" y="163"/>
                    <a:pt x="74" y="151"/>
                  </a:cubicBezTo>
                  <a:cubicBezTo>
                    <a:pt x="76" y="152"/>
                    <a:pt x="78" y="161"/>
                    <a:pt x="78" y="161"/>
                  </a:cubicBezTo>
                  <a:cubicBezTo>
                    <a:pt x="92" y="163"/>
                    <a:pt x="92" y="163"/>
                    <a:pt x="92" y="163"/>
                  </a:cubicBezTo>
                  <a:cubicBezTo>
                    <a:pt x="111" y="212"/>
                    <a:pt x="111" y="212"/>
                    <a:pt x="111" y="212"/>
                  </a:cubicBezTo>
                  <a:cubicBezTo>
                    <a:pt x="111" y="212"/>
                    <a:pt x="91" y="225"/>
                    <a:pt x="120" y="248"/>
                  </a:cubicBezTo>
                  <a:cubicBezTo>
                    <a:pt x="118" y="252"/>
                    <a:pt x="119" y="268"/>
                    <a:pt x="119" y="268"/>
                  </a:cubicBezTo>
                  <a:cubicBezTo>
                    <a:pt x="119" y="268"/>
                    <a:pt x="106" y="269"/>
                    <a:pt x="100" y="292"/>
                  </a:cubicBezTo>
                  <a:cubicBezTo>
                    <a:pt x="95" y="315"/>
                    <a:pt x="84" y="300"/>
                    <a:pt x="84" y="300"/>
                  </a:cubicBezTo>
                  <a:cubicBezTo>
                    <a:pt x="84" y="300"/>
                    <a:pt x="62" y="301"/>
                    <a:pt x="84" y="333"/>
                  </a:cubicBezTo>
                  <a:cubicBezTo>
                    <a:pt x="107" y="365"/>
                    <a:pt x="100" y="372"/>
                    <a:pt x="100" y="372"/>
                  </a:cubicBezTo>
                  <a:cubicBezTo>
                    <a:pt x="100" y="372"/>
                    <a:pt x="80" y="376"/>
                    <a:pt x="99" y="400"/>
                  </a:cubicBezTo>
                  <a:cubicBezTo>
                    <a:pt x="96" y="432"/>
                    <a:pt x="91" y="437"/>
                    <a:pt x="91" y="437"/>
                  </a:cubicBezTo>
                  <a:cubicBezTo>
                    <a:pt x="102" y="449"/>
                    <a:pt x="102" y="449"/>
                    <a:pt x="102" y="449"/>
                  </a:cubicBezTo>
                  <a:cubicBezTo>
                    <a:pt x="83" y="455"/>
                    <a:pt x="83" y="455"/>
                    <a:pt x="83" y="455"/>
                  </a:cubicBezTo>
                  <a:cubicBezTo>
                    <a:pt x="83" y="455"/>
                    <a:pt x="72" y="440"/>
                    <a:pt x="66" y="441"/>
                  </a:cubicBezTo>
                  <a:cubicBezTo>
                    <a:pt x="59" y="443"/>
                    <a:pt x="66" y="472"/>
                    <a:pt x="66" y="472"/>
                  </a:cubicBezTo>
                  <a:cubicBezTo>
                    <a:pt x="52" y="473"/>
                    <a:pt x="52" y="473"/>
                    <a:pt x="52" y="473"/>
                  </a:cubicBezTo>
                  <a:cubicBezTo>
                    <a:pt x="44" y="481"/>
                    <a:pt x="44" y="481"/>
                    <a:pt x="44" y="481"/>
                  </a:cubicBezTo>
                  <a:cubicBezTo>
                    <a:pt x="27" y="508"/>
                    <a:pt x="27" y="508"/>
                    <a:pt x="27" y="508"/>
                  </a:cubicBezTo>
                  <a:cubicBezTo>
                    <a:pt x="31" y="519"/>
                    <a:pt x="31" y="519"/>
                    <a:pt x="31" y="519"/>
                  </a:cubicBezTo>
                  <a:cubicBezTo>
                    <a:pt x="23" y="528"/>
                    <a:pt x="23" y="528"/>
                    <a:pt x="23" y="528"/>
                  </a:cubicBezTo>
                  <a:cubicBezTo>
                    <a:pt x="24" y="547"/>
                    <a:pt x="24" y="547"/>
                    <a:pt x="24" y="547"/>
                  </a:cubicBezTo>
                  <a:cubicBezTo>
                    <a:pt x="24" y="547"/>
                    <a:pt x="0" y="551"/>
                    <a:pt x="12" y="573"/>
                  </a:cubicBezTo>
                  <a:cubicBezTo>
                    <a:pt x="8" y="574"/>
                    <a:pt x="5" y="576"/>
                    <a:pt x="3" y="578"/>
                  </a:cubicBezTo>
                  <a:cubicBezTo>
                    <a:pt x="6" y="591"/>
                    <a:pt x="4" y="608"/>
                    <a:pt x="4" y="608"/>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6" name="Provence" descr="© INSCALE GmbH, 05.05.2010&#10;http://www.presentationload.com/">
              <a:extLst>
                <a:ext uri="{FF2B5EF4-FFF2-40B4-BE49-F238E27FC236}">
                  <a16:creationId xmlns:a16="http://schemas.microsoft.com/office/drawing/2014/main" id="{9A4171FE-BD58-4F57-89AE-DD2732B8B4B6}"/>
                </a:ext>
              </a:extLst>
            </p:cNvPr>
            <p:cNvSpPr>
              <a:spLocks/>
            </p:cNvSpPr>
            <p:nvPr/>
          </p:nvSpPr>
          <p:spPr bwMode="gray">
            <a:xfrm>
              <a:off x="2233" y="2198"/>
              <a:ext cx="838" cy="739"/>
            </a:xfrm>
            <a:custGeom>
              <a:avLst/>
              <a:gdLst/>
              <a:ahLst/>
              <a:cxnLst>
                <a:cxn ang="0">
                  <a:pos x="68" y="539"/>
                </a:cxn>
                <a:cxn ang="0">
                  <a:pos x="78" y="572"/>
                </a:cxn>
                <a:cxn ang="0">
                  <a:pos x="129" y="586"/>
                </a:cxn>
                <a:cxn ang="0">
                  <a:pos x="134" y="565"/>
                </a:cxn>
                <a:cxn ang="0">
                  <a:pos x="161" y="554"/>
                </a:cxn>
                <a:cxn ang="0">
                  <a:pos x="214" y="585"/>
                </a:cxn>
                <a:cxn ang="0">
                  <a:pos x="251" y="596"/>
                </a:cxn>
                <a:cxn ang="0">
                  <a:pos x="255" y="612"/>
                </a:cxn>
                <a:cxn ang="0">
                  <a:pos x="295" y="632"/>
                </a:cxn>
                <a:cxn ang="0">
                  <a:pos x="332" y="649"/>
                </a:cxn>
                <a:cxn ang="0">
                  <a:pos x="364" y="684"/>
                </a:cxn>
                <a:cxn ang="0">
                  <a:pos x="407" y="679"/>
                </a:cxn>
                <a:cxn ang="0">
                  <a:pos x="426" y="679"/>
                </a:cxn>
                <a:cxn ang="0">
                  <a:pos x="465" y="665"/>
                </a:cxn>
                <a:cxn ang="0">
                  <a:pos x="526" y="641"/>
                </a:cxn>
                <a:cxn ang="0">
                  <a:pos x="549" y="634"/>
                </a:cxn>
                <a:cxn ang="0">
                  <a:pos x="532" y="604"/>
                </a:cxn>
                <a:cxn ang="0">
                  <a:pos x="569" y="558"/>
                </a:cxn>
                <a:cxn ang="0">
                  <a:pos x="631" y="523"/>
                </a:cxn>
                <a:cxn ang="0">
                  <a:pos x="667" y="477"/>
                </a:cxn>
                <a:cxn ang="0">
                  <a:pos x="691" y="466"/>
                </a:cxn>
                <a:cxn ang="0">
                  <a:pos x="715" y="460"/>
                </a:cxn>
                <a:cxn ang="0">
                  <a:pos x="723" y="445"/>
                </a:cxn>
                <a:cxn ang="0">
                  <a:pos x="727" y="410"/>
                </a:cxn>
                <a:cxn ang="0">
                  <a:pos x="749" y="384"/>
                </a:cxn>
                <a:cxn ang="0">
                  <a:pos x="764" y="325"/>
                </a:cxn>
                <a:cxn ang="0">
                  <a:pos x="758" y="308"/>
                </a:cxn>
                <a:cxn ang="0">
                  <a:pos x="725" y="323"/>
                </a:cxn>
                <a:cxn ang="0">
                  <a:pos x="630" y="285"/>
                </a:cxn>
                <a:cxn ang="0">
                  <a:pos x="612" y="282"/>
                </a:cxn>
                <a:cxn ang="0">
                  <a:pos x="589" y="238"/>
                </a:cxn>
                <a:cxn ang="0">
                  <a:pos x="579" y="182"/>
                </a:cxn>
                <a:cxn ang="0">
                  <a:pos x="609" y="133"/>
                </a:cxn>
                <a:cxn ang="0">
                  <a:pos x="614" y="82"/>
                </a:cxn>
                <a:cxn ang="0">
                  <a:pos x="548" y="49"/>
                </a:cxn>
                <a:cxn ang="0">
                  <a:pos x="534" y="16"/>
                </a:cxn>
                <a:cxn ang="0">
                  <a:pos x="528" y="2"/>
                </a:cxn>
                <a:cxn ang="0">
                  <a:pos x="501" y="14"/>
                </a:cxn>
                <a:cxn ang="0">
                  <a:pos x="476" y="0"/>
                </a:cxn>
                <a:cxn ang="0">
                  <a:pos x="449" y="11"/>
                </a:cxn>
                <a:cxn ang="0">
                  <a:pos x="468" y="40"/>
                </a:cxn>
                <a:cxn ang="0">
                  <a:pos x="413" y="94"/>
                </a:cxn>
                <a:cxn ang="0">
                  <a:pos x="361" y="116"/>
                </a:cxn>
                <a:cxn ang="0">
                  <a:pos x="321" y="162"/>
                </a:cxn>
                <a:cxn ang="0">
                  <a:pos x="325" y="198"/>
                </a:cxn>
                <a:cxn ang="0">
                  <a:pos x="281" y="206"/>
                </a:cxn>
                <a:cxn ang="0">
                  <a:pos x="286" y="230"/>
                </a:cxn>
                <a:cxn ang="0">
                  <a:pos x="286" y="256"/>
                </a:cxn>
                <a:cxn ang="0">
                  <a:pos x="334" y="278"/>
                </a:cxn>
                <a:cxn ang="0">
                  <a:pos x="322" y="311"/>
                </a:cxn>
                <a:cxn ang="0">
                  <a:pos x="288" y="326"/>
                </a:cxn>
                <a:cxn ang="0">
                  <a:pos x="265" y="314"/>
                </a:cxn>
                <a:cxn ang="0">
                  <a:pos x="237" y="295"/>
                </a:cxn>
                <a:cxn ang="0">
                  <a:pos x="213" y="294"/>
                </a:cxn>
                <a:cxn ang="0">
                  <a:pos x="201" y="276"/>
                </a:cxn>
                <a:cxn ang="0">
                  <a:pos x="136" y="296"/>
                </a:cxn>
                <a:cxn ang="0">
                  <a:pos x="100" y="283"/>
                </a:cxn>
                <a:cxn ang="0">
                  <a:pos x="104" y="303"/>
                </a:cxn>
                <a:cxn ang="0">
                  <a:pos x="114" y="343"/>
                </a:cxn>
                <a:cxn ang="0">
                  <a:pos x="145" y="371"/>
                </a:cxn>
                <a:cxn ang="0">
                  <a:pos x="94" y="472"/>
                </a:cxn>
                <a:cxn ang="0">
                  <a:pos x="54" y="490"/>
                </a:cxn>
                <a:cxn ang="0">
                  <a:pos x="0" y="540"/>
                </a:cxn>
              </a:cxnLst>
              <a:rect l="0" t="0" r="r" b="b"/>
              <a:pathLst>
                <a:path w="778" h="684">
                  <a:moveTo>
                    <a:pt x="2" y="541"/>
                  </a:moveTo>
                  <a:cubicBezTo>
                    <a:pt x="3" y="544"/>
                    <a:pt x="54" y="539"/>
                    <a:pt x="68" y="539"/>
                  </a:cubicBezTo>
                  <a:cubicBezTo>
                    <a:pt x="82" y="539"/>
                    <a:pt x="80" y="555"/>
                    <a:pt x="80" y="555"/>
                  </a:cubicBezTo>
                  <a:cubicBezTo>
                    <a:pt x="57" y="564"/>
                    <a:pt x="80" y="563"/>
                    <a:pt x="78" y="572"/>
                  </a:cubicBezTo>
                  <a:cubicBezTo>
                    <a:pt x="76" y="581"/>
                    <a:pt x="119" y="577"/>
                    <a:pt x="119" y="577"/>
                  </a:cubicBezTo>
                  <a:cubicBezTo>
                    <a:pt x="119" y="577"/>
                    <a:pt x="127" y="583"/>
                    <a:pt x="129" y="586"/>
                  </a:cubicBezTo>
                  <a:cubicBezTo>
                    <a:pt x="131" y="589"/>
                    <a:pt x="138" y="577"/>
                    <a:pt x="144" y="575"/>
                  </a:cubicBezTo>
                  <a:cubicBezTo>
                    <a:pt x="150" y="573"/>
                    <a:pt x="138" y="576"/>
                    <a:pt x="134" y="565"/>
                  </a:cubicBezTo>
                  <a:cubicBezTo>
                    <a:pt x="130" y="554"/>
                    <a:pt x="139" y="558"/>
                    <a:pt x="139" y="554"/>
                  </a:cubicBezTo>
                  <a:cubicBezTo>
                    <a:pt x="139" y="550"/>
                    <a:pt x="151" y="554"/>
                    <a:pt x="161" y="554"/>
                  </a:cubicBezTo>
                  <a:cubicBezTo>
                    <a:pt x="171" y="554"/>
                    <a:pt x="177" y="583"/>
                    <a:pt x="177" y="583"/>
                  </a:cubicBezTo>
                  <a:cubicBezTo>
                    <a:pt x="214" y="585"/>
                    <a:pt x="214" y="585"/>
                    <a:pt x="214" y="585"/>
                  </a:cubicBezTo>
                  <a:cubicBezTo>
                    <a:pt x="214" y="585"/>
                    <a:pt x="233" y="578"/>
                    <a:pt x="240" y="569"/>
                  </a:cubicBezTo>
                  <a:cubicBezTo>
                    <a:pt x="247" y="560"/>
                    <a:pt x="251" y="596"/>
                    <a:pt x="251" y="596"/>
                  </a:cubicBezTo>
                  <a:cubicBezTo>
                    <a:pt x="251" y="596"/>
                    <a:pt x="248" y="600"/>
                    <a:pt x="245" y="600"/>
                  </a:cubicBezTo>
                  <a:cubicBezTo>
                    <a:pt x="242" y="600"/>
                    <a:pt x="252" y="608"/>
                    <a:pt x="255" y="612"/>
                  </a:cubicBezTo>
                  <a:cubicBezTo>
                    <a:pt x="258" y="616"/>
                    <a:pt x="248" y="623"/>
                    <a:pt x="248" y="623"/>
                  </a:cubicBezTo>
                  <a:cubicBezTo>
                    <a:pt x="248" y="623"/>
                    <a:pt x="291" y="631"/>
                    <a:pt x="295" y="632"/>
                  </a:cubicBezTo>
                  <a:cubicBezTo>
                    <a:pt x="305" y="651"/>
                    <a:pt x="316" y="636"/>
                    <a:pt x="322" y="637"/>
                  </a:cubicBezTo>
                  <a:cubicBezTo>
                    <a:pt x="328" y="638"/>
                    <a:pt x="320" y="648"/>
                    <a:pt x="332" y="649"/>
                  </a:cubicBezTo>
                  <a:cubicBezTo>
                    <a:pt x="344" y="650"/>
                    <a:pt x="354" y="671"/>
                    <a:pt x="348" y="676"/>
                  </a:cubicBezTo>
                  <a:cubicBezTo>
                    <a:pt x="342" y="681"/>
                    <a:pt x="356" y="680"/>
                    <a:pt x="364" y="684"/>
                  </a:cubicBezTo>
                  <a:cubicBezTo>
                    <a:pt x="372" y="671"/>
                    <a:pt x="393" y="669"/>
                    <a:pt x="399" y="666"/>
                  </a:cubicBezTo>
                  <a:cubicBezTo>
                    <a:pt x="405" y="663"/>
                    <a:pt x="404" y="681"/>
                    <a:pt x="407" y="679"/>
                  </a:cubicBezTo>
                  <a:cubicBezTo>
                    <a:pt x="410" y="677"/>
                    <a:pt x="418" y="669"/>
                    <a:pt x="424" y="674"/>
                  </a:cubicBezTo>
                  <a:cubicBezTo>
                    <a:pt x="426" y="676"/>
                    <a:pt x="426" y="678"/>
                    <a:pt x="426" y="679"/>
                  </a:cubicBezTo>
                  <a:cubicBezTo>
                    <a:pt x="427" y="679"/>
                    <a:pt x="437" y="672"/>
                    <a:pt x="443" y="663"/>
                  </a:cubicBezTo>
                  <a:cubicBezTo>
                    <a:pt x="449" y="654"/>
                    <a:pt x="443" y="663"/>
                    <a:pt x="465" y="665"/>
                  </a:cubicBezTo>
                  <a:cubicBezTo>
                    <a:pt x="472" y="679"/>
                    <a:pt x="481" y="671"/>
                    <a:pt x="481" y="671"/>
                  </a:cubicBezTo>
                  <a:cubicBezTo>
                    <a:pt x="469" y="660"/>
                    <a:pt x="520" y="642"/>
                    <a:pt x="526" y="641"/>
                  </a:cubicBezTo>
                  <a:cubicBezTo>
                    <a:pt x="532" y="640"/>
                    <a:pt x="538" y="646"/>
                    <a:pt x="538" y="646"/>
                  </a:cubicBezTo>
                  <a:cubicBezTo>
                    <a:pt x="538" y="646"/>
                    <a:pt x="547" y="639"/>
                    <a:pt x="549" y="634"/>
                  </a:cubicBezTo>
                  <a:cubicBezTo>
                    <a:pt x="551" y="629"/>
                    <a:pt x="551" y="618"/>
                    <a:pt x="548" y="610"/>
                  </a:cubicBezTo>
                  <a:cubicBezTo>
                    <a:pt x="518" y="622"/>
                    <a:pt x="535" y="604"/>
                    <a:pt x="532" y="604"/>
                  </a:cubicBezTo>
                  <a:cubicBezTo>
                    <a:pt x="529" y="604"/>
                    <a:pt x="552" y="584"/>
                    <a:pt x="560" y="578"/>
                  </a:cubicBezTo>
                  <a:cubicBezTo>
                    <a:pt x="559" y="561"/>
                    <a:pt x="569" y="558"/>
                    <a:pt x="569" y="558"/>
                  </a:cubicBezTo>
                  <a:cubicBezTo>
                    <a:pt x="581" y="586"/>
                    <a:pt x="609" y="532"/>
                    <a:pt x="609" y="532"/>
                  </a:cubicBezTo>
                  <a:cubicBezTo>
                    <a:pt x="603" y="509"/>
                    <a:pt x="629" y="516"/>
                    <a:pt x="631" y="523"/>
                  </a:cubicBezTo>
                  <a:cubicBezTo>
                    <a:pt x="630" y="511"/>
                    <a:pt x="644" y="515"/>
                    <a:pt x="648" y="508"/>
                  </a:cubicBezTo>
                  <a:cubicBezTo>
                    <a:pt x="647" y="480"/>
                    <a:pt x="667" y="477"/>
                    <a:pt x="667" y="477"/>
                  </a:cubicBezTo>
                  <a:cubicBezTo>
                    <a:pt x="675" y="465"/>
                    <a:pt x="675" y="465"/>
                    <a:pt x="675" y="465"/>
                  </a:cubicBezTo>
                  <a:cubicBezTo>
                    <a:pt x="691" y="466"/>
                    <a:pt x="691" y="466"/>
                    <a:pt x="691" y="466"/>
                  </a:cubicBezTo>
                  <a:cubicBezTo>
                    <a:pt x="696" y="456"/>
                    <a:pt x="696" y="456"/>
                    <a:pt x="696" y="456"/>
                  </a:cubicBezTo>
                  <a:cubicBezTo>
                    <a:pt x="715" y="460"/>
                    <a:pt x="715" y="460"/>
                    <a:pt x="715" y="460"/>
                  </a:cubicBezTo>
                  <a:cubicBezTo>
                    <a:pt x="713" y="442"/>
                    <a:pt x="713" y="442"/>
                    <a:pt x="713" y="442"/>
                  </a:cubicBezTo>
                  <a:cubicBezTo>
                    <a:pt x="723" y="445"/>
                    <a:pt x="723" y="445"/>
                    <a:pt x="723" y="445"/>
                  </a:cubicBezTo>
                  <a:cubicBezTo>
                    <a:pt x="736" y="435"/>
                    <a:pt x="736" y="435"/>
                    <a:pt x="736" y="435"/>
                  </a:cubicBezTo>
                  <a:cubicBezTo>
                    <a:pt x="727" y="410"/>
                    <a:pt x="727" y="410"/>
                    <a:pt x="727" y="410"/>
                  </a:cubicBezTo>
                  <a:cubicBezTo>
                    <a:pt x="746" y="398"/>
                    <a:pt x="746" y="398"/>
                    <a:pt x="746" y="398"/>
                  </a:cubicBezTo>
                  <a:cubicBezTo>
                    <a:pt x="749" y="384"/>
                    <a:pt x="749" y="384"/>
                    <a:pt x="749" y="384"/>
                  </a:cubicBezTo>
                  <a:cubicBezTo>
                    <a:pt x="763" y="390"/>
                    <a:pt x="778" y="338"/>
                    <a:pt x="778" y="338"/>
                  </a:cubicBezTo>
                  <a:cubicBezTo>
                    <a:pt x="764" y="325"/>
                    <a:pt x="764" y="325"/>
                    <a:pt x="764" y="325"/>
                  </a:cubicBezTo>
                  <a:cubicBezTo>
                    <a:pt x="768" y="311"/>
                    <a:pt x="768" y="311"/>
                    <a:pt x="768" y="311"/>
                  </a:cubicBezTo>
                  <a:cubicBezTo>
                    <a:pt x="758" y="308"/>
                    <a:pt x="758" y="308"/>
                    <a:pt x="758" y="308"/>
                  </a:cubicBezTo>
                  <a:cubicBezTo>
                    <a:pt x="751" y="316"/>
                    <a:pt x="751" y="316"/>
                    <a:pt x="751" y="316"/>
                  </a:cubicBezTo>
                  <a:cubicBezTo>
                    <a:pt x="751" y="316"/>
                    <a:pt x="730" y="316"/>
                    <a:pt x="725" y="323"/>
                  </a:cubicBezTo>
                  <a:cubicBezTo>
                    <a:pt x="717" y="339"/>
                    <a:pt x="690" y="316"/>
                    <a:pt x="690" y="316"/>
                  </a:cubicBezTo>
                  <a:cubicBezTo>
                    <a:pt x="630" y="285"/>
                    <a:pt x="630" y="285"/>
                    <a:pt x="630" y="285"/>
                  </a:cubicBezTo>
                  <a:cubicBezTo>
                    <a:pt x="623" y="288"/>
                    <a:pt x="623" y="288"/>
                    <a:pt x="623" y="288"/>
                  </a:cubicBezTo>
                  <a:cubicBezTo>
                    <a:pt x="612" y="282"/>
                    <a:pt x="612" y="282"/>
                    <a:pt x="612" y="282"/>
                  </a:cubicBezTo>
                  <a:cubicBezTo>
                    <a:pt x="613" y="271"/>
                    <a:pt x="613" y="271"/>
                    <a:pt x="613" y="271"/>
                  </a:cubicBezTo>
                  <a:cubicBezTo>
                    <a:pt x="589" y="238"/>
                    <a:pt x="589" y="238"/>
                    <a:pt x="589" y="238"/>
                  </a:cubicBezTo>
                  <a:cubicBezTo>
                    <a:pt x="598" y="219"/>
                    <a:pt x="598" y="219"/>
                    <a:pt x="598" y="219"/>
                  </a:cubicBezTo>
                  <a:cubicBezTo>
                    <a:pt x="579" y="182"/>
                    <a:pt x="579" y="182"/>
                    <a:pt x="579" y="182"/>
                  </a:cubicBezTo>
                  <a:cubicBezTo>
                    <a:pt x="579" y="182"/>
                    <a:pt x="601" y="155"/>
                    <a:pt x="604" y="152"/>
                  </a:cubicBezTo>
                  <a:cubicBezTo>
                    <a:pt x="598" y="134"/>
                    <a:pt x="611" y="136"/>
                    <a:pt x="609" y="133"/>
                  </a:cubicBezTo>
                  <a:cubicBezTo>
                    <a:pt x="622" y="140"/>
                    <a:pt x="620" y="121"/>
                    <a:pt x="624" y="123"/>
                  </a:cubicBezTo>
                  <a:cubicBezTo>
                    <a:pt x="611" y="113"/>
                    <a:pt x="614" y="82"/>
                    <a:pt x="614" y="82"/>
                  </a:cubicBezTo>
                  <a:cubicBezTo>
                    <a:pt x="577" y="74"/>
                    <a:pt x="577" y="74"/>
                    <a:pt x="577" y="74"/>
                  </a:cubicBezTo>
                  <a:cubicBezTo>
                    <a:pt x="548" y="49"/>
                    <a:pt x="548" y="49"/>
                    <a:pt x="548" y="49"/>
                  </a:cubicBezTo>
                  <a:cubicBezTo>
                    <a:pt x="550" y="19"/>
                    <a:pt x="550" y="19"/>
                    <a:pt x="550" y="19"/>
                  </a:cubicBezTo>
                  <a:cubicBezTo>
                    <a:pt x="534" y="16"/>
                    <a:pt x="534" y="16"/>
                    <a:pt x="534" y="16"/>
                  </a:cubicBezTo>
                  <a:cubicBezTo>
                    <a:pt x="532" y="7"/>
                    <a:pt x="532" y="7"/>
                    <a:pt x="532" y="7"/>
                  </a:cubicBezTo>
                  <a:cubicBezTo>
                    <a:pt x="530" y="6"/>
                    <a:pt x="529" y="4"/>
                    <a:pt x="528" y="2"/>
                  </a:cubicBezTo>
                  <a:cubicBezTo>
                    <a:pt x="504" y="6"/>
                    <a:pt x="504" y="6"/>
                    <a:pt x="504" y="6"/>
                  </a:cubicBezTo>
                  <a:cubicBezTo>
                    <a:pt x="501" y="14"/>
                    <a:pt x="501" y="14"/>
                    <a:pt x="501" y="14"/>
                  </a:cubicBezTo>
                  <a:cubicBezTo>
                    <a:pt x="477" y="14"/>
                    <a:pt x="477" y="14"/>
                    <a:pt x="477" y="14"/>
                  </a:cubicBezTo>
                  <a:cubicBezTo>
                    <a:pt x="476" y="0"/>
                    <a:pt x="476" y="0"/>
                    <a:pt x="476" y="0"/>
                  </a:cubicBezTo>
                  <a:cubicBezTo>
                    <a:pt x="446" y="3"/>
                    <a:pt x="446" y="3"/>
                    <a:pt x="446" y="3"/>
                  </a:cubicBezTo>
                  <a:cubicBezTo>
                    <a:pt x="449" y="11"/>
                    <a:pt x="449" y="11"/>
                    <a:pt x="449" y="11"/>
                  </a:cubicBezTo>
                  <a:cubicBezTo>
                    <a:pt x="449" y="11"/>
                    <a:pt x="444" y="24"/>
                    <a:pt x="444" y="35"/>
                  </a:cubicBezTo>
                  <a:cubicBezTo>
                    <a:pt x="444" y="46"/>
                    <a:pt x="468" y="40"/>
                    <a:pt x="468" y="40"/>
                  </a:cubicBezTo>
                  <a:cubicBezTo>
                    <a:pt x="468" y="40"/>
                    <a:pt x="469" y="59"/>
                    <a:pt x="476" y="82"/>
                  </a:cubicBezTo>
                  <a:cubicBezTo>
                    <a:pt x="410" y="80"/>
                    <a:pt x="420" y="100"/>
                    <a:pt x="413" y="94"/>
                  </a:cubicBezTo>
                  <a:cubicBezTo>
                    <a:pt x="406" y="87"/>
                    <a:pt x="397" y="110"/>
                    <a:pt x="397" y="110"/>
                  </a:cubicBezTo>
                  <a:cubicBezTo>
                    <a:pt x="397" y="110"/>
                    <a:pt x="373" y="116"/>
                    <a:pt x="361" y="116"/>
                  </a:cubicBezTo>
                  <a:cubicBezTo>
                    <a:pt x="349" y="116"/>
                    <a:pt x="354" y="128"/>
                    <a:pt x="358" y="138"/>
                  </a:cubicBezTo>
                  <a:cubicBezTo>
                    <a:pt x="362" y="147"/>
                    <a:pt x="321" y="162"/>
                    <a:pt x="321" y="162"/>
                  </a:cubicBezTo>
                  <a:cubicBezTo>
                    <a:pt x="308" y="188"/>
                    <a:pt x="308" y="188"/>
                    <a:pt x="308" y="188"/>
                  </a:cubicBezTo>
                  <a:cubicBezTo>
                    <a:pt x="325" y="198"/>
                    <a:pt x="325" y="198"/>
                    <a:pt x="325" y="198"/>
                  </a:cubicBezTo>
                  <a:cubicBezTo>
                    <a:pt x="310" y="210"/>
                    <a:pt x="310" y="210"/>
                    <a:pt x="310" y="210"/>
                  </a:cubicBezTo>
                  <a:cubicBezTo>
                    <a:pt x="281" y="206"/>
                    <a:pt x="281" y="206"/>
                    <a:pt x="281" y="206"/>
                  </a:cubicBezTo>
                  <a:cubicBezTo>
                    <a:pt x="278" y="218"/>
                    <a:pt x="278" y="218"/>
                    <a:pt x="278" y="218"/>
                  </a:cubicBezTo>
                  <a:cubicBezTo>
                    <a:pt x="286" y="230"/>
                    <a:pt x="286" y="230"/>
                    <a:pt x="286" y="230"/>
                  </a:cubicBezTo>
                  <a:cubicBezTo>
                    <a:pt x="270" y="231"/>
                    <a:pt x="270" y="231"/>
                    <a:pt x="270" y="231"/>
                  </a:cubicBezTo>
                  <a:cubicBezTo>
                    <a:pt x="286" y="256"/>
                    <a:pt x="286" y="256"/>
                    <a:pt x="286" y="256"/>
                  </a:cubicBezTo>
                  <a:cubicBezTo>
                    <a:pt x="317" y="258"/>
                    <a:pt x="317" y="258"/>
                    <a:pt x="317" y="258"/>
                  </a:cubicBezTo>
                  <a:cubicBezTo>
                    <a:pt x="334" y="278"/>
                    <a:pt x="334" y="278"/>
                    <a:pt x="334" y="278"/>
                  </a:cubicBezTo>
                  <a:cubicBezTo>
                    <a:pt x="334" y="300"/>
                    <a:pt x="334" y="300"/>
                    <a:pt x="334" y="300"/>
                  </a:cubicBezTo>
                  <a:cubicBezTo>
                    <a:pt x="334" y="300"/>
                    <a:pt x="320" y="314"/>
                    <a:pt x="322" y="311"/>
                  </a:cubicBezTo>
                  <a:cubicBezTo>
                    <a:pt x="298" y="303"/>
                    <a:pt x="308" y="314"/>
                    <a:pt x="308" y="314"/>
                  </a:cubicBezTo>
                  <a:cubicBezTo>
                    <a:pt x="288" y="326"/>
                    <a:pt x="288" y="326"/>
                    <a:pt x="288" y="326"/>
                  </a:cubicBezTo>
                  <a:cubicBezTo>
                    <a:pt x="278" y="319"/>
                    <a:pt x="278" y="319"/>
                    <a:pt x="278" y="319"/>
                  </a:cubicBezTo>
                  <a:cubicBezTo>
                    <a:pt x="278" y="319"/>
                    <a:pt x="265" y="323"/>
                    <a:pt x="265" y="314"/>
                  </a:cubicBezTo>
                  <a:cubicBezTo>
                    <a:pt x="265" y="304"/>
                    <a:pt x="258" y="300"/>
                    <a:pt x="258" y="300"/>
                  </a:cubicBezTo>
                  <a:cubicBezTo>
                    <a:pt x="237" y="295"/>
                    <a:pt x="237" y="295"/>
                    <a:pt x="237" y="295"/>
                  </a:cubicBezTo>
                  <a:cubicBezTo>
                    <a:pt x="238" y="302"/>
                    <a:pt x="238" y="302"/>
                    <a:pt x="238" y="302"/>
                  </a:cubicBezTo>
                  <a:cubicBezTo>
                    <a:pt x="213" y="294"/>
                    <a:pt x="213" y="294"/>
                    <a:pt x="213" y="294"/>
                  </a:cubicBezTo>
                  <a:cubicBezTo>
                    <a:pt x="213" y="270"/>
                    <a:pt x="213" y="270"/>
                    <a:pt x="213" y="270"/>
                  </a:cubicBezTo>
                  <a:cubicBezTo>
                    <a:pt x="201" y="276"/>
                    <a:pt x="201" y="276"/>
                    <a:pt x="201" y="276"/>
                  </a:cubicBezTo>
                  <a:cubicBezTo>
                    <a:pt x="190" y="272"/>
                    <a:pt x="190" y="272"/>
                    <a:pt x="190" y="272"/>
                  </a:cubicBezTo>
                  <a:cubicBezTo>
                    <a:pt x="136" y="296"/>
                    <a:pt x="136" y="296"/>
                    <a:pt x="136" y="296"/>
                  </a:cubicBezTo>
                  <a:cubicBezTo>
                    <a:pt x="134" y="260"/>
                    <a:pt x="100" y="268"/>
                    <a:pt x="100" y="268"/>
                  </a:cubicBezTo>
                  <a:cubicBezTo>
                    <a:pt x="100" y="283"/>
                    <a:pt x="100" y="283"/>
                    <a:pt x="100" y="283"/>
                  </a:cubicBezTo>
                  <a:cubicBezTo>
                    <a:pt x="95" y="281"/>
                    <a:pt x="95" y="281"/>
                    <a:pt x="95" y="281"/>
                  </a:cubicBezTo>
                  <a:cubicBezTo>
                    <a:pt x="104" y="303"/>
                    <a:pt x="104" y="303"/>
                    <a:pt x="104" y="303"/>
                  </a:cubicBezTo>
                  <a:cubicBezTo>
                    <a:pt x="114" y="304"/>
                    <a:pt x="114" y="304"/>
                    <a:pt x="114" y="304"/>
                  </a:cubicBezTo>
                  <a:cubicBezTo>
                    <a:pt x="114" y="343"/>
                    <a:pt x="114" y="343"/>
                    <a:pt x="114" y="343"/>
                  </a:cubicBezTo>
                  <a:cubicBezTo>
                    <a:pt x="125" y="339"/>
                    <a:pt x="125" y="339"/>
                    <a:pt x="125" y="339"/>
                  </a:cubicBezTo>
                  <a:cubicBezTo>
                    <a:pt x="145" y="371"/>
                    <a:pt x="145" y="371"/>
                    <a:pt x="145" y="371"/>
                  </a:cubicBezTo>
                  <a:cubicBezTo>
                    <a:pt x="102" y="415"/>
                    <a:pt x="102" y="415"/>
                    <a:pt x="102" y="415"/>
                  </a:cubicBezTo>
                  <a:cubicBezTo>
                    <a:pt x="94" y="472"/>
                    <a:pt x="94" y="472"/>
                    <a:pt x="94" y="472"/>
                  </a:cubicBezTo>
                  <a:cubicBezTo>
                    <a:pt x="69" y="466"/>
                    <a:pt x="69" y="466"/>
                    <a:pt x="69" y="466"/>
                  </a:cubicBezTo>
                  <a:cubicBezTo>
                    <a:pt x="54" y="490"/>
                    <a:pt x="54" y="490"/>
                    <a:pt x="54" y="490"/>
                  </a:cubicBezTo>
                  <a:cubicBezTo>
                    <a:pt x="58" y="500"/>
                    <a:pt x="58" y="500"/>
                    <a:pt x="58" y="500"/>
                  </a:cubicBezTo>
                  <a:cubicBezTo>
                    <a:pt x="0" y="540"/>
                    <a:pt x="0" y="540"/>
                    <a:pt x="0" y="540"/>
                  </a:cubicBezTo>
                  <a:cubicBezTo>
                    <a:pt x="1" y="541"/>
                    <a:pt x="2" y="541"/>
                    <a:pt x="2" y="54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7" name="Languedoc-Roussillon" descr="© INSCALE GmbH, 05.05.2010&#10;http://www.presentationload.com/">
              <a:extLst>
                <a:ext uri="{FF2B5EF4-FFF2-40B4-BE49-F238E27FC236}">
                  <a16:creationId xmlns:a16="http://schemas.microsoft.com/office/drawing/2014/main" id="{50A5143E-E69F-488B-AEDD-AD9B91FA6B95}"/>
                </a:ext>
              </a:extLst>
            </p:cNvPr>
            <p:cNvSpPr>
              <a:spLocks/>
            </p:cNvSpPr>
            <p:nvPr/>
          </p:nvSpPr>
          <p:spPr bwMode="gray">
            <a:xfrm>
              <a:off x="1594" y="2270"/>
              <a:ext cx="795" cy="930"/>
            </a:xfrm>
            <a:custGeom>
              <a:avLst/>
              <a:gdLst/>
              <a:ahLst/>
              <a:cxnLst>
                <a:cxn ang="0">
                  <a:pos x="20" y="800"/>
                </a:cxn>
                <a:cxn ang="0">
                  <a:pos x="61" y="817"/>
                </a:cxn>
                <a:cxn ang="0">
                  <a:pos x="99" y="847"/>
                </a:cxn>
                <a:cxn ang="0">
                  <a:pos x="151" y="830"/>
                </a:cxn>
                <a:cxn ang="0">
                  <a:pos x="230" y="858"/>
                </a:cxn>
                <a:cxn ang="0">
                  <a:pos x="248" y="831"/>
                </a:cxn>
                <a:cxn ang="0">
                  <a:pos x="282" y="817"/>
                </a:cxn>
                <a:cxn ang="0">
                  <a:pos x="318" y="812"/>
                </a:cxn>
                <a:cxn ang="0">
                  <a:pos x="347" y="824"/>
                </a:cxn>
                <a:cxn ang="0">
                  <a:pos x="335" y="788"/>
                </a:cxn>
                <a:cxn ang="0">
                  <a:pos x="322" y="658"/>
                </a:cxn>
                <a:cxn ang="0">
                  <a:pos x="319" y="622"/>
                </a:cxn>
                <a:cxn ang="0">
                  <a:pos x="466" y="488"/>
                </a:cxn>
                <a:cxn ang="0">
                  <a:pos x="564" y="442"/>
                </a:cxn>
                <a:cxn ang="0">
                  <a:pos x="650" y="433"/>
                </a:cxn>
                <a:cxn ang="0">
                  <a:pos x="661" y="399"/>
                </a:cxn>
                <a:cxn ang="0">
                  <a:pos x="694" y="348"/>
                </a:cxn>
                <a:cxn ang="0">
                  <a:pos x="717" y="272"/>
                </a:cxn>
                <a:cxn ang="0">
                  <a:pos x="706" y="237"/>
                </a:cxn>
                <a:cxn ang="0">
                  <a:pos x="687" y="214"/>
                </a:cxn>
                <a:cxn ang="0">
                  <a:pos x="641" y="209"/>
                </a:cxn>
                <a:cxn ang="0">
                  <a:pos x="634" y="195"/>
                </a:cxn>
                <a:cxn ang="0">
                  <a:pos x="600" y="225"/>
                </a:cxn>
                <a:cxn ang="0">
                  <a:pos x="549" y="208"/>
                </a:cxn>
                <a:cxn ang="0">
                  <a:pos x="536" y="159"/>
                </a:cxn>
                <a:cxn ang="0">
                  <a:pos x="518" y="121"/>
                </a:cxn>
                <a:cxn ang="0">
                  <a:pos x="501" y="71"/>
                </a:cxn>
                <a:cxn ang="0">
                  <a:pos x="458" y="40"/>
                </a:cxn>
                <a:cxn ang="0">
                  <a:pos x="420" y="51"/>
                </a:cxn>
                <a:cxn ang="0">
                  <a:pos x="373" y="16"/>
                </a:cxn>
                <a:cxn ang="0">
                  <a:pos x="368" y="27"/>
                </a:cxn>
                <a:cxn ang="0">
                  <a:pos x="342" y="19"/>
                </a:cxn>
                <a:cxn ang="0">
                  <a:pos x="334" y="43"/>
                </a:cxn>
                <a:cxn ang="0">
                  <a:pos x="320" y="79"/>
                </a:cxn>
                <a:cxn ang="0">
                  <a:pos x="308" y="108"/>
                </a:cxn>
                <a:cxn ang="0">
                  <a:pos x="325" y="155"/>
                </a:cxn>
                <a:cxn ang="0">
                  <a:pos x="348" y="208"/>
                </a:cxn>
                <a:cxn ang="0">
                  <a:pos x="361" y="232"/>
                </a:cxn>
                <a:cxn ang="0">
                  <a:pos x="393" y="256"/>
                </a:cxn>
                <a:cxn ang="0">
                  <a:pos x="393" y="285"/>
                </a:cxn>
                <a:cxn ang="0">
                  <a:pos x="418" y="303"/>
                </a:cxn>
                <a:cxn ang="0">
                  <a:pos x="394" y="345"/>
                </a:cxn>
                <a:cxn ang="0">
                  <a:pos x="373" y="364"/>
                </a:cxn>
                <a:cxn ang="0">
                  <a:pos x="328" y="405"/>
                </a:cxn>
                <a:cxn ang="0">
                  <a:pos x="253" y="427"/>
                </a:cxn>
                <a:cxn ang="0">
                  <a:pos x="198" y="492"/>
                </a:cxn>
                <a:cxn ang="0">
                  <a:pos x="130" y="509"/>
                </a:cxn>
                <a:cxn ang="0">
                  <a:pos x="96" y="496"/>
                </a:cxn>
                <a:cxn ang="0">
                  <a:pos x="62" y="508"/>
                </a:cxn>
                <a:cxn ang="0">
                  <a:pos x="37" y="520"/>
                </a:cxn>
                <a:cxn ang="0">
                  <a:pos x="14" y="572"/>
                </a:cxn>
                <a:cxn ang="0">
                  <a:pos x="68" y="612"/>
                </a:cxn>
                <a:cxn ang="0">
                  <a:pos x="64" y="651"/>
                </a:cxn>
                <a:cxn ang="0">
                  <a:pos x="77" y="669"/>
                </a:cxn>
                <a:cxn ang="0">
                  <a:pos x="53" y="693"/>
                </a:cxn>
                <a:cxn ang="0">
                  <a:pos x="101" y="713"/>
                </a:cxn>
                <a:cxn ang="0">
                  <a:pos x="76" y="743"/>
                </a:cxn>
                <a:cxn ang="0">
                  <a:pos x="57" y="760"/>
                </a:cxn>
                <a:cxn ang="0">
                  <a:pos x="26" y="768"/>
                </a:cxn>
                <a:cxn ang="0">
                  <a:pos x="25" y="777"/>
                </a:cxn>
              </a:cxnLst>
              <a:rect l="0" t="0" r="r" b="b"/>
              <a:pathLst>
                <a:path w="737" h="861">
                  <a:moveTo>
                    <a:pt x="25" y="777"/>
                  </a:moveTo>
                  <a:cubicBezTo>
                    <a:pt x="20" y="781"/>
                    <a:pt x="20" y="800"/>
                    <a:pt x="20" y="800"/>
                  </a:cubicBezTo>
                  <a:cubicBezTo>
                    <a:pt x="20" y="800"/>
                    <a:pt x="41" y="808"/>
                    <a:pt x="43" y="805"/>
                  </a:cubicBezTo>
                  <a:cubicBezTo>
                    <a:pt x="47" y="818"/>
                    <a:pt x="61" y="817"/>
                    <a:pt x="61" y="817"/>
                  </a:cubicBezTo>
                  <a:cubicBezTo>
                    <a:pt x="79" y="848"/>
                    <a:pt x="79" y="848"/>
                    <a:pt x="79" y="848"/>
                  </a:cubicBezTo>
                  <a:cubicBezTo>
                    <a:pt x="99" y="847"/>
                    <a:pt x="99" y="847"/>
                    <a:pt x="99" y="847"/>
                  </a:cubicBezTo>
                  <a:cubicBezTo>
                    <a:pt x="119" y="828"/>
                    <a:pt x="119" y="828"/>
                    <a:pt x="119" y="828"/>
                  </a:cubicBezTo>
                  <a:cubicBezTo>
                    <a:pt x="151" y="830"/>
                    <a:pt x="151" y="830"/>
                    <a:pt x="151" y="830"/>
                  </a:cubicBezTo>
                  <a:cubicBezTo>
                    <a:pt x="151" y="830"/>
                    <a:pt x="194" y="861"/>
                    <a:pt x="205" y="857"/>
                  </a:cubicBezTo>
                  <a:cubicBezTo>
                    <a:pt x="216" y="853"/>
                    <a:pt x="230" y="858"/>
                    <a:pt x="230" y="858"/>
                  </a:cubicBezTo>
                  <a:cubicBezTo>
                    <a:pt x="234" y="844"/>
                    <a:pt x="234" y="844"/>
                    <a:pt x="234" y="844"/>
                  </a:cubicBezTo>
                  <a:cubicBezTo>
                    <a:pt x="248" y="831"/>
                    <a:pt x="248" y="831"/>
                    <a:pt x="248" y="831"/>
                  </a:cubicBezTo>
                  <a:cubicBezTo>
                    <a:pt x="265" y="830"/>
                    <a:pt x="265" y="830"/>
                    <a:pt x="265" y="830"/>
                  </a:cubicBezTo>
                  <a:cubicBezTo>
                    <a:pt x="282" y="817"/>
                    <a:pt x="282" y="817"/>
                    <a:pt x="282" y="817"/>
                  </a:cubicBezTo>
                  <a:cubicBezTo>
                    <a:pt x="313" y="812"/>
                    <a:pt x="313" y="812"/>
                    <a:pt x="313" y="812"/>
                  </a:cubicBezTo>
                  <a:cubicBezTo>
                    <a:pt x="318" y="812"/>
                    <a:pt x="318" y="812"/>
                    <a:pt x="318" y="812"/>
                  </a:cubicBezTo>
                  <a:cubicBezTo>
                    <a:pt x="328" y="830"/>
                    <a:pt x="328" y="830"/>
                    <a:pt x="328" y="830"/>
                  </a:cubicBezTo>
                  <a:cubicBezTo>
                    <a:pt x="347" y="824"/>
                    <a:pt x="347" y="824"/>
                    <a:pt x="347" y="824"/>
                  </a:cubicBezTo>
                  <a:cubicBezTo>
                    <a:pt x="352" y="815"/>
                    <a:pt x="340" y="807"/>
                    <a:pt x="340" y="807"/>
                  </a:cubicBezTo>
                  <a:cubicBezTo>
                    <a:pt x="335" y="788"/>
                    <a:pt x="335" y="788"/>
                    <a:pt x="335" y="788"/>
                  </a:cubicBezTo>
                  <a:cubicBezTo>
                    <a:pt x="318" y="785"/>
                    <a:pt x="318" y="785"/>
                    <a:pt x="318" y="785"/>
                  </a:cubicBezTo>
                  <a:cubicBezTo>
                    <a:pt x="322" y="658"/>
                    <a:pt x="322" y="658"/>
                    <a:pt x="322" y="658"/>
                  </a:cubicBezTo>
                  <a:cubicBezTo>
                    <a:pt x="312" y="643"/>
                    <a:pt x="312" y="643"/>
                    <a:pt x="312" y="643"/>
                  </a:cubicBezTo>
                  <a:cubicBezTo>
                    <a:pt x="312" y="643"/>
                    <a:pt x="319" y="627"/>
                    <a:pt x="319" y="622"/>
                  </a:cubicBezTo>
                  <a:cubicBezTo>
                    <a:pt x="380" y="492"/>
                    <a:pt x="416" y="533"/>
                    <a:pt x="416" y="533"/>
                  </a:cubicBezTo>
                  <a:cubicBezTo>
                    <a:pt x="416" y="533"/>
                    <a:pt x="445" y="505"/>
                    <a:pt x="466" y="488"/>
                  </a:cubicBezTo>
                  <a:cubicBezTo>
                    <a:pt x="487" y="471"/>
                    <a:pt x="490" y="472"/>
                    <a:pt x="496" y="458"/>
                  </a:cubicBezTo>
                  <a:cubicBezTo>
                    <a:pt x="559" y="418"/>
                    <a:pt x="561" y="439"/>
                    <a:pt x="564" y="442"/>
                  </a:cubicBezTo>
                  <a:cubicBezTo>
                    <a:pt x="546" y="458"/>
                    <a:pt x="582" y="469"/>
                    <a:pt x="592" y="473"/>
                  </a:cubicBezTo>
                  <a:cubicBezTo>
                    <a:pt x="650" y="433"/>
                    <a:pt x="650" y="433"/>
                    <a:pt x="650" y="433"/>
                  </a:cubicBezTo>
                  <a:cubicBezTo>
                    <a:pt x="646" y="423"/>
                    <a:pt x="646" y="423"/>
                    <a:pt x="646" y="423"/>
                  </a:cubicBezTo>
                  <a:cubicBezTo>
                    <a:pt x="661" y="399"/>
                    <a:pt x="661" y="399"/>
                    <a:pt x="661" y="399"/>
                  </a:cubicBezTo>
                  <a:cubicBezTo>
                    <a:pt x="686" y="405"/>
                    <a:pt x="686" y="405"/>
                    <a:pt x="686" y="405"/>
                  </a:cubicBezTo>
                  <a:cubicBezTo>
                    <a:pt x="694" y="348"/>
                    <a:pt x="694" y="348"/>
                    <a:pt x="694" y="348"/>
                  </a:cubicBezTo>
                  <a:cubicBezTo>
                    <a:pt x="737" y="304"/>
                    <a:pt x="737" y="304"/>
                    <a:pt x="737" y="304"/>
                  </a:cubicBezTo>
                  <a:cubicBezTo>
                    <a:pt x="717" y="272"/>
                    <a:pt x="717" y="272"/>
                    <a:pt x="717" y="272"/>
                  </a:cubicBezTo>
                  <a:cubicBezTo>
                    <a:pt x="706" y="276"/>
                    <a:pt x="706" y="276"/>
                    <a:pt x="706" y="276"/>
                  </a:cubicBezTo>
                  <a:cubicBezTo>
                    <a:pt x="706" y="237"/>
                    <a:pt x="706" y="237"/>
                    <a:pt x="706" y="237"/>
                  </a:cubicBezTo>
                  <a:cubicBezTo>
                    <a:pt x="696" y="236"/>
                    <a:pt x="696" y="236"/>
                    <a:pt x="696" y="236"/>
                  </a:cubicBezTo>
                  <a:cubicBezTo>
                    <a:pt x="687" y="214"/>
                    <a:pt x="687" y="214"/>
                    <a:pt x="687" y="214"/>
                  </a:cubicBezTo>
                  <a:cubicBezTo>
                    <a:pt x="649" y="197"/>
                    <a:pt x="649" y="197"/>
                    <a:pt x="649" y="197"/>
                  </a:cubicBezTo>
                  <a:cubicBezTo>
                    <a:pt x="641" y="209"/>
                    <a:pt x="641" y="209"/>
                    <a:pt x="641" y="209"/>
                  </a:cubicBezTo>
                  <a:cubicBezTo>
                    <a:pt x="634" y="209"/>
                    <a:pt x="634" y="209"/>
                    <a:pt x="634" y="209"/>
                  </a:cubicBezTo>
                  <a:cubicBezTo>
                    <a:pt x="634" y="195"/>
                    <a:pt x="634" y="195"/>
                    <a:pt x="634" y="195"/>
                  </a:cubicBezTo>
                  <a:cubicBezTo>
                    <a:pt x="620" y="195"/>
                    <a:pt x="620" y="195"/>
                    <a:pt x="620" y="195"/>
                  </a:cubicBezTo>
                  <a:cubicBezTo>
                    <a:pt x="600" y="225"/>
                    <a:pt x="600" y="225"/>
                    <a:pt x="600" y="225"/>
                  </a:cubicBezTo>
                  <a:cubicBezTo>
                    <a:pt x="568" y="197"/>
                    <a:pt x="568" y="197"/>
                    <a:pt x="568" y="197"/>
                  </a:cubicBezTo>
                  <a:cubicBezTo>
                    <a:pt x="549" y="208"/>
                    <a:pt x="549" y="208"/>
                    <a:pt x="549" y="208"/>
                  </a:cubicBezTo>
                  <a:cubicBezTo>
                    <a:pt x="556" y="177"/>
                    <a:pt x="556" y="177"/>
                    <a:pt x="556" y="177"/>
                  </a:cubicBezTo>
                  <a:cubicBezTo>
                    <a:pt x="536" y="159"/>
                    <a:pt x="536" y="159"/>
                    <a:pt x="536" y="159"/>
                  </a:cubicBezTo>
                  <a:cubicBezTo>
                    <a:pt x="532" y="128"/>
                    <a:pt x="532" y="128"/>
                    <a:pt x="532" y="128"/>
                  </a:cubicBezTo>
                  <a:cubicBezTo>
                    <a:pt x="518" y="121"/>
                    <a:pt x="518" y="121"/>
                    <a:pt x="518" y="121"/>
                  </a:cubicBezTo>
                  <a:cubicBezTo>
                    <a:pt x="505" y="69"/>
                    <a:pt x="505" y="69"/>
                    <a:pt x="505" y="69"/>
                  </a:cubicBezTo>
                  <a:cubicBezTo>
                    <a:pt x="501" y="71"/>
                    <a:pt x="501" y="71"/>
                    <a:pt x="501" y="71"/>
                  </a:cubicBezTo>
                  <a:cubicBezTo>
                    <a:pt x="480" y="45"/>
                    <a:pt x="480" y="45"/>
                    <a:pt x="480" y="45"/>
                  </a:cubicBezTo>
                  <a:cubicBezTo>
                    <a:pt x="458" y="40"/>
                    <a:pt x="458" y="40"/>
                    <a:pt x="458" y="40"/>
                  </a:cubicBezTo>
                  <a:cubicBezTo>
                    <a:pt x="458" y="40"/>
                    <a:pt x="448" y="16"/>
                    <a:pt x="444" y="43"/>
                  </a:cubicBezTo>
                  <a:cubicBezTo>
                    <a:pt x="420" y="51"/>
                    <a:pt x="420" y="51"/>
                    <a:pt x="420" y="51"/>
                  </a:cubicBezTo>
                  <a:cubicBezTo>
                    <a:pt x="402" y="0"/>
                    <a:pt x="402" y="0"/>
                    <a:pt x="402" y="0"/>
                  </a:cubicBezTo>
                  <a:cubicBezTo>
                    <a:pt x="402" y="0"/>
                    <a:pt x="384" y="7"/>
                    <a:pt x="373" y="16"/>
                  </a:cubicBezTo>
                  <a:cubicBezTo>
                    <a:pt x="371" y="18"/>
                    <a:pt x="369" y="19"/>
                    <a:pt x="368" y="19"/>
                  </a:cubicBezTo>
                  <a:cubicBezTo>
                    <a:pt x="368" y="27"/>
                    <a:pt x="368" y="27"/>
                    <a:pt x="368" y="27"/>
                  </a:cubicBezTo>
                  <a:cubicBezTo>
                    <a:pt x="350" y="32"/>
                    <a:pt x="350" y="32"/>
                    <a:pt x="350" y="32"/>
                  </a:cubicBezTo>
                  <a:cubicBezTo>
                    <a:pt x="342" y="19"/>
                    <a:pt x="342" y="19"/>
                    <a:pt x="342" y="19"/>
                  </a:cubicBezTo>
                  <a:cubicBezTo>
                    <a:pt x="333" y="23"/>
                    <a:pt x="333" y="23"/>
                    <a:pt x="333" y="23"/>
                  </a:cubicBezTo>
                  <a:cubicBezTo>
                    <a:pt x="334" y="43"/>
                    <a:pt x="334" y="43"/>
                    <a:pt x="334" y="43"/>
                  </a:cubicBezTo>
                  <a:cubicBezTo>
                    <a:pt x="326" y="52"/>
                    <a:pt x="326" y="52"/>
                    <a:pt x="326" y="52"/>
                  </a:cubicBezTo>
                  <a:cubicBezTo>
                    <a:pt x="320" y="79"/>
                    <a:pt x="320" y="79"/>
                    <a:pt x="320" y="79"/>
                  </a:cubicBezTo>
                  <a:cubicBezTo>
                    <a:pt x="308" y="99"/>
                    <a:pt x="308" y="99"/>
                    <a:pt x="308" y="99"/>
                  </a:cubicBezTo>
                  <a:cubicBezTo>
                    <a:pt x="308" y="108"/>
                    <a:pt x="308" y="108"/>
                    <a:pt x="308" y="108"/>
                  </a:cubicBezTo>
                  <a:cubicBezTo>
                    <a:pt x="329" y="123"/>
                    <a:pt x="329" y="123"/>
                    <a:pt x="329" y="123"/>
                  </a:cubicBezTo>
                  <a:cubicBezTo>
                    <a:pt x="325" y="155"/>
                    <a:pt x="325" y="155"/>
                    <a:pt x="325" y="155"/>
                  </a:cubicBezTo>
                  <a:cubicBezTo>
                    <a:pt x="346" y="168"/>
                    <a:pt x="346" y="168"/>
                    <a:pt x="346" y="168"/>
                  </a:cubicBezTo>
                  <a:cubicBezTo>
                    <a:pt x="348" y="208"/>
                    <a:pt x="348" y="208"/>
                    <a:pt x="348" y="208"/>
                  </a:cubicBezTo>
                  <a:cubicBezTo>
                    <a:pt x="338" y="224"/>
                    <a:pt x="338" y="224"/>
                    <a:pt x="338" y="224"/>
                  </a:cubicBezTo>
                  <a:cubicBezTo>
                    <a:pt x="361" y="232"/>
                    <a:pt x="361" y="232"/>
                    <a:pt x="361" y="232"/>
                  </a:cubicBezTo>
                  <a:cubicBezTo>
                    <a:pt x="357" y="244"/>
                    <a:pt x="357" y="244"/>
                    <a:pt x="357" y="244"/>
                  </a:cubicBezTo>
                  <a:cubicBezTo>
                    <a:pt x="357" y="244"/>
                    <a:pt x="398" y="251"/>
                    <a:pt x="393" y="256"/>
                  </a:cubicBezTo>
                  <a:cubicBezTo>
                    <a:pt x="388" y="261"/>
                    <a:pt x="373" y="279"/>
                    <a:pt x="373" y="279"/>
                  </a:cubicBezTo>
                  <a:cubicBezTo>
                    <a:pt x="393" y="285"/>
                    <a:pt x="393" y="285"/>
                    <a:pt x="393" y="285"/>
                  </a:cubicBezTo>
                  <a:cubicBezTo>
                    <a:pt x="405" y="295"/>
                    <a:pt x="405" y="295"/>
                    <a:pt x="405" y="295"/>
                  </a:cubicBezTo>
                  <a:cubicBezTo>
                    <a:pt x="418" y="303"/>
                    <a:pt x="418" y="303"/>
                    <a:pt x="418" y="303"/>
                  </a:cubicBezTo>
                  <a:cubicBezTo>
                    <a:pt x="397" y="328"/>
                    <a:pt x="397" y="328"/>
                    <a:pt x="397" y="328"/>
                  </a:cubicBezTo>
                  <a:cubicBezTo>
                    <a:pt x="394" y="345"/>
                    <a:pt x="394" y="345"/>
                    <a:pt x="394" y="345"/>
                  </a:cubicBezTo>
                  <a:cubicBezTo>
                    <a:pt x="373" y="347"/>
                    <a:pt x="373" y="347"/>
                    <a:pt x="373" y="347"/>
                  </a:cubicBezTo>
                  <a:cubicBezTo>
                    <a:pt x="373" y="364"/>
                    <a:pt x="373" y="364"/>
                    <a:pt x="373" y="364"/>
                  </a:cubicBezTo>
                  <a:cubicBezTo>
                    <a:pt x="329" y="365"/>
                    <a:pt x="329" y="365"/>
                    <a:pt x="329" y="365"/>
                  </a:cubicBezTo>
                  <a:cubicBezTo>
                    <a:pt x="328" y="405"/>
                    <a:pt x="328" y="405"/>
                    <a:pt x="328" y="405"/>
                  </a:cubicBezTo>
                  <a:cubicBezTo>
                    <a:pt x="328" y="405"/>
                    <a:pt x="306" y="399"/>
                    <a:pt x="297" y="417"/>
                  </a:cubicBezTo>
                  <a:cubicBezTo>
                    <a:pt x="276" y="427"/>
                    <a:pt x="253" y="427"/>
                    <a:pt x="253" y="427"/>
                  </a:cubicBezTo>
                  <a:cubicBezTo>
                    <a:pt x="253" y="427"/>
                    <a:pt x="202" y="425"/>
                    <a:pt x="241" y="464"/>
                  </a:cubicBezTo>
                  <a:cubicBezTo>
                    <a:pt x="232" y="469"/>
                    <a:pt x="232" y="497"/>
                    <a:pt x="198" y="492"/>
                  </a:cubicBezTo>
                  <a:cubicBezTo>
                    <a:pt x="165" y="487"/>
                    <a:pt x="173" y="499"/>
                    <a:pt x="173" y="499"/>
                  </a:cubicBezTo>
                  <a:cubicBezTo>
                    <a:pt x="173" y="499"/>
                    <a:pt x="130" y="476"/>
                    <a:pt x="130" y="509"/>
                  </a:cubicBezTo>
                  <a:cubicBezTo>
                    <a:pt x="130" y="509"/>
                    <a:pt x="108" y="504"/>
                    <a:pt x="102" y="505"/>
                  </a:cubicBezTo>
                  <a:cubicBezTo>
                    <a:pt x="97" y="507"/>
                    <a:pt x="96" y="496"/>
                    <a:pt x="96" y="496"/>
                  </a:cubicBezTo>
                  <a:cubicBezTo>
                    <a:pt x="68" y="495"/>
                    <a:pt x="68" y="495"/>
                    <a:pt x="68" y="495"/>
                  </a:cubicBezTo>
                  <a:cubicBezTo>
                    <a:pt x="62" y="508"/>
                    <a:pt x="62" y="508"/>
                    <a:pt x="62" y="508"/>
                  </a:cubicBezTo>
                  <a:cubicBezTo>
                    <a:pt x="49" y="487"/>
                    <a:pt x="49" y="487"/>
                    <a:pt x="49" y="487"/>
                  </a:cubicBezTo>
                  <a:cubicBezTo>
                    <a:pt x="49" y="487"/>
                    <a:pt x="37" y="495"/>
                    <a:pt x="37" y="520"/>
                  </a:cubicBezTo>
                  <a:cubicBezTo>
                    <a:pt x="34" y="525"/>
                    <a:pt x="0" y="531"/>
                    <a:pt x="18" y="553"/>
                  </a:cubicBezTo>
                  <a:cubicBezTo>
                    <a:pt x="12" y="553"/>
                    <a:pt x="14" y="572"/>
                    <a:pt x="14" y="572"/>
                  </a:cubicBezTo>
                  <a:cubicBezTo>
                    <a:pt x="64" y="591"/>
                    <a:pt x="64" y="591"/>
                    <a:pt x="64" y="591"/>
                  </a:cubicBezTo>
                  <a:cubicBezTo>
                    <a:pt x="64" y="591"/>
                    <a:pt x="73" y="607"/>
                    <a:pt x="68" y="612"/>
                  </a:cubicBezTo>
                  <a:cubicBezTo>
                    <a:pt x="62" y="617"/>
                    <a:pt x="78" y="644"/>
                    <a:pt x="78" y="644"/>
                  </a:cubicBezTo>
                  <a:cubicBezTo>
                    <a:pt x="64" y="651"/>
                    <a:pt x="64" y="651"/>
                    <a:pt x="64" y="651"/>
                  </a:cubicBezTo>
                  <a:cubicBezTo>
                    <a:pt x="80" y="655"/>
                    <a:pt x="80" y="655"/>
                    <a:pt x="80" y="655"/>
                  </a:cubicBezTo>
                  <a:cubicBezTo>
                    <a:pt x="80" y="655"/>
                    <a:pt x="77" y="665"/>
                    <a:pt x="77" y="669"/>
                  </a:cubicBezTo>
                  <a:cubicBezTo>
                    <a:pt x="77" y="673"/>
                    <a:pt x="54" y="679"/>
                    <a:pt x="54" y="679"/>
                  </a:cubicBezTo>
                  <a:cubicBezTo>
                    <a:pt x="53" y="693"/>
                    <a:pt x="53" y="693"/>
                    <a:pt x="53" y="693"/>
                  </a:cubicBezTo>
                  <a:cubicBezTo>
                    <a:pt x="62" y="697"/>
                    <a:pt x="62" y="697"/>
                    <a:pt x="62" y="697"/>
                  </a:cubicBezTo>
                  <a:cubicBezTo>
                    <a:pt x="62" y="697"/>
                    <a:pt x="48" y="717"/>
                    <a:pt x="101" y="713"/>
                  </a:cubicBezTo>
                  <a:cubicBezTo>
                    <a:pt x="122" y="735"/>
                    <a:pt x="120" y="741"/>
                    <a:pt x="120" y="741"/>
                  </a:cubicBezTo>
                  <a:cubicBezTo>
                    <a:pt x="76" y="743"/>
                    <a:pt x="76" y="743"/>
                    <a:pt x="76" y="743"/>
                  </a:cubicBezTo>
                  <a:cubicBezTo>
                    <a:pt x="78" y="755"/>
                    <a:pt x="78" y="755"/>
                    <a:pt x="78" y="755"/>
                  </a:cubicBezTo>
                  <a:cubicBezTo>
                    <a:pt x="57" y="760"/>
                    <a:pt x="57" y="760"/>
                    <a:pt x="57" y="760"/>
                  </a:cubicBezTo>
                  <a:cubicBezTo>
                    <a:pt x="50" y="769"/>
                    <a:pt x="50" y="769"/>
                    <a:pt x="50" y="769"/>
                  </a:cubicBezTo>
                  <a:cubicBezTo>
                    <a:pt x="26" y="768"/>
                    <a:pt x="26" y="768"/>
                    <a:pt x="26" y="768"/>
                  </a:cubicBezTo>
                  <a:cubicBezTo>
                    <a:pt x="25" y="771"/>
                    <a:pt x="25" y="771"/>
                    <a:pt x="25" y="771"/>
                  </a:cubicBezTo>
                  <a:cubicBezTo>
                    <a:pt x="26" y="774"/>
                    <a:pt x="26" y="776"/>
                    <a:pt x="25" y="7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8" name="Midi-Pyrénnées" descr="© INSCALE GmbH, 05.05.2010&#10;http://www.presentationload.com/">
              <a:extLst>
                <a:ext uri="{FF2B5EF4-FFF2-40B4-BE49-F238E27FC236}">
                  <a16:creationId xmlns:a16="http://schemas.microsoft.com/office/drawing/2014/main" id="{A2F3FD82-C7EE-4A6F-8CF6-1DEA7DAD94F2}"/>
                </a:ext>
              </a:extLst>
            </p:cNvPr>
            <p:cNvSpPr>
              <a:spLocks/>
            </p:cNvSpPr>
            <p:nvPr/>
          </p:nvSpPr>
          <p:spPr bwMode="gray">
            <a:xfrm>
              <a:off x="1092" y="2246"/>
              <a:ext cx="953" cy="857"/>
            </a:xfrm>
            <a:custGeom>
              <a:avLst/>
              <a:gdLst/>
              <a:ahLst/>
              <a:cxnLst>
                <a:cxn ang="0">
                  <a:pos x="839" y="302"/>
                </a:cxn>
                <a:cxn ang="0">
                  <a:pos x="827" y="255"/>
                </a:cxn>
                <a:cxn ang="0">
                  <a:pos x="812" y="191"/>
                </a:cxn>
                <a:cxn ang="0">
                  <a:pos x="774" y="131"/>
                </a:cxn>
                <a:cxn ang="0">
                  <a:pos x="763" y="86"/>
                </a:cxn>
                <a:cxn ang="0">
                  <a:pos x="727" y="55"/>
                </a:cxn>
                <a:cxn ang="0">
                  <a:pos x="690" y="56"/>
                </a:cxn>
                <a:cxn ang="0">
                  <a:pos x="679" y="104"/>
                </a:cxn>
                <a:cxn ang="0">
                  <a:pos x="628" y="128"/>
                </a:cxn>
                <a:cxn ang="0">
                  <a:pos x="599" y="136"/>
                </a:cxn>
                <a:cxn ang="0">
                  <a:pos x="583" y="108"/>
                </a:cxn>
                <a:cxn ang="0">
                  <a:pos x="571" y="17"/>
                </a:cxn>
                <a:cxn ang="0">
                  <a:pos x="535" y="27"/>
                </a:cxn>
                <a:cxn ang="0">
                  <a:pos x="467" y="4"/>
                </a:cxn>
                <a:cxn ang="0">
                  <a:pos x="420" y="8"/>
                </a:cxn>
                <a:cxn ang="0">
                  <a:pos x="424" y="54"/>
                </a:cxn>
                <a:cxn ang="0">
                  <a:pos x="390" y="75"/>
                </a:cxn>
                <a:cxn ang="0">
                  <a:pos x="363" y="118"/>
                </a:cxn>
                <a:cxn ang="0">
                  <a:pos x="327" y="190"/>
                </a:cxn>
                <a:cxn ang="0">
                  <a:pos x="291" y="234"/>
                </a:cxn>
                <a:cxn ang="0">
                  <a:pos x="296" y="287"/>
                </a:cxn>
                <a:cxn ang="0">
                  <a:pos x="227" y="306"/>
                </a:cxn>
                <a:cxn ang="0">
                  <a:pos x="140" y="319"/>
                </a:cxn>
                <a:cxn ang="0">
                  <a:pos x="104" y="343"/>
                </a:cxn>
                <a:cxn ang="0">
                  <a:pos x="83" y="335"/>
                </a:cxn>
                <a:cxn ang="0">
                  <a:pos x="42" y="390"/>
                </a:cxn>
                <a:cxn ang="0">
                  <a:pos x="30" y="423"/>
                </a:cxn>
                <a:cxn ang="0">
                  <a:pos x="34" y="458"/>
                </a:cxn>
                <a:cxn ang="0">
                  <a:pos x="72" y="498"/>
                </a:cxn>
                <a:cxn ang="0">
                  <a:pos x="90" y="538"/>
                </a:cxn>
                <a:cxn ang="0">
                  <a:pos x="67" y="578"/>
                </a:cxn>
                <a:cxn ang="0">
                  <a:pos x="38" y="614"/>
                </a:cxn>
                <a:cxn ang="0">
                  <a:pos x="0" y="699"/>
                </a:cxn>
                <a:cxn ang="0">
                  <a:pos x="53" y="712"/>
                </a:cxn>
                <a:cxn ang="0">
                  <a:pos x="129" y="735"/>
                </a:cxn>
                <a:cxn ang="0">
                  <a:pos x="245" y="753"/>
                </a:cxn>
                <a:cxn ang="0">
                  <a:pos x="321" y="721"/>
                </a:cxn>
                <a:cxn ang="0">
                  <a:pos x="467" y="782"/>
                </a:cxn>
                <a:cxn ang="0">
                  <a:pos x="492" y="791"/>
                </a:cxn>
                <a:cxn ang="0">
                  <a:pos x="544" y="778"/>
                </a:cxn>
                <a:cxn ang="0">
                  <a:pos x="567" y="736"/>
                </a:cxn>
                <a:cxn ang="0">
                  <a:pos x="520" y="702"/>
                </a:cxn>
                <a:cxn ang="0">
                  <a:pos x="530" y="674"/>
                </a:cxn>
                <a:cxn ang="0">
                  <a:pos x="530" y="614"/>
                </a:cxn>
                <a:cxn ang="0">
                  <a:pos x="503" y="543"/>
                </a:cxn>
                <a:cxn ang="0">
                  <a:pos x="534" y="518"/>
                </a:cxn>
                <a:cxn ang="0">
                  <a:pos x="596" y="532"/>
                </a:cxn>
                <a:cxn ang="0">
                  <a:pos x="707" y="487"/>
                </a:cxn>
                <a:cxn ang="0">
                  <a:pos x="794" y="428"/>
                </a:cxn>
                <a:cxn ang="0">
                  <a:pos x="839" y="370"/>
                </a:cxn>
                <a:cxn ang="0">
                  <a:pos x="884" y="326"/>
                </a:cxn>
              </a:cxnLst>
              <a:rect l="0" t="0" r="r" b="b"/>
              <a:pathLst>
                <a:path w="884" h="794">
                  <a:moveTo>
                    <a:pt x="871" y="318"/>
                  </a:moveTo>
                  <a:cubicBezTo>
                    <a:pt x="859" y="308"/>
                    <a:pt x="859" y="308"/>
                    <a:pt x="859" y="308"/>
                  </a:cubicBezTo>
                  <a:cubicBezTo>
                    <a:pt x="839" y="302"/>
                    <a:pt x="839" y="302"/>
                    <a:pt x="839" y="302"/>
                  </a:cubicBezTo>
                  <a:cubicBezTo>
                    <a:pt x="839" y="302"/>
                    <a:pt x="854" y="284"/>
                    <a:pt x="859" y="279"/>
                  </a:cubicBezTo>
                  <a:cubicBezTo>
                    <a:pt x="864" y="274"/>
                    <a:pt x="823" y="267"/>
                    <a:pt x="823" y="267"/>
                  </a:cubicBezTo>
                  <a:cubicBezTo>
                    <a:pt x="827" y="255"/>
                    <a:pt x="827" y="255"/>
                    <a:pt x="827" y="255"/>
                  </a:cubicBezTo>
                  <a:cubicBezTo>
                    <a:pt x="804" y="247"/>
                    <a:pt x="804" y="247"/>
                    <a:pt x="804" y="247"/>
                  </a:cubicBezTo>
                  <a:cubicBezTo>
                    <a:pt x="814" y="231"/>
                    <a:pt x="814" y="231"/>
                    <a:pt x="814" y="231"/>
                  </a:cubicBezTo>
                  <a:cubicBezTo>
                    <a:pt x="812" y="191"/>
                    <a:pt x="812" y="191"/>
                    <a:pt x="812" y="191"/>
                  </a:cubicBezTo>
                  <a:cubicBezTo>
                    <a:pt x="791" y="178"/>
                    <a:pt x="791" y="178"/>
                    <a:pt x="791" y="178"/>
                  </a:cubicBezTo>
                  <a:cubicBezTo>
                    <a:pt x="795" y="146"/>
                    <a:pt x="795" y="146"/>
                    <a:pt x="795" y="146"/>
                  </a:cubicBezTo>
                  <a:cubicBezTo>
                    <a:pt x="774" y="131"/>
                    <a:pt x="774" y="131"/>
                    <a:pt x="774" y="131"/>
                  </a:cubicBezTo>
                  <a:cubicBezTo>
                    <a:pt x="774" y="122"/>
                    <a:pt x="774" y="122"/>
                    <a:pt x="774" y="122"/>
                  </a:cubicBezTo>
                  <a:cubicBezTo>
                    <a:pt x="772" y="126"/>
                    <a:pt x="772" y="126"/>
                    <a:pt x="772" y="126"/>
                  </a:cubicBezTo>
                  <a:cubicBezTo>
                    <a:pt x="763" y="86"/>
                    <a:pt x="763" y="86"/>
                    <a:pt x="763" y="86"/>
                  </a:cubicBezTo>
                  <a:cubicBezTo>
                    <a:pt x="754" y="75"/>
                    <a:pt x="754" y="75"/>
                    <a:pt x="754" y="75"/>
                  </a:cubicBezTo>
                  <a:cubicBezTo>
                    <a:pt x="754" y="75"/>
                    <a:pt x="740" y="45"/>
                    <a:pt x="729" y="53"/>
                  </a:cubicBezTo>
                  <a:cubicBezTo>
                    <a:pt x="729" y="55"/>
                    <a:pt x="728" y="56"/>
                    <a:pt x="727" y="55"/>
                  </a:cubicBezTo>
                  <a:cubicBezTo>
                    <a:pt x="728" y="54"/>
                    <a:pt x="728" y="54"/>
                    <a:pt x="729" y="53"/>
                  </a:cubicBezTo>
                  <a:cubicBezTo>
                    <a:pt x="731" y="46"/>
                    <a:pt x="725" y="18"/>
                    <a:pt x="699" y="55"/>
                  </a:cubicBezTo>
                  <a:cubicBezTo>
                    <a:pt x="690" y="63"/>
                    <a:pt x="690" y="56"/>
                    <a:pt x="690" y="56"/>
                  </a:cubicBezTo>
                  <a:cubicBezTo>
                    <a:pt x="688" y="78"/>
                    <a:pt x="688" y="78"/>
                    <a:pt x="688" y="78"/>
                  </a:cubicBezTo>
                  <a:cubicBezTo>
                    <a:pt x="680" y="84"/>
                    <a:pt x="680" y="84"/>
                    <a:pt x="680" y="84"/>
                  </a:cubicBezTo>
                  <a:cubicBezTo>
                    <a:pt x="679" y="104"/>
                    <a:pt x="679" y="104"/>
                    <a:pt x="679" y="104"/>
                  </a:cubicBezTo>
                  <a:cubicBezTo>
                    <a:pt x="666" y="114"/>
                    <a:pt x="666" y="114"/>
                    <a:pt x="666" y="114"/>
                  </a:cubicBezTo>
                  <a:cubicBezTo>
                    <a:pt x="662" y="126"/>
                    <a:pt x="662" y="126"/>
                    <a:pt x="662" y="126"/>
                  </a:cubicBezTo>
                  <a:cubicBezTo>
                    <a:pt x="628" y="128"/>
                    <a:pt x="628" y="128"/>
                    <a:pt x="628" y="128"/>
                  </a:cubicBezTo>
                  <a:cubicBezTo>
                    <a:pt x="627" y="123"/>
                    <a:pt x="627" y="123"/>
                    <a:pt x="627" y="123"/>
                  </a:cubicBezTo>
                  <a:cubicBezTo>
                    <a:pt x="598" y="124"/>
                    <a:pt x="598" y="124"/>
                    <a:pt x="598" y="124"/>
                  </a:cubicBezTo>
                  <a:cubicBezTo>
                    <a:pt x="599" y="136"/>
                    <a:pt x="599" y="136"/>
                    <a:pt x="599" y="136"/>
                  </a:cubicBezTo>
                  <a:cubicBezTo>
                    <a:pt x="594" y="130"/>
                    <a:pt x="594" y="130"/>
                    <a:pt x="594" y="130"/>
                  </a:cubicBezTo>
                  <a:cubicBezTo>
                    <a:pt x="592" y="114"/>
                    <a:pt x="592" y="114"/>
                    <a:pt x="592" y="114"/>
                  </a:cubicBezTo>
                  <a:cubicBezTo>
                    <a:pt x="583" y="108"/>
                    <a:pt x="583" y="108"/>
                    <a:pt x="583" y="108"/>
                  </a:cubicBezTo>
                  <a:cubicBezTo>
                    <a:pt x="588" y="74"/>
                    <a:pt x="588" y="74"/>
                    <a:pt x="588" y="74"/>
                  </a:cubicBezTo>
                  <a:cubicBezTo>
                    <a:pt x="572" y="47"/>
                    <a:pt x="572" y="47"/>
                    <a:pt x="572" y="47"/>
                  </a:cubicBezTo>
                  <a:cubicBezTo>
                    <a:pt x="572" y="47"/>
                    <a:pt x="574" y="30"/>
                    <a:pt x="571" y="17"/>
                  </a:cubicBezTo>
                  <a:cubicBezTo>
                    <a:pt x="569" y="19"/>
                    <a:pt x="568" y="20"/>
                    <a:pt x="568" y="20"/>
                  </a:cubicBezTo>
                  <a:cubicBezTo>
                    <a:pt x="547" y="22"/>
                    <a:pt x="547" y="22"/>
                    <a:pt x="547" y="22"/>
                  </a:cubicBezTo>
                  <a:cubicBezTo>
                    <a:pt x="535" y="27"/>
                    <a:pt x="535" y="27"/>
                    <a:pt x="535" y="27"/>
                  </a:cubicBezTo>
                  <a:cubicBezTo>
                    <a:pt x="532" y="20"/>
                    <a:pt x="532" y="20"/>
                    <a:pt x="532" y="20"/>
                  </a:cubicBezTo>
                  <a:cubicBezTo>
                    <a:pt x="532" y="20"/>
                    <a:pt x="518" y="43"/>
                    <a:pt x="507" y="39"/>
                  </a:cubicBezTo>
                  <a:cubicBezTo>
                    <a:pt x="496" y="35"/>
                    <a:pt x="467" y="4"/>
                    <a:pt x="467" y="4"/>
                  </a:cubicBezTo>
                  <a:cubicBezTo>
                    <a:pt x="467" y="4"/>
                    <a:pt x="435" y="0"/>
                    <a:pt x="424" y="7"/>
                  </a:cubicBezTo>
                  <a:cubicBezTo>
                    <a:pt x="423" y="4"/>
                    <a:pt x="423" y="4"/>
                    <a:pt x="423" y="4"/>
                  </a:cubicBezTo>
                  <a:cubicBezTo>
                    <a:pt x="420" y="8"/>
                    <a:pt x="420" y="8"/>
                    <a:pt x="420" y="8"/>
                  </a:cubicBezTo>
                  <a:cubicBezTo>
                    <a:pt x="426" y="39"/>
                    <a:pt x="426" y="39"/>
                    <a:pt x="426" y="39"/>
                  </a:cubicBezTo>
                  <a:cubicBezTo>
                    <a:pt x="419" y="44"/>
                    <a:pt x="419" y="44"/>
                    <a:pt x="419" y="44"/>
                  </a:cubicBezTo>
                  <a:cubicBezTo>
                    <a:pt x="424" y="54"/>
                    <a:pt x="424" y="54"/>
                    <a:pt x="424" y="54"/>
                  </a:cubicBezTo>
                  <a:cubicBezTo>
                    <a:pt x="407" y="60"/>
                    <a:pt x="407" y="60"/>
                    <a:pt x="407" y="60"/>
                  </a:cubicBezTo>
                  <a:cubicBezTo>
                    <a:pt x="406" y="74"/>
                    <a:pt x="406" y="74"/>
                    <a:pt x="406" y="74"/>
                  </a:cubicBezTo>
                  <a:cubicBezTo>
                    <a:pt x="390" y="75"/>
                    <a:pt x="390" y="75"/>
                    <a:pt x="390" y="75"/>
                  </a:cubicBezTo>
                  <a:cubicBezTo>
                    <a:pt x="398" y="92"/>
                    <a:pt x="398" y="92"/>
                    <a:pt x="398" y="92"/>
                  </a:cubicBezTo>
                  <a:cubicBezTo>
                    <a:pt x="384" y="112"/>
                    <a:pt x="384" y="112"/>
                    <a:pt x="384" y="112"/>
                  </a:cubicBezTo>
                  <a:cubicBezTo>
                    <a:pt x="363" y="118"/>
                    <a:pt x="363" y="118"/>
                    <a:pt x="363" y="118"/>
                  </a:cubicBezTo>
                  <a:cubicBezTo>
                    <a:pt x="344" y="147"/>
                    <a:pt x="344" y="147"/>
                    <a:pt x="344" y="147"/>
                  </a:cubicBezTo>
                  <a:cubicBezTo>
                    <a:pt x="316" y="156"/>
                    <a:pt x="316" y="156"/>
                    <a:pt x="316" y="156"/>
                  </a:cubicBezTo>
                  <a:cubicBezTo>
                    <a:pt x="316" y="156"/>
                    <a:pt x="327" y="186"/>
                    <a:pt x="327" y="190"/>
                  </a:cubicBezTo>
                  <a:cubicBezTo>
                    <a:pt x="327" y="194"/>
                    <a:pt x="334" y="198"/>
                    <a:pt x="334" y="198"/>
                  </a:cubicBezTo>
                  <a:cubicBezTo>
                    <a:pt x="334" y="198"/>
                    <a:pt x="331" y="223"/>
                    <a:pt x="312" y="216"/>
                  </a:cubicBezTo>
                  <a:cubicBezTo>
                    <a:pt x="294" y="210"/>
                    <a:pt x="291" y="234"/>
                    <a:pt x="291" y="234"/>
                  </a:cubicBezTo>
                  <a:cubicBezTo>
                    <a:pt x="308" y="246"/>
                    <a:pt x="308" y="246"/>
                    <a:pt x="308" y="246"/>
                  </a:cubicBezTo>
                  <a:cubicBezTo>
                    <a:pt x="291" y="270"/>
                    <a:pt x="291" y="270"/>
                    <a:pt x="291" y="270"/>
                  </a:cubicBezTo>
                  <a:cubicBezTo>
                    <a:pt x="296" y="287"/>
                    <a:pt x="296" y="287"/>
                    <a:pt x="296" y="287"/>
                  </a:cubicBezTo>
                  <a:cubicBezTo>
                    <a:pt x="274" y="286"/>
                    <a:pt x="274" y="286"/>
                    <a:pt x="274" y="286"/>
                  </a:cubicBezTo>
                  <a:cubicBezTo>
                    <a:pt x="274" y="286"/>
                    <a:pt x="262" y="322"/>
                    <a:pt x="247" y="322"/>
                  </a:cubicBezTo>
                  <a:cubicBezTo>
                    <a:pt x="232" y="322"/>
                    <a:pt x="227" y="306"/>
                    <a:pt x="227" y="306"/>
                  </a:cubicBezTo>
                  <a:cubicBezTo>
                    <a:pt x="214" y="311"/>
                    <a:pt x="214" y="311"/>
                    <a:pt x="214" y="311"/>
                  </a:cubicBezTo>
                  <a:cubicBezTo>
                    <a:pt x="214" y="311"/>
                    <a:pt x="183" y="326"/>
                    <a:pt x="168" y="327"/>
                  </a:cubicBezTo>
                  <a:cubicBezTo>
                    <a:pt x="154" y="328"/>
                    <a:pt x="140" y="319"/>
                    <a:pt x="140" y="319"/>
                  </a:cubicBezTo>
                  <a:cubicBezTo>
                    <a:pt x="127" y="328"/>
                    <a:pt x="127" y="328"/>
                    <a:pt x="127" y="328"/>
                  </a:cubicBezTo>
                  <a:cubicBezTo>
                    <a:pt x="118" y="326"/>
                    <a:pt x="118" y="326"/>
                    <a:pt x="118" y="326"/>
                  </a:cubicBezTo>
                  <a:cubicBezTo>
                    <a:pt x="118" y="326"/>
                    <a:pt x="103" y="338"/>
                    <a:pt x="104" y="343"/>
                  </a:cubicBezTo>
                  <a:cubicBezTo>
                    <a:pt x="106" y="348"/>
                    <a:pt x="112" y="362"/>
                    <a:pt x="104" y="359"/>
                  </a:cubicBezTo>
                  <a:cubicBezTo>
                    <a:pt x="96" y="356"/>
                    <a:pt x="91" y="348"/>
                    <a:pt x="88" y="342"/>
                  </a:cubicBezTo>
                  <a:cubicBezTo>
                    <a:pt x="86" y="335"/>
                    <a:pt x="83" y="335"/>
                    <a:pt x="83" y="335"/>
                  </a:cubicBezTo>
                  <a:cubicBezTo>
                    <a:pt x="83" y="335"/>
                    <a:pt x="74" y="344"/>
                    <a:pt x="67" y="344"/>
                  </a:cubicBezTo>
                  <a:cubicBezTo>
                    <a:pt x="60" y="344"/>
                    <a:pt x="38" y="358"/>
                    <a:pt x="38" y="358"/>
                  </a:cubicBezTo>
                  <a:cubicBezTo>
                    <a:pt x="42" y="390"/>
                    <a:pt x="42" y="390"/>
                    <a:pt x="42" y="390"/>
                  </a:cubicBezTo>
                  <a:cubicBezTo>
                    <a:pt x="38" y="387"/>
                    <a:pt x="38" y="387"/>
                    <a:pt x="38" y="387"/>
                  </a:cubicBezTo>
                  <a:cubicBezTo>
                    <a:pt x="43" y="408"/>
                    <a:pt x="43" y="408"/>
                    <a:pt x="43" y="408"/>
                  </a:cubicBezTo>
                  <a:cubicBezTo>
                    <a:pt x="30" y="423"/>
                    <a:pt x="30" y="423"/>
                    <a:pt x="30" y="423"/>
                  </a:cubicBezTo>
                  <a:cubicBezTo>
                    <a:pt x="31" y="442"/>
                    <a:pt x="31" y="442"/>
                    <a:pt x="31" y="442"/>
                  </a:cubicBezTo>
                  <a:cubicBezTo>
                    <a:pt x="22" y="446"/>
                    <a:pt x="22" y="446"/>
                    <a:pt x="22" y="446"/>
                  </a:cubicBezTo>
                  <a:cubicBezTo>
                    <a:pt x="34" y="458"/>
                    <a:pt x="34" y="458"/>
                    <a:pt x="34" y="458"/>
                  </a:cubicBezTo>
                  <a:cubicBezTo>
                    <a:pt x="34" y="458"/>
                    <a:pt x="72" y="471"/>
                    <a:pt x="76" y="480"/>
                  </a:cubicBezTo>
                  <a:cubicBezTo>
                    <a:pt x="80" y="490"/>
                    <a:pt x="83" y="494"/>
                    <a:pt x="83" y="494"/>
                  </a:cubicBezTo>
                  <a:cubicBezTo>
                    <a:pt x="72" y="498"/>
                    <a:pt x="72" y="498"/>
                    <a:pt x="72" y="498"/>
                  </a:cubicBezTo>
                  <a:cubicBezTo>
                    <a:pt x="72" y="514"/>
                    <a:pt x="72" y="514"/>
                    <a:pt x="72" y="514"/>
                  </a:cubicBezTo>
                  <a:cubicBezTo>
                    <a:pt x="88" y="508"/>
                    <a:pt x="88" y="508"/>
                    <a:pt x="88" y="508"/>
                  </a:cubicBezTo>
                  <a:cubicBezTo>
                    <a:pt x="90" y="538"/>
                    <a:pt x="90" y="538"/>
                    <a:pt x="90" y="538"/>
                  </a:cubicBezTo>
                  <a:cubicBezTo>
                    <a:pt x="78" y="543"/>
                    <a:pt x="78" y="543"/>
                    <a:pt x="78" y="543"/>
                  </a:cubicBezTo>
                  <a:cubicBezTo>
                    <a:pt x="78" y="543"/>
                    <a:pt x="72" y="555"/>
                    <a:pt x="79" y="563"/>
                  </a:cubicBezTo>
                  <a:cubicBezTo>
                    <a:pt x="79" y="568"/>
                    <a:pt x="67" y="578"/>
                    <a:pt x="67" y="578"/>
                  </a:cubicBezTo>
                  <a:cubicBezTo>
                    <a:pt x="67" y="588"/>
                    <a:pt x="67" y="588"/>
                    <a:pt x="67" y="588"/>
                  </a:cubicBezTo>
                  <a:cubicBezTo>
                    <a:pt x="58" y="588"/>
                    <a:pt x="58" y="588"/>
                    <a:pt x="58" y="588"/>
                  </a:cubicBezTo>
                  <a:cubicBezTo>
                    <a:pt x="38" y="614"/>
                    <a:pt x="38" y="614"/>
                    <a:pt x="38" y="614"/>
                  </a:cubicBezTo>
                  <a:cubicBezTo>
                    <a:pt x="38" y="632"/>
                    <a:pt x="38" y="632"/>
                    <a:pt x="38" y="632"/>
                  </a:cubicBezTo>
                  <a:cubicBezTo>
                    <a:pt x="22" y="634"/>
                    <a:pt x="22" y="634"/>
                    <a:pt x="22" y="634"/>
                  </a:cubicBezTo>
                  <a:cubicBezTo>
                    <a:pt x="0" y="699"/>
                    <a:pt x="0" y="699"/>
                    <a:pt x="0" y="699"/>
                  </a:cubicBezTo>
                  <a:cubicBezTo>
                    <a:pt x="0" y="699"/>
                    <a:pt x="1" y="701"/>
                    <a:pt x="1" y="705"/>
                  </a:cubicBezTo>
                  <a:cubicBezTo>
                    <a:pt x="24" y="689"/>
                    <a:pt x="48" y="712"/>
                    <a:pt x="48" y="712"/>
                  </a:cubicBezTo>
                  <a:cubicBezTo>
                    <a:pt x="53" y="712"/>
                    <a:pt x="53" y="712"/>
                    <a:pt x="53" y="712"/>
                  </a:cubicBezTo>
                  <a:cubicBezTo>
                    <a:pt x="79" y="748"/>
                    <a:pt x="79" y="748"/>
                    <a:pt x="79" y="748"/>
                  </a:cubicBezTo>
                  <a:cubicBezTo>
                    <a:pt x="119" y="746"/>
                    <a:pt x="119" y="746"/>
                    <a:pt x="119" y="746"/>
                  </a:cubicBezTo>
                  <a:cubicBezTo>
                    <a:pt x="129" y="735"/>
                    <a:pt x="129" y="735"/>
                    <a:pt x="129" y="735"/>
                  </a:cubicBezTo>
                  <a:cubicBezTo>
                    <a:pt x="129" y="735"/>
                    <a:pt x="153" y="752"/>
                    <a:pt x="162" y="757"/>
                  </a:cubicBezTo>
                  <a:cubicBezTo>
                    <a:pt x="170" y="733"/>
                    <a:pt x="192" y="748"/>
                    <a:pt x="192" y="748"/>
                  </a:cubicBezTo>
                  <a:cubicBezTo>
                    <a:pt x="192" y="748"/>
                    <a:pt x="239" y="752"/>
                    <a:pt x="245" y="753"/>
                  </a:cubicBezTo>
                  <a:cubicBezTo>
                    <a:pt x="251" y="754"/>
                    <a:pt x="245" y="741"/>
                    <a:pt x="245" y="741"/>
                  </a:cubicBezTo>
                  <a:cubicBezTo>
                    <a:pt x="234" y="718"/>
                    <a:pt x="253" y="691"/>
                    <a:pt x="253" y="691"/>
                  </a:cubicBezTo>
                  <a:cubicBezTo>
                    <a:pt x="253" y="691"/>
                    <a:pt x="302" y="721"/>
                    <a:pt x="321" y="721"/>
                  </a:cubicBezTo>
                  <a:cubicBezTo>
                    <a:pt x="340" y="721"/>
                    <a:pt x="364" y="744"/>
                    <a:pt x="364" y="744"/>
                  </a:cubicBezTo>
                  <a:cubicBezTo>
                    <a:pt x="398" y="728"/>
                    <a:pt x="420" y="779"/>
                    <a:pt x="421" y="782"/>
                  </a:cubicBezTo>
                  <a:cubicBezTo>
                    <a:pt x="442" y="756"/>
                    <a:pt x="467" y="782"/>
                    <a:pt x="467" y="782"/>
                  </a:cubicBezTo>
                  <a:cubicBezTo>
                    <a:pt x="479" y="774"/>
                    <a:pt x="479" y="774"/>
                    <a:pt x="479" y="774"/>
                  </a:cubicBezTo>
                  <a:cubicBezTo>
                    <a:pt x="479" y="774"/>
                    <a:pt x="488" y="786"/>
                    <a:pt x="491" y="794"/>
                  </a:cubicBezTo>
                  <a:cubicBezTo>
                    <a:pt x="492" y="791"/>
                    <a:pt x="492" y="791"/>
                    <a:pt x="492" y="791"/>
                  </a:cubicBezTo>
                  <a:cubicBezTo>
                    <a:pt x="516" y="792"/>
                    <a:pt x="516" y="792"/>
                    <a:pt x="516" y="792"/>
                  </a:cubicBezTo>
                  <a:cubicBezTo>
                    <a:pt x="523" y="783"/>
                    <a:pt x="523" y="783"/>
                    <a:pt x="523" y="783"/>
                  </a:cubicBezTo>
                  <a:cubicBezTo>
                    <a:pt x="544" y="778"/>
                    <a:pt x="544" y="778"/>
                    <a:pt x="544" y="778"/>
                  </a:cubicBezTo>
                  <a:cubicBezTo>
                    <a:pt x="542" y="766"/>
                    <a:pt x="542" y="766"/>
                    <a:pt x="542" y="766"/>
                  </a:cubicBezTo>
                  <a:cubicBezTo>
                    <a:pt x="586" y="764"/>
                    <a:pt x="586" y="764"/>
                    <a:pt x="586" y="764"/>
                  </a:cubicBezTo>
                  <a:cubicBezTo>
                    <a:pt x="586" y="764"/>
                    <a:pt x="588" y="758"/>
                    <a:pt x="567" y="736"/>
                  </a:cubicBezTo>
                  <a:cubicBezTo>
                    <a:pt x="514" y="740"/>
                    <a:pt x="528" y="720"/>
                    <a:pt x="528" y="720"/>
                  </a:cubicBezTo>
                  <a:cubicBezTo>
                    <a:pt x="519" y="716"/>
                    <a:pt x="519" y="716"/>
                    <a:pt x="519" y="716"/>
                  </a:cubicBezTo>
                  <a:cubicBezTo>
                    <a:pt x="520" y="702"/>
                    <a:pt x="520" y="702"/>
                    <a:pt x="520" y="702"/>
                  </a:cubicBezTo>
                  <a:cubicBezTo>
                    <a:pt x="520" y="702"/>
                    <a:pt x="543" y="696"/>
                    <a:pt x="543" y="692"/>
                  </a:cubicBezTo>
                  <a:cubicBezTo>
                    <a:pt x="543" y="688"/>
                    <a:pt x="546" y="678"/>
                    <a:pt x="546" y="678"/>
                  </a:cubicBezTo>
                  <a:cubicBezTo>
                    <a:pt x="530" y="674"/>
                    <a:pt x="530" y="674"/>
                    <a:pt x="530" y="674"/>
                  </a:cubicBezTo>
                  <a:cubicBezTo>
                    <a:pt x="544" y="667"/>
                    <a:pt x="544" y="667"/>
                    <a:pt x="544" y="667"/>
                  </a:cubicBezTo>
                  <a:cubicBezTo>
                    <a:pt x="544" y="667"/>
                    <a:pt x="528" y="640"/>
                    <a:pt x="534" y="635"/>
                  </a:cubicBezTo>
                  <a:cubicBezTo>
                    <a:pt x="539" y="630"/>
                    <a:pt x="530" y="614"/>
                    <a:pt x="530" y="614"/>
                  </a:cubicBezTo>
                  <a:cubicBezTo>
                    <a:pt x="480" y="595"/>
                    <a:pt x="480" y="595"/>
                    <a:pt x="480" y="595"/>
                  </a:cubicBezTo>
                  <a:cubicBezTo>
                    <a:pt x="480" y="595"/>
                    <a:pt x="478" y="576"/>
                    <a:pt x="484" y="576"/>
                  </a:cubicBezTo>
                  <a:cubicBezTo>
                    <a:pt x="466" y="554"/>
                    <a:pt x="500" y="548"/>
                    <a:pt x="503" y="543"/>
                  </a:cubicBezTo>
                  <a:cubicBezTo>
                    <a:pt x="503" y="518"/>
                    <a:pt x="515" y="510"/>
                    <a:pt x="515" y="510"/>
                  </a:cubicBezTo>
                  <a:cubicBezTo>
                    <a:pt x="528" y="531"/>
                    <a:pt x="528" y="531"/>
                    <a:pt x="528" y="531"/>
                  </a:cubicBezTo>
                  <a:cubicBezTo>
                    <a:pt x="534" y="518"/>
                    <a:pt x="534" y="518"/>
                    <a:pt x="534" y="518"/>
                  </a:cubicBezTo>
                  <a:cubicBezTo>
                    <a:pt x="562" y="519"/>
                    <a:pt x="562" y="519"/>
                    <a:pt x="562" y="519"/>
                  </a:cubicBezTo>
                  <a:cubicBezTo>
                    <a:pt x="562" y="519"/>
                    <a:pt x="563" y="530"/>
                    <a:pt x="568" y="528"/>
                  </a:cubicBezTo>
                  <a:cubicBezTo>
                    <a:pt x="574" y="527"/>
                    <a:pt x="596" y="532"/>
                    <a:pt x="596" y="532"/>
                  </a:cubicBezTo>
                  <a:cubicBezTo>
                    <a:pt x="596" y="499"/>
                    <a:pt x="639" y="522"/>
                    <a:pt x="639" y="522"/>
                  </a:cubicBezTo>
                  <a:cubicBezTo>
                    <a:pt x="639" y="522"/>
                    <a:pt x="631" y="510"/>
                    <a:pt x="664" y="515"/>
                  </a:cubicBezTo>
                  <a:cubicBezTo>
                    <a:pt x="698" y="520"/>
                    <a:pt x="698" y="492"/>
                    <a:pt x="707" y="487"/>
                  </a:cubicBezTo>
                  <a:cubicBezTo>
                    <a:pt x="668" y="448"/>
                    <a:pt x="719" y="450"/>
                    <a:pt x="719" y="450"/>
                  </a:cubicBezTo>
                  <a:cubicBezTo>
                    <a:pt x="719" y="450"/>
                    <a:pt x="742" y="450"/>
                    <a:pt x="763" y="440"/>
                  </a:cubicBezTo>
                  <a:cubicBezTo>
                    <a:pt x="772" y="422"/>
                    <a:pt x="794" y="428"/>
                    <a:pt x="794" y="428"/>
                  </a:cubicBezTo>
                  <a:cubicBezTo>
                    <a:pt x="795" y="388"/>
                    <a:pt x="795" y="388"/>
                    <a:pt x="795" y="388"/>
                  </a:cubicBezTo>
                  <a:cubicBezTo>
                    <a:pt x="839" y="387"/>
                    <a:pt x="839" y="387"/>
                    <a:pt x="839" y="387"/>
                  </a:cubicBezTo>
                  <a:cubicBezTo>
                    <a:pt x="839" y="370"/>
                    <a:pt x="839" y="370"/>
                    <a:pt x="839" y="370"/>
                  </a:cubicBezTo>
                  <a:cubicBezTo>
                    <a:pt x="860" y="368"/>
                    <a:pt x="860" y="368"/>
                    <a:pt x="860" y="368"/>
                  </a:cubicBezTo>
                  <a:cubicBezTo>
                    <a:pt x="863" y="351"/>
                    <a:pt x="863" y="351"/>
                    <a:pt x="863" y="351"/>
                  </a:cubicBezTo>
                  <a:cubicBezTo>
                    <a:pt x="884" y="326"/>
                    <a:pt x="884" y="326"/>
                    <a:pt x="884" y="326"/>
                  </a:cubicBezTo>
                  <a:lnTo>
                    <a:pt x="871" y="31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9" name="Aquitaine" descr="© INSCALE GmbH, 05.05.2010&#10;http://www.presentationload.com/">
              <a:extLst>
                <a:ext uri="{FF2B5EF4-FFF2-40B4-BE49-F238E27FC236}">
                  <a16:creationId xmlns:a16="http://schemas.microsoft.com/office/drawing/2014/main" id="{97CDBFD3-5115-4B18-AE8A-FC35BD36554B}"/>
                </a:ext>
              </a:extLst>
            </p:cNvPr>
            <p:cNvSpPr>
              <a:spLocks/>
            </p:cNvSpPr>
            <p:nvPr/>
          </p:nvSpPr>
          <p:spPr bwMode="gray">
            <a:xfrm>
              <a:off x="758" y="1992"/>
              <a:ext cx="793" cy="1021"/>
            </a:xfrm>
            <a:custGeom>
              <a:avLst/>
              <a:gdLst/>
              <a:ahLst/>
              <a:cxnLst>
                <a:cxn ang="0">
                  <a:pos x="347" y="849"/>
                </a:cxn>
                <a:cxn ang="0">
                  <a:pos x="376" y="813"/>
                </a:cxn>
                <a:cxn ang="0">
                  <a:pos x="399" y="773"/>
                </a:cxn>
                <a:cxn ang="0">
                  <a:pos x="381" y="733"/>
                </a:cxn>
                <a:cxn ang="0">
                  <a:pos x="343" y="693"/>
                </a:cxn>
                <a:cxn ang="0">
                  <a:pos x="339" y="658"/>
                </a:cxn>
                <a:cxn ang="0">
                  <a:pos x="351" y="625"/>
                </a:cxn>
                <a:cxn ang="0">
                  <a:pos x="392" y="570"/>
                </a:cxn>
                <a:cxn ang="0">
                  <a:pos x="413" y="578"/>
                </a:cxn>
                <a:cxn ang="0">
                  <a:pos x="449" y="554"/>
                </a:cxn>
                <a:cxn ang="0">
                  <a:pos x="536" y="541"/>
                </a:cxn>
                <a:cxn ang="0">
                  <a:pos x="605" y="522"/>
                </a:cxn>
                <a:cxn ang="0">
                  <a:pos x="600" y="469"/>
                </a:cxn>
                <a:cxn ang="0">
                  <a:pos x="636" y="425"/>
                </a:cxn>
                <a:cxn ang="0">
                  <a:pos x="672" y="353"/>
                </a:cxn>
                <a:cxn ang="0">
                  <a:pos x="699" y="310"/>
                </a:cxn>
                <a:cxn ang="0">
                  <a:pos x="733" y="289"/>
                </a:cxn>
                <a:cxn ang="0">
                  <a:pos x="729" y="243"/>
                </a:cxn>
                <a:cxn ang="0">
                  <a:pos x="727" y="207"/>
                </a:cxn>
                <a:cxn ang="0">
                  <a:pos x="692" y="183"/>
                </a:cxn>
                <a:cxn ang="0">
                  <a:pos x="691" y="150"/>
                </a:cxn>
                <a:cxn ang="0">
                  <a:pos x="700" y="117"/>
                </a:cxn>
                <a:cxn ang="0">
                  <a:pos x="655" y="74"/>
                </a:cxn>
                <a:cxn ang="0">
                  <a:pos x="589" y="58"/>
                </a:cxn>
                <a:cxn ang="0">
                  <a:pos x="540" y="43"/>
                </a:cxn>
                <a:cxn ang="0">
                  <a:pos x="519" y="74"/>
                </a:cxn>
                <a:cxn ang="0">
                  <a:pos x="464" y="147"/>
                </a:cxn>
                <a:cxn ang="0">
                  <a:pos x="407" y="202"/>
                </a:cxn>
                <a:cxn ang="0">
                  <a:pos x="319" y="169"/>
                </a:cxn>
                <a:cxn ang="0">
                  <a:pos x="265" y="131"/>
                </a:cxn>
                <a:cxn ang="0">
                  <a:pos x="279" y="178"/>
                </a:cxn>
                <a:cxn ang="0">
                  <a:pos x="239" y="76"/>
                </a:cxn>
                <a:cxn ang="0">
                  <a:pos x="185" y="0"/>
                </a:cxn>
                <a:cxn ang="0">
                  <a:pos x="133" y="309"/>
                </a:cxn>
                <a:cxn ang="0">
                  <a:pos x="147" y="302"/>
                </a:cxn>
                <a:cxn ang="0">
                  <a:pos x="23" y="730"/>
                </a:cxn>
                <a:cxn ang="0">
                  <a:pos x="34" y="764"/>
                </a:cxn>
                <a:cxn ang="0">
                  <a:pos x="86" y="787"/>
                </a:cxn>
                <a:cxn ang="0">
                  <a:pos x="110" y="831"/>
                </a:cxn>
                <a:cxn ang="0">
                  <a:pos x="142" y="869"/>
                </a:cxn>
                <a:cxn ang="0">
                  <a:pos x="228" y="882"/>
                </a:cxn>
                <a:cxn ang="0">
                  <a:pos x="293" y="943"/>
                </a:cxn>
                <a:cxn ang="0">
                  <a:pos x="309" y="934"/>
                </a:cxn>
              </a:cxnLst>
              <a:rect l="0" t="0" r="r" b="b"/>
              <a:pathLst>
                <a:path w="735" h="946">
                  <a:moveTo>
                    <a:pt x="331" y="869"/>
                  </a:moveTo>
                  <a:cubicBezTo>
                    <a:pt x="347" y="867"/>
                    <a:pt x="347" y="867"/>
                    <a:pt x="347" y="867"/>
                  </a:cubicBezTo>
                  <a:cubicBezTo>
                    <a:pt x="347" y="849"/>
                    <a:pt x="347" y="849"/>
                    <a:pt x="347" y="849"/>
                  </a:cubicBezTo>
                  <a:cubicBezTo>
                    <a:pt x="367" y="823"/>
                    <a:pt x="367" y="823"/>
                    <a:pt x="367" y="823"/>
                  </a:cubicBezTo>
                  <a:cubicBezTo>
                    <a:pt x="376" y="823"/>
                    <a:pt x="376" y="823"/>
                    <a:pt x="376" y="823"/>
                  </a:cubicBezTo>
                  <a:cubicBezTo>
                    <a:pt x="376" y="813"/>
                    <a:pt x="376" y="813"/>
                    <a:pt x="376" y="813"/>
                  </a:cubicBezTo>
                  <a:cubicBezTo>
                    <a:pt x="376" y="813"/>
                    <a:pt x="388" y="803"/>
                    <a:pt x="388" y="798"/>
                  </a:cubicBezTo>
                  <a:cubicBezTo>
                    <a:pt x="381" y="790"/>
                    <a:pt x="387" y="778"/>
                    <a:pt x="387" y="778"/>
                  </a:cubicBezTo>
                  <a:cubicBezTo>
                    <a:pt x="399" y="773"/>
                    <a:pt x="399" y="773"/>
                    <a:pt x="399" y="773"/>
                  </a:cubicBezTo>
                  <a:cubicBezTo>
                    <a:pt x="397" y="743"/>
                    <a:pt x="397" y="743"/>
                    <a:pt x="397" y="743"/>
                  </a:cubicBezTo>
                  <a:cubicBezTo>
                    <a:pt x="381" y="749"/>
                    <a:pt x="381" y="749"/>
                    <a:pt x="381" y="749"/>
                  </a:cubicBezTo>
                  <a:cubicBezTo>
                    <a:pt x="381" y="733"/>
                    <a:pt x="381" y="733"/>
                    <a:pt x="381" y="733"/>
                  </a:cubicBezTo>
                  <a:cubicBezTo>
                    <a:pt x="392" y="729"/>
                    <a:pt x="392" y="729"/>
                    <a:pt x="392" y="729"/>
                  </a:cubicBezTo>
                  <a:cubicBezTo>
                    <a:pt x="392" y="729"/>
                    <a:pt x="389" y="725"/>
                    <a:pt x="385" y="715"/>
                  </a:cubicBezTo>
                  <a:cubicBezTo>
                    <a:pt x="381" y="706"/>
                    <a:pt x="343" y="693"/>
                    <a:pt x="343" y="693"/>
                  </a:cubicBezTo>
                  <a:cubicBezTo>
                    <a:pt x="331" y="681"/>
                    <a:pt x="331" y="681"/>
                    <a:pt x="331" y="681"/>
                  </a:cubicBezTo>
                  <a:cubicBezTo>
                    <a:pt x="340" y="677"/>
                    <a:pt x="340" y="677"/>
                    <a:pt x="340" y="677"/>
                  </a:cubicBezTo>
                  <a:cubicBezTo>
                    <a:pt x="339" y="658"/>
                    <a:pt x="339" y="658"/>
                    <a:pt x="339" y="658"/>
                  </a:cubicBezTo>
                  <a:cubicBezTo>
                    <a:pt x="352" y="643"/>
                    <a:pt x="352" y="643"/>
                    <a:pt x="352" y="643"/>
                  </a:cubicBezTo>
                  <a:cubicBezTo>
                    <a:pt x="347" y="622"/>
                    <a:pt x="347" y="622"/>
                    <a:pt x="347" y="622"/>
                  </a:cubicBezTo>
                  <a:cubicBezTo>
                    <a:pt x="351" y="625"/>
                    <a:pt x="351" y="625"/>
                    <a:pt x="351" y="625"/>
                  </a:cubicBezTo>
                  <a:cubicBezTo>
                    <a:pt x="347" y="593"/>
                    <a:pt x="347" y="593"/>
                    <a:pt x="347" y="593"/>
                  </a:cubicBezTo>
                  <a:cubicBezTo>
                    <a:pt x="347" y="593"/>
                    <a:pt x="369" y="579"/>
                    <a:pt x="376" y="579"/>
                  </a:cubicBezTo>
                  <a:cubicBezTo>
                    <a:pt x="383" y="579"/>
                    <a:pt x="392" y="570"/>
                    <a:pt x="392" y="570"/>
                  </a:cubicBezTo>
                  <a:cubicBezTo>
                    <a:pt x="392" y="570"/>
                    <a:pt x="395" y="570"/>
                    <a:pt x="397" y="577"/>
                  </a:cubicBezTo>
                  <a:cubicBezTo>
                    <a:pt x="400" y="583"/>
                    <a:pt x="405" y="591"/>
                    <a:pt x="413" y="594"/>
                  </a:cubicBezTo>
                  <a:cubicBezTo>
                    <a:pt x="421" y="597"/>
                    <a:pt x="415" y="583"/>
                    <a:pt x="413" y="578"/>
                  </a:cubicBezTo>
                  <a:cubicBezTo>
                    <a:pt x="412" y="573"/>
                    <a:pt x="427" y="561"/>
                    <a:pt x="427" y="561"/>
                  </a:cubicBezTo>
                  <a:cubicBezTo>
                    <a:pt x="436" y="563"/>
                    <a:pt x="436" y="563"/>
                    <a:pt x="436" y="563"/>
                  </a:cubicBezTo>
                  <a:cubicBezTo>
                    <a:pt x="449" y="554"/>
                    <a:pt x="449" y="554"/>
                    <a:pt x="449" y="554"/>
                  </a:cubicBezTo>
                  <a:cubicBezTo>
                    <a:pt x="449" y="554"/>
                    <a:pt x="463" y="563"/>
                    <a:pt x="477" y="562"/>
                  </a:cubicBezTo>
                  <a:cubicBezTo>
                    <a:pt x="492" y="561"/>
                    <a:pt x="523" y="546"/>
                    <a:pt x="523" y="546"/>
                  </a:cubicBezTo>
                  <a:cubicBezTo>
                    <a:pt x="536" y="541"/>
                    <a:pt x="536" y="541"/>
                    <a:pt x="536" y="541"/>
                  </a:cubicBezTo>
                  <a:cubicBezTo>
                    <a:pt x="536" y="541"/>
                    <a:pt x="541" y="557"/>
                    <a:pt x="556" y="557"/>
                  </a:cubicBezTo>
                  <a:cubicBezTo>
                    <a:pt x="571" y="557"/>
                    <a:pt x="583" y="521"/>
                    <a:pt x="583" y="521"/>
                  </a:cubicBezTo>
                  <a:cubicBezTo>
                    <a:pt x="605" y="522"/>
                    <a:pt x="605" y="522"/>
                    <a:pt x="605" y="522"/>
                  </a:cubicBezTo>
                  <a:cubicBezTo>
                    <a:pt x="600" y="505"/>
                    <a:pt x="600" y="505"/>
                    <a:pt x="600" y="505"/>
                  </a:cubicBezTo>
                  <a:cubicBezTo>
                    <a:pt x="617" y="481"/>
                    <a:pt x="617" y="481"/>
                    <a:pt x="617" y="481"/>
                  </a:cubicBezTo>
                  <a:cubicBezTo>
                    <a:pt x="600" y="469"/>
                    <a:pt x="600" y="469"/>
                    <a:pt x="600" y="469"/>
                  </a:cubicBezTo>
                  <a:cubicBezTo>
                    <a:pt x="600" y="469"/>
                    <a:pt x="603" y="445"/>
                    <a:pt x="621" y="451"/>
                  </a:cubicBezTo>
                  <a:cubicBezTo>
                    <a:pt x="640" y="458"/>
                    <a:pt x="643" y="433"/>
                    <a:pt x="643" y="433"/>
                  </a:cubicBezTo>
                  <a:cubicBezTo>
                    <a:pt x="643" y="433"/>
                    <a:pt x="636" y="429"/>
                    <a:pt x="636" y="425"/>
                  </a:cubicBezTo>
                  <a:cubicBezTo>
                    <a:pt x="636" y="421"/>
                    <a:pt x="625" y="391"/>
                    <a:pt x="625" y="391"/>
                  </a:cubicBezTo>
                  <a:cubicBezTo>
                    <a:pt x="653" y="382"/>
                    <a:pt x="653" y="382"/>
                    <a:pt x="653" y="382"/>
                  </a:cubicBezTo>
                  <a:cubicBezTo>
                    <a:pt x="672" y="353"/>
                    <a:pt x="672" y="353"/>
                    <a:pt x="672" y="353"/>
                  </a:cubicBezTo>
                  <a:cubicBezTo>
                    <a:pt x="693" y="347"/>
                    <a:pt x="693" y="347"/>
                    <a:pt x="693" y="347"/>
                  </a:cubicBezTo>
                  <a:cubicBezTo>
                    <a:pt x="707" y="327"/>
                    <a:pt x="707" y="327"/>
                    <a:pt x="707" y="327"/>
                  </a:cubicBezTo>
                  <a:cubicBezTo>
                    <a:pt x="699" y="310"/>
                    <a:pt x="699" y="310"/>
                    <a:pt x="699" y="310"/>
                  </a:cubicBezTo>
                  <a:cubicBezTo>
                    <a:pt x="715" y="309"/>
                    <a:pt x="715" y="309"/>
                    <a:pt x="715" y="309"/>
                  </a:cubicBezTo>
                  <a:cubicBezTo>
                    <a:pt x="716" y="295"/>
                    <a:pt x="716" y="295"/>
                    <a:pt x="716" y="295"/>
                  </a:cubicBezTo>
                  <a:cubicBezTo>
                    <a:pt x="733" y="289"/>
                    <a:pt x="733" y="289"/>
                    <a:pt x="733" y="289"/>
                  </a:cubicBezTo>
                  <a:cubicBezTo>
                    <a:pt x="728" y="279"/>
                    <a:pt x="728" y="279"/>
                    <a:pt x="728" y="279"/>
                  </a:cubicBezTo>
                  <a:cubicBezTo>
                    <a:pt x="735" y="274"/>
                    <a:pt x="735" y="274"/>
                    <a:pt x="735" y="274"/>
                  </a:cubicBezTo>
                  <a:cubicBezTo>
                    <a:pt x="729" y="243"/>
                    <a:pt x="729" y="243"/>
                    <a:pt x="729" y="243"/>
                  </a:cubicBezTo>
                  <a:cubicBezTo>
                    <a:pt x="732" y="239"/>
                    <a:pt x="732" y="239"/>
                    <a:pt x="732" y="239"/>
                  </a:cubicBezTo>
                  <a:cubicBezTo>
                    <a:pt x="721" y="217"/>
                    <a:pt x="721" y="217"/>
                    <a:pt x="721" y="217"/>
                  </a:cubicBezTo>
                  <a:cubicBezTo>
                    <a:pt x="727" y="207"/>
                    <a:pt x="727" y="207"/>
                    <a:pt x="727" y="207"/>
                  </a:cubicBezTo>
                  <a:cubicBezTo>
                    <a:pt x="696" y="195"/>
                    <a:pt x="696" y="195"/>
                    <a:pt x="696" y="195"/>
                  </a:cubicBezTo>
                  <a:cubicBezTo>
                    <a:pt x="700" y="185"/>
                    <a:pt x="700" y="185"/>
                    <a:pt x="700" y="185"/>
                  </a:cubicBezTo>
                  <a:cubicBezTo>
                    <a:pt x="692" y="183"/>
                    <a:pt x="692" y="183"/>
                    <a:pt x="692" y="183"/>
                  </a:cubicBezTo>
                  <a:cubicBezTo>
                    <a:pt x="699" y="167"/>
                    <a:pt x="699" y="167"/>
                    <a:pt x="699" y="167"/>
                  </a:cubicBezTo>
                  <a:cubicBezTo>
                    <a:pt x="691" y="161"/>
                    <a:pt x="691" y="161"/>
                    <a:pt x="691" y="161"/>
                  </a:cubicBezTo>
                  <a:cubicBezTo>
                    <a:pt x="691" y="150"/>
                    <a:pt x="691" y="150"/>
                    <a:pt x="691" y="150"/>
                  </a:cubicBezTo>
                  <a:cubicBezTo>
                    <a:pt x="691" y="150"/>
                    <a:pt x="707" y="135"/>
                    <a:pt x="707" y="129"/>
                  </a:cubicBezTo>
                  <a:cubicBezTo>
                    <a:pt x="707" y="122"/>
                    <a:pt x="693" y="118"/>
                    <a:pt x="693" y="118"/>
                  </a:cubicBezTo>
                  <a:cubicBezTo>
                    <a:pt x="700" y="117"/>
                    <a:pt x="700" y="117"/>
                    <a:pt x="700" y="117"/>
                  </a:cubicBezTo>
                  <a:cubicBezTo>
                    <a:pt x="668" y="95"/>
                    <a:pt x="668" y="95"/>
                    <a:pt x="668" y="95"/>
                  </a:cubicBezTo>
                  <a:cubicBezTo>
                    <a:pt x="673" y="75"/>
                    <a:pt x="673" y="75"/>
                    <a:pt x="673" y="75"/>
                  </a:cubicBezTo>
                  <a:cubicBezTo>
                    <a:pt x="673" y="75"/>
                    <a:pt x="661" y="74"/>
                    <a:pt x="655" y="74"/>
                  </a:cubicBezTo>
                  <a:cubicBezTo>
                    <a:pt x="648" y="74"/>
                    <a:pt x="643" y="51"/>
                    <a:pt x="643" y="51"/>
                  </a:cubicBezTo>
                  <a:cubicBezTo>
                    <a:pt x="608" y="47"/>
                    <a:pt x="608" y="47"/>
                    <a:pt x="608" y="47"/>
                  </a:cubicBezTo>
                  <a:cubicBezTo>
                    <a:pt x="608" y="47"/>
                    <a:pt x="596" y="62"/>
                    <a:pt x="589" y="58"/>
                  </a:cubicBezTo>
                  <a:cubicBezTo>
                    <a:pt x="583" y="54"/>
                    <a:pt x="589" y="30"/>
                    <a:pt x="589" y="30"/>
                  </a:cubicBezTo>
                  <a:cubicBezTo>
                    <a:pt x="589" y="30"/>
                    <a:pt x="576" y="24"/>
                    <a:pt x="558" y="21"/>
                  </a:cubicBezTo>
                  <a:cubicBezTo>
                    <a:pt x="540" y="43"/>
                    <a:pt x="540" y="43"/>
                    <a:pt x="540" y="43"/>
                  </a:cubicBezTo>
                  <a:cubicBezTo>
                    <a:pt x="540" y="43"/>
                    <a:pt x="529" y="45"/>
                    <a:pt x="525" y="45"/>
                  </a:cubicBezTo>
                  <a:cubicBezTo>
                    <a:pt x="521" y="45"/>
                    <a:pt x="531" y="73"/>
                    <a:pt x="531" y="73"/>
                  </a:cubicBezTo>
                  <a:cubicBezTo>
                    <a:pt x="519" y="74"/>
                    <a:pt x="519" y="74"/>
                    <a:pt x="519" y="74"/>
                  </a:cubicBezTo>
                  <a:cubicBezTo>
                    <a:pt x="519" y="74"/>
                    <a:pt x="515" y="73"/>
                    <a:pt x="511" y="87"/>
                  </a:cubicBezTo>
                  <a:cubicBezTo>
                    <a:pt x="459" y="94"/>
                    <a:pt x="471" y="147"/>
                    <a:pt x="471" y="147"/>
                  </a:cubicBezTo>
                  <a:cubicBezTo>
                    <a:pt x="464" y="147"/>
                    <a:pt x="464" y="147"/>
                    <a:pt x="464" y="147"/>
                  </a:cubicBezTo>
                  <a:cubicBezTo>
                    <a:pt x="464" y="147"/>
                    <a:pt x="445" y="175"/>
                    <a:pt x="441" y="175"/>
                  </a:cubicBezTo>
                  <a:cubicBezTo>
                    <a:pt x="437" y="175"/>
                    <a:pt x="429" y="166"/>
                    <a:pt x="429" y="166"/>
                  </a:cubicBezTo>
                  <a:cubicBezTo>
                    <a:pt x="429" y="166"/>
                    <a:pt x="413" y="189"/>
                    <a:pt x="407" y="202"/>
                  </a:cubicBezTo>
                  <a:cubicBezTo>
                    <a:pt x="400" y="215"/>
                    <a:pt x="367" y="213"/>
                    <a:pt x="349" y="195"/>
                  </a:cubicBezTo>
                  <a:cubicBezTo>
                    <a:pt x="332" y="178"/>
                    <a:pt x="324" y="193"/>
                    <a:pt x="324" y="193"/>
                  </a:cubicBezTo>
                  <a:cubicBezTo>
                    <a:pt x="324" y="193"/>
                    <a:pt x="324" y="187"/>
                    <a:pt x="319" y="169"/>
                  </a:cubicBezTo>
                  <a:cubicBezTo>
                    <a:pt x="325" y="154"/>
                    <a:pt x="285" y="143"/>
                    <a:pt x="285" y="143"/>
                  </a:cubicBezTo>
                  <a:cubicBezTo>
                    <a:pt x="279" y="130"/>
                    <a:pt x="279" y="130"/>
                    <a:pt x="279" y="130"/>
                  </a:cubicBezTo>
                  <a:cubicBezTo>
                    <a:pt x="265" y="131"/>
                    <a:pt x="265" y="131"/>
                    <a:pt x="265" y="131"/>
                  </a:cubicBezTo>
                  <a:cubicBezTo>
                    <a:pt x="267" y="136"/>
                    <a:pt x="270" y="143"/>
                    <a:pt x="272" y="153"/>
                  </a:cubicBezTo>
                  <a:cubicBezTo>
                    <a:pt x="276" y="171"/>
                    <a:pt x="290" y="171"/>
                    <a:pt x="290" y="171"/>
                  </a:cubicBezTo>
                  <a:cubicBezTo>
                    <a:pt x="279" y="178"/>
                    <a:pt x="279" y="178"/>
                    <a:pt x="279" y="178"/>
                  </a:cubicBezTo>
                  <a:cubicBezTo>
                    <a:pt x="279" y="178"/>
                    <a:pt x="262" y="147"/>
                    <a:pt x="258" y="143"/>
                  </a:cubicBezTo>
                  <a:cubicBezTo>
                    <a:pt x="254" y="140"/>
                    <a:pt x="250" y="104"/>
                    <a:pt x="242" y="83"/>
                  </a:cubicBezTo>
                  <a:cubicBezTo>
                    <a:pt x="239" y="76"/>
                    <a:pt x="239" y="76"/>
                    <a:pt x="239" y="76"/>
                  </a:cubicBezTo>
                  <a:cubicBezTo>
                    <a:pt x="239" y="75"/>
                    <a:pt x="239" y="75"/>
                    <a:pt x="239" y="75"/>
                  </a:cubicBezTo>
                  <a:cubicBezTo>
                    <a:pt x="229" y="55"/>
                    <a:pt x="184" y="19"/>
                    <a:pt x="184" y="19"/>
                  </a:cubicBezTo>
                  <a:cubicBezTo>
                    <a:pt x="185" y="0"/>
                    <a:pt x="185" y="0"/>
                    <a:pt x="185" y="0"/>
                  </a:cubicBezTo>
                  <a:cubicBezTo>
                    <a:pt x="162" y="28"/>
                    <a:pt x="162" y="28"/>
                    <a:pt x="162" y="28"/>
                  </a:cubicBezTo>
                  <a:cubicBezTo>
                    <a:pt x="162" y="28"/>
                    <a:pt x="164" y="82"/>
                    <a:pt x="159" y="107"/>
                  </a:cubicBezTo>
                  <a:cubicBezTo>
                    <a:pt x="155" y="130"/>
                    <a:pt x="136" y="279"/>
                    <a:pt x="133" y="309"/>
                  </a:cubicBezTo>
                  <a:cubicBezTo>
                    <a:pt x="136" y="291"/>
                    <a:pt x="155" y="262"/>
                    <a:pt x="155" y="262"/>
                  </a:cubicBezTo>
                  <a:cubicBezTo>
                    <a:pt x="155" y="262"/>
                    <a:pt x="187" y="292"/>
                    <a:pt x="180" y="304"/>
                  </a:cubicBezTo>
                  <a:cubicBezTo>
                    <a:pt x="173" y="316"/>
                    <a:pt x="147" y="302"/>
                    <a:pt x="147" y="302"/>
                  </a:cubicBezTo>
                  <a:cubicBezTo>
                    <a:pt x="145" y="322"/>
                    <a:pt x="131" y="339"/>
                    <a:pt x="131" y="339"/>
                  </a:cubicBezTo>
                  <a:cubicBezTo>
                    <a:pt x="131" y="339"/>
                    <a:pt x="115" y="435"/>
                    <a:pt x="93" y="567"/>
                  </a:cubicBezTo>
                  <a:cubicBezTo>
                    <a:pt x="71" y="699"/>
                    <a:pt x="23" y="730"/>
                    <a:pt x="23" y="730"/>
                  </a:cubicBezTo>
                  <a:cubicBezTo>
                    <a:pt x="0" y="733"/>
                    <a:pt x="0" y="733"/>
                    <a:pt x="0" y="733"/>
                  </a:cubicBezTo>
                  <a:cubicBezTo>
                    <a:pt x="13" y="763"/>
                    <a:pt x="13" y="763"/>
                    <a:pt x="13" y="763"/>
                  </a:cubicBezTo>
                  <a:cubicBezTo>
                    <a:pt x="34" y="764"/>
                    <a:pt x="34" y="764"/>
                    <a:pt x="34" y="764"/>
                  </a:cubicBezTo>
                  <a:cubicBezTo>
                    <a:pt x="34" y="764"/>
                    <a:pt x="37" y="773"/>
                    <a:pt x="42" y="779"/>
                  </a:cubicBezTo>
                  <a:cubicBezTo>
                    <a:pt x="47" y="785"/>
                    <a:pt x="48" y="774"/>
                    <a:pt x="56" y="771"/>
                  </a:cubicBezTo>
                  <a:cubicBezTo>
                    <a:pt x="64" y="768"/>
                    <a:pt x="74" y="776"/>
                    <a:pt x="86" y="787"/>
                  </a:cubicBezTo>
                  <a:cubicBezTo>
                    <a:pt x="98" y="798"/>
                    <a:pt x="71" y="830"/>
                    <a:pt x="69" y="843"/>
                  </a:cubicBezTo>
                  <a:cubicBezTo>
                    <a:pt x="67" y="856"/>
                    <a:pt x="92" y="859"/>
                    <a:pt x="92" y="859"/>
                  </a:cubicBezTo>
                  <a:cubicBezTo>
                    <a:pt x="92" y="859"/>
                    <a:pt x="100" y="831"/>
                    <a:pt x="110" y="831"/>
                  </a:cubicBezTo>
                  <a:cubicBezTo>
                    <a:pt x="120" y="831"/>
                    <a:pt x="107" y="846"/>
                    <a:pt x="107" y="846"/>
                  </a:cubicBezTo>
                  <a:cubicBezTo>
                    <a:pt x="136" y="857"/>
                    <a:pt x="136" y="857"/>
                    <a:pt x="136" y="857"/>
                  </a:cubicBezTo>
                  <a:cubicBezTo>
                    <a:pt x="142" y="869"/>
                    <a:pt x="142" y="869"/>
                    <a:pt x="142" y="869"/>
                  </a:cubicBezTo>
                  <a:cubicBezTo>
                    <a:pt x="149" y="864"/>
                    <a:pt x="149" y="864"/>
                    <a:pt x="149" y="864"/>
                  </a:cubicBezTo>
                  <a:cubicBezTo>
                    <a:pt x="182" y="884"/>
                    <a:pt x="182" y="884"/>
                    <a:pt x="182" y="884"/>
                  </a:cubicBezTo>
                  <a:cubicBezTo>
                    <a:pt x="228" y="882"/>
                    <a:pt x="228" y="882"/>
                    <a:pt x="228" y="882"/>
                  </a:cubicBezTo>
                  <a:cubicBezTo>
                    <a:pt x="228" y="882"/>
                    <a:pt x="230" y="909"/>
                    <a:pt x="239" y="912"/>
                  </a:cubicBezTo>
                  <a:cubicBezTo>
                    <a:pt x="248" y="915"/>
                    <a:pt x="277" y="946"/>
                    <a:pt x="277" y="946"/>
                  </a:cubicBezTo>
                  <a:cubicBezTo>
                    <a:pt x="293" y="936"/>
                    <a:pt x="293" y="943"/>
                    <a:pt x="293" y="943"/>
                  </a:cubicBezTo>
                  <a:cubicBezTo>
                    <a:pt x="293" y="943"/>
                    <a:pt x="309" y="946"/>
                    <a:pt x="306" y="942"/>
                  </a:cubicBezTo>
                  <a:cubicBezTo>
                    <a:pt x="307" y="941"/>
                    <a:pt x="308" y="940"/>
                    <a:pt x="310" y="940"/>
                  </a:cubicBezTo>
                  <a:cubicBezTo>
                    <a:pt x="310" y="936"/>
                    <a:pt x="309" y="934"/>
                    <a:pt x="309" y="934"/>
                  </a:cubicBezTo>
                  <a:lnTo>
                    <a:pt x="331" y="869"/>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10" name="Rhône-Alpes" descr="© INSCALE GmbH, 05.05.2010&#10;http://www.presentationload.com/">
              <a:extLst>
                <a:ext uri="{FF2B5EF4-FFF2-40B4-BE49-F238E27FC236}">
                  <a16:creationId xmlns:a16="http://schemas.microsoft.com/office/drawing/2014/main" id="{C96232F3-AA0D-4686-B8F3-177F16EC3D67}"/>
                </a:ext>
              </a:extLst>
            </p:cNvPr>
            <p:cNvSpPr>
              <a:spLocks/>
            </p:cNvSpPr>
            <p:nvPr/>
          </p:nvSpPr>
          <p:spPr bwMode="gray">
            <a:xfrm>
              <a:off x="2094" y="1710"/>
              <a:ext cx="833" cy="840"/>
            </a:xfrm>
            <a:custGeom>
              <a:avLst/>
              <a:gdLst/>
              <a:ahLst/>
              <a:cxnLst>
                <a:cxn ang="0">
                  <a:pos x="92" y="696"/>
                </a:cxn>
                <a:cxn ang="0">
                  <a:pos x="136" y="744"/>
                </a:cxn>
                <a:cxn ang="0">
                  <a:pos x="170" y="728"/>
                </a:cxn>
                <a:cxn ang="0">
                  <a:pos x="228" y="735"/>
                </a:cxn>
                <a:cxn ang="0">
                  <a:pos x="318" y="724"/>
                </a:cxn>
                <a:cxn ang="0">
                  <a:pos x="341" y="746"/>
                </a:cxn>
                <a:cxn ang="0">
                  <a:pos x="386" y="752"/>
                </a:cxn>
                <a:cxn ang="0">
                  <a:pos x="416" y="778"/>
                </a:cxn>
                <a:cxn ang="0">
                  <a:pos x="462" y="752"/>
                </a:cxn>
                <a:cxn ang="0">
                  <a:pos x="414" y="708"/>
                </a:cxn>
                <a:cxn ang="0">
                  <a:pos x="406" y="670"/>
                </a:cxn>
                <a:cxn ang="0">
                  <a:pos x="453" y="650"/>
                </a:cxn>
                <a:cxn ang="0">
                  <a:pos x="486" y="590"/>
                </a:cxn>
                <a:cxn ang="0">
                  <a:pos x="541" y="546"/>
                </a:cxn>
                <a:cxn ang="0">
                  <a:pos x="572" y="487"/>
                </a:cxn>
                <a:cxn ang="0">
                  <a:pos x="604" y="452"/>
                </a:cxn>
                <a:cxn ang="0">
                  <a:pos x="632" y="458"/>
                </a:cxn>
                <a:cxn ang="0">
                  <a:pos x="685" y="426"/>
                </a:cxn>
                <a:cxn ang="0">
                  <a:pos x="772" y="342"/>
                </a:cxn>
                <a:cxn ang="0">
                  <a:pos x="686" y="232"/>
                </a:cxn>
                <a:cxn ang="0">
                  <a:pos x="706" y="121"/>
                </a:cxn>
                <a:cxn ang="0">
                  <a:pos x="684" y="108"/>
                </a:cxn>
                <a:cxn ang="0">
                  <a:pos x="670" y="33"/>
                </a:cxn>
                <a:cxn ang="0">
                  <a:pos x="611" y="0"/>
                </a:cxn>
                <a:cxn ang="0">
                  <a:pos x="560" y="31"/>
                </a:cxn>
                <a:cxn ang="0">
                  <a:pos x="569" y="68"/>
                </a:cxn>
                <a:cxn ang="0">
                  <a:pos x="517" y="99"/>
                </a:cxn>
                <a:cxn ang="0">
                  <a:pos x="512" y="67"/>
                </a:cxn>
                <a:cxn ang="0">
                  <a:pos x="534" y="29"/>
                </a:cxn>
                <a:cxn ang="0">
                  <a:pos x="441" y="74"/>
                </a:cxn>
                <a:cxn ang="0">
                  <a:pos x="388" y="79"/>
                </a:cxn>
                <a:cxn ang="0">
                  <a:pos x="350" y="50"/>
                </a:cxn>
                <a:cxn ang="0">
                  <a:pos x="326" y="16"/>
                </a:cxn>
                <a:cxn ang="0">
                  <a:pos x="237" y="126"/>
                </a:cxn>
                <a:cxn ang="0">
                  <a:pos x="217" y="100"/>
                </a:cxn>
                <a:cxn ang="0">
                  <a:pos x="188" y="88"/>
                </a:cxn>
                <a:cxn ang="0">
                  <a:pos x="152" y="88"/>
                </a:cxn>
                <a:cxn ang="0">
                  <a:pos x="125" y="136"/>
                </a:cxn>
                <a:cxn ang="0">
                  <a:pos x="86" y="126"/>
                </a:cxn>
                <a:cxn ang="0">
                  <a:pos x="42" y="119"/>
                </a:cxn>
                <a:cxn ang="0">
                  <a:pos x="21" y="124"/>
                </a:cxn>
                <a:cxn ang="0">
                  <a:pos x="25" y="187"/>
                </a:cxn>
                <a:cxn ang="0">
                  <a:pos x="12" y="224"/>
                </a:cxn>
                <a:cxn ang="0">
                  <a:pos x="29" y="311"/>
                </a:cxn>
                <a:cxn ang="0">
                  <a:pos x="50" y="403"/>
                </a:cxn>
                <a:cxn ang="0">
                  <a:pos x="72" y="396"/>
                </a:cxn>
                <a:cxn ang="0">
                  <a:pos x="90" y="390"/>
                </a:cxn>
                <a:cxn ang="0">
                  <a:pos x="150" y="406"/>
                </a:cxn>
                <a:cxn ang="0">
                  <a:pos x="171" y="469"/>
                </a:cxn>
                <a:cxn ang="0">
                  <a:pos x="157" y="458"/>
                </a:cxn>
                <a:cxn ang="0">
                  <a:pos x="157" y="495"/>
                </a:cxn>
                <a:cxn ang="0">
                  <a:pos x="122" y="519"/>
                </a:cxn>
                <a:cxn ang="0">
                  <a:pos x="81" y="554"/>
                </a:cxn>
                <a:cxn ang="0">
                  <a:pos x="41" y="588"/>
                </a:cxn>
              </a:cxnLst>
              <a:rect l="0" t="0" r="r" b="b"/>
              <a:pathLst>
                <a:path w="772" h="778">
                  <a:moveTo>
                    <a:pt x="68" y="647"/>
                  </a:moveTo>
                  <a:cubicBezTo>
                    <a:pt x="72" y="678"/>
                    <a:pt x="72" y="678"/>
                    <a:pt x="72" y="678"/>
                  </a:cubicBezTo>
                  <a:cubicBezTo>
                    <a:pt x="92" y="696"/>
                    <a:pt x="92" y="696"/>
                    <a:pt x="92" y="696"/>
                  </a:cubicBezTo>
                  <a:cubicBezTo>
                    <a:pt x="85" y="727"/>
                    <a:pt x="85" y="727"/>
                    <a:pt x="85" y="727"/>
                  </a:cubicBezTo>
                  <a:cubicBezTo>
                    <a:pt x="104" y="716"/>
                    <a:pt x="104" y="716"/>
                    <a:pt x="104" y="716"/>
                  </a:cubicBezTo>
                  <a:cubicBezTo>
                    <a:pt x="136" y="744"/>
                    <a:pt x="136" y="744"/>
                    <a:pt x="136" y="744"/>
                  </a:cubicBezTo>
                  <a:cubicBezTo>
                    <a:pt x="156" y="714"/>
                    <a:pt x="156" y="714"/>
                    <a:pt x="156" y="714"/>
                  </a:cubicBezTo>
                  <a:cubicBezTo>
                    <a:pt x="170" y="714"/>
                    <a:pt x="170" y="714"/>
                    <a:pt x="170" y="714"/>
                  </a:cubicBezTo>
                  <a:cubicBezTo>
                    <a:pt x="170" y="728"/>
                    <a:pt x="170" y="728"/>
                    <a:pt x="170" y="728"/>
                  </a:cubicBezTo>
                  <a:cubicBezTo>
                    <a:pt x="177" y="728"/>
                    <a:pt x="177" y="728"/>
                    <a:pt x="177" y="728"/>
                  </a:cubicBezTo>
                  <a:cubicBezTo>
                    <a:pt x="185" y="716"/>
                    <a:pt x="185" y="716"/>
                    <a:pt x="185" y="716"/>
                  </a:cubicBezTo>
                  <a:cubicBezTo>
                    <a:pt x="228" y="735"/>
                    <a:pt x="228" y="735"/>
                    <a:pt x="228" y="735"/>
                  </a:cubicBezTo>
                  <a:cubicBezTo>
                    <a:pt x="228" y="720"/>
                    <a:pt x="228" y="720"/>
                    <a:pt x="228" y="720"/>
                  </a:cubicBezTo>
                  <a:cubicBezTo>
                    <a:pt x="228" y="720"/>
                    <a:pt x="262" y="712"/>
                    <a:pt x="264" y="748"/>
                  </a:cubicBezTo>
                  <a:cubicBezTo>
                    <a:pt x="318" y="724"/>
                    <a:pt x="318" y="724"/>
                    <a:pt x="318" y="724"/>
                  </a:cubicBezTo>
                  <a:cubicBezTo>
                    <a:pt x="329" y="728"/>
                    <a:pt x="329" y="728"/>
                    <a:pt x="329" y="728"/>
                  </a:cubicBezTo>
                  <a:cubicBezTo>
                    <a:pt x="341" y="722"/>
                    <a:pt x="341" y="722"/>
                    <a:pt x="341" y="722"/>
                  </a:cubicBezTo>
                  <a:cubicBezTo>
                    <a:pt x="341" y="746"/>
                    <a:pt x="341" y="746"/>
                    <a:pt x="341" y="746"/>
                  </a:cubicBezTo>
                  <a:cubicBezTo>
                    <a:pt x="366" y="754"/>
                    <a:pt x="366" y="754"/>
                    <a:pt x="366" y="754"/>
                  </a:cubicBezTo>
                  <a:cubicBezTo>
                    <a:pt x="365" y="747"/>
                    <a:pt x="365" y="747"/>
                    <a:pt x="365" y="747"/>
                  </a:cubicBezTo>
                  <a:cubicBezTo>
                    <a:pt x="386" y="752"/>
                    <a:pt x="386" y="752"/>
                    <a:pt x="386" y="752"/>
                  </a:cubicBezTo>
                  <a:cubicBezTo>
                    <a:pt x="386" y="752"/>
                    <a:pt x="393" y="756"/>
                    <a:pt x="393" y="766"/>
                  </a:cubicBezTo>
                  <a:cubicBezTo>
                    <a:pt x="393" y="775"/>
                    <a:pt x="406" y="771"/>
                    <a:pt x="406" y="771"/>
                  </a:cubicBezTo>
                  <a:cubicBezTo>
                    <a:pt x="416" y="778"/>
                    <a:pt x="416" y="778"/>
                    <a:pt x="416" y="778"/>
                  </a:cubicBezTo>
                  <a:cubicBezTo>
                    <a:pt x="436" y="766"/>
                    <a:pt x="436" y="766"/>
                    <a:pt x="436" y="766"/>
                  </a:cubicBezTo>
                  <a:cubicBezTo>
                    <a:pt x="436" y="766"/>
                    <a:pt x="426" y="755"/>
                    <a:pt x="450" y="763"/>
                  </a:cubicBezTo>
                  <a:cubicBezTo>
                    <a:pt x="448" y="766"/>
                    <a:pt x="462" y="752"/>
                    <a:pt x="462" y="752"/>
                  </a:cubicBezTo>
                  <a:cubicBezTo>
                    <a:pt x="462" y="730"/>
                    <a:pt x="462" y="730"/>
                    <a:pt x="462" y="730"/>
                  </a:cubicBezTo>
                  <a:cubicBezTo>
                    <a:pt x="445" y="710"/>
                    <a:pt x="445" y="710"/>
                    <a:pt x="445" y="710"/>
                  </a:cubicBezTo>
                  <a:cubicBezTo>
                    <a:pt x="414" y="708"/>
                    <a:pt x="414" y="708"/>
                    <a:pt x="414" y="708"/>
                  </a:cubicBezTo>
                  <a:cubicBezTo>
                    <a:pt x="398" y="683"/>
                    <a:pt x="398" y="683"/>
                    <a:pt x="398" y="683"/>
                  </a:cubicBezTo>
                  <a:cubicBezTo>
                    <a:pt x="414" y="682"/>
                    <a:pt x="414" y="682"/>
                    <a:pt x="414" y="682"/>
                  </a:cubicBezTo>
                  <a:cubicBezTo>
                    <a:pt x="406" y="670"/>
                    <a:pt x="406" y="670"/>
                    <a:pt x="406" y="670"/>
                  </a:cubicBezTo>
                  <a:cubicBezTo>
                    <a:pt x="409" y="658"/>
                    <a:pt x="409" y="658"/>
                    <a:pt x="409" y="658"/>
                  </a:cubicBezTo>
                  <a:cubicBezTo>
                    <a:pt x="438" y="662"/>
                    <a:pt x="438" y="662"/>
                    <a:pt x="438" y="662"/>
                  </a:cubicBezTo>
                  <a:cubicBezTo>
                    <a:pt x="453" y="650"/>
                    <a:pt x="453" y="650"/>
                    <a:pt x="453" y="650"/>
                  </a:cubicBezTo>
                  <a:cubicBezTo>
                    <a:pt x="436" y="640"/>
                    <a:pt x="436" y="640"/>
                    <a:pt x="436" y="640"/>
                  </a:cubicBezTo>
                  <a:cubicBezTo>
                    <a:pt x="449" y="614"/>
                    <a:pt x="449" y="614"/>
                    <a:pt x="449" y="614"/>
                  </a:cubicBezTo>
                  <a:cubicBezTo>
                    <a:pt x="449" y="614"/>
                    <a:pt x="490" y="599"/>
                    <a:pt x="486" y="590"/>
                  </a:cubicBezTo>
                  <a:cubicBezTo>
                    <a:pt x="482" y="580"/>
                    <a:pt x="477" y="568"/>
                    <a:pt x="489" y="568"/>
                  </a:cubicBezTo>
                  <a:cubicBezTo>
                    <a:pt x="501" y="568"/>
                    <a:pt x="525" y="562"/>
                    <a:pt x="525" y="562"/>
                  </a:cubicBezTo>
                  <a:cubicBezTo>
                    <a:pt x="525" y="562"/>
                    <a:pt x="534" y="539"/>
                    <a:pt x="541" y="546"/>
                  </a:cubicBezTo>
                  <a:cubicBezTo>
                    <a:pt x="548" y="552"/>
                    <a:pt x="538" y="532"/>
                    <a:pt x="604" y="534"/>
                  </a:cubicBezTo>
                  <a:cubicBezTo>
                    <a:pt x="597" y="511"/>
                    <a:pt x="596" y="492"/>
                    <a:pt x="596" y="492"/>
                  </a:cubicBezTo>
                  <a:cubicBezTo>
                    <a:pt x="596" y="492"/>
                    <a:pt x="572" y="498"/>
                    <a:pt x="572" y="487"/>
                  </a:cubicBezTo>
                  <a:cubicBezTo>
                    <a:pt x="572" y="476"/>
                    <a:pt x="577" y="463"/>
                    <a:pt x="577" y="463"/>
                  </a:cubicBezTo>
                  <a:cubicBezTo>
                    <a:pt x="574" y="455"/>
                    <a:pt x="574" y="455"/>
                    <a:pt x="574" y="455"/>
                  </a:cubicBezTo>
                  <a:cubicBezTo>
                    <a:pt x="604" y="452"/>
                    <a:pt x="604" y="452"/>
                    <a:pt x="604" y="452"/>
                  </a:cubicBezTo>
                  <a:cubicBezTo>
                    <a:pt x="605" y="466"/>
                    <a:pt x="605" y="466"/>
                    <a:pt x="605" y="466"/>
                  </a:cubicBezTo>
                  <a:cubicBezTo>
                    <a:pt x="629" y="466"/>
                    <a:pt x="629" y="466"/>
                    <a:pt x="629" y="466"/>
                  </a:cubicBezTo>
                  <a:cubicBezTo>
                    <a:pt x="632" y="458"/>
                    <a:pt x="632" y="458"/>
                    <a:pt x="632" y="458"/>
                  </a:cubicBezTo>
                  <a:cubicBezTo>
                    <a:pt x="656" y="454"/>
                    <a:pt x="656" y="454"/>
                    <a:pt x="656" y="454"/>
                  </a:cubicBezTo>
                  <a:cubicBezTo>
                    <a:pt x="648" y="442"/>
                    <a:pt x="660" y="431"/>
                    <a:pt x="660" y="431"/>
                  </a:cubicBezTo>
                  <a:cubicBezTo>
                    <a:pt x="670" y="445"/>
                    <a:pt x="685" y="426"/>
                    <a:pt x="685" y="426"/>
                  </a:cubicBezTo>
                  <a:cubicBezTo>
                    <a:pt x="704" y="448"/>
                    <a:pt x="725" y="407"/>
                    <a:pt x="725" y="407"/>
                  </a:cubicBezTo>
                  <a:cubicBezTo>
                    <a:pt x="725" y="407"/>
                    <a:pt x="757" y="400"/>
                    <a:pt x="758" y="394"/>
                  </a:cubicBezTo>
                  <a:cubicBezTo>
                    <a:pt x="755" y="371"/>
                    <a:pt x="772" y="342"/>
                    <a:pt x="772" y="342"/>
                  </a:cubicBezTo>
                  <a:cubicBezTo>
                    <a:pt x="764" y="342"/>
                    <a:pt x="744" y="317"/>
                    <a:pt x="741" y="313"/>
                  </a:cubicBezTo>
                  <a:cubicBezTo>
                    <a:pt x="705" y="284"/>
                    <a:pt x="737" y="269"/>
                    <a:pt x="733" y="267"/>
                  </a:cubicBezTo>
                  <a:cubicBezTo>
                    <a:pt x="704" y="274"/>
                    <a:pt x="688" y="235"/>
                    <a:pt x="686" y="232"/>
                  </a:cubicBezTo>
                  <a:cubicBezTo>
                    <a:pt x="678" y="230"/>
                    <a:pt x="684" y="206"/>
                    <a:pt x="684" y="200"/>
                  </a:cubicBezTo>
                  <a:cubicBezTo>
                    <a:pt x="698" y="224"/>
                    <a:pt x="737" y="172"/>
                    <a:pt x="737" y="172"/>
                  </a:cubicBezTo>
                  <a:cubicBezTo>
                    <a:pt x="706" y="121"/>
                    <a:pt x="706" y="121"/>
                    <a:pt x="706" y="121"/>
                  </a:cubicBezTo>
                  <a:cubicBezTo>
                    <a:pt x="701" y="129"/>
                    <a:pt x="701" y="129"/>
                    <a:pt x="701" y="129"/>
                  </a:cubicBezTo>
                  <a:cubicBezTo>
                    <a:pt x="698" y="120"/>
                    <a:pt x="698" y="120"/>
                    <a:pt x="698" y="120"/>
                  </a:cubicBezTo>
                  <a:cubicBezTo>
                    <a:pt x="706" y="98"/>
                    <a:pt x="684" y="108"/>
                    <a:pt x="684" y="108"/>
                  </a:cubicBezTo>
                  <a:cubicBezTo>
                    <a:pt x="675" y="97"/>
                    <a:pt x="675" y="97"/>
                    <a:pt x="675" y="97"/>
                  </a:cubicBezTo>
                  <a:cubicBezTo>
                    <a:pt x="691" y="55"/>
                    <a:pt x="691" y="55"/>
                    <a:pt x="691" y="55"/>
                  </a:cubicBezTo>
                  <a:cubicBezTo>
                    <a:pt x="670" y="33"/>
                    <a:pt x="670" y="33"/>
                    <a:pt x="670" y="33"/>
                  </a:cubicBezTo>
                  <a:cubicBezTo>
                    <a:pt x="680" y="10"/>
                    <a:pt x="680" y="10"/>
                    <a:pt x="680" y="10"/>
                  </a:cubicBezTo>
                  <a:cubicBezTo>
                    <a:pt x="674" y="3"/>
                    <a:pt x="674" y="3"/>
                    <a:pt x="674" y="3"/>
                  </a:cubicBezTo>
                  <a:cubicBezTo>
                    <a:pt x="611" y="0"/>
                    <a:pt x="611" y="0"/>
                    <a:pt x="611" y="0"/>
                  </a:cubicBezTo>
                  <a:cubicBezTo>
                    <a:pt x="593" y="12"/>
                    <a:pt x="593" y="12"/>
                    <a:pt x="593" y="12"/>
                  </a:cubicBezTo>
                  <a:cubicBezTo>
                    <a:pt x="577" y="12"/>
                    <a:pt x="577" y="12"/>
                    <a:pt x="577" y="12"/>
                  </a:cubicBezTo>
                  <a:cubicBezTo>
                    <a:pt x="577" y="12"/>
                    <a:pt x="570" y="21"/>
                    <a:pt x="560" y="31"/>
                  </a:cubicBezTo>
                  <a:cubicBezTo>
                    <a:pt x="550" y="30"/>
                    <a:pt x="553" y="57"/>
                    <a:pt x="553" y="57"/>
                  </a:cubicBezTo>
                  <a:cubicBezTo>
                    <a:pt x="559" y="63"/>
                    <a:pt x="559" y="63"/>
                    <a:pt x="559" y="63"/>
                  </a:cubicBezTo>
                  <a:cubicBezTo>
                    <a:pt x="559" y="63"/>
                    <a:pt x="564" y="60"/>
                    <a:pt x="569" y="68"/>
                  </a:cubicBezTo>
                  <a:cubicBezTo>
                    <a:pt x="574" y="76"/>
                    <a:pt x="558" y="76"/>
                    <a:pt x="558" y="76"/>
                  </a:cubicBezTo>
                  <a:cubicBezTo>
                    <a:pt x="527" y="100"/>
                    <a:pt x="527" y="100"/>
                    <a:pt x="527" y="100"/>
                  </a:cubicBezTo>
                  <a:cubicBezTo>
                    <a:pt x="521" y="93"/>
                    <a:pt x="517" y="99"/>
                    <a:pt x="517" y="99"/>
                  </a:cubicBezTo>
                  <a:cubicBezTo>
                    <a:pt x="499" y="98"/>
                    <a:pt x="499" y="98"/>
                    <a:pt x="499" y="98"/>
                  </a:cubicBezTo>
                  <a:cubicBezTo>
                    <a:pt x="497" y="82"/>
                    <a:pt x="497" y="82"/>
                    <a:pt x="497" y="82"/>
                  </a:cubicBezTo>
                  <a:cubicBezTo>
                    <a:pt x="512" y="67"/>
                    <a:pt x="512" y="67"/>
                    <a:pt x="512" y="67"/>
                  </a:cubicBezTo>
                  <a:cubicBezTo>
                    <a:pt x="525" y="66"/>
                    <a:pt x="525" y="66"/>
                    <a:pt x="525" y="66"/>
                  </a:cubicBezTo>
                  <a:cubicBezTo>
                    <a:pt x="525" y="48"/>
                    <a:pt x="525" y="48"/>
                    <a:pt x="525" y="48"/>
                  </a:cubicBezTo>
                  <a:cubicBezTo>
                    <a:pt x="534" y="41"/>
                    <a:pt x="535" y="34"/>
                    <a:pt x="534" y="29"/>
                  </a:cubicBezTo>
                  <a:cubicBezTo>
                    <a:pt x="477" y="88"/>
                    <a:pt x="477" y="88"/>
                    <a:pt x="477" y="88"/>
                  </a:cubicBezTo>
                  <a:cubicBezTo>
                    <a:pt x="445" y="90"/>
                    <a:pt x="445" y="90"/>
                    <a:pt x="445" y="90"/>
                  </a:cubicBezTo>
                  <a:cubicBezTo>
                    <a:pt x="441" y="74"/>
                    <a:pt x="441" y="74"/>
                    <a:pt x="441" y="74"/>
                  </a:cubicBezTo>
                  <a:cubicBezTo>
                    <a:pt x="441" y="74"/>
                    <a:pt x="421" y="71"/>
                    <a:pt x="425" y="64"/>
                  </a:cubicBezTo>
                  <a:cubicBezTo>
                    <a:pt x="408" y="103"/>
                    <a:pt x="385" y="92"/>
                    <a:pt x="385" y="92"/>
                  </a:cubicBezTo>
                  <a:cubicBezTo>
                    <a:pt x="388" y="79"/>
                    <a:pt x="388" y="79"/>
                    <a:pt x="388" y="79"/>
                  </a:cubicBezTo>
                  <a:cubicBezTo>
                    <a:pt x="364" y="68"/>
                    <a:pt x="364" y="68"/>
                    <a:pt x="364" y="68"/>
                  </a:cubicBezTo>
                  <a:cubicBezTo>
                    <a:pt x="364" y="55"/>
                    <a:pt x="364" y="55"/>
                    <a:pt x="364" y="55"/>
                  </a:cubicBezTo>
                  <a:cubicBezTo>
                    <a:pt x="350" y="50"/>
                    <a:pt x="350" y="50"/>
                    <a:pt x="350" y="50"/>
                  </a:cubicBezTo>
                  <a:cubicBezTo>
                    <a:pt x="352" y="36"/>
                    <a:pt x="352" y="36"/>
                    <a:pt x="352" y="36"/>
                  </a:cubicBezTo>
                  <a:cubicBezTo>
                    <a:pt x="344" y="35"/>
                    <a:pt x="336" y="34"/>
                    <a:pt x="334" y="34"/>
                  </a:cubicBezTo>
                  <a:cubicBezTo>
                    <a:pt x="330" y="34"/>
                    <a:pt x="329" y="22"/>
                    <a:pt x="326" y="16"/>
                  </a:cubicBezTo>
                  <a:cubicBezTo>
                    <a:pt x="324" y="11"/>
                    <a:pt x="309" y="24"/>
                    <a:pt x="296" y="24"/>
                  </a:cubicBezTo>
                  <a:cubicBezTo>
                    <a:pt x="282" y="24"/>
                    <a:pt x="265" y="18"/>
                    <a:pt x="265" y="18"/>
                  </a:cubicBezTo>
                  <a:cubicBezTo>
                    <a:pt x="237" y="126"/>
                    <a:pt x="237" y="126"/>
                    <a:pt x="237" y="126"/>
                  </a:cubicBezTo>
                  <a:cubicBezTo>
                    <a:pt x="226" y="124"/>
                    <a:pt x="226" y="124"/>
                    <a:pt x="226" y="124"/>
                  </a:cubicBezTo>
                  <a:cubicBezTo>
                    <a:pt x="225" y="108"/>
                    <a:pt x="225" y="108"/>
                    <a:pt x="225" y="108"/>
                  </a:cubicBezTo>
                  <a:cubicBezTo>
                    <a:pt x="217" y="100"/>
                    <a:pt x="217" y="100"/>
                    <a:pt x="217" y="100"/>
                  </a:cubicBezTo>
                  <a:cubicBezTo>
                    <a:pt x="217" y="100"/>
                    <a:pt x="218" y="90"/>
                    <a:pt x="208" y="86"/>
                  </a:cubicBezTo>
                  <a:cubicBezTo>
                    <a:pt x="197" y="82"/>
                    <a:pt x="198" y="98"/>
                    <a:pt x="193" y="98"/>
                  </a:cubicBezTo>
                  <a:cubicBezTo>
                    <a:pt x="188" y="98"/>
                    <a:pt x="188" y="88"/>
                    <a:pt x="188" y="88"/>
                  </a:cubicBezTo>
                  <a:cubicBezTo>
                    <a:pt x="173" y="100"/>
                    <a:pt x="173" y="100"/>
                    <a:pt x="173" y="100"/>
                  </a:cubicBezTo>
                  <a:cubicBezTo>
                    <a:pt x="164" y="87"/>
                    <a:pt x="164" y="87"/>
                    <a:pt x="164" y="87"/>
                  </a:cubicBezTo>
                  <a:cubicBezTo>
                    <a:pt x="152" y="88"/>
                    <a:pt x="152" y="88"/>
                    <a:pt x="152" y="88"/>
                  </a:cubicBezTo>
                  <a:cubicBezTo>
                    <a:pt x="148" y="127"/>
                    <a:pt x="148" y="127"/>
                    <a:pt x="148" y="127"/>
                  </a:cubicBezTo>
                  <a:cubicBezTo>
                    <a:pt x="148" y="127"/>
                    <a:pt x="137" y="128"/>
                    <a:pt x="132" y="128"/>
                  </a:cubicBezTo>
                  <a:cubicBezTo>
                    <a:pt x="126" y="128"/>
                    <a:pt x="132" y="135"/>
                    <a:pt x="125" y="136"/>
                  </a:cubicBezTo>
                  <a:cubicBezTo>
                    <a:pt x="120" y="137"/>
                    <a:pt x="113" y="129"/>
                    <a:pt x="110" y="125"/>
                  </a:cubicBezTo>
                  <a:cubicBezTo>
                    <a:pt x="111" y="127"/>
                    <a:pt x="111" y="129"/>
                    <a:pt x="101" y="128"/>
                  </a:cubicBezTo>
                  <a:cubicBezTo>
                    <a:pt x="86" y="127"/>
                    <a:pt x="86" y="126"/>
                    <a:pt x="86" y="126"/>
                  </a:cubicBezTo>
                  <a:cubicBezTo>
                    <a:pt x="62" y="132"/>
                    <a:pt x="62" y="132"/>
                    <a:pt x="62" y="132"/>
                  </a:cubicBezTo>
                  <a:cubicBezTo>
                    <a:pt x="56" y="119"/>
                    <a:pt x="56" y="119"/>
                    <a:pt x="56" y="119"/>
                  </a:cubicBezTo>
                  <a:cubicBezTo>
                    <a:pt x="42" y="119"/>
                    <a:pt x="42" y="119"/>
                    <a:pt x="42" y="119"/>
                  </a:cubicBezTo>
                  <a:cubicBezTo>
                    <a:pt x="41" y="100"/>
                    <a:pt x="41" y="100"/>
                    <a:pt x="41" y="100"/>
                  </a:cubicBezTo>
                  <a:cubicBezTo>
                    <a:pt x="16" y="111"/>
                    <a:pt x="16" y="111"/>
                    <a:pt x="16" y="111"/>
                  </a:cubicBezTo>
                  <a:cubicBezTo>
                    <a:pt x="21" y="124"/>
                    <a:pt x="21" y="124"/>
                    <a:pt x="21" y="124"/>
                  </a:cubicBezTo>
                  <a:cubicBezTo>
                    <a:pt x="17" y="139"/>
                    <a:pt x="17" y="139"/>
                    <a:pt x="17" y="139"/>
                  </a:cubicBezTo>
                  <a:cubicBezTo>
                    <a:pt x="24" y="152"/>
                    <a:pt x="24" y="152"/>
                    <a:pt x="24" y="152"/>
                  </a:cubicBezTo>
                  <a:cubicBezTo>
                    <a:pt x="25" y="187"/>
                    <a:pt x="25" y="187"/>
                    <a:pt x="25" y="187"/>
                  </a:cubicBezTo>
                  <a:cubicBezTo>
                    <a:pt x="0" y="196"/>
                    <a:pt x="0" y="196"/>
                    <a:pt x="0" y="196"/>
                  </a:cubicBezTo>
                  <a:cubicBezTo>
                    <a:pt x="0" y="208"/>
                    <a:pt x="0" y="208"/>
                    <a:pt x="0" y="208"/>
                  </a:cubicBezTo>
                  <a:cubicBezTo>
                    <a:pt x="12" y="224"/>
                    <a:pt x="12" y="224"/>
                    <a:pt x="12" y="224"/>
                  </a:cubicBezTo>
                  <a:cubicBezTo>
                    <a:pt x="4" y="227"/>
                    <a:pt x="4" y="227"/>
                    <a:pt x="4" y="227"/>
                  </a:cubicBezTo>
                  <a:cubicBezTo>
                    <a:pt x="2" y="255"/>
                    <a:pt x="2" y="255"/>
                    <a:pt x="2" y="255"/>
                  </a:cubicBezTo>
                  <a:cubicBezTo>
                    <a:pt x="2" y="255"/>
                    <a:pt x="25" y="291"/>
                    <a:pt x="29" y="311"/>
                  </a:cubicBezTo>
                  <a:cubicBezTo>
                    <a:pt x="34" y="311"/>
                    <a:pt x="74" y="347"/>
                    <a:pt x="62" y="367"/>
                  </a:cubicBezTo>
                  <a:cubicBezTo>
                    <a:pt x="60" y="374"/>
                    <a:pt x="46" y="380"/>
                    <a:pt x="46" y="380"/>
                  </a:cubicBezTo>
                  <a:cubicBezTo>
                    <a:pt x="50" y="403"/>
                    <a:pt x="50" y="403"/>
                    <a:pt x="50" y="403"/>
                  </a:cubicBezTo>
                  <a:cubicBezTo>
                    <a:pt x="56" y="384"/>
                    <a:pt x="56" y="384"/>
                    <a:pt x="56" y="384"/>
                  </a:cubicBezTo>
                  <a:cubicBezTo>
                    <a:pt x="68" y="384"/>
                    <a:pt x="68" y="384"/>
                    <a:pt x="68" y="384"/>
                  </a:cubicBezTo>
                  <a:cubicBezTo>
                    <a:pt x="72" y="396"/>
                    <a:pt x="72" y="396"/>
                    <a:pt x="72" y="396"/>
                  </a:cubicBezTo>
                  <a:cubicBezTo>
                    <a:pt x="82" y="391"/>
                    <a:pt x="82" y="391"/>
                    <a:pt x="82" y="391"/>
                  </a:cubicBezTo>
                  <a:cubicBezTo>
                    <a:pt x="88" y="398"/>
                    <a:pt x="88" y="398"/>
                    <a:pt x="88" y="398"/>
                  </a:cubicBezTo>
                  <a:cubicBezTo>
                    <a:pt x="90" y="390"/>
                    <a:pt x="90" y="390"/>
                    <a:pt x="90" y="390"/>
                  </a:cubicBezTo>
                  <a:cubicBezTo>
                    <a:pt x="90" y="390"/>
                    <a:pt x="120" y="375"/>
                    <a:pt x="126" y="384"/>
                  </a:cubicBezTo>
                  <a:cubicBezTo>
                    <a:pt x="133" y="394"/>
                    <a:pt x="158" y="391"/>
                    <a:pt x="145" y="402"/>
                  </a:cubicBezTo>
                  <a:cubicBezTo>
                    <a:pt x="150" y="406"/>
                    <a:pt x="150" y="406"/>
                    <a:pt x="150" y="406"/>
                  </a:cubicBezTo>
                  <a:cubicBezTo>
                    <a:pt x="157" y="424"/>
                    <a:pt x="157" y="424"/>
                    <a:pt x="157" y="424"/>
                  </a:cubicBezTo>
                  <a:cubicBezTo>
                    <a:pt x="157" y="424"/>
                    <a:pt x="188" y="403"/>
                    <a:pt x="174" y="452"/>
                  </a:cubicBezTo>
                  <a:cubicBezTo>
                    <a:pt x="170" y="464"/>
                    <a:pt x="170" y="468"/>
                    <a:pt x="171" y="469"/>
                  </a:cubicBezTo>
                  <a:cubicBezTo>
                    <a:pt x="172" y="470"/>
                    <a:pt x="172" y="470"/>
                    <a:pt x="172" y="470"/>
                  </a:cubicBezTo>
                  <a:cubicBezTo>
                    <a:pt x="172" y="470"/>
                    <a:pt x="171" y="470"/>
                    <a:pt x="171" y="469"/>
                  </a:cubicBezTo>
                  <a:cubicBezTo>
                    <a:pt x="157" y="458"/>
                    <a:pt x="157" y="458"/>
                    <a:pt x="157" y="458"/>
                  </a:cubicBezTo>
                  <a:cubicBezTo>
                    <a:pt x="160" y="470"/>
                    <a:pt x="160" y="470"/>
                    <a:pt x="160" y="470"/>
                  </a:cubicBezTo>
                  <a:cubicBezTo>
                    <a:pt x="160" y="470"/>
                    <a:pt x="150" y="475"/>
                    <a:pt x="150" y="479"/>
                  </a:cubicBezTo>
                  <a:cubicBezTo>
                    <a:pt x="150" y="483"/>
                    <a:pt x="157" y="495"/>
                    <a:pt x="157" y="495"/>
                  </a:cubicBezTo>
                  <a:cubicBezTo>
                    <a:pt x="142" y="495"/>
                    <a:pt x="142" y="495"/>
                    <a:pt x="142" y="495"/>
                  </a:cubicBezTo>
                  <a:cubicBezTo>
                    <a:pt x="142" y="515"/>
                    <a:pt x="142" y="515"/>
                    <a:pt x="142" y="515"/>
                  </a:cubicBezTo>
                  <a:cubicBezTo>
                    <a:pt x="122" y="519"/>
                    <a:pt x="122" y="519"/>
                    <a:pt x="122" y="519"/>
                  </a:cubicBezTo>
                  <a:cubicBezTo>
                    <a:pt x="110" y="547"/>
                    <a:pt x="110" y="547"/>
                    <a:pt x="110" y="547"/>
                  </a:cubicBezTo>
                  <a:cubicBezTo>
                    <a:pt x="82" y="548"/>
                    <a:pt x="82" y="548"/>
                    <a:pt x="82" y="548"/>
                  </a:cubicBezTo>
                  <a:cubicBezTo>
                    <a:pt x="81" y="554"/>
                    <a:pt x="81" y="554"/>
                    <a:pt x="81" y="554"/>
                  </a:cubicBezTo>
                  <a:cubicBezTo>
                    <a:pt x="62" y="563"/>
                    <a:pt x="62" y="563"/>
                    <a:pt x="62" y="563"/>
                  </a:cubicBezTo>
                  <a:cubicBezTo>
                    <a:pt x="62" y="579"/>
                    <a:pt x="62" y="579"/>
                    <a:pt x="62" y="579"/>
                  </a:cubicBezTo>
                  <a:cubicBezTo>
                    <a:pt x="41" y="588"/>
                    <a:pt x="41" y="588"/>
                    <a:pt x="41" y="588"/>
                  </a:cubicBezTo>
                  <a:cubicBezTo>
                    <a:pt x="54" y="640"/>
                    <a:pt x="54" y="640"/>
                    <a:pt x="54" y="640"/>
                  </a:cubicBezTo>
                  <a:lnTo>
                    <a:pt x="68" y="647"/>
                  </a:lnTo>
                  <a:close/>
                </a:path>
              </a:pathLst>
            </a:custGeom>
            <a:solidFill>
              <a:srgbClr val="F4F3F0"/>
            </a:solid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grpSp>
      <p:pic>
        <p:nvPicPr>
          <p:cNvPr id="59" name="Graphique 58" descr="Utilisateur">
            <a:extLst>
              <a:ext uri="{FF2B5EF4-FFF2-40B4-BE49-F238E27FC236}">
                <a16:creationId xmlns:a16="http://schemas.microsoft.com/office/drawing/2014/main" id="{BCF539CA-033C-4E53-AA11-C9F1D57FD99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62600" y="918286"/>
            <a:ext cx="343642" cy="343642"/>
          </a:xfrm>
          <a:prstGeom prst="rect">
            <a:avLst/>
          </a:prstGeom>
        </p:spPr>
      </p:pic>
      <p:pic>
        <p:nvPicPr>
          <p:cNvPr id="60" name="Graphique 59" descr="Enfants">
            <a:extLst>
              <a:ext uri="{FF2B5EF4-FFF2-40B4-BE49-F238E27FC236}">
                <a16:creationId xmlns:a16="http://schemas.microsoft.com/office/drawing/2014/main" id="{D039143E-4976-4C18-9C94-0BA53EE64FF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82720" y="929748"/>
            <a:ext cx="357605" cy="357605"/>
          </a:xfrm>
          <a:prstGeom prst="rect">
            <a:avLst/>
          </a:prstGeom>
        </p:spPr>
      </p:pic>
      <p:pic>
        <p:nvPicPr>
          <p:cNvPr id="61" name="Graphique 60" descr="Hôpital">
            <a:extLst>
              <a:ext uri="{FF2B5EF4-FFF2-40B4-BE49-F238E27FC236}">
                <a16:creationId xmlns:a16="http://schemas.microsoft.com/office/drawing/2014/main" id="{5A6293E0-A850-432A-AEC2-55244F91F50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01315" y="898323"/>
            <a:ext cx="377667" cy="377667"/>
          </a:xfrm>
          <a:prstGeom prst="rect">
            <a:avLst/>
          </a:prstGeom>
        </p:spPr>
      </p:pic>
      <p:sp>
        <p:nvSpPr>
          <p:cNvPr id="71" name="ZoneTexte 70">
            <a:extLst>
              <a:ext uri="{FF2B5EF4-FFF2-40B4-BE49-F238E27FC236}">
                <a16:creationId xmlns:a16="http://schemas.microsoft.com/office/drawing/2014/main" id="{95275340-2C5E-4AB7-8968-428537133200}"/>
              </a:ext>
            </a:extLst>
          </p:cNvPr>
          <p:cNvSpPr txBox="1"/>
          <p:nvPr/>
        </p:nvSpPr>
        <p:spPr>
          <a:xfrm>
            <a:off x="3506076" y="959276"/>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ublic cible</a:t>
            </a:r>
          </a:p>
          <a:p>
            <a:pPr marL="171450" indent="-171450">
              <a:buFontTx/>
              <a:buChar char="-"/>
            </a:pPr>
            <a:endParaRPr lang="fr-FR" sz="1200">
              <a:solidFill>
                <a:srgbClr val="5F5F5F"/>
              </a:solidFill>
              <a:latin typeface="Tahoma"/>
            </a:endParaRPr>
          </a:p>
        </p:txBody>
      </p:sp>
      <p:sp>
        <p:nvSpPr>
          <p:cNvPr id="72" name="Rectangle 71">
            <a:extLst>
              <a:ext uri="{FF2B5EF4-FFF2-40B4-BE49-F238E27FC236}">
                <a16:creationId xmlns:a16="http://schemas.microsoft.com/office/drawing/2014/main" id="{CF33C1E5-DDE1-4156-A8BA-4E287E034C81}"/>
              </a:ext>
            </a:extLst>
          </p:cNvPr>
          <p:cNvSpPr/>
          <p:nvPr/>
        </p:nvSpPr>
        <p:spPr>
          <a:xfrm>
            <a:off x="3041222" y="920243"/>
            <a:ext cx="2566378"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3" name="Rectangle 72">
            <a:extLst>
              <a:ext uri="{FF2B5EF4-FFF2-40B4-BE49-F238E27FC236}">
                <a16:creationId xmlns:a16="http://schemas.microsoft.com/office/drawing/2014/main" id="{E85DFD2B-8AE0-4AEF-971A-2B7DB41E3803}"/>
              </a:ext>
            </a:extLst>
          </p:cNvPr>
          <p:cNvSpPr/>
          <p:nvPr/>
        </p:nvSpPr>
        <p:spPr>
          <a:xfrm>
            <a:off x="8329059" y="918287"/>
            <a:ext cx="2630482" cy="1028237"/>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4" name="ZoneTexte 73">
            <a:extLst>
              <a:ext uri="{FF2B5EF4-FFF2-40B4-BE49-F238E27FC236}">
                <a16:creationId xmlns:a16="http://schemas.microsoft.com/office/drawing/2014/main" id="{77576367-5766-4A85-8CC6-3A325240D7B8}"/>
              </a:ext>
            </a:extLst>
          </p:cNvPr>
          <p:cNvSpPr txBox="1"/>
          <p:nvPr/>
        </p:nvSpPr>
        <p:spPr>
          <a:xfrm>
            <a:off x="8699428" y="963457"/>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ortage / gestion du projet </a:t>
            </a:r>
          </a:p>
          <a:p>
            <a:pPr marL="171450" indent="-171450">
              <a:buFontTx/>
              <a:buChar char="-"/>
            </a:pPr>
            <a:endParaRPr lang="fr-FR" sz="1200">
              <a:solidFill>
                <a:srgbClr val="5F5F5F"/>
              </a:solidFill>
              <a:latin typeface="Tahoma"/>
            </a:endParaRPr>
          </a:p>
        </p:txBody>
      </p:sp>
      <p:sp>
        <p:nvSpPr>
          <p:cNvPr id="76" name="Rectangle 75">
            <a:extLst>
              <a:ext uri="{FF2B5EF4-FFF2-40B4-BE49-F238E27FC236}">
                <a16:creationId xmlns:a16="http://schemas.microsoft.com/office/drawing/2014/main" id="{DEA056E4-366B-4B6E-AD2A-2A7DACC2777B}"/>
              </a:ext>
            </a:extLst>
          </p:cNvPr>
          <p:cNvSpPr/>
          <p:nvPr/>
        </p:nvSpPr>
        <p:spPr>
          <a:xfrm>
            <a:off x="5657842" y="920242"/>
            <a:ext cx="2630482" cy="1026282"/>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7" name="ZoneTexte 76">
            <a:extLst>
              <a:ext uri="{FF2B5EF4-FFF2-40B4-BE49-F238E27FC236}">
                <a16:creationId xmlns:a16="http://schemas.microsoft.com/office/drawing/2014/main" id="{9B3B4E4E-968C-4AC1-A916-2CB2CBC81062}"/>
              </a:ext>
            </a:extLst>
          </p:cNvPr>
          <p:cNvSpPr txBox="1"/>
          <p:nvPr/>
        </p:nvSpPr>
        <p:spPr>
          <a:xfrm>
            <a:off x="6045885" y="987123"/>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Typologie de structure</a:t>
            </a:r>
          </a:p>
          <a:p>
            <a:pPr marL="171450" indent="-171450">
              <a:buFontTx/>
              <a:buChar char="-"/>
            </a:pPr>
            <a:endParaRPr lang="fr-FR" sz="1200">
              <a:solidFill>
                <a:srgbClr val="5F5F5F"/>
              </a:solidFill>
              <a:latin typeface="Tahoma"/>
            </a:endParaRPr>
          </a:p>
        </p:txBody>
      </p:sp>
      <p:sp>
        <p:nvSpPr>
          <p:cNvPr id="78" name="ZoneTexte 77">
            <a:extLst>
              <a:ext uri="{FF2B5EF4-FFF2-40B4-BE49-F238E27FC236}">
                <a16:creationId xmlns:a16="http://schemas.microsoft.com/office/drawing/2014/main" id="{96B574C6-E211-4064-9944-5448EE32BE54}"/>
              </a:ext>
            </a:extLst>
          </p:cNvPr>
          <p:cNvSpPr txBox="1"/>
          <p:nvPr/>
        </p:nvSpPr>
        <p:spPr>
          <a:xfrm>
            <a:off x="2992778" y="1229168"/>
            <a:ext cx="2660644" cy="738664"/>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pPr>
            <a:r>
              <a:rPr lang="fr-FR" sz="1050">
                <a:solidFill>
                  <a:srgbClr val="5F5F5F"/>
                </a:solidFill>
                <a:latin typeface="Tahoma"/>
              </a:rPr>
              <a:t>Personnes malades ou en situation de handicap de moins de 60 ans résidant dans la métropole de Lyon</a:t>
            </a:r>
          </a:p>
          <a:p>
            <a:pPr marL="171450" indent="-171450">
              <a:buClr>
                <a:srgbClr val="503078"/>
              </a:buClr>
              <a:buFont typeface="Tahoma" panose="020B0604030504040204" pitchFamily="34" charset="0"/>
              <a:buChar char="⁄"/>
            </a:pPr>
            <a:r>
              <a:rPr lang="fr-FR" sz="1050">
                <a:solidFill>
                  <a:srgbClr val="5F5F5F"/>
                </a:solidFill>
                <a:latin typeface="Tahoma"/>
              </a:rPr>
              <a:t>Leurs proches aidants </a:t>
            </a:r>
          </a:p>
        </p:txBody>
      </p:sp>
      <p:sp>
        <p:nvSpPr>
          <p:cNvPr id="79" name="ZoneTexte 78">
            <a:extLst>
              <a:ext uri="{FF2B5EF4-FFF2-40B4-BE49-F238E27FC236}">
                <a16:creationId xmlns:a16="http://schemas.microsoft.com/office/drawing/2014/main" id="{201EC015-8921-47D5-8EEB-4F8E037742E5}"/>
              </a:ext>
            </a:extLst>
          </p:cNvPr>
          <p:cNvSpPr txBox="1"/>
          <p:nvPr/>
        </p:nvSpPr>
        <p:spPr>
          <a:xfrm>
            <a:off x="5633852" y="1228238"/>
            <a:ext cx="2734774" cy="249620"/>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ESMS</a:t>
            </a:r>
            <a:endParaRPr lang="fr-FR" sz="1050" b="1">
              <a:solidFill>
                <a:srgbClr val="5F5F5F"/>
              </a:solidFill>
              <a:latin typeface="Tahoma"/>
            </a:endParaRPr>
          </a:p>
        </p:txBody>
      </p:sp>
      <p:sp>
        <p:nvSpPr>
          <p:cNvPr id="80" name="ZoneTexte 79">
            <a:extLst>
              <a:ext uri="{FF2B5EF4-FFF2-40B4-BE49-F238E27FC236}">
                <a16:creationId xmlns:a16="http://schemas.microsoft.com/office/drawing/2014/main" id="{D486C829-4B6E-4981-9B49-72041AC2853F}"/>
              </a:ext>
            </a:extLst>
          </p:cNvPr>
          <p:cNvSpPr txBox="1"/>
          <p:nvPr/>
        </p:nvSpPr>
        <p:spPr>
          <a:xfrm>
            <a:off x="8270852" y="1233161"/>
            <a:ext cx="2770132" cy="738664"/>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defRPr/>
            </a:pPr>
            <a:r>
              <a:rPr lang="fr-FR" sz="1050">
                <a:solidFill>
                  <a:srgbClr val="5F5F5F"/>
                </a:solidFill>
                <a:latin typeface="Tahoma"/>
              </a:rPr>
              <a:t>Portage par Fondation France Répit, gestion par Fondation OVE (gestion de la maison de répit) + de nombreux partenaires</a:t>
            </a:r>
            <a:r>
              <a:rPr lang="fr-FR" sz="1050" baseline="30000">
                <a:solidFill>
                  <a:srgbClr val="5F5F5F"/>
                </a:solidFill>
                <a:latin typeface="Tahoma"/>
              </a:rPr>
              <a:t>1</a:t>
            </a:r>
          </a:p>
        </p:txBody>
      </p:sp>
      <p:sp>
        <p:nvSpPr>
          <p:cNvPr id="31" name="ZoneTexte 30">
            <a:extLst>
              <a:ext uri="{FF2B5EF4-FFF2-40B4-BE49-F238E27FC236}">
                <a16:creationId xmlns:a16="http://schemas.microsoft.com/office/drawing/2014/main" id="{C39631CE-B746-44D2-AD28-BE401BB99C89}"/>
              </a:ext>
            </a:extLst>
          </p:cNvPr>
          <p:cNvSpPr txBox="1"/>
          <p:nvPr/>
        </p:nvSpPr>
        <p:spPr>
          <a:xfrm>
            <a:off x="2624667" y="2508138"/>
            <a:ext cx="3376602" cy="979994"/>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6" name="ZoneTexte 115">
            <a:extLst>
              <a:ext uri="{FF2B5EF4-FFF2-40B4-BE49-F238E27FC236}">
                <a16:creationId xmlns:a16="http://schemas.microsoft.com/office/drawing/2014/main" id="{5841F24B-1AD4-488A-A365-BF5647BD2308}"/>
              </a:ext>
            </a:extLst>
          </p:cNvPr>
          <p:cNvSpPr txBox="1"/>
          <p:nvPr/>
        </p:nvSpPr>
        <p:spPr>
          <a:xfrm>
            <a:off x="2634653" y="4943438"/>
            <a:ext cx="3366617" cy="1279329"/>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7" name="ZoneTexte 116">
            <a:extLst>
              <a:ext uri="{FF2B5EF4-FFF2-40B4-BE49-F238E27FC236}">
                <a16:creationId xmlns:a16="http://schemas.microsoft.com/office/drawing/2014/main" id="{EF317FFF-EA6E-44C5-B24E-8AE03952F5E8}"/>
              </a:ext>
            </a:extLst>
          </p:cNvPr>
          <p:cNvSpPr txBox="1"/>
          <p:nvPr/>
        </p:nvSpPr>
        <p:spPr>
          <a:xfrm>
            <a:off x="2624667" y="3552142"/>
            <a:ext cx="3376602" cy="1327287"/>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20" name="Rectangle 119">
            <a:extLst>
              <a:ext uri="{FF2B5EF4-FFF2-40B4-BE49-F238E27FC236}">
                <a16:creationId xmlns:a16="http://schemas.microsoft.com/office/drawing/2014/main" id="{5A8580EE-0AD3-4053-A66F-58A5DE5D3476}"/>
              </a:ext>
            </a:extLst>
          </p:cNvPr>
          <p:cNvSpPr/>
          <p:nvPr/>
        </p:nvSpPr>
        <p:spPr>
          <a:xfrm>
            <a:off x="1254009" y="2059375"/>
            <a:ext cx="4825165" cy="4237339"/>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21" name="ZoneTexte 120">
            <a:extLst>
              <a:ext uri="{FF2B5EF4-FFF2-40B4-BE49-F238E27FC236}">
                <a16:creationId xmlns:a16="http://schemas.microsoft.com/office/drawing/2014/main" id="{E5F58253-D1BD-4954-81FE-7B8DBC05FC92}"/>
              </a:ext>
            </a:extLst>
          </p:cNvPr>
          <p:cNvSpPr txBox="1"/>
          <p:nvPr/>
        </p:nvSpPr>
        <p:spPr>
          <a:xfrm>
            <a:off x="1254009" y="2080425"/>
            <a:ext cx="4815764" cy="307777"/>
          </a:xfrm>
          <a:prstGeom prst="rect">
            <a:avLst/>
          </a:prstGeom>
          <a:solidFill>
            <a:srgbClr val="B0ADCC"/>
          </a:solidFill>
          <a:ln>
            <a:noFill/>
          </a:ln>
        </p:spPr>
        <p:txBody>
          <a:bodyPr wrap="square" lIns="108000" rIns="108000" rtlCol="0">
            <a:spAutoFit/>
          </a:bodyPr>
          <a:lstStyle/>
          <a:p>
            <a:pPr algn="ctr"/>
            <a:r>
              <a:rPr lang="fr-FR" sz="1400" b="1">
                <a:solidFill>
                  <a:srgbClr val="FFFFFF"/>
                </a:solidFill>
                <a:latin typeface="Tahoma"/>
              </a:rPr>
              <a:t>Modèle opérationnel </a:t>
            </a:r>
          </a:p>
        </p:txBody>
      </p:sp>
      <p:sp>
        <p:nvSpPr>
          <p:cNvPr id="122" name="Rectangle 121">
            <a:extLst>
              <a:ext uri="{FF2B5EF4-FFF2-40B4-BE49-F238E27FC236}">
                <a16:creationId xmlns:a16="http://schemas.microsoft.com/office/drawing/2014/main" id="{EEE3ADDF-8F40-48B9-AE5E-299C1C497490}"/>
              </a:ext>
            </a:extLst>
          </p:cNvPr>
          <p:cNvSpPr/>
          <p:nvPr/>
        </p:nvSpPr>
        <p:spPr>
          <a:xfrm>
            <a:off x="6122614" y="2059375"/>
            <a:ext cx="4824000" cy="4237339"/>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23" name="ZoneTexte 122">
            <a:extLst>
              <a:ext uri="{FF2B5EF4-FFF2-40B4-BE49-F238E27FC236}">
                <a16:creationId xmlns:a16="http://schemas.microsoft.com/office/drawing/2014/main" id="{A32D682C-0E70-4C6A-98EA-32C315F12098}"/>
              </a:ext>
            </a:extLst>
          </p:cNvPr>
          <p:cNvSpPr txBox="1"/>
          <p:nvPr/>
        </p:nvSpPr>
        <p:spPr>
          <a:xfrm>
            <a:off x="6135540" y="2080426"/>
            <a:ext cx="4824000" cy="307777"/>
          </a:xfrm>
          <a:prstGeom prst="rect">
            <a:avLst/>
          </a:prstGeom>
          <a:solidFill>
            <a:srgbClr val="B24669"/>
          </a:solidFill>
          <a:ln>
            <a:noFill/>
          </a:ln>
        </p:spPr>
        <p:txBody>
          <a:bodyPr wrap="square" lIns="108000" rIns="108000" rtlCol="0">
            <a:spAutoFit/>
          </a:bodyPr>
          <a:lstStyle/>
          <a:p>
            <a:pPr algn="ctr"/>
            <a:r>
              <a:rPr lang="fr-FR" sz="1400" b="1">
                <a:solidFill>
                  <a:srgbClr val="FFFFFF"/>
                </a:solidFill>
                <a:latin typeface="Tahoma"/>
              </a:rPr>
              <a:t>Modèle économique </a:t>
            </a:r>
          </a:p>
        </p:txBody>
      </p:sp>
      <p:sp>
        <p:nvSpPr>
          <p:cNvPr id="124" name="ZoneTexte 123">
            <a:extLst>
              <a:ext uri="{FF2B5EF4-FFF2-40B4-BE49-F238E27FC236}">
                <a16:creationId xmlns:a16="http://schemas.microsoft.com/office/drawing/2014/main" id="{A49BC405-C11B-485E-BB12-6EA8FA6FC408}"/>
              </a:ext>
            </a:extLst>
          </p:cNvPr>
          <p:cNvSpPr txBox="1"/>
          <p:nvPr/>
        </p:nvSpPr>
        <p:spPr>
          <a:xfrm>
            <a:off x="2622712" y="2513827"/>
            <a:ext cx="3385019" cy="939296"/>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15 places d’AT pour les personnes dépendantes (dont 5 pour les enfants), 5 chambres et un studio pour les familles / proches aidant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Réflexions en cours pour étendre l’accueil aux PA (moyennant des restes à charge plus importants)</a:t>
            </a:r>
            <a:r>
              <a:rPr lang="fr-FR" sz="800" baseline="30000">
                <a:solidFill>
                  <a:srgbClr val="5F5F5F"/>
                </a:solidFill>
                <a:latin typeface="Tahoma"/>
              </a:rPr>
              <a:t> </a:t>
            </a:r>
            <a:r>
              <a:rPr lang="fr-FR" sz="1050" baseline="30000">
                <a:solidFill>
                  <a:srgbClr val="5F5F5F"/>
                </a:solidFill>
                <a:latin typeface="Tahoma"/>
              </a:rPr>
              <a:t>2 </a:t>
            </a:r>
            <a:endParaRPr lang="fr-FR" sz="1000">
              <a:solidFill>
                <a:srgbClr val="5F5F5F"/>
              </a:solidFill>
              <a:latin typeface="Tahoma"/>
            </a:endParaRPr>
          </a:p>
        </p:txBody>
      </p:sp>
      <p:sp>
        <p:nvSpPr>
          <p:cNvPr id="126" name="ZoneTexte 125">
            <a:extLst>
              <a:ext uri="{FF2B5EF4-FFF2-40B4-BE49-F238E27FC236}">
                <a16:creationId xmlns:a16="http://schemas.microsoft.com/office/drawing/2014/main" id="{B49F6C26-2A8B-4C21-A64B-9E4007B97392}"/>
              </a:ext>
            </a:extLst>
          </p:cNvPr>
          <p:cNvSpPr txBox="1"/>
          <p:nvPr/>
        </p:nvSpPr>
        <p:spPr>
          <a:xfrm>
            <a:off x="2636244" y="5080168"/>
            <a:ext cx="3366617" cy="1016240"/>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Restauration assurée par la Maison de Répit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ide psychologique, sociale, administrative</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Formation des aidant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ctivités de bien-être ou de loisirs (repos, soins, jardinage, jeux, lecture, spa, …)</a:t>
            </a:r>
          </a:p>
        </p:txBody>
      </p:sp>
      <p:sp>
        <p:nvSpPr>
          <p:cNvPr id="128" name="ZoneTexte 127">
            <a:extLst>
              <a:ext uri="{FF2B5EF4-FFF2-40B4-BE49-F238E27FC236}">
                <a16:creationId xmlns:a16="http://schemas.microsoft.com/office/drawing/2014/main" id="{D0B66643-80F9-42D8-8F09-B693AF7FBBCB}"/>
              </a:ext>
            </a:extLst>
          </p:cNvPr>
          <p:cNvSpPr txBox="1"/>
          <p:nvPr/>
        </p:nvSpPr>
        <p:spPr>
          <a:xfrm>
            <a:off x="2631372" y="3682077"/>
            <a:ext cx="3376359" cy="1103957"/>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quipe mobile de répit (médecins, infirmières, psychologues, assistantes sociales, assistante administrative)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quipe soignante sur place 24H/24 (médecins, infirmières, aides-soignantes, AMP, psychologue, maîtresse de maison)</a:t>
            </a:r>
          </a:p>
        </p:txBody>
      </p:sp>
      <p:sp>
        <p:nvSpPr>
          <p:cNvPr id="129" name="ZoneTexte 128">
            <a:extLst>
              <a:ext uri="{FF2B5EF4-FFF2-40B4-BE49-F238E27FC236}">
                <a16:creationId xmlns:a16="http://schemas.microsoft.com/office/drawing/2014/main" id="{B5C29EF3-8432-4FB1-A08C-C8DFD0F770E0}"/>
              </a:ext>
            </a:extLst>
          </p:cNvPr>
          <p:cNvSpPr txBox="1"/>
          <p:nvPr/>
        </p:nvSpPr>
        <p:spPr>
          <a:xfrm>
            <a:off x="6183559" y="2508138"/>
            <a:ext cx="3743057" cy="1099314"/>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130" name="ZoneTexte 129">
            <a:extLst>
              <a:ext uri="{FF2B5EF4-FFF2-40B4-BE49-F238E27FC236}">
                <a16:creationId xmlns:a16="http://schemas.microsoft.com/office/drawing/2014/main" id="{C51512ED-D218-4E3C-8049-02770EADD196}"/>
              </a:ext>
            </a:extLst>
          </p:cNvPr>
          <p:cNvSpPr txBox="1"/>
          <p:nvPr/>
        </p:nvSpPr>
        <p:spPr>
          <a:xfrm>
            <a:off x="6183558" y="3682077"/>
            <a:ext cx="3743057" cy="1189823"/>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pic>
        <p:nvPicPr>
          <p:cNvPr id="35" name="Graphique 34" descr="Logement avec un remplissage uni">
            <a:extLst>
              <a:ext uri="{FF2B5EF4-FFF2-40B4-BE49-F238E27FC236}">
                <a16:creationId xmlns:a16="http://schemas.microsoft.com/office/drawing/2014/main" id="{71FC271C-D2ED-4AF0-8123-6C7A28C751C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19351" y="2591112"/>
            <a:ext cx="447721" cy="447721"/>
          </a:xfrm>
          <a:prstGeom prst="rect">
            <a:avLst/>
          </a:prstGeom>
        </p:spPr>
      </p:pic>
      <p:sp>
        <p:nvSpPr>
          <p:cNvPr id="131" name="ZoneTexte 130">
            <a:extLst>
              <a:ext uri="{FF2B5EF4-FFF2-40B4-BE49-F238E27FC236}">
                <a16:creationId xmlns:a16="http://schemas.microsoft.com/office/drawing/2014/main" id="{1C14C040-B2C5-440C-B7E3-1882123D0301}"/>
              </a:ext>
            </a:extLst>
          </p:cNvPr>
          <p:cNvSpPr txBox="1"/>
          <p:nvPr/>
        </p:nvSpPr>
        <p:spPr>
          <a:xfrm>
            <a:off x="9796442" y="2423330"/>
            <a:ext cx="1244543" cy="446276"/>
          </a:xfrm>
          <a:prstGeom prst="rect">
            <a:avLst/>
          </a:prstGeom>
          <a:noFill/>
          <a:ln>
            <a:noFill/>
          </a:ln>
        </p:spPr>
        <p:txBody>
          <a:bodyPr wrap="square" lIns="108000" rIns="108000" rtlCol="0">
            <a:spAutoFit/>
          </a:bodyPr>
          <a:lstStyle/>
          <a:p>
            <a:pPr algn="ctr"/>
            <a:r>
              <a:rPr lang="fr-FR" sz="1100" b="1">
                <a:solidFill>
                  <a:srgbClr val="B24669"/>
                </a:solidFill>
                <a:latin typeface="Tahoma"/>
              </a:rPr>
              <a:t>Immobilier</a:t>
            </a:r>
          </a:p>
          <a:p>
            <a:pPr marL="171450" indent="-171450" algn="ctr">
              <a:buFontTx/>
              <a:buChar char="-"/>
            </a:pPr>
            <a:endParaRPr lang="fr-FR" sz="1200">
              <a:solidFill>
                <a:srgbClr val="B24669"/>
              </a:solidFill>
              <a:latin typeface="Tahoma"/>
            </a:endParaRPr>
          </a:p>
        </p:txBody>
      </p:sp>
      <p:sp>
        <p:nvSpPr>
          <p:cNvPr id="133" name="ZoneTexte 132">
            <a:extLst>
              <a:ext uri="{FF2B5EF4-FFF2-40B4-BE49-F238E27FC236}">
                <a16:creationId xmlns:a16="http://schemas.microsoft.com/office/drawing/2014/main" id="{B210A790-ECF0-4619-A27B-B52AFCD222D8}"/>
              </a:ext>
            </a:extLst>
          </p:cNvPr>
          <p:cNvSpPr txBox="1"/>
          <p:nvPr/>
        </p:nvSpPr>
        <p:spPr>
          <a:xfrm>
            <a:off x="6146429" y="2525433"/>
            <a:ext cx="3769945" cy="1054135"/>
          </a:xfrm>
          <a:prstGeom prst="rect">
            <a:avLst/>
          </a:prstGeom>
          <a:noFill/>
          <a:ln>
            <a:noFill/>
          </a:ln>
        </p:spPr>
        <p:txBody>
          <a:bodyPr wrap="square" lIns="108000" rIns="108000" rtlCol="0">
            <a:spAutoFit/>
          </a:bodyPr>
          <a:lstStyle/>
          <a:p>
            <a:pPr marL="171450" indent="-171450">
              <a:spcAft>
                <a:spcPts val="300"/>
              </a:spcAft>
              <a:buClr>
                <a:srgbClr val="503078"/>
              </a:buClr>
              <a:buFont typeface="Tahoma" panose="020B0604030504040204" pitchFamily="34" charset="0"/>
              <a:buChar char="⁄"/>
              <a:defRPr/>
            </a:pPr>
            <a:r>
              <a:rPr lang="fr-FR" sz="1000">
                <a:solidFill>
                  <a:srgbClr val="5F5F5F"/>
                </a:solidFill>
                <a:latin typeface="Tahoma"/>
              </a:rPr>
              <a:t>Mise à disposition de la propriété par la société </a:t>
            </a:r>
            <a:r>
              <a:rPr lang="fr-FR" sz="1000" err="1">
                <a:solidFill>
                  <a:srgbClr val="5F5F5F"/>
                </a:solidFill>
                <a:latin typeface="Tahoma"/>
              </a:rPr>
              <a:t>BioMérieux</a:t>
            </a:r>
            <a:endParaRPr lang="fr-FR" sz="1000">
              <a:solidFill>
                <a:srgbClr val="5F5F5F"/>
              </a:solidFill>
              <a:latin typeface="Tahoma"/>
            </a:endParaRPr>
          </a:p>
          <a:p>
            <a:pPr marL="171450" indent="-171450" algn="just">
              <a:spcAft>
                <a:spcPts val="300"/>
              </a:spcAft>
              <a:buClr>
                <a:srgbClr val="503078"/>
              </a:buClr>
              <a:buFont typeface="Tahoma" panose="020B0604030504040204" pitchFamily="34" charset="0"/>
              <a:buChar char="⁄"/>
              <a:defRPr/>
            </a:pPr>
            <a:r>
              <a:rPr lang="fr-FR" sz="1000">
                <a:solidFill>
                  <a:srgbClr val="5F5F5F"/>
                </a:solidFill>
                <a:latin typeface="Tahoma"/>
              </a:rPr>
              <a:t>Financement de l’investissement à hauteur de 5,5M € par la Fondation France Répit (mécénat de grandes entreprises, Fondations, groupes de protection sociale + subventions des collectivités territoriales : région ARA / Métropole de Lyon)</a:t>
            </a:r>
          </a:p>
        </p:txBody>
      </p:sp>
      <p:sp>
        <p:nvSpPr>
          <p:cNvPr id="134" name="ZoneTexte 133">
            <a:extLst>
              <a:ext uri="{FF2B5EF4-FFF2-40B4-BE49-F238E27FC236}">
                <a16:creationId xmlns:a16="http://schemas.microsoft.com/office/drawing/2014/main" id="{12CB5D0E-D3B7-4457-B3F8-7B85794AC4B0}"/>
              </a:ext>
            </a:extLst>
          </p:cNvPr>
          <p:cNvSpPr txBox="1"/>
          <p:nvPr/>
        </p:nvSpPr>
        <p:spPr>
          <a:xfrm>
            <a:off x="9948430" y="3466695"/>
            <a:ext cx="998185"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Frais de </a:t>
            </a:r>
            <a:r>
              <a:rPr lang="fr-FR" sz="1100" b="1" err="1">
                <a:solidFill>
                  <a:srgbClr val="B24669"/>
                </a:solidFill>
                <a:latin typeface="Tahoma"/>
              </a:rPr>
              <a:t>fonct</a:t>
            </a:r>
            <a:r>
              <a:rPr lang="fr-FR" sz="1100" b="1">
                <a:solidFill>
                  <a:srgbClr val="B24669"/>
                </a:solidFill>
                <a:latin typeface="Tahoma"/>
              </a:rPr>
              <a:t>.</a:t>
            </a:r>
          </a:p>
        </p:txBody>
      </p:sp>
      <p:sp>
        <p:nvSpPr>
          <p:cNvPr id="135" name="ZoneTexte 134">
            <a:extLst>
              <a:ext uri="{FF2B5EF4-FFF2-40B4-BE49-F238E27FC236}">
                <a16:creationId xmlns:a16="http://schemas.microsoft.com/office/drawing/2014/main" id="{3DA739DB-3B5D-4A54-A299-C5AE798A7F11}"/>
              </a:ext>
            </a:extLst>
          </p:cNvPr>
          <p:cNvSpPr txBox="1"/>
          <p:nvPr/>
        </p:nvSpPr>
        <p:spPr>
          <a:xfrm>
            <a:off x="6180897" y="3733065"/>
            <a:ext cx="3636081" cy="1092607"/>
          </a:xfrm>
          <a:prstGeom prst="rect">
            <a:avLst/>
          </a:prstGeom>
          <a:noFill/>
          <a:ln>
            <a:noFill/>
          </a:ln>
        </p:spPr>
        <p:txBody>
          <a:bodyPr wrap="square" lIns="108000" rIns="108000" rtlCol="0">
            <a:spAutoFit/>
          </a:bodyPr>
          <a:lstStyle/>
          <a:p>
            <a:pPr marL="171450" indent="-171450" algn="just">
              <a:spcAft>
                <a:spcPts val="300"/>
              </a:spcAft>
              <a:buClr>
                <a:srgbClr val="503078"/>
              </a:buClr>
              <a:buFont typeface="Tahoma" panose="020B0604030504040204" pitchFamily="34" charset="0"/>
              <a:buChar char="⁄"/>
              <a:defRPr/>
            </a:pPr>
            <a:r>
              <a:rPr lang="fr-FR" sz="1000">
                <a:solidFill>
                  <a:srgbClr val="5F5F5F"/>
                </a:solidFill>
                <a:latin typeface="Tahoma"/>
              </a:rPr>
              <a:t>Frais de fonctionnement + places d’AT assurés par un agrément de l’Agence Régionale de Santé Auvergne-Rhône-Alpes, gérés par la Fondation OVE</a:t>
            </a:r>
          </a:p>
          <a:p>
            <a:pPr marL="171450" indent="-171450" algn="just">
              <a:spcAft>
                <a:spcPts val="300"/>
              </a:spcAft>
              <a:buClr>
                <a:srgbClr val="503078"/>
              </a:buClr>
              <a:buFont typeface="Tahoma" panose="020B0604030504040204" pitchFamily="34" charset="0"/>
              <a:buChar char="⁄"/>
              <a:defRPr/>
            </a:pPr>
            <a:r>
              <a:rPr lang="fr-FR" sz="1000">
                <a:solidFill>
                  <a:srgbClr val="5F5F5F"/>
                </a:solidFill>
                <a:latin typeface="Tahoma"/>
              </a:rPr>
              <a:t>1 directeur + 1 cadre de santé + 1 équipe mobile + 1 coordinateur</a:t>
            </a:r>
          </a:p>
          <a:p>
            <a:pPr marL="171450" indent="-171450">
              <a:spcAft>
                <a:spcPts val="300"/>
              </a:spcAft>
              <a:buClr>
                <a:srgbClr val="503078"/>
              </a:buClr>
              <a:buFont typeface="Tahoma" panose="020B0604030504040204" pitchFamily="34" charset="0"/>
              <a:buChar char="⁄"/>
              <a:defRPr/>
            </a:pPr>
            <a:r>
              <a:rPr lang="fr-FR" sz="1000">
                <a:solidFill>
                  <a:srgbClr val="5F5F5F"/>
                </a:solidFill>
                <a:latin typeface="Tahoma"/>
              </a:rPr>
              <a:t>Equipe de bénévoles</a:t>
            </a:r>
          </a:p>
        </p:txBody>
      </p:sp>
      <p:sp>
        <p:nvSpPr>
          <p:cNvPr id="136" name="ZoneTexte 135">
            <a:extLst>
              <a:ext uri="{FF2B5EF4-FFF2-40B4-BE49-F238E27FC236}">
                <a16:creationId xmlns:a16="http://schemas.microsoft.com/office/drawing/2014/main" id="{FEA48678-D157-4E80-9C77-987BDFAE3851}"/>
              </a:ext>
            </a:extLst>
          </p:cNvPr>
          <p:cNvSpPr txBox="1"/>
          <p:nvPr/>
        </p:nvSpPr>
        <p:spPr>
          <a:xfrm>
            <a:off x="6173317" y="4945846"/>
            <a:ext cx="3743057" cy="781643"/>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39" name="Rectangle 138">
            <a:extLst>
              <a:ext uri="{FF2B5EF4-FFF2-40B4-BE49-F238E27FC236}">
                <a16:creationId xmlns:a16="http://schemas.microsoft.com/office/drawing/2014/main" id="{23DA1D13-F6FC-42CC-8CBC-A6643FFAA543}"/>
              </a:ext>
            </a:extLst>
          </p:cNvPr>
          <p:cNvSpPr/>
          <p:nvPr/>
        </p:nvSpPr>
        <p:spPr>
          <a:xfrm>
            <a:off x="1254009" y="923574"/>
            <a:ext cx="1728514"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40" name="ZoneTexte 139">
            <a:extLst>
              <a:ext uri="{FF2B5EF4-FFF2-40B4-BE49-F238E27FC236}">
                <a16:creationId xmlns:a16="http://schemas.microsoft.com/office/drawing/2014/main" id="{807D6A60-04F3-43BD-94C2-76626F2816C8}"/>
              </a:ext>
            </a:extLst>
          </p:cNvPr>
          <p:cNvSpPr txBox="1"/>
          <p:nvPr/>
        </p:nvSpPr>
        <p:spPr>
          <a:xfrm>
            <a:off x="9885997" y="4540503"/>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rifs / reste à charge</a:t>
            </a:r>
          </a:p>
        </p:txBody>
      </p:sp>
      <p:pic>
        <p:nvPicPr>
          <p:cNvPr id="41" name="Graphique 40" descr="Clé avec un remplissage uni">
            <a:extLst>
              <a:ext uri="{FF2B5EF4-FFF2-40B4-BE49-F238E27FC236}">
                <a16:creationId xmlns:a16="http://schemas.microsoft.com/office/drawing/2014/main" id="{1FC8698B-AB58-44D0-8399-B572FCCD65E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4241" y="5814522"/>
            <a:ext cx="436000" cy="436000"/>
          </a:xfrm>
          <a:prstGeom prst="rect">
            <a:avLst/>
          </a:prstGeom>
        </p:spPr>
      </p:pic>
      <p:sp>
        <p:nvSpPr>
          <p:cNvPr id="141" name="ZoneTexte 140">
            <a:extLst>
              <a:ext uri="{FF2B5EF4-FFF2-40B4-BE49-F238E27FC236}">
                <a16:creationId xmlns:a16="http://schemas.microsoft.com/office/drawing/2014/main" id="{F5949C22-DA6A-4317-99B2-B19975E52561}"/>
              </a:ext>
            </a:extLst>
          </p:cNvPr>
          <p:cNvSpPr txBox="1"/>
          <p:nvPr/>
        </p:nvSpPr>
        <p:spPr>
          <a:xfrm>
            <a:off x="9909908" y="5679029"/>
            <a:ext cx="1141769" cy="261610"/>
          </a:xfrm>
          <a:prstGeom prst="rect">
            <a:avLst/>
          </a:prstGeom>
          <a:noFill/>
          <a:ln>
            <a:noFill/>
          </a:ln>
        </p:spPr>
        <p:txBody>
          <a:bodyPr wrap="square" lIns="108000" rIns="108000" rtlCol="0">
            <a:spAutoFit/>
          </a:bodyPr>
          <a:lstStyle/>
          <a:p>
            <a:pPr algn="ctr"/>
            <a:r>
              <a:rPr lang="fr-FR" sz="1100" b="1">
                <a:solidFill>
                  <a:srgbClr val="B24669"/>
                </a:solidFill>
                <a:latin typeface="Tahoma"/>
              </a:rPr>
              <a:t>TO / durée</a:t>
            </a:r>
          </a:p>
        </p:txBody>
      </p:sp>
      <p:sp>
        <p:nvSpPr>
          <p:cNvPr id="142" name="ZoneTexte 141">
            <a:extLst>
              <a:ext uri="{FF2B5EF4-FFF2-40B4-BE49-F238E27FC236}">
                <a16:creationId xmlns:a16="http://schemas.microsoft.com/office/drawing/2014/main" id="{8F48A671-85C8-478F-BBC5-AA8E0839A27E}"/>
              </a:ext>
            </a:extLst>
          </p:cNvPr>
          <p:cNvSpPr txBox="1"/>
          <p:nvPr/>
        </p:nvSpPr>
        <p:spPr>
          <a:xfrm>
            <a:off x="6173317" y="5797423"/>
            <a:ext cx="3736591" cy="425344"/>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43" name="ZoneTexte 142">
            <a:extLst>
              <a:ext uri="{FF2B5EF4-FFF2-40B4-BE49-F238E27FC236}">
                <a16:creationId xmlns:a16="http://schemas.microsoft.com/office/drawing/2014/main" id="{7C801268-29AF-4A45-808B-18ADBF5B32BE}"/>
              </a:ext>
            </a:extLst>
          </p:cNvPr>
          <p:cNvSpPr txBox="1"/>
          <p:nvPr/>
        </p:nvSpPr>
        <p:spPr>
          <a:xfrm>
            <a:off x="6154089" y="5790007"/>
            <a:ext cx="3650756" cy="406843"/>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Séjours d’une durée de 30 jours maximum par an, consécutifs ou fractionnés</a:t>
            </a:r>
          </a:p>
        </p:txBody>
      </p:sp>
      <p:pic>
        <p:nvPicPr>
          <p:cNvPr id="146" name="Graphique 145" descr="Tirelire avec un remplissage uni">
            <a:extLst>
              <a:ext uri="{FF2B5EF4-FFF2-40B4-BE49-F238E27FC236}">
                <a16:creationId xmlns:a16="http://schemas.microsoft.com/office/drawing/2014/main" id="{AC1ADC52-5381-42E2-AC24-383BB036C6C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11333" y="3866302"/>
            <a:ext cx="514426" cy="514426"/>
          </a:xfrm>
          <a:prstGeom prst="rect">
            <a:avLst/>
          </a:prstGeom>
        </p:spPr>
      </p:pic>
      <p:sp>
        <p:nvSpPr>
          <p:cNvPr id="81" name="ZoneTexte 80">
            <a:extLst>
              <a:ext uri="{FF2B5EF4-FFF2-40B4-BE49-F238E27FC236}">
                <a16:creationId xmlns:a16="http://schemas.microsoft.com/office/drawing/2014/main" id="{B6B02541-4955-4889-BA74-FB46F4880E07}"/>
              </a:ext>
            </a:extLst>
          </p:cNvPr>
          <p:cNvSpPr txBox="1"/>
          <p:nvPr/>
        </p:nvSpPr>
        <p:spPr>
          <a:xfrm>
            <a:off x="1332529" y="897725"/>
            <a:ext cx="1743708" cy="707886"/>
          </a:xfrm>
          <a:prstGeom prst="rect">
            <a:avLst/>
          </a:prstGeom>
          <a:noFill/>
        </p:spPr>
        <p:txBody>
          <a:bodyPr wrap="square" lIns="108000" rIns="108000" rtlCol="0">
            <a:spAutoFit/>
          </a:bodyPr>
          <a:lstStyle/>
          <a:p>
            <a:endParaRPr lang="fr-FR" sz="1000">
              <a:solidFill>
                <a:srgbClr val="5F5F5F"/>
              </a:solidFill>
              <a:latin typeface="Tahoma"/>
            </a:endParaRPr>
          </a:p>
          <a:p>
            <a:pPr algn="ctr"/>
            <a:r>
              <a:rPr lang="fr-FR" sz="1000" b="1">
                <a:solidFill>
                  <a:srgbClr val="503078"/>
                </a:solidFill>
                <a:latin typeface="Tahoma"/>
              </a:rPr>
              <a:t>Maison de répit de Lyon</a:t>
            </a:r>
          </a:p>
          <a:p>
            <a:pPr algn="ctr"/>
            <a:r>
              <a:rPr lang="fr-FR" sz="1000">
                <a:solidFill>
                  <a:srgbClr val="5F5F5F"/>
                </a:solidFill>
                <a:latin typeface="Tahoma"/>
              </a:rPr>
              <a:t>Tassin-La-Demi-Lune (69)</a:t>
            </a:r>
          </a:p>
          <a:p>
            <a:endParaRPr lang="fr-FR" sz="1000">
              <a:solidFill>
                <a:srgbClr val="5F5F5F"/>
              </a:solidFill>
              <a:latin typeface="Tahoma"/>
            </a:endParaRPr>
          </a:p>
        </p:txBody>
      </p:sp>
      <p:pic>
        <p:nvPicPr>
          <p:cNvPr id="82" name="Location-White-Background">
            <a:extLst>
              <a:ext uri="{FF2B5EF4-FFF2-40B4-BE49-F238E27FC236}">
                <a16:creationId xmlns:a16="http://schemas.microsoft.com/office/drawing/2014/main" id="{23FE517D-84D3-4474-804F-DE6049B1856D}"/>
              </a:ext>
            </a:extLst>
          </p:cNvPr>
          <p:cNvPicPr>
            <a:picLocks noChangeAspect="1"/>
          </p:cNvPicPr>
          <p:nvPr/>
        </p:nvPicPr>
        <p:blipFill>
          <a:blip r:embed="rId14" cstate="print">
            <a:extLst>
              <a:ext uri="{BEBA8EAE-BF5A-486C-A8C5-ECC9F3942E4B}">
                <a14:imgProps xmlns:a14="http://schemas.microsoft.com/office/drawing/2010/main">
                  <a14:imgLayer r:embed="rId15">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2224355" y="1374729"/>
            <a:ext cx="242960" cy="227494"/>
          </a:xfrm>
          <a:prstGeom prst="rect">
            <a:avLst/>
          </a:prstGeom>
        </p:spPr>
      </p:pic>
      <p:sp>
        <p:nvSpPr>
          <p:cNvPr id="86" name="ZoneTexte 85">
            <a:extLst>
              <a:ext uri="{FF2B5EF4-FFF2-40B4-BE49-F238E27FC236}">
                <a16:creationId xmlns:a16="http://schemas.microsoft.com/office/drawing/2014/main" id="{54650390-EFB3-4DC0-8880-157BFA99BEEE}"/>
              </a:ext>
            </a:extLst>
          </p:cNvPr>
          <p:cNvSpPr txBox="1"/>
          <p:nvPr/>
        </p:nvSpPr>
        <p:spPr>
          <a:xfrm>
            <a:off x="6158206" y="4995495"/>
            <a:ext cx="3793759" cy="707886"/>
          </a:xfrm>
          <a:prstGeom prst="rect">
            <a:avLst/>
          </a:prstGeom>
          <a:noFill/>
          <a:ln>
            <a:noFill/>
          </a:ln>
        </p:spPr>
        <p:txBody>
          <a:bodyPr wrap="square" lIns="108000" rIns="108000" rtlCol="0">
            <a:spAutoFit/>
          </a:bodyPr>
          <a:lstStyle/>
          <a:p>
            <a:pPr marL="171450" indent="-171450" algn="just">
              <a:buClr>
                <a:srgbClr val="503078"/>
              </a:buClr>
              <a:buFont typeface="Tahoma" panose="020B0604030504040204" pitchFamily="34" charset="0"/>
              <a:buChar char="⁄"/>
              <a:defRPr/>
            </a:pPr>
            <a:r>
              <a:rPr lang="fr-FR" sz="1000">
                <a:solidFill>
                  <a:srgbClr val="5F5F5F"/>
                </a:solidFill>
                <a:latin typeface="Tahoma"/>
              </a:rPr>
              <a:t>Participation aux frais d’hébergement de 20€/J demandée aux bénéficiaires – séjours gratuits pour les enfants malades ou en situation de handicap et les personnes relevant de la CMU</a:t>
            </a:r>
          </a:p>
        </p:txBody>
      </p:sp>
      <p:pic>
        <p:nvPicPr>
          <p:cNvPr id="87" name="Graphique 86" descr="Pièces avec un remplissage uni">
            <a:extLst>
              <a:ext uri="{FF2B5EF4-FFF2-40B4-BE49-F238E27FC236}">
                <a16:creationId xmlns:a16="http://schemas.microsoft.com/office/drawing/2014/main" id="{E36EB7B4-4BA2-4FF6-ACD4-B3A837709EE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220693" y="4961372"/>
            <a:ext cx="457966" cy="457966"/>
          </a:xfrm>
          <a:prstGeom prst="rect">
            <a:avLst/>
          </a:prstGeom>
        </p:spPr>
      </p:pic>
      <p:pic>
        <p:nvPicPr>
          <p:cNvPr id="114" name="Graphique 113" descr="Dormir avec un remplissage uni">
            <a:extLst>
              <a:ext uri="{FF2B5EF4-FFF2-40B4-BE49-F238E27FC236}">
                <a16:creationId xmlns:a16="http://schemas.microsoft.com/office/drawing/2014/main" id="{A2C91F7B-29C7-459F-9C04-9AA688F496B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648462" y="2583744"/>
            <a:ext cx="565198" cy="565198"/>
          </a:xfrm>
          <a:prstGeom prst="rect">
            <a:avLst/>
          </a:prstGeom>
        </p:spPr>
      </p:pic>
      <p:pic>
        <p:nvPicPr>
          <p:cNvPr id="115" name="Graphique 114" descr="Trousse de premiers secours avec un remplissage uni">
            <a:extLst>
              <a:ext uri="{FF2B5EF4-FFF2-40B4-BE49-F238E27FC236}">
                <a16:creationId xmlns:a16="http://schemas.microsoft.com/office/drawing/2014/main" id="{88E6B775-C66C-4650-9FA7-9A9B2FDDCCF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683132" y="3767866"/>
            <a:ext cx="557136" cy="557136"/>
          </a:xfrm>
          <a:prstGeom prst="rect">
            <a:avLst/>
          </a:prstGeom>
        </p:spPr>
      </p:pic>
      <p:pic>
        <p:nvPicPr>
          <p:cNvPr id="118" name="Graphique 117" descr="Assiette couverte avec un remplissage uni">
            <a:extLst>
              <a:ext uri="{FF2B5EF4-FFF2-40B4-BE49-F238E27FC236}">
                <a16:creationId xmlns:a16="http://schemas.microsoft.com/office/drawing/2014/main" id="{2F2E741D-B22B-4F38-8E55-AC2069EEEAC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641740" y="5428411"/>
            <a:ext cx="565199" cy="565199"/>
          </a:xfrm>
          <a:prstGeom prst="rect">
            <a:avLst/>
          </a:prstGeom>
        </p:spPr>
      </p:pic>
      <p:sp>
        <p:nvSpPr>
          <p:cNvPr id="119" name="ZoneTexte 118">
            <a:extLst>
              <a:ext uri="{FF2B5EF4-FFF2-40B4-BE49-F238E27FC236}">
                <a16:creationId xmlns:a16="http://schemas.microsoft.com/office/drawing/2014/main" id="{14E32216-A80B-4DE1-9731-B9D15B47C6DA}"/>
              </a:ext>
            </a:extLst>
          </p:cNvPr>
          <p:cNvSpPr txBox="1"/>
          <p:nvPr/>
        </p:nvSpPr>
        <p:spPr>
          <a:xfrm>
            <a:off x="1254007" y="2505800"/>
            <a:ext cx="1376242" cy="446276"/>
          </a:xfrm>
          <a:prstGeom prst="rect">
            <a:avLst/>
          </a:prstGeom>
          <a:noFill/>
          <a:ln>
            <a:noFill/>
          </a:ln>
        </p:spPr>
        <p:txBody>
          <a:bodyPr wrap="square" lIns="108000" rIns="108000" rtlCol="0">
            <a:spAutoFit/>
          </a:bodyPr>
          <a:lstStyle/>
          <a:p>
            <a:pPr algn="ctr"/>
            <a:r>
              <a:rPr lang="fr-FR" sz="1100" b="1">
                <a:solidFill>
                  <a:srgbClr val="B0ADCC"/>
                </a:solidFill>
                <a:latin typeface="Tahoma"/>
              </a:rPr>
              <a:t>Hébergement</a:t>
            </a:r>
          </a:p>
          <a:p>
            <a:pPr marL="171450" indent="-171450" algn="ctr">
              <a:buFontTx/>
              <a:buChar char="-"/>
            </a:pPr>
            <a:endParaRPr lang="fr-FR" sz="1200">
              <a:solidFill>
                <a:srgbClr val="B0ADCC"/>
              </a:solidFill>
              <a:latin typeface="Tahoma"/>
            </a:endParaRPr>
          </a:p>
        </p:txBody>
      </p:sp>
      <p:sp>
        <p:nvSpPr>
          <p:cNvPr id="125" name="ZoneTexte 124">
            <a:extLst>
              <a:ext uri="{FF2B5EF4-FFF2-40B4-BE49-F238E27FC236}">
                <a16:creationId xmlns:a16="http://schemas.microsoft.com/office/drawing/2014/main" id="{0C5CADFA-5C9D-4C16-B598-96E0E8FF4769}"/>
              </a:ext>
            </a:extLst>
          </p:cNvPr>
          <p:cNvSpPr txBox="1"/>
          <p:nvPr/>
        </p:nvSpPr>
        <p:spPr>
          <a:xfrm>
            <a:off x="1450733" y="5080169"/>
            <a:ext cx="965590" cy="430887"/>
          </a:xfrm>
          <a:prstGeom prst="rect">
            <a:avLst/>
          </a:prstGeom>
          <a:noFill/>
          <a:ln>
            <a:noFill/>
          </a:ln>
        </p:spPr>
        <p:txBody>
          <a:bodyPr wrap="square" lIns="108000" rIns="108000" rtlCol="0">
            <a:spAutoFit/>
          </a:bodyPr>
          <a:lstStyle/>
          <a:p>
            <a:pPr algn="ctr"/>
            <a:r>
              <a:rPr lang="fr-FR" sz="1100" b="1">
                <a:solidFill>
                  <a:srgbClr val="B0ADCC"/>
                </a:solidFill>
                <a:latin typeface="Tahoma"/>
              </a:rPr>
              <a:t>Services </a:t>
            </a:r>
          </a:p>
          <a:p>
            <a:pPr algn="ctr"/>
            <a:r>
              <a:rPr lang="fr-FR" sz="1100" b="1">
                <a:solidFill>
                  <a:srgbClr val="B0ADCC"/>
                </a:solidFill>
                <a:latin typeface="Tahoma"/>
              </a:rPr>
              <a:t>hôteliers </a:t>
            </a:r>
          </a:p>
        </p:txBody>
      </p:sp>
      <p:sp>
        <p:nvSpPr>
          <p:cNvPr id="75" name="ZoneTexte 74">
            <a:extLst>
              <a:ext uri="{FF2B5EF4-FFF2-40B4-BE49-F238E27FC236}">
                <a16:creationId xmlns:a16="http://schemas.microsoft.com/office/drawing/2014/main" id="{B41C0DCA-80F1-4816-A457-1207C9D53DC4}"/>
              </a:ext>
            </a:extLst>
          </p:cNvPr>
          <p:cNvSpPr txBox="1"/>
          <p:nvPr/>
        </p:nvSpPr>
        <p:spPr>
          <a:xfrm>
            <a:off x="1074928" y="3430882"/>
            <a:ext cx="1743708" cy="615553"/>
          </a:xfrm>
          <a:prstGeom prst="rect">
            <a:avLst/>
          </a:prstGeom>
          <a:noFill/>
          <a:ln>
            <a:noFill/>
          </a:ln>
        </p:spPr>
        <p:txBody>
          <a:bodyPr wrap="square" lIns="108000" rIns="108000" rtlCol="0">
            <a:spAutoFit/>
          </a:bodyPr>
          <a:lstStyle/>
          <a:p>
            <a:pPr algn="ctr"/>
            <a:r>
              <a:rPr lang="fr-FR" sz="1100" b="1">
                <a:solidFill>
                  <a:srgbClr val="B0ADCC"/>
                </a:solidFill>
                <a:latin typeface="Tahoma"/>
              </a:rPr>
              <a:t>Accompagnement médico-social</a:t>
            </a:r>
          </a:p>
          <a:p>
            <a:pPr marL="171450" indent="-171450" algn="ctr">
              <a:buFontTx/>
              <a:buChar char="-"/>
            </a:pPr>
            <a:endParaRPr lang="fr-FR" sz="1200">
              <a:solidFill>
                <a:srgbClr val="B0ADCC"/>
              </a:solidFill>
              <a:latin typeface="Tahoma"/>
            </a:endParaRPr>
          </a:p>
        </p:txBody>
      </p:sp>
      <p:sp>
        <p:nvSpPr>
          <p:cNvPr id="83" name="ZoneTexte 82">
            <a:extLst>
              <a:ext uri="{FF2B5EF4-FFF2-40B4-BE49-F238E27FC236}">
                <a16:creationId xmlns:a16="http://schemas.microsoft.com/office/drawing/2014/main" id="{E704886D-6C1A-46BC-811A-30A0456B3C66}"/>
              </a:ext>
            </a:extLst>
          </p:cNvPr>
          <p:cNvSpPr txBox="1"/>
          <p:nvPr/>
        </p:nvSpPr>
        <p:spPr>
          <a:xfrm>
            <a:off x="1218661" y="6338310"/>
            <a:ext cx="8186991" cy="523220"/>
          </a:xfrm>
          <a:prstGeom prst="rect">
            <a:avLst/>
          </a:prstGeom>
          <a:solidFill>
            <a:schemeClr val="bg1"/>
          </a:solidFill>
        </p:spPr>
        <p:txBody>
          <a:bodyPr wrap="square">
            <a:spAutoFit/>
          </a:bodyPr>
          <a:lstStyle/>
          <a:p>
            <a:pPr>
              <a:buClr>
                <a:srgbClr val="503078"/>
              </a:buClr>
              <a:defRPr/>
            </a:pPr>
            <a:r>
              <a:rPr lang="fr-FR" sz="700">
                <a:solidFill>
                  <a:srgbClr val="5F5F5F">
                    <a:lumMod val="60000"/>
                    <a:lumOff val="40000"/>
                  </a:srgbClr>
                </a:solidFill>
                <a:latin typeface="Tahoma"/>
              </a:rPr>
              <a:t>1. </a:t>
            </a:r>
            <a:r>
              <a:rPr lang="fr-FR" sz="700" err="1">
                <a:solidFill>
                  <a:srgbClr val="5F5F5F">
                    <a:lumMod val="60000"/>
                    <a:lumOff val="40000"/>
                  </a:srgbClr>
                </a:solidFill>
                <a:latin typeface="Tahoma"/>
              </a:rPr>
              <a:t>Biomérieux</a:t>
            </a:r>
            <a:r>
              <a:rPr lang="fr-FR" sz="700">
                <a:solidFill>
                  <a:srgbClr val="5F5F5F">
                    <a:lumMod val="60000"/>
                    <a:lumOff val="40000"/>
                  </a:srgbClr>
                </a:solidFill>
                <a:latin typeface="Tahoma"/>
              </a:rPr>
              <a:t>, Fondation Bettencourt-</a:t>
            </a:r>
            <a:r>
              <a:rPr lang="fr-FR" sz="700" err="1">
                <a:solidFill>
                  <a:srgbClr val="5F5F5F">
                    <a:lumMod val="60000"/>
                    <a:lumOff val="40000"/>
                  </a:srgbClr>
                </a:solidFill>
                <a:latin typeface="Tahoma"/>
              </a:rPr>
              <a:t>Schueller</a:t>
            </a:r>
            <a:r>
              <a:rPr lang="fr-FR" sz="700">
                <a:solidFill>
                  <a:srgbClr val="5F5F5F">
                    <a:lumMod val="60000"/>
                    <a:lumOff val="40000"/>
                  </a:srgbClr>
                </a:solidFill>
                <a:latin typeface="Tahoma"/>
              </a:rPr>
              <a:t>, Apicil, AG2R la Mondiale, Fondation Hôpitaux de Paris – Hôpitaux de France, Humanis, Caisse d’épargne Rhône-Alpes, Région Auvergne-Rhône-Alpes, CCAH, Klesia, Fondation Daniel et Nina </a:t>
            </a:r>
            <a:r>
              <a:rPr lang="fr-FR" sz="700" err="1">
                <a:solidFill>
                  <a:srgbClr val="5F5F5F">
                    <a:lumMod val="60000"/>
                    <a:lumOff val="40000"/>
                  </a:srgbClr>
                </a:solidFill>
                <a:latin typeface="Tahoma"/>
              </a:rPr>
              <a:t>Carasso</a:t>
            </a:r>
            <a:r>
              <a:rPr lang="fr-FR" sz="700">
                <a:solidFill>
                  <a:srgbClr val="5F5F5F">
                    <a:lumMod val="60000"/>
                    <a:lumOff val="40000"/>
                  </a:srgbClr>
                </a:solidFill>
                <a:latin typeface="Tahoma"/>
              </a:rPr>
              <a:t>, Malakoff Médéric, Fondation Génération Solidaires, CIC Lyonnaise de Banque, Harmonie Mutuelle, Association Le Cape, AXA France, Fondation Indosuez, Fondation Dominique et Tom </a:t>
            </a:r>
            <a:r>
              <a:rPr lang="fr-FR" sz="700" err="1">
                <a:solidFill>
                  <a:srgbClr val="5F5F5F">
                    <a:lumMod val="60000"/>
                    <a:lumOff val="40000"/>
                  </a:srgbClr>
                </a:solidFill>
                <a:latin typeface="Tahoma"/>
              </a:rPr>
              <a:t>Alberici</a:t>
            </a:r>
            <a:r>
              <a:rPr lang="fr-FR" sz="700">
                <a:solidFill>
                  <a:srgbClr val="5F5F5F">
                    <a:lumMod val="60000"/>
                    <a:lumOff val="40000"/>
                  </a:srgbClr>
                </a:solidFill>
                <a:latin typeface="Tahoma"/>
              </a:rPr>
              <a:t>, Gecina</a:t>
            </a:r>
          </a:p>
          <a:p>
            <a:pPr>
              <a:buClr>
                <a:srgbClr val="503078"/>
              </a:buClr>
              <a:defRPr/>
            </a:pPr>
            <a:r>
              <a:rPr lang="fr-FR" sz="700">
                <a:solidFill>
                  <a:srgbClr val="5F5F5F">
                    <a:lumMod val="60000"/>
                    <a:lumOff val="40000"/>
                  </a:srgbClr>
                </a:solidFill>
                <a:latin typeface="Tahoma"/>
              </a:rPr>
              <a:t>2. DGCS / CNSA, Note d’information du 19 mars 2021 concernant le cadre national d'orientation sur les principes généraux relatifs à l'offre de répit et à l'accueil temporaire</a:t>
            </a:r>
          </a:p>
        </p:txBody>
      </p:sp>
    </p:spTree>
    <p:extLst>
      <p:ext uri="{BB962C8B-B14F-4D97-AF65-F5344CB8AC3E}">
        <p14:creationId xmlns:p14="http://schemas.microsoft.com/office/powerpoint/2010/main" val="1287905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DDB96D-5870-433E-8224-8BA70AB31D5A}"/>
              </a:ext>
            </a:extLst>
          </p:cNvPr>
          <p:cNvSpPr>
            <a:spLocks noGrp="1"/>
          </p:cNvSpPr>
          <p:nvPr>
            <p:ph type="title"/>
          </p:nvPr>
        </p:nvSpPr>
        <p:spPr/>
        <p:txBody>
          <a:bodyPr/>
          <a:lstStyle/>
          <a:p>
            <a:r>
              <a:rPr lang="fr-FR"/>
              <a:t>Maison de Répit de Boulogne-Billancourt</a:t>
            </a:r>
          </a:p>
        </p:txBody>
      </p:sp>
      <p:sp>
        <p:nvSpPr>
          <p:cNvPr id="3" name="Espace réservé du texte 2">
            <a:extLst>
              <a:ext uri="{FF2B5EF4-FFF2-40B4-BE49-F238E27FC236}">
                <a16:creationId xmlns:a16="http://schemas.microsoft.com/office/drawing/2014/main" id="{9C630387-01A6-4667-A171-E57EE95EAA8D}"/>
              </a:ext>
            </a:extLst>
          </p:cNvPr>
          <p:cNvSpPr>
            <a:spLocks noGrp="1"/>
          </p:cNvSpPr>
          <p:nvPr>
            <p:ph type="body" sz="quarter" idx="13"/>
          </p:nvPr>
        </p:nvSpPr>
        <p:spPr/>
        <p:txBody>
          <a:bodyPr/>
          <a:lstStyle/>
          <a:p>
            <a:r>
              <a:rPr lang="fr-FR"/>
              <a:t>fiches initiatives</a:t>
            </a:r>
          </a:p>
        </p:txBody>
      </p:sp>
      <p:grpSp>
        <p:nvGrpSpPr>
          <p:cNvPr id="89" name="Group 219">
            <a:extLst>
              <a:ext uri="{FF2B5EF4-FFF2-40B4-BE49-F238E27FC236}">
                <a16:creationId xmlns:a16="http://schemas.microsoft.com/office/drawing/2014/main" id="{23563D0E-A6E2-449B-BBEF-8098E393884C}"/>
              </a:ext>
            </a:extLst>
          </p:cNvPr>
          <p:cNvGrpSpPr>
            <a:grpSpLocks/>
          </p:cNvGrpSpPr>
          <p:nvPr/>
        </p:nvGrpSpPr>
        <p:grpSpPr bwMode="gray">
          <a:xfrm>
            <a:off x="1498106" y="972493"/>
            <a:ext cx="1015402" cy="933665"/>
            <a:chOff x="48" y="168"/>
            <a:chExt cx="3077" cy="3032"/>
          </a:xfrm>
          <a:solidFill>
            <a:schemeClr val="tx2"/>
          </a:solidFill>
          <a:effectLst>
            <a:outerShdw blurRad="127000" dist="50800" dir="2700000" algn="ctr" rotWithShape="0">
              <a:schemeClr val="tx1">
                <a:alpha val="40000"/>
              </a:schemeClr>
            </a:outerShdw>
          </a:effectLst>
        </p:grpSpPr>
        <p:sp>
          <p:nvSpPr>
            <p:cNvPr id="90" name="Nord-Pas-de-Calais" descr="© INSCALE GmbH, 05.05.2010&#10;http://www.presentationload.com/">
              <a:extLst>
                <a:ext uri="{FF2B5EF4-FFF2-40B4-BE49-F238E27FC236}">
                  <a16:creationId xmlns:a16="http://schemas.microsoft.com/office/drawing/2014/main" id="{AB720DBB-1E99-4155-8615-016531D8396C}"/>
                </a:ext>
              </a:extLst>
            </p:cNvPr>
            <p:cNvSpPr>
              <a:spLocks/>
            </p:cNvSpPr>
            <p:nvPr/>
          </p:nvSpPr>
          <p:spPr bwMode="gray">
            <a:xfrm>
              <a:off x="1600" y="168"/>
              <a:ext cx="608" cy="383"/>
            </a:xfrm>
            <a:custGeom>
              <a:avLst/>
              <a:gdLst/>
              <a:ahLst/>
              <a:cxnLst>
                <a:cxn ang="0">
                  <a:pos x="77" y="236"/>
                </a:cxn>
                <a:cxn ang="0">
                  <a:pos x="101" y="257"/>
                </a:cxn>
                <a:cxn ang="0">
                  <a:pos x="117" y="279"/>
                </a:cxn>
                <a:cxn ang="0">
                  <a:pos x="159" y="269"/>
                </a:cxn>
                <a:cxn ang="0">
                  <a:pos x="187" y="273"/>
                </a:cxn>
                <a:cxn ang="0">
                  <a:pos x="173" y="309"/>
                </a:cxn>
                <a:cxn ang="0">
                  <a:pos x="208" y="304"/>
                </a:cxn>
                <a:cxn ang="0">
                  <a:pos x="232" y="300"/>
                </a:cxn>
                <a:cxn ang="0">
                  <a:pos x="244" y="323"/>
                </a:cxn>
                <a:cxn ang="0">
                  <a:pos x="272" y="324"/>
                </a:cxn>
                <a:cxn ang="0">
                  <a:pos x="279" y="321"/>
                </a:cxn>
                <a:cxn ang="0">
                  <a:pos x="343" y="329"/>
                </a:cxn>
                <a:cxn ang="0">
                  <a:pos x="364" y="327"/>
                </a:cxn>
                <a:cxn ang="0">
                  <a:pos x="440" y="317"/>
                </a:cxn>
                <a:cxn ang="0">
                  <a:pos x="473" y="333"/>
                </a:cxn>
                <a:cxn ang="0">
                  <a:pos x="492" y="335"/>
                </a:cxn>
                <a:cxn ang="0">
                  <a:pos x="548" y="320"/>
                </a:cxn>
                <a:cxn ang="0">
                  <a:pos x="556" y="283"/>
                </a:cxn>
                <a:cxn ang="0">
                  <a:pos x="545" y="269"/>
                </a:cxn>
                <a:cxn ang="0">
                  <a:pos x="559" y="243"/>
                </a:cxn>
                <a:cxn ang="0">
                  <a:pos x="543" y="243"/>
                </a:cxn>
                <a:cxn ang="0">
                  <a:pos x="517" y="215"/>
                </a:cxn>
                <a:cxn ang="0">
                  <a:pos x="500" y="219"/>
                </a:cxn>
                <a:cxn ang="0">
                  <a:pos x="486" y="217"/>
                </a:cxn>
                <a:cxn ang="0">
                  <a:pos x="452" y="228"/>
                </a:cxn>
                <a:cxn ang="0">
                  <a:pos x="442" y="201"/>
                </a:cxn>
                <a:cxn ang="0">
                  <a:pos x="436" y="174"/>
                </a:cxn>
                <a:cxn ang="0">
                  <a:pos x="409" y="165"/>
                </a:cxn>
                <a:cxn ang="0">
                  <a:pos x="362" y="157"/>
                </a:cxn>
                <a:cxn ang="0">
                  <a:pos x="353" y="124"/>
                </a:cxn>
                <a:cxn ang="0">
                  <a:pos x="350" y="110"/>
                </a:cxn>
                <a:cxn ang="0">
                  <a:pos x="325" y="90"/>
                </a:cxn>
                <a:cxn ang="0">
                  <a:pos x="283" y="114"/>
                </a:cxn>
                <a:cxn ang="0">
                  <a:pos x="262" y="106"/>
                </a:cxn>
                <a:cxn ang="0">
                  <a:pos x="245" y="76"/>
                </a:cxn>
                <a:cxn ang="0">
                  <a:pos x="221" y="67"/>
                </a:cxn>
                <a:cxn ang="0">
                  <a:pos x="224" y="42"/>
                </a:cxn>
                <a:cxn ang="0">
                  <a:pos x="212" y="9"/>
                </a:cxn>
                <a:cxn ang="0">
                  <a:pos x="157" y="7"/>
                </a:cxn>
                <a:cxn ang="0">
                  <a:pos x="54" y="31"/>
                </a:cxn>
                <a:cxn ang="0">
                  <a:pos x="7" y="57"/>
                </a:cxn>
                <a:cxn ang="0">
                  <a:pos x="5" y="106"/>
                </a:cxn>
                <a:cxn ang="0">
                  <a:pos x="4" y="192"/>
                </a:cxn>
                <a:cxn ang="0">
                  <a:pos x="1" y="228"/>
                </a:cxn>
                <a:cxn ang="0">
                  <a:pos x="12" y="235"/>
                </a:cxn>
                <a:cxn ang="0">
                  <a:pos x="65" y="237"/>
                </a:cxn>
              </a:cxnLst>
              <a:rect l="0" t="0" r="r" b="b"/>
              <a:pathLst>
                <a:path w="564" h="355">
                  <a:moveTo>
                    <a:pt x="65" y="237"/>
                  </a:moveTo>
                  <a:cubicBezTo>
                    <a:pt x="77" y="236"/>
                    <a:pt x="77" y="236"/>
                    <a:pt x="77" y="236"/>
                  </a:cubicBezTo>
                  <a:cubicBezTo>
                    <a:pt x="79" y="247"/>
                    <a:pt x="79" y="247"/>
                    <a:pt x="79" y="247"/>
                  </a:cubicBezTo>
                  <a:cubicBezTo>
                    <a:pt x="101" y="257"/>
                    <a:pt x="101" y="257"/>
                    <a:pt x="101" y="257"/>
                  </a:cubicBezTo>
                  <a:cubicBezTo>
                    <a:pt x="109" y="275"/>
                    <a:pt x="109" y="275"/>
                    <a:pt x="109" y="275"/>
                  </a:cubicBezTo>
                  <a:cubicBezTo>
                    <a:pt x="117" y="279"/>
                    <a:pt x="117" y="279"/>
                    <a:pt x="117" y="279"/>
                  </a:cubicBezTo>
                  <a:cubicBezTo>
                    <a:pt x="143" y="265"/>
                    <a:pt x="143" y="265"/>
                    <a:pt x="143" y="265"/>
                  </a:cubicBezTo>
                  <a:cubicBezTo>
                    <a:pt x="159" y="269"/>
                    <a:pt x="159" y="269"/>
                    <a:pt x="159" y="269"/>
                  </a:cubicBezTo>
                  <a:cubicBezTo>
                    <a:pt x="180" y="263"/>
                    <a:pt x="180" y="263"/>
                    <a:pt x="180" y="263"/>
                  </a:cubicBezTo>
                  <a:cubicBezTo>
                    <a:pt x="187" y="273"/>
                    <a:pt x="187" y="273"/>
                    <a:pt x="187" y="273"/>
                  </a:cubicBezTo>
                  <a:cubicBezTo>
                    <a:pt x="187" y="273"/>
                    <a:pt x="163" y="293"/>
                    <a:pt x="163" y="304"/>
                  </a:cubicBezTo>
                  <a:cubicBezTo>
                    <a:pt x="163" y="315"/>
                    <a:pt x="173" y="309"/>
                    <a:pt x="173" y="309"/>
                  </a:cubicBezTo>
                  <a:cubicBezTo>
                    <a:pt x="173" y="309"/>
                    <a:pt x="193" y="289"/>
                    <a:pt x="193" y="300"/>
                  </a:cubicBezTo>
                  <a:cubicBezTo>
                    <a:pt x="193" y="300"/>
                    <a:pt x="208" y="297"/>
                    <a:pt x="208" y="304"/>
                  </a:cubicBezTo>
                  <a:cubicBezTo>
                    <a:pt x="208" y="311"/>
                    <a:pt x="227" y="313"/>
                    <a:pt x="227" y="313"/>
                  </a:cubicBezTo>
                  <a:cubicBezTo>
                    <a:pt x="232" y="300"/>
                    <a:pt x="232" y="300"/>
                    <a:pt x="232" y="300"/>
                  </a:cubicBezTo>
                  <a:cubicBezTo>
                    <a:pt x="248" y="303"/>
                    <a:pt x="248" y="303"/>
                    <a:pt x="248" y="303"/>
                  </a:cubicBezTo>
                  <a:cubicBezTo>
                    <a:pt x="244" y="323"/>
                    <a:pt x="244" y="323"/>
                    <a:pt x="244" y="323"/>
                  </a:cubicBezTo>
                  <a:cubicBezTo>
                    <a:pt x="263" y="313"/>
                    <a:pt x="263" y="313"/>
                    <a:pt x="263" y="313"/>
                  </a:cubicBezTo>
                  <a:cubicBezTo>
                    <a:pt x="272" y="324"/>
                    <a:pt x="272" y="324"/>
                    <a:pt x="272" y="324"/>
                  </a:cubicBezTo>
                  <a:cubicBezTo>
                    <a:pt x="265" y="332"/>
                    <a:pt x="265" y="332"/>
                    <a:pt x="265" y="332"/>
                  </a:cubicBezTo>
                  <a:cubicBezTo>
                    <a:pt x="279" y="321"/>
                    <a:pt x="279" y="321"/>
                    <a:pt x="279" y="321"/>
                  </a:cubicBezTo>
                  <a:cubicBezTo>
                    <a:pt x="313" y="321"/>
                    <a:pt x="313" y="321"/>
                    <a:pt x="313" y="321"/>
                  </a:cubicBezTo>
                  <a:cubicBezTo>
                    <a:pt x="313" y="321"/>
                    <a:pt x="320" y="341"/>
                    <a:pt x="343" y="329"/>
                  </a:cubicBezTo>
                  <a:cubicBezTo>
                    <a:pt x="348" y="331"/>
                    <a:pt x="348" y="335"/>
                    <a:pt x="348" y="335"/>
                  </a:cubicBezTo>
                  <a:cubicBezTo>
                    <a:pt x="348" y="335"/>
                    <a:pt x="359" y="339"/>
                    <a:pt x="364" y="327"/>
                  </a:cubicBezTo>
                  <a:cubicBezTo>
                    <a:pt x="364" y="327"/>
                    <a:pt x="400" y="337"/>
                    <a:pt x="404" y="319"/>
                  </a:cubicBezTo>
                  <a:cubicBezTo>
                    <a:pt x="403" y="323"/>
                    <a:pt x="413" y="339"/>
                    <a:pt x="440" y="317"/>
                  </a:cubicBezTo>
                  <a:cubicBezTo>
                    <a:pt x="473" y="327"/>
                    <a:pt x="473" y="327"/>
                    <a:pt x="473" y="327"/>
                  </a:cubicBezTo>
                  <a:cubicBezTo>
                    <a:pt x="473" y="333"/>
                    <a:pt x="473" y="333"/>
                    <a:pt x="473" y="333"/>
                  </a:cubicBezTo>
                  <a:cubicBezTo>
                    <a:pt x="492" y="321"/>
                    <a:pt x="492" y="321"/>
                    <a:pt x="492" y="321"/>
                  </a:cubicBezTo>
                  <a:cubicBezTo>
                    <a:pt x="492" y="335"/>
                    <a:pt x="492" y="335"/>
                    <a:pt x="492" y="335"/>
                  </a:cubicBezTo>
                  <a:cubicBezTo>
                    <a:pt x="492" y="335"/>
                    <a:pt x="522" y="355"/>
                    <a:pt x="554" y="333"/>
                  </a:cubicBezTo>
                  <a:cubicBezTo>
                    <a:pt x="551" y="330"/>
                    <a:pt x="549" y="325"/>
                    <a:pt x="548" y="320"/>
                  </a:cubicBezTo>
                  <a:cubicBezTo>
                    <a:pt x="547" y="313"/>
                    <a:pt x="558" y="305"/>
                    <a:pt x="561" y="303"/>
                  </a:cubicBezTo>
                  <a:cubicBezTo>
                    <a:pt x="564" y="301"/>
                    <a:pt x="556" y="283"/>
                    <a:pt x="556" y="283"/>
                  </a:cubicBezTo>
                  <a:cubicBezTo>
                    <a:pt x="556" y="283"/>
                    <a:pt x="553" y="283"/>
                    <a:pt x="547" y="283"/>
                  </a:cubicBezTo>
                  <a:cubicBezTo>
                    <a:pt x="541" y="283"/>
                    <a:pt x="545" y="269"/>
                    <a:pt x="545" y="269"/>
                  </a:cubicBezTo>
                  <a:cubicBezTo>
                    <a:pt x="547" y="260"/>
                    <a:pt x="547" y="260"/>
                    <a:pt x="547" y="260"/>
                  </a:cubicBezTo>
                  <a:cubicBezTo>
                    <a:pt x="547" y="260"/>
                    <a:pt x="558" y="246"/>
                    <a:pt x="559" y="243"/>
                  </a:cubicBezTo>
                  <a:cubicBezTo>
                    <a:pt x="560" y="240"/>
                    <a:pt x="554" y="236"/>
                    <a:pt x="554" y="236"/>
                  </a:cubicBezTo>
                  <a:cubicBezTo>
                    <a:pt x="543" y="243"/>
                    <a:pt x="543" y="243"/>
                    <a:pt x="543" y="243"/>
                  </a:cubicBezTo>
                  <a:cubicBezTo>
                    <a:pt x="542" y="233"/>
                    <a:pt x="542" y="233"/>
                    <a:pt x="542" y="233"/>
                  </a:cubicBezTo>
                  <a:cubicBezTo>
                    <a:pt x="517" y="215"/>
                    <a:pt x="517" y="215"/>
                    <a:pt x="517" y="215"/>
                  </a:cubicBezTo>
                  <a:cubicBezTo>
                    <a:pt x="514" y="219"/>
                    <a:pt x="514" y="219"/>
                    <a:pt x="514" y="219"/>
                  </a:cubicBezTo>
                  <a:cubicBezTo>
                    <a:pt x="500" y="219"/>
                    <a:pt x="500" y="219"/>
                    <a:pt x="500" y="219"/>
                  </a:cubicBezTo>
                  <a:cubicBezTo>
                    <a:pt x="493" y="225"/>
                    <a:pt x="493" y="225"/>
                    <a:pt x="493" y="225"/>
                  </a:cubicBezTo>
                  <a:cubicBezTo>
                    <a:pt x="486" y="217"/>
                    <a:pt x="486" y="217"/>
                    <a:pt x="486" y="217"/>
                  </a:cubicBezTo>
                  <a:cubicBezTo>
                    <a:pt x="460" y="216"/>
                    <a:pt x="460" y="216"/>
                    <a:pt x="460" y="216"/>
                  </a:cubicBezTo>
                  <a:cubicBezTo>
                    <a:pt x="452" y="228"/>
                    <a:pt x="452" y="228"/>
                    <a:pt x="452" y="228"/>
                  </a:cubicBezTo>
                  <a:cubicBezTo>
                    <a:pt x="443" y="216"/>
                    <a:pt x="443" y="216"/>
                    <a:pt x="443" y="216"/>
                  </a:cubicBezTo>
                  <a:cubicBezTo>
                    <a:pt x="442" y="201"/>
                    <a:pt x="442" y="201"/>
                    <a:pt x="442" y="201"/>
                  </a:cubicBezTo>
                  <a:cubicBezTo>
                    <a:pt x="449" y="195"/>
                    <a:pt x="449" y="195"/>
                    <a:pt x="449" y="195"/>
                  </a:cubicBezTo>
                  <a:cubicBezTo>
                    <a:pt x="436" y="174"/>
                    <a:pt x="436" y="174"/>
                    <a:pt x="436" y="174"/>
                  </a:cubicBezTo>
                  <a:cubicBezTo>
                    <a:pt x="410" y="172"/>
                    <a:pt x="410" y="172"/>
                    <a:pt x="410" y="172"/>
                  </a:cubicBezTo>
                  <a:cubicBezTo>
                    <a:pt x="409" y="165"/>
                    <a:pt x="409" y="165"/>
                    <a:pt x="409" y="165"/>
                  </a:cubicBezTo>
                  <a:cubicBezTo>
                    <a:pt x="409" y="165"/>
                    <a:pt x="390" y="174"/>
                    <a:pt x="383" y="174"/>
                  </a:cubicBezTo>
                  <a:cubicBezTo>
                    <a:pt x="376" y="174"/>
                    <a:pt x="362" y="157"/>
                    <a:pt x="362" y="157"/>
                  </a:cubicBezTo>
                  <a:cubicBezTo>
                    <a:pt x="362" y="141"/>
                    <a:pt x="362" y="141"/>
                    <a:pt x="362" y="141"/>
                  </a:cubicBezTo>
                  <a:cubicBezTo>
                    <a:pt x="353" y="124"/>
                    <a:pt x="353" y="124"/>
                    <a:pt x="353" y="124"/>
                  </a:cubicBezTo>
                  <a:cubicBezTo>
                    <a:pt x="353" y="124"/>
                    <a:pt x="360" y="119"/>
                    <a:pt x="359" y="116"/>
                  </a:cubicBezTo>
                  <a:cubicBezTo>
                    <a:pt x="358" y="113"/>
                    <a:pt x="350" y="110"/>
                    <a:pt x="350" y="110"/>
                  </a:cubicBezTo>
                  <a:cubicBezTo>
                    <a:pt x="335" y="85"/>
                    <a:pt x="335" y="85"/>
                    <a:pt x="335" y="85"/>
                  </a:cubicBezTo>
                  <a:cubicBezTo>
                    <a:pt x="325" y="90"/>
                    <a:pt x="325" y="90"/>
                    <a:pt x="325" y="90"/>
                  </a:cubicBezTo>
                  <a:cubicBezTo>
                    <a:pt x="325" y="90"/>
                    <a:pt x="291" y="99"/>
                    <a:pt x="291" y="106"/>
                  </a:cubicBezTo>
                  <a:cubicBezTo>
                    <a:pt x="291" y="113"/>
                    <a:pt x="283" y="114"/>
                    <a:pt x="283" y="114"/>
                  </a:cubicBezTo>
                  <a:cubicBezTo>
                    <a:pt x="273" y="106"/>
                    <a:pt x="273" y="106"/>
                    <a:pt x="273" y="106"/>
                  </a:cubicBezTo>
                  <a:cubicBezTo>
                    <a:pt x="262" y="106"/>
                    <a:pt x="262" y="106"/>
                    <a:pt x="262" y="106"/>
                  </a:cubicBezTo>
                  <a:cubicBezTo>
                    <a:pt x="262" y="106"/>
                    <a:pt x="253" y="99"/>
                    <a:pt x="253" y="95"/>
                  </a:cubicBezTo>
                  <a:cubicBezTo>
                    <a:pt x="253" y="91"/>
                    <a:pt x="245" y="76"/>
                    <a:pt x="245" y="76"/>
                  </a:cubicBezTo>
                  <a:cubicBezTo>
                    <a:pt x="231" y="77"/>
                    <a:pt x="231" y="77"/>
                    <a:pt x="231" y="77"/>
                  </a:cubicBezTo>
                  <a:cubicBezTo>
                    <a:pt x="221" y="67"/>
                    <a:pt x="221" y="67"/>
                    <a:pt x="221" y="67"/>
                  </a:cubicBezTo>
                  <a:cubicBezTo>
                    <a:pt x="223" y="56"/>
                    <a:pt x="223" y="56"/>
                    <a:pt x="223" y="56"/>
                  </a:cubicBezTo>
                  <a:cubicBezTo>
                    <a:pt x="223" y="56"/>
                    <a:pt x="221" y="42"/>
                    <a:pt x="224" y="42"/>
                  </a:cubicBezTo>
                  <a:cubicBezTo>
                    <a:pt x="227" y="42"/>
                    <a:pt x="221" y="27"/>
                    <a:pt x="221" y="27"/>
                  </a:cubicBezTo>
                  <a:cubicBezTo>
                    <a:pt x="221" y="27"/>
                    <a:pt x="212" y="15"/>
                    <a:pt x="212" y="9"/>
                  </a:cubicBezTo>
                  <a:cubicBezTo>
                    <a:pt x="212" y="3"/>
                    <a:pt x="207" y="0"/>
                    <a:pt x="207" y="0"/>
                  </a:cubicBezTo>
                  <a:cubicBezTo>
                    <a:pt x="207" y="0"/>
                    <a:pt x="174" y="6"/>
                    <a:pt x="157" y="7"/>
                  </a:cubicBezTo>
                  <a:cubicBezTo>
                    <a:pt x="140" y="8"/>
                    <a:pt x="143" y="8"/>
                    <a:pt x="115" y="17"/>
                  </a:cubicBezTo>
                  <a:cubicBezTo>
                    <a:pt x="87" y="26"/>
                    <a:pt x="75" y="27"/>
                    <a:pt x="54" y="31"/>
                  </a:cubicBezTo>
                  <a:cubicBezTo>
                    <a:pt x="33" y="35"/>
                    <a:pt x="26" y="54"/>
                    <a:pt x="26" y="54"/>
                  </a:cubicBezTo>
                  <a:cubicBezTo>
                    <a:pt x="7" y="57"/>
                    <a:pt x="7" y="57"/>
                    <a:pt x="7" y="57"/>
                  </a:cubicBezTo>
                  <a:cubicBezTo>
                    <a:pt x="7" y="57"/>
                    <a:pt x="16" y="74"/>
                    <a:pt x="15" y="87"/>
                  </a:cubicBezTo>
                  <a:cubicBezTo>
                    <a:pt x="14" y="100"/>
                    <a:pt x="5" y="100"/>
                    <a:pt x="5" y="106"/>
                  </a:cubicBezTo>
                  <a:cubicBezTo>
                    <a:pt x="5" y="112"/>
                    <a:pt x="14" y="157"/>
                    <a:pt x="14" y="157"/>
                  </a:cubicBezTo>
                  <a:cubicBezTo>
                    <a:pt x="4" y="192"/>
                    <a:pt x="4" y="192"/>
                    <a:pt x="4" y="192"/>
                  </a:cubicBezTo>
                  <a:cubicBezTo>
                    <a:pt x="4" y="192"/>
                    <a:pt x="7" y="201"/>
                    <a:pt x="12" y="203"/>
                  </a:cubicBezTo>
                  <a:cubicBezTo>
                    <a:pt x="4" y="203"/>
                    <a:pt x="0" y="217"/>
                    <a:pt x="1" y="228"/>
                  </a:cubicBezTo>
                  <a:cubicBezTo>
                    <a:pt x="2" y="239"/>
                    <a:pt x="9" y="232"/>
                    <a:pt x="9" y="232"/>
                  </a:cubicBezTo>
                  <a:cubicBezTo>
                    <a:pt x="9" y="232"/>
                    <a:pt x="10" y="233"/>
                    <a:pt x="12" y="235"/>
                  </a:cubicBezTo>
                  <a:cubicBezTo>
                    <a:pt x="21" y="231"/>
                    <a:pt x="35" y="224"/>
                    <a:pt x="39" y="224"/>
                  </a:cubicBezTo>
                  <a:cubicBezTo>
                    <a:pt x="44" y="224"/>
                    <a:pt x="65" y="237"/>
                    <a:pt x="65" y="23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1" name="Picardie" descr="© INSCALE GmbH, 05.05.2010&#10;http://www.presentationload.com/">
              <a:extLst>
                <a:ext uri="{FF2B5EF4-FFF2-40B4-BE49-F238E27FC236}">
                  <a16:creationId xmlns:a16="http://schemas.microsoft.com/office/drawing/2014/main" id="{2A78403A-7F28-4A1F-B641-DECB4BC24BE4}"/>
                </a:ext>
              </a:extLst>
            </p:cNvPr>
            <p:cNvSpPr>
              <a:spLocks/>
            </p:cNvSpPr>
            <p:nvPr/>
          </p:nvSpPr>
          <p:spPr bwMode="gray">
            <a:xfrm>
              <a:off x="1552" y="410"/>
              <a:ext cx="644" cy="519"/>
            </a:xfrm>
            <a:custGeom>
              <a:avLst/>
              <a:gdLst/>
              <a:ahLst/>
              <a:cxnLst>
                <a:cxn ang="0">
                  <a:pos x="17" y="99"/>
                </a:cxn>
                <a:cxn ang="0">
                  <a:pos x="85" y="189"/>
                </a:cxn>
                <a:cxn ang="0">
                  <a:pos x="79" y="213"/>
                </a:cxn>
                <a:cxn ang="0">
                  <a:pos x="79" y="264"/>
                </a:cxn>
                <a:cxn ang="0">
                  <a:pos x="83" y="275"/>
                </a:cxn>
                <a:cxn ang="0">
                  <a:pos x="84" y="355"/>
                </a:cxn>
                <a:cxn ang="0">
                  <a:pos x="76" y="379"/>
                </a:cxn>
                <a:cxn ang="0">
                  <a:pos x="144" y="371"/>
                </a:cxn>
                <a:cxn ang="0">
                  <a:pos x="160" y="373"/>
                </a:cxn>
                <a:cxn ang="0">
                  <a:pos x="173" y="376"/>
                </a:cxn>
                <a:cxn ang="0">
                  <a:pos x="196" y="375"/>
                </a:cxn>
                <a:cxn ang="0">
                  <a:pos x="196" y="375"/>
                </a:cxn>
                <a:cxn ang="0">
                  <a:pos x="232" y="403"/>
                </a:cxn>
                <a:cxn ang="0">
                  <a:pos x="251" y="409"/>
                </a:cxn>
                <a:cxn ang="0">
                  <a:pos x="280" y="412"/>
                </a:cxn>
                <a:cxn ang="0">
                  <a:pos x="311" y="413"/>
                </a:cxn>
                <a:cxn ang="0">
                  <a:pos x="356" y="397"/>
                </a:cxn>
                <a:cxn ang="0">
                  <a:pos x="392" y="451"/>
                </a:cxn>
                <a:cxn ang="0">
                  <a:pos x="407" y="457"/>
                </a:cxn>
                <a:cxn ang="0">
                  <a:pos x="421" y="476"/>
                </a:cxn>
                <a:cxn ang="0">
                  <a:pos x="451" y="461"/>
                </a:cxn>
                <a:cxn ang="0">
                  <a:pos x="480" y="424"/>
                </a:cxn>
                <a:cxn ang="0">
                  <a:pos x="463" y="415"/>
                </a:cxn>
                <a:cxn ang="0">
                  <a:pos x="465" y="391"/>
                </a:cxn>
                <a:cxn ang="0">
                  <a:pos x="473" y="364"/>
                </a:cxn>
                <a:cxn ang="0">
                  <a:pos x="473" y="333"/>
                </a:cxn>
                <a:cxn ang="0">
                  <a:pos x="517" y="309"/>
                </a:cxn>
                <a:cxn ang="0">
                  <a:pos x="552" y="316"/>
                </a:cxn>
                <a:cxn ang="0">
                  <a:pos x="560" y="260"/>
                </a:cxn>
                <a:cxn ang="0">
                  <a:pos x="564" y="229"/>
                </a:cxn>
                <a:cxn ang="0">
                  <a:pos x="593" y="187"/>
                </a:cxn>
                <a:cxn ang="0">
                  <a:pos x="592" y="143"/>
                </a:cxn>
                <a:cxn ang="0">
                  <a:pos x="536" y="111"/>
                </a:cxn>
                <a:cxn ang="0">
                  <a:pos x="517" y="109"/>
                </a:cxn>
                <a:cxn ang="0">
                  <a:pos x="484" y="93"/>
                </a:cxn>
                <a:cxn ang="0">
                  <a:pos x="408" y="103"/>
                </a:cxn>
                <a:cxn ang="0">
                  <a:pos x="387" y="105"/>
                </a:cxn>
                <a:cxn ang="0">
                  <a:pos x="323" y="97"/>
                </a:cxn>
                <a:cxn ang="0">
                  <a:pos x="316" y="100"/>
                </a:cxn>
                <a:cxn ang="0">
                  <a:pos x="288" y="99"/>
                </a:cxn>
                <a:cxn ang="0">
                  <a:pos x="276" y="76"/>
                </a:cxn>
                <a:cxn ang="0">
                  <a:pos x="252" y="80"/>
                </a:cxn>
                <a:cxn ang="0">
                  <a:pos x="217" y="85"/>
                </a:cxn>
                <a:cxn ang="0">
                  <a:pos x="231" y="49"/>
                </a:cxn>
                <a:cxn ang="0">
                  <a:pos x="203" y="45"/>
                </a:cxn>
                <a:cxn ang="0">
                  <a:pos x="161" y="55"/>
                </a:cxn>
                <a:cxn ang="0">
                  <a:pos x="145" y="33"/>
                </a:cxn>
                <a:cxn ang="0">
                  <a:pos x="121" y="12"/>
                </a:cxn>
                <a:cxn ang="0">
                  <a:pos x="83" y="0"/>
                </a:cxn>
                <a:cxn ang="0">
                  <a:pos x="63" y="30"/>
                </a:cxn>
                <a:cxn ang="0">
                  <a:pos x="25" y="60"/>
                </a:cxn>
                <a:cxn ang="0">
                  <a:pos x="5" y="92"/>
                </a:cxn>
              </a:cxnLst>
              <a:rect l="0" t="0" r="r" b="b"/>
              <a:pathLst>
                <a:path w="597" h="481">
                  <a:moveTo>
                    <a:pt x="17" y="95"/>
                  </a:moveTo>
                  <a:cubicBezTo>
                    <a:pt x="17" y="99"/>
                    <a:pt x="17" y="99"/>
                    <a:pt x="17" y="99"/>
                  </a:cubicBezTo>
                  <a:cubicBezTo>
                    <a:pt x="17" y="99"/>
                    <a:pt x="43" y="136"/>
                    <a:pt x="61" y="139"/>
                  </a:cubicBezTo>
                  <a:cubicBezTo>
                    <a:pt x="85" y="189"/>
                    <a:pt x="85" y="189"/>
                    <a:pt x="85" y="189"/>
                  </a:cubicBezTo>
                  <a:cubicBezTo>
                    <a:pt x="85" y="189"/>
                    <a:pt x="64" y="211"/>
                    <a:pt x="68" y="212"/>
                  </a:cubicBezTo>
                  <a:cubicBezTo>
                    <a:pt x="72" y="213"/>
                    <a:pt x="79" y="213"/>
                    <a:pt x="79" y="213"/>
                  </a:cubicBezTo>
                  <a:cubicBezTo>
                    <a:pt x="69" y="244"/>
                    <a:pt x="69" y="244"/>
                    <a:pt x="69" y="244"/>
                  </a:cubicBezTo>
                  <a:cubicBezTo>
                    <a:pt x="79" y="264"/>
                    <a:pt x="79" y="264"/>
                    <a:pt x="79" y="264"/>
                  </a:cubicBezTo>
                  <a:cubicBezTo>
                    <a:pt x="73" y="276"/>
                    <a:pt x="73" y="276"/>
                    <a:pt x="73" y="276"/>
                  </a:cubicBezTo>
                  <a:cubicBezTo>
                    <a:pt x="83" y="275"/>
                    <a:pt x="83" y="275"/>
                    <a:pt x="83" y="275"/>
                  </a:cubicBezTo>
                  <a:cubicBezTo>
                    <a:pt x="73" y="303"/>
                    <a:pt x="73" y="303"/>
                    <a:pt x="73" y="303"/>
                  </a:cubicBezTo>
                  <a:cubicBezTo>
                    <a:pt x="73" y="303"/>
                    <a:pt x="85" y="340"/>
                    <a:pt x="84" y="355"/>
                  </a:cubicBezTo>
                  <a:cubicBezTo>
                    <a:pt x="65" y="349"/>
                    <a:pt x="65" y="349"/>
                    <a:pt x="65" y="349"/>
                  </a:cubicBezTo>
                  <a:cubicBezTo>
                    <a:pt x="76" y="379"/>
                    <a:pt x="76" y="379"/>
                    <a:pt x="76" y="379"/>
                  </a:cubicBezTo>
                  <a:cubicBezTo>
                    <a:pt x="128" y="375"/>
                    <a:pt x="128" y="375"/>
                    <a:pt x="128" y="375"/>
                  </a:cubicBezTo>
                  <a:cubicBezTo>
                    <a:pt x="144" y="371"/>
                    <a:pt x="144" y="371"/>
                    <a:pt x="144" y="371"/>
                  </a:cubicBezTo>
                  <a:cubicBezTo>
                    <a:pt x="151" y="376"/>
                    <a:pt x="151" y="376"/>
                    <a:pt x="151" y="376"/>
                  </a:cubicBezTo>
                  <a:cubicBezTo>
                    <a:pt x="160" y="373"/>
                    <a:pt x="160" y="373"/>
                    <a:pt x="160" y="373"/>
                  </a:cubicBezTo>
                  <a:cubicBezTo>
                    <a:pt x="169" y="383"/>
                    <a:pt x="169" y="383"/>
                    <a:pt x="169" y="383"/>
                  </a:cubicBezTo>
                  <a:cubicBezTo>
                    <a:pt x="173" y="376"/>
                    <a:pt x="173" y="376"/>
                    <a:pt x="173" y="376"/>
                  </a:cubicBezTo>
                  <a:cubicBezTo>
                    <a:pt x="177" y="384"/>
                    <a:pt x="177" y="384"/>
                    <a:pt x="177" y="384"/>
                  </a:cubicBezTo>
                  <a:cubicBezTo>
                    <a:pt x="196" y="375"/>
                    <a:pt x="196" y="375"/>
                    <a:pt x="196" y="375"/>
                  </a:cubicBezTo>
                  <a:cubicBezTo>
                    <a:pt x="197" y="375"/>
                    <a:pt x="197" y="375"/>
                    <a:pt x="197" y="375"/>
                  </a:cubicBezTo>
                  <a:cubicBezTo>
                    <a:pt x="196" y="375"/>
                    <a:pt x="196" y="375"/>
                    <a:pt x="196" y="375"/>
                  </a:cubicBezTo>
                  <a:cubicBezTo>
                    <a:pt x="194" y="376"/>
                    <a:pt x="190" y="380"/>
                    <a:pt x="203" y="383"/>
                  </a:cubicBezTo>
                  <a:cubicBezTo>
                    <a:pt x="219" y="387"/>
                    <a:pt x="237" y="399"/>
                    <a:pt x="232" y="403"/>
                  </a:cubicBezTo>
                  <a:cubicBezTo>
                    <a:pt x="227" y="407"/>
                    <a:pt x="245" y="399"/>
                    <a:pt x="245" y="399"/>
                  </a:cubicBezTo>
                  <a:cubicBezTo>
                    <a:pt x="251" y="409"/>
                    <a:pt x="251" y="409"/>
                    <a:pt x="251" y="409"/>
                  </a:cubicBezTo>
                  <a:cubicBezTo>
                    <a:pt x="251" y="409"/>
                    <a:pt x="253" y="397"/>
                    <a:pt x="260" y="401"/>
                  </a:cubicBezTo>
                  <a:cubicBezTo>
                    <a:pt x="267" y="405"/>
                    <a:pt x="272" y="409"/>
                    <a:pt x="280" y="412"/>
                  </a:cubicBezTo>
                  <a:cubicBezTo>
                    <a:pt x="288" y="415"/>
                    <a:pt x="297" y="405"/>
                    <a:pt x="297" y="405"/>
                  </a:cubicBezTo>
                  <a:cubicBezTo>
                    <a:pt x="311" y="413"/>
                    <a:pt x="311" y="413"/>
                    <a:pt x="311" y="413"/>
                  </a:cubicBezTo>
                  <a:cubicBezTo>
                    <a:pt x="349" y="403"/>
                    <a:pt x="349" y="403"/>
                    <a:pt x="349" y="403"/>
                  </a:cubicBezTo>
                  <a:cubicBezTo>
                    <a:pt x="356" y="397"/>
                    <a:pt x="356" y="397"/>
                    <a:pt x="356" y="397"/>
                  </a:cubicBezTo>
                  <a:cubicBezTo>
                    <a:pt x="356" y="397"/>
                    <a:pt x="380" y="399"/>
                    <a:pt x="376" y="431"/>
                  </a:cubicBezTo>
                  <a:cubicBezTo>
                    <a:pt x="377" y="436"/>
                    <a:pt x="393" y="443"/>
                    <a:pt x="392" y="451"/>
                  </a:cubicBezTo>
                  <a:cubicBezTo>
                    <a:pt x="391" y="459"/>
                    <a:pt x="404" y="449"/>
                    <a:pt x="404" y="449"/>
                  </a:cubicBezTo>
                  <a:cubicBezTo>
                    <a:pt x="407" y="457"/>
                    <a:pt x="407" y="457"/>
                    <a:pt x="407" y="457"/>
                  </a:cubicBezTo>
                  <a:cubicBezTo>
                    <a:pt x="417" y="457"/>
                    <a:pt x="417" y="457"/>
                    <a:pt x="417" y="457"/>
                  </a:cubicBezTo>
                  <a:cubicBezTo>
                    <a:pt x="417" y="457"/>
                    <a:pt x="417" y="476"/>
                    <a:pt x="421" y="476"/>
                  </a:cubicBezTo>
                  <a:cubicBezTo>
                    <a:pt x="425" y="476"/>
                    <a:pt x="441" y="481"/>
                    <a:pt x="441" y="481"/>
                  </a:cubicBezTo>
                  <a:cubicBezTo>
                    <a:pt x="451" y="461"/>
                    <a:pt x="451" y="461"/>
                    <a:pt x="451" y="461"/>
                  </a:cubicBezTo>
                  <a:cubicBezTo>
                    <a:pt x="457" y="459"/>
                    <a:pt x="457" y="459"/>
                    <a:pt x="457" y="459"/>
                  </a:cubicBezTo>
                  <a:cubicBezTo>
                    <a:pt x="457" y="459"/>
                    <a:pt x="487" y="429"/>
                    <a:pt x="480" y="424"/>
                  </a:cubicBezTo>
                  <a:cubicBezTo>
                    <a:pt x="473" y="419"/>
                    <a:pt x="461" y="420"/>
                    <a:pt x="461" y="420"/>
                  </a:cubicBezTo>
                  <a:cubicBezTo>
                    <a:pt x="463" y="415"/>
                    <a:pt x="463" y="415"/>
                    <a:pt x="463" y="415"/>
                  </a:cubicBezTo>
                  <a:cubicBezTo>
                    <a:pt x="471" y="408"/>
                    <a:pt x="471" y="408"/>
                    <a:pt x="471" y="408"/>
                  </a:cubicBezTo>
                  <a:cubicBezTo>
                    <a:pt x="471" y="408"/>
                    <a:pt x="463" y="396"/>
                    <a:pt x="465" y="391"/>
                  </a:cubicBezTo>
                  <a:cubicBezTo>
                    <a:pt x="468" y="385"/>
                    <a:pt x="492" y="380"/>
                    <a:pt x="492" y="380"/>
                  </a:cubicBezTo>
                  <a:cubicBezTo>
                    <a:pt x="473" y="364"/>
                    <a:pt x="473" y="364"/>
                    <a:pt x="473" y="364"/>
                  </a:cubicBezTo>
                  <a:cubicBezTo>
                    <a:pt x="479" y="353"/>
                    <a:pt x="479" y="353"/>
                    <a:pt x="479" y="353"/>
                  </a:cubicBezTo>
                  <a:cubicBezTo>
                    <a:pt x="473" y="333"/>
                    <a:pt x="473" y="333"/>
                    <a:pt x="473" y="333"/>
                  </a:cubicBezTo>
                  <a:cubicBezTo>
                    <a:pt x="473" y="333"/>
                    <a:pt x="495" y="315"/>
                    <a:pt x="512" y="320"/>
                  </a:cubicBezTo>
                  <a:cubicBezTo>
                    <a:pt x="516" y="319"/>
                    <a:pt x="517" y="309"/>
                    <a:pt x="517" y="309"/>
                  </a:cubicBezTo>
                  <a:cubicBezTo>
                    <a:pt x="528" y="303"/>
                    <a:pt x="528" y="303"/>
                    <a:pt x="528" y="303"/>
                  </a:cubicBezTo>
                  <a:cubicBezTo>
                    <a:pt x="528" y="303"/>
                    <a:pt x="547" y="316"/>
                    <a:pt x="552" y="316"/>
                  </a:cubicBezTo>
                  <a:cubicBezTo>
                    <a:pt x="557" y="316"/>
                    <a:pt x="552" y="267"/>
                    <a:pt x="552" y="267"/>
                  </a:cubicBezTo>
                  <a:cubicBezTo>
                    <a:pt x="560" y="260"/>
                    <a:pt x="560" y="260"/>
                    <a:pt x="560" y="260"/>
                  </a:cubicBezTo>
                  <a:cubicBezTo>
                    <a:pt x="548" y="231"/>
                    <a:pt x="548" y="231"/>
                    <a:pt x="548" y="231"/>
                  </a:cubicBezTo>
                  <a:cubicBezTo>
                    <a:pt x="564" y="229"/>
                    <a:pt x="564" y="229"/>
                    <a:pt x="564" y="229"/>
                  </a:cubicBezTo>
                  <a:cubicBezTo>
                    <a:pt x="571" y="215"/>
                    <a:pt x="571" y="215"/>
                    <a:pt x="571" y="215"/>
                  </a:cubicBezTo>
                  <a:cubicBezTo>
                    <a:pt x="593" y="187"/>
                    <a:pt x="593" y="187"/>
                    <a:pt x="593" y="187"/>
                  </a:cubicBezTo>
                  <a:cubicBezTo>
                    <a:pt x="587" y="180"/>
                    <a:pt x="587" y="180"/>
                    <a:pt x="587" y="180"/>
                  </a:cubicBezTo>
                  <a:cubicBezTo>
                    <a:pt x="592" y="143"/>
                    <a:pt x="592" y="143"/>
                    <a:pt x="592" y="143"/>
                  </a:cubicBezTo>
                  <a:cubicBezTo>
                    <a:pt x="592" y="143"/>
                    <a:pt x="583" y="130"/>
                    <a:pt x="597" y="110"/>
                  </a:cubicBezTo>
                  <a:cubicBezTo>
                    <a:pt x="566" y="131"/>
                    <a:pt x="536" y="111"/>
                    <a:pt x="536" y="111"/>
                  </a:cubicBezTo>
                  <a:cubicBezTo>
                    <a:pt x="536" y="97"/>
                    <a:pt x="536" y="97"/>
                    <a:pt x="536" y="97"/>
                  </a:cubicBezTo>
                  <a:cubicBezTo>
                    <a:pt x="517" y="109"/>
                    <a:pt x="517" y="109"/>
                    <a:pt x="517" y="109"/>
                  </a:cubicBezTo>
                  <a:cubicBezTo>
                    <a:pt x="517" y="103"/>
                    <a:pt x="517" y="103"/>
                    <a:pt x="517" y="103"/>
                  </a:cubicBezTo>
                  <a:cubicBezTo>
                    <a:pt x="484" y="93"/>
                    <a:pt x="484" y="93"/>
                    <a:pt x="484" y="93"/>
                  </a:cubicBezTo>
                  <a:cubicBezTo>
                    <a:pt x="457" y="115"/>
                    <a:pt x="447" y="99"/>
                    <a:pt x="448" y="95"/>
                  </a:cubicBezTo>
                  <a:cubicBezTo>
                    <a:pt x="444" y="113"/>
                    <a:pt x="408" y="103"/>
                    <a:pt x="408" y="103"/>
                  </a:cubicBezTo>
                  <a:cubicBezTo>
                    <a:pt x="403" y="115"/>
                    <a:pt x="392" y="111"/>
                    <a:pt x="392" y="111"/>
                  </a:cubicBezTo>
                  <a:cubicBezTo>
                    <a:pt x="392" y="111"/>
                    <a:pt x="392" y="107"/>
                    <a:pt x="387" y="105"/>
                  </a:cubicBezTo>
                  <a:cubicBezTo>
                    <a:pt x="364" y="117"/>
                    <a:pt x="357" y="97"/>
                    <a:pt x="357" y="97"/>
                  </a:cubicBezTo>
                  <a:cubicBezTo>
                    <a:pt x="323" y="97"/>
                    <a:pt x="323" y="97"/>
                    <a:pt x="323" y="97"/>
                  </a:cubicBezTo>
                  <a:cubicBezTo>
                    <a:pt x="309" y="108"/>
                    <a:pt x="309" y="108"/>
                    <a:pt x="309" y="108"/>
                  </a:cubicBezTo>
                  <a:cubicBezTo>
                    <a:pt x="316" y="100"/>
                    <a:pt x="316" y="100"/>
                    <a:pt x="316" y="100"/>
                  </a:cubicBezTo>
                  <a:cubicBezTo>
                    <a:pt x="307" y="89"/>
                    <a:pt x="307" y="89"/>
                    <a:pt x="307" y="89"/>
                  </a:cubicBezTo>
                  <a:cubicBezTo>
                    <a:pt x="288" y="99"/>
                    <a:pt x="288" y="99"/>
                    <a:pt x="288" y="99"/>
                  </a:cubicBezTo>
                  <a:cubicBezTo>
                    <a:pt x="292" y="79"/>
                    <a:pt x="292" y="79"/>
                    <a:pt x="292" y="79"/>
                  </a:cubicBezTo>
                  <a:cubicBezTo>
                    <a:pt x="276" y="76"/>
                    <a:pt x="276" y="76"/>
                    <a:pt x="276" y="76"/>
                  </a:cubicBezTo>
                  <a:cubicBezTo>
                    <a:pt x="271" y="89"/>
                    <a:pt x="271" y="89"/>
                    <a:pt x="271" y="89"/>
                  </a:cubicBezTo>
                  <a:cubicBezTo>
                    <a:pt x="271" y="89"/>
                    <a:pt x="252" y="87"/>
                    <a:pt x="252" y="80"/>
                  </a:cubicBezTo>
                  <a:cubicBezTo>
                    <a:pt x="252" y="73"/>
                    <a:pt x="237" y="76"/>
                    <a:pt x="237" y="76"/>
                  </a:cubicBezTo>
                  <a:cubicBezTo>
                    <a:pt x="237" y="65"/>
                    <a:pt x="217" y="85"/>
                    <a:pt x="217" y="85"/>
                  </a:cubicBezTo>
                  <a:cubicBezTo>
                    <a:pt x="217" y="85"/>
                    <a:pt x="207" y="91"/>
                    <a:pt x="207" y="80"/>
                  </a:cubicBezTo>
                  <a:cubicBezTo>
                    <a:pt x="207" y="69"/>
                    <a:pt x="231" y="49"/>
                    <a:pt x="231" y="49"/>
                  </a:cubicBezTo>
                  <a:cubicBezTo>
                    <a:pt x="224" y="39"/>
                    <a:pt x="224" y="39"/>
                    <a:pt x="224" y="39"/>
                  </a:cubicBezTo>
                  <a:cubicBezTo>
                    <a:pt x="203" y="45"/>
                    <a:pt x="203" y="45"/>
                    <a:pt x="203" y="45"/>
                  </a:cubicBezTo>
                  <a:cubicBezTo>
                    <a:pt x="187" y="41"/>
                    <a:pt x="187" y="41"/>
                    <a:pt x="187" y="41"/>
                  </a:cubicBezTo>
                  <a:cubicBezTo>
                    <a:pt x="161" y="55"/>
                    <a:pt x="161" y="55"/>
                    <a:pt x="161" y="55"/>
                  </a:cubicBezTo>
                  <a:cubicBezTo>
                    <a:pt x="153" y="51"/>
                    <a:pt x="153" y="51"/>
                    <a:pt x="153" y="51"/>
                  </a:cubicBezTo>
                  <a:cubicBezTo>
                    <a:pt x="145" y="33"/>
                    <a:pt x="145" y="33"/>
                    <a:pt x="145" y="33"/>
                  </a:cubicBezTo>
                  <a:cubicBezTo>
                    <a:pt x="123" y="23"/>
                    <a:pt x="123" y="23"/>
                    <a:pt x="123" y="23"/>
                  </a:cubicBezTo>
                  <a:cubicBezTo>
                    <a:pt x="121" y="12"/>
                    <a:pt x="121" y="12"/>
                    <a:pt x="121" y="12"/>
                  </a:cubicBezTo>
                  <a:cubicBezTo>
                    <a:pt x="109" y="13"/>
                    <a:pt x="109" y="13"/>
                    <a:pt x="109" y="13"/>
                  </a:cubicBezTo>
                  <a:cubicBezTo>
                    <a:pt x="109" y="13"/>
                    <a:pt x="88" y="0"/>
                    <a:pt x="83" y="0"/>
                  </a:cubicBezTo>
                  <a:cubicBezTo>
                    <a:pt x="79" y="0"/>
                    <a:pt x="65" y="7"/>
                    <a:pt x="56" y="11"/>
                  </a:cubicBezTo>
                  <a:cubicBezTo>
                    <a:pt x="60" y="16"/>
                    <a:pt x="69" y="27"/>
                    <a:pt x="63" y="30"/>
                  </a:cubicBezTo>
                  <a:cubicBezTo>
                    <a:pt x="55" y="34"/>
                    <a:pt x="45" y="21"/>
                    <a:pt x="45" y="21"/>
                  </a:cubicBezTo>
                  <a:cubicBezTo>
                    <a:pt x="35" y="27"/>
                    <a:pt x="25" y="60"/>
                    <a:pt x="25" y="60"/>
                  </a:cubicBezTo>
                  <a:cubicBezTo>
                    <a:pt x="25" y="60"/>
                    <a:pt x="14" y="68"/>
                    <a:pt x="0" y="77"/>
                  </a:cubicBezTo>
                  <a:cubicBezTo>
                    <a:pt x="5" y="92"/>
                    <a:pt x="5" y="92"/>
                    <a:pt x="5" y="92"/>
                  </a:cubicBezTo>
                  <a:lnTo>
                    <a:pt x="17" y="9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2" name="Haute Normandie" descr="© INSCALE GmbH, 05.05.2010&#10;http://www.presentationload.com/">
              <a:extLst>
                <a:ext uri="{FF2B5EF4-FFF2-40B4-BE49-F238E27FC236}">
                  <a16:creationId xmlns:a16="http://schemas.microsoft.com/office/drawing/2014/main" id="{67DE9D41-AD0D-42D6-AE91-CBB98FF22C82}"/>
                </a:ext>
              </a:extLst>
            </p:cNvPr>
            <p:cNvSpPr>
              <a:spLocks/>
            </p:cNvSpPr>
            <p:nvPr/>
          </p:nvSpPr>
          <p:spPr bwMode="gray">
            <a:xfrm>
              <a:off x="1259" y="493"/>
              <a:ext cx="385" cy="503"/>
            </a:xfrm>
            <a:custGeom>
              <a:avLst/>
              <a:gdLst/>
              <a:ahLst/>
              <a:cxnLst>
                <a:cxn ang="0">
                  <a:pos x="355" y="198"/>
                </a:cxn>
                <a:cxn ang="0">
                  <a:pos x="345" y="199"/>
                </a:cxn>
                <a:cxn ang="0">
                  <a:pos x="351" y="187"/>
                </a:cxn>
                <a:cxn ang="0">
                  <a:pos x="341" y="167"/>
                </a:cxn>
                <a:cxn ang="0">
                  <a:pos x="351" y="136"/>
                </a:cxn>
                <a:cxn ang="0">
                  <a:pos x="340" y="135"/>
                </a:cxn>
                <a:cxn ang="0">
                  <a:pos x="357" y="112"/>
                </a:cxn>
                <a:cxn ang="0">
                  <a:pos x="333" y="62"/>
                </a:cxn>
                <a:cxn ang="0">
                  <a:pos x="289" y="22"/>
                </a:cxn>
                <a:cxn ang="0">
                  <a:pos x="289" y="18"/>
                </a:cxn>
                <a:cxn ang="0">
                  <a:pos x="277" y="15"/>
                </a:cxn>
                <a:cxn ang="0">
                  <a:pos x="272" y="0"/>
                </a:cxn>
                <a:cxn ang="0">
                  <a:pos x="220" y="29"/>
                </a:cxn>
                <a:cxn ang="0">
                  <a:pos x="155" y="47"/>
                </a:cxn>
                <a:cxn ang="0">
                  <a:pos x="108" y="50"/>
                </a:cxn>
                <a:cxn ang="0">
                  <a:pos x="30" y="93"/>
                </a:cxn>
                <a:cxn ang="0">
                  <a:pos x="0" y="150"/>
                </a:cxn>
                <a:cxn ang="0">
                  <a:pos x="10" y="167"/>
                </a:cxn>
                <a:cxn ang="0">
                  <a:pos x="39" y="178"/>
                </a:cxn>
                <a:cxn ang="0">
                  <a:pos x="52" y="263"/>
                </a:cxn>
                <a:cxn ang="0">
                  <a:pos x="53" y="271"/>
                </a:cxn>
                <a:cxn ang="0">
                  <a:pos x="67" y="288"/>
                </a:cxn>
                <a:cxn ang="0">
                  <a:pos x="67" y="303"/>
                </a:cxn>
                <a:cxn ang="0">
                  <a:pos x="72" y="311"/>
                </a:cxn>
                <a:cxn ang="0">
                  <a:pos x="71" y="331"/>
                </a:cxn>
                <a:cxn ang="0">
                  <a:pos x="63" y="332"/>
                </a:cxn>
                <a:cxn ang="0">
                  <a:pos x="72" y="344"/>
                </a:cxn>
                <a:cxn ang="0">
                  <a:pos x="65" y="379"/>
                </a:cxn>
                <a:cxn ang="0">
                  <a:pos x="72" y="388"/>
                </a:cxn>
                <a:cxn ang="0">
                  <a:pos x="105" y="390"/>
                </a:cxn>
                <a:cxn ang="0">
                  <a:pos x="112" y="410"/>
                </a:cxn>
                <a:cxn ang="0">
                  <a:pos x="136" y="448"/>
                </a:cxn>
                <a:cxn ang="0">
                  <a:pos x="139" y="459"/>
                </a:cxn>
                <a:cxn ang="0">
                  <a:pos x="167" y="444"/>
                </a:cxn>
                <a:cxn ang="0">
                  <a:pos x="201" y="434"/>
                </a:cxn>
                <a:cxn ang="0">
                  <a:pos x="211" y="438"/>
                </a:cxn>
                <a:cxn ang="0">
                  <a:pos x="212" y="427"/>
                </a:cxn>
                <a:cxn ang="0">
                  <a:pos x="263" y="431"/>
                </a:cxn>
                <a:cxn ang="0">
                  <a:pos x="268" y="408"/>
                </a:cxn>
                <a:cxn ang="0">
                  <a:pos x="288" y="395"/>
                </a:cxn>
                <a:cxn ang="0">
                  <a:pos x="288" y="383"/>
                </a:cxn>
                <a:cxn ang="0">
                  <a:pos x="297" y="379"/>
                </a:cxn>
                <a:cxn ang="0">
                  <a:pos x="284" y="343"/>
                </a:cxn>
                <a:cxn ang="0">
                  <a:pos x="297" y="338"/>
                </a:cxn>
                <a:cxn ang="0">
                  <a:pos x="295" y="331"/>
                </a:cxn>
                <a:cxn ang="0">
                  <a:pos x="323" y="328"/>
                </a:cxn>
                <a:cxn ang="0">
                  <a:pos x="340" y="281"/>
                </a:cxn>
                <a:cxn ang="0">
                  <a:pos x="337" y="272"/>
                </a:cxn>
                <a:cxn ang="0">
                  <a:pos x="354" y="277"/>
                </a:cxn>
                <a:cxn ang="0">
                  <a:pos x="356" y="278"/>
                </a:cxn>
                <a:cxn ang="0">
                  <a:pos x="356" y="277"/>
                </a:cxn>
                <a:cxn ang="0">
                  <a:pos x="345" y="226"/>
                </a:cxn>
                <a:cxn ang="0">
                  <a:pos x="355" y="198"/>
                </a:cxn>
              </a:cxnLst>
              <a:rect l="0" t="0" r="r" b="b"/>
              <a:pathLst>
                <a:path w="357" h="466">
                  <a:moveTo>
                    <a:pt x="355" y="198"/>
                  </a:moveTo>
                  <a:cubicBezTo>
                    <a:pt x="345" y="199"/>
                    <a:pt x="345" y="199"/>
                    <a:pt x="345" y="199"/>
                  </a:cubicBezTo>
                  <a:cubicBezTo>
                    <a:pt x="351" y="187"/>
                    <a:pt x="351" y="187"/>
                    <a:pt x="351" y="187"/>
                  </a:cubicBezTo>
                  <a:cubicBezTo>
                    <a:pt x="341" y="167"/>
                    <a:pt x="341" y="167"/>
                    <a:pt x="341" y="167"/>
                  </a:cubicBezTo>
                  <a:cubicBezTo>
                    <a:pt x="351" y="136"/>
                    <a:pt x="351" y="136"/>
                    <a:pt x="351" y="136"/>
                  </a:cubicBezTo>
                  <a:cubicBezTo>
                    <a:pt x="351" y="136"/>
                    <a:pt x="344" y="136"/>
                    <a:pt x="340" y="135"/>
                  </a:cubicBezTo>
                  <a:cubicBezTo>
                    <a:pt x="336" y="134"/>
                    <a:pt x="357" y="112"/>
                    <a:pt x="357" y="112"/>
                  </a:cubicBezTo>
                  <a:cubicBezTo>
                    <a:pt x="333" y="62"/>
                    <a:pt x="333" y="62"/>
                    <a:pt x="333" y="62"/>
                  </a:cubicBezTo>
                  <a:cubicBezTo>
                    <a:pt x="315" y="59"/>
                    <a:pt x="289" y="22"/>
                    <a:pt x="289" y="22"/>
                  </a:cubicBezTo>
                  <a:cubicBezTo>
                    <a:pt x="289" y="18"/>
                    <a:pt x="289" y="18"/>
                    <a:pt x="289" y="18"/>
                  </a:cubicBezTo>
                  <a:cubicBezTo>
                    <a:pt x="277" y="15"/>
                    <a:pt x="277" y="15"/>
                    <a:pt x="277" y="15"/>
                  </a:cubicBezTo>
                  <a:cubicBezTo>
                    <a:pt x="272" y="0"/>
                    <a:pt x="272" y="0"/>
                    <a:pt x="272" y="0"/>
                  </a:cubicBezTo>
                  <a:cubicBezTo>
                    <a:pt x="255" y="11"/>
                    <a:pt x="233" y="25"/>
                    <a:pt x="220" y="29"/>
                  </a:cubicBezTo>
                  <a:cubicBezTo>
                    <a:pt x="196" y="38"/>
                    <a:pt x="155" y="47"/>
                    <a:pt x="155" y="47"/>
                  </a:cubicBezTo>
                  <a:cubicBezTo>
                    <a:pt x="155" y="47"/>
                    <a:pt x="110" y="54"/>
                    <a:pt x="108" y="50"/>
                  </a:cubicBezTo>
                  <a:cubicBezTo>
                    <a:pt x="81" y="78"/>
                    <a:pt x="30" y="93"/>
                    <a:pt x="30" y="93"/>
                  </a:cubicBezTo>
                  <a:cubicBezTo>
                    <a:pt x="0" y="150"/>
                    <a:pt x="0" y="150"/>
                    <a:pt x="0" y="150"/>
                  </a:cubicBezTo>
                  <a:cubicBezTo>
                    <a:pt x="10" y="167"/>
                    <a:pt x="10" y="167"/>
                    <a:pt x="10" y="167"/>
                  </a:cubicBezTo>
                  <a:cubicBezTo>
                    <a:pt x="10" y="167"/>
                    <a:pt x="44" y="176"/>
                    <a:pt x="39" y="178"/>
                  </a:cubicBezTo>
                  <a:cubicBezTo>
                    <a:pt x="52" y="263"/>
                    <a:pt x="52" y="263"/>
                    <a:pt x="52" y="263"/>
                  </a:cubicBezTo>
                  <a:cubicBezTo>
                    <a:pt x="52" y="263"/>
                    <a:pt x="84" y="260"/>
                    <a:pt x="53" y="271"/>
                  </a:cubicBezTo>
                  <a:cubicBezTo>
                    <a:pt x="51" y="278"/>
                    <a:pt x="67" y="288"/>
                    <a:pt x="67" y="288"/>
                  </a:cubicBezTo>
                  <a:cubicBezTo>
                    <a:pt x="67" y="303"/>
                    <a:pt x="67" y="303"/>
                    <a:pt x="67" y="303"/>
                  </a:cubicBezTo>
                  <a:cubicBezTo>
                    <a:pt x="72" y="311"/>
                    <a:pt x="72" y="311"/>
                    <a:pt x="72" y="311"/>
                  </a:cubicBezTo>
                  <a:cubicBezTo>
                    <a:pt x="71" y="331"/>
                    <a:pt x="71" y="331"/>
                    <a:pt x="71" y="331"/>
                  </a:cubicBezTo>
                  <a:cubicBezTo>
                    <a:pt x="63" y="332"/>
                    <a:pt x="63" y="332"/>
                    <a:pt x="63" y="332"/>
                  </a:cubicBezTo>
                  <a:cubicBezTo>
                    <a:pt x="72" y="344"/>
                    <a:pt x="72" y="344"/>
                    <a:pt x="72" y="344"/>
                  </a:cubicBezTo>
                  <a:cubicBezTo>
                    <a:pt x="72" y="344"/>
                    <a:pt x="72" y="374"/>
                    <a:pt x="65" y="379"/>
                  </a:cubicBezTo>
                  <a:cubicBezTo>
                    <a:pt x="59" y="384"/>
                    <a:pt x="72" y="388"/>
                    <a:pt x="72" y="388"/>
                  </a:cubicBezTo>
                  <a:cubicBezTo>
                    <a:pt x="105" y="390"/>
                    <a:pt x="105" y="390"/>
                    <a:pt x="105" y="390"/>
                  </a:cubicBezTo>
                  <a:cubicBezTo>
                    <a:pt x="112" y="410"/>
                    <a:pt x="112" y="410"/>
                    <a:pt x="112" y="410"/>
                  </a:cubicBezTo>
                  <a:cubicBezTo>
                    <a:pt x="112" y="410"/>
                    <a:pt x="157" y="434"/>
                    <a:pt x="136" y="448"/>
                  </a:cubicBezTo>
                  <a:cubicBezTo>
                    <a:pt x="132" y="448"/>
                    <a:pt x="139" y="459"/>
                    <a:pt x="139" y="459"/>
                  </a:cubicBezTo>
                  <a:cubicBezTo>
                    <a:pt x="139" y="459"/>
                    <a:pt x="159" y="466"/>
                    <a:pt x="167" y="444"/>
                  </a:cubicBezTo>
                  <a:cubicBezTo>
                    <a:pt x="171" y="444"/>
                    <a:pt x="179" y="456"/>
                    <a:pt x="201" y="434"/>
                  </a:cubicBezTo>
                  <a:cubicBezTo>
                    <a:pt x="203" y="438"/>
                    <a:pt x="211" y="438"/>
                    <a:pt x="211" y="438"/>
                  </a:cubicBezTo>
                  <a:cubicBezTo>
                    <a:pt x="212" y="427"/>
                    <a:pt x="212" y="427"/>
                    <a:pt x="212" y="427"/>
                  </a:cubicBezTo>
                  <a:cubicBezTo>
                    <a:pt x="212" y="427"/>
                    <a:pt x="256" y="442"/>
                    <a:pt x="263" y="431"/>
                  </a:cubicBezTo>
                  <a:cubicBezTo>
                    <a:pt x="269" y="420"/>
                    <a:pt x="268" y="408"/>
                    <a:pt x="268" y="408"/>
                  </a:cubicBezTo>
                  <a:cubicBezTo>
                    <a:pt x="268" y="408"/>
                    <a:pt x="287" y="400"/>
                    <a:pt x="288" y="395"/>
                  </a:cubicBezTo>
                  <a:cubicBezTo>
                    <a:pt x="289" y="390"/>
                    <a:pt x="288" y="383"/>
                    <a:pt x="288" y="383"/>
                  </a:cubicBezTo>
                  <a:cubicBezTo>
                    <a:pt x="297" y="379"/>
                    <a:pt x="297" y="379"/>
                    <a:pt x="297" y="379"/>
                  </a:cubicBezTo>
                  <a:cubicBezTo>
                    <a:pt x="284" y="343"/>
                    <a:pt x="284" y="343"/>
                    <a:pt x="284" y="343"/>
                  </a:cubicBezTo>
                  <a:cubicBezTo>
                    <a:pt x="284" y="343"/>
                    <a:pt x="301" y="338"/>
                    <a:pt x="297" y="338"/>
                  </a:cubicBezTo>
                  <a:cubicBezTo>
                    <a:pt x="293" y="338"/>
                    <a:pt x="295" y="331"/>
                    <a:pt x="295" y="331"/>
                  </a:cubicBezTo>
                  <a:cubicBezTo>
                    <a:pt x="323" y="328"/>
                    <a:pt x="323" y="328"/>
                    <a:pt x="323" y="328"/>
                  </a:cubicBezTo>
                  <a:cubicBezTo>
                    <a:pt x="340" y="281"/>
                    <a:pt x="340" y="281"/>
                    <a:pt x="340" y="281"/>
                  </a:cubicBezTo>
                  <a:cubicBezTo>
                    <a:pt x="337" y="272"/>
                    <a:pt x="337" y="272"/>
                    <a:pt x="337" y="272"/>
                  </a:cubicBezTo>
                  <a:cubicBezTo>
                    <a:pt x="354" y="277"/>
                    <a:pt x="354" y="277"/>
                    <a:pt x="354" y="277"/>
                  </a:cubicBezTo>
                  <a:cubicBezTo>
                    <a:pt x="356" y="278"/>
                    <a:pt x="356" y="278"/>
                    <a:pt x="356" y="278"/>
                  </a:cubicBezTo>
                  <a:cubicBezTo>
                    <a:pt x="356" y="278"/>
                    <a:pt x="356" y="277"/>
                    <a:pt x="356" y="277"/>
                  </a:cubicBezTo>
                  <a:cubicBezTo>
                    <a:pt x="357" y="262"/>
                    <a:pt x="345" y="226"/>
                    <a:pt x="345" y="226"/>
                  </a:cubicBezTo>
                  <a:lnTo>
                    <a:pt x="355" y="19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3" name="Ile-de-France" descr="© INSCALE GmbH, 05.05.2010&#10;http://www.presentationload.com/">
              <a:extLst>
                <a:ext uri="{FF2B5EF4-FFF2-40B4-BE49-F238E27FC236}">
                  <a16:creationId xmlns:a16="http://schemas.microsoft.com/office/drawing/2014/main" id="{AC31993E-D426-4B7A-9900-2091A79541F4}"/>
                </a:ext>
              </a:extLst>
            </p:cNvPr>
            <p:cNvSpPr>
              <a:spLocks/>
            </p:cNvSpPr>
            <p:nvPr/>
          </p:nvSpPr>
          <p:spPr bwMode="gray">
            <a:xfrm>
              <a:off x="1565" y="796"/>
              <a:ext cx="483" cy="386"/>
            </a:xfrm>
            <a:custGeom>
              <a:avLst/>
              <a:gdLst/>
              <a:ahLst/>
              <a:cxnLst>
                <a:cxn ang="0">
                  <a:pos x="31" y="127"/>
                </a:cxn>
                <a:cxn ang="0">
                  <a:pos x="36" y="158"/>
                </a:cxn>
                <a:cxn ang="0">
                  <a:pos x="35" y="177"/>
                </a:cxn>
                <a:cxn ang="0">
                  <a:pos x="48" y="199"/>
                </a:cxn>
                <a:cxn ang="0">
                  <a:pos x="56" y="214"/>
                </a:cxn>
                <a:cxn ang="0">
                  <a:pos x="71" y="246"/>
                </a:cxn>
                <a:cxn ang="0">
                  <a:pos x="103" y="267"/>
                </a:cxn>
                <a:cxn ang="0">
                  <a:pos x="111" y="303"/>
                </a:cxn>
                <a:cxn ang="0">
                  <a:pos x="153" y="301"/>
                </a:cxn>
                <a:cxn ang="0">
                  <a:pos x="167" y="290"/>
                </a:cxn>
                <a:cxn ang="0">
                  <a:pos x="183" y="293"/>
                </a:cxn>
                <a:cxn ang="0">
                  <a:pos x="201" y="297"/>
                </a:cxn>
                <a:cxn ang="0">
                  <a:pos x="229" y="338"/>
                </a:cxn>
                <a:cxn ang="0">
                  <a:pos x="273" y="354"/>
                </a:cxn>
                <a:cxn ang="0">
                  <a:pos x="285" y="346"/>
                </a:cxn>
                <a:cxn ang="0">
                  <a:pos x="316" y="345"/>
                </a:cxn>
                <a:cxn ang="0">
                  <a:pos x="333" y="297"/>
                </a:cxn>
                <a:cxn ang="0">
                  <a:pos x="400" y="277"/>
                </a:cxn>
                <a:cxn ang="0">
                  <a:pos x="411" y="243"/>
                </a:cxn>
                <a:cxn ang="0">
                  <a:pos x="413" y="225"/>
                </a:cxn>
                <a:cxn ang="0">
                  <a:pos x="424" y="210"/>
                </a:cxn>
                <a:cxn ang="0">
                  <a:pos x="437" y="199"/>
                </a:cxn>
                <a:cxn ang="0">
                  <a:pos x="440" y="191"/>
                </a:cxn>
                <a:cxn ang="0">
                  <a:pos x="425" y="158"/>
                </a:cxn>
                <a:cxn ang="0">
                  <a:pos x="411" y="147"/>
                </a:cxn>
                <a:cxn ang="0">
                  <a:pos x="412" y="137"/>
                </a:cxn>
                <a:cxn ang="0">
                  <a:pos x="428" y="123"/>
                </a:cxn>
                <a:cxn ang="0">
                  <a:pos x="405" y="99"/>
                </a:cxn>
                <a:cxn ang="0">
                  <a:pos x="392" y="91"/>
                </a:cxn>
                <a:cxn ang="0">
                  <a:pos x="364" y="73"/>
                </a:cxn>
                <a:cxn ang="0">
                  <a:pos x="337" y="45"/>
                </a:cxn>
                <a:cxn ang="0">
                  <a:pos x="285" y="47"/>
                </a:cxn>
                <a:cxn ang="0">
                  <a:pos x="248" y="43"/>
                </a:cxn>
                <a:cxn ang="0">
                  <a:pos x="233" y="41"/>
                </a:cxn>
                <a:cxn ang="0">
                  <a:pos x="191" y="25"/>
                </a:cxn>
                <a:cxn ang="0">
                  <a:pos x="165" y="26"/>
                </a:cxn>
                <a:cxn ang="0">
                  <a:pos x="157" y="25"/>
                </a:cxn>
                <a:cxn ang="0">
                  <a:pos x="139" y="18"/>
                </a:cxn>
                <a:cxn ang="0">
                  <a:pos x="116" y="17"/>
                </a:cxn>
                <a:cxn ang="0">
                  <a:pos x="56" y="0"/>
                </a:cxn>
                <a:cxn ang="0">
                  <a:pos x="11" y="50"/>
                </a:cxn>
                <a:cxn ang="0">
                  <a:pos x="0" y="62"/>
                </a:cxn>
                <a:cxn ang="0">
                  <a:pos x="12" y="99"/>
                </a:cxn>
                <a:cxn ang="0">
                  <a:pos x="23" y="122"/>
                </a:cxn>
              </a:cxnLst>
              <a:rect l="0" t="0" r="r" b="b"/>
              <a:pathLst>
                <a:path w="448" h="357">
                  <a:moveTo>
                    <a:pt x="23" y="122"/>
                  </a:moveTo>
                  <a:cubicBezTo>
                    <a:pt x="31" y="127"/>
                    <a:pt x="31" y="127"/>
                    <a:pt x="31" y="127"/>
                  </a:cubicBezTo>
                  <a:cubicBezTo>
                    <a:pt x="29" y="151"/>
                    <a:pt x="29" y="151"/>
                    <a:pt x="29" y="151"/>
                  </a:cubicBezTo>
                  <a:cubicBezTo>
                    <a:pt x="36" y="158"/>
                    <a:pt x="36" y="158"/>
                    <a:pt x="36" y="158"/>
                  </a:cubicBezTo>
                  <a:cubicBezTo>
                    <a:pt x="25" y="173"/>
                    <a:pt x="25" y="173"/>
                    <a:pt x="25" y="173"/>
                  </a:cubicBezTo>
                  <a:cubicBezTo>
                    <a:pt x="35" y="177"/>
                    <a:pt x="35" y="177"/>
                    <a:pt x="35" y="177"/>
                  </a:cubicBezTo>
                  <a:cubicBezTo>
                    <a:pt x="33" y="187"/>
                    <a:pt x="33" y="187"/>
                    <a:pt x="33" y="187"/>
                  </a:cubicBezTo>
                  <a:cubicBezTo>
                    <a:pt x="48" y="199"/>
                    <a:pt x="48" y="199"/>
                    <a:pt x="48" y="199"/>
                  </a:cubicBezTo>
                  <a:cubicBezTo>
                    <a:pt x="57" y="202"/>
                    <a:pt x="57" y="202"/>
                    <a:pt x="57" y="202"/>
                  </a:cubicBezTo>
                  <a:cubicBezTo>
                    <a:pt x="56" y="214"/>
                    <a:pt x="56" y="214"/>
                    <a:pt x="56" y="214"/>
                  </a:cubicBezTo>
                  <a:cubicBezTo>
                    <a:pt x="69" y="221"/>
                    <a:pt x="69" y="221"/>
                    <a:pt x="69" y="221"/>
                  </a:cubicBezTo>
                  <a:cubicBezTo>
                    <a:pt x="71" y="246"/>
                    <a:pt x="71" y="246"/>
                    <a:pt x="71" y="246"/>
                  </a:cubicBezTo>
                  <a:cubicBezTo>
                    <a:pt x="71" y="246"/>
                    <a:pt x="95" y="261"/>
                    <a:pt x="97" y="253"/>
                  </a:cubicBezTo>
                  <a:cubicBezTo>
                    <a:pt x="101" y="254"/>
                    <a:pt x="103" y="267"/>
                    <a:pt x="103" y="267"/>
                  </a:cubicBezTo>
                  <a:cubicBezTo>
                    <a:pt x="113" y="269"/>
                    <a:pt x="113" y="269"/>
                    <a:pt x="113" y="269"/>
                  </a:cubicBezTo>
                  <a:cubicBezTo>
                    <a:pt x="113" y="269"/>
                    <a:pt x="101" y="295"/>
                    <a:pt x="111" y="303"/>
                  </a:cubicBezTo>
                  <a:cubicBezTo>
                    <a:pt x="120" y="311"/>
                    <a:pt x="127" y="301"/>
                    <a:pt x="135" y="301"/>
                  </a:cubicBezTo>
                  <a:cubicBezTo>
                    <a:pt x="143" y="301"/>
                    <a:pt x="153" y="301"/>
                    <a:pt x="153" y="301"/>
                  </a:cubicBezTo>
                  <a:cubicBezTo>
                    <a:pt x="160" y="287"/>
                    <a:pt x="160" y="287"/>
                    <a:pt x="160" y="287"/>
                  </a:cubicBezTo>
                  <a:cubicBezTo>
                    <a:pt x="167" y="290"/>
                    <a:pt x="167" y="290"/>
                    <a:pt x="167" y="290"/>
                  </a:cubicBezTo>
                  <a:cubicBezTo>
                    <a:pt x="169" y="301"/>
                    <a:pt x="169" y="301"/>
                    <a:pt x="169" y="301"/>
                  </a:cubicBezTo>
                  <a:cubicBezTo>
                    <a:pt x="183" y="293"/>
                    <a:pt x="183" y="293"/>
                    <a:pt x="183" y="293"/>
                  </a:cubicBezTo>
                  <a:cubicBezTo>
                    <a:pt x="199" y="298"/>
                    <a:pt x="199" y="298"/>
                    <a:pt x="199" y="298"/>
                  </a:cubicBezTo>
                  <a:cubicBezTo>
                    <a:pt x="201" y="297"/>
                    <a:pt x="201" y="297"/>
                    <a:pt x="201" y="297"/>
                  </a:cubicBezTo>
                  <a:cubicBezTo>
                    <a:pt x="205" y="313"/>
                    <a:pt x="205" y="313"/>
                    <a:pt x="205" y="313"/>
                  </a:cubicBezTo>
                  <a:cubicBezTo>
                    <a:pt x="205" y="313"/>
                    <a:pt x="232" y="319"/>
                    <a:pt x="229" y="338"/>
                  </a:cubicBezTo>
                  <a:cubicBezTo>
                    <a:pt x="228" y="349"/>
                    <a:pt x="222" y="352"/>
                    <a:pt x="218" y="353"/>
                  </a:cubicBezTo>
                  <a:cubicBezTo>
                    <a:pt x="273" y="354"/>
                    <a:pt x="273" y="354"/>
                    <a:pt x="273" y="354"/>
                  </a:cubicBezTo>
                  <a:cubicBezTo>
                    <a:pt x="273" y="346"/>
                    <a:pt x="273" y="346"/>
                    <a:pt x="273" y="346"/>
                  </a:cubicBezTo>
                  <a:cubicBezTo>
                    <a:pt x="285" y="346"/>
                    <a:pt x="285" y="346"/>
                    <a:pt x="285" y="346"/>
                  </a:cubicBezTo>
                  <a:cubicBezTo>
                    <a:pt x="285" y="357"/>
                    <a:pt x="285" y="357"/>
                    <a:pt x="285" y="357"/>
                  </a:cubicBezTo>
                  <a:cubicBezTo>
                    <a:pt x="285" y="357"/>
                    <a:pt x="308" y="353"/>
                    <a:pt x="316" y="345"/>
                  </a:cubicBezTo>
                  <a:cubicBezTo>
                    <a:pt x="324" y="337"/>
                    <a:pt x="339" y="313"/>
                    <a:pt x="339" y="313"/>
                  </a:cubicBezTo>
                  <a:cubicBezTo>
                    <a:pt x="333" y="297"/>
                    <a:pt x="333" y="297"/>
                    <a:pt x="333" y="297"/>
                  </a:cubicBezTo>
                  <a:cubicBezTo>
                    <a:pt x="341" y="277"/>
                    <a:pt x="341" y="277"/>
                    <a:pt x="341" y="277"/>
                  </a:cubicBezTo>
                  <a:cubicBezTo>
                    <a:pt x="400" y="277"/>
                    <a:pt x="400" y="277"/>
                    <a:pt x="400" y="277"/>
                  </a:cubicBezTo>
                  <a:cubicBezTo>
                    <a:pt x="415" y="269"/>
                    <a:pt x="415" y="269"/>
                    <a:pt x="415" y="269"/>
                  </a:cubicBezTo>
                  <a:cubicBezTo>
                    <a:pt x="411" y="243"/>
                    <a:pt x="411" y="243"/>
                    <a:pt x="411" y="243"/>
                  </a:cubicBezTo>
                  <a:cubicBezTo>
                    <a:pt x="420" y="234"/>
                    <a:pt x="420" y="234"/>
                    <a:pt x="420" y="234"/>
                  </a:cubicBezTo>
                  <a:cubicBezTo>
                    <a:pt x="413" y="225"/>
                    <a:pt x="413" y="225"/>
                    <a:pt x="413" y="225"/>
                  </a:cubicBezTo>
                  <a:cubicBezTo>
                    <a:pt x="428" y="222"/>
                    <a:pt x="428" y="222"/>
                    <a:pt x="428" y="222"/>
                  </a:cubicBezTo>
                  <a:cubicBezTo>
                    <a:pt x="424" y="210"/>
                    <a:pt x="424" y="210"/>
                    <a:pt x="424" y="210"/>
                  </a:cubicBezTo>
                  <a:cubicBezTo>
                    <a:pt x="436" y="210"/>
                    <a:pt x="436" y="210"/>
                    <a:pt x="436" y="210"/>
                  </a:cubicBezTo>
                  <a:cubicBezTo>
                    <a:pt x="437" y="199"/>
                    <a:pt x="437" y="199"/>
                    <a:pt x="437" y="199"/>
                  </a:cubicBezTo>
                  <a:cubicBezTo>
                    <a:pt x="448" y="201"/>
                    <a:pt x="448" y="201"/>
                    <a:pt x="448" y="201"/>
                  </a:cubicBezTo>
                  <a:cubicBezTo>
                    <a:pt x="440" y="191"/>
                    <a:pt x="440" y="191"/>
                    <a:pt x="440" y="191"/>
                  </a:cubicBezTo>
                  <a:cubicBezTo>
                    <a:pt x="424" y="190"/>
                    <a:pt x="424" y="190"/>
                    <a:pt x="424" y="190"/>
                  </a:cubicBezTo>
                  <a:cubicBezTo>
                    <a:pt x="425" y="158"/>
                    <a:pt x="425" y="158"/>
                    <a:pt x="425" y="158"/>
                  </a:cubicBezTo>
                  <a:cubicBezTo>
                    <a:pt x="411" y="157"/>
                    <a:pt x="411" y="157"/>
                    <a:pt x="411" y="157"/>
                  </a:cubicBezTo>
                  <a:cubicBezTo>
                    <a:pt x="411" y="147"/>
                    <a:pt x="411" y="147"/>
                    <a:pt x="411" y="147"/>
                  </a:cubicBezTo>
                  <a:cubicBezTo>
                    <a:pt x="419" y="146"/>
                    <a:pt x="419" y="146"/>
                    <a:pt x="419" y="146"/>
                  </a:cubicBezTo>
                  <a:cubicBezTo>
                    <a:pt x="412" y="137"/>
                    <a:pt x="412" y="137"/>
                    <a:pt x="412" y="137"/>
                  </a:cubicBezTo>
                  <a:cubicBezTo>
                    <a:pt x="428" y="130"/>
                    <a:pt x="428" y="130"/>
                    <a:pt x="428" y="130"/>
                  </a:cubicBezTo>
                  <a:cubicBezTo>
                    <a:pt x="428" y="123"/>
                    <a:pt x="428" y="123"/>
                    <a:pt x="428" y="123"/>
                  </a:cubicBezTo>
                  <a:cubicBezTo>
                    <a:pt x="424" y="122"/>
                    <a:pt x="413" y="118"/>
                    <a:pt x="409" y="118"/>
                  </a:cubicBezTo>
                  <a:cubicBezTo>
                    <a:pt x="405" y="118"/>
                    <a:pt x="405" y="99"/>
                    <a:pt x="405" y="99"/>
                  </a:cubicBezTo>
                  <a:cubicBezTo>
                    <a:pt x="395" y="99"/>
                    <a:pt x="395" y="99"/>
                    <a:pt x="395" y="99"/>
                  </a:cubicBezTo>
                  <a:cubicBezTo>
                    <a:pt x="392" y="91"/>
                    <a:pt x="392" y="91"/>
                    <a:pt x="392" y="91"/>
                  </a:cubicBezTo>
                  <a:cubicBezTo>
                    <a:pt x="392" y="91"/>
                    <a:pt x="379" y="101"/>
                    <a:pt x="380" y="93"/>
                  </a:cubicBezTo>
                  <a:cubicBezTo>
                    <a:pt x="381" y="85"/>
                    <a:pt x="365" y="78"/>
                    <a:pt x="364" y="73"/>
                  </a:cubicBezTo>
                  <a:cubicBezTo>
                    <a:pt x="368" y="41"/>
                    <a:pt x="344" y="39"/>
                    <a:pt x="344" y="39"/>
                  </a:cubicBezTo>
                  <a:cubicBezTo>
                    <a:pt x="337" y="45"/>
                    <a:pt x="337" y="45"/>
                    <a:pt x="337" y="45"/>
                  </a:cubicBezTo>
                  <a:cubicBezTo>
                    <a:pt x="299" y="55"/>
                    <a:pt x="299" y="55"/>
                    <a:pt x="299" y="55"/>
                  </a:cubicBezTo>
                  <a:cubicBezTo>
                    <a:pt x="285" y="47"/>
                    <a:pt x="285" y="47"/>
                    <a:pt x="285" y="47"/>
                  </a:cubicBezTo>
                  <a:cubicBezTo>
                    <a:pt x="285" y="47"/>
                    <a:pt x="276" y="57"/>
                    <a:pt x="268" y="54"/>
                  </a:cubicBezTo>
                  <a:cubicBezTo>
                    <a:pt x="260" y="51"/>
                    <a:pt x="255" y="47"/>
                    <a:pt x="248" y="43"/>
                  </a:cubicBezTo>
                  <a:cubicBezTo>
                    <a:pt x="241" y="39"/>
                    <a:pt x="239" y="51"/>
                    <a:pt x="239" y="51"/>
                  </a:cubicBezTo>
                  <a:cubicBezTo>
                    <a:pt x="233" y="41"/>
                    <a:pt x="233" y="41"/>
                    <a:pt x="233" y="41"/>
                  </a:cubicBezTo>
                  <a:cubicBezTo>
                    <a:pt x="233" y="41"/>
                    <a:pt x="215" y="49"/>
                    <a:pt x="220" y="45"/>
                  </a:cubicBezTo>
                  <a:cubicBezTo>
                    <a:pt x="225" y="41"/>
                    <a:pt x="207" y="29"/>
                    <a:pt x="191" y="25"/>
                  </a:cubicBezTo>
                  <a:cubicBezTo>
                    <a:pt x="178" y="22"/>
                    <a:pt x="182" y="18"/>
                    <a:pt x="184" y="17"/>
                  </a:cubicBezTo>
                  <a:cubicBezTo>
                    <a:pt x="165" y="26"/>
                    <a:pt x="165" y="26"/>
                    <a:pt x="165" y="26"/>
                  </a:cubicBezTo>
                  <a:cubicBezTo>
                    <a:pt x="161" y="18"/>
                    <a:pt x="161" y="18"/>
                    <a:pt x="161" y="18"/>
                  </a:cubicBezTo>
                  <a:cubicBezTo>
                    <a:pt x="157" y="25"/>
                    <a:pt x="157" y="25"/>
                    <a:pt x="157" y="25"/>
                  </a:cubicBezTo>
                  <a:cubicBezTo>
                    <a:pt x="148" y="15"/>
                    <a:pt x="148" y="15"/>
                    <a:pt x="148" y="15"/>
                  </a:cubicBezTo>
                  <a:cubicBezTo>
                    <a:pt x="139" y="18"/>
                    <a:pt x="139" y="18"/>
                    <a:pt x="139" y="18"/>
                  </a:cubicBezTo>
                  <a:cubicBezTo>
                    <a:pt x="132" y="13"/>
                    <a:pt x="132" y="13"/>
                    <a:pt x="132" y="13"/>
                  </a:cubicBezTo>
                  <a:cubicBezTo>
                    <a:pt x="116" y="17"/>
                    <a:pt x="116" y="17"/>
                    <a:pt x="116" y="17"/>
                  </a:cubicBezTo>
                  <a:cubicBezTo>
                    <a:pt x="64" y="21"/>
                    <a:pt x="64" y="21"/>
                    <a:pt x="64" y="21"/>
                  </a:cubicBezTo>
                  <a:cubicBezTo>
                    <a:pt x="56" y="0"/>
                    <a:pt x="56" y="0"/>
                    <a:pt x="56" y="0"/>
                  </a:cubicBezTo>
                  <a:cubicBezTo>
                    <a:pt x="39" y="47"/>
                    <a:pt x="39" y="47"/>
                    <a:pt x="39" y="47"/>
                  </a:cubicBezTo>
                  <a:cubicBezTo>
                    <a:pt x="11" y="50"/>
                    <a:pt x="11" y="50"/>
                    <a:pt x="11" y="50"/>
                  </a:cubicBezTo>
                  <a:cubicBezTo>
                    <a:pt x="11" y="50"/>
                    <a:pt x="9" y="57"/>
                    <a:pt x="13" y="57"/>
                  </a:cubicBezTo>
                  <a:cubicBezTo>
                    <a:pt x="17" y="57"/>
                    <a:pt x="0" y="62"/>
                    <a:pt x="0" y="62"/>
                  </a:cubicBezTo>
                  <a:cubicBezTo>
                    <a:pt x="13" y="98"/>
                    <a:pt x="13" y="98"/>
                    <a:pt x="13" y="98"/>
                  </a:cubicBezTo>
                  <a:cubicBezTo>
                    <a:pt x="12" y="99"/>
                    <a:pt x="12" y="99"/>
                    <a:pt x="12" y="99"/>
                  </a:cubicBezTo>
                  <a:cubicBezTo>
                    <a:pt x="27" y="113"/>
                    <a:pt x="27" y="113"/>
                    <a:pt x="27" y="113"/>
                  </a:cubicBezTo>
                  <a:lnTo>
                    <a:pt x="23" y="12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4" name="Champagne-Ardenne" descr="© INSCALE GmbH, 05.05.2010&#10;http://www.presentationload.com/">
              <a:extLst>
                <a:ext uri="{FF2B5EF4-FFF2-40B4-BE49-F238E27FC236}">
                  <a16:creationId xmlns:a16="http://schemas.microsoft.com/office/drawing/2014/main" id="{42702F3F-420E-4857-A133-B4AD3E556CC4}"/>
                </a:ext>
              </a:extLst>
            </p:cNvPr>
            <p:cNvSpPr>
              <a:spLocks/>
            </p:cNvSpPr>
            <p:nvPr/>
          </p:nvSpPr>
          <p:spPr bwMode="gray">
            <a:xfrm>
              <a:off x="2008" y="466"/>
              <a:ext cx="578" cy="893"/>
            </a:xfrm>
            <a:custGeom>
              <a:avLst/>
              <a:gdLst/>
              <a:ahLst/>
              <a:cxnLst>
                <a:cxn ang="0">
                  <a:pos x="514" y="699"/>
                </a:cxn>
                <a:cxn ang="0">
                  <a:pos x="493" y="668"/>
                </a:cxn>
                <a:cxn ang="0">
                  <a:pos x="497" y="623"/>
                </a:cxn>
                <a:cxn ang="0">
                  <a:pos x="465" y="599"/>
                </a:cxn>
                <a:cxn ang="0">
                  <a:pos x="432" y="580"/>
                </a:cxn>
                <a:cxn ang="0">
                  <a:pos x="429" y="563"/>
                </a:cxn>
                <a:cxn ang="0">
                  <a:pos x="381" y="521"/>
                </a:cxn>
                <a:cxn ang="0">
                  <a:pos x="341" y="497"/>
                </a:cxn>
                <a:cxn ang="0">
                  <a:pos x="322" y="425"/>
                </a:cxn>
                <a:cxn ang="0">
                  <a:pos x="333" y="363"/>
                </a:cxn>
                <a:cxn ang="0">
                  <a:pos x="324" y="299"/>
                </a:cxn>
                <a:cxn ang="0">
                  <a:pos x="354" y="240"/>
                </a:cxn>
                <a:cxn ang="0">
                  <a:pos x="365" y="192"/>
                </a:cxn>
                <a:cxn ang="0">
                  <a:pos x="394" y="184"/>
                </a:cxn>
                <a:cxn ang="0">
                  <a:pos x="416" y="161"/>
                </a:cxn>
                <a:cxn ang="0">
                  <a:pos x="351" y="115"/>
                </a:cxn>
                <a:cxn ang="0">
                  <a:pos x="321" y="99"/>
                </a:cxn>
                <a:cxn ang="0">
                  <a:pos x="301" y="55"/>
                </a:cxn>
                <a:cxn ang="0">
                  <a:pos x="320" y="8"/>
                </a:cxn>
                <a:cxn ang="0">
                  <a:pos x="282" y="21"/>
                </a:cxn>
                <a:cxn ang="0">
                  <a:pos x="230" y="63"/>
                </a:cxn>
                <a:cxn ang="0">
                  <a:pos x="175" y="57"/>
                </a:cxn>
                <a:cxn ang="0">
                  <a:pos x="164" y="128"/>
                </a:cxn>
                <a:cxn ang="0">
                  <a:pos x="141" y="177"/>
                </a:cxn>
                <a:cxn ang="0">
                  <a:pos x="129" y="215"/>
                </a:cxn>
                <a:cxn ang="0">
                  <a:pos x="94" y="257"/>
                </a:cxn>
                <a:cxn ang="0">
                  <a:pos x="56" y="301"/>
                </a:cxn>
                <a:cxn ang="0">
                  <a:pos x="42" y="339"/>
                </a:cxn>
                <a:cxn ang="0">
                  <a:pos x="38" y="368"/>
                </a:cxn>
                <a:cxn ang="0">
                  <a:pos x="28" y="409"/>
                </a:cxn>
                <a:cxn ang="0">
                  <a:pos x="17" y="436"/>
                </a:cxn>
                <a:cxn ang="0">
                  <a:pos x="0" y="453"/>
                </a:cxn>
                <a:cxn ang="0">
                  <a:pos x="13" y="496"/>
                </a:cxn>
                <a:cxn ang="0">
                  <a:pos x="26" y="505"/>
                </a:cxn>
                <a:cxn ang="0">
                  <a:pos x="17" y="528"/>
                </a:cxn>
                <a:cxn ang="0">
                  <a:pos x="0" y="549"/>
                </a:cxn>
                <a:cxn ang="0">
                  <a:pos x="14" y="583"/>
                </a:cxn>
                <a:cxn ang="0">
                  <a:pos x="44" y="644"/>
                </a:cxn>
                <a:cxn ang="0">
                  <a:pos x="68" y="653"/>
                </a:cxn>
                <a:cxn ang="0">
                  <a:pos x="76" y="656"/>
                </a:cxn>
                <a:cxn ang="0">
                  <a:pos x="108" y="720"/>
                </a:cxn>
                <a:cxn ang="0">
                  <a:pos x="156" y="723"/>
                </a:cxn>
                <a:cxn ang="0">
                  <a:pos x="173" y="707"/>
                </a:cxn>
                <a:cxn ang="0">
                  <a:pos x="197" y="723"/>
                </a:cxn>
                <a:cxn ang="0">
                  <a:pos x="301" y="691"/>
                </a:cxn>
                <a:cxn ang="0">
                  <a:pos x="318" y="713"/>
                </a:cxn>
                <a:cxn ang="0">
                  <a:pos x="325" y="719"/>
                </a:cxn>
                <a:cxn ang="0">
                  <a:pos x="332" y="767"/>
                </a:cxn>
                <a:cxn ang="0">
                  <a:pos x="353" y="787"/>
                </a:cxn>
                <a:cxn ang="0">
                  <a:pos x="388" y="807"/>
                </a:cxn>
                <a:cxn ang="0">
                  <a:pos x="421" y="816"/>
                </a:cxn>
                <a:cxn ang="0">
                  <a:pos x="468" y="792"/>
                </a:cxn>
                <a:cxn ang="0">
                  <a:pos x="500" y="788"/>
                </a:cxn>
                <a:cxn ang="0">
                  <a:pos x="497" y="747"/>
                </a:cxn>
                <a:cxn ang="0">
                  <a:pos x="525" y="735"/>
                </a:cxn>
                <a:cxn ang="0">
                  <a:pos x="530" y="697"/>
                </a:cxn>
              </a:cxnLst>
              <a:rect l="0" t="0" r="r" b="b"/>
              <a:pathLst>
                <a:path w="536" h="828">
                  <a:moveTo>
                    <a:pt x="530" y="697"/>
                  </a:moveTo>
                  <a:cubicBezTo>
                    <a:pt x="517" y="701"/>
                    <a:pt x="517" y="701"/>
                    <a:pt x="517" y="701"/>
                  </a:cubicBezTo>
                  <a:cubicBezTo>
                    <a:pt x="514" y="699"/>
                    <a:pt x="514" y="699"/>
                    <a:pt x="514" y="699"/>
                  </a:cubicBezTo>
                  <a:cubicBezTo>
                    <a:pt x="514" y="701"/>
                    <a:pt x="514" y="701"/>
                    <a:pt x="514" y="701"/>
                  </a:cubicBezTo>
                  <a:cubicBezTo>
                    <a:pt x="513" y="681"/>
                    <a:pt x="513" y="681"/>
                    <a:pt x="513" y="681"/>
                  </a:cubicBezTo>
                  <a:cubicBezTo>
                    <a:pt x="493" y="668"/>
                    <a:pt x="493" y="668"/>
                    <a:pt x="493" y="668"/>
                  </a:cubicBezTo>
                  <a:cubicBezTo>
                    <a:pt x="476" y="664"/>
                    <a:pt x="476" y="664"/>
                    <a:pt x="476" y="664"/>
                  </a:cubicBezTo>
                  <a:cubicBezTo>
                    <a:pt x="486" y="652"/>
                    <a:pt x="486" y="652"/>
                    <a:pt x="486" y="652"/>
                  </a:cubicBezTo>
                  <a:cubicBezTo>
                    <a:pt x="486" y="652"/>
                    <a:pt x="486" y="628"/>
                    <a:pt x="497" y="623"/>
                  </a:cubicBezTo>
                  <a:cubicBezTo>
                    <a:pt x="490" y="612"/>
                    <a:pt x="490" y="612"/>
                    <a:pt x="490" y="612"/>
                  </a:cubicBezTo>
                  <a:cubicBezTo>
                    <a:pt x="481" y="611"/>
                    <a:pt x="481" y="611"/>
                    <a:pt x="481" y="611"/>
                  </a:cubicBezTo>
                  <a:cubicBezTo>
                    <a:pt x="481" y="611"/>
                    <a:pt x="481" y="588"/>
                    <a:pt x="465" y="599"/>
                  </a:cubicBezTo>
                  <a:cubicBezTo>
                    <a:pt x="452" y="576"/>
                    <a:pt x="452" y="576"/>
                    <a:pt x="452" y="576"/>
                  </a:cubicBezTo>
                  <a:cubicBezTo>
                    <a:pt x="452" y="576"/>
                    <a:pt x="442" y="573"/>
                    <a:pt x="436" y="577"/>
                  </a:cubicBezTo>
                  <a:cubicBezTo>
                    <a:pt x="435" y="579"/>
                    <a:pt x="434" y="581"/>
                    <a:pt x="432" y="580"/>
                  </a:cubicBezTo>
                  <a:cubicBezTo>
                    <a:pt x="433" y="579"/>
                    <a:pt x="434" y="578"/>
                    <a:pt x="436" y="577"/>
                  </a:cubicBezTo>
                  <a:cubicBezTo>
                    <a:pt x="436" y="574"/>
                    <a:pt x="434" y="571"/>
                    <a:pt x="434" y="571"/>
                  </a:cubicBezTo>
                  <a:cubicBezTo>
                    <a:pt x="429" y="563"/>
                    <a:pt x="429" y="563"/>
                    <a:pt x="429" y="563"/>
                  </a:cubicBezTo>
                  <a:cubicBezTo>
                    <a:pt x="441" y="557"/>
                    <a:pt x="441" y="557"/>
                    <a:pt x="441" y="557"/>
                  </a:cubicBezTo>
                  <a:cubicBezTo>
                    <a:pt x="441" y="557"/>
                    <a:pt x="400" y="521"/>
                    <a:pt x="383" y="521"/>
                  </a:cubicBezTo>
                  <a:cubicBezTo>
                    <a:pt x="383" y="522"/>
                    <a:pt x="382" y="522"/>
                    <a:pt x="381" y="521"/>
                  </a:cubicBezTo>
                  <a:cubicBezTo>
                    <a:pt x="382" y="521"/>
                    <a:pt x="382" y="521"/>
                    <a:pt x="383" y="521"/>
                  </a:cubicBezTo>
                  <a:cubicBezTo>
                    <a:pt x="384" y="518"/>
                    <a:pt x="349" y="491"/>
                    <a:pt x="349" y="491"/>
                  </a:cubicBezTo>
                  <a:cubicBezTo>
                    <a:pt x="341" y="497"/>
                    <a:pt x="341" y="497"/>
                    <a:pt x="341" y="497"/>
                  </a:cubicBezTo>
                  <a:cubicBezTo>
                    <a:pt x="342" y="457"/>
                    <a:pt x="342" y="457"/>
                    <a:pt x="342" y="457"/>
                  </a:cubicBezTo>
                  <a:cubicBezTo>
                    <a:pt x="316" y="439"/>
                    <a:pt x="316" y="439"/>
                    <a:pt x="316" y="439"/>
                  </a:cubicBezTo>
                  <a:cubicBezTo>
                    <a:pt x="322" y="425"/>
                    <a:pt x="322" y="425"/>
                    <a:pt x="322" y="425"/>
                  </a:cubicBezTo>
                  <a:cubicBezTo>
                    <a:pt x="320" y="404"/>
                    <a:pt x="320" y="404"/>
                    <a:pt x="320" y="404"/>
                  </a:cubicBezTo>
                  <a:cubicBezTo>
                    <a:pt x="320" y="404"/>
                    <a:pt x="344" y="395"/>
                    <a:pt x="342" y="385"/>
                  </a:cubicBezTo>
                  <a:cubicBezTo>
                    <a:pt x="341" y="376"/>
                    <a:pt x="344" y="357"/>
                    <a:pt x="333" y="363"/>
                  </a:cubicBezTo>
                  <a:cubicBezTo>
                    <a:pt x="336" y="359"/>
                    <a:pt x="320" y="313"/>
                    <a:pt x="320" y="313"/>
                  </a:cubicBezTo>
                  <a:cubicBezTo>
                    <a:pt x="330" y="305"/>
                    <a:pt x="330" y="305"/>
                    <a:pt x="330" y="305"/>
                  </a:cubicBezTo>
                  <a:cubicBezTo>
                    <a:pt x="324" y="299"/>
                    <a:pt x="324" y="299"/>
                    <a:pt x="324" y="299"/>
                  </a:cubicBezTo>
                  <a:cubicBezTo>
                    <a:pt x="341" y="287"/>
                    <a:pt x="341" y="287"/>
                    <a:pt x="341" y="287"/>
                  </a:cubicBezTo>
                  <a:cubicBezTo>
                    <a:pt x="341" y="287"/>
                    <a:pt x="333" y="275"/>
                    <a:pt x="337" y="269"/>
                  </a:cubicBezTo>
                  <a:cubicBezTo>
                    <a:pt x="341" y="264"/>
                    <a:pt x="354" y="240"/>
                    <a:pt x="354" y="240"/>
                  </a:cubicBezTo>
                  <a:cubicBezTo>
                    <a:pt x="354" y="240"/>
                    <a:pt x="354" y="225"/>
                    <a:pt x="342" y="211"/>
                  </a:cubicBezTo>
                  <a:cubicBezTo>
                    <a:pt x="346" y="213"/>
                    <a:pt x="348" y="187"/>
                    <a:pt x="348" y="187"/>
                  </a:cubicBezTo>
                  <a:cubicBezTo>
                    <a:pt x="365" y="192"/>
                    <a:pt x="365" y="192"/>
                    <a:pt x="365" y="192"/>
                  </a:cubicBezTo>
                  <a:cubicBezTo>
                    <a:pt x="374" y="192"/>
                    <a:pt x="374" y="192"/>
                    <a:pt x="374" y="192"/>
                  </a:cubicBezTo>
                  <a:cubicBezTo>
                    <a:pt x="386" y="199"/>
                    <a:pt x="386" y="199"/>
                    <a:pt x="386" y="199"/>
                  </a:cubicBezTo>
                  <a:cubicBezTo>
                    <a:pt x="394" y="184"/>
                    <a:pt x="394" y="184"/>
                    <a:pt x="394" y="184"/>
                  </a:cubicBezTo>
                  <a:cubicBezTo>
                    <a:pt x="408" y="183"/>
                    <a:pt x="408" y="183"/>
                    <a:pt x="408" y="183"/>
                  </a:cubicBezTo>
                  <a:cubicBezTo>
                    <a:pt x="420" y="162"/>
                    <a:pt x="420" y="162"/>
                    <a:pt x="420" y="162"/>
                  </a:cubicBezTo>
                  <a:cubicBezTo>
                    <a:pt x="417" y="162"/>
                    <a:pt x="416" y="161"/>
                    <a:pt x="416" y="161"/>
                  </a:cubicBezTo>
                  <a:cubicBezTo>
                    <a:pt x="420" y="146"/>
                    <a:pt x="412" y="145"/>
                    <a:pt x="412" y="145"/>
                  </a:cubicBezTo>
                  <a:cubicBezTo>
                    <a:pt x="412" y="145"/>
                    <a:pt x="402" y="139"/>
                    <a:pt x="385" y="140"/>
                  </a:cubicBezTo>
                  <a:cubicBezTo>
                    <a:pt x="369" y="118"/>
                    <a:pt x="358" y="115"/>
                    <a:pt x="351" y="115"/>
                  </a:cubicBezTo>
                  <a:cubicBezTo>
                    <a:pt x="346" y="106"/>
                    <a:pt x="344" y="108"/>
                    <a:pt x="334" y="109"/>
                  </a:cubicBezTo>
                  <a:cubicBezTo>
                    <a:pt x="325" y="118"/>
                    <a:pt x="316" y="104"/>
                    <a:pt x="316" y="104"/>
                  </a:cubicBezTo>
                  <a:cubicBezTo>
                    <a:pt x="321" y="99"/>
                    <a:pt x="321" y="99"/>
                    <a:pt x="321" y="99"/>
                  </a:cubicBezTo>
                  <a:cubicBezTo>
                    <a:pt x="321" y="99"/>
                    <a:pt x="319" y="96"/>
                    <a:pt x="315" y="89"/>
                  </a:cubicBezTo>
                  <a:cubicBezTo>
                    <a:pt x="322" y="83"/>
                    <a:pt x="321" y="72"/>
                    <a:pt x="321" y="72"/>
                  </a:cubicBezTo>
                  <a:cubicBezTo>
                    <a:pt x="321" y="72"/>
                    <a:pt x="296" y="57"/>
                    <a:pt x="301" y="55"/>
                  </a:cubicBezTo>
                  <a:cubicBezTo>
                    <a:pt x="306" y="53"/>
                    <a:pt x="311" y="35"/>
                    <a:pt x="311" y="35"/>
                  </a:cubicBezTo>
                  <a:cubicBezTo>
                    <a:pt x="308" y="25"/>
                    <a:pt x="308" y="25"/>
                    <a:pt x="308" y="25"/>
                  </a:cubicBezTo>
                  <a:cubicBezTo>
                    <a:pt x="308" y="25"/>
                    <a:pt x="319" y="13"/>
                    <a:pt x="320" y="8"/>
                  </a:cubicBezTo>
                  <a:cubicBezTo>
                    <a:pt x="321" y="3"/>
                    <a:pt x="311" y="0"/>
                    <a:pt x="303" y="0"/>
                  </a:cubicBezTo>
                  <a:cubicBezTo>
                    <a:pt x="295" y="0"/>
                    <a:pt x="289" y="17"/>
                    <a:pt x="289" y="17"/>
                  </a:cubicBezTo>
                  <a:cubicBezTo>
                    <a:pt x="289" y="17"/>
                    <a:pt x="286" y="17"/>
                    <a:pt x="282" y="21"/>
                  </a:cubicBezTo>
                  <a:cubicBezTo>
                    <a:pt x="278" y="25"/>
                    <a:pt x="280" y="45"/>
                    <a:pt x="279" y="49"/>
                  </a:cubicBezTo>
                  <a:cubicBezTo>
                    <a:pt x="278" y="53"/>
                    <a:pt x="263" y="50"/>
                    <a:pt x="254" y="49"/>
                  </a:cubicBezTo>
                  <a:cubicBezTo>
                    <a:pt x="249" y="63"/>
                    <a:pt x="236" y="63"/>
                    <a:pt x="230" y="63"/>
                  </a:cubicBezTo>
                  <a:cubicBezTo>
                    <a:pt x="224" y="63"/>
                    <a:pt x="207" y="56"/>
                    <a:pt x="199" y="55"/>
                  </a:cubicBezTo>
                  <a:cubicBezTo>
                    <a:pt x="191" y="54"/>
                    <a:pt x="187" y="59"/>
                    <a:pt x="181" y="60"/>
                  </a:cubicBezTo>
                  <a:cubicBezTo>
                    <a:pt x="179" y="61"/>
                    <a:pt x="176" y="59"/>
                    <a:pt x="175" y="57"/>
                  </a:cubicBezTo>
                  <a:cubicBezTo>
                    <a:pt x="174" y="57"/>
                    <a:pt x="174" y="58"/>
                    <a:pt x="174" y="58"/>
                  </a:cubicBezTo>
                  <a:cubicBezTo>
                    <a:pt x="160" y="78"/>
                    <a:pt x="169" y="91"/>
                    <a:pt x="169" y="91"/>
                  </a:cubicBezTo>
                  <a:cubicBezTo>
                    <a:pt x="164" y="128"/>
                    <a:pt x="164" y="128"/>
                    <a:pt x="164" y="128"/>
                  </a:cubicBezTo>
                  <a:cubicBezTo>
                    <a:pt x="170" y="135"/>
                    <a:pt x="170" y="135"/>
                    <a:pt x="170" y="135"/>
                  </a:cubicBezTo>
                  <a:cubicBezTo>
                    <a:pt x="148" y="163"/>
                    <a:pt x="148" y="163"/>
                    <a:pt x="148" y="163"/>
                  </a:cubicBezTo>
                  <a:cubicBezTo>
                    <a:pt x="141" y="177"/>
                    <a:pt x="141" y="177"/>
                    <a:pt x="141" y="177"/>
                  </a:cubicBezTo>
                  <a:cubicBezTo>
                    <a:pt x="125" y="179"/>
                    <a:pt x="125" y="179"/>
                    <a:pt x="125" y="179"/>
                  </a:cubicBezTo>
                  <a:cubicBezTo>
                    <a:pt x="137" y="208"/>
                    <a:pt x="137" y="208"/>
                    <a:pt x="137" y="208"/>
                  </a:cubicBezTo>
                  <a:cubicBezTo>
                    <a:pt x="129" y="215"/>
                    <a:pt x="129" y="215"/>
                    <a:pt x="129" y="215"/>
                  </a:cubicBezTo>
                  <a:cubicBezTo>
                    <a:pt x="129" y="215"/>
                    <a:pt x="134" y="264"/>
                    <a:pt x="129" y="264"/>
                  </a:cubicBezTo>
                  <a:cubicBezTo>
                    <a:pt x="124" y="264"/>
                    <a:pt x="105" y="251"/>
                    <a:pt x="105" y="251"/>
                  </a:cubicBezTo>
                  <a:cubicBezTo>
                    <a:pt x="94" y="257"/>
                    <a:pt x="94" y="257"/>
                    <a:pt x="94" y="257"/>
                  </a:cubicBezTo>
                  <a:cubicBezTo>
                    <a:pt x="94" y="257"/>
                    <a:pt x="93" y="267"/>
                    <a:pt x="89" y="268"/>
                  </a:cubicBezTo>
                  <a:cubicBezTo>
                    <a:pt x="72" y="263"/>
                    <a:pt x="50" y="281"/>
                    <a:pt x="50" y="281"/>
                  </a:cubicBezTo>
                  <a:cubicBezTo>
                    <a:pt x="56" y="301"/>
                    <a:pt x="56" y="301"/>
                    <a:pt x="56" y="301"/>
                  </a:cubicBezTo>
                  <a:cubicBezTo>
                    <a:pt x="50" y="312"/>
                    <a:pt x="50" y="312"/>
                    <a:pt x="50" y="312"/>
                  </a:cubicBezTo>
                  <a:cubicBezTo>
                    <a:pt x="69" y="328"/>
                    <a:pt x="69" y="328"/>
                    <a:pt x="69" y="328"/>
                  </a:cubicBezTo>
                  <a:cubicBezTo>
                    <a:pt x="69" y="328"/>
                    <a:pt x="45" y="333"/>
                    <a:pt x="42" y="339"/>
                  </a:cubicBezTo>
                  <a:cubicBezTo>
                    <a:pt x="40" y="344"/>
                    <a:pt x="48" y="356"/>
                    <a:pt x="48" y="356"/>
                  </a:cubicBezTo>
                  <a:cubicBezTo>
                    <a:pt x="40" y="363"/>
                    <a:pt x="40" y="363"/>
                    <a:pt x="40" y="363"/>
                  </a:cubicBezTo>
                  <a:cubicBezTo>
                    <a:pt x="38" y="368"/>
                    <a:pt x="38" y="368"/>
                    <a:pt x="38" y="368"/>
                  </a:cubicBezTo>
                  <a:cubicBezTo>
                    <a:pt x="38" y="368"/>
                    <a:pt x="50" y="367"/>
                    <a:pt x="57" y="372"/>
                  </a:cubicBezTo>
                  <a:cubicBezTo>
                    <a:pt x="64" y="377"/>
                    <a:pt x="34" y="407"/>
                    <a:pt x="34" y="407"/>
                  </a:cubicBezTo>
                  <a:cubicBezTo>
                    <a:pt x="28" y="409"/>
                    <a:pt x="28" y="409"/>
                    <a:pt x="28" y="409"/>
                  </a:cubicBezTo>
                  <a:cubicBezTo>
                    <a:pt x="18" y="429"/>
                    <a:pt x="18" y="429"/>
                    <a:pt x="18" y="429"/>
                  </a:cubicBezTo>
                  <a:cubicBezTo>
                    <a:pt x="18" y="429"/>
                    <a:pt x="18" y="429"/>
                    <a:pt x="17" y="429"/>
                  </a:cubicBezTo>
                  <a:cubicBezTo>
                    <a:pt x="17" y="436"/>
                    <a:pt x="17" y="436"/>
                    <a:pt x="17" y="436"/>
                  </a:cubicBezTo>
                  <a:cubicBezTo>
                    <a:pt x="1" y="443"/>
                    <a:pt x="1" y="443"/>
                    <a:pt x="1" y="443"/>
                  </a:cubicBezTo>
                  <a:cubicBezTo>
                    <a:pt x="8" y="452"/>
                    <a:pt x="8" y="452"/>
                    <a:pt x="8" y="452"/>
                  </a:cubicBezTo>
                  <a:cubicBezTo>
                    <a:pt x="0" y="453"/>
                    <a:pt x="0" y="453"/>
                    <a:pt x="0" y="453"/>
                  </a:cubicBezTo>
                  <a:cubicBezTo>
                    <a:pt x="0" y="463"/>
                    <a:pt x="0" y="463"/>
                    <a:pt x="0" y="463"/>
                  </a:cubicBezTo>
                  <a:cubicBezTo>
                    <a:pt x="14" y="464"/>
                    <a:pt x="14" y="464"/>
                    <a:pt x="14" y="464"/>
                  </a:cubicBezTo>
                  <a:cubicBezTo>
                    <a:pt x="13" y="496"/>
                    <a:pt x="13" y="496"/>
                    <a:pt x="13" y="496"/>
                  </a:cubicBezTo>
                  <a:cubicBezTo>
                    <a:pt x="29" y="497"/>
                    <a:pt x="29" y="497"/>
                    <a:pt x="29" y="497"/>
                  </a:cubicBezTo>
                  <a:cubicBezTo>
                    <a:pt x="37" y="507"/>
                    <a:pt x="37" y="507"/>
                    <a:pt x="37" y="507"/>
                  </a:cubicBezTo>
                  <a:cubicBezTo>
                    <a:pt x="26" y="505"/>
                    <a:pt x="26" y="505"/>
                    <a:pt x="26" y="505"/>
                  </a:cubicBezTo>
                  <a:cubicBezTo>
                    <a:pt x="25" y="516"/>
                    <a:pt x="25" y="516"/>
                    <a:pt x="25" y="516"/>
                  </a:cubicBezTo>
                  <a:cubicBezTo>
                    <a:pt x="13" y="516"/>
                    <a:pt x="13" y="516"/>
                    <a:pt x="13" y="516"/>
                  </a:cubicBezTo>
                  <a:cubicBezTo>
                    <a:pt x="17" y="528"/>
                    <a:pt x="17" y="528"/>
                    <a:pt x="17" y="528"/>
                  </a:cubicBezTo>
                  <a:cubicBezTo>
                    <a:pt x="2" y="531"/>
                    <a:pt x="2" y="531"/>
                    <a:pt x="2" y="531"/>
                  </a:cubicBezTo>
                  <a:cubicBezTo>
                    <a:pt x="9" y="540"/>
                    <a:pt x="9" y="540"/>
                    <a:pt x="9" y="540"/>
                  </a:cubicBezTo>
                  <a:cubicBezTo>
                    <a:pt x="0" y="549"/>
                    <a:pt x="0" y="549"/>
                    <a:pt x="0" y="549"/>
                  </a:cubicBezTo>
                  <a:cubicBezTo>
                    <a:pt x="4" y="575"/>
                    <a:pt x="4" y="575"/>
                    <a:pt x="4" y="575"/>
                  </a:cubicBezTo>
                  <a:cubicBezTo>
                    <a:pt x="8" y="585"/>
                    <a:pt x="8" y="585"/>
                    <a:pt x="8" y="585"/>
                  </a:cubicBezTo>
                  <a:cubicBezTo>
                    <a:pt x="14" y="583"/>
                    <a:pt x="14" y="583"/>
                    <a:pt x="14" y="583"/>
                  </a:cubicBezTo>
                  <a:cubicBezTo>
                    <a:pt x="14" y="583"/>
                    <a:pt x="41" y="593"/>
                    <a:pt x="41" y="608"/>
                  </a:cubicBezTo>
                  <a:cubicBezTo>
                    <a:pt x="45" y="613"/>
                    <a:pt x="45" y="613"/>
                    <a:pt x="45" y="613"/>
                  </a:cubicBezTo>
                  <a:cubicBezTo>
                    <a:pt x="45" y="613"/>
                    <a:pt x="53" y="635"/>
                    <a:pt x="44" y="644"/>
                  </a:cubicBezTo>
                  <a:cubicBezTo>
                    <a:pt x="53" y="641"/>
                    <a:pt x="53" y="641"/>
                    <a:pt x="53" y="641"/>
                  </a:cubicBezTo>
                  <a:cubicBezTo>
                    <a:pt x="62" y="656"/>
                    <a:pt x="62" y="656"/>
                    <a:pt x="62" y="656"/>
                  </a:cubicBezTo>
                  <a:cubicBezTo>
                    <a:pt x="68" y="653"/>
                    <a:pt x="68" y="653"/>
                    <a:pt x="68" y="653"/>
                  </a:cubicBezTo>
                  <a:cubicBezTo>
                    <a:pt x="68" y="644"/>
                    <a:pt x="68" y="644"/>
                    <a:pt x="68" y="644"/>
                  </a:cubicBezTo>
                  <a:cubicBezTo>
                    <a:pt x="76" y="645"/>
                    <a:pt x="76" y="645"/>
                    <a:pt x="76" y="645"/>
                  </a:cubicBezTo>
                  <a:cubicBezTo>
                    <a:pt x="76" y="656"/>
                    <a:pt x="76" y="656"/>
                    <a:pt x="76" y="656"/>
                  </a:cubicBezTo>
                  <a:cubicBezTo>
                    <a:pt x="76" y="656"/>
                    <a:pt x="85" y="664"/>
                    <a:pt x="94" y="684"/>
                  </a:cubicBezTo>
                  <a:cubicBezTo>
                    <a:pt x="104" y="704"/>
                    <a:pt x="102" y="708"/>
                    <a:pt x="112" y="700"/>
                  </a:cubicBezTo>
                  <a:cubicBezTo>
                    <a:pt x="112" y="703"/>
                    <a:pt x="108" y="720"/>
                    <a:pt x="108" y="720"/>
                  </a:cubicBezTo>
                  <a:cubicBezTo>
                    <a:pt x="142" y="721"/>
                    <a:pt x="142" y="721"/>
                    <a:pt x="142" y="721"/>
                  </a:cubicBezTo>
                  <a:cubicBezTo>
                    <a:pt x="144" y="716"/>
                    <a:pt x="144" y="716"/>
                    <a:pt x="144" y="716"/>
                  </a:cubicBezTo>
                  <a:cubicBezTo>
                    <a:pt x="156" y="723"/>
                    <a:pt x="156" y="723"/>
                    <a:pt x="156" y="723"/>
                  </a:cubicBezTo>
                  <a:cubicBezTo>
                    <a:pt x="169" y="712"/>
                    <a:pt x="169" y="712"/>
                    <a:pt x="169" y="712"/>
                  </a:cubicBezTo>
                  <a:cubicBezTo>
                    <a:pt x="176" y="716"/>
                    <a:pt x="176" y="716"/>
                    <a:pt x="176" y="716"/>
                  </a:cubicBezTo>
                  <a:cubicBezTo>
                    <a:pt x="173" y="707"/>
                    <a:pt x="173" y="707"/>
                    <a:pt x="173" y="707"/>
                  </a:cubicBezTo>
                  <a:cubicBezTo>
                    <a:pt x="182" y="707"/>
                    <a:pt x="182" y="707"/>
                    <a:pt x="182" y="707"/>
                  </a:cubicBezTo>
                  <a:cubicBezTo>
                    <a:pt x="188" y="720"/>
                    <a:pt x="188" y="720"/>
                    <a:pt x="188" y="720"/>
                  </a:cubicBezTo>
                  <a:cubicBezTo>
                    <a:pt x="197" y="723"/>
                    <a:pt x="197" y="723"/>
                    <a:pt x="197" y="723"/>
                  </a:cubicBezTo>
                  <a:cubicBezTo>
                    <a:pt x="197" y="711"/>
                    <a:pt x="197" y="711"/>
                    <a:pt x="197" y="711"/>
                  </a:cubicBezTo>
                  <a:cubicBezTo>
                    <a:pt x="252" y="709"/>
                    <a:pt x="252" y="709"/>
                    <a:pt x="252" y="709"/>
                  </a:cubicBezTo>
                  <a:cubicBezTo>
                    <a:pt x="252" y="709"/>
                    <a:pt x="220" y="675"/>
                    <a:pt x="301" y="691"/>
                  </a:cubicBezTo>
                  <a:cubicBezTo>
                    <a:pt x="300" y="708"/>
                    <a:pt x="300" y="708"/>
                    <a:pt x="300" y="708"/>
                  </a:cubicBezTo>
                  <a:cubicBezTo>
                    <a:pt x="313" y="708"/>
                    <a:pt x="313" y="708"/>
                    <a:pt x="313" y="708"/>
                  </a:cubicBezTo>
                  <a:cubicBezTo>
                    <a:pt x="318" y="713"/>
                    <a:pt x="318" y="713"/>
                    <a:pt x="318" y="713"/>
                  </a:cubicBezTo>
                  <a:cubicBezTo>
                    <a:pt x="312" y="721"/>
                    <a:pt x="312" y="721"/>
                    <a:pt x="312" y="721"/>
                  </a:cubicBezTo>
                  <a:cubicBezTo>
                    <a:pt x="318" y="725"/>
                    <a:pt x="318" y="725"/>
                    <a:pt x="318" y="725"/>
                  </a:cubicBezTo>
                  <a:cubicBezTo>
                    <a:pt x="325" y="719"/>
                    <a:pt x="325" y="719"/>
                    <a:pt x="325" y="719"/>
                  </a:cubicBezTo>
                  <a:cubicBezTo>
                    <a:pt x="325" y="719"/>
                    <a:pt x="336" y="740"/>
                    <a:pt x="342" y="748"/>
                  </a:cubicBezTo>
                  <a:cubicBezTo>
                    <a:pt x="332" y="766"/>
                    <a:pt x="332" y="766"/>
                    <a:pt x="332" y="766"/>
                  </a:cubicBezTo>
                  <a:cubicBezTo>
                    <a:pt x="332" y="767"/>
                    <a:pt x="332" y="767"/>
                    <a:pt x="332" y="767"/>
                  </a:cubicBezTo>
                  <a:cubicBezTo>
                    <a:pt x="341" y="769"/>
                    <a:pt x="341" y="769"/>
                    <a:pt x="341" y="769"/>
                  </a:cubicBezTo>
                  <a:cubicBezTo>
                    <a:pt x="341" y="792"/>
                    <a:pt x="341" y="792"/>
                    <a:pt x="341" y="792"/>
                  </a:cubicBezTo>
                  <a:cubicBezTo>
                    <a:pt x="353" y="787"/>
                    <a:pt x="353" y="787"/>
                    <a:pt x="353" y="787"/>
                  </a:cubicBezTo>
                  <a:cubicBezTo>
                    <a:pt x="353" y="787"/>
                    <a:pt x="365" y="801"/>
                    <a:pt x="374" y="801"/>
                  </a:cubicBezTo>
                  <a:cubicBezTo>
                    <a:pt x="384" y="801"/>
                    <a:pt x="388" y="797"/>
                    <a:pt x="388" y="797"/>
                  </a:cubicBezTo>
                  <a:cubicBezTo>
                    <a:pt x="388" y="807"/>
                    <a:pt x="388" y="807"/>
                    <a:pt x="388" y="807"/>
                  </a:cubicBezTo>
                  <a:cubicBezTo>
                    <a:pt x="404" y="815"/>
                    <a:pt x="404" y="815"/>
                    <a:pt x="404" y="815"/>
                  </a:cubicBezTo>
                  <a:cubicBezTo>
                    <a:pt x="404" y="828"/>
                    <a:pt x="404" y="828"/>
                    <a:pt x="404" y="828"/>
                  </a:cubicBezTo>
                  <a:cubicBezTo>
                    <a:pt x="421" y="816"/>
                    <a:pt x="421" y="816"/>
                    <a:pt x="421" y="816"/>
                  </a:cubicBezTo>
                  <a:cubicBezTo>
                    <a:pt x="421" y="816"/>
                    <a:pt x="426" y="819"/>
                    <a:pt x="430" y="819"/>
                  </a:cubicBezTo>
                  <a:cubicBezTo>
                    <a:pt x="434" y="819"/>
                    <a:pt x="438" y="791"/>
                    <a:pt x="438" y="791"/>
                  </a:cubicBezTo>
                  <a:cubicBezTo>
                    <a:pt x="468" y="792"/>
                    <a:pt x="468" y="792"/>
                    <a:pt x="468" y="792"/>
                  </a:cubicBezTo>
                  <a:cubicBezTo>
                    <a:pt x="469" y="785"/>
                    <a:pt x="469" y="785"/>
                    <a:pt x="469" y="785"/>
                  </a:cubicBezTo>
                  <a:cubicBezTo>
                    <a:pt x="481" y="793"/>
                    <a:pt x="481" y="793"/>
                    <a:pt x="481" y="793"/>
                  </a:cubicBezTo>
                  <a:cubicBezTo>
                    <a:pt x="500" y="788"/>
                    <a:pt x="500" y="788"/>
                    <a:pt x="500" y="788"/>
                  </a:cubicBezTo>
                  <a:cubicBezTo>
                    <a:pt x="502" y="757"/>
                    <a:pt x="502" y="757"/>
                    <a:pt x="502" y="757"/>
                  </a:cubicBezTo>
                  <a:cubicBezTo>
                    <a:pt x="492" y="757"/>
                    <a:pt x="492" y="757"/>
                    <a:pt x="492" y="757"/>
                  </a:cubicBezTo>
                  <a:cubicBezTo>
                    <a:pt x="497" y="747"/>
                    <a:pt x="497" y="747"/>
                    <a:pt x="497" y="747"/>
                  </a:cubicBezTo>
                  <a:cubicBezTo>
                    <a:pt x="505" y="748"/>
                    <a:pt x="505" y="748"/>
                    <a:pt x="505" y="748"/>
                  </a:cubicBezTo>
                  <a:cubicBezTo>
                    <a:pt x="512" y="733"/>
                    <a:pt x="512" y="733"/>
                    <a:pt x="512" y="733"/>
                  </a:cubicBezTo>
                  <a:cubicBezTo>
                    <a:pt x="525" y="735"/>
                    <a:pt x="525" y="735"/>
                    <a:pt x="525" y="735"/>
                  </a:cubicBezTo>
                  <a:cubicBezTo>
                    <a:pt x="528" y="720"/>
                    <a:pt x="528" y="720"/>
                    <a:pt x="528" y="720"/>
                  </a:cubicBezTo>
                  <a:cubicBezTo>
                    <a:pt x="536" y="715"/>
                    <a:pt x="536" y="715"/>
                    <a:pt x="536" y="715"/>
                  </a:cubicBezTo>
                  <a:lnTo>
                    <a:pt x="530" y="697"/>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5" name="Lorraine" descr="© INSCALE GmbH, 05.05.2010&#10;http://www.presentationload.com/">
              <a:extLst>
                <a:ext uri="{FF2B5EF4-FFF2-40B4-BE49-F238E27FC236}">
                  <a16:creationId xmlns:a16="http://schemas.microsoft.com/office/drawing/2014/main" id="{2ACB0F13-E462-48F4-A8B6-FD41570E9DC6}"/>
                </a:ext>
              </a:extLst>
            </p:cNvPr>
            <p:cNvSpPr>
              <a:spLocks/>
            </p:cNvSpPr>
            <p:nvPr/>
          </p:nvSpPr>
          <p:spPr bwMode="gray">
            <a:xfrm>
              <a:off x="2349" y="641"/>
              <a:ext cx="619" cy="618"/>
            </a:xfrm>
            <a:custGeom>
              <a:avLst/>
              <a:gdLst/>
              <a:ahLst/>
              <a:cxnLst>
                <a:cxn ang="0">
                  <a:pos x="552" y="140"/>
                </a:cxn>
                <a:cxn ang="0">
                  <a:pos x="524" y="152"/>
                </a:cxn>
                <a:cxn ang="0">
                  <a:pos x="482" y="143"/>
                </a:cxn>
                <a:cxn ang="0">
                  <a:pos x="464" y="142"/>
                </a:cxn>
                <a:cxn ang="0">
                  <a:pos x="429" y="124"/>
                </a:cxn>
                <a:cxn ang="0">
                  <a:pos x="423" y="143"/>
                </a:cxn>
                <a:cxn ang="0">
                  <a:pos x="395" y="131"/>
                </a:cxn>
                <a:cxn ang="0">
                  <a:pos x="388" y="114"/>
                </a:cxn>
                <a:cxn ang="0">
                  <a:pos x="365" y="84"/>
                </a:cxn>
                <a:cxn ang="0">
                  <a:pos x="368" y="71"/>
                </a:cxn>
                <a:cxn ang="0">
                  <a:pos x="333" y="43"/>
                </a:cxn>
                <a:cxn ang="0">
                  <a:pos x="281" y="38"/>
                </a:cxn>
                <a:cxn ang="0">
                  <a:pos x="233" y="36"/>
                </a:cxn>
                <a:cxn ang="0">
                  <a:pos x="191" y="20"/>
                </a:cxn>
                <a:cxn ang="0">
                  <a:pos x="165" y="33"/>
                </a:cxn>
                <a:cxn ang="0">
                  <a:pos x="128" y="21"/>
                </a:cxn>
                <a:cxn ang="0">
                  <a:pos x="92" y="21"/>
                </a:cxn>
                <a:cxn ang="0">
                  <a:pos x="70" y="37"/>
                </a:cxn>
                <a:cxn ang="0">
                  <a:pos x="49" y="30"/>
                </a:cxn>
                <a:cxn ang="0">
                  <a:pos x="26" y="49"/>
                </a:cxn>
                <a:cxn ang="0">
                  <a:pos x="21" y="107"/>
                </a:cxn>
                <a:cxn ang="0">
                  <a:pos x="8" y="137"/>
                </a:cxn>
                <a:cxn ang="0">
                  <a:pos x="4" y="151"/>
                </a:cxn>
                <a:cxn ang="0">
                  <a:pos x="26" y="223"/>
                </a:cxn>
                <a:cxn ang="0">
                  <a:pos x="6" y="263"/>
                </a:cxn>
                <a:cxn ang="0">
                  <a:pos x="26" y="295"/>
                </a:cxn>
                <a:cxn ang="0">
                  <a:pos x="33" y="329"/>
                </a:cxn>
                <a:cxn ang="0">
                  <a:pos x="125" y="395"/>
                </a:cxn>
                <a:cxn ang="0">
                  <a:pos x="118" y="409"/>
                </a:cxn>
                <a:cxn ang="0">
                  <a:pos x="136" y="414"/>
                </a:cxn>
                <a:cxn ang="0">
                  <a:pos x="165" y="449"/>
                </a:cxn>
                <a:cxn ang="0">
                  <a:pos x="181" y="461"/>
                </a:cxn>
                <a:cxn ang="0">
                  <a:pos x="160" y="502"/>
                </a:cxn>
                <a:cxn ang="0">
                  <a:pos x="197" y="519"/>
                </a:cxn>
                <a:cxn ang="0">
                  <a:pos x="201" y="539"/>
                </a:cxn>
                <a:cxn ang="0">
                  <a:pos x="217" y="544"/>
                </a:cxn>
                <a:cxn ang="0">
                  <a:pos x="234" y="534"/>
                </a:cxn>
                <a:cxn ang="0">
                  <a:pos x="244" y="537"/>
                </a:cxn>
                <a:cxn ang="0">
                  <a:pos x="274" y="517"/>
                </a:cxn>
                <a:cxn ang="0">
                  <a:pos x="286" y="534"/>
                </a:cxn>
                <a:cxn ang="0">
                  <a:pos x="337" y="537"/>
                </a:cxn>
                <a:cxn ang="0">
                  <a:pos x="372" y="537"/>
                </a:cxn>
                <a:cxn ang="0">
                  <a:pos x="414" y="562"/>
                </a:cxn>
                <a:cxn ang="0">
                  <a:pos x="442" y="559"/>
                </a:cxn>
                <a:cxn ang="0">
                  <a:pos x="441" y="545"/>
                </a:cxn>
                <a:cxn ang="0">
                  <a:pos x="472" y="470"/>
                </a:cxn>
                <a:cxn ang="0">
                  <a:pos x="490" y="411"/>
                </a:cxn>
                <a:cxn ang="0">
                  <a:pos x="469" y="399"/>
                </a:cxn>
                <a:cxn ang="0">
                  <a:pos x="458" y="343"/>
                </a:cxn>
                <a:cxn ang="0">
                  <a:pos x="508" y="299"/>
                </a:cxn>
                <a:cxn ang="0">
                  <a:pos x="477" y="242"/>
                </a:cxn>
                <a:cxn ang="0">
                  <a:pos x="449" y="243"/>
                </a:cxn>
                <a:cxn ang="0">
                  <a:pos x="429" y="223"/>
                </a:cxn>
                <a:cxn ang="0">
                  <a:pos x="450" y="166"/>
                </a:cxn>
                <a:cxn ang="0">
                  <a:pos x="465" y="189"/>
                </a:cxn>
                <a:cxn ang="0">
                  <a:pos x="533" y="197"/>
                </a:cxn>
                <a:cxn ang="0">
                  <a:pos x="563" y="150"/>
                </a:cxn>
              </a:cxnLst>
              <a:rect l="0" t="0" r="r" b="b"/>
              <a:pathLst>
                <a:path w="574" h="573">
                  <a:moveTo>
                    <a:pt x="563" y="150"/>
                  </a:moveTo>
                  <a:cubicBezTo>
                    <a:pt x="569" y="145"/>
                    <a:pt x="561" y="142"/>
                    <a:pt x="552" y="140"/>
                  </a:cubicBezTo>
                  <a:cubicBezTo>
                    <a:pt x="542" y="130"/>
                    <a:pt x="536" y="147"/>
                    <a:pt x="536" y="147"/>
                  </a:cubicBezTo>
                  <a:cubicBezTo>
                    <a:pt x="524" y="152"/>
                    <a:pt x="524" y="152"/>
                    <a:pt x="524" y="152"/>
                  </a:cubicBezTo>
                  <a:cubicBezTo>
                    <a:pt x="489" y="154"/>
                    <a:pt x="489" y="154"/>
                    <a:pt x="489" y="154"/>
                  </a:cubicBezTo>
                  <a:cubicBezTo>
                    <a:pt x="482" y="143"/>
                    <a:pt x="482" y="143"/>
                    <a:pt x="482" y="143"/>
                  </a:cubicBezTo>
                  <a:cubicBezTo>
                    <a:pt x="471" y="154"/>
                    <a:pt x="471" y="154"/>
                    <a:pt x="471" y="154"/>
                  </a:cubicBezTo>
                  <a:cubicBezTo>
                    <a:pt x="464" y="142"/>
                    <a:pt x="464" y="142"/>
                    <a:pt x="464" y="142"/>
                  </a:cubicBezTo>
                  <a:cubicBezTo>
                    <a:pt x="464" y="122"/>
                    <a:pt x="438" y="126"/>
                    <a:pt x="438" y="126"/>
                  </a:cubicBezTo>
                  <a:cubicBezTo>
                    <a:pt x="429" y="124"/>
                    <a:pt x="429" y="124"/>
                    <a:pt x="429" y="124"/>
                  </a:cubicBezTo>
                  <a:cubicBezTo>
                    <a:pt x="431" y="135"/>
                    <a:pt x="431" y="135"/>
                    <a:pt x="431" y="135"/>
                  </a:cubicBezTo>
                  <a:cubicBezTo>
                    <a:pt x="423" y="143"/>
                    <a:pt x="423" y="143"/>
                    <a:pt x="423" y="143"/>
                  </a:cubicBezTo>
                  <a:cubicBezTo>
                    <a:pt x="419" y="140"/>
                    <a:pt x="419" y="140"/>
                    <a:pt x="419" y="140"/>
                  </a:cubicBezTo>
                  <a:cubicBezTo>
                    <a:pt x="397" y="145"/>
                    <a:pt x="395" y="131"/>
                    <a:pt x="395" y="131"/>
                  </a:cubicBezTo>
                  <a:cubicBezTo>
                    <a:pt x="403" y="125"/>
                    <a:pt x="397" y="121"/>
                    <a:pt x="397" y="121"/>
                  </a:cubicBezTo>
                  <a:cubicBezTo>
                    <a:pt x="392" y="126"/>
                    <a:pt x="388" y="114"/>
                    <a:pt x="388" y="114"/>
                  </a:cubicBezTo>
                  <a:cubicBezTo>
                    <a:pt x="389" y="107"/>
                    <a:pt x="377" y="99"/>
                    <a:pt x="370" y="96"/>
                  </a:cubicBezTo>
                  <a:cubicBezTo>
                    <a:pt x="370" y="88"/>
                    <a:pt x="365" y="84"/>
                    <a:pt x="365" y="84"/>
                  </a:cubicBezTo>
                  <a:cubicBezTo>
                    <a:pt x="371" y="79"/>
                    <a:pt x="371" y="79"/>
                    <a:pt x="371" y="79"/>
                  </a:cubicBezTo>
                  <a:cubicBezTo>
                    <a:pt x="368" y="71"/>
                    <a:pt x="368" y="71"/>
                    <a:pt x="368" y="71"/>
                  </a:cubicBezTo>
                  <a:cubicBezTo>
                    <a:pt x="361" y="71"/>
                    <a:pt x="358" y="59"/>
                    <a:pt x="358" y="59"/>
                  </a:cubicBezTo>
                  <a:cubicBezTo>
                    <a:pt x="333" y="43"/>
                    <a:pt x="333" y="43"/>
                    <a:pt x="333" y="43"/>
                  </a:cubicBezTo>
                  <a:cubicBezTo>
                    <a:pt x="317" y="61"/>
                    <a:pt x="297" y="38"/>
                    <a:pt x="297" y="38"/>
                  </a:cubicBezTo>
                  <a:cubicBezTo>
                    <a:pt x="297" y="38"/>
                    <a:pt x="297" y="38"/>
                    <a:pt x="281" y="38"/>
                  </a:cubicBezTo>
                  <a:cubicBezTo>
                    <a:pt x="272" y="54"/>
                    <a:pt x="245" y="52"/>
                    <a:pt x="243" y="48"/>
                  </a:cubicBezTo>
                  <a:cubicBezTo>
                    <a:pt x="241" y="44"/>
                    <a:pt x="233" y="36"/>
                    <a:pt x="233" y="36"/>
                  </a:cubicBezTo>
                  <a:cubicBezTo>
                    <a:pt x="233" y="36"/>
                    <a:pt x="223" y="33"/>
                    <a:pt x="212" y="31"/>
                  </a:cubicBezTo>
                  <a:cubicBezTo>
                    <a:pt x="206" y="20"/>
                    <a:pt x="191" y="20"/>
                    <a:pt x="191" y="20"/>
                  </a:cubicBezTo>
                  <a:cubicBezTo>
                    <a:pt x="175" y="19"/>
                    <a:pt x="175" y="19"/>
                    <a:pt x="175" y="19"/>
                  </a:cubicBezTo>
                  <a:cubicBezTo>
                    <a:pt x="165" y="33"/>
                    <a:pt x="165" y="33"/>
                    <a:pt x="165" y="33"/>
                  </a:cubicBezTo>
                  <a:cubicBezTo>
                    <a:pt x="165" y="33"/>
                    <a:pt x="162" y="29"/>
                    <a:pt x="145" y="30"/>
                  </a:cubicBezTo>
                  <a:cubicBezTo>
                    <a:pt x="126" y="45"/>
                    <a:pt x="129" y="24"/>
                    <a:pt x="128" y="21"/>
                  </a:cubicBezTo>
                  <a:cubicBezTo>
                    <a:pt x="128" y="5"/>
                    <a:pt x="111" y="1"/>
                    <a:pt x="104" y="0"/>
                  </a:cubicBezTo>
                  <a:cubicBezTo>
                    <a:pt x="92" y="21"/>
                    <a:pt x="92" y="21"/>
                    <a:pt x="92" y="21"/>
                  </a:cubicBezTo>
                  <a:cubicBezTo>
                    <a:pt x="78" y="22"/>
                    <a:pt x="78" y="22"/>
                    <a:pt x="78" y="22"/>
                  </a:cubicBezTo>
                  <a:cubicBezTo>
                    <a:pt x="70" y="37"/>
                    <a:pt x="70" y="37"/>
                    <a:pt x="70" y="37"/>
                  </a:cubicBezTo>
                  <a:cubicBezTo>
                    <a:pt x="58" y="30"/>
                    <a:pt x="58" y="30"/>
                    <a:pt x="58" y="30"/>
                  </a:cubicBezTo>
                  <a:cubicBezTo>
                    <a:pt x="49" y="30"/>
                    <a:pt x="49" y="30"/>
                    <a:pt x="49" y="30"/>
                  </a:cubicBezTo>
                  <a:cubicBezTo>
                    <a:pt x="32" y="25"/>
                    <a:pt x="32" y="25"/>
                    <a:pt x="32" y="25"/>
                  </a:cubicBezTo>
                  <a:cubicBezTo>
                    <a:pt x="32" y="25"/>
                    <a:pt x="30" y="51"/>
                    <a:pt x="26" y="49"/>
                  </a:cubicBezTo>
                  <a:cubicBezTo>
                    <a:pt x="38" y="63"/>
                    <a:pt x="38" y="78"/>
                    <a:pt x="38" y="78"/>
                  </a:cubicBezTo>
                  <a:cubicBezTo>
                    <a:pt x="38" y="78"/>
                    <a:pt x="25" y="102"/>
                    <a:pt x="21" y="107"/>
                  </a:cubicBezTo>
                  <a:cubicBezTo>
                    <a:pt x="17" y="113"/>
                    <a:pt x="25" y="125"/>
                    <a:pt x="25" y="125"/>
                  </a:cubicBezTo>
                  <a:cubicBezTo>
                    <a:pt x="8" y="137"/>
                    <a:pt x="8" y="137"/>
                    <a:pt x="8" y="137"/>
                  </a:cubicBezTo>
                  <a:cubicBezTo>
                    <a:pt x="14" y="143"/>
                    <a:pt x="14" y="143"/>
                    <a:pt x="14" y="143"/>
                  </a:cubicBezTo>
                  <a:cubicBezTo>
                    <a:pt x="4" y="151"/>
                    <a:pt x="4" y="151"/>
                    <a:pt x="4" y="151"/>
                  </a:cubicBezTo>
                  <a:cubicBezTo>
                    <a:pt x="4" y="151"/>
                    <a:pt x="20" y="197"/>
                    <a:pt x="17" y="201"/>
                  </a:cubicBezTo>
                  <a:cubicBezTo>
                    <a:pt x="28" y="195"/>
                    <a:pt x="25" y="214"/>
                    <a:pt x="26" y="223"/>
                  </a:cubicBezTo>
                  <a:cubicBezTo>
                    <a:pt x="28" y="233"/>
                    <a:pt x="4" y="242"/>
                    <a:pt x="4" y="242"/>
                  </a:cubicBezTo>
                  <a:cubicBezTo>
                    <a:pt x="6" y="263"/>
                    <a:pt x="6" y="263"/>
                    <a:pt x="6" y="263"/>
                  </a:cubicBezTo>
                  <a:cubicBezTo>
                    <a:pt x="0" y="277"/>
                    <a:pt x="0" y="277"/>
                    <a:pt x="0" y="277"/>
                  </a:cubicBezTo>
                  <a:cubicBezTo>
                    <a:pt x="26" y="295"/>
                    <a:pt x="26" y="295"/>
                    <a:pt x="26" y="295"/>
                  </a:cubicBezTo>
                  <a:cubicBezTo>
                    <a:pt x="25" y="335"/>
                    <a:pt x="25" y="335"/>
                    <a:pt x="25" y="335"/>
                  </a:cubicBezTo>
                  <a:cubicBezTo>
                    <a:pt x="33" y="329"/>
                    <a:pt x="33" y="329"/>
                    <a:pt x="33" y="329"/>
                  </a:cubicBezTo>
                  <a:cubicBezTo>
                    <a:pt x="33" y="329"/>
                    <a:pt x="68" y="356"/>
                    <a:pt x="67" y="359"/>
                  </a:cubicBezTo>
                  <a:cubicBezTo>
                    <a:pt x="84" y="359"/>
                    <a:pt x="125" y="395"/>
                    <a:pt x="125" y="395"/>
                  </a:cubicBezTo>
                  <a:cubicBezTo>
                    <a:pt x="113" y="401"/>
                    <a:pt x="113" y="401"/>
                    <a:pt x="113" y="401"/>
                  </a:cubicBezTo>
                  <a:cubicBezTo>
                    <a:pt x="118" y="409"/>
                    <a:pt x="118" y="409"/>
                    <a:pt x="118" y="409"/>
                  </a:cubicBezTo>
                  <a:cubicBezTo>
                    <a:pt x="118" y="409"/>
                    <a:pt x="120" y="412"/>
                    <a:pt x="120" y="415"/>
                  </a:cubicBezTo>
                  <a:cubicBezTo>
                    <a:pt x="126" y="411"/>
                    <a:pt x="136" y="414"/>
                    <a:pt x="136" y="414"/>
                  </a:cubicBezTo>
                  <a:cubicBezTo>
                    <a:pt x="149" y="437"/>
                    <a:pt x="149" y="437"/>
                    <a:pt x="149" y="437"/>
                  </a:cubicBezTo>
                  <a:cubicBezTo>
                    <a:pt x="165" y="426"/>
                    <a:pt x="165" y="449"/>
                    <a:pt x="165" y="449"/>
                  </a:cubicBezTo>
                  <a:cubicBezTo>
                    <a:pt x="174" y="450"/>
                    <a:pt x="174" y="450"/>
                    <a:pt x="174" y="450"/>
                  </a:cubicBezTo>
                  <a:cubicBezTo>
                    <a:pt x="181" y="461"/>
                    <a:pt x="181" y="461"/>
                    <a:pt x="181" y="461"/>
                  </a:cubicBezTo>
                  <a:cubicBezTo>
                    <a:pt x="170" y="466"/>
                    <a:pt x="170" y="490"/>
                    <a:pt x="170" y="490"/>
                  </a:cubicBezTo>
                  <a:cubicBezTo>
                    <a:pt x="160" y="502"/>
                    <a:pt x="160" y="502"/>
                    <a:pt x="160" y="502"/>
                  </a:cubicBezTo>
                  <a:cubicBezTo>
                    <a:pt x="177" y="506"/>
                    <a:pt x="177" y="506"/>
                    <a:pt x="177" y="506"/>
                  </a:cubicBezTo>
                  <a:cubicBezTo>
                    <a:pt x="197" y="519"/>
                    <a:pt x="197" y="519"/>
                    <a:pt x="197" y="519"/>
                  </a:cubicBezTo>
                  <a:cubicBezTo>
                    <a:pt x="198" y="537"/>
                    <a:pt x="198" y="537"/>
                    <a:pt x="198" y="537"/>
                  </a:cubicBezTo>
                  <a:cubicBezTo>
                    <a:pt x="201" y="539"/>
                    <a:pt x="201" y="539"/>
                    <a:pt x="201" y="539"/>
                  </a:cubicBezTo>
                  <a:cubicBezTo>
                    <a:pt x="214" y="547"/>
                    <a:pt x="214" y="547"/>
                    <a:pt x="214" y="547"/>
                  </a:cubicBezTo>
                  <a:cubicBezTo>
                    <a:pt x="217" y="544"/>
                    <a:pt x="217" y="544"/>
                    <a:pt x="217" y="544"/>
                  </a:cubicBezTo>
                  <a:cubicBezTo>
                    <a:pt x="224" y="533"/>
                    <a:pt x="224" y="533"/>
                    <a:pt x="224" y="533"/>
                  </a:cubicBezTo>
                  <a:cubicBezTo>
                    <a:pt x="234" y="534"/>
                    <a:pt x="234" y="534"/>
                    <a:pt x="234" y="534"/>
                  </a:cubicBezTo>
                  <a:cubicBezTo>
                    <a:pt x="230" y="543"/>
                    <a:pt x="230" y="543"/>
                    <a:pt x="230" y="543"/>
                  </a:cubicBezTo>
                  <a:cubicBezTo>
                    <a:pt x="244" y="537"/>
                    <a:pt x="244" y="537"/>
                    <a:pt x="244" y="537"/>
                  </a:cubicBezTo>
                  <a:cubicBezTo>
                    <a:pt x="249" y="523"/>
                    <a:pt x="249" y="523"/>
                    <a:pt x="249" y="523"/>
                  </a:cubicBezTo>
                  <a:cubicBezTo>
                    <a:pt x="274" y="517"/>
                    <a:pt x="274" y="517"/>
                    <a:pt x="274" y="517"/>
                  </a:cubicBezTo>
                  <a:cubicBezTo>
                    <a:pt x="273" y="533"/>
                    <a:pt x="273" y="533"/>
                    <a:pt x="273" y="533"/>
                  </a:cubicBezTo>
                  <a:cubicBezTo>
                    <a:pt x="286" y="534"/>
                    <a:pt x="286" y="534"/>
                    <a:pt x="286" y="534"/>
                  </a:cubicBezTo>
                  <a:cubicBezTo>
                    <a:pt x="285" y="543"/>
                    <a:pt x="285" y="543"/>
                    <a:pt x="285" y="543"/>
                  </a:cubicBezTo>
                  <a:cubicBezTo>
                    <a:pt x="285" y="543"/>
                    <a:pt x="333" y="526"/>
                    <a:pt x="337" y="537"/>
                  </a:cubicBezTo>
                  <a:cubicBezTo>
                    <a:pt x="341" y="547"/>
                    <a:pt x="346" y="554"/>
                    <a:pt x="346" y="554"/>
                  </a:cubicBezTo>
                  <a:cubicBezTo>
                    <a:pt x="372" y="537"/>
                    <a:pt x="372" y="537"/>
                    <a:pt x="372" y="537"/>
                  </a:cubicBezTo>
                  <a:cubicBezTo>
                    <a:pt x="381" y="549"/>
                    <a:pt x="381" y="549"/>
                    <a:pt x="381" y="549"/>
                  </a:cubicBezTo>
                  <a:cubicBezTo>
                    <a:pt x="414" y="562"/>
                    <a:pt x="414" y="562"/>
                    <a:pt x="414" y="562"/>
                  </a:cubicBezTo>
                  <a:cubicBezTo>
                    <a:pt x="414" y="562"/>
                    <a:pt x="422" y="573"/>
                    <a:pt x="428" y="570"/>
                  </a:cubicBezTo>
                  <a:cubicBezTo>
                    <a:pt x="433" y="567"/>
                    <a:pt x="442" y="559"/>
                    <a:pt x="442" y="559"/>
                  </a:cubicBezTo>
                  <a:cubicBezTo>
                    <a:pt x="437" y="550"/>
                    <a:pt x="437" y="550"/>
                    <a:pt x="437" y="550"/>
                  </a:cubicBezTo>
                  <a:cubicBezTo>
                    <a:pt x="441" y="545"/>
                    <a:pt x="441" y="545"/>
                    <a:pt x="441" y="545"/>
                  </a:cubicBezTo>
                  <a:cubicBezTo>
                    <a:pt x="442" y="514"/>
                    <a:pt x="442" y="514"/>
                    <a:pt x="442" y="514"/>
                  </a:cubicBezTo>
                  <a:cubicBezTo>
                    <a:pt x="442" y="514"/>
                    <a:pt x="460" y="511"/>
                    <a:pt x="472" y="470"/>
                  </a:cubicBezTo>
                  <a:cubicBezTo>
                    <a:pt x="476" y="470"/>
                    <a:pt x="469" y="466"/>
                    <a:pt x="469" y="466"/>
                  </a:cubicBezTo>
                  <a:cubicBezTo>
                    <a:pt x="490" y="411"/>
                    <a:pt x="490" y="411"/>
                    <a:pt x="490" y="411"/>
                  </a:cubicBezTo>
                  <a:cubicBezTo>
                    <a:pt x="489" y="402"/>
                    <a:pt x="489" y="402"/>
                    <a:pt x="489" y="402"/>
                  </a:cubicBezTo>
                  <a:cubicBezTo>
                    <a:pt x="489" y="402"/>
                    <a:pt x="469" y="411"/>
                    <a:pt x="469" y="399"/>
                  </a:cubicBezTo>
                  <a:cubicBezTo>
                    <a:pt x="469" y="387"/>
                    <a:pt x="472" y="349"/>
                    <a:pt x="472" y="349"/>
                  </a:cubicBezTo>
                  <a:cubicBezTo>
                    <a:pt x="458" y="343"/>
                    <a:pt x="458" y="343"/>
                    <a:pt x="458" y="343"/>
                  </a:cubicBezTo>
                  <a:cubicBezTo>
                    <a:pt x="480" y="338"/>
                    <a:pt x="480" y="338"/>
                    <a:pt x="480" y="338"/>
                  </a:cubicBezTo>
                  <a:cubicBezTo>
                    <a:pt x="480" y="338"/>
                    <a:pt x="505" y="337"/>
                    <a:pt x="508" y="299"/>
                  </a:cubicBezTo>
                  <a:cubicBezTo>
                    <a:pt x="506" y="304"/>
                    <a:pt x="487" y="294"/>
                    <a:pt x="505" y="262"/>
                  </a:cubicBezTo>
                  <a:cubicBezTo>
                    <a:pt x="502" y="260"/>
                    <a:pt x="483" y="244"/>
                    <a:pt x="477" y="242"/>
                  </a:cubicBezTo>
                  <a:cubicBezTo>
                    <a:pt x="470" y="239"/>
                    <a:pt x="457" y="258"/>
                    <a:pt x="457" y="258"/>
                  </a:cubicBezTo>
                  <a:cubicBezTo>
                    <a:pt x="449" y="243"/>
                    <a:pt x="449" y="243"/>
                    <a:pt x="449" y="243"/>
                  </a:cubicBezTo>
                  <a:cubicBezTo>
                    <a:pt x="457" y="233"/>
                    <a:pt x="457" y="233"/>
                    <a:pt x="457" y="233"/>
                  </a:cubicBezTo>
                  <a:cubicBezTo>
                    <a:pt x="429" y="223"/>
                    <a:pt x="429" y="223"/>
                    <a:pt x="429" y="223"/>
                  </a:cubicBezTo>
                  <a:cubicBezTo>
                    <a:pt x="429" y="223"/>
                    <a:pt x="434" y="203"/>
                    <a:pt x="444" y="205"/>
                  </a:cubicBezTo>
                  <a:cubicBezTo>
                    <a:pt x="450" y="166"/>
                    <a:pt x="450" y="166"/>
                    <a:pt x="450" y="166"/>
                  </a:cubicBezTo>
                  <a:cubicBezTo>
                    <a:pt x="456" y="167"/>
                    <a:pt x="456" y="167"/>
                    <a:pt x="456" y="167"/>
                  </a:cubicBezTo>
                  <a:cubicBezTo>
                    <a:pt x="465" y="189"/>
                    <a:pt x="465" y="189"/>
                    <a:pt x="465" y="189"/>
                  </a:cubicBezTo>
                  <a:cubicBezTo>
                    <a:pt x="493" y="193"/>
                    <a:pt x="493" y="193"/>
                    <a:pt x="493" y="193"/>
                  </a:cubicBezTo>
                  <a:cubicBezTo>
                    <a:pt x="493" y="193"/>
                    <a:pt x="498" y="217"/>
                    <a:pt x="533" y="197"/>
                  </a:cubicBezTo>
                  <a:cubicBezTo>
                    <a:pt x="533" y="197"/>
                    <a:pt x="553" y="229"/>
                    <a:pt x="574" y="164"/>
                  </a:cubicBezTo>
                  <a:lnTo>
                    <a:pt x="563" y="15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6" name="Alsace" descr="© INSCALE GmbH, 05.05.2010&#10;http://www.presentationload.com/">
              <a:extLst>
                <a:ext uri="{FF2B5EF4-FFF2-40B4-BE49-F238E27FC236}">
                  <a16:creationId xmlns:a16="http://schemas.microsoft.com/office/drawing/2014/main" id="{F0F39AF0-5E77-4803-A309-B0A4DD2EAFF8}"/>
                </a:ext>
              </a:extLst>
            </p:cNvPr>
            <p:cNvSpPr>
              <a:spLocks/>
            </p:cNvSpPr>
            <p:nvPr/>
          </p:nvSpPr>
          <p:spPr bwMode="gray">
            <a:xfrm>
              <a:off x="2808" y="818"/>
              <a:ext cx="317" cy="567"/>
            </a:xfrm>
            <a:custGeom>
              <a:avLst/>
              <a:gdLst/>
              <a:ahLst/>
              <a:cxnLst>
                <a:cxn ang="0">
                  <a:pos x="271" y="35"/>
                </a:cxn>
                <a:cxn ang="0">
                  <a:pos x="250" y="20"/>
                </a:cxn>
                <a:cxn ang="0">
                  <a:pos x="242" y="22"/>
                </a:cxn>
                <a:cxn ang="0">
                  <a:pos x="225" y="13"/>
                </a:cxn>
                <a:cxn ang="0">
                  <a:pos x="206" y="12"/>
                </a:cxn>
                <a:cxn ang="0">
                  <a:pos x="172" y="14"/>
                </a:cxn>
                <a:cxn ang="0">
                  <a:pos x="164" y="2"/>
                </a:cxn>
                <a:cxn ang="0">
                  <a:pos x="152" y="4"/>
                </a:cxn>
                <a:cxn ang="0">
                  <a:pos x="148" y="0"/>
                </a:cxn>
                <a:cxn ang="0">
                  <a:pos x="107" y="33"/>
                </a:cxn>
                <a:cxn ang="0">
                  <a:pos x="67" y="29"/>
                </a:cxn>
                <a:cxn ang="0">
                  <a:pos x="39" y="25"/>
                </a:cxn>
                <a:cxn ang="0">
                  <a:pos x="30" y="3"/>
                </a:cxn>
                <a:cxn ang="0">
                  <a:pos x="24" y="2"/>
                </a:cxn>
                <a:cxn ang="0">
                  <a:pos x="18" y="41"/>
                </a:cxn>
                <a:cxn ang="0">
                  <a:pos x="3" y="59"/>
                </a:cxn>
                <a:cxn ang="0">
                  <a:pos x="31" y="69"/>
                </a:cxn>
                <a:cxn ang="0">
                  <a:pos x="23" y="79"/>
                </a:cxn>
                <a:cxn ang="0">
                  <a:pos x="31" y="94"/>
                </a:cxn>
                <a:cxn ang="0">
                  <a:pos x="51" y="78"/>
                </a:cxn>
                <a:cxn ang="0">
                  <a:pos x="79" y="98"/>
                </a:cxn>
                <a:cxn ang="0">
                  <a:pos x="82" y="135"/>
                </a:cxn>
                <a:cxn ang="0">
                  <a:pos x="54" y="174"/>
                </a:cxn>
                <a:cxn ang="0">
                  <a:pos x="32" y="179"/>
                </a:cxn>
                <a:cxn ang="0">
                  <a:pos x="46" y="185"/>
                </a:cxn>
                <a:cxn ang="0">
                  <a:pos x="43" y="235"/>
                </a:cxn>
                <a:cxn ang="0">
                  <a:pos x="63" y="238"/>
                </a:cxn>
                <a:cxn ang="0">
                  <a:pos x="64" y="247"/>
                </a:cxn>
                <a:cxn ang="0">
                  <a:pos x="43" y="302"/>
                </a:cxn>
                <a:cxn ang="0">
                  <a:pos x="46" y="306"/>
                </a:cxn>
                <a:cxn ang="0">
                  <a:pos x="16" y="350"/>
                </a:cxn>
                <a:cxn ang="0">
                  <a:pos x="15" y="381"/>
                </a:cxn>
                <a:cxn ang="0">
                  <a:pos x="11" y="386"/>
                </a:cxn>
                <a:cxn ang="0">
                  <a:pos x="16" y="395"/>
                </a:cxn>
                <a:cxn ang="0">
                  <a:pos x="2" y="406"/>
                </a:cxn>
                <a:cxn ang="0">
                  <a:pos x="0" y="406"/>
                </a:cxn>
                <a:cxn ang="0">
                  <a:pos x="4" y="417"/>
                </a:cxn>
                <a:cxn ang="0">
                  <a:pos x="43" y="471"/>
                </a:cxn>
                <a:cxn ang="0">
                  <a:pos x="66" y="496"/>
                </a:cxn>
                <a:cxn ang="0">
                  <a:pos x="90" y="499"/>
                </a:cxn>
                <a:cxn ang="0">
                  <a:pos x="113" y="510"/>
                </a:cxn>
                <a:cxn ang="0">
                  <a:pos x="143" y="491"/>
                </a:cxn>
                <a:cxn ang="0">
                  <a:pos x="152" y="503"/>
                </a:cxn>
                <a:cxn ang="0">
                  <a:pos x="161" y="493"/>
                </a:cxn>
                <a:cxn ang="0">
                  <a:pos x="174" y="463"/>
                </a:cxn>
                <a:cxn ang="0">
                  <a:pos x="165" y="419"/>
                </a:cxn>
                <a:cxn ang="0">
                  <a:pos x="167" y="386"/>
                </a:cxn>
                <a:cxn ang="0">
                  <a:pos x="176" y="349"/>
                </a:cxn>
                <a:cxn ang="0">
                  <a:pos x="176" y="336"/>
                </a:cxn>
                <a:cxn ang="0">
                  <a:pos x="185" y="262"/>
                </a:cxn>
                <a:cxn ang="0">
                  <a:pos x="199" y="229"/>
                </a:cxn>
                <a:cxn ang="0">
                  <a:pos x="209" y="177"/>
                </a:cxn>
                <a:cxn ang="0">
                  <a:pos x="218" y="138"/>
                </a:cxn>
                <a:cxn ang="0">
                  <a:pos x="245" y="104"/>
                </a:cxn>
                <a:cxn ang="0">
                  <a:pos x="261" y="93"/>
                </a:cxn>
                <a:cxn ang="0">
                  <a:pos x="279" y="58"/>
                </a:cxn>
                <a:cxn ang="0">
                  <a:pos x="294" y="35"/>
                </a:cxn>
                <a:cxn ang="0">
                  <a:pos x="271" y="35"/>
                </a:cxn>
              </a:cxnLst>
              <a:rect l="0" t="0" r="r" b="b"/>
              <a:pathLst>
                <a:path w="294" h="526">
                  <a:moveTo>
                    <a:pt x="271" y="35"/>
                  </a:moveTo>
                  <a:cubicBezTo>
                    <a:pt x="250" y="20"/>
                    <a:pt x="250" y="20"/>
                    <a:pt x="250" y="20"/>
                  </a:cubicBezTo>
                  <a:cubicBezTo>
                    <a:pt x="242" y="22"/>
                    <a:pt x="242" y="22"/>
                    <a:pt x="242" y="22"/>
                  </a:cubicBezTo>
                  <a:cubicBezTo>
                    <a:pt x="233" y="7"/>
                    <a:pt x="232" y="15"/>
                    <a:pt x="225" y="13"/>
                  </a:cubicBezTo>
                  <a:cubicBezTo>
                    <a:pt x="215" y="25"/>
                    <a:pt x="206" y="12"/>
                    <a:pt x="206" y="12"/>
                  </a:cubicBezTo>
                  <a:cubicBezTo>
                    <a:pt x="172" y="14"/>
                    <a:pt x="172" y="14"/>
                    <a:pt x="172" y="14"/>
                  </a:cubicBezTo>
                  <a:cubicBezTo>
                    <a:pt x="164" y="2"/>
                    <a:pt x="164" y="2"/>
                    <a:pt x="164" y="2"/>
                  </a:cubicBezTo>
                  <a:cubicBezTo>
                    <a:pt x="152" y="4"/>
                    <a:pt x="152" y="4"/>
                    <a:pt x="152" y="4"/>
                  </a:cubicBezTo>
                  <a:cubicBezTo>
                    <a:pt x="148" y="0"/>
                    <a:pt x="148" y="0"/>
                    <a:pt x="148" y="0"/>
                  </a:cubicBezTo>
                  <a:cubicBezTo>
                    <a:pt x="127" y="65"/>
                    <a:pt x="107" y="33"/>
                    <a:pt x="107" y="33"/>
                  </a:cubicBezTo>
                  <a:cubicBezTo>
                    <a:pt x="72" y="53"/>
                    <a:pt x="67" y="29"/>
                    <a:pt x="67" y="29"/>
                  </a:cubicBezTo>
                  <a:cubicBezTo>
                    <a:pt x="39" y="25"/>
                    <a:pt x="39" y="25"/>
                    <a:pt x="39" y="25"/>
                  </a:cubicBezTo>
                  <a:cubicBezTo>
                    <a:pt x="30" y="3"/>
                    <a:pt x="30" y="3"/>
                    <a:pt x="30" y="3"/>
                  </a:cubicBezTo>
                  <a:cubicBezTo>
                    <a:pt x="24" y="2"/>
                    <a:pt x="24" y="2"/>
                    <a:pt x="24" y="2"/>
                  </a:cubicBezTo>
                  <a:cubicBezTo>
                    <a:pt x="18" y="41"/>
                    <a:pt x="18" y="41"/>
                    <a:pt x="18" y="41"/>
                  </a:cubicBezTo>
                  <a:cubicBezTo>
                    <a:pt x="8" y="39"/>
                    <a:pt x="3" y="59"/>
                    <a:pt x="3" y="59"/>
                  </a:cubicBezTo>
                  <a:cubicBezTo>
                    <a:pt x="31" y="69"/>
                    <a:pt x="31" y="69"/>
                    <a:pt x="31" y="69"/>
                  </a:cubicBezTo>
                  <a:cubicBezTo>
                    <a:pt x="23" y="79"/>
                    <a:pt x="23" y="79"/>
                    <a:pt x="23" y="79"/>
                  </a:cubicBezTo>
                  <a:cubicBezTo>
                    <a:pt x="31" y="94"/>
                    <a:pt x="31" y="94"/>
                    <a:pt x="31" y="94"/>
                  </a:cubicBezTo>
                  <a:cubicBezTo>
                    <a:pt x="31" y="94"/>
                    <a:pt x="44" y="75"/>
                    <a:pt x="51" y="78"/>
                  </a:cubicBezTo>
                  <a:cubicBezTo>
                    <a:pt x="57" y="80"/>
                    <a:pt x="76" y="96"/>
                    <a:pt x="79" y="98"/>
                  </a:cubicBezTo>
                  <a:cubicBezTo>
                    <a:pt x="61" y="130"/>
                    <a:pt x="80" y="140"/>
                    <a:pt x="82" y="135"/>
                  </a:cubicBezTo>
                  <a:cubicBezTo>
                    <a:pt x="79" y="173"/>
                    <a:pt x="54" y="174"/>
                    <a:pt x="54" y="174"/>
                  </a:cubicBezTo>
                  <a:cubicBezTo>
                    <a:pt x="32" y="179"/>
                    <a:pt x="32" y="179"/>
                    <a:pt x="32" y="179"/>
                  </a:cubicBezTo>
                  <a:cubicBezTo>
                    <a:pt x="46" y="185"/>
                    <a:pt x="46" y="185"/>
                    <a:pt x="46" y="185"/>
                  </a:cubicBezTo>
                  <a:cubicBezTo>
                    <a:pt x="46" y="185"/>
                    <a:pt x="43" y="223"/>
                    <a:pt x="43" y="235"/>
                  </a:cubicBezTo>
                  <a:cubicBezTo>
                    <a:pt x="43" y="247"/>
                    <a:pt x="63" y="238"/>
                    <a:pt x="63" y="238"/>
                  </a:cubicBezTo>
                  <a:cubicBezTo>
                    <a:pt x="64" y="247"/>
                    <a:pt x="64" y="247"/>
                    <a:pt x="64" y="247"/>
                  </a:cubicBezTo>
                  <a:cubicBezTo>
                    <a:pt x="43" y="302"/>
                    <a:pt x="43" y="302"/>
                    <a:pt x="43" y="302"/>
                  </a:cubicBezTo>
                  <a:cubicBezTo>
                    <a:pt x="43" y="302"/>
                    <a:pt x="50" y="306"/>
                    <a:pt x="46" y="306"/>
                  </a:cubicBezTo>
                  <a:cubicBezTo>
                    <a:pt x="34" y="347"/>
                    <a:pt x="16" y="350"/>
                    <a:pt x="16" y="350"/>
                  </a:cubicBezTo>
                  <a:cubicBezTo>
                    <a:pt x="15" y="381"/>
                    <a:pt x="15" y="381"/>
                    <a:pt x="15" y="381"/>
                  </a:cubicBezTo>
                  <a:cubicBezTo>
                    <a:pt x="11" y="386"/>
                    <a:pt x="11" y="386"/>
                    <a:pt x="11" y="386"/>
                  </a:cubicBezTo>
                  <a:cubicBezTo>
                    <a:pt x="16" y="395"/>
                    <a:pt x="16" y="395"/>
                    <a:pt x="16" y="395"/>
                  </a:cubicBezTo>
                  <a:cubicBezTo>
                    <a:pt x="16" y="395"/>
                    <a:pt x="7" y="403"/>
                    <a:pt x="2" y="406"/>
                  </a:cubicBezTo>
                  <a:cubicBezTo>
                    <a:pt x="1" y="406"/>
                    <a:pt x="1" y="406"/>
                    <a:pt x="0" y="406"/>
                  </a:cubicBezTo>
                  <a:cubicBezTo>
                    <a:pt x="4" y="417"/>
                    <a:pt x="4" y="417"/>
                    <a:pt x="4" y="417"/>
                  </a:cubicBezTo>
                  <a:cubicBezTo>
                    <a:pt x="4" y="417"/>
                    <a:pt x="52" y="414"/>
                    <a:pt x="43" y="471"/>
                  </a:cubicBezTo>
                  <a:cubicBezTo>
                    <a:pt x="45" y="477"/>
                    <a:pt x="61" y="476"/>
                    <a:pt x="66" y="496"/>
                  </a:cubicBezTo>
                  <a:cubicBezTo>
                    <a:pt x="76" y="498"/>
                    <a:pt x="87" y="500"/>
                    <a:pt x="90" y="499"/>
                  </a:cubicBezTo>
                  <a:cubicBezTo>
                    <a:pt x="92" y="526"/>
                    <a:pt x="116" y="512"/>
                    <a:pt x="113" y="510"/>
                  </a:cubicBezTo>
                  <a:cubicBezTo>
                    <a:pt x="153" y="521"/>
                    <a:pt x="143" y="491"/>
                    <a:pt x="143" y="491"/>
                  </a:cubicBezTo>
                  <a:cubicBezTo>
                    <a:pt x="152" y="503"/>
                    <a:pt x="152" y="503"/>
                    <a:pt x="152" y="503"/>
                  </a:cubicBezTo>
                  <a:cubicBezTo>
                    <a:pt x="152" y="503"/>
                    <a:pt x="152" y="503"/>
                    <a:pt x="161" y="493"/>
                  </a:cubicBezTo>
                  <a:cubicBezTo>
                    <a:pt x="158" y="468"/>
                    <a:pt x="174" y="468"/>
                    <a:pt x="174" y="463"/>
                  </a:cubicBezTo>
                  <a:cubicBezTo>
                    <a:pt x="154" y="435"/>
                    <a:pt x="165" y="419"/>
                    <a:pt x="165" y="419"/>
                  </a:cubicBezTo>
                  <a:cubicBezTo>
                    <a:pt x="165" y="419"/>
                    <a:pt x="159" y="406"/>
                    <a:pt x="167" y="386"/>
                  </a:cubicBezTo>
                  <a:cubicBezTo>
                    <a:pt x="166" y="363"/>
                    <a:pt x="176" y="349"/>
                    <a:pt x="176" y="349"/>
                  </a:cubicBezTo>
                  <a:cubicBezTo>
                    <a:pt x="176" y="336"/>
                    <a:pt x="176" y="336"/>
                    <a:pt x="176" y="336"/>
                  </a:cubicBezTo>
                  <a:cubicBezTo>
                    <a:pt x="144" y="322"/>
                    <a:pt x="179" y="281"/>
                    <a:pt x="185" y="262"/>
                  </a:cubicBezTo>
                  <a:cubicBezTo>
                    <a:pt x="180" y="238"/>
                    <a:pt x="199" y="232"/>
                    <a:pt x="199" y="229"/>
                  </a:cubicBezTo>
                  <a:cubicBezTo>
                    <a:pt x="191" y="200"/>
                    <a:pt x="207" y="183"/>
                    <a:pt x="209" y="177"/>
                  </a:cubicBezTo>
                  <a:cubicBezTo>
                    <a:pt x="200" y="156"/>
                    <a:pt x="215" y="141"/>
                    <a:pt x="218" y="138"/>
                  </a:cubicBezTo>
                  <a:cubicBezTo>
                    <a:pt x="247" y="113"/>
                    <a:pt x="245" y="104"/>
                    <a:pt x="245" y="104"/>
                  </a:cubicBezTo>
                  <a:cubicBezTo>
                    <a:pt x="251" y="104"/>
                    <a:pt x="261" y="93"/>
                    <a:pt x="261" y="93"/>
                  </a:cubicBezTo>
                  <a:cubicBezTo>
                    <a:pt x="270" y="94"/>
                    <a:pt x="279" y="58"/>
                    <a:pt x="279" y="58"/>
                  </a:cubicBezTo>
                  <a:cubicBezTo>
                    <a:pt x="294" y="35"/>
                    <a:pt x="294" y="35"/>
                    <a:pt x="294" y="35"/>
                  </a:cubicBezTo>
                  <a:lnTo>
                    <a:pt x="271" y="35"/>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7" name="Franche-Comté" descr="© INSCALE GmbH, 05.05.2010&#10;http://www.presentationload.com/">
              <a:extLst>
                <a:ext uri="{FF2B5EF4-FFF2-40B4-BE49-F238E27FC236}">
                  <a16:creationId xmlns:a16="http://schemas.microsoft.com/office/drawing/2014/main" id="{1F490D34-6D95-4776-8198-C2E5920D6864}"/>
                </a:ext>
              </a:extLst>
            </p:cNvPr>
            <p:cNvSpPr>
              <a:spLocks/>
            </p:cNvSpPr>
            <p:nvPr/>
          </p:nvSpPr>
          <p:spPr bwMode="gray">
            <a:xfrm>
              <a:off x="2452" y="1199"/>
              <a:ext cx="435" cy="623"/>
            </a:xfrm>
            <a:custGeom>
              <a:avLst/>
              <a:gdLst/>
              <a:ahLst/>
              <a:cxnLst>
                <a:cxn ang="0">
                  <a:pos x="40" y="136"/>
                </a:cxn>
                <a:cxn ang="0">
                  <a:pos x="17" y="186"/>
                </a:cxn>
                <a:cxn ang="0">
                  <a:pos x="30" y="212"/>
                </a:cxn>
                <a:cxn ang="0">
                  <a:pos x="46" y="228"/>
                </a:cxn>
                <a:cxn ang="0">
                  <a:pos x="13" y="312"/>
                </a:cxn>
                <a:cxn ang="0">
                  <a:pos x="12" y="326"/>
                </a:cxn>
                <a:cxn ang="0">
                  <a:pos x="14" y="353"/>
                </a:cxn>
                <a:cxn ang="0">
                  <a:pos x="46" y="380"/>
                </a:cxn>
                <a:cxn ang="0">
                  <a:pos x="25" y="402"/>
                </a:cxn>
                <a:cxn ang="0">
                  <a:pos x="36" y="418"/>
                </a:cxn>
                <a:cxn ang="0">
                  <a:pos x="37" y="465"/>
                </a:cxn>
                <a:cxn ang="0">
                  <a:pos x="40" y="498"/>
                </a:cxn>
                <a:cxn ang="0">
                  <a:pos x="18" y="524"/>
                </a:cxn>
                <a:cxn ang="0">
                  <a:pos x="32" y="542"/>
                </a:cxn>
                <a:cxn ang="0">
                  <a:pos x="53" y="566"/>
                </a:cxn>
                <a:cxn ang="0">
                  <a:pos x="109" y="548"/>
                </a:cxn>
                <a:cxn ang="0">
                  <a:pos x="145" y="562"/>
                </a:cxn>
                <a:cxn ang="0">
                  <a:pos x="200" y="497"/>
                </a:cxn>
                <a:cxn ang="0">
                  <a:pos x="201" y="425"/>
                </a:cxn>
                <a:cxn ang="0">
                  <a:pos x="257" y="358"/>
                </a:cxn>
                <a:cxn ang="0">
                  <a:pos x="272" y="305"/>
                </a:cxn>
                <a:cxn ang="0">
                  <a:pos x="312" y="288"/>
                </a:cxn>
                <a:cxn ang="0">
                  <a:pos x="370" y="218"/>
                </a:cxn>
                <a:cxn ang="0">
                  <a:pos x="373" y="202"/>
                </a:cxn>
                <a:cxn ang="0">
                  <a:pos x="386" y="180"/>
                </a:cxn>
                <a:cxn ang="0">
                  <a:pos x="364" y="161"/>
                </a:cxn>
                <a:cxn ang="0">
                  <a:pos x="378" y="139"/>
                </a:cxn>
                <a:cxn ang="0">
                  <a:pos x="373" y="118"/>
                </a:cxn>
                <a:cxn ang="0">
                  <a:pos x="330" y="53"/>
                </a:cxn>
                <a:cxn ang="0">
                  <a:pos x="285" y="32"/>
                </a:cxn>
                <a:cxn ang="0">
                  <a:pos x="250" y="37"/>
                </a:cxn>
                <a:cxn ang="0">
                  <a:pos x="189" y="26"/>
                </a:cxn>
                <a:cxn ang="0">
                  <a:pos x="177" y="16"/>
                </a:cxn>
                <a:cxn ang="0">
                  <a:pos x="153" y="6"/>
                </a:cxn>
                <a:cxn ang="0">
                  <a:pos x="134" y="26"/>
                </a:cxn>
                <a:cxn ang="0">
                  <a:pos x="128" y="16"/>
                </a:cxn>
                <a:cxn ang="0">
                  <a:pos x="124" y="36"/>
                </a:cxn>
                <a:cxn ang="0">
                  <a:pos x="113" y="56"/>
                </a:cxn>
                <a:cxn ang="0">
                  <a:pos x="93" y="69"/>
                </a:cxn>
                <a:cxn ang="0">
                  <a:pos x="80" y="78"/>
                </a:cxn>
                <a:cxn ang="0">
                  <a:pos x="88" y="109"/>
                </a:cxn>
                <a:cxn ang="0">
                  <a:pos x="57" y="106"/>
                </a:cxn>
                <a:cxn ang="0">
                  <a:pos x="26" y="112"/>
                </a:cxn>
                <a:cxn ang="0">
                  <a:pos x="24" y="140"/>
                </a:cxn>
              </a:cxnLst>
              <a:rect l="0" t="0" r="r" b="b"/>
              <a:pathLst>
                <a:path w="403" h="577">
                  <a:moveTo>
                    <a:pt x="32" y="132"/>
                  </a:moveTo>
                  <a:cubicBezTo>
                    <a:pt x="40" y="136"/>
                    <a:pt x="40" y="136"/>
                    <a:pt x="40" y="136"/>
                  </a:cubicBezTo>
                  <a:cubicBezTo>
                    <a:pt x="40" y="136"/>
                    <a:pt x="45" y="176"/>
                    <a:pt x="29" y="176"/>
                  </a:cubicBezTo>
                  <a:cubicBezTo>
                    <a:pt x="13" y="176"/>
                    <a:pt x="25" y="186"/>
                    <a:pt x="17" y="186"/>
                  </a:cubicBezTo>
                  <a:cubicBezTo>
                    <a:pt x="9" y="186"/>
                    <a:pt x="30" y="190"/>
                    <a:pt x="30" y="190"/>
                  </a:cubicBezTo>
                  <a:cubicBezTo>
                    <a:pt x="30" y="212"/>
                    <a:pt x="30" y="212"/>
                    <a:pt x="30" y="212"/>
                  </a:cubicBezTo>
                  <a:cubicBezTo>
                    <a:pt x="49" y="208"/>
                    <a:pt x="49" y="208"/>
                    <a:pt x="49" y="208"/>
                  </a:cubicBezTo>
                  <a:cubicBezTo>
                    <a:pt x="46" y="228"/>
                    <a:pt x="46" y="228"/>
                    <a:pt x="46" y="228"/>
                  </a:cubicBezTo>
                  <a:cubicBezTo>
                    <a:pt x="54" y="236"/>
                    <a:pt x="54" y="236"/>
                    <a:pt x="54" y="236"/>
                  </a:cubicBezTo>
                  <a:cubicBezTo>
                    <a:pt x="54" y="236"/>
                    <a:pt x="34" y="301"/>
                    <a:pt x="13" y="312"/>
                  </a:cubicBezTo>
                  <a:cubicBezTo>
                    <a:pt x="10" y="316"/>
                    <a:pt x="5" y="325"/>
                    <a:pt x="5" y="325"/>
                  </a:cubicBezTo>
                  <a:cubicBezTo>
                    <a:pt x="12" y="326"/>
                    <a:pt x="12" y="326"/>
                    <a:pt x="12" y="326"/>
                  </a:cubicBezTo>
                  <a:cubicBezTo>
                    <a:pt x="12" y="326"/>
                    <a:pt x="0" y="340"/>
                    <a:pt x="0" y="352"/>
                  </a:cubicBezTo>
                  <a:cubicBezTo>
                    <a:pt x="14" y="353"/>
                    <a:pt x="14" y="353"/>
                    <a:pt x="14" y="353"/>
                  </a:cubicBezTo>
                  <a:cubicBezTo>
                    <a:pt x="18" y="364"/>
                    <a:pt x="18" y="364"/>
                    <a:pt x="18" y="364"/>
                  </a:cubicBezTo>
                  <a:cubicBezTo>
                    <a:pt x="18" y="364"/>
                    <a:pt x="30" y="368"/>
                    <a:pt x="46" y="380"/>
                  </a:cubicBezTo>
                  <a:cubicBezTo>
                    <a:pt x="13" y="392"/>
                    <a:pt x="13" y="392"/>
                    <a:pt x="13" y="392"/>
                  </a:cubicBezTo>
                  <a:cubicBezTo>
                    <a:pt x="25" y="402"/>
                    <a:pt x="25" y="402"/>
                    <a:pt x="25" y="402"/>
                  </a:cubicBezTo>
                  <a:cubicBezTo>
                    <a:pt x="25" y="422"/>
                    <a:pt x="25" y="422"/>
                    <a:pt x="25" y="422"/>
                  </a:cubicBezTo>
                  <a:cubicBezTo>
                    <a:pt x="36" y="418"/>
                    <a:pt x="36" y="418"/>
                    <a:pt x="36" y="418"/>
                  </a:cubicBezTo>
                  <a:cubicBezTo>
                    <a:pt x="36" y="418"/>
                    <a:pt x="28" y="436"/>
                    <a:pt x="45" y="445"/>
                  </a:cubicBezTo>
                  <a:cubicBezTo>
                    <a:pt x="40" y="445"/>
                    <a:pt x="37" y="465"/>
                    <a:pt x="37" y="465"/>
                  </a:cubicBezTo>
                  <a:cubicBezTo>
                    <a:pt x="37" y="465"/>
                    <a:pt x="16" y="484"/>
                    <a:pt x="41" y="490"/>
                  </a:cubicBezTo>
                  <a:cubicBezTo>
                    <a:pt x="44" y="492"/>
                    <a:pt x="40" y="498"/>
                    <a:pt x="40" y="498"/>
                  </a:cubicBezTo>
                  <a:cubicBezTo>
                    <a:pt x="21" y="504"/>
                    <a:pt x="21" y="504"/>
                    <a:pt x="21" y="504"/>
                  </a:cubicBezTo>
                  <a:cubicBezTo>
                    <a:pt x="18" y="524"/>
                    <a:pt x="18" y="524"/>
                    <a:pt x="18" y="524"/>
                  </a:cubicBezTo>
                  <a:cubicBezTo>
                    <a:pt x="32" y="529"/>
                    <a:pt x="32" y="529"/>
                    <a:pt x="32" y="529"/>
                  </a:cubicBezTo>
                  <a:cubicBezTo>
                    <a:pt x="32" y="542"/>
                    <a:pt x="32" y="542"/>
                    <a:pt x="32" y="542"/>
                  </a:cubicBezTo>
                  <a:cubicBezTo>
                    <a:pt x="56" y="553"/>
                    <a:pt x="56" y="553"/>
                    <a:pt x="56" y="553"/>
                  </a:cubicBezTo>
                  <a:cubicBezTo>
                    <a:pt x="53" y="566"/>
                    <a:pt x="53" y="566"/>
                    <a:pt x="53" y="566"/>
                  </a:cubicBezTo>
                  <a:cubicBezTo>
                    <a:pt x="53" y="566"/>
                    <a:pt x="76" y="577"/>
                    <a:pt x="93" y="538"/>
                  </a:cubicBezTo>
                  <a:cubicBezTo>
                    <a:pt x="89" y="545"/>
                    <a:pt x="109" y="548"/>
                    <a:pt x="109" y="548"/>
                  </a:cubicBezTo>
                  <a:cubicBezTo>
                    <a:pt x="113" y="564"/>
                    <a:pt x="113" y="564"/>
                    <a:pt x="113" y="564"/>
                  </a:cubicBezTo>
                  <a:cubicBezTo>
                    <a:pt x="145" y="562"/>
                    <a:pt x="145" y="562"/>
                    <a:pt x="145" y="562"/>
                  </a:cubicBezTo>
                  <a:cubicBezTo>
                    <a:pt x="202" y="503"/>
                    <a:pt x="202" y="503"/>
                    <a:pt x="202" y="503"/>
                  </a:cubicBezTo>
                  <a:cubicBezTo>
                    <a:pt x="201" y="500"/>
                    <a:pt x="200" y="497"/>
                    <a:pt x="200" y="497"/>
                  </a:cubicBezTo>
                  <a:cubicBezTo>
                    <a:pt x="166" y="487"/>
                    <a:pt x="201" y="445"/>
                    <a:pt x="201" y="445"/>
                  </a:cubicBezTo>
                  <a:cubicBezTo>
                    <a:pt x="188" y="434"/>
                    <a:pt x="201" y="425"/>
                    <a:pt x="201" y="425"/>
                  </a:cubicBezTo>
                  <a:cubicBezTo>
                    <a:pt x="201" y="425"/>
                    <a:pt x="253" y="379"/>
                    <a:pt x="253" y="376"/>
                  </a:cubicBezTo>
                  <a:cubicBezTo>
                    <a:pt x="261" y="375"/>
                    <a:pt x="271" y="367"/>
                    <a:pt x="257" y="358"/>
                  </a:cubicBezTo>
                  <a:cubicBezTo>
                    <a:pt x="276" y="339"/>
                    <a:pt x="259" y="323"/>
                    <a:pt x="259" y="323"/>
                  </a:cubicBezTo>
                  <a:cubicBezTo>
                    <a:pt x="272" y="305"/>
                    <a:pt x="272" y="305"/>
                    <a:pt x="272" y="305"/>
                  </a:cubicBezTo>
                  <a:cubicBezTo>
                    <a:pt x="302" y="298"/>
                    <a:pt x="302" y="298"/>
                    <a:pt x="302" y="298"/>
                  </a:cubicBezTo>
                  <a:cubicBezTo>
                    <a:pt x="312" y="288"/>
                    <a:pt x="312" y="288"/>
                    <a:pt x="312" y="288"/>
                  </a:cubicBezTo>
                  <a:cubicBezTo>
                    <a:pt x="315" y="277"/>
                    <a:pt x="315" y="277"/>
                    <a:pt x="315" y="277"/>
                  </a:cubicBezTo>
                  <a:cubicBezTo>
                    <a:pt x="315" y="277"/>
                    <a:pt x="368" y="222"/>
                    <a:pt x="370" y="218"/>
                  </a:cubicBezTo>
                  <a:cubicBezTo>
                    <a:pt x="365" y="210"/>
                    <a:pt x="376" y="203"/>
                    <a:pt x="375" y="202"/>
                  </a:cubicBezTo>
                  <a:cubicBezTo>
                    <a:pt x="374" y="202"/>
                    <a:pt x="374" y="202"/>
                    <a:pt x="373" y="202"/>
                  </a:cubicBezTo>
                  <a:cubicBezTo>
                    <a:pt x="374" y="202"/>
                    <a:pt x="374" y="202"/>
                    <a:pt x="375" y="202"/>
                  </a:cubicBezTo>
                  <a:cubicBezTo>
                    <a:pt x="403" y="203"/>
                    <a:pt x="386" y="180"/>
                    <a:pt x="386" y="180"/>
                  </a:cubicBezTo>
                  <a:cubicBezTo>
                    <a:pt x="354" y="184"/>
                    <a:pt x="354" y="184"/>
                    <a:pt x="354" y="184"/>
                  </a:cubicBezTo>
                  <a:cubicBezTo>
                    <a:pt x="364" y="161"/>
                    <a:pt x="364" y="161"/>
                    <a:pt x="364" y="161"/>
                  </a:cubicBezTo>
                  <a:cubicBezTo>
                    <a:pt x="380" y="152"/>
                    <a:pt x="380" y="152"/>
                    <a:pt x="380" y="152"/>
                  </a:cubicBezTo>
                  <a:cubicBezTo>
                    <a:pt x="378" y="139"/>
                    <a:pt x="378" y="139"/>
                    <a:pt x="378" y="139"/>
                  </a:cubicBezTo>
                  <a:cubicBezTo>
                    <a:pt x="378" y="139"/>
                    <a:pt x="387" y="141"/>
                    <a:pt x="396" y="143"/>
                  </a:cubicBezTo>
                  <a:cubicBezTo>
                    <a:pt x="391" y="123"/>
                    <a:pt x="375" y="124"/>
                    <a:pt x="373" y="118"/>
                  </a:cubicBezTo>
                  <a:cubicBezTo>
                    <a:pt x="382" y="61"/>
                    <a:pt x="334" y="64"/>
                    <a:pt x="334" y="64"/>
                  </a:cubicBezTo>
                  <a:cubicBezTo>
                    <a:pt x="330" y="53"/>
                    <a:pt x="330" y="53"/>
                    <a:pt x="330" y="53"/>
                  </a:cubicBezTo>
                  <a:cubicBezTo>
                    <a:pt x="325" y="54"/>
                    <a:pt x="318" y="45"/>
                    <a:pt x="318" y="45"/>
                  </a:cubicBezTo>
                  <a:cubicBezTo>
                    <a:pt x="285" y="32"/>
                    <a:pt x="285" y="32"/>
                    <a:pt x="285" y="32"/>
                  </a:cubicBezTo>
                  <a:cubicBezTo>
                    <a:pt x="276" y="20"/>
                    <a:pt x="276" y="20"/>
                    <a:pt x="276" y="20"/>
                  </a:cubicBezTo>
                  <a:cubicBezTo>
                    <a:pt x="250" y="37"/>
                    <a:pt x="250" y="37"/>
                    <a:pt x="250" y="37"/>
                  </a:cubicBezTo>
                  <a:cubicBezTo>
                    <a:pt x="250" y="37"/>
                    <a:pt x="245" y="30"/>
                    <a:pt x="241" y="20"/>
                  </a:cubicBezTo>
                  <a:cubicBezTo>
                    <a:pt x="237" y="9"/>
                    <a:pt x="189" y="26"/>
                    <a:pt x="189" y="26"/>
                  </a:cubicBezTo>
                  <a:cubicBezTo>
                    <a:pt x="190" y="17"/>
                    <a:pt x="190" y="17"/>
                    <a:pt x="190" y="17"/>
                  </a:cubicBezTo>
                  <a:cubicBezTo>
                    <a:pt x="177" y="16"/>
                    <a:pt x="177" y="16"/>
                    <a:pt x="177" y="16"/>
                  </a:cubicBezTo>
                  <a:cubicBezTo>
                    <a:pt x="178" y="0"/>
                    <a:pt x="178" y="0"/>
                    <a:pt x="178" y="0"/>
                  </a:cubicBezTo>
                  <a:cubicBezTo>
                    <a:pt x="153" y="6"/>
                    <a:pt x="153" y="6"/>
                    <a:pt x="153" y="6"/>
                  </a:cubicBezTo>
                  <a:cubicBezTo>
                    <a:pt x="148" y="20"/>
                    <a:pt x="148" y="20"/>
                    <a:pt x="148" y="20"/>
                  </a:cubicBezTo>
                  <a:cubicBezTo>
                    <a:pt x="134" y="26"/>
                    <a:pt x="134" y="26"/>
                    <a:pt x="134" y="26"/>
                  </a:cubicBezTo>
                  <a:cubicBezTo>
                    <a:pt x="138" y="17"/>
                    <a:pt x="138" y="17"/>
                    <a:pt x="138" y="17"/>
                  </a:cubicBezTo>
                  <a:cubicBezTo>
                    <a:pt x="128" y="16"/>
                    <a:pt x="128" y="16"/>
                    <a:pt x="128" y="16"/>
                  </a:cubicBezTo>
                  <a:cubicBezTo>
                    <a:pt x="121" y="27"/>
                    <a:pt x="121" y="27"/>
                    <a:pt x="121" y="27"/>
                  </a:cubicBezTo>
                  <a:cubicBezTo>
                    <a:pt x="124" y="36"/>
                    <a:pt x="124" y="36"/>
                    <a:pt x="124" y="36"/>
                  </a:cubicBezTo>
                  <a:cubicBezTo>
                    <a:pt x="116" y="41"/>
                    <a:pt x="116" y="41"/>
                    <a:pt x="116" y="41"/>
                  </a:cubicBezTo>
                  <a:cubicBezTo>
                    <a:pt x="113" y="56"/>
                    <a:pt x="113" y="56"/>
                    <a:pt x="113" y="56"/>
                  </a:cubicBezTo>
                  <a:cubicBezTo>
                    <a:pt x="100" y="54"/>
                    <a:pt x="100" y="54"/>
                    <a:pt x="100" y="54"/>
                  </a:cubicBezTo>
                  <a:cubicBezTo>
                    <a:pt x="93" y="69"/>
                    <a:pt x="93" y="69"/>
                    <a:pt x="93" y="69"/>
                  </a:cubicBezTo>
                  <a:cubicBezTo>
                    <a:pt x="85" y="68"/>
                    <a:pt x="85" y="68"/>
                    <a:pt x="85" y="68"/>
                  </a:cubicBezTo>
                  <a:cubicBezTo>
                    <a:pt x="80" y="78"/>
                    <a:pt x="80" y="78"/>
                    <a:pt x="80" y="78"/>
                  </a:cubicBezTo>
                  <a:cubicBezTo>
                    <a:pt x="90" y="78"/>
                    <a:pt x="90" y="78"/>
                    <a:pt x="90" y="78"/>
                  </a:cubicBezTo>
                  <a:cubicBezTo>
                    <a:pt x="88" y="109"/>
                    <a:pt x="88" y="109"/>
                    <a:pt x="88" y="109"/>
                  </a:cubicBezTo>
                  <a:cubicBezTo>
                    <a:pt x="69" y="114"/>
                    <a:pt x="69" y="114"/>
                    <a:pt x="69" y="114"/>
                  </a:cubicBezTo>
                  <a:cubicBezTo>
                    <a:pt x="57" y="106"/>
                    <a:pt x="57" y="106"/>
                    <a:pt x="57" y="106"/>
                  </a:cubicBezTo>
                  <a:cubicBezTo>
                    <a:pt x="56" y="113"/>
                    <a:pt x="56" y="113"/>
                    <a:pt x="56" y="113"/>
                  </a:cubicBezTo>
                  <a:cubicBezTo>
                    <a:pt x="26" y="112"/>
                    <a:pt x="26" y="112"/>
                    <a:pt x="26" y="112"/>
                  </a:cubicBezTo>
                  <a:cubicBezTo>
                    <a:pt x="26" y="112"/>
                    <a:pt x="24" y="129"/>
                    <a:pt x="21" y="136"/>
                  </a:cubicBezTo>
                  <a:cubicBezTo>
                    <a:pt x="24" y="140"/>
                    <a:pt x="24" y="140"/>
                    <a:pt x="24" y="140"/>
                  </a:cubicBezTo>
                  <a:lnTo>
                    <a:pt x="32" y="132"/>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8" name="Bourgogne" descr="© INSCALE GmbH, 05.05.2010&#10;http://www.presentationload.com/">
              <a:extLst>
                <a:ext uri="{FF2B5EF4-FFF2-40B4-BE49-F238E27FC236}">
                  <a16:creationId xmlns:a16="http://schemas.microsoft.com/office/drawing/2014/main" id="{67CEE325-8000-4C18-B665-933A28B6F9A2}"/>
                </a:ext>
              </a:extLst>
            </p:cNvPr>
            <p:cNvSpPr>
              <a:spLocks/>
            </p:cNvSpPr>
            <p:nvPr/>
          </p:nvSpPr>
          <p:spPr bwMode="gray">
            <a:xfrm>
              <a:off x="1885" y="1086"/>
              <a:ext cx="625" cy="772"/>
            </a:xfrm>
            <a:custGeom>
              <a:avLst/>
              <a:gdLst/>
              <a:ahLst/>
              <a:cxnLst>
                <a:cxn ang="0">
                  <a:pos x="43" y="156"/>
                </a:cxn>
                <a:cxn ang="0">
                  <a:pos x="36" y="170"/>
                </a:cxn>
                <a:cxn ang="0">
                  <a:pos x="0" y="220"/>
                </a:cxn>
                <a:cxn ang="0">
                  <a:pos x="19" y="253"/>
                </a:cxn>
                <a:cxn ang="0">
                  <a:pos x="20" y="309"/>
                </a:cxn>
                <a:cxn ang="0">
                  <a:pos x="40" y="429"/>
                </a:cxn>
                <a:cxn ang="0">
                  <a:pos x="43" y="512"/>
                </a:cxn>
                <a:cxn ang="0">
                  <a:pos x="111" y="545"/>
                </a:cxn>
                <a:cxn ang="0">
                  <a:pos x="138" y="558"/>
                </a:cxn>
                <a:cxn ang="0">
                  <a:pos x="164" y="521"/>
                </a:cxn>
                <a:cxn ang="0">
                  <a:pos x="219" y="597"/>
                </a:cxn>
                <a:cxn ang="0">
                  <a:pos x="255" y="658"/>
                </a:cxn>
                <a:cxn ang="0">
                  <a:pos x="235" y="669"/>
                </a:cxn>
                <a:cxn ang="0">
                  <a:pos x="256" y="710"/>
                </a:cxn>
                <a:cxn ang="0">
                  <a:pos x="304" y="703"/>
                </a:cxn>
                <a:cxn ang="0">
                  <a:pos x="319" y="714"/>
                </a:cxn>
                <a:cxn ang="0">
                  <a:pos x="346" y="666"/>
                </a:cxn>
                <a:cxn ang="0">
                  <a:pos x="382" y="666"/>
                </a:cxn>
                <a:cxn ang="0">
                  <a:pos x="411" y="678"/>
                </a:cxn>
                <a:cxn ang="0">
                  <a:pos x="431" y="704"/>
                </a:cxn>
                <a:cxn ang="0">
                  <a:pos x="520" y="594"/>
                </a:cxn>
                <a:cxn ang="0">
                  <a:pos x="547" y="608"/>
                </a:cxn>
                <a:cxn ang="0">
                  <a:pos x="563" y="569"/>
                </a:cxn>
                <a:cxn ang="0">
                  <a:pos x="551" y="526"/>
                </a:cxn>
                <a:cxn ang="0">
                  <a:pos x="572" y="484"/>
                </a:cxn>
                <a:cxn ang="0">
                  <a:pos x="526" y="456"/>
                </a:cxn>
                <a:cxn ang="0">
                  <a:pos x="539" y="416"/>
                </a:cxn>
                <a:cxn ang="0">
                  <a:pos x="575" y="312"/>
                </a:cxn>
                <a:cxn ang="0">
                  <a:pos x="543" y="290"/>
                </a:cxn>
                <a:cxn ang="0">
                  <a:pos x="558" y="236"/>
                </a:cxn>
                <a:cxn ang="0">
                  <a:pos x="544" y="244"/>
                </a:cxn>
                <a:cxn ang="0">
                  <a:pos x="518" y="240"/>
                </a:cxn>
                <a:cxn ang="0">
                  <a:pos x="488" y="226"/>
                </a:cxn>
                <a:cxn ang="0">
                  <a:pos x="455" y="194"/>
                </a:cxn>
                <a:cxn ang="0">
                  <a:pos x="456" y="173"/>
                </a:cxn>
                <a:cxn ang="0">
                  <a:pos x="426" y="146"/>
                </a:cxn>
                <a:cxn ang="0">
                  <a:pos x="414" y="133"/>
                </a:cxn>
                <a:cxn ang="0">
                  <a:pos x="311" y="136"/>
                </a:cxn>
                <a:cxn ang="0">
                  <a:pos x="296" y="132"/>
                </a:cxn>
                <a:cxn ang="0">
                  <a:pos x="283" y="137"/>
                </a:cxn>
                <a:cxn ang="0">
                  <a:pos x="256" y="146"/>
                </a:cxn>
                <a:cxn ang="0">
                  <a:pos x="208" y="109"/>
                </a:cxn>
                <a:cxn ang="0">
                  <a:pos x="182" y="69"/>
                </a:cxn>
                <a:cxn ang="0">
                  <a:pos x="167" y="66"/>
                </a:cxn>
                <a:cxn ang="0">
                  <a:pos x="155" y="33"/>
                </a:cxn>
                <a:cxn ang="0">
                  <a:pos x="118" y="0"/>
                </a:cxn>
                <a:cxn ang="0">
                  <a:pos x="36" y="28"/>
                </a:cxn>
                <a:cxn ang="0">
                  <a:pos x="39" y="84"/>
                </a:cxn>
              </a:cxnLst>
              <a:rect l="0" t="0" r="r" b="b"/>
              <a:pathLst>
                <a:path w="580" h="715">
                  <a:moveTo>
                    <a:pt x="58" y="114"/>
                  </a:moveTo>
                  <a:cubicBezTo>
                    <a:pt x="59" y="133"/>
                    <a:pt x="59" y="133"/>
                    <a:pt x="59" y="133"/>
                  </a:cubicBezTo>
                  <a:cubicBezTo>
                    <a:pt x="43" y="156"/>
                    <a:pt x="43" y="156"/>
                    <a:pt x="43" y="156"/>
                  </a:cubicBezTo>
                  <a:cubicBezTo>
                    <a:pt x="34" y="157"/>
                    <a:pt x="34" y="157"/>
                    <a:pt x="34" y="157"/>
                  </a:cubicBezTo>
                  <a:cubicBezTo>
                    <a:pt x="31" y="170"/>
                    <a:pt x="31" y="170"/>
                    <a:pt x="31" y="170"/>
                  </a:cubicBezTo>
                  <a:cubicBezTo>
                    <a:pt x="36" y="170"/>
                    <a:pt x="36" y="170"/>
                    <a:pt x="36" y="170"/>
                  </a:cubicBezTo>
                  <a:cubicBezTo>
                    <a:pt x="36" y="194"/>
                    <a:pt x="36" y="194"/>
                    <a:pt x="36" y="194"/>
                  </a:cubicBezTo>
                  <a:cubicBezTo>
                    <a:pt x="2" y="204"/>
                    <a:pt x="2" y="204"/>
                    <a:pt x="2" y="204"/>
                  </a:cubicBezTo>
                  <a:cubicBezTo>
                    <a:pt x="0" y="220"/>
                    <a:pt x="0" y="220"/>
                    <a:pt x="0" y="220"/>
                  </a:cubicBezTo>
                  <a:cubicBezTo>
                    <a:pt x="10" y="218"/>
                    <a:pt x="10" y="218"/>
                    <a:pt x="10" y="218"/>
                  </a:cubicBezTo>
                  <a:cubicBezTo>
                    <a:pt x="23" y="240"/>
                    <a:pt x="23" y="240"/>
                    <a:pt x="23" y="240"/>
                  </a:cubicBezTo>
                  <a:cubicBezTo>
                    <a:pt x="19" y="253"/>
                    <a:pt x="19" y="253"/>
                    <a:pt x="19" y="253"/>
                  </a:cubicBezTo>
                  <a:cubicBezTo>
                    <a:pt x="27" y="265"/>
                    <a:pt x="27" y="265"/>
                    <a:pt x="27" y="265"/>
                  </a:cubicBezTo>
                  <a:cubicBezTo>
                    <a:pt x="4" y="270"/>
                    <a:pt x="4" y="270"/>
                    <a:pt x="4" y="270"/>
                  </a:cubicBezTo>
                  <a:cubicBezTo>
                    <a:pt x="20" y="309"/>
                    <a:pt x="20" y="309"/>
                    <a:pt x="20" y="309"/>
                  </a:cubicBezTo>
                  <a:cubicBezTo>
                    <a:pt x="6" y="344"/>
                    <a:pt x="6" y="344"/>
                    <a:pt x="6" y="344"/>
                  </a:cubicBezTo>
                  <a:cubicBezTo>
                    <a:pt x="31" y="365"/>
                    <a:pt x="31" y="365"/>
                    <a:pt x="31" y="365"/>
                  </a:cubicBezTo>
                  <a:cubicBezTo>
                    <a:pt x="31" y="365"/>
                    <a:pt x="40" y="385"/>
                    <a:pt x="40" y="429"/>
                  </a:cubicBezTo>
                  <a:cubicBezTo>
                    <a:pt x="50" y="437"/>
                    <a:pt x="50" y="437"/>
                    <a:pt x="50" y="437"/>
                  </a:cubicBezTo>
                  <a:cubicBezTo>
                    <a:pt x="50" y="437"/>
                    <a:pt x="51" y="469"/>
                    <a:pt x="46" y="474"/>
                  </a:cubicBezTo>
                  <a:cubicBezTo>
                    <a:pt x="40" y="480"/>
                    <a:pt x="56" y="497"/>
                    <a:pt x="43" y="512"/>
                  </a:cubicBezTo>
                  <a:cubicBezTo>
                    <a:pt x="47" y="514"/>
                    <a:pt x="67" y="546"/>
                    <a:pt x="76" y="548"/>
                  </a:cubicBezTo>
                  <a:cubicBezTo>
                    <a:pt x="86" y="549"/>
                    <a:pt x="91" y="538"/>
                    <a:pt x="95" y="538"/>
                  </a:cubicBezTo>
                  <a:cubicBezTo>
                    <a:pt x="99" y="538"/>
                    <a:pt x="107" y="545"/>
                    <a:pt x="111" y="545"/>
                  </a:cubicBezTo>
                  <a:cubicBezTo>
                    <a:pt x="115" y="545"/>
                    <a:pt x="126" y="537"/>
                    <a:pt x="126" y="537"/>
                  </a:cubicBezTo>
                  <a:cubicBezTo>
                    <a:pt x="138" y="544"/>
                    <a:pt x="138" y="544"/>
                    <a:pt x="138" y="544"/>
                  </a:cubicBezTo>
                  <a:cubicBezTo>
                    <a:pt x="138" y="558"/>
                    <a:pt x="138" y="558"/>
                    <a:pt x="138" y="558"/>
                  </a:cubicBezTo>
                  <a:cubicBezTo>
                    <a:pt x="150" y="544"/>
                    <a:pt x="150" y="544"/>
                    <a:pt x="150" y="544"/>
                  </a:cubicBezTo>
                  <a:cubicBezTo>
                    <a:pt x="159" y="545"/>
                    <a:pt x="159" y="545"/>
                    <a:pt x="159" y="545"/>
                  </a:cubicBezTo>
                  <a:cubicBezTo>
                    <a:pt x="159" y="545"/>
                    <a:pt x="160" y="517"/>
                    <a:pt x="164" y="521"/>
                  </a:cubicBezTo>
                  <a:cubicBezTo>
                    <a:pt x="168" y="525"/>
                    <a:pt x="198" y="576"/>
                    <a:pt x="198" y="576"/>
                  </a:cubicBezTo>
                  <a:cubicBezTo>
                    <a:pt x="202" y="594"/>
                    <a:pt x="202" y="594"/>
                    <a:pt x="202" y="594"/>
                  </a:cubicBezTo>
                  <a:cubicBezTo>
                    <a:pt x="219" y="597"/>
                    <a:pt x="219" y="597"/>
                    <a:pt x="219" y="597"/>
                  </a:cubicBezTo>
                  <a:cubicBezTo>
                    <a:pt x="230" y="610"/>
                    <a:pt x="230" y="610"/>
                    <a:pt x="230" y="610"/>
                  </a:cubicBezTo>
                  <a:cubicBezTo>
                    <a:pt x="230" y="610"/>
                    <a:pt x="258" y="600"/>
                    <a:pt x="256" y="614"/>
                  </a:cubicBezTo>
                  <a:cubicBezTo>
                    <a:pt x="255" y="629"/>
                    <a:pt x="255" y="658"/>
                    <a:pt x="255" y="658"/>
                  </a:cubicBezTo>
                  <a:cubicBezTo>
                    <a:pt x="248" y="658"/>
                    <a:pt x="248" y="658"/>
                    <a:pt x="248" y="658"/>
                  </a:cubicBezTo>
                  <a:cubicBezTo>
                    <a:pt x="243" y="672"/>
                    <a:pt x="243" y="672"/>
                    <a:pt x="243" y="672"/>
                  </a:cubicBezTo>
                  <a:cubicBezTo>
                    <a:pt x="235" y="669"/>
                    <a:pt x="235" y="669"/>
                    <a:pt x="235" y="669"/>
                  </a:cubicBezTo>
                  <a:cubicBezTo>
                    <a:pt x="236" y="697"/>
                    <a:pt x="236" y="697"/>
                    <a:pt x="236" y="697"/>
                  </a:cubicBezTo>
                  <a:cubicBezTo>
                    <a:pt x="250" y="697"/>
                    <a:pt x="250" y="697"/>
                    <a:pt x="250" y="697"/>
                  </a:cubicBezTo>
                  <a:cubicBezTo>
                    <a:pt x="256" y="710"/>
                    <a:pt x="256" y="710"/>
                    <a:pt x="256" y="710"/>
                  </a:cubicBezTo>
                  <a:cubicBezTo>
                    <a:pt x="280" y="704"/>
                    <a:pt x="280" y="704"/>
                    <a:pt x="280" y="704"/>
                  </a:cubicBezTo>
                  <a:cubicBezTo>
                    <a:pt x="280" y="704"/>
                    <a:pt x="280" y="705"/>
                    <a:pt x="295" y="706"/>
                  </a:cubicBezTo>
                  <a:cubicBezTo>
                    <a:pt x="305" y="707"/>
                    <a:pt x="305" y="705"/>
                    <a:pt x="304" y="703"/>
                  </a:cubicBezTo>
                  <a:cubicBezTo>
                    <a:pt x="303" y="702"/>
                    <a:pt x="303" y="701"/>
                    <a:pt x="303" y="701"/>
                  </a:cubicBezTo>
                  <a:cubicBezTo>
                    <a:pt x="303" y="701"/>
                    <a:pt x="304" y="702"/>
                    <a:pt x="304" y="703"/>
                  </a:cubicBezTo>
                  <a:cubicBezTo>
                    <a:pt x="307" y="707"/>
                    <a:pt x="314" y="715"/>
                    <a:pt x="319" y="714"/>
                  </a:cubicBezTo>
                  <a:cubicBezTo>
                    <a:pt x="326" y="713"/>
                    <a:pt x="320" y="706"/>
                    <a:pt x="326" y="706"/>
                  </a:cubicBezTo>
                  <a:cubicBezTo>
                    <a:pt x="331" y="706"/>
                    <a:pt x="342" y="705"/>
                    <a:pt x="342" y="705"/>
                  </a:cubicBezTo>
                  <a:cubicBezTo>
                    <a:pt x="346" y="666"/>
                    <a:pt x="346" y="666"/>
                    <a:pt x="346" y="666"/>
                  </a:cubicBezTo>
                  <a:cubicBezTo>
                    <a:pt x="358" y="665"/>
                    <a:pt x="358" y="665"/>
                    <a:pt x="358" y="665"/>
                  </a:cubicBezTo>
                  <a:cubicBezTo>
                    <a:pt x="367" y="678"/>
                    <a:pt x="367" y="678"/>
                    <a:pt x="367" y="678"/>
                  </a:cubicBezTo>
                  <a:cubicBezTo>
                    <a:pt x="382" y="666"/>
                    <a:pt x="382" y="666"/>
                    <a:pt x="382" y="666"/>
                  </a:cubicBezTo>
                  <a:cubicBezTo>
                    <a:pt x="382" y="666"/>
                    <a:pt x="382" y="676"/>
                    <a:pt x="387" y="676"/>
                  </a:cubicBezTo>
                  <a:cubicBezTo>
                    <a:pt x="392" y="676"/>
                    <a:pt x="391" y="660"/>
                    <a:pt x="402" y="664"/>
                  </a:cubicBezTo>
                  <a:cubicBezTo>
                    <a:pt x="412" y="668"/>
                    <a:pt x="411" y="678"/>
                    <a:pt x="411" y="678"/>
                  </a:cubicBezTo>
                  <a:cubicBezTo>
                    <a:pt x="419" y="686"/>
                    <a:pt x="419" y="686"/>
                    <a:pt x="419" y="686"/>
                  </a:cubicBezTo>
                  <a:cubicBezTo>
                    <a:pt x="420" y="702"/>
                    <a:pt x="420" y="702"/>
                    <a:pt x="420" y="702"/>
                  </a:cubicBezTo>
                  <a:cubicBezTo>
                    <a:pt x="431" y="704"/>
                    <a:pt x="431" y="704"/>
                    <a:pt x="431" y="704"/>
                  </a:cubicBezTo>
                  <a:cubicBezTo>
                    <a:pt x="459" y="596"/>
                    <a:pt x="459" y="596"/>
                    <a:pt x="459" y="596"/>
                  </a:cubicBezTo>
                  <a:cubicBezTo>
                    <a:pt x="459" y="596"/>
                    <a:pt x="476" y="602"/>
                    <a:pt x="490" y="602"/>
                  </a:cubicBezTo>
                  <a:cubicBezTo>
                    <a:pt x="503" y="602"/>
                    <a:pt x="518" y="589"/>
                    <a:pt x="520" y="594"/>
                  </a:cubicBezTo>
                  <a:cubicBezTo>
                    <a:pt x="523" y="600"/>
                    <a:pt x="524" y="612"/>
                    <a:pt x="528" y="612"/>
                  </a:cubicBezTo>
                  <a:cubicBezTo>
                    <a:pt x="530" y="612"/>
                    <a:pt x="538" y="613"/>
                    <a:pt x="546" y="614"/>
                  </a:cubicBezTo>
                  <a:cubicBezTo>
                    <a:pt x="547" y="608"/>
                    <a:pt x="547" y="608"/>
                    <a:pt x="547" y="608"/>
                  </a:cubicBezTo>
                  <a:cubicBezTo>
                    <a:pt x="566" y="602"/>
                    <a:pt x="566" y="602"/>
                    <a:pt x="566" y="602"/>
                  </a:cubicBezTo>
                  <a:cubicBezTo>
                    <a:pt x="566" y="602"/>
                    <a:pt x="570" y="596"/>
                    <a:pt x="567" y="594"/>
                  </a:cubicBezTo>
                  <a:cubicBezTo>
                    <a:pt x="542" y="588"/>
                    <a:pt x="563" y="569"/>
                    <a:pt x="563" y="569"/>
                  </a:cubicBezTo>
                  <a:cubicBezTo>
                    <a:pt x="563" y="569"/>
                    <a:pt x="566" y="549"/>
                    <a:pt x="571" y="549"/>
                  </a:cubicBezTo>
                  <a:cubicBezTo>
                    <a:pt x="554" y="540"/>
                    <a:pt x="562" y="522"/>
                    <a:pt x="562" y="522"/>
                  </a:cubicBezTo>
                  <a:cubicBezTo>
                    <a:pt x="551" y="526"/>
                    <a:pt x="551" y="526"/>
                    <a:pt x="551" y="526"/>
                  </a:cubicBezTo>
                  <a:cubicBezTo>
                    <a:pt x="551" y="506"/>
                    <a:pt x="551" y="506"/>
                    <a:pt x="551" y="506"/>
                  </a:cubicBezTo>
                  <a:cubicBezTo>
                    <a:pt x="539" y="496"/>
                    <a:pt x="539" y="496"/>
                    <a:pt x="539" y="496"/>
                  </a:cubicBezTo>
                  <a:cubicBezTo>
                    <a:pt x="572" y="484"/>
                    <a:pt x="572" y="484"/>
                    <a:pt x="572" y="484"/>
                  </a:cubicBezTo>
                  <a:cubicBezTo>
                    <a:pt x="556" y="472"/>
                    <a:pt x="544" y="468"/>
                    <a:pt x="544" y="468"/>
                  </a:cubicBezTo>
                  <a:cubicBezTo>
                    <a:pt x="540" y="457"/>
                    <a:pt x="540" y="457"/>
                    <a:pt x="540" y="457"/>
                  </a:cubicBezTo>
                  <a:cubicBezTo>
                    <a:pt x="526" y="456"/>
                    <a:pt x="526" y="456"/>
                    <a:pt x="526" y="456"/>
                  </a:cubicBezTo>
                  <a:cubicBezTo>
                    <a:pt x="526" y="444"/>
                    <a:pt x="538" y="430"/>
                    <a:pt x="538" y="430"/>
                  </a:cubicBezTo>
                  <a:cubicBezTo>
                    <a:pt x="531" y="429"/>
                    <a:pt x="531" y="429"/>
                    <a:pt x="531" y="429"/>
                  </a:cubicBezTo>
                  <a:cubicBezTo>
                    <a:pt x="531" y="429"/>
                    <a:pt x="536" y="420"/>
                    <a:pt x="539" y="416"/>
                  </a:cubicBezTo>
                  <a:cubicBezTo>
                    <a:pt x="560" y="405"/>
                    <a:pt x="580" y="340"/>
                    <a:pt x="580" y="340"/>
                  </a:cubicBezTo>
                  <a:cubicBezTo>
                    <a:pt x="572" y="332"/>
                    <a:pt x="572" y="332"/>
                    <a:pt x="572" y="332"/>
                  </a:cubicBezTo>
                  <a:cubicBezTo>
                    <a:pt x="575" y="312"/>
                    <a:pt x="575" y="312"/>
                    <a:pt x="575" y="312"/>
                  </a:cubicBezTo>
                  <a:cubicBezTo>
                    <a:pt x="556" y="316"/>
                    <a:pt x="556" y="316"/>
                    <a:pt x="556" y="316"/>
                  </a:cubicBezTo>
                  <a:cubicBezTo>
                    <a:pt x="556" y="294"/>
                    <a:pt x="556" y="294"/>
                    <a:pt x="556" y="294"/>
                  </a:cubicBezTo>
                  <a:cubicBezTo>
                    <a:pt x="556" y="294"/>
                    <a:pt x="535" y="290"/>
                    <a:pt x="543" y="290"/>
                  </a:cubicBezTo>
                  <a:cubicBezTo>
                    <a:pt x="551" y="290"/>
                    <a:pt x="539" y="280"/>
                    <a:pt x="555" y="280"/>
                  </a:cubicBezTo>
                  <a:cubicBezTo>
                    <a:pt x="571" y="280"/>
                    <a:pt x="566" y="240"/>
                    <a:pt x="566" y="240"/>
                  </a:cubicBezTo>
                  <a:cubicBezTo>
                    <a:pt x="558" y="236"/>
                    <a:pt x="558" y="236"/>
                    <a:pt x="558" y="236"/>
                  </a:cubicBezTo>
                  <a:cubicBezTo>
                    <a:pt x="550" y="244"/>
                    <a:pt x="550" y="244"/>
                    <a:pt x="550" y="244"/>
                  </a:cubicBezTo>
                  <a:cubicBezTo>
                    <a:pt x="547" y="240"/>
                    <a:pt x="547" y="240"/>
                    <a:pt x="547" y="240"/>
                  </a:cubicBezTo>
                  <a:cubicBezTo>
                    <a:pt x="546" y="242"/>
                    <a:pt x="545" y="244"/>
                    <a:pt x="544" y="244"/>
                  </a:cubicBezTo>
                  <a:cubicBezTo>
                    <a:pt x="540" y="244"/>
                    <a:pt x="535" y="241"/>
                    <a:pt x="535" y="241"/>
                  </a:cubicBezTo>
                  <a:cubicBezTo>
                    <a:pt x="518" y="253"/>
                    <a:pt x="518" y="253"/>
                    <a:pt x="518" y="253"/>
                  </a:cubicBezTo>
                  <a:cubicBezTo>
                    <a:pt x="518" y="240"/>
                    <a:pt x="518" y="240"/>
                    <a:pt x="518" y="240"/>
                  </a:cubicBezTo>
                  <a:cubicBezTo>
                    <a:pt x="502" y="232"/>
                    <a:pt x="502" y="232"/>
                    <a:pt x="502" y="232"/>
                  </a:cubicBezTo>
                  <a:cubicBezTo>
                    <a:pt x="502" y="222"/>
                    <a:pt x="502" y="222"/>
                    <a:pt x="502" y="222"/>
                  </a:cubicBezTo>
                  <a:cubicBezTo>
                    <a:pt x="502" y="222"/>
                    <a:pt x="498" y="226"/>
                    <a:pt x="488" y="226"/>
                  </a:cubicBezTo>
                  <a:cubicBezTo>
                    <a:pt x="479" y="226"/>
                    <a:pt x="467" y="212"/>
                    <a:pt x="467" y="212"/>
                  </a:cubicBezTo>
                  <a:cubicBezTo>
                    <a:pt x="455" y="217"/>
                    <a:pt x="455" y="217"/>
                    <a:pt x="455" y="217"/>
                  </a:cubicBezTo>
                  <a:cubicBezTo>
                    <a:pt x="455" y="194"/>
                    <a:pt x="455" y="194"/>
                    <a:pt x="455" y="194"/>
                  </a:cubicBezTo>
                  <a:cubicBezTo>
                    <a:pt x="446" y="192"/>
                    <a:pt x="446" y="192"/>
                    <a:pt x="446" y="192"/>
                  </a:cubicBezTo>
                  <a:cubicBezTo>
                    <a:pt x="446" y="191"/>
                    <a:pt x="446" y="191"/>
                    <a:pt x="446" y="191"/>
                  </a:cubicBezTo>
                  <a:cubicBezTo>
                    <a:pt x="456" y="173"/>
                    <a:pt x="456" y="173"/>
                    <a:pt x="456" y="173"/>
                  </a:cubicBezTo>
                  <a:cubicBezTo>
                    <a:pt x="450" y="165"/>
                    <a:pt x="439" y="144"/>
                    <a:pt x="439" y="144"/>
                  </a:cubicBezTo>
                  <a:cubicBezTo>
                    <a:pt x="432" y="150"/>
                    <a:pt x="432" y="150"/>
                    <a:pt x="432" y="150"/>
                  </a:cubicBezTo>
                  <a:cubicBezTo>
                    <a:pt x="426" y="146"/>
                    <a:pt x="426" y="146"/>
                    <a:pt x="426" y="146"/>
                  </a:cubicBezTo>
                  <a:cubicBezTo>
                    <a:pt x="432" y="138"/>
                    <a:pt x="432" y="138"/>
                    <a:pt x="432" y="138"/>
                  </a:cubicBezTo>
                  <a:cubicBezTo>
                    <a:pt x="427" y="133"/>
                    <a:pt x="427" y="133"/>
                    <a:pt x="427" y="133"/>
                  </a:cubicBezTo>
                  <a:cubicBezTo>
                    <a:pt x="414" y="133"/>
                    <a:pt x="414" y="133"/>
                    <a:pt x="414" y="133"/>
                  </a:cubicBezTo>
                  <a:cubicBezTo>
                    <a:pt x="414" y="133"/>
                    <a:pt x="414" y="133"/>
                    <a:pt x="415" y="116"/>
                  </a:cubicBezTo>
                  <a:cubicBezTo>
                    <a:pt x="334" y="100"/>
                    <a:pt x="366" y="134"/>
                    <a:pt x="366" y="134"/>
                  </a:cubicBezTo>
                  <a:cubicBezTo>
                    <a:pt x="311" y="136"/>
                    <a:pt x="311" y="136"/>
                    <a:pt x="311" y="136"/>
                  </a:cubicBezTo>
                  <a:cubicBezTo>
                    <a:pt x="311" y="148"/>
                    <a:pt x="311" y="148"/>
                    <a:pt x="311" y="148"/>
                  </a:cubicBezTo>
                  <a:cubicBezTo>
                    <a:pt x="302" y="145"/>
                    <a:pt x="302" y="145"/>
                    <a:pt x="302" y="145"/>
                  </a:cubicBezTo>
                  <a:cubicBezTo>
                    <a:pt x="296" y="132"/>
                    <a:pt x="296" y="132"/>
                    <a:pt x="296" y="132"/>
                  </a:cubicBezTo>
                  <a:cubicBezTo>
                    <a:pt x="287" y="132"/>
                    <a:pt x="287" y="132"/>
                    <a:pt x="287" y="132"/>
                  </a:cubicBezTo>
                  <a:cubicBezTo>
                    <a:pt x="290" y="141"/>
                    <a:pt x="290" y="141"/>
                    <a:pt x="290" y="141"/>
                  </a:cubicBezTo>
                  <a:cubicBezTo>
                    <a:pt x="283" y="137"/>
                    <a:pt x="283" y="137"/>
                    <a:pt x="283" y="137"/>
                  </a:cubicBezTo>
                  <a:cubicBezTo>
                    <a:pt x="270" y="148"/>
                    <a:pt x="270" y="148"/>
                    <a:pt x="270" y="148"/>
                  </a:cubicBezTo>
                  <a:cubicBezTo>
                    <a:pt x="258" y="141"/>
                    <a:pt x="258" y="141"/>
                    <a:pt x="258" y="141"/>
                  </a:cubicBezTo>
                  <a:cubicBezTo>
                    <a:pt x="256" y="146"/>
                    <a:pt x="256" y="146"/>
                    <a:pt x="256" y="146"/>
                  </a:cubicBezTo>
                  <a:cubicBezTo>
                    <a:pt x="222" y="145"/>
                    <a:pt x="222" y="145"/>
                    <a:pt x="222" y="145"/>
                  </a:cubicBezTo>
                  <a:cubicBezTo>
                    <a:pt x="222" y="145"/>
                    <a:pt x="226" y="128"/>
                    <a:pt x="226" y="125"/>
                  </a:cubicBezTo>
                  <a:cubicBezTo>
                    <a:pt x="216" y="133"/>
                    <a:pt x="218" y="129"/>
                    <a:pt x="208" y="109"/>
                  </a:cubicBezTo>
                  <a:cubicBezTo>
                    <a:pt x="199" y="89"/>
                    <a:pt x="190" y="81"/>
                    <a:pt x="190" y="81"/>
                  </a:cubicBezTo>
                  <a:cubicBezTo>
                    <a:pt x="190" y="70"/>
                    <a:pt x="190" y="70"/>
                    <a:pt x="190" y="70"/>
                  </a:cubicBezTo>
                  <a:cubicBezTo>
                    <a:pt x="182" y="69"/>
                    <a:pt x="182" y="69"/>
                    <a:pt x="182" y="69"/>
                  </a:cubicBezTo>
                  <a:cubicBezTo>
                    <a:pt x="182" y="78"/>
                    <a:pt x="182" y="78"/>
                    <a:pt x="182" y="78"/>
                  </a:cubicBezTo>
                  <a:cubicBezTo>
                    <a:pt x="176" y="81"/>
                    <a:pt x="176" y="81"/>
                    <a:pt x="176" y="81"/>
                  </a:cubicBezTo>
                  <a:cubicBezTo>
                    <a:pt x="167" y="66"/>
                    <a:pt x="167" y="66"/>
                    <a:pt x="167" y="66"/>
                  </a:cubicBezTo>
                  <a:cubicBezTo>
                    <a:pt x="158" y="69"/>
                    <a:pt x="158" y="69"/>
                    <a:pt x="158" y="69"/>
                  </a:cubicBezTo>
                  <a:cubicBezTo>
                    <a:pt x="167" y="60"/>
                    <a:pt x="159" y="38"/>
                    <a:pt x="159" y="38"/>
                  </a:cubicBezTo>
                  <a:cubicBezTo>
                    <a:pt x="155" y="33"/>
                    <a:pt x="155" y="33"/>
                    <a:pt x="155" y="33"/>
                  </a:cubicBezTo>
                  <a:cubicBezTo>
                    <a:pt x="155" y="18"/>
                    <a:pt x="128" y="8"/>
                    <a:pt x="128" y="8"/>
                  </a:cubicBezTo>
                  <a:cubicBezTo>
                    <a:pt x="122" y="10"/>
                    <a:pt x="122" y="10"/>
                    <a:pt x="122" y="10"/>
                  </a:cubicBezTo>
                  <a:cubicBezTo>
                    <a:pt x="118" y="0"/>
                    <a:pt x="118" y="0"/>
                    <a:pt x="118" y="0"/>
                  </a:cubicBezTo>
                  <a:cubicBezTo>
                    <a:pt x="103" y="8"/>
                    <a:pt x="103" y="8"/>
                    <a:pt x="103" y="8"/>
                  </a:cubicBezTo>
                  <a:cubicBezTo>
                    <a:pt x="44" y="8"/>
                    <a:pt x="44" y="8"/>
                    <a:pt x="44" y="8"/>
                  </a:cubicBezTo>
                  <a:cubicBezTo>
                    <a:pt x="36" y="28"/>
                    <a:pt x="36" y="28"/>
                    <a:pt x="36" y="28"/>
                  </a:cubicBezTo>
                  <a:cubicBezTo>
                    <a:pt x="42" y="44"/>
                    <a:pt x="42" y="44"/>
                    <a:pt x="42" y="44"/>
                  </a:cubicBezTo>
                  <a:cubicBezTo>
                    <a:pt x="42" y="44"/>
                    <a:pt x="28" y="66"/>
                    <a:pt x="20" y="75"/>
                  </a:cubicBezTo>
                  <a:cubicBezTo>
                    <a:pt x="39" y="84"/>
                    <a:pt x="39" y="84"/>
                    <a:pt x="39" y="84"/>
                  </a:cubicBezTo>
                  <a:cubicBezTo>
                    <a:pt x="39" y="84"/>
                    <a:pt x="28" y="104"/>
                    <a:pt x="58" y="114"/>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99" name="Centre" descr="© INSCALE GmbH, 05.05.2010&#10;http://www.presentationload.com/">
              <a:extLst>
                <a:ext uri="{FF2B5EF4-FFF2-40B4-BE49-F238E27FC236}">
                  <a16:creationId xmlns:a16="http://schemas.microsoft.com/office/drawing/2014/main" id="{2F93616E-9714-40DC-8DC4-1824DBEBEE72}"/>
                </a:ext>
              </a:extLst>
            </p:cNvPr>
            <p:cNvSpPr>
              <a:spLocks/>
            </p:cNvSpPr>
            <p:nvPr/>
          </p:nvSpPr>
          <p:spPr bwMode="gray">
            <a:xfrm>
              <a:off x="1233" y="903"/>
              <a:ext cx="716" cy="887"/>
            </a:xfrm>
            <a:custGeom>
              <a:avLst/>
              <a:gdLst/>
              <a:ahLst/>
              <a:cxnLst>
                <a:cxn ang="0">
                  <a:pos x="209" y="158"/>
                </a:cxn>
                <a:cxn ang="0">
                  <a:pos x="173" y="227"/>
                </a:cxn>
                <a:cxn ang="0">
                  <a:pos x="193" y="251"/>
                </a:cxn>
                <a:cxn ang="0">
                  <a:pos x="168" y="275"/>
                </a:cxn>
                <a:cxn ang="0">
                  <a:pos x="179" y="314"/>
                </a:cxn>
                <a:cxn ang="0">
                  <a:pos x="144" y="367"/>
                </a:cxn>
                <a:cxn ang="0">
                  <a:pos x="79" y="406"/>
                </a:cxn>
                <a:cxn ang="0">
                  <a:pos x="43" y="418"/>
                </a:cxn>
                <a:cxn ang="0">
                  <a:pos x="29" y="494"/>
                </a:cxn>
                <a:cxn ang="0">
                  <a:pos x="29" y="594"/>
                </a:cxn>
                <a:cxn ang="0">
                  <a:pos x="56" y="598"/>
                </a:cxn>
                <a:cxn ang="0">
                  <a:pos x="79" y="632"/>
                </a:cxn>
                <a:cxn ang="0">
                  <a:pos x="108" y="611"/>
                </a:cxn>
                <a:cxn ang="0">
                  <a:pos x="185" y="712"/>
                </a:cxn>
                <a:cxn ang="0">
                  <a:pos x="233" y="788"/>
                </a:cxn>
                <a:cxn ang="0">
                  <a:pos x="251" y="820"/>
                </a:cxn>
                <a:cxn ang="0">
                  <a:pos x="287" y="811"/>
                </a:cxn>
                <a:cxn ang="0">
                  <a:pos x="320" y="814"/>
                </a:cxn>
                <a:cxn ang="0">
                  <a:pos x="353" y="806"/>
                </a:cxn>
                <a:cxn ang="0">
                  <a:pos x="404" y="802"/>
                </a:cxn>
                <a:cxn ang="0">
                  <a:pos x="539" y="771"/>
                </a:cxn>
                <a:cxn ang="0">
                  <a:pos x="559" y="719"/>
                </a:cxn>
                <a:cxn ang="0">
                  <a:pos x="650" y="684"/>
                </a:cxn>
                <a:cxn ang="0">
                  <a:pos x="655" y="607"/>
                </a:cxn>
                <a:cxn ang="0">
                  <a:pos x="611" y="514"/>
                </a:cxn>
                <a:cxn ang="0">
                  <a:pos x="632" y="435"/>
                </a:cxn>
                <a:cxn ang="0">
                  <a:pos x="615" y="388"/>
                </a:cxn>
                <a:cxn ang="0">
                  <a:pos x="641" y="364"/>
                </a:cxn>
                <a:cxn ang="0">
                  <a:pos x="639" y="327"/>
                </a:cxn>
                <a:cxn ang="0">
                  <a:pos x="663" y="284"/>
                </a:cxn>
                <a:cxn ang="0">
                  <a:pos x="624" y="246"/>
                </a:cxn>
                <a:cxn ang="0">
                  <a:pos x="581" y="247"/>
                </a:cxn>
                <a:cxn ang="0">
                  <a:pos x="520" y="254"/>
                </a:cxn>
                <a:cxn ang="0">
                  <a:pos x="513" y="214"/>
                </a:cxn>
                <a:cxn ang="0">
                  <a:pos x="491" y="194"/>
                </a:cxn>
                <a:cxn ang="0">
                  <a:pos x="468" y="188"/>
                </a:cxn>
                <a:cxn ang="0">
                  <a:pos x="419" y="204"/>
                </a:cxn>
                <a:cxn ang="0">
                  <a:pos x="405" y="154"/>
                </a:cxn>
                <a:cxn ang="0">
                  <a:pos x="364" y="115"/>
                </a:cxn>
                <a:cxn ang="0">
                  <a:pos x="341" y="88"/>
                </a:cxn>
                <a:cxn ang="0">
                  <a:pos x="344" y="59"/>
                </a:cxn>
                <a:cxn ang="0">
                  <a:pos x="331" y="23"/>
                </a:cxn>
                <a:cxn ang="0">
                  <a:pos x="312" y="3"/>
                </a:cxn>
                <a:cxn ang="0">
                  <a:pos x="287" y="51"/>
                </a:cxn>
                <a:cxn ang="0">
                  <a:pos x="225" y="54"/>
                </a:cxn>
                <a:cxn ang="0">
                  <a:pos x="177" y="98"/>
                </a:cxn>
              </a:cxnLst>
              <a:rect l="0" t="0" r="r" b="b"/>
              <a:pathLst>
                <a:path w="664" h="822">
                  <a:moveTo>
                    <a:pt x="205" y="131"/>
                  </a:moveTo>
                  <a:cubicBezTo>
                    <a:pt x="205" y="136"/>
                    <a:pt x="201" y="144"/>
                    <a:pt x="201" y="144"/>
                  </a:cubicBezTo>
                  <a:cubicBezTo>
                    <a:pt x="209" y="158"/>
                    <a:pt x="209" y="158"/>
                    <a:pt x="209" y="158"/>
                  </a:cubicBezTo>
                  <a:cubicBezTo>
                    <a:pt x="197" y="172"/>
                    <a:pt x="197" y="172"/>
                    <a:pt x="197" y="172"/>
                  </a:cubicBezTo>
                  <a:cubicBezTo>
                    <a:pt x="197" y="172"/>
                    <a:pt x="171" y="179"/>
                    <a:pt x="168" y="190"/>
                  </a:cubicBezTo>
                  <a:cubicBezTo>
                    <a:pt x="165" y="200"/>
                    <a:pt x="173" y="227"/>
                    <a:pt x="173" y="227"/>
                  </a:cubicBezTo>
                  <a:cubicBezTo>
                    <a:pt x="173" y="235"/>
                    <a:pt x="173" y="235"/>
                    <a:pt x="173" y="235"/>
                  </a:cubicBezTo>
                  <a:cubicBezTo>
                    <a:pt x="193" y="242"/>
                    <a:pt x="193" y="242"/>
                    <a:pt x="193" y="242"/>
                  </a:cubicBezTo>
                  <a:cubicBezTo>
                    <a:pt x="193" y="251"/>
                    <a:pt x="193" y="251"/>
                    <a:pt x="193" y="251"/>
                  </a:cubicBezTo>
                  <a:cubicBezTo>
                    <a:pt x="179" y="252"/>
                    <a:pt x="179" y="252"/>
                    <a:pt x="179" y="252"/>
                  </a:cubicBezTo>
                  <a:cubicBezTo>
                    <a:pt x="179" y="270"/>
                    <a:pt x="179" y="270"/>
                    <a:pt x="179" y="270"/>
                  </a:cubicBezTo>
                  <a:cubicBezTo>
                    <a:pt x="168" y="275"/>
                    <a:pt x="168" y="275"/>
                    <a:pt x="168" y="275"/>
                  </a:cubicBezTo>
                  <a:cubicBezTo>
                    <a:pt x="176" y="287"/>
                    <a:pt x="176" y="287"/>
                    <a:pt x="176" y="287"/>
                  </a:cubicBezTo>
                  <a:cubicBezTo>
                    <a:pt x="172" y="300"/>
                    <a:pt x="172" y="300"/>
                    <a:pt x="172" y="300"/>
                  </a:cubicBezTo>
                  <a:cubicBezTo>
                    <a:pt x="179" y="314"/>
                    <a:pt x="179" y="314"/>
                    <a:pt x="179" y="314"/>
                  </a:cubicBezTo>
                  <a:cubicBezTo>
                    <a:pt x="171" y="324"/>
                    <a:pt x="171" y="324"/>
                    <a:pt x="171" y="324"/>
                  </a:cubicBezTo>
                  <a:cubicBezTo>
                    <a:pt x="171" y="324"/>
                    <a:pt x="161" y="328"/>
                    <a:pt x="161" y="343"/>
                  </a:cubicBezTo>
                  <a:cubicBezTo>
                    <a:pt x="157" y="347"/>
                    <a:pt x="144" y="367"/>
                    <a:pt x="144" y="367"/>
                  </a:cubicBezTo>
                  <a:cubicBezTo>
                    <a:pt x="144" y="367"/>
                    <a:pt x="112" y="388"/>
                    <a:pt x="128" y="394"/>
                  </a:cubicBezTo>
                  <a:cubicBezTo>
                    <a:pt x="124" y="395"/>
                    <a:pt x="95" y="402"/>
                    <a:pt x="95" y="402"/>
                  </a:cubicBezTo>
                  <a:cubicBezTo>
                    <a:pt x="95" y="402"/>
                    <a:pt x="96" y="424"/>
                    <a:pt x="79" y="406"/>
                  </a:cubicBezTo>
                  <a:cubicBezTo>
                    <a:pt x="80" y="408"/>
                    <a:pt x="69" y="415"/>
                    <a:pt x="69" y="415"/>
                  </a:cubicBezTo>
                  <a:cubicBezTo>
                    <a:pt x="80" y="430"/>
                    <a:pt x="80" y="430"/>
                    <a:pt x="80" y="430"/>
                  </a:cubicBezTo>
                  <a:cubicBezTo>
                    <a:pt x="43" y="418"/>
                    <a:pt x="43" y="418"/>
                    <a:pt x="43" y="418"/>
                  </a:cubicBezTo>
                  <a:cubicBezTo>
                    <a:pt x="43" y="418"/>
                    <a:pt x="32" y="446"/>
                    <a:pt x="39" y="454"/>
                  </a:cubicBezTo>
                  <a:cubicBezTo>
                    <a:pt x="35" y="464"/>
                    <a:pt x="23" y="482"/>
                    <a:pt x="23" y="482"/>
                  </a:cubicBezTo>
                  <a:cubicBezTo>
                    <a:pt x="29" y="494"/>
                    <a:pt x="29" y="494"/>
                    <a:pt x="29" y="494"/>
                  </a:cubicBezTo>
                  <a:cubicBezTo>
                    <a:pt x="29" y="494"/>
                    <a:pt x="0" y="528"/>
                    <a:pt x="3" y="556"/>
                  </a:cubicBezTo>
                  <a:cubicBezTo>
                    <a:pt x="5" y="584"/>
                    <a:pt x="29" y="580"/>
                    <a:pt x="29" y="580"/>
                  </a:cubicBezTo>
                  <a:cubicBezTo>
                    <a:pt x="29" y="594"/>
                    <a:pt x="29" y="594"/>
                    <a:pt x="29" y="594"/>
                  </a:cubicBezTo>
                  <a:cubicBezTo>
                    <a:pt x="43" y="587"/>
                    <a:pt x="43" y="587"/>
                    <a:pt x="43" y="587"/>
                  </a:cubicBezTo>
                  <a:cubicBezTo>
                    <a:pt x="47" y="594"/>
                    <a:pt x="47" y="594"/>
                    <a:pt x="47" y="594"/>
                  </a:cubicBezTo>
                  <a:cubicBezTo>
                    <a:pt x="56" y="598"/>
                    <a:pt x="56" y="598"/>
                    <a:pt x="56" y="598"/>
                  </a:cubicBezTo>
                  <a:cubicBezTo>
                    <a:pt x="56" y="598"/>
                    <a:pt x="44" y="624"/>
                    <a:pt x="56" y="628"/>
                  </a:cubicBezTo>
                  <a:cubicBezTo>
                    <a:pt x="68" y="632"/>
                    <a:pt x="67" y="626"/>
                    <a:pt x="67" y="626"/>
                  </a:cubicBezTo>
                  <a:cubicBezTo>
                    <a:pt x="79" y="632"/>
                    <a:pt x="79" y="632"/>
                    <a:pt x="79" y="632"/>
                  </a:cubicBezTo>
                  <a:cubicBezTo>
                    <a:pt x="93" y="624"/>
                    <a:pt x="93" y="624"/>
                    <a:pt x="93" y="624"/>
                  </a:cubicBezTo>
                  <a:cubicBezTo>
                    <a:pt x="116" y="624"/>
                    <a:pt x="116" y="624"/>
                    <a:pt x="116" y="624"/>
                  </a:cubicBezTo>
                  <a:cubicBezTo>
                    <a:pt x="108" y="611"/>
                    <a:pt x="108" y="611"/>
                    <a:pt x="108" y="611"/>
                  </a:cubicBezTo>
                  <a:cubicBezTo>
                    <a:pt x="140" y="622"/>
                    <a:pt x="140" y="622"/>
                    <a:pt x="140" y="622"/>
                  </a:cubicBezTo>
                  <a:cubicBezTo>
                    <a:pt x="140" y="622"/>
                    <a:pt x="143" y="654"/>
                    <a:pt x="160" y="670"/>
                  </a:cubicBezTo>
                  <a:cubicBezTo>
                    <a:pt x="177" y="686"/>
                    <a:pt x="153" y="679"/>
                    <a:pt x="185" y="712"/>
                  </a:cubicBezTo>
                  <a:cubicBezTo>
                    <a:pt x="184" y="726"/>
                    <a:pt x="179" y="755"/>
                    <a:pt x="207" y="756"/>
                  </a:cubicBezTo>
                  <a:cubicBezTo>
                    <a:pt x="211" y="758"/>
                    <a:pt x="208" y="767"/>
                    <a:pt x="208" y="767"/>
                  </a:cubicBezTo>
                  <a:cubicBezTo>
                    <a:pt x="208" y="767"/>
                    <a:pt x="227" y="746"/>
                    <a:pt x="233" y="788"/>
                  </a:cubicBezTo>
                  <a:cubicBezTo>
                    <a:pt x="237" y="795"/>
                    <a:pt x="248" y="800"/>
                    <a:pt x="248" y="800"/>
                  </a:cubicBezTo>
                  <a:cubicBezTo>
                    <a:pt x="244" y="811"/>
                    <a:pt x="244" y="811"/>
                    <a:pt x="244" y="811"/>
                  </a:cubicBezTo>
                  <a:cubicBezTo>
                    <a:pt x="251" y="820"/>
                    <a:pt x="251" y="820"/>
                    <a:pt x="251" y="820"/>
                  </a:cubicBezTo>
                  <a:cubicBezTo>
                    <a:pt x="269" y="818"/>
                    <a:pt x="269" y="818"/>
                    <a:pt x="269" y="818"/>
                  </a:cubicBezTo>
                  <a:cubicBezTo>
                    <a:pt x="269" y="811"/>
                    <a:pt x="269" y="811"/>
                    <a:pt x="269" y="811"/>
                  </a:cubicBezTo>
                  <a:cubicBezTo>
                    <a:pt x="287" y="811"/>
                    <a:pt x="287" y="811"/>
                    <a:pt x="287" y="811"/>
                  </a:cubicBezTo>
                  <a:cubicBezTo>
                    <a:pt x="292" y="822"/>
                    <a:pt x="292" y="822"/>
                    <a:pt x="292" y="822"/>
                  </a:cubicBezTo>
                  <a:cubicBezTo>
                    <a:pt x="319" y="802"/>
                    <a:pt x="319" y="802"/>
                    <a:pt x="319" y="802"/>
                  </a:cubicBezTo>
                  <a:cubicBezTo>
                    <a:pt x="320" y="814"/>
                    <a:pt x="320" y="814"/>
                    <a:pt x="320" y="814"/>
                  </a:cubicBezTo>
                  <a:cubicBezTo>
                    <a:pt x="337" y="803"/>
                    <a:pt x="337" y="803"/>
                    <a:pt x="337" y="803"/>
                  </a:cubicBezTo>
                  <a:cubicBezTo>
                    <a:pt x="340" y="811"/>
                    <a:pt x="340" y="811"/>
                    <a:pt x="340" y="811"/>
                  </a:cubicBezTo>
                  <a:cubicBezTo>
                    <a:pt x="353" y="806"/>
                    <a:pt x="353" y="806"/>
                    <a:pt x="353" y="806"/>
                  </a:cubicBezTo>
                  <a:cubicBezTo>
                    <a:pt x="363" y="812"/>
                    <a:pt x="363" y="812"/>
                    <a:pt x="363" y="812"/>
                  </a:cubicBezTo>
                  <a:cubicBezTo>
                    <a:pt x="368" y="794"/>
                    <a:pt x="368" y="794"/>
                    <a:pt x="368" y="794"/>
                  </a:cubicBezTo>
                  <a:cubicBezTo>
                    <a:pt x="368" y="794"/>
                    <a:pt x="392" y="804"/>
                    <a:pt x="404" y="802"/>
                  </a:cubicBezTo>
                  <a:cubicBezTo>
                    <a:pt x="416" y="799"/>
                    <a:pt x="411" y="790"/>
                    <a:pt x="436" y="803"/>
                  </a:cubicBezTo>
                  <a:cubicBezTo>
                    <a:pt x="441" y="812"/>
                    <a:pt x="483" y="802"/>
                    <a:pt x="483" y="802"/>
                  </a:cubicBezTo>
                  <a:cubicBezTo>
                    <a:pt x="483" y="802"/>
                    <a:pt x="505" y="759"/>
                    <a:pt x="539" y="771"/>
                  </a:cubicBezTo>
                  <a:cubicBezTo>
                    <a:pt x="555" y="760"/>
                    <a:pt x="555" y="760"/>
                    <a:pt x="555" y="760"/>
                  </a:cubicBezTo>
                  <a:cubicBezTo>
                    <a:pt x="555" y="760"/>
                    <a:pt x="545" y="738"/>
                    <a:pt x="552" y="732"/>
                  </a:cubicBezTo>
                  <a:cubicBezTo>
                    <a:pt x="559" y="727"/>
                    <a:pt x="559" y="719"/>
                    <a:pt x="559" y="719"/>
                  </a:cubicBezTo>
                  <a:cubicBezTo>
                    <a:pt x="559" y="719"/>
                    <a:pt x="577" y="700"/>
                    <a:pt x="581" y="700"/>
                  </a:cubicBezTo>
                  <a:cubicBezTo>
                    <a:pt x="585" y="700"/>
                    <a:pt x="600" y="722"/>
                    <a:pt x="608" y="706"/>
                  </a:cubicBezTo>
                  <a:cubicBezTo>
                    <a:pt x="615" y="691"/>
                    <a:pt x="625" y="683"/>
                    <a:pt x="650" y="684"/>
                  </a:cubicBezTo>
                  <a:cubicBezTo>
                    <a:pt x="649" y="683"/>
                    <a:pt x="649" y="682"/>
                    <a:pt x="648" y="682"/>
                  </a:cubicBezTo>
                  <a:cubicBezTo>
                    <a:pt x="661" y="667"/>
                    <a:pt x="645" y="650"/>
                    <a:pt x="651" y="644"/>
                  </a:cubicBezTo>
                  <a:cubicBezTo>
                    <a:pt x="656" y="639"/>
                    <a:pt x="655" y="607"/>
                    <a:pt x="655" y="607"/>
                  </a:cubicBezTo>
                  <a:cubicBezTo>
                    <a:pt x="645" y="599"/>
                    <a:pt x="645" y="599"/>
                    <a:pt x="645" y="599"/>
                  </a:cubicBezTo>
                  <a:cubicBezTo>
                    <a:pt x="645" y="555"/>
                    <a:pt x="636" y="535"/>
                    <a:pt x="636" y="535"/>
                  </a:cubicBezTo>
                  <a:cubicBezTo>
                    <a:pt x="611" y="514"/>
                    <a:pt x="611" y="514"/>
                    <a:pt x="611" y="514"/>
                  </a:cubicBezTo>
                  <a:cubicBezTo>
                    <a:pt x="625" y="479"/>
                    <a:pt x="625" y="479"/>
                    <a:pt x="625" y="479"/>
                  </a:cubicBezTo>
                  <a:cubicBezTo>
                    <a:pt x="609" y="440"/>
                    <a:pt x="609" y="440"/>
                    <a:pt x="609" y="440"/>
                  </a:cubicBezTo>
                  <a:cubicBezTo>
                    <a:pt x="632" y="435"/>
                    <a:pt x="632" y="435"/>
                    <a:pt x="632" y="435"/>
                  </a:cubicBezTo>
                  <a:cubicBezTo>
                    <a:pt x="624" y="423"/>
                    <a:pt x="624" y="423"/>
                    <a:pt x="624" y="423"/>
                  </a:cubicBezTo>
                  <a:cubicBezTo>
                    <a:pt x="628" y="410"/>
                    <a:pt x="628" y="410"/>
                    <a:pt x="628" y="410"/>
                  </a:cubicBezTo>
                  <a:cubicBezTo>
                    <a:pt x="615" y="388"/>
                    <a:pt x="615" y="388"/>
                    <a:pt x="615" y="388"/>
                  </a:cubicBezTo>
                  <a:cubicBezTo>
                    <a:pt x="605" y="390"/>
                    <a:pt x="605" y="390"/>
                    <a:pt x="605" y="390"/>
                  </a:cubicBezTo>
                  <a:cubicBezTo>
                    <a:pt x="607" y="374"/>
                    <a:pt x="607" y="374"/>
                    <a:pt x="607" y="374"/>
                  </a:cubicBezTo>
                  <a:cubicBezTo>
                    <a:pt x="641" y="364"/>
                    <a:pt x="641" y="364"/>
                    <a:pt x="641" y="364"/>
                  </a:cubicBezTo>
                  <a:cubicBezTo>
                    <a:pt x="641" y="340"/>
                    <a:pt x="641" y="340"/>
                    <a:pt x="641" y="340"/>
                  </a:cubicBezTo>
                  <a:cubicBezTo>
                    <a:pt x="636" y="340"/>
                    <a:pt x="636" y="340"/>
                    <a:pt x="636" y="340"/>
                  </a:cubicBezTo>
                  <a:cubicBezTo>
                    <a:pt x="639" y="327"/>
                    <a:pt x="639" y="327"/>
                    <a:pt x="639" y="327"/>
                  </a:cubicBezTo>
                  <a:cubicBezTo>
                    <a:pt x="648" y="326"/>
                    <a:pt x="648" y="326"/>
                    <a:pt x="648" y="326"/>
                  </a:cubicBezTo>
                  <a:cubicBezTo>
                    <a:pt x="664" y="303"/>
                    <a:pt x="664" y="303"/>
                    <a:pt x="664" y="303"/>
                  </a:cubicBezTo>
                  <a:cubicBezTo>
                    <a:pt x="663" y="284"/>
                    <a:pt x="663" y="284"/>
                    <a:pt x="663" y="284"/>
                  </a:cubicBezTo>
                  <a:cubicBezTo>
                    <a:pt x="633" y="274"/>
                    <a:pt x="644" y="254"/>
                    <a:pt x="644" y="254"/>
                  </a:cubicBezTo>
                  <a:cubicBezTo>
                    <a:pt x="625" y="245"/>
                    <a:pt x="625" y="245"/>
                    <a:pt x="625" y="245"/>
                  </a:cubicBezTo>
                  <a:cubicBezTo>
                    <a:pt x="625" y="245"/>
                    <a:pt x="624" y="246"/>
                    <a:pt x="624" y="246"/>
                  </a:cubicBezTo>
                  <a:cubicBezTo>
                    <a:pt x="616" y="254"/>
                    <a:pt x="593" y="258"/>
                    <a:pt x="593" y="258"/>
                  </a:cubicBezTo>
                  <a:cubicBezTo>
                    <a:pt x="593" y="247"/>
                    <a:pt x="593" y="247"/>
                    <a:pt x="593" y="247"/>
                  </a:cubicBezTo>
                  <a:cubicBezTo>
                    <a:pt x="581" y="247"/>
                    <a:pt x="581" y="247"/>
                    <a:pt x="581" y="247"/>
                  </a:cubicBezTo>
                  <a:cubicBezTo>
                    <a:pt x="581" y="255"/>
                    <a:pt x="581" y="255"/>
                    <a:pt x="581" y="255"/>
                  </a:cubicBezTo>
                  <a:cubicBezTo>
                    <a:pt x="526" y="254"/>
                    <a:pt x="526" y="254"/>
                    <a:pt x="526" y="254"/>
                  </a:cubicBezTo>
                  <a:cubicBezTo>
                    <a:pt x="523" y="254"/>
                    <a:pt x="520" y="254"/>
                    <a:pt x="520" y="254"/>
                  </a:cubicBezTo>
                  <a:cubicBezTo>
                    <a:pt x="526" y="254"/>
                    <a:pt x="526" y="254"/>
                    <a:pt x="526" y="254"/>
                  </a:cubicBezTo>
                  <a:cubicBezTo>
                    <a:pt x="530" y="253"/>
                    <a:pt x="536" y="250"/>
                    <a:pt x="537" y="239"/>
                  </a:cubicBezTo>
                  <a:cubicBezTo>
                    <a:pt x="540" y="220"/>
                    <a:pt x="513" y="214"/>
                    <a:pt x="513" y="214"/>
                  </a:cubicBezTo>
                  <a:cubicBezTo>
                    <a:pt x="509" y="198"/>
                    <a:pt x="509" y="198"/>
                    <a:pt x="509" y="198"/>
                  </a:cubicBezTo>
                  <a:cubicBezTo>
                    <a:pt x="507" y="199"/>
                    <a:pt x="507" y="199"/>
                    <a:pt x="507" y="199"/>
                  </a:cubicBezTo>
                  <a:cubicBezTo>
                    <a:pt x="491" y="194"/>
                    <a:pt x="491" y="194"/>
                    <a:pt x="491" y="194"/>
                  </a:cubicBezTo>
                  <a:cubicBezTo>
                    <a:pt x="477" y="202"/>
                    <a:pt x="477" y="202"/>
                    <a:pt x="477" y="202"/>
                  </a:cubicBezTo>
                  <a:cubicBezTo>
                    <a:pt x="475" y="191"/>
                    <a:pt x="475" y="191"/>
                    <a:pt x="475" y="191"/>
                  </a:cubicBezTo>
                  <a:cubicBezTo>
                    <a:pt x="468" y="188"/>
                    <a:pt x="468" y="188"/>
                    <a:pt x="468" y="188"/>
                  </a:cubicBezTo>
                  <a:cubicBezTo>
                    <a:pt x="461" y="202"/>
                    <a:pt x="461" y="202"/>
                    <a:pt x="461" y="202"/>
                  </a:cubicBezTo>
                  <a:cubicBezTo>
                    <a:pt x="461" y="202"/>
                    <a:pt x="451" y="202"/>
                    <a:pt x="443" y="202"/>
                  </a:cubicBezTo>
                  <a:cubicBezTo>
                    <a:pt x="435" y="202"/>
                    <a:pt x="428" y="212"/>
                    <a:pt x="419" y="204"/>
                  </a:cubicBezTo>
                  <a:cubicBezTo>
                    <a:pt x="409" y="196"/>
                    <a:pt x="421" y="170"/>
                    <a:pt x="421" y="170"/>
                  </a:cubicBezTo>
                  <a:cubicBezTo>
                    <a:pt x="411" y="168"/>
                    <a:pt x="411" y="168"/>
                    <a:pt x="411" y="168"/>
                  </a:cubicBezTo>
                  <a:cubicBezTo>
                    <a:pt x="411" y="168"/>
                    <a:pt x="409" y="155"/>
                    <a:pt x="405" y="154"/>
                  </a:cubicBezTo>
                  <a:cubicBezTo>
                    <a:pt x="403" y="162"/>
                    <a:pt x="379" y="147"/>
                    <a:pt x="379" y="147"/>
                  </a:cubicBezTo>
                  <a:cubicBezTo>
                    <a:pt x="377" y="122"/>
                    <a:pt x="377" y="122"/>
                    <a:pt x="377" y="122"/>
                  </a:cubicBezTo>
                  <a:cubicBezTo>
                    <a:pt x="364" y="115"/>
                    <a:pt x="364" y="115"/>
                    <a:pt x="364" y="115"/>
                  </a:cubicBezTo>
                  <a:cubicBezTo>
                    <a:pt x="365" y="103"/>
                    <a:pt x="365" y="103"/>
                    <a:pt x="365" y="103"/>
                  </a:cubicBezTo>
                  <a:cubicBezTo>
                    <a:pt x="356" y="100"/>
                    <a:pt x="356" y="100"/>
                    <a:pt x="356" y="100"/>
                  </a:cubicBezTo>
                  <a:cubicBezTo>
                    <a:pt x="341" y="88"/>
                    <a:pt x="341" y="88"/>
                    <a:pt x="341" y="88"/>
                  </a:cubicBezTo>
                  <a:cubicBezTo>
                    <a:pt x="343" y="78"/>
                    <a:pt x="343" y="78"/>
                    <a:pt x="343" y="78"/>
                  </a:cubicBezTo>
                  <a:cubicBezTo>
                    <a:pt x="333" y="74"/>
                    <a:pt x="333" y="74"/>
                    <a:pt x="333" y="74"/>
                  </a:cubicBezTo>
                  <a:cubicBezTo>
                    <a:pt x="344" y="59"/>
                    <a:pt x="344" y="59"/>
                    <a:pt x="344" y="59"/>
                  </a:cubicBezTo>
                  <a:cubicBezTo>
                    <a:pt x="337" y="52"/>
                    <a:pt x="337" y="52"/>
                    <a:pt x="337" y="52"/>
                  </a:cubicBezTo>
                  <a:cubicBezTo>
                    <a:pt x="339" y="28"/>
                    <a:pt x="339" y="28"/>
                    <a:pt x="339" y="28"/>
                  </a:cubicBezTo>
                  <a:cubicBezTo>
                    <a:pt x="331" y="23"/>
                    <a:pt x="331" y="23"/>
                    <a:pt x="331" y="23"/>
                  </a:cubicBezTo>
                  <a:cubicBezTo>
                    <a:pt x="335" y="14"/>
                    <a:pt x="335" y="14"/>
                    <a:pt x="335" y="14"/>
                  </a:cubicBezTo>
                  <a:cubicBezTo>
                    <a:pt x="320" y="0"/>
                    <a:pt x="320" y="0"/>
                    <a:pt x="320" y="0"/>
                  </a:cubicBezTo>
                  <a:cubicBezTo>
                    <a:pt x="312" y="3"/>
                    <a:pt x="312" y="3"/>
                    <a:pt x="312" y="3"/>
                  </a:cubicBezTo>
                  <a:cubicBezTo>
                    <a:pt x="312" y="3"/>
                    <a:pt x="313" y="10"/>
                    <a:pt x="312" y="15"/>
                  </a:cubicBezTo>
                  <a:cubicBezTo>
                    <a:pt x="311" y="20"/>
                    <a:pt x="292" y="28"/>
                    <a:pt x="292" y="28"/>
                  </a:cubicBezTo>
                  <a:cubicBezTo>
                    <a:pt x="292" y="28"/>
                    <a:pt x="293" y="40"/>
                    <a:pt x="287" y="51"/>
                  </a:cubicBezTo>
                  <a:cubicBezTo>
                    <a:pt x="280" y="62"/>
                    <a:pt x="236" y="47"/>
                    <a:pt x="236" y="47"/>
                  </a:cubicBezTo>
                  <a:cubicBezTo>
                    <a:pt x="235" y="58"/>
                    <a:pt x="235" y="58"/>
                    <a:pt x="235" y="58"/>
                  </a:cubicBezTo>
                  <a:cubicBezTo>
                    <a:pt x="235" y="58"/>
                    <a:pt x="227" y="58"/>
                    <a:pt x="225" y="54"/>
                  </a:cubicBezTo>
                  <a:cubicBezTo>
                    <a:pt x="203" y="76"/>
                    <a:pt x="195" y="64"/>
                    <a:pt x="191" y="64"/>
                  </a:cubicBezTo>
                  <a:cubicBezTo>
                    <a:pt x="187" y="74"/>
                    <a:pt x="182" y="78"/>
                    <a:pt x="176" y="79"/>
                  </a:cubicBezTo>
                  <a:cubicBezTo>
                    <a:pt x="177" y="98"/>
                    <a:pt x="177" y="98"/>
                    <a:pt x="177" y="98"/>
                  </a:cubicBezTo>
                  <a:cubicBezTo>
                    <a:pt x="177" y="98"/>
                    <a:pt x="205" y="126"/>
                    <a:pt x="205" y="13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0" name="Basse Normandie" descr="© INSCALE GmbH, 05.05.2010&#10;http://www.presentationload.com/">
              <a:extLst>
                <a:ext uri="{FF2B5EF4-FFF2-40B4-BE49-F238E27FC236}">
                  <a16:creationId xmlns:a16="http://schemas.microsoft.com/office/drawing/2014/main" id="{96C755B5-878D-43B1-9DB9-C3827DF7190E}"/>
                </a:ext>
              </a:extLst>
            </p:cNvPr>
            <p:cNvSpPr>
              <a:spLocks/>
            </p:cNvSpPr>
            <p:nvPr/>
          </p:nvSpPr>
          <p:spPr bwMode="gray">
            <a:xfrm>
              <a:off x="801" y="585"/>
              <a:ext cx="657" cy="573"/>
            </a:xfrm>
            <a:custGeom>
              <a:avLst/>
              <a:gdLst/>
              <a:ahLst/>
              <a:cxnLst>
                <a:cxn ang="0">
                  <a:pos x="197" y="413"/>
                </a:cxn>
                <a:cxn ang="0">
                  <a:pos x="245" y="437"/>
                </a:cxn>
                <a:cxn ang="0">
                  <a:pos x="265" y="435"/>
                </a:cxn>
                <a:cxn ang="0">
                  <a:pos x="315" y="422"/>
                </a:cxn>
                <a:cxn ang="0">
                  <a:pos x="336" y="415"/>
                </a:cxn>
                <a:cxn ang="0">
                  <a:pos x="348" y="405"/>
                </a:cxn>
                <a:cxn ang="0">
                  <a:pos x="373" y="439"/>
                </a:cxn>
                <a:cxn ang="0">
                  <a:pos x="395" y="465"/>
                </a:cxn>
                <a:cxn ang="0">
                  <a:pos x="485" y="481"/>
                </a:cxn>
                <a:cxn ang="0">
                  <a:pos x="512" y="513"/>
                </a:cxn>
                <a:cxn ang="0">
                  <a:pos x="561" y="531"/>
                </a:cxn>
                <a:cxn ang="0">
                  <a:pos x="573" y="522"/>
                </a:cxn>
                <a:cxn ang="0">
                  <a:pos x="597" y="467"/>
                </a:cxn>
                <a:cxn ang="0">
                  <a:pos x="601" y="439"/>
                </a:cxn>
                <a:cxn ang="0">
                  <a:pos x="577" y="393"/>
                </a:cxn>
                <a:cxn ang="0">
                  <a:pos x="563" y="374"/>
                </a:cxn>
                <a:cxn ang="0">
                  <a:pos x="536" y="325"/>
                </a:cxn>
                <a:cxn ang="0">
                  <a:pos x="496" y="303"/>
                </a:cxn>
                <a:cxn ang="0">
                  <a:pos x="496" y="259"/>
                </a:cxn>
                <a:cxn ang="0">
                  <a:pos x="495" y="246"/>
                </a:cxn>
                <a:cxn ang="0">
                  <a:pos x="491" y="218"/>
                </a:cxn>
                <a:cxn ang="0">
                  <a:pos x="477" y="186"/>
                </a:cxn>
                <a:cxn ang="0">
                  <a:pos x="463" y="93"/>
                </a:cxn>
                <a:cxn ang="0">
                  <a:pos x="357" y="137"/>
                </a:cxn>
                <a:cxn ang="0">
                  <a:pos x="239" y="114"/>
                </a:cxn>
                <a:cxn ang="0">
                  <a:pos x="168" y="123"/>
                </a:cxn>
                <a:cxn ang="0">
                  <a:pos x="157" y="102"/>
                </a:cxn>
                <a:cxn ang="0">
                  <a:pos x="130" y="51"/>
                </a:cxn>
                <a:cxn ang="0">
                  <a:pos x="140" y="11"/>
                </a:cxn>
                <a:cxn ang="0">
                  <a:pos x="91" y="21"/>
                </a:cxn>
                <a:cxn ang="0">
                  <a:pos x="1" y="0"/>
                </a:cxn>
                <a:cxn ang="0">
                  <a:pos x="16" y="23"/>
                </a:cxn>
                <a:cxn ang="0">
                  <a:pos x="22" y="85"/>
                </a:cxn>
                <a:cxn ang="0">
                  <a:pos x="66" y="158"/>
                </a:cxn>
                <a:cxn ang="0">
                  <a:pos x="73" y="216"/>
                </a:cxn>
                <a:cxn ang="0">
                  <a:pos x="78" y="239"/>
                </a:cxn>
                <a:cxn ang="0">
                  <a:pos x="69" y="294"/>
                </a:cxn>
                <a:cxn ang="0">
                  <a:pos x="83" y="331"/>
                </a:cxn>
                <a:cxn ang="0">
                  <a:pos x="58" y="332"/>
                </a:cxn>
                <a:cxn ang="0">
                  <a:pos x="136" y="402"/>
                </a:cxn>
              </a:cxnLst>
              <a:rect l="0" t="0" r="r" b="b"/>
              <a:pathLst>
                <a:path w="609" h="531">
                  <a:moveTo>
                    <a:pt x="136" y="402"/>
                  </a:moveTo>
                  <a:cubicBezTo>
                    <a:pt x="173" y="418"/>
                    <a:pt x="187" y="426"/>
                    <a:pt x="197" y="413"/>
                  </a:cubicBezTo>
                  <a:cubicBezTo>
                    <a:pt x="207" y="418"/>
                    <a:pt x="220" y="422"/>
                    <a:pt x="220" y="422"/>
                  </a:cubicBezTo>
                  <a:cubicBezTo>
                    <a:pt x="220" y="422"/>
                    <a:pt x="245" y="446"/>
                    <a:pt x="245" y="437"/>
                  </a:cubicBezTo>
                  <a:cubicBezTo>
                    <a:pt x="245" y="427"/>
                    <a:pt x="261" y="426"/>
                    <a:pt x="261" y="426"/>
                  </a:cubicBezTo>
                  <a:cubicBezTo>
                    <a:pt x="265" y="435"/>
                    <a:pt x="265" y="435"/>
                    <a:pt x="265" y="435"/>
                  </a:cubicBezTo>
                  <a:cubicBezTo>
                    <a:pt x="265" y="435"/>
                    <a:pt x="288" y="435"/>
                    <a:pt x="293" y="421"/>
                  </a:cubicBezTo>
                  <a:cubicBezTo>
                    <a:pt x="300" y="421"/>
                    <a:pt x="315" y="422"/>
                    <a:pt x="315" y="422"/>
                  </a:cubicBezTo>
                  <a:cubicBezTo>
                    <a:pt x="321" y="427"/>
                    <a:pt x="321" y="427"/>
                    <a:pt x="321" y="427"/>
                  </a:cubicBezTo>
                  <a:cubicBezTo>
                    <a:pt x="336" y="415"/>
                    <a:pt x="336" y="415"/>
                    <a:pt x="336" y="415"/>
                  </a:cubicBezTo>
                  <a:cubicBezTo>
                    <a:pt x="336" y="415"/>
                    <a:pt x="344" y="426"/>
                    <a:pt x="348" y="418"/>
                  </a:cubicBezTo>
                  <a:cubicBezTo>
                    <a:pt x="352" y="410"/>
                    <a:pt x="344" y="405"/>
                    <a:pt x="348" y="405"/>
                  </a:cubicBezTo>
                  <a:cubicBezTo>
                    <a:pt x="352" y="405"/>
                    <a:pt x="375" y="414"/>
                    <a:pt x="375" y="414"/>
                  </a:cubicBezTo>
                  <a:cubicBezTo>
                    <a:pt x="375" y="414"/>
                    <a:pt x="361" y="439"/>
                    <a:pt x="373" y="439"/>
                  </a:cubicBezTo>
                  <a:cubicBezTo>
                    <a:pt x="385" y="439"/>
                    <a:pt x="391" y="438"/>
                    <a:pt x="391" y="438"/>
                  </a:cubicBezTo>
                  <a:cubicBezTo>
                    <a:pt x="395" y="465"/>
                    <a:pt x="395" y="465"/>
                    <a:pt x="395" y="465"/>
                  </a:cubicBezTo>
                  <a:cubicBezTo>
                    <a:pt x="415" y="465"/>
                    <a:pt x="415" y="465"/>
                    <a:pt x="415" y="465"/>
                  </a:cubicBezTo>
                  <a:cubicBezTo>
                    <a:pt x="415" y="465"/>
                    <a:pt x="477" y="390"/>
                    <a:pt x="485" y="481"/>
                  </a:cubicBezTo>
                  <a:cubicBezTo>
                    <a:pt x="492" y="486"/>
                    <a:pt x="505" y="493"/>
                    <a:pt x="505" y="493"/>
                  </a:cubicBezTo>
                  <a:cubicBezTo>
                    <a:pt x="512" y="513"/>
                    <a:pt x="512" y="513"/>
                    <a:pt x="512" y="513"/>
                  </a:cubicBezTo>
                  <a:cubicBezTo>
                    <a:pt x="537" y="507"/>
                    <a:pt x="537" y="507"/>
                    <a:pt x="537" y="507"/>
                  </a:cubicBezTo>
                  <a:cubicBezTo>
                    <a:pt x="561" y="531"/>
                    <a:pt x="561" y="531"/>
                    <a:pt x="561" y="531"/>
                  </a:cubicBezTo>
                  <a:cubicBezTo>
                    <a:pt x="573" y="529"/>
                    <a:pt x="573" y="529"/>
                    <a:pt x="573" y="529"/>
                  </a:cubicBezTo>
                  <a:cubicBezTo>
                    <a:pt x="573" y="522"/>
                    <a:pt x="573" y="522"/>
                    <a:pt x="573" y="522"/>
                  </a:cubicBezTo>
                  <a:cubicBezTo>
                    <a:pt x="573" y="522"/>
                    <a:pt x="565" y="495"/>
                    <a:pt x="568" y="485"/>
                  </a:cubicBezTo>
                  <a:cubicBezTo>
                    <a:pt x="571" y="474"/>
                    <a:pt x="597" y="467"/>
                    <a:pt x="597" y="467"/>
                  </a:cubicBezTo>
                  <a:cubicBezTo>
                    <a:pt x="609" y="453"/>
                    <a:pt x="609" y="453"/>
                    <a:pt x="609" y="453"/>
                  </a:cubicBezTo>
                  <a:cubicBezTo>
                    <a:pt x="601" y="439"/>
                    <a:pt x="601" y="439"/>
                    <a:pt x="601" y="439"/>
                  </a:cubicBezTo>
                  <a:cubicBezTo>
                    <a:pt x="601" y="439"/>
                    <a:pt x="605" y="431"/>
                    <a:pt x="605" y="426"/>
                  </a:cubicBezTo>
                  <a:cubicBezTo>
                    <a:pt x="605" y="421"/>
                    <a:pt x="577" y="393"/>
                    <a:pt x="577" y="393"/>
                  </a:cubicBezTo>
                  <a:cubicBezTo>
                    <a:pt x="576" y="374"/>
                    <a:pt x="576" y="374"/>
                    <a:pt x="576" y="374"/>
                  </a:cubicBezTo>
                  <a:cubicBezTo>
                    <a:pt x="569" y="376"/>
                    <a:pt x="563" y="374"/>
                    <a:pt x="563" y="374"/>
                  </a:cubicBezTo>
                  <a:cubicBezTo>
                    <a:pt x="563" y="374"/>
                    <a:pt x="556" y="363"/>
                    <a:pt x="560" y="363"/>
                  </a:cubicBezTo>
                  <a:cubicBezTo>
                    <a:pt x="581" y="349"/>
                    <a:pt x="536" y="325"/>
                    <a:pt x="536" y="325"/>
                  </a:cubicBezTo>
                  <a:cubicBezTo>
                    <a:pt x="529" y="305"/>
                    <a:pt x="529" y="305"/>
                    <a:pt x="529" y="305"/>
                  </a:cubicBezTo>
                  <a:cubicBezTo>
                    <a:pt x="496" y="303"/>
                    <a:pt x="496" y="303"/>
                    <a:pt x="496" y="303"/>
                  </a:cubicBezTo>
                  <a:cubicBezTo>
                    <a:pt x="496" y="303"/>
                    <a:pt x="483" y="299"/>
                    <a:pt x="489" y="294"/>
                  </a:cubicBezTo>
                  <a:cubicBezTo>
                    <a:pt x="496" y="289"/>
                    <a:pt x="496" y="259"/>
                    <a:pt x="496" y="259"/>
                  </a:cubicBezTo>
                  <a:cubicBezTo>
                    <a:pt x="487" y="247"/>
                    <a:pt x="487" y="247"/>
                    <a:pt x="487" y="247"/>
                  </a:cubicBezTo>
                  <a:cubicBezTo>
                    <a:pt x="495" y="246"/>
                    <a:pt x="495" y="246"/>
                    <a:pt x="495" y="246"/>
                  </a:cubicBezTo>
                  <a:cubicBezTo>
                    <a:pt x="496" y="226"/>
                    <a:pt x="496" y="226"/>
                    <a:pt x="496" y="226"/>
                  </a:cubicBezTo>
                  <a:cubicBezTo>
                    <a:pt x="491" y="218"/>
                    <a:pt x="491" y="218"/>
                    <a:pt x="491" y="218"/>
                  </a:cubicBezTo>
                  <a:cubicBezTo>
                    <a:pt x="491" y="203"/>
                    <a:pt x="491" y="203"/>
                    <a:pt x="491" y="203"/>
                  </a:cubicBezTo>
                  <a:cubicBezTo>
                    <a:pt x="491" y="203"/>
                    <a:pt x="475" y="193"/>
                    <a:pt x="477" y="186"/>
                  </a:cubicBezTo>
                  <a:cubicBezTo>
                    <a:pt x="508" y="175"/>
                    <a:pt x="476" y="178"/>
                    <a:pt x="476" y="178"/>
                  </a:cubicBezTo>
                  <a:cubicBezTo>
                    <a:pt x="463" y="93"/>
                    <a:pt x="463" y="93"/>
                    <a:pt x="463" y="93"/>
                  </a:cubicBezTo>
                  <a:cubicBezTo>
                    <a:pt x="458" y="95"/>
                    <a:pt x="436" y="105"/>
                    <a:pt x="435" y="102"/>
                  </a:cubicBezTo>
                  <a:cubicBezTo>
                    <a:pt x="418" y="138"/>
                    <a:pt x="357" y="137"/>
                    <a:pt x="357" y="137"/>
                  </a:cubicBezTo>
                  <a:cubicBezTo>
                    <a:pt x="325" y="122"/>
                    <a:pt x="325" y="122"/>
                    <a:pt x="325" y="122"/>
                  </a:cubicBezTo>
                  <a:cubicBezTo>
                    <a:pt x="325" y="122"/>
                    <a:pt x="286" y="117"/>
                    <a:pt x="239" y="114"/>
                  </a:cubicBezTo>
                  <a:cubicBezTo>
                    <a:pt x="194" y="93"/>
                    <a:pt x="170" y="107"/>
                    <a:pt x="170" y="107"/>
                  </a:cubicBezTo>
                  <a:cubicBezTo>
                    <a:pt x="168" y="123"/>
                    <a:pt x="168" y="123"/>
                    <a:pt x="168" y="123"/>
                  </a:cubicBezTo>
                  <a:cubicBezTo>
                    <a:pt x="160" y="116"/>
                    <a:pt x="160" y="116"/>
                    <a:pt x="160" y="116"/>
                  </a:cubicBezTo>
                  <a:cubicBezTo>
                    <a:pt x="160" y="116"/>
                    <a:pt x="150" y="108"/>
                    <a:pt x="157" y="102"/>
                  </a:cubicBezTo>
                  <a:cubicBezTo>
                    <a:pt x="164" y="96"/>
                    <a:pt x="152" y="88"/>
                    <a:pt x="152" y="88"/>
                  </a:cubicBezTo>
                  <a:cubicBezTo>
                    <a:pt x="130" y="51"/>
                    <a:pt x="130" y="51"/>
                    <a:pt x="130" y="51"/>
                  </a:cubicBezTo>
                  <a:cubicBezTo>
                    <a:pt x="150" y="35"/>
                    <a:pt x="150" y="35"/>
                    <a:pt x="150" y="35"/>
                  </a:cubicBezTo>
                  <a:cubicBezTo>
                    <a:pt x="140" y="11"/>
                    <a:pt x="140" y="11"/>
                    <a:pt x="140" y="11"/>
                  </a:cubicBezTo>
                  <a:cubicBezTo>
                    <a:pt x="104" y="7"/>
                    <a:pt x="104" y="7"/>
                    <a:pt x="104" y="7"/>
                  </a:cubicBezTo>
                  <a:cubicBezTo>
                    <a:pt x="91" y="21"/>
                    <a:pt x="91" y="21"/>
                    <a:pt x="91" y="21"/>
                  </a:cubicBezTo>
                  <a:cubicBezTo>
                    <a:pt x="91" y="21"/>
                    <a:pt x="82" y="30"/>
                    <a:pt x="59" y="24"/>
                  </a:cubicBezTo>
                  <a:cubicBezTo>
                    <a:pt x="36" y="18"/>
                    <a:pt x="1" y="0"/>
                    <a:pt x="1" y="0"/>
                  </a:cubicBezTo>
                  <a:cubicBezTo>
                    <a:pt x="0" y="16"/>
                    <a:pt x="0" y="16"/>
                    <a:pt x="0" y="16"/>
                  </a:cubicBezTo>
                  <a:cubicBezTo>
                    <a:pt x="0" y="16"/>
                    <a:pt x="4" y="16"/>
                    <a:pt x="16" y="23"/>
                  </a:cubicBezTo>
                  <a:cubicBezTo>
                    <a:pt x="28" y="30"/>
                    <a:pt x="12" y="63"/>
                    <a:pt x="12" y="63"/>
                  </a:cubicBezTo>
                  <a:cubicBezTo>
                    <a:pt x="12" y="63"/>
                    <a:pt x="21" y="81"/>
                    <a:pt x="22" y="85"/>
                  </a:cubicBezTo>
                  <a:cubicBezTo>
                    <a:pt x="22" y="112"/>
                    <a:pt x="34" y="108"/>
                    <a:pt x="34" y="108"/>
                  </a:cubicBezTo>
                  <a:cubicBezTo>
                    <a:pt x="66" y="158"/>
                    <a:pt x="66" y="158"/>
                    <a:pt x="66" y="158"/>
                  </a:cubicBezTo>
                  <a:cubicBezTo>
                    <a:pt x="65" y="214"/>
                    <a:pt x="65" y="214"/>
                    <a:pt x="65" y="214"/>
                  </a:cubicBezTo>
                  <a:cubicBezTo>
                    <a:pt x="73" y="216"/>
                    <a:pt x="73" y="216"/>
                    <a:pt x="73" y="216"/>
                  </a:cubicBezTo>
                  <a:cubicBezTo>
                    <a:pt x="69" y="232"/>
                    <a:pt x="69" y="232"/>
                    <a:pt x="69" y="232"/>
                  </a:cubicBezTo>
                  <a:cubicBezTo>
                    <a:pt x="78" y="239"/>
                    <a:pt x="78" y="239"/>
                    <a:pt x="78" y="239"/>
                  </a:cubicBezTo>
                  <a:cubicBezTo>
                    <a:pt x="70" y="245"/>
                    <a:pt x="70" y="245"/>
                    <a:pt x="70" y="245"/>
                  </a:cubicBezTo>
                  <a:cubicBezTo>
                    <a:pt x="70" y="245"/>
                    <a:pt x="66" y="280"/>
                    <a:pt x="69" y="294"/>
                  </a:cubicBezTo>
                  <a:cubicBezTo>
                    <a:pt x="71" y="315"/>
                    <a:pt x="108" y="326"/>
                    <a:pt x="108" y="326"/>
                  </a:cubicBezTo>
                  <a:cubicBezTo>
                    <a:pt x="83" y="331"/>
                    <a:pt x="83" y="331"/>
                    <a:pt x="83" y="331"/>
                  </a:cubicBezTo>
                  <a:cubicBezTo>
                    <a:pt x="83" y="331"/>
                    <a:pt x="75" y="328"/>
                    <a:pt x="68" y="329"/>
                  </a:cubicBezTo>
                  <a:cubicBezTo>
                    <a:pt x="66" y="330"/>
                    <a:pt x="62" y="331"/>
                    <a:pt x="58" y="332"/>
                  </a:cubicBezTo>
                  <a:cubicBezTo>
                    <a:pt x="77" y="377"/>
                    <a:pt x="77" y="377"/>
                    <a:pt x="77" y="377"/>
                  </a:cubicBezTo>
                  <a:cubicBezTo>
                    <a:pt x="77" y="377"/>
                    <a:pt x="87" y="470"/>
                    <a:pt x="136" y="402"/>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1" name="Bretagne" descr="© INSCALE GmbH, 05.05.2010&#10;http://www.presentationload.com/">
              <a:extLst>
                <a:ext uri="{FF2B5EF4-FFF2-40B4-BE49-F238E27FC236}">
                  <a16:creationId xmlns:a16="http://schemas.microsoft.com/office/drawing/2014/main" id="{F823883D-B803-4C7E-982B-A6EA279E0036}"/>
                </a:ext>
              </a:extLst>
            </p:cNvPr>
            <p:cNvSpPr>
              <a:spLocks noEditPoints="1"/>
            </p:cNvSpPr>
            <p:nvPr/>
          </p:nvSpPr>
          <p:spPr bwMode="gray">
            <a:xfrm>
              <a:off x="48" y="857"/>
              <a:ext cx="953" cy="536"/>
            </a:xfrm>
            <a:custGeom>
              <a:avLst/>
              <a:gdLst/>
              <a:ahLst/>
              <a:cxnLst>
                <a:cxn ang="0">
                  <a:pos x="459" y="18"/>
                </a:cxn>
                <a:cxn ang="0">
                  <a:pos x="5" y="133"/>
                </a:cxn>
                <a:cxn ang="0">
                  <a:pos x="355" y="388"/>
                </a:cxn>
                <a:cxn ang="0">
                  <a:pos x="355" y="388"/>
                </a:cxn>
                <a:cxn ang="0">
                  <a:pos x="394" y="465"/>
                </a:cxn>
                <a:cxn ang="0">
                  <a:pos x="422" y="494"/>
                </a:cxn>
                <a:cxn ang="0">
                  <a:pos x="413" y="479"/>
                </a:cxn>
                <a:cxn ang="0">
                  <a:pos x="448" y="462"/>
                </a:cxn>
                <a:cxn ang="0">
                  <a:pos x="467" y="479"/>
                </a:cxn>
                <a:cxn ang="0">
                  <a:pos x="55" y="259"/>
                </a:cxn>
                <a:cxn ang="0">
                  <a:pos x="36" y="144"/>
                </a:cxn>
                <a:cxn ang="0">
                  <a:pos x="56" y="163"/>
                </a:cxn>
                <a:cxn ang="0">
                  <a:pos x="246" y="42"/>
                </a:cxn>
                <a:cxn ang="0">
                  <a:pos x="874" y="165"/>
                </a:cxn>
                <a:cxn ang="0">
                  <a:pos x="757" y="79"/>
                </a:cxn>
                <a:cxn ang="0">
                  <a:pos x="705" y="58"/>
                </a:cxn>
                <a:cxn ang="0">
                  <a:pos x="628" y="92"/>
                </a:cxn>
                <a:cxn ang="0">
                  <a:pos x="606" y="63"/>
                </a:cxn>
                <a:cxn ang="0">
                  <a:pos x="570" y="80"/>
                </a:cxn>
                <a:cxn ang="0">
                  <a:pos x="526" y="116"/>
                </a:cxn>
                <a:cxn ang="0">
                  <a:pos x="496" y="71"/>
                </a:cxn>
                <a:cxn ang="0">
                  <a:pos x="458" y="31"/>
                </a:cxn>
                <a:cxn ang="0">
                  <a:pos x="446" y="0"/>
                </a:cxn>
                <a:cxn ang="0">
                  <a:pos x="401" y="13"/>
                </a:cxn>
                <a:cxn ang="0">
                  <a:pos x="347" y="22"/>
                </a:cxn>
                <a:cxn ang="0">
                  <a:pos x="333" y="59"/>
                </a:cxn>
                <a:cxn ang="0">
                  <a:pos x="268" y="58"/>
                </a:cxn>
                <a:cxn ang="0">
                  <a:pos x="237" y="58"/>
                </a:cxn>
                <a:cxn ang="0">
                  <a:pos x="186" y="70"/>
                </a:cxn>
                <a:cxn ang="0">
                  <a:pos x="147" y="76"/>
                </a:cxn>
                <a:cxn ang="0">
                  <a:pos x="115" y="80"/>
                </a:cxn>
                <a:cxn ang="0">
                  <a:pos x="84" y="106"/>
                </a:cxn>
                <a:cxn ang="0">
                  <a:pos x="79" y="148"/>
                </a:cxn>
                <a:cxn ang="0">
                  <a:pos x="98" y="154"/>
                </a:cxn>
                <a:cxn ang="0">
                  <a:pos x="156" y="145"/>
                </a:cxn>
                <a:cxn ang="0">
                  <a:pos x="172" y="160"/>
                </a:cxn>
                <a:cxn ang="0">
                  <a:pos x="155" y="185"/>
                </a:cxn>
                <a:cxn ang="0">
                  <a:pos x="122" y="172"/>
                </a:cxn>
                <a:cxn ang="0">
                  <a:pos x="125" y="211"/>
                </a:cxn>
                <a:cxn ang="0">
                  <a:pos x="171" y="237"/>
                </a:cxn>
                <a:cxn ang="0">
                  <a:pos x="156" y="329"/>
                </a:cxn>
                <a:cxn ang="0">
                  <a:pos x="235" y="316"/>
                </a:cxn>
                <a:cxn ang="0">
                  <a:pos x="294" y="333"/>
                </a:cxn>
                <a:cxn ang="0">
                  <a:pos x="384" y="364"/>
                </a:cxn>
                <a:cxn ang="0">
                  <a:pos x="414" y="432"/>
                </a:cxn>
                <a:cxn ang="0">
                  <a:pos x="425" y="403"/>
                </a:cxn>
                <a:cxn ang="0">
                  <a:pos x="460" y="391"/>
                </a:cxn>
                <a:cxn ang="0">
                  <a:pos x="522" y="390"/>
                </a:cxn>
                <a:cxn ang="0">
                  <a:pos x="462" y="407"/>
                </a:cxn>
                <a:cxn ang="0">
                  <a:pos x="513" y="428"/>
                </a:cxn>
                <a:cxn ang="0">
                  <a:pos x="555" y="424"/>
                </a:cxn>
                <a:cxn ang="0">
                  <a:pos x="566" y="454"/>
                </a:cxn>
                <a:cxn ang="0">
                  <a:pos x="554" y="487"/>
                </a:cxn>
                <a:cxn ang="0">
                  <a:pos x="595" y="481"/>
                </a:cxn>
                <a:cxn ang="0">
                  <a:pos x="666" y="409"/>
                </a:cxn>
                <a:cxn ang="0">
                  <a:pos x="752" y="389"/>
                </a:cxn>
                <a:cxn ang="0">
                  <a:pos x="796" y="377"/>
                </a:cxn>
                <a:cxn ang="0">
                  <a:pos x="838" y="366"/>
                </a:cxn>
                <a:cxn ang="0">
                  <a:pos x="879" y="220"/>
                </a:cxn>
              </a:cxnLst>
              <a:rect l="0" t="0" r="r" b="b"/>
              <a:pathLst>
                <a:path w="884" h="496">
                  <a:moveTo>
                    <a:pt x="459" y="18"/>
                  </a:moveTo>
                  <a:cubicBezTo>
                    <a:pt x="460" y="17"/>
                    <a:pt x="460" y="17"/>
                    <a:pt x="460" y="15"/>
                  </a:cubicBezTo>
                  <a:cubicBezTo>
                    <a:pt x="460" y="12"/>
                    <a:pt x="459" y="14"/>
                    <a:pt x="459" y="18"/>
                  </a:cubicBezTo>
                  <a:close/>
                  <a:moveTo>
                    <a:pt x="17" y="117"/>
                  </a:moveTo>
                  <a:cubicBezTo>
                    <a:pt x="11" y="117"/>
                    <a:pt x="0" y="125"/>
                    <a:pt x="0" y="125"/>
                  </a:cubicBezTo>
                  <a:cubicBezTo>
                    <a:pt x="5" y="133"/>
                    <a:pt x="5" y="133"/>
                    <a:pt x="5" y="133"/>
                  </a:cubicBezTo>
                  <a:cubicBezTo>
                    <a:pt x="21" y="123"/>
                    <a:pt x="21" y="123"/>
                    <a:pt x="21" y="123"/>
                  </a:cubicBezTo>
                  <a:cubicBezTo>
                    <a:pt x="21" y="123"/>
                    <a:pt x="23" y="117"/>
                    <a:pt x="17" y="117"/>
                  </a:cubicBezTo>
                  <a:close/>
                  <a:moveTo>
                    <a:pt x="355" y="388"/>
                  </a:moveTo>
                  <a:cubicBezTo>
                    <a:pt x="346" y="382"/>
                    <a:pt x="339" y="378"/>
                    <a:pt x="339" y="378"/>
                  </a:cubicBezTo>
                  <a:cubicBezTo>
                    <a:pt x="339" y="378"/>
                    <a:pt x="333" y="390"/>
                    <a:pt x="344" y="389"/>
                  </a:cubicBezTo>
                  <a:cubicBezTo>
                    <a:pt x="355" y="388"/>
                    <a:pt x="364" y="394"/>
                    <a:pt x="355" y="388"/>
                  </a:cubicBezTo>
                  <a:close/>
                  <a:moveTo>
                    <a:pt x="413" y="479"/>
                  </a:moveTo>
                  <a:cubicBezTo>
                    <a:pt x="409" y="469"/>
                    <a:pt x="409" y="469"/>
                    <a:pt x="409" y="469"/>
                  </a:cubicBezTo>
                  <a:cubicBezTo>
                    <a:pt x="394" y="465"/>
                    <a:pt x="394" y="465"/>
                    <a:pt x="394" y="465"/>
                  </a:cubicBezTo>
                  <a:cubicBezTo>
                    <a:pt x="384" y="466"/>
                    <a:pt x="393" y="490"/>
                    <a:pt x="393" y="490"/>
                  </a:cubicBezTo>
                  <a:cubicBezTo>
                    <a:pt x="413" y="490"/>
                    <a:pt x="413" y="490"/>
                    <a:pt x="413" y="490"/>
                  </a:cubicBezTo>
                  <a:cubicBezTo>
                    <a:pt x="422" y="494"/>
                    <a:pt x="422" y="494"/>
                    <a:pt x="422" y="494"/>
                  </a:cubicBezTo>
                  <a:cubicBezTo>
                    <a:pt x="427" y="485"/>
                    <a:pt x="427" y="485"/>
                    <a:pt x="427" y="485"/>
                  </a:cubicBezTo>
                  <a:cubicBezTo>
                    <a:pt x="425" y="480"/>
                    <a:pt x="425" y="480"/>
                    <a:pt x="425" y="480"/>
                  </a:cubicBezTo>
                  <a:lnTo>
                    <a:pt x="413" y="479"/>
                  </a:lnTo>
                  <a:close/>
                  <a:moveTo>
                    <a:pt x="448" y="462"/>
                  </a:moveTo>
                  <a:cubicBezTo>
                    <a:pt x="448" y="462"/>
                    <a:pt x="454" y="467"/>
                    <a:pt x="454" y="465"/>
                  </a:cubicBezTo>
                  <a:cubicBezTo>
                    <a:pt x="454" y="462"/>
                    <a:pt x="454" y="462"/>
                    <a:pt x="448" y="462"/>
                  </a:cubicBezTo>
                  <a:close/>
                  <a:moveTo>
                    <a:pt x="467" y="479"/>
                  </a:moveTo>
                  <a:cubicBezTo>
                    <a:pt x="467" y="479"/>
                    <a:pt x="473" y="479"/>
                    <a:pt x="473" y="476"/>
                  </a:cubicBezTo>
                  <a:cubicBezTo>
                    <a:pt x="473" y="473"/>
                    <a:pt x="467" y="479"/>
                    <a:pt x="467" y="479"/>
                  </a:cubicBezTo>
                  <a:close/>
                  <a:moveTo>
                    <a:pt x="55" y="259"/>
                  </a:moveTo>
                  <a:cubicBezTo>
                    <a:pt x="58" y="258"/>
                    <a:pt x="53" y="251"/>
                    <a:pt x="53" y="251"/>
                  </a:cubicBezTo>
                  <a:cubicBezTo>
                    <a:pt x="53" y="251"/>
                    <a:pt x="52" y="260"/>
                    <a:pt x="55" y="259"/>
                  </a:cubicBezTo>
                  <a:close/>
                  <a:moveTo>
                    <a:pt x="36" y="144"/>
                  </a:moveTo>
                  <a:cubicBezTo>
                    <a:pt x="41" y="150"/>
                    <a:pt x="40" y="142"/>
                    <a:pt x="40" y="142"/>
                  </a:cubicBezTo>
                  <a:cubicBezTo>
                    <a:pt x="40" y="142"/>
                    <a:pt x="31" y="139"/>
                    <a:pt x="36" y="144"/>
                  </a:cubicBezTo>
                  <a:close/>
                  <a:moveTo>
                    <a:pt x="56" y="163"/>
                  </a:moveTo>
                  <a:cubicBezTo>
                    <a:pt x="56" y="163"/>
                    <a:pt x="64" y="161"/>
                    <a:pt x="59" y="156"/>
                  </a:cubicBezTo>
                  <a:cubicBezTo>
                    <a:pt x="54" y="152"/>
                    <a:pt x="56" y="163"/>
                    <a:pt x="56" y="163"/>
                  </a:cubicBezTo>
                  <a:close/>
                  <a:moveTo>
                    <a:pt x="247" y="36"/>
                  </a:moveTo>
                  <a:cubicBezTo>
                    <a:pt x="242" y="39"/>
                    <a:pt x="242" y="39"/>
                    <a:pt x="242" y="39"/>
                  </a:cubicBezTo>
                  <a:cubicBezTo>
                    <a:pt x="246" y="42"/>
                    <a:pt x="246" y="42"/>
                    <a:pt x="246" y="42"/>
                  </a:cubicBezTo>
                  <a:lnTo>
                    <a:pt x="247" y="36"/>
                  </a:lnTo>
                  <a:close/>
                  <a:moveTo>
                    <a:pt x="872" y="188"/>
                  </a:moveTo>
                  <a:cubicBezTo>
                    <a:pt x="874" y="165"/>
                    <a:pt x="874" y="165"/>
                    <a:pt x="874" y="165"/>
                  </a:cubicBezTo>
                  <a:cubicBezTo>
                    <a:pt x="865" y="163"/>
                    <a:pt x="853" y="157"/>
                    <a:pt x="835" y="149"/>
                  </a:cubicBezTo>
                  <a:cubicBezTo>
                    <a:pt x="786" y="217"/>
                    <a:pt x="776" y="124"/>
                    <a:pt x="776" y="124"/>
                  </a:cubicBezTo>
                  <a:cubicBezTo>
                    <a:pt x="757" y="79"/>
                    <a:pt x="757" y="79"/>
                    <a:pt x="757" y="79"/>
                  </a:cubicBezTo>
                  <a:cubicBezTo>
                    <a:pt x="750" y="81"/>
                    <a:pt x="742" y="83"/>
                    <a:pt x="742" y="83"/>
                  </a:cubicBezTo>
                  <a:cubicBezTo>
                    <a:pt x="742" y="83"/>
                    <a:pt x="722" y="85"/>
                    <a:pt x="710" y="84"/>
                  </a:cubicBezTo>
                  <a:cubicBezTo>
                    <a:pt x="698" y="83"/>
                    <a:pt x="705" y="58"/>
                    <a:pt x="705" y="58"/>
                  </a:cubicBezTo>
                  <a:cubicBezTo>
                    <a:pt x="692" y="58"/>
                    <a:pt x="664" y="78"/>
                    <a:pt x="664" y="78"/>
                  </a:cubicBezTo>
                  <a:cubicBezTo>
                    <a:pt x="647" y="76"/>
                    <a:pt x="647" y="76"/>
                    <a:pt x="647" y="76"/>
                  </a:cubicBezTo>
                  <a:cubicBezTo>
                    <a:pt x="647" y="76"/>
                    <a:pt x="636" y="91"/>
                    <a:pt x="628" y="92"/>
                  </a:cubicBezTo>
                  <a:cubicBezTo>
                    <a:pt x="620" y="93"/>
                    <a:pt x="616" y="75"/>
                    <a:pt x="616" y="75"/>
                  </a:cubicBezTo>
                  <a:cubicBezTo>
                    <a:pt x="601" y="80"/>
                    <a:pt x="601" y="80"/>
                    <a:pt x="601" y="80"/>
                  </a:cubicBezTo>
                  <a:cubicBezTo>
                    <a:pt x="601" y="80"/>
                    <a:pt x="609" y="67"/>
                    <a:pt x="606" y="63"/>
                  </a:cubicBezTo>
                  <a:cubicBezTo>
                    <a:pt x="603" y="59"/>
                    <a:pt x="584" y="75"/>
                    <a:pt x="584" y="75"/>
                  </a:cubicBezTo>
                  <a:cubicBezTo>
                    <a:pt x="571" y="72"/>
                    <a:pt x="571" y="72"/>
                    <a:pt x="571" y="72"/>
                  </a:cubicBezTo>
                  <a:cubicBezTo>
                    <a:pt x="570" y="80"/>
                    <a:pt x="570" y="80"/>
                    <a:pt x="570" y="80"/>
                  </a:cubicBezTo>
                  <a:cubicBezTo>
                    <a:pt x="533" y="109"/>
                    <a:pt x="533" y="109"/>
                    <a:pt x="533" y="109"/>
                  </a:cubicBezTo>
                  <a:cubicBezTo>
                    <a:pt x="529" y="106"/>
                    <a:pt x="529" y="106"/>
                    <a:pt x="529" y="106"/>
                  </a:cubicBezTo>
                  <a:cubicBezTo>
                    <a:pt x="526" y="116"/>
                    <a:pt x="526" y="116"/>
                    <a:pt x="526" y="116"/>
                  </a:cubicBezTo>
                  <a:cubicBezTo>
                    <a:pt x="516" y="96"/>
                    <a:pt x="516" y="96"/>
                    <a:pt x="516" y="96"/>
                  </a:cubicBezTo>
                  <a:cubicBezTo>
                    <a:pt x="499" y="88"/>
                    <a:pt x="499" y="88"/>
                    <a:pt x="499" y="88"/>
                  </a:cubicBezTo>
                  <a:cubicBezTo>
                    <a:pt x="496" y="71"/>
                    <a:pt x="496" y="71"/>
                    <a:pt x="496" y="71"/>
                  </a:cubicBezTo>
                  <a:cubicBezTo>
                    <a:pt x="473" y="49"/>
                    <a:pt x="473" y="49"/>
                    <a:pt x="473" y="49"/>
                  </a:cubicBezTo>
                  <a:cubicBezTo>
                    <a:pt x="473" y="36"/>
                    <a:pt x="473" y="36"/>
                    <a:pt x="473" y="36"/>
                  </a:cubicBezTo>
                  <a:cubicBezTo>
                    <a:pt x="473" y="36"/>
                    <a:pt x="459" y="35"/>
                    <a:pt x="458" y="31"/>
                  </a:cubicBezTo>
                  <a:cubicBezTo>
                    <a:pt x="457" y="29"/>
                    <a:pt x="458" y="22"/>
                    <a:pt x="459" y="18"/>
                  </a:cubicBezTo>
                  <a:cubicBezTo>
                    <a:pt x="455" y="21"/>
                    <a:pt x="444" y="18"/>
                    <a:pt x="444" y="18"/>
                  </a:cubicBezTo>
                  <a:cubicBezTo>
                    <a:pt x="446" y="0"/>
                    <a:pt x="446" y="0"/>
                    <a:pt x="446" y="0"/>
                  </a:cubicBezTo>
                  <a:cubicBezTo>
                    <a:pt x="426" y="10"/>
                    <a:pt x="426" y="10"/>
                    <a:pt x="426" y="10"/>
                  </a:cubicBezTo>
                  <a:cubicBezTo>
                    <a:pt x="415" y="4"/>
                    <a:pt x="415" y="4"/>
                    <a:pt x="415" y="4"/>
                  </a:cubicBezTo>
                  <a:cubicBezTo>
                    <a:pt x="415" y="4"/>
                    <a:pt x="411" y="10"/>
                    <a:pt x="401" y="13"/>
                  </a:cubicBezTo>
                  <a:cubicBezTo>
                    <a:pt x="387" y="15"/>
                    <a:pt x="372" y="26"/>
                    <a:pt x="372" y="26"/>
                  </a:cubicBezTo>
                  <a:cubicBezTo>
                    <a:pt x="371" y="19"/>
                    <a:pt x="356" y="12"/>
                    <a:pt x="351" y="12"/>
                  </a:cubicBezTo>
                  <a:cubicBezTo>
                    <a:pt x="346" y="12"/>
                    <a:pt x="347" y="22"/>
                    <a:pt x="347" y="22"/>
                  </a:cubicBezTo>
                  <a:cubicBezTo>
                    <a:pt x="341" y="25"/>
                    <a:pt x="341" y="25"/>
                    <a:pt x="341" y="25"/>
                  </a:cubicBezTo>
                  <a:cubicBezTo>
                    <a:pt x="347" y="40"/>
                    <a:pt x="347" y="40"/>
                    <a:pt x="347" y="40"/>
                  </a:cubicBezTo>
                  <a:cubicBezTo>
                    <a:pt x="347" y="40"/>
                    <a:pt x="336" y="60"/>
                    <a:pt x="333" y="59"/>
                  </a:cubicBezTo>
                  <a:cubicBezTo>
                    <a:pt x="300" y="51"/>
                    <a:pt x="285" y="50"/>
                    <a:pt x="282" y="56"/>
                  </a:cubicBezTo>
                  <a:cubicBezTo>
                    <a:pt x="279" y="62"/>
                    <a:pt x="280" y="72"/>
                    <a:pt x="277" y="72"/>
                  </a:cubicBezTo>
                  <a:cubicBezTo>
                    <a:pt x="274" y="72"/>
                    <a:pt x="268" y="58"/>
                    <a:pt x="268" y="58"/>
                  </a:cubicBezTo>
                  <a:cubicBezTo>
                    <a:pt x="258" y="63"/>
                    <a:pt x="258" y="63"/>
                    <a:pt x="258" y="63"/>
                  </a:cubicBezTo>
                  <a:cubicBezTo>
                    <a:pt x="258" y="63"/>
                    <a:pt x="251" y="44"/>
                    <a:pt x="245" y="47"/>
                  </a:cubicBezTo>
                  <a:cubicBezTo>
                    <a:pt x="239" y="50"/>
                    <a:pt x="237" y="58"/>
                    <a:pt x="237" y="58"/>
                  </a:cubicBezTo>
                  <a:cubicBezTo>
                    <a:pt x="237" y="58"/>
                    <a:pt x="226" y="55"/>
                    <a:pt x="217" y="54"/>
                  </a:cubicBezTo>
                  <a:cubicBezTo>
                    <a:pt x="208" y="53"/>
                    <a:pt x="200" y="64"/>
                    <a:pt x="200" y="64"/>
                  </a:cubicBezTo>
                  <a:cubicBezTo>
                    <a:pt x="186" y="70"/>
                    <a:pt x="186" y="70"/>
                    <a:pt x="186" y="70"/>
                  </a:cubicBezTo>
                  <a:cubicBezTo>
                    <a:pt x="173" y="60"/>
                    <a:pt x="173" y="60"/>
                    <a:pt x="173" y="60"/>
                  </a:cubicBezTo>
                  <a:cubicBezTo>
                    <a:pt x="173" y="60"/>
                    <a:pt x="168" y="65"/>
                    <a:pt x="161" y="69"/>
                  </a:cubicBezTo>
                  <a:cubicBezTo>
                    <a:pt x="154" y="73"/>
                    <a:pt x="147" y="76"/>
                    <a:pt x="147" y="76"/>
                  </a:cubicBezTo>
                  <a:cubicBezTo>
                    <a:pt x="147" y="76"/>
                    <a:pt x="131" y="70"/>
                    <a:pt x="126" y="70"/>
                  </a:cubicBezTo>
                  <a:cubicBezTo>
                    <a:pt x="121" y="70"/>
                    <a:pt x="134" y="84"/>
                    <a:pt x="134" y="84"/>
                  </a:cubicBezTo>
                  <a:cubicBezTo>
                    <a:pt x="115" y="80"/>
                    <a:pt x="115" y="80"/>
                    <a:pt x="115" y="80"/>
                  </a:cubicBezTo>
                  <a:cubicBezTo>
                    <a:pt x="115" y="85"/>
                    <a:pt x="115" y="85"/>
                    <a:pt x="115" y="85"/>
                  </a:cubicBezTo>
                  <a:cubicBezTo>
                    <a:pt x="105" y="87"/>
                    <a:pt x="105" y="87"/>
                    <a:pt x="105" y="87"/>
                  </a:cubicBezTo>
                  <a:cubicBezTo>
                    <a:pt x="105" y="87"/>
                    <a:pt x="96" y="98"/>
                    <a:pt x="84" y="106"/>
                  </a:cubicBezTo>
                  <a:cubicBezTo>
                    <a:pt x="72" y="114"/>
                    <a:pt x="86" y="121"/>
                    <a:pt x="86" y="121"/>
                  </a:cubicBezTo>
                  <a:cubicBezTo>
                    <a:pt x="86" y="121"/>
                    <a:pt x="76" y="131"/>
                    <a:pt x="75" y="139"/>
                  </a:cubicBezTo>
                  <a:cubicBezTo>
                    <a:pt x="74" y="147"/>
                    <a:pt x="79" y="148"/>
                    <a:pt x="79" y="148"/>
                  </a:cubicBezTo>
                  <a:cubicBezTo>
                    <a:pt x="79" y="148"/>
                    <a:pt x="74" y="150"/>
                    <a:pt x="75" y="160"/>
                  </a:cubicBezTo>
                  <a:cubicBezTo>
                    <a:pt x="76" y="170"/>
                    <a:pt x="86" y="164"/>
                    <a:pt x="86" y="164"/>
                  </a:cubicBezTo>
                  <a:cubicBezTo>
                    <a:pt x="98" y="154"/>
                    <a:pt x="98" y="154"/>
                    <a:pt x="98" y="154"/>
                  </a:cubicBezTo>
                  <a:cubicBezTo>
                    <a:pt x="107" y="157"/>
                    <a:pt x="107" y="157"/>
                    <a:pt x="107" y="157"/>
                  </a:cubicBezTo>
                  <a:cubicBezTo>
                    <a:pt x="107" y="157"/>
                    <a:pt x="112" y="161"/>
                    <a:pt x="122" y="156"/>
                  </a:cubicBezTo>
                  <a:cubicBezTo>
                    <a:pt x="132" y="151"/>
                    <a:pt x="156" y="145"/>
                    <a:pt x="156" y="145"/>
                  </a:cubicBezTo>
                  <a:cubicBezTo>
                    <a:pt x="145" y="163"/>
                    <a:pt x="145" y="163"/>
                    <a:pt x="145" y="163"/>
                  </a:cubicBezTo>
                  <a:cubicBezTo>
                    <a:pt x="157" y="168"/>
                    <a:pt x="157" y="168"/>
                    <a:pt x="157" y="168"/>
                  </a:cubicBezTo>
                  <a:cubicBezTo>
                    <a:pt x="172" y="160"/>
                    <a:pt x="172" y="160"/>
                    <a:pt x="172" y="160"/>
                  </a:cubicBezTo>
                  <a:cubicBezTo>
                    <a:pt x="174" y="166"/>
                    <a:pt x="186" y="174"/>
                    <a:pt x="183" y="174"/>
                  </a:cubicBezTo>
                  <a:cubicBezTo>
                    <a:pt x="180" y="174"/>
                    <a:pt x="166" y="183"/>
                    <a:pt x="166" y="183"/>
                  </a:cubicBezTo>
                  <a:cubicBezTo>
                    <a:pt x="155" y="185"/>
                    <a:pt x="155" y="185"/>
                    <a:pt x="155" y="185"/>
                  </a:cubicBezTo>
                  <a:cubicBezTo>
                    <a:pt x="145" y="173"/>
                    <a:pt x="145" y="173"/>
                    <a:pt x="145" y="173"/>
                  </a:cubicBezTo>
                  <a:cubicBezTo>
                    <a:pt x="137" y="178"/>
                    <a:pt x="137" y="178"/>
                    <a:pt x="137" y="178"/>
                  </a:cubicBezTo>
                  <a:cubicBezTo>
                    <a:pt x="122" y="172"/>
                    <a:pt x="122" y="172"/>
                    <a:pt x="122" y="172"/>
                  </a:cubicBezTo>
                  <a:cubicBezTo>
                    <a:pt x="109" y="181"/>
                    <a:pt x="109" y="181"/>
                    <a:pt x="109" y="181"/>
                  </a:cubicBezTo>
                  <a:cubicBezTo>
                    <a:pt x="120" y="189"/>
                    <a:pt x="120" y="189"/>
                    <a:pt x="120" y="189"/>
                  </a:cubicBezTo>
                  <a:cubicBezTo>
                    <a:pt x="120" y="189"/>
                    <a:pt x="124" y="208"/>
                    <a:pt x="125" y="211"/>
                  </a:cubicBezTo>
                  <a:cubicBezTo>
                    <a:pt x="126" y="214"/>
                    <a:pt x="130" y="192"/>
                    <a:pt x="141" y="191"/>
                  </a:cubicBezTo>
                  <a:cubicBezTo>
                    <a:pt x="152" y="190"/>
                    <a:pt x="135" y="190"/>
                    <a:pt x="164" y="204"/>
                  </a:cubicBezTo>
                  <a:cubicBezTo>
                    <a:pt x="193" y="218"/>
                    <a:pt x="171" y="237"/>
                    <a:pt x="171" y="237"/>
                  </a:cubicBezTo>
                  <a:cubicBezTo>
                    <a:pt x="144" y="227"/>
                    <a:pt x="79" y="254"/>
                    <a:pt x="79" y="254"/>
                  </a:cubicBezTo>
                  <a:cubicBezTo>
                    <a:pt x="139" y="267"/>
                    <a:pt x="141" y="276"/>
                    <a:pt x="153" y="293"/>
                  </a:cubicBezTo>
                  <a:cubicBezTo>
                    <a:pt x="165" y="310"/>
                    <a:pt x="156" y="329"/>
                    <a:pt x="156" y="329"/>
                  </a:cubicBezTo>
                  <a:cubicBezTo>
                    <a:pt x="197" y="333"/>
                    <a:pt x="197" y="333"/>
                    <a:pt x="197" y="333"/>
                  </a:cubicBezTo>
                  <a:cubicBezTo>
                    <a:pt x="197" y="333"/>
                    <a:pt x="207" y="310"/>
                    <a:pt x="214" y="310"/>
                  </a:cubicBezTo>
                  <a:cubicBezTo>
                    <a:pt x="221" y="310"/>
                    <a:pt x="231" y="316"/>
                    <a:pt x="235" y="316"/>
                  </a:cubicBezTo>
                  <a:cubicBezTo>
                    <a:pt x="239" y="316"/>
                    <a:pt x="249" y="301"/>
                    <a:pt x="249" y="301"/>
                  </a:cubicBezTo>
                  <a:cubicBezTo>
                    <a:pt x="268" y="334"/>
                    <a:pt x="268" y="334"/>
                    <a:pt x="268" y="334"/>
                  </a:cubicBezTo>
                  <a:cubicBezTo>
                    <a:pt x="294" y="333"/>
                    <a:pt x="294" y="333"/>
                    <a:pt x="294" y="333"/>
                  </a:cubicBezTo>
                  <a:cubicBezTo>
                    <a:pt x="296" y="338"/>
                    <a:pt x="335" y="344"/>
                    <a:pt x="335" y="344"/>
                  </a:cubicBezTo>
                  <a:cubicBezTo>
                    <a:pt x="335" y="344"/>
                    <a:pt x="355" y="365"/>
                    <a:pt x="358" y="365"/>
                  </a:cubicBezTo>
                  <a:cubicBezTo>
                    <a:pt x="361" y="365"/>
                    <a:pt x="384" y="364"/>
                    <a:pt x="384" y="364"/>
                  </a:cubicBezTo>
                  <a:cubicBezTo>
                    <a:pt x="414" y="401"/>
                    <a:pt x="414" y="401"/>
                    <a:pt x="414" y="401"/>
                  </a:cubicBezTo>
                  <a:cubicBezTo>
                    <a:pt x="410" y="421"/>
                    <a:pt x="410" y="421"/>
                    <a:pt x="410" y="421"/>
                  </a:cubicBezTo>
                  <a:cubicBezTo>
                    <a:pt x="414" y="432"/>
                    <a:pt x="414" y="432"/>
                    <a:pt x="414" y="432"/>
                  </a:cubicBezTo>
                  <a:cubicBezTo>
                    <a:pt x="414" y="432"/>
                    <a:pt x="426" y="438"/>
                    <a:pt x="422" y="432"/>
                  </a:cubicBezTo>
                  <a:cubicBezTo>
                    <a:pt x="418" y="426"/>
                    <a:pt x="421" y="398"/>
                    <a:pt x="421" y="398"/>
                  </a:cubicBezTo>
                  <a:cubicBezTo>
                    <a:pt x="425" y="403"/>
                    <a:pt x="425" y="403"/>
                    <a:pt x="425" y="403"/>
                  </a:cubicBezTo>
                  <a:cubicBezTo>
                    <a:pt x="442" y="399"/>
                    <a:pt x="442" y="399"/>
                    <a:pt x="442" y="399"/>
                  </a:cubicBezTo>
                  <a:cubicBezTo>
                    <a:pt x="452" y="403"/>
                    <a:pt x="452" y="403"/>
                    <a:pt x="452" y="403"/>
                  </a:cubicBezTo>
                  <a:cubicBezTo>
                    <a:pt x="460" y="391"/>
                    <a:pt x="460" y="391"/>
                    <a:pt x="460" y="391"/>
                  </a:cubicBezTo>
                  <a:cubicBezTo>
                    <a:pt x="466" y="399"/>
                    <a:pt x="466" y="399"/>
                    <a:pt x="466" y="399"/>
                  </a:cubicBezTo>
                  <a:cubicBezTo>
                    <a:pt x="481" y="388"/>
                    <a:pt x="481" y="388"/>
                    <a:pt x="481" y="388"/>
                  </a:cubicBezTo>
                  <a:cubicBezTo>
                    <a:pt x="481" y="388"/>
                    <a:pt x="518" y="389"/>
                    <a:pt x="522" y="390"/>
                  </a:cubicBezTo>
                  <a:cubicBezTo>
                    <a:pt x="517" y="392"/>
                    <a:pt x="502" y="416"/>
                    <a:pt x="502" y="416"/>
                  </a:cubicBezTo>
                  <a:cubicBezTo>
                    <a:pt x="502" y="416"/>
                    <a:pt x="503" y="411"/>
                    <a:pt x="495" y="411"/>
                  </a:cubicBezTo>
                  <a:cubicBezTo>
                    <a:pt x="487" y="411"/>
                    <a:pt x="462" y="407"/>
                    <a:pt x="462" y="407"/>
                  </a:cubicBezTo>
                  <a:cubicBezTo>
                    <a:pt x="487" y="429"/>
                    <a:pt x="487" y="429"/>
                    <a:pt x="487" y="429"/>
                  </a:cubicBezTo>
                  <a:cubicBezTo>
                    <a:pt x="505" y="422"/>
                    <a:pt x="505" y="422"/>
                    <a:pt x="505" y="422"/>
                  </a:cubicBezTo>
                  <a:cubicBezTo>
                    <a:pt x="513" y="428"/>
                    <a:pt x="513" y="428"/>
                    <a:pt x="513" y="428"/>
                  </a:cubicBezTo>
                  <a:cubicBezTo>
                    <a:pt x="517" y="419"/>
                    <a:pt x="517" y="419"/>
                    <a:pt x="517" y="419"/>
                  </a:cubicBezTo>
                  <a:cubicBezTo>
                    <a:pt x="538" y="427"/>
                    <a:pt x="538" y="427"/>
                    <a:pt x="538" y="427"/>
                  </a:cubicBezTo>
                  <a:cubicBezTo>
                    <a:pt x="538" y="427"/>
                    <a:pt x="548" y="420"/>
                    <a:pt x="555" y="424"/>
                  </a:cubicBezTo>
                  <a:cubicBezTo>
                    <a:pt x="562" y="428"/>
                    <a:pt x="557" y="444"/>
                    <a:pt x="557" y="444"/>
                  </a:cubicBezTo>
                  <a:cubicBezTo>
                    <a:pt x="563" y="444"/>
                    <a:pt x="563" y="444"/>
                    <a:pt x="563" y="444"/>
                  </a:cubicBezTo>
                  <a:cubicBezTo>
                    <a:pt x="566" y="454"/>
                    <a:pt x="566" y="454"/>
                    <a:pt x="566" y="454"/>
                  </a:cubicBezTo>
                  <a:cubicBezTo>
                    <a:pt x="555" y="452"/>
                    <a:pt x="555" y="452"/>
                    <a:pt x="555" y="452"/>
                  </a:cubicBezTo>
                  <a:cubicBezTo>
                    <a:pt x="545" y="463"/>
                    <a:pt x="545" y="463"/>
                    <a:pt x="545" y="463"/>
                  </a:cubicBezTo>
                  <a:cubicBezTo>
                    <a:pt x="554" y="487"/>
                    <a:pt x="554" y="487"/>
                    <a:pt x="554" y="487"/>
                  </a:cubicBezTo>
                  <a:cubicBezTo>
                    <a:pt x="567" y="476"/>
                    <a:pt x="567" y="476"/>
                    <a:pt x="567" y="476"/>
                  </a:cubicBezTo>
                  <a:cubicBezTo>
                    <a:pt x="575" y="481"/>
                    <a:pt x="575" y="481"/>
                    <a:pt x="575" y="481"/>
                  </a:cubicBezTo>
                  <a:cubicBezTo>
                    <a:pt x="595" y="481"/>
                    <a:pt x="595" y="481"/>
                    <a:pt x="595" y="481"/>
                  </a:cubicBezTo>
                  <a:cubicBezTo>
                    <a:pt x="596" y="469"/>
                    <a:pt x="596" y="469"/>
                    <a:pt x="596" y="469"/>
                  </a:cubicBezTo>
                  <a:cubicBezTo>
                    <a:pt x="596" y="469"/>
                    <a:pt x="635" y="496"/>
                    <a:pt x="642" y="436"/>
                  </a:cubicBezTo>
                  <a:cubicBezTo>
                    <a:pt x="666" y="409"/>
                    <a:pt x="666" y="409"/>
                    <a:pt x="666" y="409"/>
                  </a:cubicBezTo>
                  <a:cubicBezTo>
                    <a:pt x="674" y="418"/>
                    <a:pt x="674" y="418"/>
                    <a:pt x="674" y="418"/>
                  </a:cubicBezTo>
                  <a:cubicBezTo>
                    <a:pt x="674" y="418"/>
                    <a:pt x="706" y="416"/>
                    <a:pt x="734" y="410"/>
                  </a:cubicBezTo>
                  <a:cubicBezTo>
                    <a:pt x="752" y="389"/>
                    <a:pt x="752" y="389"/>
                    <a:pt x="752" y="389"/>
                  </a:cubicBezTo>
                  <a:cubicBezTo>
                    <a:pt x="778" y="385"/>
                    <a:pt x="778" y="385"/>
                    <a:pt x="778" y="385"/>
                  </a:cubicBezTo>
                  <a:cubicBezTo>
                    <a:pt x="780" y="370"/>
                    <a:pt x="780" y="370"/>
                    <a:pt x="780" y="370"/>
                  </a:cubicBezTo>
                  <a:cubicBezTo>
                    <a:pt x="796" y="377"/>
                    <a:pt x="796" y="377"/>
                    <a:pt x="796" y="377"/>
                  </a:cubicBezTo>
                  <a:cubicBezTo>
                    <a:pt x="799" y="386"/>
                    <a:pt x="799" y="386"/>
                    <a:pt x="799" y="386"/>
                  </a:cubicBezTo>
                  <a:cubicBezTo>
                    <a:pt x="830" y="392"/>
                    <a:pt x="830" y="392"/>
                    <a:pt x="830" y="392"/>
                  </a:cubicBezTo>
                  <a:cubicBezTo>
                    <a:pt x="830" y="392"/>
                    <a:pt x="832" y="378"/>
                    <a:pt x="838" y="366"/>
                  </a:cubicBezTo>
                  <a:cubicBezTo>
                    <a:pt x="843" y="354"/>
                    <a:pt x="848" y="328"/>
                    <a:pt x="870" y="328"/>
                  </a:cubicBezTo>
                  <a:cubicBezTo>
                    <a:pt x="884" y="316"/>
                    <a:pt x="875" y="334"/>
                    <a:pt x="867" y="242"/>
                  </a:cubicBezTo>
                  <a:cubicBezTo>
                    <a:pt x="875" y="214"/>
                    <a:pt x="879" y="220"/>
                    <a:pt x="879" y="220"/>
                  </a:cubicBezTo>
                  <a:lnTo>
                    <a:pt x="872" y="18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2" name="Pays-de-la-Loire" descr="© INSCALE GmbH, 05.05.2010&#10;http://www.presentationload.com/">
              <a:extLst>
                <a:ext uri="{FF2B5EF4-FFF2-40B4-BE49-F238E27FC236}">
                  <a16:creationId xmlns:a16="http://schemas.microsoft.com/office/drawing/2014/main" id="{85508898-E58C-4F8D-BC43-AB4DB22941C3}"/>
                </a:ext>
              </a:extLst>
            </p:cNvPr>
            <p:cNvSpPr>
              <a:spLocks noEditPoints="1"/>
            </p:cNvSpPr>
            <p:nvPr/>
          </p:nvSpPr>
          <p:spPr bwMode="gray">
            <a:xfrm>
              <a:off x="644" y="1006"/>
              <a:ext cx="797" cy="790"/>
            </a:xfrm>
            <a:custGeom>
              <a:avLst/>
              <a:gdLst/>
              <a:ahLst/>
              <a:cxnLst>
                <a:cxn ang="0">
                  <a:pos x="16" y="534"/>
                </a:cxn>
                <a:cxn ang="0">
                  <a:pos x="51" y="448"/>
                </a:cxn>
                <a:cxn ang="0">
                  <a:pos x="219" y="694"/>
                </a:cxn>
                <a:cxn ang="0">
                  <a:pos x="191" y="687"/>
                </a:cxn>
                <a:cxn ang="0">
                  <a:pos x="211" y="706"/>
                </a:cxn>
                <a:cxn ang="0">
                  <a:pos x="222" y="703"/>
                </a:cxn>
                <a:cxn ang="0">
                  <a:pos x="707" y="141"/>
                </a:cxn>
                <a:cxn ang="0">
                  <a:pos x="651" y="103"/>
                </a:cxn>
                <a:cxn ang="0">
                  <a:pos x="541" y="75"/>
                </a:cxn>
                <a:cxn ang="0">
                  <a:pos x="521" y="24"/>
                </a:cxn>
                <a:cxn ang="0">
                  <a:pos x="482" y="25"/>
                </a:cxn>
                <a:cxn ang="0">
                  <a:pos x="439" y="31"/>
                </a:cxn>
                <a:cxn ang="0">
                  <a:pos x="391" y="47"/>
                </a:cxn>
                <a:cxn ang="0">
                  <a:pos x="321" y="28"/>
                </a:cxn>
                <a:cxn ang="0">
                  <a:pos x="314" y="105"/>
                </a:cxn>
                <a:cxn ang="0">
                  <a:pos x="277" y="255"/>
                </a:cxn>
                <a:cxn ang="0">
                  <a:pos x="227" y="233"/>
                </a:cxn>
                <a:cxn ang="0">
                  <a:pos x="181" y="273"/>
                </a:cxn>
                <a:cxn ang="0">
                  <a:pos x="89" y="299"/>
                </a:cxn>
                <a:cxn ang="0">
                  <a:pos x="22" y="344"/>
                </a:cxn>
                <a:cxn ang="0">
                  <a:pos x="3" y="354"/>
                </a:cxn>
                <a:cxn ang="0">
                  <a:pos x="24" y="359"/>
                </a:cxn>
                <a:cxn ang="0">
                  <a:pos x="105" y="349"/>
                </a:cxn>
                <a:cxn ang="0">
                  <a:pos x="67" y="376"/>
                </a:cxn>
                <a:cxn ang="0">
                  <a:pos x="52" y="399"/>
                </a:cxn>
                <a:cxn ang="0">
                  <a:pos x="104" y="444"/>
                </a:cxn>
                <a:cxn ang="0">
                  <a:pos x="72" y="483"/>
                </a:cxn>
                <a:cxn ang="0">
                  <a:pos x="55" y="465"/>
                </a:cxn>
                <a:cxn ang="0">
                  <a:pos x="72" y="511"/>
                </a:cxn>
                <a:cxn ang="0">
                  <a:pos x="135" y="611"/>
                </a:cxn>
                <a:cxn ang="0">
                  <a:pos x="210" y="658"/>
                </a:cxn>
                <a:cxn ang="0">
                  <a:pos x="251" y="669"/>
                </a:cxn>
                <a:cxn ang="0">
                  <a:pos x="287" y="680"/>
                </a:cxn>
                <a:cxn ang="0">
                  <a:pos x="289" y="723"/>
                </a:cxn>
                <a:cxn ang="0">
                  <a:pos x="337" y="729"/>
                </a:cxn>
                <a:cxn ang="0">
                  <a:pos x="385" y="728"/>
                </a:cxn>
                <a:cxn ang="0">
                  <a:pos x="389" y="707"/>
                </a:cxn>
                <a:cxn ang="0">
                  <a:pos x="394" y="664"/>
                </a:cxn>
                <a:cxn ang="0">
                  <a:pos x="386" y="605"/>
                </a:cxn>
                <a:cxn ang="0">
                  <a:pos x="353" y="548"/>
                </a:cxn>
                <a:cxn ang="0">
                  <a:pos x="378" y="511"/>
                </a:cxn>
                <a:cxn ang="0">
                  <a:pos x="434" y="488"/>
                </a:cxn>
                <a:cxn ang="0">
                  <a:pos x="502" y="480"/>
                </a:cxn>
                <a:cxn ang="0">
                  <a:pos x="514" y="483"/>
                </a:cxn>
                <a:cxn ang="0">
                  <a:pos x="549" y="461"/>
                </a:cxn>
                <a:cxn ang="0">
                  <a:pos x="585" y="359"/>
                </a:cxn>
                <a:cxn ang="0">
                  <a:pos x="615" y="320"/>
                </a:cxn>
                <a:cxn ang="0">
                  <a:pos x="674" y="299"/>
                </a:cxn>
                <a:cxn ang="0">
                  <a:pos x="717" y="229"/>
                </a:cxn>
                <a:cxn ang="0">
                  <a:pos x="722" y="192"/>
                </a:cxn>
                <a:cxn ang="0">
                  <a:pos x="725" y="157"/>
                </a:cxn>
                <a:cxn ang="0">
                  <a:pos x="719" y="140"/>
                </a:cxn>
              </a:cxnLst>
              <a:rect l="0" t="0" r="r" b="b"/>
              <a:pathLst>
                <a:path w="739" h="732">
                  <a:moveTo>
                    <a:pt x="16" y="534"/>
                  </a:moveTo>
                  <a:cubicBezTo>
                    <a:pt x="10" y="548"/>
                    <a:pt x="22" y="548"/>
                    <a:pt x="37" y="548"/>
                  </a:cubicBezTo>
                  <a:cubicBezTo>
                    <a:pt x="32" y="535"/>
                    <a:pt x="16" y="534"/>
                    <a:pt x="16" y="534"/>
                  </a:cubicBezTo>
                  <a:close/>
                  <a:moveTo>
                    <a:pt x="38" y="440"/>
                  </a:moveTo>
                  <a:cubicBezTo>
                    <a:pt x="36" y="461"/>
                    <a:pt x="44" y="460"/>
                    <a:pt x="47" y="462"/>
                  </a:cubicBezTo>
                  <a:cubicBezTo>
                    <a:pt x="50" y="464"/>
                    <a:pt x="51" y="458"/>
                    <a:pt x="51" y="448"/>
                  </a:cubicBezTo>
                  <a:cubicBezTo>
                    <a:pt x="51" y="438"/>
                    <a:pt x="38" y="440"/>
                    <a:pt x="38" y="440"/>
                  </a:cubicBezTo>
                  <a:close/>
                  <a:moveTo>
                    <a:pt x="222" y="703"/>
                  </a:moveTo>
                  <a:cubicBezTo>
                    <a:pt x="219" y="694"/>
                    <a:pt x="219" y="694"/>
                    <a:pt x="219" y="694"/>
                  </a:cubicBezTo>
                  <a:cubicBezTo>
                    <a:pt x="201" y="701"/>
                    <a:pt x="201" y="701"/>
                    <a:pt x="201" y="701"/>
                  </a:cubicBezTo>
                  <a:cubicBezTo>
                    <a:pt x="203" y="686"/>
                    <a:pt x="203" y="686"/>
                    <a:pt x="203" y="686"/>
                  </a:cubicBezTo>
                  <a:cubicBezTo>
                    <a:pt x="191" y="687"/>
                    <a:pt x="191" y="687"/>
                    <a:pt x="191" y="687"/>
                  </a:cubicBezTo>
                  <a:cubicBezTo>
                    <a:pt x="190" y="693"/>
                    <a:pt x="190" y="693"/>
                    <a:pt x="190" y="693"/>
                  </a:cubicBezTo>
                  <a:cubicBezTo>
                    <a:pt x="200" y="708"/>
                    <a:pt x="200" y="708"/>
                    <a:pt x="200" y="708"/>
                  </a:cubicBezTo>
                  <a:cubicBezTo>
                    <a:pt x="211" y="706"/>
                    <a:pt x="211" y="706"/>
                    <a:pt x="211" y="706"/>
                  </a:cubicBezTo>
                  <a:cubicBezTo>
                    <a:pt x="230" y="714"/>
                    <a:pt x="230" y="714"/>
                    <a:pt x="230" y="714"/>
                  </a:cubicBezTo>
                  <a:cubicBezTo>
                    <a:pt x="238" y="725"/>
                    <a:pt x="246" y="718"/>
                    <a:pt x="250" y="719"/>
                  </a:cubicBezTo>
                  <a:cubicBezTo>
                    <a:pt x="241" y="705"/>
                    <a:pt x="222" y="703"/>
                    <a:pt x="222" y="703"/>
                  </a:cubicBezTo>
                  <a:close/>
                  <a:moveTo>
                    <a:pt x="719" y="140"/>
                  </a:moveTo>
                  <a:cubicBezTo>
                    <a:pt x="719" y="139"/>
                    <a:pt x="719" y="139"/>
                    <a:pt x="719" y="139"/>
                  </a:cubicBezTo>
                  <a:cubicBezTo>
                    <a:pt x="707" y="141"/>
                    <a:pt x="707" y="141"/>
                    <a:pt x="707" y="141"/>
                  </a:cubicBezTo>
                  <a:cubicBezTo>
                    <a:pt x="683" y="117"/>
                    <a:pt x="683" y="117"/>
                    <a:pt x="683" y="117"/>
                  </a:cubicBezTo>
                  <a:cubicBezTo>
                    <a:pt x="658" y="123"/>
                    <a:pt x="658" y="123"/>
                    <a:pt x="658" y="123"/>
                  </a:cubicBezTo>
                  <a:cubicBezTo>
                    <a:pt x="651" y="103"/>
                    <a:pt x="651" y="103"/>
                    <a:pt x="651" y="103"/>
                  </a:cubicBezTo>
                  <a:cubicBezTo>
                    <a:pt x="651" y="103"/>
                    <a:pt x="638" y="96"/>
                    <a:pt x="631" y="91"/>
                  </a:cubicBezTo>
                  <a:cubicBezTo>
                    <a:pt x="623" y="0"/>
                    <a:pt x="561" y="75"/>
                    <a:pt x="561" y="75"/>
                  </a:cubicBezTo>
                  <a:cubicBezTo>
                    <a:pt x="541" y="75"/>
                    <a:pt x="541" y="75"/>
                    <a:pt x="541" y="75"/>
                  </a:cubicBezTo>
                  <a:cubicBezTo>
                    <a:pt x="537" y="48"/>
                    <a:pt x="537" y="48"/>
                    <a:pt x="537" y="48"/>
                  </a:cubicBezTo>
                  <a:cubicBezTo>
                    <a:pt x="537" y="48"/>
                    <a:pt x="531" y="49"/>
                    <a:pt x="519" y="49"/>
                  </a:cubicBezTo>
                  <a:cubicBezTo>
                    <a:pt x="507" y="49"/>
                    <a:pt x="521" y="24"/>
                    <a:pt x="521" y="24"/>
                  </a:cubicBezTo>
                  <a:cubicBezTo>
                    <a:pt x="521" y="24"/>
                    <a:pt x="498" y="15"/>
                    <a:pt x="494" y="15"/>
                  </a:cubicBezTo>
                  <a:cubicBezTo>
                    <a:pt x="490" y="15"/>
                    <a:pt x="498" y="20"/>
                    <a:pt x="494" y="28"/>
                  </a:cubicBezTo>
                  <a:cubicBezTo>
                    <a:pt x="490" y="36"/>
                    <a:pt x="482" y="25"/>
                    <a:pt x="482" y="25"/>
                  </a:cubicBezTo>
                  <a:cubicBezTo>
                    <a:pt x="467" y="37"/>
                    <a:pt x="467" y="37"/>
                    <a:pt x="467" y="37"/>
                  </a:cubicBezTo>
                  <a:cubicBezTo>
                    <a:pt x="461" y="32"/>
                    <a:pt x="461" y="32"/>
                    <a:pt x="461" y="32"/>
                  </a:cubicBezTo>
                  <a:cubicBezTo>
                    <a:pt x="461" y="32"/>
                    <a:pt x="446" y="31"/>
                    <a:pt x="439" y="31"/>
                  </a:cubicBezTo>
                  <a:cubicBezTo>
                    <a:pt x="434" y="45"/>
                    <a:pt x="411" y="45"/>
                    <a:pt x="411" y="45"/>
                  </a:cubicBezTo>
                  <a:cubicBezTo>
                    <a:pt x="407" y="36"/>
                    <a:pt x="407" y="36"/>
                    <a:pt x="407" y="36"/>
                  </a:cubicBezTo>
                  <a:cubicBezTo>
                    <a:pt x="407" y="36"/>
                    <a:pt x="391" y="37"/>
                    <a:pt x="391" y="47"/>
                  </a:cubicBezTo>
                  <a:cubicBezTo>
                    <a:pt x="391" y="56"/>
                    <a:pt x="366" y="32"/>
                    <a:pt x="366" y="32"/>
                  </a:cubicBezTo>
                  <a:cubicBezTo>
                    <a:pt x="366" y="32"/>
                    <a:pt x="353" y="28"/>
                    <a:pt x="343" y="23"/>
                  </a:cubicBezTo>
                  <a:cubicBezTo>
                    <a:pt x="338" y="30"/>
                    <a:pt x="331" y="31"/>
                    <a:pt x="321" y="28"/>
                  </a:cubicBezTo>
                  <a:cubicBezTo>
                    <a:pt x="319" y="51"/>
                    <a:pt x="319" y="51"/>
                    <a:pt x="319" y="51"/>
                  </a:cubicBezTo>
                  <a:cubicBezTo>
                    <a:pt x="326" y="83"/>
                    <a:pt x="326" y="83"/>
                    <a:pt x="326" y="83"/>
                  </a:cubicBezTo>
                  <a:cubicBezTo>
                    <a:pt x="326" y="83"/>
                    <a:pt x="322" y="77"/>
                    <a:pt x="314" y="105"/>
                  </a:cubicBezTo>
                  <a:cubicBezTo>
                    <a:pt x="322" y="197"/>
                    <a:pt x="331" y="179"/>
                    <a:pt x="317" y="191"/>
                  </a:cubicBezTo>
                  <a:cubicBezTo>
                    <a:pt x="295" y="191"/>
                    <a:pt x="290" y="217"/>
                    <a:pt x="285" y="229"/>
                  </a:cubicBezTo>
                  <a:cubicBezTo>
                    <a:pt x="279" y="241"/>
                    <a:pt x="277" y="255"/>
                    <a:pt x="277" y="255"/>
                  </a:cubicBezTo>
                  <a:cubicBezTo>
                    <a:pt x="246" y="249"/>
                    <a:pt x="246" y="249"/>
                    <a:pt x="246" y="249"/>
                  </a:cubicBezTo>
                  <a:cubicBezTo>
                    <a:pt x="243" y="240"/>
                    <a:pt x="243" y="240"/>
                    <a:pt x="243" y="240"/>
                  </a:cubicBezTo>
                  <a:cubicBezTo>
                    <a:pt x="227" y="233"/>
                    <a:pt x="227" y="233"/>
                    <a:pt x="227" y="233"/>
                  </a:cubicBezTo>
                  <a:cubicBezTo>
                    <a:pt x="225" y="248"/>
                    <a:pt x="225" y="248"/>
                    <a:pt x="225" y="248"/>
                  </a:cubicBezTo>
                  <a:cubicBezTo>
                    <a:pt x="199" y="252"/>
                    <a:pt x="199" y="252"/>
                    <a:pt x="199" y="252"/>
                  </a:cubicBezTo>
                  <a:cubicBezTo>
                    <a:pt x="199" y="252"/>
                    <a:pt x="199" y="252"/>
                    <a:pt x="181" y="273"/>
                  </a:cubicBezTo>
                  <a:cubicBezTo>
                    <a:pt x="153" y="279"/>
                    <a:pt x="121" y="281"/>
                    <a:pt x="121" y="281"/>
                  </a:cubicBezTo>
                  <a:cubicBezTo>
                    <a:pt x="113" y="272"/>
                    <a:pt x="113" y="272"/>
                    <a:pt x="113" y="272"/>
                  </a:cubicBezTo>
                  <a:cubicBezTo>
                    <a:pt x="113" y="272"/>
                    <a:pt x="113" y="272"/>
                    <a:pt x="89" y="299"/>
                  </a:cubicBezTo>
                  <a:cubicBezTo>
                    <a:pt x="82" y="359"/>
                    <a:pt x="43" y="332"/>
                    <a:pt x="43" y="332"/>
                  </a:cubicBezTo>
                  <a:cubicBezTo>
                    <a:pt x="42" y="344"/>
                    <a:pt x="42" y="344"/>
                    <a:pt x="42" y="344"/>
                  </a:cubicBezTo>
                  <a:cubicBezTo>
                    <a:pt x="22" y="344"/>
                    <a:pt x="22" y="344"/>
                    <a:pt x="22" y="344"/>
                  </a:cubicBezTo>
                  <a:cubicBezTo>
                    <a:pt x="14" y="339"/>
                    <a:pt x="14" y="339"/>
                    <a:pt x="14" y="339"/>
                  </a:cubicBezTo>
                  <a:cubicBezTo>
                    <a:pt x="1" y="350"/>
                    <a:pt x="1" y="350"/>
                    <a:pt x="1" y="350"/>
                  </a:cubicBezTo>
                  <a:cubicBezTo>
                    <a:pt x="3" y="354"/>
                    <a:pt x="3" y="354"/>
                    <a:pt x="3" y="354"/>
                  </a:cubicBezTo>
                  <a:cubicBezTo>
                    <a:pt x="0" y="355"/>
                    <a:pt x="0" y="355"/>
                    <a:pt x="0" y="355"/>
                  </a:cubicBezTo>
                  <a:cubicBezTo>
                    <a:pt x="2" y="357"/>
                    <a:pt x="4" y="360"/>
                    <a:pt x="7" y="364"/>
                  </a:cubicBezTo>
                  <a:cubicBezTo>
                    <a:pt x="14" y="363"/>
                    <a:pt x="24" y="359"/>
                    <a:pt x="24" y="359"/>
                  </a:cubicBezTo>
                  <a:cubicBezTo>
                    <a:pt x="24" y="359"/>
                    <a:pt x="39" y="374"/>
                    <a:pt x="45" y="374"/>
                  </a:cubicBezTo>
                  <a:cubicBezTo>
                    <a:pt x="51" y="374"/>
                    <a:pt x="70" y="351"/>
                    <a:pt x="70" y="351"/>
                  </a:cubicBezTo>
                  <a:cubicBezTo>
                    <a:pt x="70" y="351"/>
                    <a:pt x="103" y="344"/>
                    <a:pt x="105" y="349"/>
                  </a:cubicBezTo>
                  <a:cubicBezTo>
                    <a:pt x="107" y="354"/>
                    <a:pt x="96" y="361"/>
                    <a:pt x="96" y="361"/>
                  </a:cubicBezTo>
                  <a:cubicBezTo>
                    <a:pt x="72" y="363"/>
                    <a:pt x="72" y="363"/>
                    <a:pt x="72" y="363"/>
                  </a:cubicBezTo>
                  <a:cubicBezTo>
                    <a:pt x="67" y="376"/>
                    <a:pt x="67" y="376"/>
                    <a:pt x="67" y="376"/>
                  </a:cubicBezTo>
                  <a:cubicBezTo>
                    <a:pt x="71" y="385"/>
                    <a:pt x="71" y="385"/>
                    <a:pt x="71" y="385"/>
                  </a:cubicBezTo>
                  <a:cubicBezTo>
                    <a:pt x="65" y="399"/>
                    <a:pt x="65" y="399"/>
                    <a:pt x="65" y="399"/>
                  </a:cubicBezTo>
                  <a:cubicBezTo>
                    <a:pt x="52" y="399"/>
                    <a:pt x="52" y="399"/>
                    <a:pt x="52" y="399"/>
                  </a:cubicBezTo>
                  <a:cubicBezTo>
                    <a:pt x="52" y="408"/>
                    <a:pt x="52" y="408"/>
                    <a:pt x="52" y="408"/>
                  </a:cubicBezTo>
                  <a:cubicBezTo>
                    <a:pt x="91" y="415"/>
                    <a:pt x="91" y="415"/>
                    <a:pt x="91" y="415"/>
                  </a:cubicBezTo>
                  <a:cubicBezTo>
                    <a:pt x="104" y="444"/>
                    <a:pt x="104" y="444"/>
                    <a:pt x="104" y="444"/>
                  </a:cubicBezTo>
                  <a:cubicBezTo>
                    <a:pt x="95" y="445"/>
                    <a:pt x="95" y="445"/>
                    <a:pt x="95" y="445"/>
                  </a:cubicBezTo>
                  <a:cubicBezTo>
                    <a:pt x="92" y="462"/>
                    <a:pt x="92" y="462"/>
                    <a:pt x="92" y="462"/>
                  </a:cubicBezTo>
                  <a:cubicBezTo>
                    <a:pt x="72" y="483"/>
                    <a:pt x="72" y="483"/>
                    <a:pt x="72" y="483"/>
                  </a:cubicBezTo>
                  <a:cubicBezTo>
                    <a:pt x="69" y="468"/>
                    <a:pt x="69" y="468"/>
                    <a:pt x="69" y="468"/>
                  </a:cubicBezTo>
                  <a:cubicBezTo>
                    <a:pt x="55" y="458"/>
                    <a:pt x="55" y="458"/>
                    <a:pt x="55" y="458"/>
                  </a:cubicBezTo>
                  <a:cubicBezTo>
                    <a:pt x="55" y="465"/>
                    <a:pt x="55" y="465"/>
                    <a:pt x="55" y="465"/>
                  </a:cubicBezTo>
                  <a:cubicBezTo>
                    <a:pt x="55" y="465"/>
                    <a:pt x="62" y="463"/>
                    <a:pt x="63" y="469"/>
                  </a:cubicBezTo>
                  <a:cubicBezTo>
                    <a:pt x="64" y="475"/>
                    <a:pt x="68" y="489"/>
                    <a:pt x="68" y="489"/>
                  </a:cubicBezTo>
                  <a:cubicBezTo>
                    <a:pt x="68" y="489"/>
                    <a:pt x="73" y="508"/>
                    <a:pt x="72" y="511"/>
                  </a:cubicBezTo>
                  <a:cubicBezTo>
                    <a:pt x="91" y="521"/>
                    <a:pt x="103" y="549"/>
                    <a:pt x="103" y="549"/>
                  </a:cubicBezTo>
                  <a:cubicBezTo>
                    <a:pt x="111" y="549"/>
                    <a:pt x="111" y="549"/>
                    <a:pt x="111" y="549"/>
                  </a:cubicBezTo>
                  <a:cubicBezTo>
                    <a:pt x="126" y="569"/>
                    <a:pt x="135" y="611"/>
                    <a:pt x="135" y="611"/>
                  </a:cubicBezTo>
                  <a:cubicBezTo>
                    <a:pt x="135" y="611"/>
                    <a:pt x="135" y="603"/>
                    <a:pt x="149" y="617"/>
                  </a:cubicBezTo>
                  <a:cubicBezTo>
                    <a:pt x="163" y="631"/>
                    <a:pt x="200" y="642"/>
                    <a:pt x="200" y="642"/>
                  </a:cubicBezTo>
                  <a:cubicBezTo>
                    <a:pt x="210" y="658"/>
                    <a:pt x="210" y="658"/>
                    <a:pt x="210" y="658"/>
                  </a:cubicBezTo>
                  <a:cubicBezTo>
                    <a:pt x="210" y="658"/>
                    <a:pt x="229" y="658"/>
                    <a:pt x="235" y="660"/>
                  </a:cubicBezTo>
                  <a:cubicBezTo>
                    <a:pt x="241" y="662"/>
                    <a:pt x="248" y="678"/>
                    <a:pt x="248" y="678"/>
                  </a:cubicBezTo>
                  <a:cubicBezTo>
                    <a:pt x="251" y="669"/>
                    <a:pt x="251" y="669"/>
                    <a:pt x="251" y="669"/>
                  </a:cubicBezTo>
                  <a:cubicBezTo>
                    <a:pt x="265" y="682"/>
                    <a:pt x="265" y="682"/>
                    <a:pt x="265" y="682"/>
                  </a:cubicBezTo>
                  <a:cubicBezTo>
                    <a:pt x="274" y="666"/>
                    <a:pt x="274" y="666"/>
                    <a:pt x="274" y="666"/>
                  </a:cubicBezTo>
                  <a:cubicBezTo>
                    <a:pt x="274" y="666"/>
                    <a:pt x="284" y="675"/>
                    <a:pt x="287" y="680"/>
                  </a:cubicBezTo>
                  <a:cubicBezTo>
                    <a:pt x="290" y="685"/>
                    <a:pt x="262" y="717"/>
                    <a:pt x="262" y="717"/>
                  </a:cubicBezTo>
                  <a:cubicBezTo>
                    <a:pt x="267" y="720"/>
                    <a:pt x="271" y="724"/>
                    <a:pt x="275" y="728"/>
                  </a:cubicBezTo>
                  <a:cubicBezTo>
                    <a:pt x="289" y="723"/>
                    <a:pt x="289" y="723"/>
                    <a:pt x="289" y="723"/>
                  </a:cubicBezTo>
                  <a:cubicBezTo>
                    <a:pt x="322" y="712"/>
                    <a:pt x="322" y="712"/>
                    <a:pt x="322" y="712"/>
                  </a:cubicBezTo>
                  <a:cubicBezTo>
                    <a:pt x="322" y="728"/>
                    <a:pt x="322" y="728"/>
                    <a:pt x="322" y="728"/>
                  </a:cubicBezTo>
                  <a:cubicBezTo>
                    <a:pt x="337" y="729"/>
                    <a:pt x="337" y="729"/>
                    <a:pt x="337" y="729"/>
                  </a:cubicBezTo>
                  <a:cubicBezTo>
                    <a:pt x="346" y="723"/>
                    <a:pt x="346" y="723"/>
                    <a:pt x="346" y="723"/>
                  </a:cubicBezTo>
                  <a:cubicBezTo>
                    <a:pt x="361" y="732"/>
                    <a:pt x="361" y="732"/>
                    <a:pt x="361" y="732"/>
                  </a:cubicBezTo>
                  <a:cubicBezTo>
                    <a:pt x="361" y="732"/>
                    <a:pt x="378" y="728"/>
                    <a:pt x="385" y="728"/>
                  </a:cubicBezTo>
                  <a:cubicBezTo>
                    <a:pt x="391" y="728"/>
                    <a:pt x="391" y="717"/>
                    <a:pt x="391" y="717"/>
                  </a:cubicBezTo>
                  <a:cubicBezTo>
                    <a:pt x="391" y="717"/>
                    <a:pt x="421" y="719"/>
                    <a:pt x="398" y="699"/>
                  </a:cubicBezTo>
                  <a:cubicBezTo>
                    <a:pt x="389" y="707"/>
                    <a:pt x="389" y="707"/>
                    <a:pt x="389" y="707"/>
                  </a:cubicBezTo>
                  <a:cubicBezTo>
                    <a:pt x="393" y="684"/>
                    <a:pt x="393" y="684"/>
                    <a:pt x="393" y="684"/>
                  </a:cubicBezTo>
                  <a:cubicBezTo>
                    <a:pt x="383" y="664"/>
                    <a:pt x="383" y="664"/>
                    <a:pt x="383" y="664"/>
                  </a:cubicBezTo>
                  <a:cubicBezTo>
                    <a:pt x="394" y="664"/>
                    <a:pt x="394" y="664"/>
                    <a:pt x="394" y="664"/>
                  </a:cubicBezTo>
                  <a:cubicBezTo>
                    <a:pt x="394" y="627"/>
                    <a:pt x="394" y="627"/>
                    <a:pt x="394" y="627"/>
                  </a:cubicBezTo>
                  <a:cubicBezTo>
                    <a:pt x="383" y="627"/>
                    <a:pt x="383" y="627"/>
                    <a:pt x="383" y="627"/>
                  </a:cubicBezTo>
                  <a:cubicBezTo>
                    <a:pt x="386" y="605"/>
                    <a:pt x="386" y="605"/>
                    <a:pt x="386" y="605"/>
                  </a:cubicBezTo>
                  <a:cubicBezTo>
                    <a:pt x="371" y="585"/>
                    <a:pt x="371" y="585"/>
                    <a:pt x="371" y="585"/>
                  </a:cubicBezTo>
                  <a:cubicBezTo>
                    <a:pt x="378" y="573"/>
                    <a:pt x="378" y="573"/>
                    <a:pt x="378" y="573"/>
                  </a:cubicBezTo>
                  <a:cubicBezTo>
                    <a:pt x="353" y="548"/>
                    <a:pt x="353" y="548"/>
                    <a:pt x="353" y="548"/>
                  </a:cubicBezTo>
                  <a:cubicBezTo>
                    <a:pt x="357" y="537"/>
                    <a:pt x="357" y="537"/>
                    <a:pt x="357" y="537"/>
                  </a:cubicBezTo>
                  <a:cubicBezTo>
                    <a:pt x="357" y="537"/>
                    <a:pt x="337" y="532"/>
                    <a:pt x="339" y="523"/>
                  </a:cubicBezTo>
                  <a:cubicBezTo>
                    <a:pt x="342" y="513"/>
                    <a:pt x="371" y="503"/>
                    <a:pt x="378" y="511"/>
                  </a:cubicBezTo>
                  <a:cubicBezTo>
                    <a:pt x="385" y="519"/>
                    <a:pt x="413" y="501"/>
                    <a:pt x="413" y="501"/>
                  </a:cubicBezTo>
                  <a:cubicBezTo>
                    <a:pt x="415" y="485"/>
                    <a:pt x="415" y="485"/>
                    <a:pt x="415" y="485"/>
                  </a:cubicBezTo>
                  <a:cubicBezTo>
                    <a:pt x="434" y="488"/>
                    <a:pt x="434" y="488"/>
                    <a:pt x="434" y="488"/>
                  </a:cubicBezTo>
                  <a:cubicBezTo>
                    <a:pt x="433" y="496"/>
                    <a:pt x="433" y="496"/>
                    <a:pt x="433" y="496"/>
                  </a:cubicBezTo>
                  <a:cubicBezTo>
                    <a:pt x="459" y="481"/>
                    <a:pt x="459" y="481"/>
                    <a:pt x="459" y="481"/>
                  </a:cubicBezTo>
                  <a:cubicBezTo>
                    <a:pt x="502" y="480"/>
                    <a:pt x="502" y="480"/>
                    <a:pt x="502" y="480"/>
                  </a:cubicBezTo>
                  <a:cubicBezTo>
                    <a:pt x="499" y="492"/>
                    <a:pt x="499" y="492"/>
                    <a:pt x="499" y="492"/>
                  </a:cubicBezTo>
                  <a:cubicBezTo>
                    <a:pt x="509" y="492"/>
                    <a:pt x="509" y="492"/>
                    <a:pt x="509" y="492"/>
                  </a:cubicBezTo>
                  <a:cubicBezTo>
                    <a:pt x="514" y="483"/>
                    <a:pt x="514" y="483"/>
                    <a:pt x="514" y="483"/>
                  </a:cubicBezTo>
                  <a:cubicBezTo>
                    <a:pt x="519" y="484"/>
                    <a:pt x="519" y="484"/>
                    <a:pt x="519" y="484"/>
                  </a:cubicBezTo>
                  <a:cubicBezTo>
                    <a:pt x="519" y="484"/>
                    <a:pt x="518" y="464"/>
                    <a:pt x="549" y="464"/>
                  </a:cubicBezTo>
                  <a:cubicBezTo>
                    <a:pt x="549" y="463"/>
                    <a:pt x="549" y="462"/>
                    <a:pt x="549" y="461"/>
                  </a:cubicBezTo>
                  <a:cubicBezTo>
                    <a:pt x="546" y="433"/>
                    <a:pt x="575" y="399"/>
                    <a:pt x="575" y="399"/>
                  </a:cubicBezTo>
                  <a:cubicBezTo>
                    <a:pt x="569" y="387"/>
                    <a:pt x="569" y="387"/>
                    <a:pt x="569" y="387"/>
                  </a:cubicBezTo>
                  <a:cubicBezTo>
                    <a:pt x="569" y="387"/>
                    <a:pt x="581" y="369"/>
                    <a:pt x="585" y="359"/>
                  </a:cubicBezTo>
                  <a:cubicBezTo>
                    <a:pt x="578" y="351"/>
                    <a:pt x="589" y="323"/>
                    <a:pt x="589" y="323"/>
                  </a:cubicBezTo>
                  <a:cubicBezTo>
                    <a:pt x="626" y="335"/>
                    <a:pt x="626" y="335"/>
                    <a:pt x="626" y="335"/>
                  </a:cubicBezTo>
                  <a:cubicBezTo>
                    <a:pt x="615" y="320"/>
                    <a:pt x="615" y="320"/>
                    <a:pt x="615" y="320"/>
                  </a:cubicBezTo>
                  <a:cubicBezTo>
                    <a:pt x="615" y="320"/>
                    <a:pt x="626" y="313"/>
                    <a:pt x="625" y="311"/>
                  </a:cubicBezTo>
                  <a:cubicBezTo>
                    <a:pt x="642" y="329"/>
                    <a:pt x="641" y="307"/>
                    <a:pt x="641" y="307"/>
                  </a:cubicBezTo>
                  <a:cubicBezTo>
                    <a:pt x="641" y="307"/>
                    <a:pt x="670" y="300"/>
                    <a:pt x="674" y="299"/>
                  </a:cubicBezTo>
                  <a:cubicBezTo>
                    <a:pt x="658" y="293"/>
                    <a:pt x="690" y="272"/>
                    <a:pt x="690" y="272"/>
                  </a:cubicBezTo>
                  <a:cubicBezTo>
                    <a:pt x="690" y="272"/>
                    <a:pt x="703" y="252"/>
                    <a:pt x="707" y="248"/>
                  </a:cubicBezTo>
                  <a:cubicBezTo>
                    <a:pt x="707" y="233"/>
                    <a:pt x="717" y="229"/>
                    <a:pt x="717" y="229"/>
                  </a:cubicBezTo>
                  <a:cubicBezTo>
                    <a:pt x="725" y="219"/>
                    <a:pt x="725" y="219"/>
                    <a:pt x="725" y="219"/>
                  </a:cubicBezTo>
                  <a:cubicBezTo>
                    <a:pt x="718" y="205"/>
                    <a:pt x="718" y="205"/>
                    <a:pt x="718" y="205"/>
                  </a:cubicBezTo>
                  <a:cubicBezTo>
                    <a:pt x="722" y="192"/>
                    <a:pt x="722" y="192"/>
                    <a:pt x="722" y="192"/>
                  </a:cubicBezTo>
                  <a:cubicBezTo>
                    <a:pt x="714" y="180"/>
                    <a:pt x="714" y="180"/>
                    <a:pt x="714" y="180"/>
                  </a:cubicBezTo>
                  <a:cubicBezTo>
                    <a:pt x="725" y="175"/>
                    <a:pt x="725" y="175"/>
                    <a:pt x="725" y="175"/>
                  </a:cubicBezTo>
                  <a:cubicBezTo>
                    <a:pt x="725" y="157"/>
                    <a:pt x="725" y="157"/>
                    <a:pt x="725" y="157"/>
                  </a:cubicBezTo>
                  <a:cubicBezTo>
                    <a:pt x="739" y="156"/>
                    <a:pt x="739" y="156"/>
                    <a:pt x="739" y="156"/>
                  </a:cubicBezTo>
                  <a:cubicBezTo>
                    <a:pt x="739" y="147"/>
                    <a:pt x="739" y="147"/>
                    <a:pt x="739" y="147"/>
                  </a:cubicBezTo>
                  <a:lnTo>
                    <a:pt x="719" y="140"/>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3" name="POitou-Charentes" descr="© INSCALE GmbH, 05.05.2010&#10;http://www.presentationload.com/">
              <a:extLst>
                <a:ext uri="{FF2B5EF4-FFF2-40B4-BE49-F238E27FC236}">
                  <a16:creationId xmlns:a16="http://schemas.microsoft.com/office/drawing/2014/main" id="{3AE2A17A-E1A4-415C-BCBD-27B07359DE41}"/>
                </a:ext>
              </a:extLst>
            </p:cNvPr>
            <p:cNvSpPr>
              <a:spLocks noEditPoints="1"/>
            </p:cNvSpPr>
            <p:nvPr/>
          </p:nvSpPr>
          <p:spPr bwMode="gray">
            <a:xfrm>
              <a:off x="881" y="1507"/>
              <a:ext cx="619" cy="717"/>
            </a:xfrm>
            <a:custGeom>
              <a:avLst/>
              <a:gdLst/>
              <a:ahLst/>
              <a:cxnLst>
                <a:cxn ang="0">
                  <a:pos x="39" y="333"/>
                </a:cxn>
                <a:cxn ang="0">
                  <a:pos x="19" y="308"/>
                </a:cxn>
                <a:cxn ang="0">
                  <a:pos x="6" y="327"/>
                </a:cxn>
                <a:cxn ang="0">
                  <a:pos x="32" y="355"/>
                </a:cxn>
                <a:cxn ang="0">
                  <a:pos x="46" y="345"/>
                </a:cxn>
                <a:cxn ang="0">
                  <a:pos x="559" y="229"/>
                </a:cxn>
                <a:cxn ang="0">
                  <a:pos x="533" y="197"/>
                </a:cxn>
                <a:cxn ang="0">
                  <a:pos x="486" y="111"/>
                </a:cxn>
                <a:cxn ang="0">
                  <a:pos x="434" y="52"/>
                </a:cxn>
                <a:cxn ang="0">
                  <a:pos x="419" y="65"/>
                </a:cxn>
                <a:cxn ang="0">
                  <a:pos x="393" y="67"/>
                </a:cxn>
                <a:cxn ang="0">
                  <a:pos x="382" y="39"/>
                </a:cxn>
                <a:cxn ang="0">
                  <a:pos x="369" y="28"/>
                </a:cxn>
                <a:cxn ang="0">
                  <a:pos x="355" y="21"/>
                </a:cxn>
                <a:cxn ang="0">
                  <a:pos x="299" y="20"/>
                </a:cxn>
                <a:cxn ang="0">
                  <a:pos x="289" y="28"/>
                </a:cxn>
                <a:cxn ang="0">
                  <a:pos x="282" y="16"/>
                </a:cxn>
                <a:cxn ang="0">
                  <a:pos x="213" y="32"/>
                </a:cxn>
                <a:cxn ang="0">
                  <a:pos x="195" y="21"/>
                </a:cxn>
                <a:cxn ang="0">
                  <a:pos x="158" y="47"/>
                </a:cxn>
                <a:cxn ang="0">
                  <a:pos x="137" y="73"/>
                </a:cxn>
                <a:cxn ang="0">
                  <a:pos x="158" y="109"/>
                </a:cxn>
                <a:cxn ang="0">
                  <a:pos x="166" y="141"/>
                </a:cxn>
                <a:cxn ang="0">
                  <a:pos x="174" y="163"/>
                </a:cxn>
                <a:cxn ang="0">
                  <a:pos x="163" y="200"/>
                </a:cxn>
                <a:cxn ang="0">
                  <a:pos x="169" y="243"/>
                </a:cxn>
                <a:cxn ang="0">
                  <a:pos x="171" y="253"/>
                </a:cxn>
                <a:cxn ang="0">
                  <a:pos x="141" y="268"/>
                </a:cxn>
                <a:cxn ang="0">
                  <a:pos x="117" y="265"/>
                </a:cxn>
                <a:cxn ang="0">
                  <a:pos x="102" y="248"/>
                </a:cxn>
                <a:cxn ang="0">
                  <a:pos x="55" y="264"/>
                </a:cxn>
                <a:cxn ang="0">
                  <a:pos x="64" y="309"/>
                </a:cxn>
                <a:cxn ang="0">
                  <a:pos x="69" y="324"/>
                </a:cxn>
                <a:cxn ang="0">
                  <a:pos x="63" y="352"/>
                </a:cxn>
                <a:cxn ang="0">
                  <a:pos x="58" y="367"/>
                </a:cxn>
                <a:cxn ang="0">
                  <a:pos x="44" y="372"/>
                </a:cxn>
                <a:cxn ang="0">
                  <a:pos x="37" y="406"/>
                </a:cxn>
                <a:cxn ang="0">
                  <a:pos x="80" y="427"/>
                </a:cxn>
                <a:cxn ang="0">
                  <a:pos x="103" y="454"/>
                </a:cxn>
                <a:cxn ang="0">
                  <a:pos x="147" y="539"/>
                </a:cxn>
                <a:cxn ang="0">
                  <a:pos x="152" y="564"/>
                </a:cxn>
                <a:cxn ang="0">
                  <a:pos x="151" y="581"/>
                </a:cxn>
                <a:cxn ang="0">
                  <a:pos x="171" y="593"/>
                </a:cxn>
                <a:cxn ang="0">
                  <a:pos x="210" y="643"/>
                </a:cxn>
                <a:cxn ang="0">
                  <a:pos x="293" y="652"/>
                </a:cxn>
                <a:cxn ang="0">
                  <a:pos x="327" y="625"/>
                </a:cxn>
                <a:cxn ang="0">
                  <a:pos x="357" y="597"/>
                </a:cxn>
                <a:cxn ang="0">
                  <a:pos x="405" y="524"/>
                </a:cxn>
                <a:cxn ang="0">
                  <a:pos x="411" y="495"/>
                </a:cxn>
                <a:cxn ang="0">
                  <a:pos x="461" y="451"/>
                </a:cxn>
                <a:cxn ang="0">
                  <a:pos x="481" y="439"/>
                </a:cxn>
                <a:cxn ang="0">
                  <a:pos x="487" y="395"/>
                </a:cxn>
                <a:cxn ang="0">
                  <a:pos x="513" y="391"/>
                </a:cxn>
                <a:cxn ang="0">
                  <a:pos x="490" y="332"/>
                </a:cxn>
                <a:cxn ang="0">
                  <a:pos x="494" y="301"/>
                </a:cxn>
                <a:cxn ang="0">
                  <a:pos x="529" y="287"/>
                </a:cxn>
                <a:cxn ang="0">
                  <a:pos x="555" y="263"/>
                </a:cxn>
                <a:cxn ang="0">
                  <a:pos x="570" y="252"/>
                </a:cxn>
              </a:cxnLst>
              <a:rect l="0" t="0" r="r" b="b"/>
              <a:pathLst>
                <a:path w="574" h="665">
                  <a:moveTo>
                    <a:pt x="46" y="345"/>
                  </a:moveTo>
                  <a:cubicBezTo>
                    <a:pt x="39" y="333"/>
                    <a:pt x="39" y="333"/>
                    <a:pt x="39" y="333"/>
                  </a:cubicBezTo>
                  <a:cubicBezTo>
                    <a:pt x="38" y="311"/>
                    <a:pt x="38" y="311"/>
                    <a:pt x="38" y="311"/>
                  </a:cubicBezTo>
                  <a:cubicBezTo>
                    <a:pt x="19" y="308"/>
                    <a:pt x="19" y="308"/>
                    <a:pt x="19" y="308"/>
                  </a:cubicBezTo>
                  <a:cubicBezTo>
                    <a:pt x="4" y="289"/>
                    <a:pt x="4" y="289"/>
                    <a:pt x="4" y="289"/>
                  </a:cubicBezTo>
                  <a:cubicBezTo>
                    <a:pt x="0" y="293"/>
                    <a:pt x="6" y="327"/>
                    <a:pt x="6" y="327"/>
                  </a:cubicBezTo>
                  <a:cubicBezTo>
                    <a:pt x="19" y="337"/>
                    <a:pt x="19" y="337"/>
                    <a:pt x="19" y="337"/>
                  </a:cubicBezTo>
                  <a:cubicBezTo>
                    <a:pt x="32" y="355"/>
                    <a:pt x="32" y="355"/>
                    <a:pt x="32" y="355"/>
                  </a:cubicBezTo>
                  <a:cubicBezTo>
                    <a:pt x="36" y="368"/>
                    <a:pt x="36" y="368"/>
                    <a:pt x="36" y="368"/>
                  </a:cubicBezTo>
                  <a:lnTo>
                    <a:pt x="46" y="345"/>
                  </a:lnTo>
                  <a:close/>
                  <a:moveTo>
                    <a:pt x="574" y="241"/>
                  </a:moveTo>
                  <a:cubicBezTo>
                    <a:pt x="574" y="241"/>
                    <a:pt x="563" y="236"/>
                    <a:pt x="559" y="229"/>
                  </a:cubicBezTo>
                  <a:cubicBezTo>
                    <a:pt x="553" y="187"/>
                    <a:pt x="534" y="208"/>
                    <a:pt x="534" y="208"/>
                  </a:cubicBezTo>
                  <a:cubicBezTo>
                    <a:pt x="534" y="208"/>
                    <a:pt x="537" y="199"/>
                    <a:pt x="533" y="197"/>
                  </a:cubicBezTo>
                  <a:cubicBezTo>
                    <a:pt x="505" y="196"/>
                    <a:pt x="510" y="167"/>
                    <a:pt x="511" y="153"/>
                  </a:cubicBezTo>
                  <a:cubicBezTo>
                    <a:pt x="479" y="120"/>
                    <a:pt x="503" y="127"/>
                    <a:pt x="486" y="111"/>
                  </a:cubicBezTo>
                  <a:cubicBezTo>
                    <a:pt x="469" y="95"/>
                    <a:pt x="466" y="63"/>
                    <a:pt x="466" y="63"/>
                  </a:cubicBezTo>
                  <a:cubicBezTo>
                    <a:pt x="434" y="52"/>
                    <a:pt x="434" y="52"/>
                    <a:pt x="434" y="52"/>
                  </a:cubicBezTo>
                  <a:cubicBezTo>
                    <a:pt x="442" y="65"/>
                    <a:pt x="442" y="65"/>
                    <a:pt x="442" y="65"/>
                  </a:cubicBezTo>
                  <a:cubicBezTo>
                    <a:pt x="419" y="65"/>
                    <a:pt x="419" y="65"/>
                    <a:pt x="419" y="65"/>
                  </a:cubicBezTo>
                  <a:cubicBezTo>
                    <a:pt x="405" y="73"/>
                    <a:pt x="405" y="73"/>
                    <a:pt x="405" y="73"/>
                  </a:cubicBezTo>
                  <a:cubicBezTo>
                    <a:pt x="393" y="67"/>
                    <a:pt x="393" y="67"/>
                    <a:pt x="393" y="67"/>
                  </a:cubicBezTo>
                  <a:cubicBezTo>
                    <a:pt x="393" y="67"/>
                    <a:pt x="394" y="73"/>
                    <a:pt x="382" y="69"/>
                  </a:cubicBezTo>
                  <a:cubicBezTo>
                    <a:pt x="370" y="65"/>
                    <a:pt x="382" y="39"/>
                    <a:pt x="382" y="39"/>
                  </a:cubicBezTo>
                  <a:cubicBezTo>
                    <a:pt x="373" y="35"/>
                    <a:pt x="373" y="35"/>
                    <a:pt x="373" y="35"/>
                  </a:cubicBezTo>
                  <a:cubicBezTo>
                    <a:pt x="369" y="28"/>
                    <a:pt x="369" y="28"/>
                    <a:pt x="369" y="28"/>
                  </a:cubicBezTo>
                  <a:cubicBezTo>
                    <a:pt x="355" y="35"/>
                    <a:pt x="355" y="35"/>
                    <a:pt x="355" y="35"/>
                  </a:cubicBezTo>
                  <a:cubicBezTo>
                    <a:pt x="355" y="21"/>
                    <a:pt x="355" y="21"/>
                    <a:pt x="355" y="21"/>
                  </a:cubicBezTo>
                  <a:cubicBezTo>
                    <a:pt x="355" y="21"/>
                    <a:pt x="333" y="25"/>
                    <a:pt x="329" y="0"/>
                  </a:cubicBezTo>
                  <a:cubicBezTo>
                    <a:pt x="298" y="0"/>
                    <a:pt x="299" y="20"/>
                    <a:pt x="299" y="20"/>
                  </a:cubicBezTo>
                  <a:cubicBezTo>
                    <a:pt x="294" y="19"/>
                    <a:pt x="294" y="19"/>
                    <a:pt x="294" y="19"/>
                  </a:cubicBezTo>
                  <a:cubicBezTo>
                    <a:pt x="289" y="28"/>
                    <a:pt x="289" y="28"/>
                    <a:pt x="289" y="28"/>
                  </a:cubicBezTo>
                  <a:cubicBezTo>
                    <a:pt x="279" y="28"/>
                    <a:pt x="279" y="28"/>
                    <a:pt x="279" y="28"/>
                  </a:cubicBezTo>
                  <a:cubicBezTo>
                    <a:pt x="282" y="16"/>
                    <a:pt x="282" y="16"/>
                    <a:pt x="282" y="16"/>
                  </a:cubicBezTo>
                  <a:cubicBezTo>
                    <a:pt x="239" y="17"/>
                    <a:pt x="239" y="17"/>
                    <a:pt x="239" y="17"/>
                  </a:cubicBezTo>
                  <a:cubicBezTo>
                    <a:pt x="213" y="32"/>
                    <a:pt x="213" y="32"/>
                    <a:pt x="213" y="32"/>
                  </a:cubicBezTo>
                  <a:cubicBezTo>
                    <a:pt x="214" y="24"/>
                    <a:pt x="214" y="24"/>
                    <a:pt x="214" y="24"/>
                  </a:cubicBezTo>
                  <a:cubicBezTo>
                    <a:pt x="195" y="21"/>
                    <a:pt x="195" y="21"/>
                    <a:pt x="195" y="21"/>
                  </a:cubicBezTo>
                  <a:cubicBezTo>
                    <a:pt x="193" y="37"/>
                    <a:pt x="193" y="37"/>
                    <a:pt x="193" y="37"/>
                  </a:cubicBezTo>
                  <a:cubicBezTo>
                    <a:pt x="193" y="37"/>
                    <a:pt x="165" y="55"/>
                    <a:pt x="158" y="47"/>
                  </a:cubicBezTo>
                  <a:cubicBezTo>
                    <a:pt x="151" y="39"/>
                    <a:pt x="122" y="49"/>
                    <a:pt x="119" y="59"/>
                  </a:cubicBezTo>
                  <a:cubicBezTo>
                    <a:pt x="117" y="68"/>
                    <a:pt x="137" y="73"/>
                    <a:pt x="137" y="73"/>
                  </a:cubicBezTo>
                  <a:cubicBezTo>
                    <a:pt x="133" y="84"/>
                    <a:pt x="133" y="84"/>
                    <a:pt x="133" y="84"/>
                  </a:cubicBezTo>
                  <a:cubicBezTo>
                    <a:pt x="158" y="109"/>
                    <a:pt x="158" y="109"/>
                    <a:pt x="158" y="109"/>
                  </a:cubicBezTo>
                  <a:cubicBezTo>
                    <a:pt x="151" y="121"/>
                    <a:pt x="151" y="121"/>
                    <a:pt x="151" y="121"/>
                  </a:cubicBezTo>
                  <a:cubicBezTo>
                    <a:pt x="166" y="141"/>
                    <a:pt x="166" y="141"/>
                    <a:pt x="166" y="141"/>
                  </a:cubicBezTo>
                  <a:cubicBezTo>
                    <a:pt x="163" y="163"/>
                    <a:pt x="163" y="163"/>
                    <a:pt x="163" y="163"/>
                  </a:cubicBezTo>
                  <a:cubicBezTo>
                    <a:pt x="174" y="163"/>
                    <a:pt x="174" y="163"/>
                    <a:pt x="174" y="163"/>
                  </a:cubicBezTo>
                  <a:cubicBezTo>
                    <a:pt x="174" y="200"/>
                    <a:pt x="174" y="200"/>
                    <a:pt x="174" y="200"/>
                  </a:cubicBezTo>
                  <a:cubicBezTo>
                    <a:pt x="163" y="200"/>
                    <a:pt x="163" y="200"/>
                    <a:pt x="163" y="200"/>
                  </a:cubicBezTo>
                  <a:cubicBezTo>
                    <a:pt x="173" y="220"/>
                    <a:pt x="173" y="220"/>
                    <a:pt x="173" y="220"/>
                  </a:cubicBezTo>
                  <a:cubicBezTo>
                    <a:pt x="169" y="243"/>
                    <a:pt x="169" y="243"/>
                    <a:pt x="169" y="243"/>
                  </a:cubicBezTo>
                  <a:cubicBezTo>
                    <a:pt x="178" y="235"/>
                    <a:pt x="178" y="235"/>
                    <a:pt x="178" y="235"/>
                  </a:cubicBezTo>
                  <a:cubicBezTo>
                    <a:pt x="201" y="255"/>
                    <a:pt x="171" y="253"/>
                    <a:pt x="171" y="253"/>
                  </a:cubicBezTo>
                  <a:cubicBezTo>
                    <a:pt x="171" y="253"/>
                    <a:pt x="171" y="264"/>
                    <a:pt x="165" y="264"/>
                  </a:cubicBezTo>
                  <a:cubicBezTo>
                    <a:pt x="158" y="264"/>
                    <a:pt x="141" y="268"/>
                    <a:pt x="141" y="268"/>
                  </a:cubicBezTo>
                  <a:cubicBezTo>
                    <a:pt x="126" y="259"/>
                    <a:pt x="126" y="259"/>
                    <a:pt x="126" y="259"/>
                  </a:cubicBezTo>
                  <a:cubicBezTo>
                    <a:pt x="117" y="265"/>
                    <a:pt x="117" y="265"/>
                    <a:pt x="117" y="265"/>
                  </a:cubicBezTo>
                  <a:cubicBezTo>
                    <a:pt x="102" y="264"/>
                    <a:pt x="102" y="264"/>
                    <a:pt x="102" y="264"/>
                  </a:cubicBezTo>
                  <a:cubicBezTo>
                    <a:pt x="102" y="248"/>
                    <a:pt x="102" y="248"/>
                    <a:pt x="102" y="248"/>
                  </a:cubicBezTo>
                  <a:cubicBezTo>
                    <a:pt x="69" y="259"/>
                    <a:pt x="69" y="259"/>
                    <a:pt x="69" y="259"/>
                  </a:cubicBezTo>
                  <a:cubicBezTo>
                    <a:pt x="55" y="264"/>
                    <a:pt x="55" y="264"/>
                    <a:pt x="55" y="264"/>
                  </a:cubicBezTo>
                  <a:cubicBezTo>
                    <a:pt x="71" y="282"/>
                    <a:pt x="78" y="307"/>
                    <a:pt x="78" y="307"/>
                  </a:cubicBezTo>
                  <a:cubicBezTo>
                    <a:pt x="64" y="309"/>
                    <a:pt x="64" y="309"/>
                    <a:pt x="64" y="309"/>
                  </a:cubicBezTo>
                  <a:cubicBezTo>
                    <a:pt x="69" y="320"/>
                    <a:pt x="69" y="320"/>
                    <a:pt x="69" y="320"/>
                  </a:cubicBezTo>
                  <a:cubicBezTo>
                    <a:pt x="69" y="324"/>
                    <a:pt x="69" y="324"/>
                    <a:pt x="69" y="324"/>
                  </a:cubicBezTo>
                  <a:cubicBezTo>
                    <a:pt x="71" y="335"/>
                    <a:pt x="71" y="335"/>
                    <a:pt x="71" y="335"/>
                  </a:cubicBezTo>
                  <a:cubicBezTo>
                    <a:pt x="63" y="352"/>
                    <a:pt x="63" y="352"/>
                    <a:pt x="63" y="352"/>
                  </a:cubicBezTo>
                  <a:cubicBezTo>
                    <a:pt x="52" y="352"/>
                    <a:pt x="52" y="352"/>
                    <a:pt x="52" y="352"/>
                  </a:cubicBezTo>
                  <a:cubicBezTo>
                    <a:pt x="58" y="367"/>
                    <a:pt x="58" y="367"/>
                    <a:pt x="58" y="367"/>
                  </a:cubicBezTo>
                  <a:cubicBezTo>
                    <a:pt x="67" y="382"/>
                    <a:pt x="67" y="382"/>
                    <a:pt x="67" y="382"/>
                  </a:cubicBezTo>
                  <a:cubicBezTo>
                    <a:pt x="67" y="382"/>
                    <a:pt x="51" y="372"/>
                    <a:pt x="44" y="372"/>
                  </a:cubicBezTo>
                  <a:cubicBezTo>
                    <a:pt x="37" y="372"/>
                    <a:pt x="35" y="378"/>
                    <a:pt x="33" y="389"/>
                  </a:cubicBezTo>
                  <a:cubicBezTo>
                    <a:pt x="31" y="400"/>
                    <a:pt x="37" y="406"/>
                    <a:pt x="37" y="406"/>
                  </a:cubicBezTo>
                  <a:cubicBezTo>
                    <a:pt x="70" y="427"/>
                    <a:pt x="70" y="427"/>
                    <a:pt x="70" y="427"/>
                  </a:cubicBezTo>
                  <a:cubicBezTo>
                    <a:pt x="80" y="427"/>
                    <a:pt x="80" y="427"/>
                    <a:pt x="80" y="427"/>
                  </a:cubicBezTo>
                  <a:cubicBezTo>
                    <a:pt x="93" y="454"/>
                    <a:pt x="93" y="454"/>
                    <a:pt x="93" y="454"/>
                  </a:cubicBezTo>
                  <a:cubicBezTo>
                    <a:pt x="103" y="454"/>
                    <a:pt x="103" y="454"/>
                    <a:pt x="103" y="454"/>
                  </a:cubicBezTo>
                  <a:cubicBezTo>
                    <a:pt x="103" y="454"/>
                    <a:pt x="104" y="457"/>
                    <a:pt x="114" y="462"/>
                  </a:cubicBezTo>
                  <a:cubicBezTo>
                    <a:pt x="124" y="467"/>
                    <a:pt x="147" y="539"/>
                    <a:pt x="147" y="539"/>
                  </a:cubicBezTo>
                  <a:cubicBezTo>
                    <a:pt x="145" y="553"/>
                    <a:pt x="145" y="553"/>
                    <a:pt x="145" y="553"/>
                  </a:cubicBezTo>
                  <a:cubicBezTo>
                    <a:pt x="152" y="564"/>
                    <a:pt x="152" y="564"/>
                    <a:pt x="152" y="564"/>
                  </a:cubicBezTo>
                  <a:cubicBezTo>
                    <a:pt x="148" y="576"/>
                    <a:pt x="148" y="576"/>
                    <a:pt x="148" y="576"/>
                  </a:cubicBezTo>
                  <a:cubicBezTo>
                    <a:pt x="148" y="576"/>
                    <a:pt x="149" y="578"/>
                    <a:pt x="151" y="581"/>
                  </a:cubicBezTo>
                  <a:cubicBezTo>
                    <a:pt x="165" y="580"/>
                    <a:pt x="165" y="580"/>
                    <a:pt x="165" y="580"/>
                  </a:cubicBezTo>
                  <a:cubicBezTo>
                    <a:pt x="171" y="593"/>
                    <a:pt x="171" y="593"/>
                    <a:pt x="171" y="593"/>
                  </a:cubicBezTo>
                  <a:cubicBezTo>
                    <a:pt x="171" y="593"/>
                    <a:pt x="211" y="604"/>
                    <a:pt x="205" y="619"/>
                  </a:cubicBezTo>
                  <a:cubicBezTo>
                    <a:pt x="210" y="637"/>
                    <a:pt x="210" y="643"/>
                    <a:pt x="210" y="643"/>
                  </a:cubicBezTo>
                  <a:cubicBezTo>
                    <a:pt x="210" y="643"/>
                    <a:pt x="218" y="628"/>
                    <a:pt x="235" y="645"/>
                  </a:cubicBezTo>
                  <a:cubicBezTo>
                    <a:pt x="253" y="663"/>
                    <a:pt x="286" y="665"/>
                    <a:pt x="293" y="652"/>
                  </a:cubicBezTo>
                  <a:cubicBezTo>
                    <a:pt x="299" y="639"/>
                    <a:pt x="315" y="616"/>
                    <a:pt x="315" y="616"/>
                  </a:cubicBezTo>
                  <a:cubicBezTo>
                    <a:pt x="315" y="616"/>
                    <a:pt x="323" y="625"/>
                    <a:pt x="327" y="625"/>
                  </a:cubicBezTo>
                  <a:cubicBezTo>
                    <a:pt x="331" y="625"/>
                    <a:pt x="350" y="597"/>
                    <a:pt x="350" y="597"/>
                  </a:cubicBezTo>
                  <a:cubicBezTo>
                    <a:pt x="357" y="597"/>
                    <a:pt x="357" y="597"/>
                    <a:pt x="357" y="597"/>
                  </a:cubicBezTo>
                  <a:cubicBezTo>
                    <a:pt x="357" y="597"/>
                    <a:pt x="345" y="544"/>
                    <a:pt x="397" y="537"/>
                  </a:cubicBezTo>
                  <a:cubicBezTo>
                    <a:pt x="401" y="523"/>
                    <a:pt x="405" y="524"/>
                    <a:pt x="405" y="524"/>
                  </a:cubicBezTo>
                  <a:cubicBezTo>
                    <a:pt x="417" y="523"/>
                    <a:pt x="417" y="523"/>
                    <a:pt x="417" y="523"/>
                  </a:cubicBezTo>
                  <a:cubicBezTo>
                    <a:pt x="417" y="523"/>
                    <a:pt x="407" y="495"/>
                    <a:pt x="411" y="495"/>
                  </a:cubicBezTo>
                  <a:cubicBezTo>
                    <a:pt x="415" y="495"/>
                    <a:pt x="426" y="493"/>
                    <a:pt x="426" y="493"/>
                  </a:cubicBezTo>
                  <a:cubicBezTo>
                    <a:pt x="461" y="451"/>
                    <a:pt x="461" y="451"/>
                    <a:pt x="461" y="451"/>
                  </a:cubicBezTo>
                  <a:cubicBezTo>
                    <a:pt x="461" y="443"/>
                    <a:pt x="461" y="443"/>
                    <a:pt x="461" y="443"/>
                  </a:cubicBezTo>
                  <a:cubicBezTo>
                    <a:pt x="481" y="439"/>
                    <a:pt x="481" y="439"/>
                    <a:pt x="481" y="439"/>
                  </a:cubicBezTo>
                  <a:cubicBezTo>
                    <a:pt x="489" y="413"/>
                    <a:pt x="489" y="413"/>
                    <a:pt x="489" y="413"/>
                  </a:cubicBezTo>
                  <a:cubicBezTo>
                    <a:pt x="489" y="413"/>
                    <a:pt x="483" y="393"/>
                    <a:pt x="487" y="395"/>
                  </a:cubicBezTo>
                  <a:cubicBezTo>
                    <a:pt x="491" y="396"/>
                    <a:pt x="501" y="399"/>
                    <a:pt x="501" y="399"/>
                  </a:cubicBezTo>
                  <a:cubicBezTo>
                    <a:pt x="513" y="391"/>
                    <a:pt x="513" y="391"/>
                    <a:pt x="513" y="391"/>
                  </a:cubicBezTo>
                  <a:cubicBezTo>
                    <a:pt x="506" y="371"/>
                    <a:pt x="506" y="371"/>
                    <a:pt x="506" y="371"/>
                  </a:cubicBezTo>
                  <a:cubicBezTo>
                    <a:pt x="506" y="371"/>
                    <a:pt x="478" y="372"/>
                    <a:pt x="490" y="332"/>
                  </a:cubicBezTo>
                  <a:cubicBezTo>
                    <a:pt x="482" y="311"/>
                    <a:pt x="482" y="311"/>
                    <a:pt x="482" y="311"/>
                  </a:cubicBezTo>
                  <a:cubicBezTo>
                    <a:pt x="494" y="301"/>
                    <a:pt x="494" y="301"/>
                    <a:pt x="494" y="301"/>
                  </a:cubicBezTo>
                  <a:cubicBezTo>
                    <a:pt x="510" y="285"/>
                    <a:pt x="510" y="285"/>
                    <a:pt x="510" y="285"/>
                  </a:cubicBezTo>
                  <a:cubicBezTo>
                    <a:pt x="529" y="287"/>
                    <a:pt x="529" y="287"/>
                    <a:pt x="529" y="287"/>
                  </a:cubicBezTo>
                  <a:cubicBezTo>
                    <a:pt x="541" y="261"/>
                    <a:pt x="541" y="261"/>
                    <a:pt x="541" y="261"/>
                  </a:cubicBezTo>
                  <a:cubicBezTo>
                    <a:pt x="555" y="263"/>
                    <a:pt x="555" y="263"/>
                    <a:pt x="555" y="263"/>
                  </a:cubicBezTo>
                  <a:cubicBezTo>
                    <a:pt x="573" y="256"/>
                    <a:pt x="573" y="256"/>
                    <a:pt x="573" y="256"/>
                  </a:cubicBezTo>
                  <a:cubicBezTo>
                    <a:pt x="570" y="252"/>
                    <a:pt x="570" y="252"/>
                    <a:pt x="570" y="252"/>
                  </a:cubicBezTo>
                  <a:lnTo>
                    <a:pt x="574" y="241"/>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4" name="Limousin" descr="© INSCALE GmbH, 05.05.2010&#10;http://www.presentationload.com/">
              <a:extLst>
                <a:ext uri="{FF2B5EF4-FFF2-40B4-BE49-F238E27FC236}">
                  <a16:creationId xmlns:a16="http://schemas.microsoft.com/office/drawing/2014/main" id="{4FA2DC5F-8B28-45E5-99F2-EB35462EE5EB}"/>
                </a:ext>
              </a:extLst>
            </p:cNvPr>
            <p:cNvSpPr>
              <a:spLocks/>
            </p:cNvSpPr>
            <p:nvPr/>
          </p:nvSpPr>
          <p:spPr bwMode="gray">
            <a:xfrm>
              <a:off x="1360" y="1756"/>
              <a:ext cx="473" cy="536"/>
            </a:xfrm>
            <a:custGeom>
              <a:avLst/>
              <a:gdLst/>
              <a:ahLst/>
              <a:cxnLst>
                <a:cxn ang="0">
                  <a:pos x="50" y="266"/>
                </a:cxn>
                <a:cxn ang="0">
                  <a:pos x="97" y="293"/>
                </a:cxn>
                <a:cxn ang="0">
                  <a:pos x="110" y="314"/>
                </a:cxn>
                <a:cxn ang="0">
                  <a:pos x="135" y="337"/>
                </a:cxn>
                <a:cxn ang="0">
                  <a:pos x="133" y="369"/>
                </a:cxn>
                <a:cxn ang="0">
                  <a:pos x="141" y="386"/>
                </a:cxn>
                <a:cxn ang="0">
                  <a:pos x="142" y="404"/>
                </a:cxn>
                <a:cxn ang="0">
                  <a:pos x="169" y="426"/>
                </a:cxn>
                <a:cxn ang="0">
                  <a:pos x="175" y="461"/>
                </a:cxn>
                <a:cxn ang="0">
                  <a:pos x="258" y="493"/>
                </a:cxn>
                <a:cxn ang="0">
                  <a:pos x="286" y="481"/>
                </a:cxn>
                <a:cxn ang="0">
                  <a:pos x="319" y="474"/>
                </a:cxn>
                <a:cxn ang="0">
                  <a:pos x="343" y="440"/>
                </a:cxn>
                <a:cxn ang="0">
                  <a:pos x="350" y="412"/>
                </a:cxn>
                <a:cxn ang="0">
                  <a:pos x="363" y="374"/>
                </a:cxn>
                <a:cxn ang="0">
                  <a:pos x="385" y="365"/>
                </a:cxn>
                <a:cxn ang="0">
                  <a:pos x="402" y="348"/>
                </a:cxn>
                <a:cxn ang="0">
                  <a:pos x="410" y="330"/>
                </a:cxn>
                <a:cxn ang="0">
                  <a:pos x="419" y="265"/>
                </a:cxn>
                <a:cxn ang="0">
                  <a:pos x="403" y="193"/>
                </a:cxn>
                <a:cxn ang="0">
                  <a:pos x="438" y="161"/>
                </a:cxn>
                <a:cxn ang="0">
                  <a:pos x="430" y="105"/>
                </a:cxn>
                <a:cxn ang="0">
                  <a:pos x="397" y="54"/>
                </a:cxn>
                <a:cxn ang="0">
                  <a:pos x="375" y="28"/>
                </a:cxn>
                <a:cxn ang="0">
                  <a:pos x="365" y="11"/>
                </a:cxn>
                <a:cxn ang="0">
                  <a:pos x="318" y="13"/>
                </a:cxn>
                <a:cxn ang="0">
                  <a:pos x="250" y="4"/>
                </a:cxn>
                <a:cxn ang="0">
                  <a:pos x="235" y="16"/>
                </a:cxn>
                <a:cxn ang="0">
                  <a:pos x="219" y="13"/>
                </a:cxn>
                <a:cxn ang="0">
                  <a:pos x="201" y="12"/>
                </a:cxn>
                <a:cxn ang="0">
                  <a:pos x="169" y="21"/>
                </a:cxn>
                <a:cxn ang="0">
                  <a:pos x="151" y="28"/>
                </a:cxn>
                <a:cxn ang="0">
                  <a:pos x="129" y="25"/>
                </a:cxn>
                <a:cxn ang="0">
                  <a:pos x="97" y="30"/>
                </a:cxn>
                <a:cxn ang="0">
                  <a:pos x="66" y="54"/>
                </a:cxn>
                <a:cxn ang="0">
                  <a:pos x="38" y="80"/>
                </a:cxn>
                <a:cxn ang="0">
                  <a:pos x="62" y="140"/>
                </a:cxn>
                <a:cxn ang="0">
                  <a:pos x="57" y="168"/>
                </a:cxn>
                <a:cxn ang="0">
                  <a:pos x="45" y="182"/>
                </a:cxn>
                <a:cxn ang="0">
                  <a:pos x="17" y="212"/>
                </a:cxn>
                <a:cxn ang="0">
                  <a:pos x="0" y="240"/>
                </a:cxn>
                <a:cxn ang="0">
                  <a:pos x="31" y="277"/>
                </a:cxn>
              </a:cxnLst>
              <a:rect l="0" t="0" r="r" b="b"/>
              <a:pathLst>
                <a:path w="439" h="497">
                  <a:moveTo>
                    <a:pt x="31" y="277"/>
                  </a:moveTo>
                  <a:cubicBezTo>
                    <a:pt x="38" y="281"/>
                    <a:pt x="50" y="266"/>
                    <a:pt x="50" y="266"/>
                  </a:cubicBezTo>
                  <a:cubicBezTo>
                    <a:pt x="85" y="270"/>
                    <a:pt x="85" y="270"/>
                    <a:pt x="85" y="270"/>
                  </a:cubicBezTo>
                  <a:cubicBezTo>
                    <a:pt x="85" y="270"/>
                    <a:pt x="90" y="293"/>
                    <a:pt x="97" y="293"/>
                  </a:cubicBezTo>
                  <a:cubicBezTo>
                    <a:pt x="103" y="293"/>
                    <a:pt x="115" y="294"/>
                    <a:pt x="115" y="294"/>
                  </a:cubicBezTo>
                  <a:cubicBezTo>
                    <a:pt x="110" y="314"/>
                    <a:pt x="110" y="314"/>
                    <a:pt x="110" y="314"/>
                  </a:cubicBezTo>
                  <a:cubicBezTo>
                    <a:pt x="142" y="336"/>
                    <a:pt x="142" y="336"/>
                    <a:pt x="142" y="336"/>
                  </a:cubicBezTo>
                  <a:cubicBezTo>
                    <a:pt x="135" y="337"/>
                    <a:pt x="135" y="337"/>
                    <a:pt x="135" y="337"/>
                  </a:cubicBezTo>
                  <a:cubicBezTo>
                    <a:pt x="135" y="337"/>
                    <a:pt x="149" y="341"/>
                    <a:pt x="149" y="348"/>
                  </a:cubicBezTo>
                  <a:cubicBezTo>
                    <a:pt x="149" y="354"/>
                    <a:pt x="133" y="369"/>
                    <a:pt x="133" y="369"/>
                  </a:cubicBezTo>
                  <a:cubicBezTo>
                    <a:pt x="133" y="380"/>
                    <a:pt x="133" y="380"/>
                    <a:pt x="133" y="380"/>
                  </a:cubicBezTo>
                  <a:cubicBezTo>
                    <a:pt x="141" y="386"/>
                    <a:pt x="141" y="386"/>
                    <a:pt x="141" y="386"/>
                  </a:cubicBezTo>
                  <a:cubicBezTo>
                    <a:pt x="134" y="402"/>
                    <a:pt x="134" y="402"/>
                    <a:pt x="134" y="402"/>
                  </a:cubicBezTo>
                  <a:cubicBezTo>
                    <a:pt x="142" y="404"/>
                    <a:pt x="142" y="404"/>
                    <a:pt x="142" y="404"/>
                  </a:cubicBezTo>
                  <a:cubicBezTo>
                    <a:pt x="138" y="414"/>
                    <a:pt x="138" y="414"/>
                    <a:pt x="138" y="414"/>
                  </a:cubicBezTo>
                  <a:cubicBezTo>
                    <a:pt x="169" y="426"/>
                    <a:pt x="169" y="426"/>
                    <a:pt x="169" y="426"/>
                  </a:cubicBezTo>
                  <a:cubicBezTo>
                    <a:pt x="163" y="436"/>
                    <a:pt x="163" y="436"/>
                    <a:pt x="163" y="436"/>
                  </a:cubicBezTo>
                  <a:cubicBezTo>
                    <a:pt x="175" y="461"/>
                    <a:pt x="175" y="461"/>
                    <a:pt x="175" y="461"/>
                  </a:cubicBezTo>
                  <a:cubicBezTo>
                    <a:pt x="186" y="454"/>
                    <a:pt x="218" y="458"/>
                    <a:pt x="218" y="458"/>
                  </a:cubicBezTo>
                  <a:cubicBezTo>
                    <a:pt x="218" y="458"/>
                    <a:pt x="247" y="489"/>
                    <a:pt x="258" y="493"/>
                  </a:cubicBezTo>
                  <a:cubicBezTo>
                    <a:pt x="269" y="497"/>
                    <a:pt x="283" y="474"/>
                    <a:pt x="283" y="474"/>
                  </a:cubicBezTo>
                  <a:cubicBezTo>
                    <a:pt x="286" y="481"/>
                    <a:pt x="286" y="481"/>
                    <a:pt x="286" y="481"/>
                  </a:cubicBezTo>
                  <a:cubicBezTo>
                    <a:pt x="298" y="476"/>
                    <a:pt x="298" y="476"/>
                    <a:pt x="298" y="476"/>
                  </a:cubicBezTo>
                  <a:cubicBezTo>
                    <a:pt x="319" y="474"/>
                    <a:pt x="319" y="474"/>
                    <a:pt x="319" y="474"/>
                  </a:cubicBezTo>
                  <a:cubicBezTo>
                    <a:pt x="319" y="474"/>
                    <a:pt x="323" y="468"/>
                    <a:pt x="331" y="466"/>
                  </a:cubicBezTo>
                  <a:cubicBezTo>
                    <a:pt x="319" y="444"/>
                    <a:pt x="343" y="440"/>
                    <a:pt x="343" y="440"/>
                  </a:cubicBezTo>
                  <a:cubicBezTo>
                    <a:pt x="342" y="421"/>
                    <a:pt x="342" y="421"/>
                    <a:pt x="342" y="421"/>
                  </a:cubicBezTo>
                  <a:cubicBezTo>
                    <a:pt x="350" y="412"/>
                    <a:pt x="350" y="412"/>
                    <a:pt x="350" y="412"/>
                  </a:cubicBezTo>
                  <a:cubicBezTo>
                    <a:pt x="346" y="401"/>
                    <a:pt x="346" y="401"/>
                    <a:pt x="346" y="401"/>
                  </a:cubicBezTo>
                  <a:cubicBezTo>
                    <a:pt x="363" y="374"/>
                    <a:pt x="363" y="374"/>
                    <a:pt x="363" y="374"/>
                  </a:cubicBezTo>
                  <a:cubicBezTo>
                    <a:pt x="371" y="366"/>
                    <a:pt x="371" y="366"/>
                    <a:pt x="371" y="366"/>
                  </a:cubicBezTo>
                  <a:cubicBezTo>
                    <a:pt x="385" y="365"/>
                    <a:pt x="385" y="365"/>
                    <a:pt x="385" y="365"/>
                  </a:cubicBezTo>
                  <a:cubicBezTo>
                    <a:pt x="385" y="365"/>
                    <a:pt x="378" y="336"/>
                    <a:pt x="385" y="334"/>
                  </a:cubicBezTo>
                  <a:cubicBezTo>
                    <a:pt x="391" y="333"/>
                    <a:pt x="402" y="348"/>
                    <a:pt x="402" y="348"/>
                  </a:cubicBezTo>
                  <a:cubicBezTo>
                    <a:pt x="421" y="342"/>
                    <a:pt x="421" y="342"/>
                    <a:pt x="421" y="342"/>
                  </a:cubicBezTo>
                  <a:cubicBezTo>
                    <a:pt x="410" y="330"/>
                    <a:pt x="410" y="330"/>
                    <a:pt x="410" y="330"/>
                  </a:cubicBezTo>
                  <a:cubicBezTo>
                    <a:pt x="410" y="330"/>
                    <a:pt x="415" y="325"/>
                    <a:pt x="418" y="293"/>
                  </a:cubicBezTo>
                  <a:cubicBezTo>
                    <a:pt x="399" y="269"/>
                    <a:pt x="419" y="265"/>
                    <a:pt x="419" y="265"/>
                  </a:cubicBezTo>
                  <a:cubicBezTo>
                    <a:pt x="419" y="265"/>
                    <a:pt x="426" y="258"/>
                    <a:pt x="403" y="226"/>
                  </a:cubicBezTo>
                  <a:cubicBezTo>
                    <a:pt x="381" y="194"/>
                    <a:pt x="403" y="193"/>
                    <a:pt x="403" y="193"/>
                  </a:cubicBezTo>
                  <a:cubicBezTo>
                    <a:pt x="403" y="193"/>
                    <a:pt x="414" y="208"/>
                    <a:pt x="419" y="185"/>
                  </a:cubicBezTo>
                  <a:cubicBezTo>
                    <a:pt x="425" y="162"/>
                    <a:pt x="438" y="161"/>
                    <a:pt x="438" y="161"/>
                  </a:cubicBezTo>
                  <a:cubicBezTo>
                    <a:pt x="438" y="161"/>
                    <a:pt x="437" y="145"/>
                    <a:pt x="439" y="141"/>
                  </a:cubicBezTo>
                  <a:cubicBezTo>
                    <a:pt x="410" y="118"/>
                    <a:pt x="430" y="105"/>
                    <a:pt x="430" y="105"/>
                  </a:cubicBezTo>
                  <a:cubicBezTo>
                    <a:pt x="411" y="56"/>
                    <a:pt x="411" y="56"/>
                    <a:pt x="411" y="56"/>
                  </a:cubicBezTo>
                  <a:cubicBezTo>
                    <a:pt x="397" y="54"/>
                    <a:pt x="397" y="54"/>
                    <a:pt x="397" y="54"/>
                  </a:cubicBezTo>
                  <a:cubicBezTo>
                    <a:pt x="397" y="54"/>
                    <a:pt x="395" y="45"/>
                    <a:pt x="393" y="44"/>
                  </a:cubicBezTo>
                  <a:cubicBezTo>
                    <a:pt x="354" y="56"/>
                    <a:pt x="375" y="28"/>
                    <a:pt x="375" y="28"/>
                  </a:cubicBezTo>
                  <a:cubicBezTo>
                    <a:pt x="369" y="28"/>
                    <a:pt x="369" y="28"/>
                    <a:pt x="369" y="28"/>
                  </a:cubicBezTo>
                  <a:cubicBezTo>
                    <a:pt x="365" y="11"/>
                    <a:pt x="365" y="11"/>
                    <a:pt x="365" y="11"/>
                  </a:cubicBezTo>
                  <a:cubicBezTo>
                    <a:pt x="365" y="11"/>
                    <a:pt x="365" y="12"/>
                    <a:pt x="365" y="12"/>
                  </a:cubicBezTo>
                  <a:cubicBezTo>
                    <a:pt x="365" y="12"/>
                    <a:pt x="323" y="22"/>
                    <a:pt x="318" y="13"/>
                  </a:cubicBezTo>
                  <a:cubicBezTo>
                    <a:pt x="293" y="0"/>
                    <a:pt x="298" y="9"/>
                    <a:pt x="286" y="12"/>
                  </a:cubicBezTo>
                  <a:cubicBezTo>
                    <a:pt x="274" y="14"/>
                    <a:pt x="250" y="4"/>
                    <a:pt x="250" y="4"/>
                  </a:cubicBezTo>
                  <a:cubicBezTo>
                    <a:pt x="245" y="22"/>
                    <a:pt x="245" y="22"/>
                    <a:pt x="245" y="22"/>
                  </a:cubicBezTo>
                  <a:cubicBezTo>
                    <a:pt x="235" y="16"/>
                    <a:pt x="235" y="16"/>
                    <a:pt x="235" y="16"/>
                  </a:cubicBezTo>
                  <a:cubicBezTo>
                    <a:pt x="222" y="21"/>
                    <a:pt x="222" y="21"/>
                    <a:pt x="222" y="21"/>
                  </a:cubicBezTo>
                  <a:cubicBezTo>
                    <a:pt x="219" y="13"/>
                    <a:pt x="219" y="13"/>
                    <a:pt x="219" y="13"/>
                  </a:cubicBezTo>
                  <a:cubicBezTo>
                    <a:pt x="202" y="24"/>
                    <a:pt x="202" y="24"/>
                    <a:pt x="202" y="24"/>
                  </a:cubicBezTo>
                  <a:cubicBezTo>
                    <a:pt x="201" y="12"/>
                    <a:pt x="201" y="12"/>
                    <a:pt x="201" y="12"/>
                  </a:cubicBezTo>
                  <a:cubicBezTo>
                    <a:pt x="174" y="32"/>
                    <a:pt x="174" y="32"/>
                    <a:pt x="174" y="32"/>
                  </a:cubicBezTo>
                  <a:cubicBezTo>
                    <a:pt x="169" y="21"/>
                    <a:pt x="169" y="21"/>
                    <a:pt x="169" y="21"/>
                  </a:cubicBezTo>
                  <a:cubicBezTo>
                    <a:pt x="151" y="21"/>
                    <a:pt x="151" y="21"/>
                    <a:pt x="151" y="21"/>
                  </a:cubicBezTo>
                  <a:cubicBezTo>
                    <a:pt x="151" y="28"/>
                    <a:pt x="151" y="28"/>
                    <a:pt x="151" y="28"/>
                  </a:cubicBezTo>
                  <a:cubicBezTo>
                    <a:pt x="133" y="30"/>
                    <a:pt x="133" y="30"/>
                    <a:pt x="133" y="30"/>
                  </a:cubicBezTo>
                  <a:cubicBezTo>
                    <a:pt x="129" y="25"/>
                    <a:pt x="129" y="25"/>
                    <a:pt x="129" y="25"/>
                  </a:cubicBezTo>
                  <a:cubicBezTo>
                    <a:pt x="111" y="32"/>
                    <a:pt x="111" y="32"/>
                    <a:pt x="111" y="32"/>
                  </a:cubicBezTo>
                  <a:cubicBezTo>
                    <a:pt x="97" y="30"/>
                    <a:pt x="97" y="30"/>
                    <a:pt x="97" y="30"/>
                  </a:cubicBezTo>
                  <a:cubicBezTo>
                    <a:pt x="85" y="56"/>
                    <a:pt x="85" y="56"/>
                    <a:pt x="85" y="56"/>
                  </a:cubicBezTo>
                  <a:cubicBezTo>
                    <a:pt x="66" y="54"/>
                    <a:pt x="66" y="54"/>
                    <a:pt x="66" y="54"/>
                  </a:cubicBezTo>
                  <a:cubicBezTo>
                    <a:pt x="50" y="70"/>
                    <a:pt x="50" y="70"/>
                    <a:pt x="50" y="70"/>
                  </a:cubicBezTo>
                  <a:cubicBezTo>
                    <a:pt x="38" y="80"/>
                    <a:pt x="38" y="80"/>
                    <a:pt x="38" y="80"/>
                  </a:cubicBezTo>
                  <a:cubicBezTo>
                    <a:pt x="46" y="101"/>
                    <a:pt x="46" y="101"/>
                    <a:pt x="46" y="101"/>
                  </a:cubicBezTo>
                  <a:cubicBezTo>
                    <a:pt x="34" y="141"/>
                    <a:pt x="62" y="140"/>
                    <a:pt x="62" y="140"/>
                  </a:cubicBezTo>
                  <a:cubicBezTo>
                    <a:pt x="69" y="160"/>
                    <a:pt x="69" y="160"/>
                    <a:pt x="69" y="160"/>
                  </a:cubicBezTo>
                  <a:cubicBezTo>
                    <a:pt x="57" y="168"/>
                    <a:pt x="57" y="168"/>
                    <a:pt x="57" y="168"/>
                  </a:cubicBezTo>
                  <a:cubicBezTo>
                    <a:pt x="57" y="168"/>
                    <a:pt x="47" y="165"/>
                    <a:pt x="43" y="164"/>
                  </a:cubicBezTo>
                  <a:cubicBezTo>
                    <a:pt x="39" y="162"/>
                    <a:pt x="45" y="182"/>
                    <a:pt x="45" y="182"/>
                  </a:cubicBezTo>
                  <a:cubicBezTo>
                    <a:pt x="37" y="208"/>
                    <a:pt x="37" y="208"/>
                    <a:pt x="37" y="208"/>
                  </a:cubicBezTo>
                  <a:cubicBezTo>
                    <a:pt x="17" y="212"/>
                    <a:pt x="17" y="212"/>
                    <a:pt x="17" y="212"/>
                  </a:cubicBezTo>
                  <a:cubicBezTo>
                    <a:pt x="17" y="220"/>
                    <a:pt x="17" y="220"/>
                    <a:pt x="17" y="220"/>
                  </a:cubicBezTo>
                  <a:cubicBezTo>
                    <a:pt x="0" y="240"/>
                    <a:pt x="0" y="240"/>
                    <a:pt x="0" y="240"/>
                  </a:cubicBezTo>
                  <a:cubicBezTo>
                    <a:pt x="18" y="243"/>
                    <a:pt x="31" y="249"/>
                    <a:pt x="31" y="249"/>
                  </a:cubicBezTo>
                  <a:cubicBezTo>
                    <a:pt x="31" y="249"/>
                    <a:pt x="25" y="273"/>
                    <a:pt x="31" y="2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5" name="Auvergne" descr="© INSCALE GmbH, 05.05.2010&#10;http://www.presentationload.com/">
              <a:extLst>
                <a:ext uri="{FF2B5EF4-FFF2-40B4-BE49-F238E27FC236}">
                  <a16:creationId xmlns:a16="http://schemas.microsoft.com/office/drawing/2014/main" id="{9BD5E988-15D3-4B08-876C-E8948F7A9579}"/>
                </a:ext>
              </a:extLst>
            </p:cNvPr>
            <p:cNvSpPr>
              <a:spLocks/>
            </p:cNvSpPr>
            <p:nvPr/>
          </p:nvSpPr>
          <p:spPr bwMode="gray">
            <a:xfrm>
              <a:off x="1704" y="1640"/>
              <a:ext cx="593" cy="753"/>
            </a:xfrm>
            <a:custGeom>
              <a:avLst/>
              <a:gdLst/>
              <a:ahLst/>
              <a:cxnLst>
                <a:cxn ang="0">
                  <a:pos x="15" y="669"/>
                </a:cxn>
                <a:cxn ang="0">
                  <a:pos x="31" y="697"/>
                </a:cxn>
                <a:cxn ang="0">
                  <a:pos x="60" y="689"/>
                </a:cxn>
                <a:cxn ang="0">
                  <a:pos x="111" y="665"/>
                </a:cxn>
                <a:cxn ang="0">
                  <a:pos x="122" y="617"/>
                </a:cxn>
                <a:cxn ang="0">
                  <a:pos x="186" y="636"/>
                </a:cxn>
                <a:cxn ang="0">
                  <a:pos x="218" y="663"/>
                </a:cxn>
                <a:cxn ang="0">
                  <a:pos x="231" y="607"/>
                </a:cxn>
                <a:cxn ang="0">
                  <a:pos x="266" y="611"/>
                </a:cxn>
                <a:cxn ang="0">
                  <a:pos x="266" y="603"/>
                </a:cxn>
                <a:cxn ang="0">
                  <a:pos x="318" y="635"/>
                </a:cxn>
                <a:cxn ang="0">
                  <a:pos x="378" y="629"/>
                </a:cxn>
                <a:cxn ang="0">
                  <a:pos x="424" y="628"/>
                </a:cxn>
                <a:cxn ang="0">
                  <a:pos x="472" y="612"/>
                </a:cxn>
                <a:cxn ang="0">
                  <a:pos x="504" y="560"/>
                </a:cxn>
                <a:cxn ang="0">
                  <a:pos x="522" y="535"/>
                </a:cxn>
                <a:cxn ang="0">
                  <a:pos x="536" y="517"/>
                </a:cxn>
                <a:cxn ang="0">
                  <a:pos x="507" y="467"/>
                </a:cxn>
                <a:cxn ang="0">
                  <a:pos x="450" y="463"/>
                </a:cxn>
                <a:cxn ang="0">
                  <a:pos x="430" y="449"/>
                </a:cxn>
                <a:cxn ang="0">
                  <a:pos x="408" y="445"/>
                </a:cxn>
                <a:cxn ang="0">
                  <a:pos x="364" y="320"/>
                </a:cxn>
                <a:cxn ang="0">
                  <a:pos x="362" y="273"/>
                </a:cxn>
                <a:cxn ang="0">
                  <a:pos x="386" y="217"/>
                </a:cxn>
                <a:cxn ang="0">
                  <a:pos x="378" y="176"/>
                </a:cxn>
                <a:cxn ang="0">
                  <a:pos x="411" y="159"/>
                </a:cxn>
                <a:cxn ang="0">
                  <a:pos x="424" y="101"/>
                </a:cxn>
                <a:cxn ang="0">
                  <a:pos x="370" y="81"/>
                </a:cxn>
                <a:cxn ang="0">
                  <a:pos x="327" y="32"/>
                </a:cxn>
                <a:cxn ang="0">
                  <a:pos x="306" y="31"/>
                </a:cxn>
                <a:cxn ang="0">
                  <a:pos x="263" y="25"/>
                </a:cxn>
                <a:cxn ang="0">
                  <a:pos x="171" y="23"/>
                </a:cxn>
                <a:cxn ang="0">
                  <a:pos x="115" y="49"/>
                </a:cxn>
                <a:cxn ang="0">
                  <a:pos x="46" y="118"/>
                </a:cxn>
                <a:cxn ang="0">
                  <a:pos x="74" y="151"/>
                </a:cxn>
                <a:cxn ang="0">
                  <a:pos x="111" y="212"/>
                </a:cxn>
                <a:cxn ang="0">
                  <a:pos x="100" y="292"/>
                </a:cxn>
                <a:cxn ang="0">
                  <a:pos x="100" y="372"/>
                </a:cxn>
                <a:cxn ang="0">
                  <a:pos x="102" y="449"/>
                </a:cxn>
                <a:cxn ang="0">
                  <a:pos x="66" y="472"/>
                </a:cxn>
                <a:cxn ang="0">
                  <a:pos x="27" y="508"/>
                </a:cxn>
                <a:cxn ang="0">
                  <a:pos x="24" y="547"/>
                </a:cxn>
                <a:cxn ang="0">
                  <a:pos x="4" y="608"/>
                </a:cxn>
              </a:cxnLst>
              <a:rect l="0" t="0" r="r" b="b"/>
              <a:pathLst>
                <a:path w="550" h="697">
                  <a:moveTo>
                    <a:pt x="4" y="608"/>
                  </a:moveTo>
                  <a:cubicBezTo>
                    <a:pt x="20" y="635"/>
                    <a:pt x="20" y="635"/>
                    <a:pt x="20" y="635"/>
                  </a:cubicBezTo>
                  <a:cubicBezTo>
                    <a:pt x="15" y="669"/>
                    <a:pt x="15" y="669"/>
                    <a:pt x="15" y="669"/>
                  </a:cubicBezTo>
                  <a:cubicBezTo>
                    <a:pt x="24" y="675"/>
                    <a:pt x="24" y="675"/>
                    <a:pt x="24" y="675"/>
                  </a:cubicBezTo>
                  <a:cubicBezTo>
                    <a:pt x="26" y="691"/>
                    <a:pt x="26" y="691"/>
                    <a:pt x="26" y="691"/>
                  </a:cubicBezTo>
                  <a:cubicBezTo>
                    <a:pt x="31" y="697"/>
                    <a:pt x="31" y="697"/>
                    <a:pt x="31" y="697"/>
                  </a:cubicBezTo>
                  <a:cubicBezTo>
                    <a:pt x="30" y="685"/>
                    <a:pt x="30" y="685"/>
                    <a:pt x="30" y="685"/>
                  </a:cubicBezTo>
                  <a:cubicBezTo>
                    <a:pt x="59" y="684"/>
                    <a:pt x="59" y="684"/>
                    <a:pt x="59" y="684"/>
                  </a:cubicBezTo>
                  <a:cubicBezTo>
                    <a:pt x="60" y="689"/>
                    <a:pt x="60" y="689"/>
                    <a:pt x="60" y="689"/>
                  </a:cubicBezTo>
                  <a:cubicBezTo>
                    <a:pt x="94" y="687"/>
                    <a:pt x="94" y="687"/>
                    <a:pt x="94" y="687"/>
                  </a:cubicBezTo>
                  <a:cubicBezTo>
                    <a:pt x="98" y="675"/>
                    <a:pt x="98" y="675"/>
                    <a:pt x="98" y="675"/>
                  </a:cubicBezTo>
                  <a:cubicBezTo>
                    <a:pt x="111" y="665"/>
                    <a:pt x="111" y="665"/>
                    <a:pt x="111" y="665"/>
                  </a:cubicBezTo>
                  <a:cubicBezTo>
                    <a:pt x="112" y="645"/>
                    <a:pt x="112" y="645"/>
                    <a:pt x="112" y="645"/>
                  </a:cubicBezTo>
                  <a:cubicBezTo>
                    <a:pt x="120" y="639"/>
                    <a:pt x="120" y="639"/>
                    <a:pt x="120" y="639"/>
                  </a:cubicBezTo>
                  <a:cubicBezTo>
                    <a:pt x="122" y="617"/>
                    <a:pt x="122" y="617"/>
                    <a:pt x="122" y="617"/>
                  </a:cubicBezTo>
                  <a:cubicBezTo>
                    <a:pt x="122" y="617"/>
                    <a:pt x="122" y="624"/>
                    <a:pt x="131" y="616"/>
                  </a:cubicBezTo>
                  <a:cubicBezTo>
                    <a:pt x="157" y="579"/>
                    <a:pt x="163" y="607"/>
                    <a:pt x="161" y="614"/>
                  </a:cubicBezTo>
                  <a:cubicBezTo>
                    <a:pt x="172" y="606"/>
                    <a:pt x="186" y="636"/>
                    <a:pt x="186" y="636"/>
                  </a:cubicBezTo>
                  <a:cubicBezTo>
                    <a:pt x="195" y="647"/>
                    <a:pt x="195" y="647"/>
                    <a:pt x="195" y="647"/>
                  </a:cubicBezTo>
                  <a:cubicBezTo>
                    <a:pt x="204" y="687"/>
                    <a:pt x="204" y="687"/>
                    <a:pt x="204" y="687"/>
                  </a:cubicBezTo>
                  <a:cubicBezTo>
                    <a:pt x="218" y="663"/>
                    <a:pt x="218" y="663"/>
                    <a:pt x="218" y="663"/>
                  </a:cubicBezTo>
                  <a:cubicBezTo>
                    <a:pt x="224" y="636"/>
                    <a:pt x="224" y="636"/>
                    <a:pt x="224" y="636"/>
                  </a:cubicBezTo>
                  <a:cubicBezTo>
                    <a:pt x="232" y="627"/>
                    <a:pt x="232" y="627"/>
                    <a:pt x="232" y="627"/>
                  </a:cubicBezTo>
                  <a:cubicBezTo>
                    <a:pt x="231" y="607"/>
                    <a:pt x="231" y="607"/>
                    <a:pt x="231" y="607"/>
                  </a:cubicBezTo>
                  <a:cubicBezTo>
                    <a:pt x="240" y="603"/>
                    <a:pt x="240" y="603"/>
                    <a:pt x="240" y="603"/>
                  </a:cubicBezTo>
                  <a:cubicBezTo>
                    <a:pt x="248" y="616"/>
                    <a:pt x="248" y="616"/>
                    <a:pt x="248" y="616"/>
                  </a:cubicBezTo>
                  <a:cubicBezTo>
                    <a:pt x="266" y="611"/>
                    <a:pt x="266" y="611"/>
                    <a:pt x="266" y="611"/>
                  </a:cubicBezTo>
                  <a:cubicBezTo>
                    <a:pt x="266" y="603"/>
                    <a:pt x="266" y="603"/>
                    <a:pt x="266" y="603"/>
                  </a:cubicBezTo>
                  <a:cubicBezTo>
                    <a:pt x="263" y="603"/>
                    <a:pt x="267" y="593"/>
                    <a:pt x="267" y="593"/>
                  </a:cubicBezTo>
                  <a:cubicBezTo>
                    <a:pt x="266" y="603"/>
                    <a:pt x="266" y="603"/>
                    <a:pt x="266" y="603"/>
                  </a:cubicBezTo>
                  <a:cubicBezTo>
                    <a:pt x="267" y="603"/>
                    <a:pt x="269" y="602"/>
                    <a:pt x="271" y="600"/>
                  </a:cubicBezTo>
                  <a:cubicBezTo>
                    <a:pt x="282" y="591"/>
                    <a:pt x="300" y="584"/>
                    <a:pt x="300" y="584"/>
                  </a:cubicBezTo>
                  <a:cubicBezTo>
                    <a:pt x="318" y="635"/>
                    <a:pt x="318" y="635"/>
                    <a:pt x="318" y="635"/>
                  </a:cubicBezTo>
                  <a:cubicBezTo>
                    <a:pt x="318" y="635"/>
                    <a:pt x="318" y="635"/>
                    <a:pt x="342" y="627"/>
                  </a:cubicBezTo>
                  <a:cubicBezTo>
                    <a:pt x="346" y="600"/>
                    <a:pt x="356" y="624"/>
                    <a:pt x="356" y="624"/>
                  </a:cubicBezTo>
                  <a:cubicBezTo>
                    <a:pt x="378" y="629"/>
                    <a:pt x="378" y="629"/>
                    <a:pt x="378" y="629"/>
                  </a:cubicBezTo>
                  <a:cubicBezTo>
                    <a:pt x="399" y="655"/>
                    <a:pt x="399" y="655"/>
                    <a:pt x="399" y="655"/>
                  </a:cubicBezTo>
                  <a:cubicBezTo>
                    <a:pt x="424" y="644"/>
                    <a:pt x="424" y="644"/>
                    <a:pt x="424" y="644"/>
                  </a:cubicBezTo>
                  <a:cubicBezTo>
                    <a:pt x="424" y="628"/>
                    <a:pt x="424" y="628"/>
                    <a:pt x="424" y="628"/>
                  </a:cubicBezTo>
                  <a:cubicBezTo>
                    <a:pt x="443" y="619"/>
                    <a:pt x="443" y="619"/>
                    <a:pt x="443" y="619"/>
                  </a:cubicBezTo>
                  <a:cubicBezTo>
                    <a:pt x="444" y="613"/>
                    <a:pt x="444" y="613"/>
                    <a:pt x="444" y="613"/>
                  </a:cubicBezTo>
                  <a:cubicBezTo>
                    <a:pt x="472" y="612"/>
                    <a:pt x="472" y="612"/>
                    <a:pt x="472" y="612"/>
                  </a:cubicBezTo>
                  <a:cubicBezTo>
                    <a:pt x="484" y="584"/>
                    <a:pt x="484" y="584"/>
                    <a:pt x="484" y="584"/>
                  </a:cubicBezTo>
                  <a:cubicBezTo>
                    <a:pt x="504" y="580"/>
                    <a:pt x="504" y="580"/>
                    <a:pt x="504" y="580"/>
                  </a:cubicBezTo>
                  <a:cubicBezTo>
                    <a:pt x="504" y="560"/>
                    <a:pt x="504" y="560"/>
                    <a:pt x="504" y="560"/>
                  </a:cubicBezTo>
                  <a:cubicBezTo>
                    <a:pt x="519" y="560"/>
                    <a:pt x="519" y="560"/>
                    <a:pt x="519" y="560"/>
                  </a:cubicBezTo>
                  <a:cubicBezTo>
                    <a:pt x="519" y="560"/>
                    <a:pt x="512" y="548"/>
                    <a:pt x="512" y="544"/>
                  </a:cubicBezTo>
                  <a:cubicBezTo>
                    <a:pt x="512" y="540"/>
                    <a:pt x="522" y="535"/>
                    <a:pt x="522" y="535"/>
                  </a:cubicBezTo>
                  <a:cubicBezTo>
                    <a:pt x="519" y="523"/>
                    <a:pt x="519" y="523"/>
                    <a:pt x="519" y="523"/>
                  </a:cubicBezTo>
                  <a:cubicBezTo>
                    <a:pt x="533" y="534"/>
                    <a:pt x="533" y="534"/>
                    <a:pt x="533" y="534"/>
                  </a:cubicBezTo>
                  <a:cubicBezTo>
                    <a:pt x="532" y="533"/>
                    <a:pt x="532" y="529"/>
                    <a:pt x="536" y="517"/>
                  </a:cubicBezTo>
                  <a:cubicBezTo>
                    <a:pt x="550" y="468"/>
                    <a:pt x="519" y="489"/>
                    <a:pt x="519" y="489"/>
                  </a:cubicBezTo>
                  <a:cubicBezTo>
                    <a:pt x="512" y="471"/>
                    <a:pt x="512" y="471"/>
                    <a:pt x="512" y="471"/>
                  </a:cubicBezTo>
                  <a:cubicBezTo>
                    <a:pt x="507" y="467"/>
                    <a:pt x="507" y="467"/>
                    <a:pt x="507" y="467"/>
                  </a:cubicBezTo>
                  <a:cubicBezTo>
                    <a:pt x="520" y="456"/>
                    <a:pt x="495" y="459"/>
                    <a:pt x="488" y="449"/>
                  </a:cubicBezTo>
                  <a:cubicBezTo>
                    <a:pt x="482" y="440"/>
                    <a:pt x="452" y="455"/>
                    <a:pt x="452" y="455"/>
                  </a:cubicBezTo>
                  <a:cubicBezTo>
                    <a:pt x="450" y="463"/>
                    <a:pt x="450" y="463"/>
                    <a:pt x="450" y="463"/>
                  </a:cubicBezTo>
                  <a:cubicBezTo>
                    <a:pt x="444" y="456"/>
                    <a:pt x="444" y="456"/>
                    <a:pt x="444" y="456"/>
                  </a:cubicBezTo>
                  <a:cubicBezTo>
                    <a:pt x="434" y="461"/>
                    <a:pt x="434" y="461"/>
                    <a:pt x="434" y="461"/>
                  </a:cubicBezTo>
                  <a:cubicBezTo>
                    <a:pt x="430" y="449"/>
                    <a:pt x="430" y="449"/>
                    <a:pt x="430" y="449"/>
                  </a:cubicBezTo>
                  <a:cubicBezTo>
                    <a:pt x="418" y="449"/>
                    <a:pt x="418" y="449"/>
                    <a:pt x="418" y="449"/>
                  </a:cubicBezTo>
                  <a:cubicBezTo>
                    <a:pt x="412" y="468"/>
                    <a:pt x="412" y="468"/>
                    <a:pt x="412" y="468"/>
                  </a:cubicBezTo>
                  <a:cubicBezTo>
                    <a:pt x="408" y="445"/>
                    <a:pt x="408" y="445"/>
                    <a:pt x="408" y="445"/>
                  </a:cubicBezTo>
                  <a:cubicBezTo>
                    <a:pt x="408" y="445"/>
                    <a:pt x="422" y="439"/>
                    <a:pt x="424" y="432"/>
                  </a:cubicBezTo>
                  <a:cubicBezTo>
                    <a:pt x="436" y="412"/>
                    <a:pt x="396" y="376"/>
                    <a:pt x="391" y="376"/>
                  </a:cubicBezTo>
                  <a:cubicBezTo>
                    <a:pt x="387" y="356"/>
                    <a:pt x="364" y="320"/>
                    <a:pt x="364" y="320"/>
                  </a:cubicBezTo>
                  <a:cubicBezTo>
                    <a:pt x="366" y="292"/>
                    <a:pt x="366" y="292"/>
                    <a:pt x="366" y="292"/>
                  </a:cubicBezTo>
                  <a:cubicBezTo>
                    <a:pt x="374" y="289"/>
                    <a:pt x="374" y="289"/>
                    <a:pt x="374" y="289"/>
                  </a:cubicBezTo>
                  <a:cubicBezTo>
                    <a:pt x="362" y="273"/>
                    <a:pt x="362" y="273"/>
                    <a:pt x="362" y="273"/>
                  </a:cubicBezTo>
                  <a:cubicBezTo>
                    <a:pt x="362" y="261"/>
                    <a:pt x="362" y="261"/>
                    <a:pt x="362" y="261"/>
                  </a:cubicBezTo>
                  <a:cubicBezTo>
                    <a:pt x="387" y="252"/>
                    <a:pt x="387" y="252"/>
                    <a:pt x="387" y="252"/>
                  </a:cubicBezTo>
                  <a:cubicBezTo>
                    <a:pt x="386" y="217"/>
                    <a:pt x="386" y="217"/>
                    <a:pt x="386" y="217"/>
                  </a:cubicBezTo>
                  <a:cubicBezTo>
                    <a:pt x="379" y="204"/>
                    <a:pt x="379" y="204"/>
                    <a:pt x="379" y="204"/>
                  </a:cubicBezTo>
                  <a:cubicBezTo>
                    <a:pt x="383" y="189"/>
                    <a:pt x="383" y="189"/>
                    <a:pt x="383" y="189"/>
                  </a:cubicBezTo>
                  <a:cubicBezTo>
                    <a:pt x="378" y="176"/>
                    <a:pt x="378" y="176"/>
                    <a:pt x="378" y="176"/>
                  </a:cubicBezTo>
                  <a:cubicBezTo>
                    <a:pt x="403" y="165"/>
                    <a:pt x="403" y="165"/>
                    <a:pt x="403" y="165"/>
                  </a:cubicBezTo>
                  <a:cubicBezTo>
                    <a:pt x="403" y="156"/>
                    <a:pt x="403" y="156"/>
                    <a:pt x="403" y="156"/>
                  </a:cubicBezTo>
                  <a:cubicBezTo>
                    <a:pt x="411" y="159"/>
                    <a:pt x="411" y="159"/>
                    <a:pt x="411" y="159"/>
                  </a:cubicBezTo>
                  <a:cubicBezTo>
                    <a:pt x="416" y="145"/>
                    <a:pt x="416" y="145"/>
                    <a:pt x="416" y="145"/>
                  </a:cubicBezTo>
                  <a:cubicBezTo>
                    <a:pt x="423" y="145"/>
                    <a:pt x="423" y="145"/>
                    <a:pt x="423" y="145"/>
                  </a:cubicBezTo>
                  <a:cubicBezTo>
                    <a:pt x="423" y="145"/>
                    <a:pt x="423" y="116"/>
                    <a:pt x="424" y="101"/>
                  </a:cubicBezTo>
                  <a:cubicBezTo>
                    <a:pt x="426" y="87"/>
                    <a:pt x="398" y="97"/>
                    <a:pt x="398" y="97"/>
                  </a:cubicBezTo>
                  <a:cubicBezTo>
                    <a:pt x="387" y="84"/>
                    <a:pt x="387" y="84"/>
                    <a:pt x="387" y="84"/>
                  </a:cubicBezTo>
                  <a:cubicBezTo>
                    <a:pt x="370" y="81"/>
                    <a:pt x="370" y="81"/>
                    <a:pt x="370" y="81"/>
                  </a:cubicBezTo>
                  <a:cubicBezTo>
                    <a:pt x="366" y="63"/>
                    <a:pt x="366" y="63"/>
                    <a:pt x="366" y="63"/>
                  </a:cubicBezTo>
                  <a:cubicBezTo>
                    <a:pt x="366" y="63"/>
                    <a:pt x="336" y="12"/>
                    <a:pt x="332" y="8"/>
                  </a:cubicBezTo>
                  <a:cubicBezTo>
                    <a:pt x="328" y="4"/>
                    <a:pt x="327" y="32"/>
                    <a:pt x="327" y="32"/>
                  </a:cubicBezTo>
                  <a:cubicBezTo>
                    <a:pt x="318" y="31"/>
                    <a:pt x="318" y="31"/>
                    <a:pt x="318" y="31"/>
                  </a:cubicBezTo>
                  <a:cubicBezTo>
                    <a:pt x="306" y="45"/>
                    <a:pt x="306" y="45"/>
                    <a:pt x="306" y="45"/>
                  </a:cubicBezTo>
                  <a:cubicBezTo>
                    <a:pt x="306" y="31"/>
                    <a:pt x="306" y="31"/>
                    <a:pt x="306" y="31"/>
                  </a:cubicBezTo>
                  <a:cubicBezTo>
                    <a:pt x="294" y="24"/>
                    <a:pt x="294" y="24"/>
                    <a:pt x="294" y="24"/>
                  </a:cubicBezTo>
                  <a:cubicBezTo>
                    <a:pt x="294" y="24"/>
                    <a:pt x="283" y="32"/>
                    <a:pt x="279" y="32"/>
                  </a:cubicBezTo>
                  <a:cubicBezTo>
                    <a:pt x="275" y="32"/>
                    <a:pt x="267" y="25"/>
                    <a:pt x="263" y="25"/>
                  </a:cubicBezTo>
                  <a:cubicBezTo>
                    <a:pt x="259" y="25"/>
                    <a:pt x="254" y="36"/>
                    <a:pt x="244" y="35"/>
                  </a:cubicBezTo>
                  <a:cubicBezTo>
                    <a:pt x="236" y="34"/>
                    <a:pt x="220" y="9"/>
                    <a:pt x="213" y="1"/>
                  </a:cubicBezTo>
                  <a:cubicBezTo>
                    <a:pt x="188" y="0"/>
                    <a:pt x="178" y="8"/>
                    <a:pt x="171" y="23"/>
                  </a:cubicBezTo>
                  <a:cubicBezTo>
                    <a:pt x="163" y="39"/>
                    <a:pt x="148" y="17"/>
                    <a:pt x="144" y="17"/>
                  </a:cubicBezTo>
                  <a:cubicBezTo>
                    <a:pt x="140" y="17"/>
                    <a:pt x="122" y="36"/>
                    <a:pt x="122" y="36"/>
                  </a:cubicBezTo>
                  <a:cubicBezTo>
                    <a:pt x="122" y="36"/>
                    <a:pt x="122" y="44"/>
                    <a:pt x="115" y="49"/>
                  </a:cubicBezTo>
                  <a:cubicBezTo>
                    <a:pt x="108" y="55"/>
                    <a:pt x="118" y="77"/>
                    <a:pt x="118" y="77"/>
                  </a:cubicBezTo>
                  <a:cubicBezTo>
                    <a:pt x="118" y="77"/>
                    <a:pt x="118" y="77"/>
                    <a:pt x="102" y="88"/>
                  </a:cubicBezTo>
                  <a:cubicBezTo>
                    <a:pt x="72" y="77"/>
                    <a:pt x="50" y="111"/>
                    <a:pt x="46" y="118"/>
                  </a:cubicBezTo>
                  <a:cubicBezTo>
                    <a:pt x="50" y="135"/>
                    <a:pt x="50" y="135"/>
                    <a:pt x="50" y="135"/>
                  </a:cubicBezTo>
                  <a:cubicBezTo>
                    <a:pt x="56" y="135"/>
                    <a:pt x="56" y="135"/>
                    <a:pt x="56" y="135"/>
                  </a:cubicBezTo>
                  <a:cubicBezTo>
                    <a:pt x="56" y="135"/>
                    <a:pt x="35" y="163"/>
                    <a:pt x="74" y="151"/>
                  </a:cubicBezTo>
                  <a:cubicBezTo>
                    <a:pt x="76" y="152"/>
                    <a:pt x="78" y="161"/>
                    <a:pt x="78" y="161"/>
                  </a:cubicBezTo>
                  <a:cubicBezTo>
                    <a:pt x="92" y="163"/>
                    <a:pt x="92" y="163"/>
                    <a:pt x="92" y="163"/>
                  </a:cubicBezTo>
                  <a:cubicBezTo>
                    <a:pt x="111" y="212"/>
                    <a:pt x="111" y="212"/>
                    <a:pt x="111" y="212"/>
                  </a:cubicBezTo>
                  <a:cubicBezTo>
                    <a:pt x="111" y="212"/>
                    <a:pt x="91" y="225"/>
                    <a:pt x="120" y="248"/>
                  </a:cubicBezTo>
                  <a:cubicBezTo>
                    <a:pt x="118" y="252"/>
                    <a:pt x="119" y="268"/>
                    <a:pt x="119" y="268"/>
                  </a:cubicBezTo>
                  <a:cubicBezTo>
                    <a:pt x="119" y="268"/>
                    <a:pt x="106" y="269"/>
                    <a:pt x="100" y="292"/>
                  </a:cubicBezTo>
                  <a:cubicBezTo>
                    <a:pt x="95" y="315"/>
                    <a:pt x="84" y="300"/>
                    <a:pt x="84" y="300"/>
                  </a:cubicBezTo>
                  <a:cubicBezTo>
                    <a:pt x="84" y="300"/>
                    <a:pt x="62" y="301"/>
                    <a:pt x="84" y="333"/>
                  </a:cubicBezTo>
                  <a:cubicBezTo>
                    <a:pt x="107" y="365"/>
                    <a:pt x="100" y="372"/>
                    <a:pt x="100" y="372"/>
                  </a:cubicBezTo>
                  <a:cubicBezTo>
                    <a:pt x="100" y="372"/>
                    <a:pt x="80" y="376"/>
                    <a:pt x="99" y="400"/>
                  </a:cubicBezTo>
                  <a:cubicBezTo>
                    <a:pt x="96" y="432"/>
                    <a:pt x="91" y="437"/>
                    <a:pt x="91" y="437"/>
                  </a:cubicBezTo>
                  <a:cubicBezTo>
                    <a:pt x="102" y="449"/>
                    <a:pt x="102" y="449"/>
                    <a:pt x="102" y="449"/>
                  </a:cubicBezTo>
                  <a:cubicBezTo>
                    <a:pt x="83" y="455"/>
                    <a:pt x="83" y="455"/>
                    <a:pt x="83" y="455"/>
                  </a:cubicBezTo>
                  <a:cubicBezTo>
                    <a:pt x="83" y="455"/>
                    <a:pt x="72" y="440"/>
                    <a:pt x="66" y="441"/>
                  </a:cubicBezTo>
                  <a:cubicBezTo>
                    <a:pt x="59" y="443"/>
                    <a:pt x="66" y="472"/>
                    <a:pt x="66" y="472"/>
                  </a:cubicBezTo>
                  <a:cubicBezTo>
                    <a:pt x="52" y="473"/>
                    <a:pt x="52" y="473"/>
                    <a:pt x="52" y="473"/>
                  </a:cubicBezTo>
                  <a:cubicBezTo>
                    <a:pt x="44" y="481"/>
                    <a:pt x="44" y="481"/>
                    <a:pt x="44" y="481"/>
                  </a:cubicBezTo>
                  <a:cubicBezTo>
                    <a:pt x="27" y="508"/>
                    <a:pt x="27" y="508"/>
                    <a:pt x="27" y="508"/>
                  </a:cubicBezTo>
                  <a:cubicBezTo>
                    <a:pt x="31" y="519"/>
                    <a:pt x="31" y="519"/>
                    <a:pt x="31" y="519"/>
                  </a:cubicBezTo>
                  <a:cubicBezTo>
                    <a:pt x="23" y="528"/>
                    <a:pt x="23" y="528"/>
                    <a:pt x="23" y="528"/>
                  </a:cubicBezTo>
                  <a:cubicBezTo>
                    <a:pt x="24" y="547"/>
                    <a:pt x="24" y="547"/>
                    <a:pt x="24" y="547"/>
                  </a:cubicBezTo>
                  <a:cubicBezTo>
                    <a:pt x="24" y="547"/>
                    <a:pt x="0" y="551"/>
                    <a:pt x="12" y="573"/>
                  </a:cubicBezTo>
                  <a:cubicBezTo>
                    <a:pt x="8" y="574"/>
                    <a:pt x="5" y="576"/>
                    <a:pt x="3" y="578"/>
                  </a:cubicBezTo>
                  <a:cubicBezTo>
                    <a:pt x="6" y="591"/>
                    <a:pt x="4" y="608"/>
                    <a:pt x="4" y="608"/>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6" name="Provence" descr="© INSCALE GmbH, 05.05.2010&#10;http://www.presentationload.com/">
              <a:extLst>
                <a:ext uri="{FF2B5EF4-FFF2-40B4-BE49-F238E27FC236}">
                  <a16:creationId xmlns:a16="http://schemas.microsoft.com/office/drawing/2014/main" id="{9A4171FE-BD58-4F57-89AE-DD2732B8B4B6}"/>
                </a:ext>
              </a:extLst>
            </p:cNvPr>
            <p:cNvSpPr>
              <a:spLocks/>
            </p:cNvSpPr>
            <p:nvPr/>
          </p:nvSpPr>
          <p:spPr bwMode="gray">
            <a:xfrm>
              <a:off x="2233" y="2198"/>
              <a:ext cx="838" cy="739"/>
            </a:xfrm>
            <a:custGeom>
              <a:avLst/>
              <a:gdLst/>
              <a:ahLst/>
              <a:cxnLst>
                <a:cxn ang="0">
                  <a:pos x="68" y="539"/>
                </a:cxn>
                <a:cxn ang="0">
                  <a:pos x="78" y="572"/>
                </a:cxn>
                <a:cxn ang="0">
                  <a:pos x="129" y="586"/>
                </a:cxn>
                <a:cxn ang="0">
                  <a:pos x="134" y="565"/>
                </a:cxn>
                <a:cxn ang="0">
                  <a:pos x="161" y="554"/>
                </a:cxn>
                <a:cxn ang="0">
                  <a:pos x="214" y="585"/>
                </a:cxn>
                <a:cxn ang="0">
                  <a:pos x="251" y="596"/>
                </a:cxn>
                <a:cxn ang="0">
                  <a:pos x="255" y="612"/>
                </a:cxn>
                <a:cxn ang="0">
                  <a:pos x="295" y="632"/>
                </a:cxn>
                <a:cxn ang="0">
                  <a:pos x="332" y="649"/>
                </a:cxn>
                <a:cxn ang="0">
                  <a:pos x="364" y="684"/>
                </a:cxn>
                <a:cxn ang="0">
                  <a:pos x="407" y="679"/>
                </a:cxn>
                <a:cxn ang="0">
                  <a:pos x="426" y="679"/>
                </a:cxn>
                <a:cxn ang="0">
                  <a:pos x="465" y="665"/>
                </a:cxn>
                <a:cxn ang="0">
                  <a:pos x="526" y="641"/>
                </a:cxn>
                <a:cxn ang="0">
                  <a:pos x="549" y="634"/>
                </a:cxn>
                <a:cxn ang="0">
                  <a:pos x="532" y="604"/>
                </a:cxn>
                <a:cxn ang="0">
                  <a:pos x="569" y="558"/>
                </a:cxn>
                <a:cxn ang="0">
                  <a:pos x="631" y="523"/>
                </a:cxn>
                <a:cxn ang="0">
                  <a:pos x="667" y="477"/>
                </a:cxn>
                <a:cxn ang="0">
                  <a:pos x="691" y="466"/>
                </a:cxn>
                <a:cxn ang="0">
                  <a:pos x="715" y="460"/>
                </a:cxn>
                <a:cxn ang="0">
                  <a:pos x="723" y="445"/>
                </a:cxn>
                <a:cxn ang="0">
                  <a:pos x="727" y="410"/>
                </a:cxn>
                <a:cxn ang="0">
                  <a:pos x="749" y="384"/>
                </a:cxn>
                <a:cxn ang="0">
                  <a:pos x="764" y="325"/>
                </a:cxn>
                <a:cxn ang="0">
                  <a:pos x="758" y="308"/>
                </a:cxn>
                <a:cxn ang="0">
                  <a:pos x="725" y="323"/>
                </a:cxn>
                <a:cxn ang="0">
                  <a:pos x="630" y="285"/>
                </a:cxn>
                <a:cxn ang="0">
                  <a:pos x="612" y="282"/>
                </a:cxn>
                <a:cxn ang="0">
                  <a:pos x="589" y="238"/>
                </a:cxn>
                <a:cxn ang="0">
                  <a:pos x="579" y="182"/>
                </a:cxn>
                <a:cxn ang="0">
                  <a:pos x="609" y="133"/>
                </a:cxn>
                <a:cxn ang="0">
                  <a:pos x="614" y="82"/>
                </a:cxn>
                <a:cxn ang="0">
                  <a:pos x="548" y="49"/>
                </a:cxn>
                <a:cxn ang="0">
                  <a:pos x="534" y="16"/>
                </a:cxn>
                <a:cxn ang="0">
                  <a:pos x="528" y="2"/>
                </a:cxn>
                <a:cxn ang="0">
                  <a:pos x="501" y="14"/>
                </a:cxn>
                <a:cxn ang="0">
                  <a:pos x="476" y="0"/>
                </a:cxn>
                <a:cxn ang="0">
                  <a:pos x="449" y="11"/>
                </a:cxn>
                <a:cxn ang="0">
                  <a:pos x="468" y="40"/>
                </a:cxn>
                <a:cxn ang="0">
                  <a:pos x="413" y="94"/>
                </a:cxn>
                <a:cxn ang="0">
                  <a:pos x="361" y="116"/>
                </a:cxn>
                <a:cxn ang="0">
                  <a:pos x="321" y="162"/>
                </a:cxn>
                <a:cxn ang="0">
                  <a:pos x="325" y="198"/>
                </a:cxn>
                <a:cxn ang="0">
                  <a:pos x="281" y="206"/>
                </a:cxn>
                <a:cxn ang="0">
                  <a:pos x="286" y="230"/>
                </a:cxn>
                <a:cxn ang="0">
                  <a:pos x="286" y="256"/>
                </a:cxn>
                <a:cxn ang="0">
                  <a:pos x="334" y="278"/>
                </a:cxn>
                <a:cxn ang="0">
                  <a:pos x="322" y="311"/>
                </a:cxn>
                <a:cxn ang="0">
                  <a:pos x="288" y="326"/>
                </a:cxn>
                <a:cxn ang="0">
                  <a:pos x="265" y="314"/>
                </a:cxn>
                <a:cxn ang="0">
                  <a:pos x="237" y="295"/>
                </a:cxn>
                <a:cxn ang="0">
                  <a:pos x="213" y="294"/>
                </a:cxn>
                <a:cxn ang="0">
                  <a:pos x="201" y="276"/>
                </a:cxn>
                <a:cxn ang="0">
                  <a:pos x="136" y="296"/>
                </a:cxn>
                <a:cxn ang="0">
                  <a:pos x="100" y="283"/>
                </a:cxn>
                <a:cxn ang="0">
                  <a:pos x="104" y="303"/>
                </a:cxn>
                <a:cxn ang="0">
                  <a:pos x="114" y="343"/>
                </a:cxn>
                <a:cxn ang="0">
                  <a:pos x="145" y="371"/>
                </a:cxn>
                <a:cxn ang="0">
                  <a:pos x="94" y="472"/>
                </a:cxn>
                <a:cxn ang="0">
                  <a:pos x="54" y="490"/>
                </a:cxn>
                <a:cxn ang="0">
                  <a:pos x="0" y="540"/>
                </a:cxn>
              </a:cxnLst>
              <a:rect l="0" t="0" r="r" b="b"/>
              <a:pathLst>
                <a:path w="778" h="684">
                  <a:moveTo>
                    <a:pt x="2" y="541"/>
                  </a:moveTo>
                  <a:cubicBezTo>
                    <a:pt x="3" y="544"/>
                    <a:pt x="54" y="539"/>
                    <a:pt x="68" y="539"/>
                  </a:cubicBezTo>
                  <a:cubicBezTo>
                    <a:pt x="82" y="539"/>
                    <a:pt x="80" y="555"/>
                    <a:pt x="80" y="555"/>
                  </a:cubicBezTo>
                  <a:cubicBezTo>
                    <a:pt x="57" y="564"/>
                    <a:pt x="80" y="563"/>
                    <a:pt x="78" y="572"/>
                  </a:cubicBezTo>
                  <a:cubicBezTo>
                    <a:pt x="76" y="581"/>
                    <a:pt x="119" y="577"/>
                    <a:pt x="119" y="577"/>
                  </a:cubicBezTo>
                  <a:cubicBezTo>
                    <a:pt x="119" y="577"/>
                    <a:pt x="127" y="583"/>
                    <a:pt x="129" y="586"/>
                  </a:cubicBezTo>
                  <a:cubicBezTo>
                    <a:pt x="131" y="589"/>
                    <a:pt x="138" y="577"/>
                    <a:pt x="144" y="575"/>
                  </a:cubicBezTo>
                  <a:cubicBezTo>
                    <a:pt x="150" y="573"/>
                    <a:pt x="138" y="576"/>
                    <a:pt x="134" y="565"/>
                  </a:cubicBezTo>
                  <a:cubicBezTo>
                    <a:pt x="130" y="554"/>
                    <a:pt x="139" y="558"/>
                    <a:pt x="139" y="554"/>
                  </a:cubicBezTo>
                  <a:cubicBezTo>
                    <a:pt x="139" y="550"/>
                    <a:pt x="151" y="554"/>
                    <a:pt x="161" y="554"/>
                  </a:cubicBezTo>
                  <a:cubicBezTo>
                    <a:pt x="171" y="554"/>
                    <a:pt x="177" y="583"/>
                    <a:pt x="177" y="583"/>
                  </a:cubicBezTo>
                  <a:cubicBezTo>
                    <a:pt x="214" y="585"/>
                    <a:pt x="214" y="585"/>
                    <a:pt x="214" y="585"/>
                  </a:cubicBezTo>
                  <a:cubicBezTo>
                    <a:pt x="214" y="585"/>
                    <a:pt x="233" y="578"/>
                    <a:pt x="240" y="569"/>
                  </a:cubicBezTo>
                  <a:cubicBezTo>
                    <a:pt x="247" y="560"/>
                    <a:pt x="251" y="596"/>
                    <a:pt x="251" y="596"/>
                  </a:cubicBezTo>
                  <a:cubicBezTo>
                    <a:pt x="251" y="596"/>
                    <a:pt x="248" y="600"/>
                    <a:pt x="245" y="600"/>
                  </a:cubicBezTo>
                  <a:cubicBezTo>
                    <a:pt x="242" y="600"/>
                    <a:pt x="252" y="608"/>
                    <a:pt x="255" y="612"/>
                  </a:cubicBezTo>
                  <a:cubicBezTo>
                    <a:pt x="258" y="616"/>
                    <a:pt x="248" y="623"/>
                    <a:pt x="248" y="623"/>
                  </a:cubicBezTo>
                  <a:cubicBezTo>
                    <a:pt x="248" y="623"/>
                    <a:pt x="291" y="631"/>
                    <a:pt x="295" y="632"/>
                  </a:cubicBezTo>
                  <a:cubicBezTo>
                    <a:pt x="305" y="651"/>
                    <a:pt x="316" y="636"/>
                    <a:pt x="322" y="637"/>
                  </a:cubicBezTo>
                  <a:cubicBezTo>
                    <a:pt x="328" y="638"/>
                    <a:pt x="320" y="648"/>
                    <a:pt x="332" y="649"/>
                  </a:cubicBezTo>
                  <a:cubicBezTo>
                    <a:pt x="344" y="650"/>
                    <a:pt x="354" y="671"/>
                    <a:pt x="348" y="676"/>
                  </a:cubicBezTo>
                  <a:cubicBezTo>
                    <a:pt x="342" y="681"/>
                    <a:pt x="356" y="680"/>
                    <a:pt x="364" y="684"/>
                  </a:cubicBezTo>
                  <a:cubicBezTo>
                    <a:pt x="372" y="671"/>
                    <a:pt x="393" y="669"/>
                    <a:pt x="399" y="666"/>
                  </a:cubicBezTo>
                  <a:cubicBezTo>
                    <a:pt x="405" y="663"/>
                    <a:pt x="404" y="681"/>
                    <a:pt x="407" y="679"/>
                  </a:cubicBezTo>
                  <a:cubicBezTo>
                    <a:pt x="410" y="677"/>
                    <a:pt x="418" y="669"/>
                    <a:pt x="424" y="674"/>
                  </a:cubicBezTo>
                  <a:cubicBezTo>
                    <a:pt x="426" y="676"/>
                    <a:pt x="426" y="678"/>
                    <a:pt x="426" y="679"/>
                  </a:cubicBezTo>
                  <a:cubicBezTo>
                    <a:pt x="427" y="679"/>
                    <a:pt x="437" y="672"/>
                    <a:pt x="443" y="663"/>
                  </a:cubicBezTo>
                  <a:cubicBezTo>
                    <a:pt x="449" y="654"/>
                    <a:pt x="443" y="663"/>
                    <a:pt x="465" y="665"/>
                  </a:cubicBezTo>
                  <a:cubicBezTo>
                    <a:pt x="472" y="679"/>
                    <a:pt x="481" y="671"/>
                    <a:pt x="481" y="671"/>
                  </a:cubicBezTo>
                  <a:cubicBezTo>
                    <a:pt x="469" y="660"/>
                    <a:pt x="520" y="642"/>
                    <a:pt x="526" y="641"/>
                  </a:cubicBezTo>
                  <a:cubicBezTo>
                    <a:pt x="532" y="640"/>
                    <a:pt x="538" y="646"/>
                    <a:pt x="538" y="646"/>
                  </a:cubicBezTo>
                  <a:cubicBezTo>
                    <a:pt x="538" y="646"/>
                    <a:pt x="547" y="639"/>
                    <a:pt x="549" y="634"/>
                  </a:cubicBezTo>
                  <a:cubicBezTo>
                    <a:pt x="551" y="629"/>
                    <a:pt x="551" y="618"/>
                    <a:pt x="548" y="610"/>
                  </a:cubicBezTo>
                  <a:cubicBezTo>
                    <a:pt x="518" y="622"/>
                    <a:pt x="535" y="604"/>
                    <a:pt x="532" y="604"/>
                  </a:cubicBezTo>
                  <a:cubicBezTo>
                    <a:pt x="529" y="604"/>
                    <a:pt x="552" y="584"/>
                    <a:pt x="560" y="578"/>
                  </a:cubicBezTo>
                  <a:cubicBezTo>
                    <a:pt x="559" y="561"/>
                    <a:pt x="569" y="558"/>
                    <a:pt x="569" y="558"/>
                  </a:cubicBezTo>
                  <a:cubicBezTo>
                    <a:pt x="581" y="586"/>
                    <a:pt x="609" y="532"/>
                    <a:pt x="609" y="532"/>
                  </a:cubicBezTo>
                  <a:cubicBezTo>
                    <a:pt x="603" y="509"/>
                    <a:pt x="629" y="516"/>
                    <a:pt x="631" y="523"/>
                  </a:cubicBezTo>
                  <a:cubicBezTo>
                    <a:pt x="630" y="511"/>
                    <a:pt x="644" y="515"/>
                    <a:pt x="648" y="508"/>
                  </a:cubicBezTo>
                  <a:cubicBezTo>
                    <a:pt x="647" y="480"/>
                    <a:pt x="667" y="477"/>
                    <a:pt x="667" y="477"/>
                  </a:cubicBezTo>
                  <a:cubicBezTo>
                    <a:pt x="675" y="465"/>
                    <a:pt x="675" y="465"/>
                    <a:pt x="675" y="465"/>
                  </a:cubicBezTo>
                  <a:cubicBezTo>
                    <a:pt x="691" y="466"/>
                    <a:pt x="691" y="466"/>
                    <a:pt x="691" y="466"/>
                  </a:cubicBezTo>
                  <a:cubicBezTo>
                    <a:pt x="696" y="456"/>
                    <a:pt x="696" y="456"/>
                    <a:pt x="696" y="456"/>
                  </a:cubicBezTo>
                  <a:cubicBezTo>
                    <a:pt x="715" y="460"/>
                    <a:pt x="715" y="460"/>
                    <a:pt x="715" y="460"/>
                  </a:cubicBezTo>
                  <a:cubicBezTo>
                    <a:pt x="713" y="442"/>
                    <a:pt x="713" y="442"/>
                    <a:pt x="713" y="442"/>
                  </a:cubicBezTo>
                  <a:cubicBezTo>
                    <a:pt x="723" y="445"/>
                    <a:pt x="723" y="445"/>
                    <a:pt x="723" y="445"/>
                  </a:cubicBezTo>
                  <a:cubicBezTo>
                    <a:pt x="736" y="435"/>
                    <a:pt x="736" y="435"/>
                    <a:pt x="736" y="435"/>
                  </a:cubicBezTo>
                  <a:cubicBezTo>
                    <a:pt x="727" y="410"/>
                    <a:pt x="727" y="410"/>
                    <a:pt x="727" y="410"/>
                  </a:cubicBezTo>
                  <a:cubicBezTo>
                    <a:pt x="746" y="398"/>
                    <a:pt x="746" y="398"/>
                    <a:pt x="746" y="398"/>
                  </a:cubicBezTo>
                  <a:cubicBezTo>
                    <a:pt x="749" y="384"/>
                    <a:pt x="749" y="384"/>
                    <a:pt x="749" y="384"/>
                  </a:cubicBezTo>
                  <a:cubicBezTo>
                    <a:pt x="763" y="390"/>
                    <a:pt x="778" y="338"/>
                    <a:pt x="778" y="338"/>
                  </a:cubicBezTo>
                  <a:cubicBezTo>
                    <a:pt x="764" y="325"/>
                    <a:pt x="764" y="325"/>
                    <a:pt x="764" y="325"/>
                  </a:cubicBezTo>
                  <a:cubicBezTo>
                    <a:pt x="768" y="311"/>
                    <a:pt x="768" y="311"/>
                    <a:pt x="768" y="311"/>
                  </a:cubicBezTo>
                  <a:cubicBezTo>
                    <a:pt x="758" y="308"/>
                    <a:pt x="758" y="308"/>
                    <a:pt x="758" y="308"/>
                  </a:cubicBezTo>
                  <a:cubicBezTo>
                    <a:pt x="751" y="316"/>
                    <a:pt x="751" y="316"/>
                    <a:pt x="751" y="316"/>
                  </a:cubicBezTo>
                  <a:cubicBezTo>
                    <a:pt x="751" y="316"/>
                    <a:pt x="730" y="316"/>
                    <a:pt x="725" y="323"/>
                  </a:cubicBezTo>
                  <a:cubicBezTo>
                    <a:pt x="717" y="339"/>
                    <a:pt x="690" y="316"/>
                    <a:pt x="690" y="316"/>
                  </a:cubicBezTo>
                  <a:cubicBezTo>
                    <a:pt x="630" y="285"/>
                    <a:pt x="630" y="285"/>
                    <a:pt x="630" y="285"/>
                  </a:cubicBezTo>
                  <a:cubicBezTo>
                    <a:pt x="623" y="288"/>
                    <a:pt x="623" y="288"/>
                    <a:pt x="623" y="288"/>
                  </a:cubicBezTo>
                  <a:cubicBezTo>
                    <a:pt x="612" y="282"/>
                    <a:pt x="612" y="282"/>
                    <a:pt x="612" y="282"/>
                  </a:cubicBezTo>
                  <a:cubicBezTo>
                    <a:pt x="613" y="271"/>
                    <a:pt x="613" y="271"/>
                    <a:pt x="613" y="271"/>
                  </a:cubicBezTo>
                  <a:cubicBezTo>
                    <a:pt x="589" y="238"/>
                    <a:pt x="589" y="238"/>
                    <a:pt x="589" y="238"/>
                  </a:cubicBezTo>
                  <a:cubicBezTo>
                    <a:pt x="598" y="219"/>
                    <a:pt x="598" y="219"/>
                    <a:pt x="598" y="219"/>
                  </a:cubicBezTo>
                  <a:cubicBezTo>
                    <a:pt x="579" y="182"/>
                    <a:pt x="579" y="182"/>
                    <a:pt x="579" y="182"/>
                  </a:cubicBezTo>
                  <a:cubicBezTo>
                    <a:pt x="579" y="182"/>
                    <a:pt x="601" y="155"/>
                    <a:pt x="604" y="152"/>
                  </a:cubicBezTo>
                  <a:cubicBezTo>
                    <a:pt x="598" y="134"/>
                    <a:pt x="611" y="136"/>
                    <a:pt x="609" y="133"/>
                  </a:cubicBezTo>
                  <a:cubicBezTo>
                    <a:pt x="622" y="140"/>
                    <a:pt x="620" y="121"/>
                    <a:pt x="624" y="123"/>
                  </a:cubicBezTo>
                  <a:cubicBezTo>
                    <a:pt x="611" y="113"/>
                    <a:pt x="614" y="82"/>
                    <a:pt x="614" y="82"/>
                  </a:cubicBezTo>
                  <a:cubicBezTo>
                    <a:pt x="577" y="74"/>
                    <a:pt x="577" y="74"/>
                    <a:pt x="577" y="74"/>
                  </a:cubicBezTo>
                  <a:cubicBezTo>
                    <a:pt x="548" y="49"/>
                    <a:pt x="548" y="49"/>
                    <a:pt x="548" y="49"/>
                  </a:cubicBezTo>
                  <a:cubicBezTo>
                    <a:pt x="550" y="19"/>
                    <a:pt x="550" y="19"/>
                    <a:pt x="550" y="19"/>
                  </a:cubicBezTo>
                  <a:cubicBezTo>
                    <a:pt x="534" y="16"/>
                    <a:pt x="534" y="16"/>
                    <a:pt x="534" y="16"/>
                  </a:cubicBezTo>
                  <a:cubicBezTo>
                    <a:pt x="532" y="7"/>
                    <a:pt x="532" y="7"/>
                    <a:pt x="532" y="7"/>
                  </a:cubicBezTo>
                  <a:cubicBezTo>
                    <a:pt x="530" y="6"/>
                    <a:pt x="529" y="4"/>
                    <a:pt x="528" y="2"/>
                  </a:cubicBezTo>
                  <a:cubicBezTo>
                    <a:pt x="504" y="6"/>
                    <a:pt x="504" y="6"/>
                    <a:pt x="504" y="6"/>
                  </a:cubicBezTo>
                  <a:cubicBezTo>
                    <a:pt x="501" y="14"/>
                    <a:pt x="501" y="14"/>
                    <a:pt x="501" y="14"/>
                  </a:cubicBezTo>
                  <a:cubicBezTo>
                    <a:pt x="477" y="14"/>
                    <a:pt x="477" y="14"/>
                    <a:pt x="477" y="14"/>
                  </a:cubicBezTo>
                  <a:cubicBezTo>
                    <a:pt x="476" y="0"/>
                    <a:pt x="476" y="0"/>
                    <a:pt x="476" y="0"/>
                  </a:cubicBezTo>
                  <a:cubicBezTo>
                    <a:pt x="446" y="3"/>
                    <a:pt x="446" y="3"/>
                    <a:pt x="446" y="3"/>
                  </a:cubicBezTo>
                  <a:cubicBezTo>
                    <a:pt x="449" y="11"/>
                    <a:pt x="449" y="11"/>
                    <a:pt x="449" y="11"/>
                  </a:cubicBezTo>
                  <a:cubicBezTo>
                    <a:pt x="449" y="11"/>
                    <a:pt x="444" y="24"/>
                    <a:pt x="444" y="35"/>
                  </a:cubicBezTo>
                  <a:cubicBezTo>
                    <a:pt x="444" y="46"/>
                    <a:pt x="468" y="40"/>
                    <a:pt x="468" y="40"/>
                  </a:cubicBezTo>
                  <a:cubicBezTo>
                    <a:pt x="468" y="40"/>
                    <a:pt x="469" y="59"/>
                    <a:pt x="476" y="82"/>
                  </a:cubicBezTo>
                  <a:cubicBezTo>
                    <a:pt x="410" y="80"/>
                    <a:pt x="420" y="100"/>
                    <a:pt x="413" y="94"/>
                  </a:cubicBezTo>
                  <a:cubicBezTo>
                    <a:pt x="406" y="87"/>
                    <a:pt x="397" y="110"/>
                    <a:pt x="397" y="110"/>
                  </a:cubicBezTo>
                  <a:cubicBezTo>
                    <a:pt x="397" y="110"/>
                    <a:pt x="373" y="116"/>
                    <a:pt x="361" y="116"/>
                  </a:cubicBezTo>
                  <a:cubicBezTo>
                    <a:pt x="349" y="116"/>
                    <a:pt x="354" y="128"/>
                    <a:pt x="358" y="138"/>
                  </a:cubicBezTo>
                  <a:cubicBezTo>
                    <a:pt x="362" y="147"/>
                    <a:pt x="321" y="162"/>
                    <a:pt x="321" y="162"/>
                  </a:cubicBezTo>
                  <a:cubicBezTo>
                    <a:pt x="308" y="188"/>
                    <a:pt x="308" y="188"/>
                    <a:pt x="308" y="188"/>
                  </a:cubicBezTo>
                  <a:cubicBezTo>
                    <a:pt x="325" y="198"/>
                    <a:pt x="325" y="198"/>
                    <a:pt x="325" y="198"/>
                  </a:cubicBezTo>
                  <a:cubicBezTo>
                    <a:pt x="310" y="210"/>
                    <a:pt x="310" y="210"/>
                    <a:pt x="310" y="210"/>
                  </a:cubicBezTo>
                  <a:cubicBezTo>
                    <a:pt x="281" y="206"/>
                    <a:pt x="281" y="206"/>
                    <a:pt x="281" y="206"/>
                  </a:cubicBezTo>
                  <a:cubicBezTo>
                    <a:pt x="278" y="218"/>
                    <a:pt x="278" y="218"/>
                    <a:pt x="278" y="218"/>
                  </a:cubicBezTo>
                  <a:cubicBezTo>
                    <a:pt x="286" y="230"/>
                    <a:pt x="286" y="230"/>
                    <a:pt x="286" y="230"/>
                  </a:cubicBezTo>
                  <a:cubicBezTo>
                    <a:pt x="270" y="231"/>
                    <a:pt x="270" y="231"/>
                    <a:pt x="270" y="231"/>
                  </a:cubicBezTo>
                  <a:cubicBezTo>
                    <a:pt x="286" y="256"/>
                    <a:pt x="286" y="256"/>
                    <a:pt x="286" y="256"/>
                  </a:cubicBezTo>
                  <a:cubicBezTo>
                    <a:pt x="317" y="258"/>
                    <a:pt x="317" y="258"/>
                    <a:pt x="317" y="258"/>
                  </a:cubicBezTo>
                  <a:cubicBezTo>
                    <a:pt x="334" y="278"/>
                    <a:pt x="334" y="278"/>
                    <a:pt x="334" y="278"/>
                  </a:cubicBezTo>
                  <a:cubicBezTo>
                    <a:pt x="334" y="300"/>
                    <a:pt x="334" y="300"/>
                    <a:pt x="334" y="300"/>
                  </a:cubicBezTo>
                  <a:cubicBezTo>
                    <a:pt x="334" y="300"/>
                    <a:pt x="320" y="314"/>
                    <a:pt x="322" y="311"/>
                  </a:cubicBezTo>
                  <a:cubicBezTo>
                    <a:pt x="298" y="303"/>
                    <a:pt x="308" y="314"/>
                    <a:pt x="308" y="314"/>
                  </a:cubicBezTo>
                  <a:cubicBezTo>
                    <a:pt x="288" y="326"/>
                    <a:pt x="288" y="326"/>
                    <a:pt x="288" y="326"/>
                  </a:cubicBezTo>
                  <a:cubicBezTo>
                    <a:pt x="278" y="319"/>
                    <a:pt x="278" y="319"/>
                    <a:pt x="278" y="319"/>
                  </a:cubicBezTo>
                  <a:cubicBezTo>
                    <a:pt x="278" y="319"/>
                    <a:pt x="265" y="323"/>
                    <a:pt x="265" y="314"/>
                  </a:cubicBezTo>
                  <a:cubicBezTo>
                    <a:pt x="265" y="304"/>
                    <a:pt x="258" y="300"/>
                    <a:pt x="258" y="300"/>
                  </a:cubicBezTo>
                  <a:cubicBezTo>
                    <a:pt x="237" y="295"/>
                    <a:pt x="237" y="295"/>
                    <a:pt x="237" y="295"/>
                  </a:cubicBezTo>
                  <a:cubicBezTo>
                    <a:pt x="238" y="302"/>
                    <a:pt x="238" y="302"/>
                    <a:pt x="238" y="302"/>
                  </a:cubicBezTo>
                  <a:cubicBezTo>
                    <a:pt x="213" y="294"/>
                    <a:pt x="213" y="294"/>
                    <a:pt x="213" y="294"/>
                  </a:cubicBezTo>
                  <a:cubicBezTo>
                    <a:pt x="213" y="270"/>
                    <a:pt x="213" y="270"/>
                    <a:pt x="213" y="270"/>
                  </a:cubicBezTo>
                  <a:cubicBezTo>
                    <a:pt x="201" y="276"/>
                    <a:pt x="201" y="276"/>
                    <a:pt x="201" y="276"/>
                  </a:cubicBezTo>
                  <a:cubicBezTo>
                    <a:pt x="190" y="272"/>
                    <a:pt x="190" y="272"/>
                    <a:pt x="190" y="272"/>
                  </a:cubicBezTo>
                  <a:cubicBezTo>
                    <a:pt x="136" y="296"/>
                    <a:pt x="136" y="296"/>
                    <a:pt x="136" y="296"/>
                  </a:cubicBezTo>
                  <a:cubicBezTo>
                    <a:pt x="134" y="260"/>
                    <a:pt x="100" y="268"/>
                    <a:pt x="100" y="268"/>
                  </a:cubicBezTo>
                  <a:cubicBezTo>
                    <a:pt x="100" y="283"/>
                    <a:pt x="100" y="283"/>
                    <a:pt x="100" y="283"/>
                  </a:cubicBezTo>
                  <a:cubicBezTo>
                    <a:pt x="95" y="281"/>
                    <a:pt x="95" y="281"/>
                    <a:pt x="95" y="281"/>
                  </a:cubicBezTo>
                  <a:cubicBezTo>
                    <a:pt x="104" y="303"/>
                    <a:pt x="104" y="303"/>
                    <a:pt x="104" y="303"/>
                  </a:cubicBezTo>
                  <a:cubicBezTo>
                    <a:pt x="114" y="304"/>
                    <a:pt x="114" y="304"/>
                    <a:pt x="114" y="304"/>
                  </a:cubicBezTo>
                  <a:cubicBezTo>
                    <a:pt x="114" y="343"/>
                    <a:pt x="114" y="343"/>
                    <a:pt x="114" y="343"/>
                  </a:cubicBezTo>
                  <a:cubicBezTo>
                    <a:pt x="125" y="339"/>
                    <a:pt x="125" y="339"/>
                    <a:pt x="125" y="339"/>
                  </a:cubicBezTo>
                  <a:cubicBezTo>
                    <a:pt x="145" y="371"/>
                    <a:pt x="145" y="371"/>
                    <a:pt x="145" y="371"/>
                  </a:cubicBezTo>
                  <a:cubicBezTo>
                    <a:pt x="102" y="415"/>
                    <a:pt x="102" y="415"/>
                    <a:pt x="102" y="415"/>
                  </a:cubicBezTo>
                  <a:cubicBezTo>
                    <a:pt x="94" y="472"/>
                    <a:pt x="94" y="472"/>
                    <a:pt x="94" y="472"/>
                  </a:cubicBezTo>
                  <a:cubicBezTo>
                    <a:pt x="69" y="466"/>
                    <a:pt x="69" y="466"/>
                    <a:pt x="69" y="466"/>
                  </a:cubicBezTo>
                  <a:cubicBezTo>
                    <a:pt x="54" y="490"/>
                    <a:pt x="54" y="490"/>
                    <a:pt x="54" y="490"/>
                  </a:cubicBezTo>
                  <a:cubicBezTo>
                    <a:pt x="58" y="500"/>
                    <a:pt x="58" y="500"/>
                    <a:pt x="58" y="500"/>
                  </a:cubicBezTo>
                  <a:cubicBezTo>
                    <a:pt x="0" y="540"/>
                    <a:pt x="0" y="540"/>
                    <a:pt x="0" y="540"/>
                  </a:cubicBezTo>
                  <a:cubicBezTo>
                    <a:pt x="1" y="541"/>
                    <a:pt x="2" y="541"/>
                    <a:pt x="2" y="54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7" name="Languedoc-Roussillon" descr="© INSCALE GmbH, 05.05.2010&#10;http://www.presentationload.com/">
              <a:extLst>
                <a:ext uri="{FF2B5EF4-FFF2-40B4-BE49-F238E27FC236}">
                  <a16:creationId xmlns:a16="http://schemas.microsoft.com/office/drawing/2014/main" id="{50A5143E-E69F-488B-AEDD-AD9B91FA6B95}"/>
                </a:ext>
              </a:extLst>
            </p:cNvPr>
            <p:cNvSpPr>
              <a:spLocks/>
            </p:cNvSpPr>
            <p:nvPr/>
          </p:nvSpPr>
          <p:spPr bwMode="gray">
            <a:xfrm>
              <a:off x="1594" y="2270"/>
              <a:ext cx="795" cy="930"/>
            </a:xfrm>
            <a:custGeom>
              <a:avLst/>
              <a:gdLst/>
              <a:ahLst/>
              <a:cxnLst>
                <a:cxn ang="0">
                  <a:pos x="20" y="800"/>
                </a:cxn>
                <a:cxn ang="0">
                  <a:pos x="61" y="817"/>
                </a:cxn>
                <a:cxn ang="0">
                  <a:pos x="99" y="847"/>
                </a:cxn>
                <a:cxn ang="0">
                  <a:pos x="151" y="830"/>
                </a:cxn>
                <a:cxn ang="0">
                  <a:pos x="230" y="858"/>
                </a:cxn>
                <a:cxn ang="0">
                  <a:pos x="248" y="831"/>
                </a:cxn>
                <a:cxn ang="0">
                  <a:pos x="282" y="817"/>
                </a:cxn>
                <a:cxn ang="0">
                  <a:pos x="318" y="812"/>
                </a:cxn>
                <a:cxn ang="0">
                  <a:pos x="347" y="824"/>
                </a:cxn>
                <a:cxn ang="0">
                  <a:pos x="335" y="788"/>
                </a:cxn>
                <a:cxn ang="0">
                  <a:pos x="322" y="658"/>
                </a:cxn>
                <a:cxn ang="0">
                  <a:pos x="319" y="622"/>
                </a:cxn>
                <a:cxn ang="0">
                  <a:pos x="466" y="488"/>
                </a:cxn>
                <a:cxn ang="0">
                  <a:pos x="564" y="442"/>
                </a:cxn>
                <a:cxn ang="0">
                  <a:pos x="650" y="433"/>
                </a:cxn>
                <a:cxn ang="0">
                  <a:pos x="661" y="399"/>
                </a:cxn>
                <a:cxn ang="0">
                  <a:pos x="694" y="348"/>
                </a:cxn>
                <a:cxn ang="0">
                  <a:pos x="717" y="272"/>
                </a:cxn>
                <a:cxn ang="0">
                  <a:pos x="706" y="237"/>
                </a:cxn>
                <a:cxn ang="0">
                  <a:pos x="687" y="214"/>
                </a:cxn>
                <a:cxn ang="0">
                  <a:pos x="641" y="209"/>
                </a:cxn>
                <a:cxn ang="0">
                  <a:pos x="634" y="195"/>
                </a:cxn>
                <a:cxn ang="0">
                  <a:pos x="600" y="225"/>
                </a:cxn>
                <a:cxn ang="0">
                  <a:pos x="549" y="208"/>
                </a:cxn>
                <a:cxn ang="0">
                  <a:pos x="536" y="159"/>
                </a:cxn>
                <a:cxn ang="0">
                  <a:pos x="518" y="121"/>
                </a:cxn>
                <a:cxn ang="0">
                  <a:pos x="501" y="71"/>
                </a:cxn>
                <a:cxn ang="0">
                  <a:pos x="458" y="40"/>
                </a:cxn>
                <a:cxn ang="0">
                  <a:pos x="420" y="51"/>
                </a:cxn>
                <a:cxn ang="0">
                  <a:pos x="373" y="16"/>
                </a:cxn>
                <a:cxn ang="0">
                  <a:pos x="368" y="27"/>
                </a:cxn>
                <a:cxn ang="0">
                  <a:pos x="342" y="19"/>
                </a:cxn>
                <a:cxn ang="0">
                  <a:pos x="334" y="43"/>
                </a:cxn>
                <a:cxn ang="0">
                  <a:pos x="320" y="79"/>
                </a:cxn>
                <a:cxn ang="0">
                  <a:pos x="308" y="108"/>
                </a:cxn>
                <a:cxn ang="0">
                  <a:pos x="325" y="155"/>
                </a:cxn>
                <a:cxn ang="0">
                  <a:pos x="348" y="208"/>
                </a:cxn>
                <a:cxn ang="0">
                  <a:pos x="361" y="232"/>
                </a:cxn>
                <a:cxn ang="0">
                  <a:pos x="393" y="256"/>
                </a:cxn>
                <a:cxn ang="0">
                  <a:pos x="393" y="285"/>
                </a:cxn>
                <a:cxn ang="0">
                  <a:pos x="418" y="303"/>
                </a:cxn>
                <a:cxn ang="0">
                  <a:pos x="394" y="345"/>
                </a:cxn>
                <a:cxn ang="0">
                  <a:pos x="373" y="364"/>
                </a:cxn>
                <a:cxn ang="0">
                  <a:pos x="328" y="405"/>
                </a:cxn>
                <a:cxn ang="0">
                  <a:pos x="253" y="427"/>
                </a:cxn>
                <a:cxn ang="0">
                  <a:pos x="198" y="492"/>
                </a:cxn>
                <a:cxn ang="0">
                  <a:pos x="130" y="509"/>
                </a:cxn>
                <a:cxn ang="0">
                  <a:pos x="96" y="496"/>
                </a:cxn>
                <a:cxn ang="0">
                  <a:pos x="62" y="508"/>
                </a:cxn>
                <a:cxn ang="0">
                  <a:pos x="37" y="520"/>
                </a:cxn>
                <a:cxn ang="0">
                  <a:pos x="14" y="572"/>
                </a:cxn>
                <a:cxn ang="0">
                  <a:pos x="68" y="612"/>
                </a:cxn>
                <a:cxn ang="0">
                  <a:pos x="64" y="651"/>
                </a:cxn>
                <a:cxn ang="0">
                  <a:pos x="77" y="669"/>
                </a:cxn>
                <a:cxn ang="0">
                  <a:pos x="53" y="693"/>
                </a:cxn>
                <a:cxn ang="0">
                  <a:pos x="101" y="713"/>
                </a:cxn>
                <a:cxn ang="0">
                  <a:pos x="76" y="743"/>
                </a:cxn>
                <a:cxn ang="0">
                  <a:pos x="57" y="760"/>
                </a:cxn>
                <a:cxn ang="0">
                  <a:pos x="26" y="768"/>
                </a:cxn>
                <a:cxn ang="0">
                  <a:pos x="25" y="777"/>
                </a:cxn>
              </a:cxnLst>
              <a:rect l="0" t="0" r="r" b="b"/>
              <a:pathLst>
                <a:path w="737" h="861">
                  <a:moveTo>
                    <a:pt x="25" y="777"/>
                  </a:moveTo>
                  <a:cubicBezTo>
                    <a:pt x="20" y="781"/>
                    <a:pt x="20" y="800"/>
                    <a:pt x="20" y="800"/>
                  </a:cubicBezTo>
                  <a:cubicBezTo>
                    <a:pt x="20" y="800"/>
                    <a:pt x="41" y="808"/>
                    <a:pt x="43" y="805"/>
                  </a:cubicBezTo>
                  <a:cubicBezTo>
                    <a:pt x="47" y="818"/>
                    <a:pt x="61" y="817"/>
                    <a:pt x="61" y="817"/>
                  </a:cubicBezTo>
                  <a:cubicBezTo>
                    <a:pt x="79" y="848"/>
                    <a:pt x="79" y="848"/>
                    <a:pt x="79" y="848"/>
                  </a:cubicBezTo>
                  <a:cubicBezTo>
                    <a:pt x="99" y="847"/>
                    <a:pt x="99" y="847"/>
                    <a:pt x="99" y="847"/>
                  </a:cubicBezTo>
                  <a:cubicBezTo>
                    <a:pt x="119" y="828"/>
                    <a:pt x="119" y="828"/>
                    <a:pt x="119" y="828"/>
                  </a:cubicBezTo>
                  <a:cubicBezTo>
                    <a:pt x="151" y="830"/>
                    <a:pt x="151" y="830"/>
                    <a:pt x="151" y="830"/>
                  </a:cubicBezTo>
                  <a:cubicBezTo>
                    <a:pt x="151" y="830"/>
                    <a:pt x="194" y="861"/>
                    <a:pt x="205" y="857"/>
                  </a:cubicBezTo>
                  <a:cubicBezTo>
                    <a:pt x="216" y="853"/>
                    <a:pt x="230" y="858"/>
                    <a:pt x="230" y="858"/>
                  </a:cubicBezTo>
                  <a:cubicBezTo>
                    <a:pt x="234" y="844"/>
                    <a:pt x="234" y="844"/>
                    <a:pt x="234" y="844"/>
                  </a:cubicBezTo>
                  <a:cubicBezTo>
                    <a:pt x="248" y="831"/>
                    <a:pt x="248" y="831"/>
                    <a:pt x="248" y="831"/>
                  </a:cubicBezTo>
                  <a:cubicBezTo>
                    <a:pt x="265" y="830"/>
                    <a:pt x="265" y="830"/>
                    <a:pt x="265" y="830"/>
                  </a:cubicBezTo>
                  <a:cubicBezTo>
                    <a:pt x="282" y="817"/>
                    <a:pt x="282" y="817"/>
                    <a:pt x="282" y="817"/>
                  </a:cubicBezTo>
                  <a:cubicBezTo>
                    <a:pt x="313" y="812"/>
                    <a:pt x="313" y="812"/>
                    <a:pt x="313" y="812"/>
                  </a:cubicBezTo>
                  <a:cubicBezTo>
                    <a:pt x="318" y="812"/>
                    <a:pt x="318" y="812"/>
                    <a:pt x="318" y="812"/>
                  </a:cubicBezTo>
                  <a:cubicBezTo>
                    <a:pt x="328" y="830"/>
                    <a:pt x="328" y="830"/>
                    <a:pt x="328" y="830"/>
                  </a:cubicBezTo>
                  <a:cubicBezTo>
                    <a:pt x="347" y="824"/>
                    <a:pt x="347" y="824"/>
                    <a:pt x="347" y="824"/>
                  </a:cubicBezTo>
                  <a:cubicBezTo>
                    <a:pt x="352" y="815"/>
                    <a:pt x="340" y="807"/>
                    <a:pt x="340" y="807"/>
                  </a:cubicBezTo>
                  <a:cubicBezTo>
                    <a:pt x="335" y="788"/>
                    <a:pt x="335" y="788"/>
                    <a:pt x="335" y="788"/>
                  </a:cubicBezTo>
                  <a:cubicBezTo>
                    <a:pt x="318" y="785"/>
                    <a:pt x="318" y="785"/>
                    <a:pt x="318" y="785"/>
                  </a:cubicBezTo>
                  <a:cubicBezTo>
                    <a:pt x="322" y="658"/>
                    <a:pt x="322" y="658"/>
                    <a:pt x="322" y="658"/>
                  </a:cubicBezTo>
                  <a:cubicBezTo>
                    <a:pt x="312" y="643"/>
                    <a:pt x="312" y="643"/>
                    <a:pt x="312" y="643"/>
                  </a:cubicBezTo>
                  <a:cubicBezTo>
                    <a:pt x="312" y="643"/>
                    <a:pt x="319" y="627"/>
                    <a:pt x="319" y="622"/>
                  </a:cubicBezTo>
                  <a:cubicBezTo>
                    <a:pt x="380" y="492"/>
                    <a:pt x="416" y="533"/>
                    <a:pt x="416" y="533"/>
                  </a:cubicBezTo>
                  <a:cubicBezTo>
                    <a:pt x="416" y="533"/>
                    <a:pt x="445" y="505"/>
                    <a:pt x="466" y="488"/>
                  </a:cubicBezTo>
                  <a:cubicBezTo>
                    <a:pt x="487" y="471"/>
                    <a:pt x="490" y="472"/>
                    <a:pt x="496" y="458"/>
                  </a:cubicBezTo>
                  <a:cubicBezTo>
                    <a:pt x="559" y="418"/>
                    <a:pt x="561" y="439"/>
                    <a:pt x="564" y="442"/>
                  </a:cubicBezTo>
                  <a:cubicBezTo>
                    <a:pt x="546" y="458"/>
                    <a:pt x="582" y="469"/>
                    <a:pt x="592" y="473"/>
                  </a:cubicBezTo>
                  <a:cubicBezTo>
                    <a:pt x="650" y="433"/>
                    <a:pt x="650" y="433"/>
                    <a:pt x="650" y="433"/>
                  </a:cubicBezTo>
                  <a:cubicBezTo>
                    <a:pt x="646" y="423"/>
                    <a:pt x="646" y="423"/>
                    <a:pt x="646" y="423"/>
                  </a:cubicBezTo>
                  <a:cubicBezTo>
                    <a:pt x="661" y="399"/>
                    <a:pt x="661" y="399"/>
                    <a:pt x="661" y="399"/>
                  </a:cubicBezTo>
                  <a:cubicBezTo>
                    <a:pt x="686" y="405"/>
                    <a:pt x="686" y="405"/>
                    <a:pt x="686" y="405"/>
                  </a:cubicBezTo>
                  <a:cubicBezTo>
                    <a:pt x="694" y="348"/>
                    <a:pt x="694" y="348"/>
                    <a:pt x="694" y="348"/>
                  </a:cubicBezTo>
                  <a:cubicBezTo>
                    <a:pt x="737" y="304"/>
                    <a:pt x="737" y="304"/>
                    <a:pt x="737" y="304"/>
                  </a:cubicBezTo>
                  <a:cubicBezTo>
                    <a:pt x="717" y="272"/>
                    <a:pt x="717" y="272"/>
                    <a:pt x="717" y="272"/>
                  </a:cubicBezTo>
                  <a:cubicBezTo>
                    <a:pt x="706" y="276"/>
                    <a:pt x="706" y="276"/>
                    <a:pt x="706" y="276"/>
                  </a:cubicBezTo>
                  <a:cubicBezTo>
                    <a:pt x="706" y="237"/>
                    <a:pt x="706" y="237"/>
                    <a:pt x="706" y="237"/>
                  </a:cubicBezTo>
                  <a:cubicBezTo>
                    <a:pt x="696" y="236"/>
                    <a:pt x="696" y="236"/>
                    <a:pt x="696" y="236"/>
                  </a:cubicBezTo>
                  <a:cubicBezTo>
                    <a:pt x="687" y="214"/>
                    <a:pt x="687" y="214"/>
                    <a:pt x="687" y="214"/>
                  </a:cubicBezTo>
                  <a:cubicBezTo>
                    <a:pt x="649" y="197"/>
                    <a:pt x="649" y="197"/>
                    <a:pt x="649" y="197"/>
                  </a:cubicBezTo>
                  <a:cubicBezTo>
                    <a:pt x="641" y="209"/>
                    <a:pt x="641" y="209"/>
                    <a:pt x="641" y="209"/>
                  </a:cubicBezTo>
                  <a:cubicBezTo>
                    <a:pt x="634" y="209"/>
                    <a:pt x="634" y="209"/>
                    <a:pt x="634" y="209"/>
                  </a:cubicBezTo>
                  <a:cubicBezTo>
                    <a:pt x="634" y="195"/>
                    <a:pt x="634" y="195"/>
                    <a:pt x="634" y="195"/>
                  </a:cubicBezTo>
                  <a:cubicBezTo>
                    <a:pt x="620" y="195"/>
                    <a:pt x="620" y="195"/>
                    <a:pt x="620" y="195"/>
                  </a:cubicBezTo>
                  <a:cubicBezTo>
                    <a:pt x="600" y="225"/>
                    <a:pt x="600" y="225"/>
                    <a:pt x="600" y="225"/>
                  </a:cubicBezTo>
                  <a:cubicBezTo>
                    <a:pt x="568" y="197"/>
                    <a:pt x="568" y="197"/>
                    <a:pt x="568" y="197"/>
                  </a:cubicBezTo>
                  <a:cubicBezTo>
                    <a:pt x="549" y="208"/>
                    <a:pt x="549" y="208"/>
                    <a:pt x="549" y="208"/>
                  </a:cubicBezTo>
                  <a:cubicBezTo>
                    <a:pt x="556" y="177"/>
                    <a:pt x="556" y="177"/>
                    <a:pt x="556" y="177"/>
                  </a:cubicBezTo>
                  <a:cubicBezTo>
                    <a:pt x="536" y="159"/>
                    <a:pt x="536" y="159"/>
                    <a:pt x="536" y="159"/>
                  </a:cubicBezTo>
                  <a:cubicBezTo>
                    <a:pt x="532" y="128"/>
                    <a:pt x="532" y="128"/>
                    <a:pt x="532" y="128"/>
                  </a:cubicBezTo>
                  <a:cubicBezTo>
                    <a:pt x="518" y="121"/>
                    <a:pt x="518" y="121"/>
                    <a:pt x="518" y="121"/>
                  </a:cubicBezTo>
                  <a:cubicBezTo>
                    <a:pt x="505" y="69"/>
                    <a:pt x="505" y="69"/>
                    <a:pt x="505" y="69"/>
                  </a:cubicBezTo>
                  <a:cubicBezTo>
                    <a:pt x="501" y="71"/>
                    <a:pt x="501" y="71"/>
                    <a:pt x="501" y="71"/>
                  </a:cubicBezTo>
                  <a:cubicBezTo>
                    <a:pt x="480" y="45"/>
                    <a:pt x="480" y="45"/>
                    <a:pt x="480" y="45"/>
                  </a:cubicBezTo>
                  <a:cubicBezTo>
                    <a:pt x="458" y="40"/>
                    <a:pt x="458" y="40"/>
                    <a:pt x="458" y="40"/>
                  </a:cubicBezTo>
                  <a:cubicBezTo>
                    <a:pt x="458" y="40"/>
                    <a:pt x="448" y="16"/>
                    <a:pt x="444" y="43"/>
                  </a:cubicBezTo>
                  <a:cubicBezTo>
                    <a:pt x="420" y="51"/>
                    <a:pt x="420" y="51"/>
                    <a:pt x="420" y="51"/>
                  </a:cubicBezTo>
                  <a:cubicBezTo>
                    <a:pt x="402" y="0"/>
                    <a:pt x="402" y="0"/>
                    <a:pt x="402" y="0"/>
                  </a:cubicBezTo>
                  <a:cubicBezTo>
                    <a:pt x="402" y="0"/>
                    <a:pt x="384" y="7"/>
                    <a:pt x="373" y="16"/>
                  </a:cubicBezTo>
                  <a:cubicBezTo>
                    <a:pt x="371" y="18"/>
                    <a:pt x="369" y="19"/>
                    <a:pt x="368" y="19"/>
                  </a:cubicBezTo>
                  <a:cubicBezTo>
                    <a:pt x="368" y="27"/>
                    <a:pt x="368" y="27"/>
                    <a:pt x="368" y="27"/>
                  </a:cubicBezTo>
                  <a:cubicBezTo>
                    <a:pt x="350" y="32"/>
                    <a:pt x="350" y="32"/>
                    <a:pt x="350" y="32"/>
                  </a:cubicBezTo>
                  <a:cubicBezTo>
                    <a:pt x="342" y="19"/>
                    <a:pt x="342" y="19"/>
                    <a:pt x="342" y="19"/>
                  </a:cubicBezTo>
                  <a:cubicBezTo>
                    <a:pt x="333" y="23"/>
                    <a:pt x="333" y="23"/>
                    <a:pt x="333" y="23"/>
                  </a:cubicBezTo>
                  <a:cubicBezTo>
                    <a:pt x="334" y="43"/>
                    <a:pt x="334" y="43"/>
                    <a:pt x="334" y="43"/>
                  </a:cubicBezTo>
                  <a:cubicBezTo>
                    <a:pt x="326" y="52"/>
                    <a:pt x="326" y="52"/>
                    <a:pt x="326" y="52"/>
                  </a:cubicBezTo>
                  <a:cubicBezTo>
                    <a:pt x="320" y="79"/>
                    <a:pt x="320" y="79"/>
                    <a:pt x="320" y="79"/>
                  </a:cubicBezTo>
                  <a:cubicBezTo>
                    <a:pt x="308" y="99"/>
                    <a:pt x="308" y="99"/>
                    <a:pt x="308" y="99"/>
                  </a:cubicBezTo>
                  <a:cubicBezTo>
                    <a:pt x="308" y="108"/>
                    <a:pt x="308" y="108"/>
                    <a:pt x="308" y="108"/>
                  </a:cubicBezTo>
                  <a:cubicBezTo>
                    <a:pt x="329" y="123"/>
                    <a:pt x="329" y="123"/>
                    <a:pt x="329" y="123"/>
                  </a:cubicBezTo>
                  <a:cubicBezTo>
                    <a:pt x="325" y="155"/>
                    <a:pt x="325" y="155"/>
                    <a:pt x="325" y="155"/>
                  </a:cubicBezTo>
                  <a:cubicBezTo>
                    <a:pt x="346" y="168"/>
                    <a:pt x="346" y="168"/>
                    <a:pt x="346" y="168"/>
                  </a:cubicBezTo>
                  <a:cubicBezTo>
                    <a:pt x="348" y="208"/>
                    <a:pt x="348" y="208"/>
                    <a:pt x="348" y="208"/>
                  </a:cubicBezTo>
                  <a:cubicBezTo>
                    <a:pt x="338" y="224"/>
                    <a:pt x="338" y="224"/>
                    <a:pt x="338" y="224"/>
                  </a:cubicBezTo>
                  <a:cubicBezTo>
                    <a:pt x="361" y="232"/>
                    <a:pt x="361" y="232"/>
                    <a:pt x="361" y="232"/>
                  </a:cubicBezTo>
                  <a:cubicBezTo>
                    <a:pt x="357" y="244"/>
                    <a:pt x="357" y="244"/>
                    <a:pt x="357" y="244"/>
                  </a:cubicBezTo>
                  <a:cubicBezTo>
                    <a:pt x="357" y="244"/>
                    <a:pt x="398" y="251"/>
                    <a:pt x="393" y="256"/>
                  </a:cubicBezTo>
                  <a:cubicBezTo>
                    <a:pt x="388" y="261"/>
                    <a:pt x="373" y="279"/>
                    <a:pt x="373" y="279"/>
                  </a:cubicBezTo>
                  <a:cubicBezTo>
                    <a:pt x="393" y="285"/>
                    <a:pt x="393" y="285"/>
                    <a:pt x="393" y="285"/>
                  </a:cubicBezTo>
                  <a:cubicBezTo>
                    <a:pt x="405" y="295"/>
                    <a:pt x="405" y="295"/>
                    <a:pt x="405" y="295"/>
                  </a:cubicBezTo>
                  <a:cubicBezTo>
                    <a:pt x="418" y="303"/>
                    <a:pt x="418" y="303"/>
                    <a:pt x="418" y="303"/>
                  </a:cubicBezTo>
                  <a:cubicBezTo>
                    <a:pt x="397" y="328"/>
                    <a:pt x="397" y="328"/>
                    <a:pt x="397" y="328"/>
                  </a:cubicBezTo>
                  <a:cubicBezTo>
                    <a:pt x="394" y="345"/>
                    <a:pt x="394" y="345"/>
                    <a:pt x="394" y="345"/>
                  </a:cubicBezTo>
                  <a:cubicBezTo>
                    <a:pt x="373" y="347"/>
                    <a:pt x="373" y="347"/>
                    <a:pt x="373" y="347"/>
                  </a:cubicBezTo>
                  <a:cubicBezTo>
                    <a:pt x="373" y="364"/>
                    <a:pt x="373" y="364"/>
                    <a:pt x="373" y="364"/>
                  </a:cubicBezTo>
                  <a:cubicBezTo>
                    <a:pt x="329" y="365"/>
                    <a:pt x="329" y="365"/>
                    <a:pt x="329" y="365"/>
                  </a:cubicBezTo>
                  <a:cubicBezTo>
                    <a:pt x="328" y="405"/>
                    <a:pt x="328" y="405"/>
                    <a:pt x="328" y="405"/>
                  </a:cubicBezTo>
                  <a:cubicBezTo>
                    <a:pt x="328" y="405"/>
                    <a:pt x="306" y="399"/>
                    <a:pt x="297" y="417"/>
                  </a:cubicBezTo>
                  <a:cubicBezTo>
                    <a:pt x="276" y="427"/>
                    <a:pt x="253" y="427"/>
                    <a:pt x="253" y="427"/>
                  </a:cubicBezTo>
                  <a:cubicBezTo>
                    <a:pt x="253" y="427"/>
                    <a:pt x="202" y="425"/>
                    <a:pt x="241" y="464"/>
                  </a:cubicBezTo>
                  <a:cubicBezTo>
                    <a:pt x="232" y="469"/>
                    <a:pt x="232" y="497"/>
                    <a:pt x="198" y="492"/>
                  </a:cubicBezTo>
                  <a:cubicBezTo>
                    <a:pt x="165" y="487"/>
                    <a:pt x="173" y="499"/>
                    <a:pt x="173" y="499"/>
                  </a:cubicBezTo>
                  <a:cubicBezTo>
                    <a:pt x="173" y="499"/>
                    <a:pt x="130" y="476"/>
                    <a:pt x="130" y="509"/>
                  </a:cubicBezTo>
                  <a:cubicBezTo>
                    <a:pt x="130" y="509"/>
                    <a:pt x="108" y="504"/>
                    <a:pt x="102" y="505"/>
                  </a:cubicBezTo>
                  <a:cubicBezTo>
                    <a:pt x="97" y="507"/>
                    <a:pt x="96" y="496"/>
                    <a:pt x="96" y="496"/>
                  </a:cubicBezTo>
                  <a:cubicBezTo>
                    <a:pt x="68" y="495"/>
                    <a:pt x="68" y="495"/>
                    <a:pt x="68" y="495"/>
                  </a:cubicBezTo>
                  <a:cubicBezTo>
                    <a:pt x="62" y="508"/>
                    <a:pt x="62" y="508"/>
                    <a:pt x="62" y="508"/>
                  </a:cubicBezTo>
                  <a:cubicBezTo>
                    <a:pt x="49" y="487"/>
                    <a:pt x="49" y="487"/>
                    <a:pt x="49" y="487"/>
                  </a:cubicBezTo>
                  <a:cubicBezTo>
                    <a:pt x="49" y="487"/>
                    <a:pt x="37" y="495"/>
                    <a:pt x="37" y="520"/>
                  </a:cubicBezTo>
                  <a:cubicBezTo>
                    <a:pt x="34" y="525"/>
                    <a:pt x="0" y="531"/>
                    <a:pt x="18" y="553"/>
                  </a:cubicBezTo>
                  <a:cubicBezTo>
                    <a:pt x="12" y="553"/>
                    <a:pt x="14" y="572"/>
                    <a:pt x="14" y="572"/>
                  </a:cubicBezTo>
                  <a:cubicBezTo>
                    <a:pt x="64" y="591"/>
                    <a:pt x="64" y="591"/>
                    <a:pt x="64" y="591"/>
                  </a:cubicBezTo>
                  <a:cubicBezTo>
                    <a:pt x="64" y="591"/>
                    <a:pt x="73" y="607"/>
                    <a:pt x="68" y="612"/>
                  </a:cubicBezTo>
                  <a:cubicBezTo>
                    <a:pt x="62" y="617"/>
                    <a:pt x="78" y="644"/>
                    <a:pt x="78" y="644"/>
                  </a:cubicBezTo>
                  <a:cubicBezTo>
                    <a:pt x="64" y="651"/>
                    <a:pt x="64" y="651"/>
                    <a:pt x="64" y="651"/>
                  </a:cubicBezTo>
                  <a:cubicBezTo>
                    <a:pt x="80" y="655"/>
                    <a:pt x="80" y="655"/>
                    <a:pt x="80" y="655"/>
                  </a:cubicBezTo>
                  <a:cubicBezTo>
                    <a:pt x="80" y="655"/>
                    <a:pt x="77" y="665"/>
                    <a:pt x="77" y="669"/>
                  </a:cubicBezTo>
                  <a:cubicBezTo>
                    <a:pt x="77" y="673"/>
                    <a:pt x="54" y="679"/>
                    <a:pt x="54" y="679"/>
                  </a:cubicBezTo>
                  <a:cubicBezTo>
                    <a:pt x="53" y="693"/>
                    <a:pt x="53" y="693"/>
                    <a:pt x="53" y="693"/>
                  </a:cubicBezTo>
                  <a:cubicBezTo>
                    <a:pt x="62" y="697"/>
                    <a:pt x="62" y="697"/>
                    <a:pt x="62" y="697"/>
                  </a:cubicBezTo>
                  <a:cubicBezTo>
                    <a:pt x="62" y="697"/>
                    <a:pt x="48" y="717"/>
                    <a:pt x="101" y="713"/>
                  </a:cubicBezTo>
                  <a:cubicBezTo>
                    <a:pt x="122" y="735"/>
                    <a:pt x="120" y="741"/>
                    <a:pt x="120" y="741"/>
                  </a:cubicBezTo>
                  <a:cubicBezTo>
                    <a:pt x="76" y="743"/>
                    <a:pt x="76" y="743"/>
                    <a:pt x="76" y="743"/>
                  </a:cubicBezTo>
                  <a:cubicBezTo>
                    <a:pt x="78" y="755"/>
                    <a:pt x="78" y="755"/>
                    <a:pt x="78" y="755"/>
                  </a:cubicBezTo>
                  <a:cubicBezTo>
                    <a:pt x="57" y="760"/>
                    <a:pt x="57" y="760"/>
                    <a:pt x="57" y="760"/>
                  </a:cubicBezTo>
                  <a:cubicBezTo>
                    <a:pt x="50" y="769"/>
                    <a:pt x="50" y="769"/>
                    <a:pt x="50" y="769"/>
                  </a:cubicBezTo>
                  <a:cubicBezTo>
                    <a:pt x="26" y="768"/>
                    <a:pt x="26" y="768"/>
                    <a:pt x="26" y="768"/>
                  </a:cubicBezTo>
                  <a:cubicBezTo>
                    <a:pt x="25" y="771"/>
                    <a:pt x="25" y="771"/>
                    <a:pt x="25" y="771"/>
                  </a:cubicBezTo>
                  <a:cubicBezTo>
                    <a:pt x="26" y="774"/>
                    <a:pt x="26" y="776"/>
                    <a:pt x="25" y="7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8" name="Midi-Pyrénnées" descr="© INSCALE GmbH, 05.05.2010&#10;http://www.presentationload.com/">
              <a:extLst>
                <a:ext uri="{FF2B5EF4-FFF2-40B4-BE49-F238E27FC236}">
                  <a16:creationId xmlns:a16="http://schemas.microsoft.com/office/drawing/2014/main" id="{A2F3FD82-C7EE-4A6F-8CF6-1DEA7DAD94F2}"/>
                </a:ext>
              </a:extLst>
            </p:cNvPr>
            <p:cNvSpPr>
              <a:spLocks/>
            </p:cNvSpPr>
            <p:nvPr/>
          </p:nvSpPr>
          <p:spPr bwMode="gray">
            <a:xfrm>
              <a:off x="1092" y="2246"/>
              <a:ext cx="953" cy="857"/>
            </a:xfrm>
            <a:custGeom>
              <a:avLst/>
              <a:gdLst/>
              <a:ahLst/>
              <a:cxnLst>
                <a:cxn ang="0">
                  <a:pos x="839" y="302"/>
                </a:cxn>
                <a:cxn ang="0">
                  <a:pos x="827" y="255"/>
                </a:cxn>
                <a:cxn ang="0">
                  <a:pos x="812" y="191"/>
                </a:cxn>
                <a:cxn ang="0">
                  <a:pos x="774" y="131"/>
                </a:cxn>
                <a:cxn ang="0">
                  <a:pos x="763" y="86"/>
                </a:cxn>
                <a:cxn ang="0">
                  <a:pos x="727" y="55"/>
                </a:cxn>
                <a:cxn ang="0">
                  <a:pos x="690" y="56"/>
                </a:cxn>
                <a:cxn ang="0">
                  <a:pos x="679" y="104"/>
                </a:cxn>
                <a:cxn ang="0">
                  <a:pos x="628" y="128"/>
                </a:cxn>
                <a:cxn ang="0">
                  <a:pos x="599" y="136"/>
                </a:cxn>
                <a:cxn ang="0">
                  <a:pos x="583" y="108"/>
                </a:cxn>
                <a:cxn ang="0">
                  <a:pos x="571" y="17"/>
                </a:cxn>
                <a:cxn ang="0">
                  <a:pos x="535" y="27"/>
                </a:cxn>
                <a:cxn ang="0">
                  <a:pos x="467" y="4"/>
                </a:cxn>
                <a:cxn ang="0">
                  <a:pos x="420" y="8"/>
                </a:cxn>
                <a:cxn ang="0">
                  <a:pos x="424" y="54"/>
                </a:cxn>
                <a:cxn ang="0">
                  <a:pos x="390" y="75"/>
                </a:cxn>
                <a:cxn ang="0">
                  <a:pos x="363" y="118"/>
                </a:cxn>
                <a:cxn ang="0">
                  <a:pos x="327" y="190"/>
                </a:cxn>
                <a:cxn ang="0">
                  <a:pos x="291" y="234"/>
                </a:cxn>
                <a:cxn ang="0">
                  <a:pos x="296" y="287"/>
                </a:cxn>
                <a:cxn ang="0">
                  <a:pos x="227" y="306"/>
                </a:cxn>
                <a:cxn ang="0">
                  <a:pos x="140" y="319"/>
                </a:cxn>
                <a:cxn ang="0">
                  <a:pos x="104" y="343"/>
                </a:cxn>
                <a:cxn ang="0">
                  <a:pos x="83" y="335"/>
                </a:cxn>
                <a:cxn ang="0">
                  <a:pos x="42" y="390"/>
                </a:cxn>
                <a:cxn ang="0">
                  <a:pos x="30" y="423"/>
                </a:cxn>
                <a:cxn ang="0">
                  <a:pos x="34" y="458"/>
                </a:cxn>
                <a:cxn ang="0">
                  <a:pos x="72" y="498"/>
                </a:cxn>
                <a:cxn ang="0">
                  <a:pos x="90" y="538"/>
                </a:cxn>
                <a:cxn ang="0">
                  <a:pos x="67" y="578"/>
                </a:cxn>
                <a:cxn ang="0">
                  <a:pos x="38" y="614"/>
                </a:cxn>
                <a:cxn ang="0">
                  <a:pos x="0" y="699"/>
                </a:cxn>
                <a:cxn ang="0">
                  <a:pos x="53" y="712"/>
                </a:cxn>
                <a:cxn ang="0">
                  <a:pos x="129" y="735"/>
                </a:cxn>
                <a:cxn ang="0">
                  <a:pos x="245" y="753"/>
                </a:cxn>
                <a:cxn ang="0">
                  <a:pos x="321" y="721"/>
                </a:cxn>
                <a:cxn ang="0">
                  <a:pos x="467" y="782"/>
                </a:cxn>
                <a:cxn ang="0">
                  <a:pos x="492" y="791"/>
                </a:cxn>
                <a:cxn ang="0">
                  <a:pos x="544" y="778"/>
                </a:cxn>
                <a:cxn ang="0">
                  <a:pos x="567" y="736"/>
                </a:cxn>
                <a:cxn ang="0">
                  <a:pos x="520" y="702"/>
                </a:cxn>
                <a:cxn ang="0">
                  <a:pos x="530" y="674"/>
                </a:cxn>
                <a:cxn ang="0">
                  <a:pos x="530" y="614"/>
                </a:cxn>
                <a:cxn ang="0">
                  <a:pos x="503" y="543"/>
                </a:cxn>
                <a:cxn ang="0">
                  <a:pos x="534" y="518"/>
                </a:cxn>
                <a:cxn ang="0">
                  <a:pos x="596" y="532"/>
                </a:cxn>
                <a:cxn ang="0">
                  <a:pos x="707" y="487"/>
                </a:cxn>
                <a:cxn ang="0">
                  <a:pos x="794" y="428"/>
                </a:cxn>
                <a:cxn ang="0">
                  <a:pos x="839" y="370"/>
                </a:cxn>
                <a:cxn ang="0">
                  <a:pos x="884" y="326"/>
                </a:cxn>
              </a:cxnLst>
              <a:rect l="0" t="0" r="r" b="b"/>
              <a:pathLst>
                <a:path w="884" h="794">
                  <a:moveTo>
                    <a:pt x="871" y="318"/>
                  </a:moveTo>
                  <a:cubicBezTo>
                    <a:pt x="859" y="308"/>
                    <a:pt x="859" y="308"/>
                    <a:pt x="859" y="308"/>
                  </a:cubicBezTo>
                  <a:cubicBezTo>
                    <a:pt x="839" y="302"/>
                    <a:pt x="839" y="302"/>
                    <a:pt x="839" y="302"/>
                  </a:cubicBezTo>
                  <a:cubicBezTo>
                    <a:pt x="839" y="302"/>
                    <a:pt x="854" y="284"/>
                    <a:pt x="859" y="279"/>
                  </a:cubicBezTo>
                  <a:cubicBezTo>
                    <a:pt x="864" y="274"/>
                    <a:pt x="823" y="267"/>
                    <a:pt x="823" y="267"/>
                  </a:cubicBezTo>
                  <a:cubicBezTo>
                    <a:pt x="827" y="255"/>
                    <a:pt x="827" y="255"/>
                    <a:pt x="827" y="255"/>
                  </a:cubicBezTo>
                  <a:cubicBezTo>
                    <a:pt x="804" y="247"/>
                    <a:pt x="804" y="247"/>
                    <a:pt x="804" y="247"/>
                  </a:cubicBezTo>
                  <a:cubicBezTo>
                    <a:pt x="814" y="231"/>
                    <a:pt x="814" y="231"/>
                    <a:pt x="814" y="231"/>
                  </a:cubicBezTo>
                  <a:cubicBezTo>
                    <a:pt x="812" y="191"/>
                    <a:pt x="812" y="191"/>
                    <a:pt x="812" y="191"/>
                  </a:cubicBezTo>
                  <a:cubicBezTo>
                    <a:pt x="791" y="178"/>
                    <a:pt x="791" y="178"/>
                    <a:pt x="791" y="178"/>
                  </a:cubicBezTo>
                  <a:cubicBezTo>
                    <a:pt x="795" y="146"/>
                    <a:pt x="795" y="146"/>
                    <a:pt x="795" y="146"/>
                  </a:cubicBezTo>
                  <a:cubicBezTo>
                    <a:pt x="774" y="131"/>
                    <a:pt x="774" y="131"/>
                    <a:pt x="774" y="131"/>
                  </a:cubicBezTo>
                  <a:cubicBezTo>
                    <a:pt x="774" y="122"/>
                    <a:pt x="774" y="122"/>
                    <a:pt x="774" y="122"/>
                  </a:cubicBezTo>
                  <a:cubicBezTo>
                    <a:pt x="772" y="126"/>
                    <a:pt x="772" y="126"/>
                    <a:pt x="772" y="126"/>
                  </a:cubicBezTo>
                  <a:cubicBezTo>
                    <a:pt x="763" y="86"/>
                    <a:pt x="763" y="86"/>
                    <a:pt x="763" y="86"/>
                  </a:cubicBezTo>
                  <a:cubicBezTo>
                    <a:pt x="754" y="75"/>
                    <a:pt x="754" y="75"/>
                    <a:pt x="754" y="75"/>
                  </a:cubicBezTo>
                  <a:cubicBezTo>
                    <a:pt x="754" y="75"/>
                    <a:pt x="740" y="45"/>
                    <a:pt x="729" y="53"/>
                  </a:cubicBezTo>
                  <a:cubicBezTo>
                    <a:pt x="729" y="55"/>
                    <a:pt x="728" y="56"/>
                    <a:pt x="727" y="55"/>
                  </a:cubicBezTo>
                  <a:cubicBezTo>
                    <a:pt x="728" y="54"/>
                    <a:pt x="728" y="54"/>
                    <a:pt x="729" y="53"/>
                  </a:cubicBezTo>
                  <a:cubicBezTo>
                    <a:pt x="731" y="46"/>
                    <a:pt x="725" y="18"/>
                    <a:pt x="699" y="55"/>
                  </a:cubicBezTo>
                  <a:cubicBezTo>
                    <a:pt x="690" y="63"/>
                    <a:pt x="690" y="56"/>
                    <a:pt x="690" y="56"/>
                  </a:cubicBezTo>
                  <a:cubicBezTo>
                    <a:pt x="688" y="78"/>
                    <a:pt x="688" y="78"/>
                    <a:pt x="688" y="78"/>
                  </a:cubicBezTo>
                  <a:cubicBezTo>
                    <a:pt x="680" y="84"/>
                    <a:pt x="680" y="84"/>
                    <a:pt x="680" y="84"/>
                  </a:cubicBezTo>
                  <a:cubicBezTo>
                    <a:pt x="679" y="104"/>
                    <a:pt x="679" y="104"/>
                    <a:pt x="679" y="104"/>
                  </a:cubicBezTo>
                  <a:cubicBezTo>
                    <a:pt x="666" y="114"/>
                    <a:pt x="666" y="114"/>
                    <a:pt x="666" y="114"/>
                  </a:cubicBezTo>
                  <a:cubicBezTo>
                    <a:pt x="662" y="126"/>
                    <a:pt x="662" y="126"/>
                    <a:pt x="662" y="126"/>
                  </a:cubicBezTo>
                  <a:cubicBezTo>
                    <a:pt x="628" y="128"/>
                    <a:pt x="628" y="128"/>
                    <a:pt x="628" y="128"/>
                  </a:cubicBezTo>
                  <a:cubicBezTo>
                    <a:pt x="627" y="123"/>
                    <a:pt x="627" y="123"/>
                    <a:pt x="627" y="123"/>
                  </a:cubicBezTo>
                  <a:cubicBezTo>
                    <a:pt x="598" y="124"/>
                    <a:pt x="598" y="124"/>
                    <a:pt x="598" y="124"/>
                  </a:cubicBezTo>
                  <a:cubicBezTo>
                    <a:pt x="599" y="136"/>
                    <a:pt x="599" y="136"/>
                    <a:pt x="599" y="136"/>
                  </a:cubicBezTo>
                  <a:cubicBezTo>
                    <a:pt x="594" y="130"/>
                    <a:pt x="594" y="130"/>
                    <a:pt x="594" y="130"/>
                  </a:cubicBezTo>
                  <a:cubicBezTo>
                    <a:pt x="592" y="114"/>
                    <a:pt x="592" y="114"/>
                    <a:pt x="592" y="114"/>
                  </a:cubicBezTo>
                  <a:cubicBezTo>
                    <a:pt x="583" y="108"/>
                    <a:pt x="583" y="108"/>
                    <a:pt x="583" y="108"/>
                  </a:cubicBezTo>
                  <a:cubicBezTo>
                    <a:pt x="588" y="74"/>
                    <a:pt x="588" y="74"/>
                    <a:pt x="588" y="74"/>
                  </a:cubicBezTo>
                  <a:cubicBezTo>
                    <a:pt x="572" y="47"/>
                    <a:pt x="572" y="47"/>
                    <a:pt x="572" y="47"/>
                  </a:cubicBezTo>
                  <a:cubicBezTo>
                    <a:pt x="572" y="47"/>
                    <a:pt x="574" y="30"/>
                    <a:pt x="571" y="17"/>
                  </a:cubicBezTo>
                  <a:cubicBezTo>
                    <a:pt x="569" y="19"/>
                    <a:pt x="568" y="20"/>
                    <a:pt x="568" y="20"/>
                  </a:cubicBezTo>
                  <a:cubicBezTo>
                    <a:pt x="547" y="22"/>
                    <a:pt x="547" y="22"/>
                    <a:pt x="547" y="22"/>
                  </a:cubicBezTo>
                  <a:cubicBezTo>
                    <a:pt x="535" y="27"/>
                    <a:pt x="535" y="27"/>
                    <a:pt x="535" y="27"/>
                  </a:cubicBezTo>
                  <a:cubicBezTo>
                    <a:pt x="532" y="20"/>
                    <a:pt x="532" y="20"/>
                    <a:pt x="532" y="20"/>
                  </a:cubicBezTo>
                  <a:cubicBezTo>
                    <a:pt x="532" y="20"/>
                    <a:pt x="518" y="43"/>
                    <a:pt x="507" y="39"/>
                  </a:cubicBezTo>
                  <a:cubicBezTo>
                    <a:pt x="496" y="35"/>
                    <a:pt x="467" y="4"/>
                    <a:pt x="467" y="4"/>
                  </a:cubicBezTo>
                  <a:cubicBezTo>
                    <a:pt x="467" y="4"/>
                    <a:pt x="435" y="0"/>
                    <a:pt x="424" y="7"/>
                  </a:cubicBezTo>
                  <a:cubicBezTo>
                    <a:pt x="423" y="4"/>
                    <a:pt x="423" y="4"/>
                    <a:pt x="423" y="4"/>
                  </a:cubicBezTo>
                  <a:cubicBezTo>
                    <a:pt x="420" y="8"/>
                    <a:pt x="420" y="8"/>
                    <a:pt x="420" y="8"/>
                  </a:cubicBezTo>
                  <a:cubicBezTo>
                    <a:pt x="426" y="39"/>
                    <a:pt x="426" y="39"/>
                    <a:pt x="426" y="39"/>
                  </a:cubicBezTo>
                  <a:cubicBezTo>
                    <a:pt x="419" y="44"/>
                    <a:pt x="419" y="44"/>
                    <a:pt x="419" y="44"/>
                  </a:cubicBezTo>
                  <a:cubicBezTo>
                    <a:pt x="424" y="54"/>
                    <a:pt x="424" y="54"/>
                    <a:pt x="424" y="54"/>
                  </a:cubicBezTo>
                  <a:cubicBezTo>
                    <a:pt x="407" y="60"/>
                    <a:pt x="407" y="60"/>
                    <a:pt x="407" y="60"/>
                  </a:cubicBezTo>
                  <a:cubicBezTo>
                    <a:pt x="406" y="74"/>
                    <a:pt x="406" y="74"/>
                    <a:pt x="406" y="74"/>
                  </a:cubicBezTo>
                  <a:cubicBezTo>
                    <a:pt x="390" y="75"/>
                    <a:pt x="390" y="75"/>
                    <a:pt x="390" y="75"/>
                  </a:cubicBezTo>
                  <a:cubicBezTo>
                    <a:pt x="398" y="92"/>
                    <a:pt x="398" y="92"/>
                    <a:pt x="398" y="92"/>
                  </a:cubicBezTo>
                  <a:cubicBezTo>
                    <a:pt x="384" y="112"/>
                    <a:pt x="384" y="112"/>
                    <a:pt x="384" y="112"/>
                  </a:cubicBezTo>
                  <a:cubicBezTo>
                    <a:pt x="363" y="118"/>
                    <a:pt x="363" y="118"/>
                    <a:pt x="363" y="118"/>
                  </a:cubicBezTo>
                  <a:cubicBezTo>
                    <a:pt x="344" y="147"/>
                    <a:pt x="344" y="147"/>
                    <a:pt x="344" y="147"/>
                  </a:cubicBezTo>
                  <a:cubicBezTo>
                    <a:pt x="316" y="156"/>
                    <a:pt x="316" y="156"/>
                    <a:pt x="316" y="156"/>
                  </a:cubicBezTo>
                  <a:cubicBezTo>
                    <a:pt x="316" y="156"/>
                    <a:pt x="327" y="186"/>
                    <a:pt x="327" y="190"/>
                  </a:cubicBezTo>
                  <a:cubicBezTo>
                    <a:pt x="327" y="194"/>
                    <a:pt x="334" y="198"/>
                    <a:pt x="334" y="198"/>
                  </a:cubicBezTo>
                  <a:cubicBezTo>
                    <a:pt x="334" y="198"/>
                    <a:pt x="331" y="223"/>
                    <a:pt x="312" y="216"/>
                  </a:cubicBezTo>
                  <a:cubicBezTo>
                    <a:pt x="294" y="210"/>
                    <a:pt x="291" y="234"/>
                    <a:pt x="291" y="234"/>
                  </a:cubicBezTo>
                  <a:cubicBezTo>
                    <a:pt x="308" y="246"/>
                    <a:pt x="308" y="246"/>
                    <a:pt x="308" y="246"/>
                  </a:cubicBezTo>
                  <a:cubicBezTo>
                    <a:pt x="291" y="270"/>
                    <a:pt x="291" y="270"/>
                    <a:pt x="291" y="270"/>
                  </a:cubicBezTo>
                  <a:cubicBezTo>
                    <a:pt x="296" y="287"/>
                    <a:pt x="296" y="287"/>
                    <a:pt x="296" y="287"/>
                  </a:cubicBezTo>
                  <a:cubicBezTo>
                    <a:pt x="274" y="286"/>
                    <a:pt x="274" y="286"/>
                    <a:pt x="274" y="286"/>
                  </a:cubicBezTo>
                  <a:cubicBezTo>
                    <a:pt x="274" y="286"/>
                    <a:pt x="262" y="322"/>
                    <a:pt x="247" y="322"/>
                  </a:cubicBezTo>
                  <a:cubicBezTo>
                    <a:pt x="232" y="322"/>
                    <a:pt x="227" y="306"/>
                    <a:pt x="227" y="306"/>
                  </a:cubicBezTo>
                  <a:cubicBezTo>
                    <a:pt x="214" y="311"/>
                    <a:pt x="214" y="311"/>
                    <a:pt x="214" y="311"/>
                  </a:cubicBezTo>
                  <a:cubicBezTo>
                    <a:pt x="214" y="311"/>
                    <a:pt x="183" y="326"/>
                    <a:pt x="168" y="327"/>
                  </a:cubicBezTo>
                  <a:cubicBezTo>
                    <a:pt x="154" y="328"/>
                    <a:pt x="140" y="319"/>
                    <a:pt x="140" y="319"/>
                  </a:cubicBezTo>
                  <a:cubicBezTo>
                    <a:pt x="127" y="328"/>
                    <a:pt x="127" y="328"/>
                    <a:pt x="127" y="328"/>
                  </a:cubicBezTo>
                  <a:cubicBezTo>
                    <a:pt x="118" y="326"/>
                    <a:pt x="118" y="326"/>
                    <a:pt x="118" y="326"/>
                  </a:cubicBezTo>
                  <a:cubicBezTo>
                    <a:pt x="118" y="326"/>
                    <a:pt x="103" y="338"/>
                    <a:pt x="104" y="343"/>
                  </a:cubicBezTo>
                  <a:cubicBezTo>
                    <a:pt x="106" y="348"/>
                    <a:pt x="112" y="362"/>
                    <a:pt x="104" y="359"/>
                  </a:cubicBezTo>
                  <a:cubicBezTo>
                    <a:pt x="96" y="356"/>
                    <a:pt x="91" y="348"/>
                    <a:pt x="88" y="342"/>
                  </a:cubicBezTo>
                  <a:cubicBezTo>
                    <a:pt x="86" y="335"/>
                    <a:pt x="83" y="335"/>
                    <a:pt x="83" y="335"/>
                  </a:cubicBezTo>
                  <a:cubicBezTo>
                    <a:pt x="83" y="335"/>
                    <a:pt x="74" y="344"/>
                    <a:pt x="67" y="344"/>
                  </a:cubicBezTo>
                  <a:cubicBezTo>
                    <a:pt x="60" y="344"/>
                    <a:pt x="38" y="358"/>
                    <a:pt x="38" y="358"/>
                  </a:cubicBezTo>
                  <a:cubicBezTo>
                    <a:pt x="42" y="390"/>
                    <a:pt x="42" y="390"/>
                    <a:pt x="42" y="390"/>
                  </a:cubicBezTo>
                  <a:cubicBezTo>
                    <a:pt x="38" y="387"/>
                    <a:pt x="38" y="387"/>
                    <a:pt x="38" y="387"/>
                  </a:cubicBezTo>
                  <a:cubicBezTo>
                    <a:pt x="43" y="408"/>
                    <a:pt x="43" y="408"/>
                    <a:pt x="43" y="408"/>
                  </a:cubicBezTo>
                  <a:cubicBezTo>
                    <a:pt x="30" y="423"/>
                    <a:pt x="30" y="423"/>
                    <a:pt x="30" y="423"/>
                  </a:cubicBezTo>
                  <a:cubicBezTo>
                    <a:pt x="31" y="442"/>
                    <a:pt x="31" y="442"/>
                    <a:pt x="31" y="442"/>
                  </a:cubicBezTo>
                  <a:cubicBezTo>
                    <a:pt x="22" y="446"/>
                    <a:pt x="22" y="446"/>
                    <a:pt x="22" y="446"/>
                  </a:cubicBezTo>
                  <a:cubicBezTo>
                    <a:pt x="34" y="458"/>
                    <a:pt x="34" y="458"/>
                    <a:pt x="34" y="458"/>
                  </a:cubicBezTo>
                  <a:cubicBezTo>
                    <a:pt x="34" y="458"/>
                    <a:pt x="72" y="471"/>
                    <a:pt x="76" y="480"/>
                  </a:cubicBezTo>
                  <a:cubicBezTo>
                    <a:pt x="80" y="490"/>
                    <a:pt x="83" y="494"/>
                    <a:pt x="83" y="494"/>
                  </a:cubicBezTo>
                  <a:cubicBezTo>
                    <a:pt x="72" y="498"/>
                    <a:pt x="72" y="498"/>
                    <a:pt x="72" y="498"/>
                  </a:cubicBezTo>
                  <a:cubicBezTo>
                    <a:pt x="72" y="514"/>
                    <a:pt x="72" y="514"/>
                    <a:pt x="72" y="514"/>
                  </a:cubicBezTo>
                  <a:cubicBezTo>
                    <a:pt x="88" y="508"/>
                    <a:pt x="88" y="508"/>
                    <a:pt x="88" y="508"/>
                  </a:cubicBezTo>
                  <a:cubicBezTo>
                    <a:pt x="90" y="538"/>
                    <a:pt x="90" y="538"/>
                    <a:pt x="90" y="538"/>
                  </a:cubicBezTo>
                  <a:cubicBezTo>
                    <a:pt x="78" y="543"/>
                    <a:pt x="78" y="543"/>
                    <a:pt x="78" y="543"/>
                  </a:cubicBezTo>
                  <a:cubicBezTo>
                    <a:pt x="78" y="543"/>
                    <a:pt x="72" y="555"/>
                    <a:pt x="79" y="563"/>
                  </a:cubicBezTo>
                  <a:cubicBezTo>
                    <a:pt x="79" y="568"/>
                    <a:pt x="67" y="578"/>
                    <a:pt x="67" y="578"/>
                  </a:cubicBezTo>
                  <a:cubicBezTo>
                    <a:pt x="67" y="588"/>
                    <a:pt x="67" y="588"/>
                    <a:pt x="67" y="588"/>
                  </a:cubicBezTo>
                  <a:cubicBezTo>
                    <a:pt x="58" y="588"/>
                    <a:pt x="58" y="588"/>
                    <a:pt x="58" y="588"/>
                  </a:cubicBezTo>
                  <a:cubicBezTo>
                    <a:pt x="38" y="614"/>
                    <a:pt x="38" y="614"/>
                    <a:pt x="38" y="614"/>
                  </a:cubicBezTo>
                  <a:cubicBezTo>
                    <a:pt x="38" y="632"/>
                    <a:pt x="38" y="632"/>
                    <a:pt x="38" y="632"/>
                  </a:cubicBezTo>
                  <a:cubicBezTo>
                    <a:pt x="22" y="634"/>
                    <a:pt x="22" y="634"/>
                    <a:pt x="22" y="634"/>
                  </a:cubicBezTo>
                  <a:cubicBezTo>
                    <a:pt x="0" y="699"/>
                    <a:pt x="0" y="699"/>
                    <a:pt x="0" y="699"/>
                  </a:cubicBezTo>
                  <a:cubicBezTo>
                    <a:pt x="0" y="699"/>
                    <a:pt x="1" y="701"/>
                    <a:pt x="1" y="705"/>
                  </a:cubicBezTo>
                  <a:cubicBezTo>
                    <a:pt x="24" y="689"/>
                    <a:pt x="48" y="712"/>
                    <a:pt x="48" y="712"/>
                  </a:cubicBezTo>
                  <a:cubicBezTo>
                    <a:pt x="53" y="712"/>
                    <a:pt x="53" y="712"/>
                    <a:pt x="53" y="712"/>
                  </a:cubicBezTo>
                  <a:cubicBezTo>
                    <a:pt x="79" y="748"/>
                    <a:pt x="79" y="748"/>
                    <a:pt x="79" y="748"/>
                  </a:cubicBezTo>
                  <a:cubicBezTo>
                    <a:pt x="119" y="746"/>
                    <a:pt x="119" y="746"/>
                    <a:pt x="119" y="746"/>
                  </a:cubicBezTo>
                  <a:cubicBezTo>
                    <a:pt x="129" y="735"/>
                    <a:pt x="129" y="735"/>
                    <a:pt x="129" y="735"/>
                  </a:cubicBezTo>
                  <a:cubicBezTo>
                    <a:pt x="129" y="735"/>
                    <a:pt x="153" y="752"/>
                    <a:pt x="162" y="757"/>
                  </a:cubicBezTo>
                  <a:cubicBezTo>
                    <a:pt x="170" y="733"/>
                    <a:pt x="192" y="748"/>
                    <a:pt x="192" y="748"/>
                  </a:cubicBezTo>
                  <a:cubicBezTo>
                    <a:pt x="192" y="748"/>
                    <a:pt x="239" y="752"/>
                    <a:pt x="245" y="753"/>
                  </a:cubicBezTo>
                  <a:cubicBezTo>
                    <a:pt x="251" y="754"/>
                    <a:pt x="245" y="741"/>
                    <a:pt x="245" y="741"/>
                  </a:cubicBezTo>
                  <a:cubicBezTo>
                    <a:pt x="234" y="718"/>
                    <a:pt x="253" y="691"/>
                    <a:pt x="253" y="691"/>
                  </a:cubicBezTo>
                  <a:cubicBezTo>
                    <a:pt x="253" y="691"/>
                    <a:pt x="302" y="721"/>
                    <a:pt x="321" y="721"/>
                  </a:cubicBezTo>
                  <a:cubicBezTo>
                    <a:pt x="340" y="721"/>
                    <a:pt x="364" y="744"/>
                    <a:pt x="364" y="744"/>
                  </a:cubicBezTo>
                  <a:cubicBezTo>
                    <a:pt x="398" y="728"/>
                    <a:pt x="420" y="779"/>
                    <a:pt x="421" y="782"/>
                  </a:cubicBezTo>
                  <a:cubicBezTo>
                    <a:pt x="442" y="756"/>
                    <a:pt x="467" y="782"/>
                    <a:pt x="467" y="782"/>
                  </a:cubicBezTo>
                  <a:cubicBezTo>
                    <a:pt x="479" y="774"/>
                    <a:pt x="479" y="774"/>
                    <a:pt x="479" y="774"/>
                  </a:cubicBezTo>
                  <a:cubicBezTo>
                    <a:pt x="479" y="774"/>
                    <a:pt x="488" y="786"/>
                    <a:pt x="491" y="794"/>
                  </a:cubicBezTo>
                  <a:cubicBezTo>
                    <a:pt x="492" y="791"/>
                    <a:pt x="492" y="791"/>
                    <a:pt x="492" y="791"/>
                  </a:cubicBezTo>
                  <a:cubicBezTo>
                    <a:pt x="516" y="792"/>
                    <a:pt x="516" y="792"/>
                    <a:pt x="516" y="792"/>
                  </a:cubicBezTo>
                  <a:cubicBezTo>
                    <a:pt x="523" y="783"/>
                    <a:pt x="523" y="783"/>
                    <a:pt x="523" y="783"/>
                  </a:cubicBezTo>
                  <a:cubicBezTo>
                    <a:pt x="544" y="778"/>
                    <a:pt x="544" y="778"/>
                    <a:pt x="544" y="778"/>
                  </a:cubicBezTo>
                  <a:cubicBezTo>
                    <a:pt x="542" y="766"/>
                    <a:pt x="542" y="766"/>
                    <a:pt x="542" y="766"/>
                  </a:cubicBezTo>
                  <a:cubicBezTo>
                    <a:pt x="586" y="764"/>
                    <a:pt x="586" y="764"/>
                    <a:pt x="586" y="764"/>
                  </a:cubicBezTo>
                  <a:cubicBezTo>
                    <a:pt x="586" y="764"/>
                    <a:pt x="588" y="758"/>
                    <a:pt x="567" y="736"/>
                  </a:cubicBezTo>
                  <a:cubicBezTo>
                    <a:pt x="514" y="740"/>
                    <a:pt x="528" y="720"/>
                    <a:pt x="528" y="720"/>
                  </a:cubicBezTo>
                  <a:cubicBezTo>
                    <a:pt x="519" y="716"/>
                    <a:pt x="519" y="716"/>
                    <a:pt x="519" y="716"/>
                  </a:cubicBezTo>
                  <a:cubicBezTo>
                    <a:pt x="520" y="702"/>
                    <a:pt x="520" y="702"/>
                    <a:pt x="520" y="702"/>
                  </a:cubicBezTo>
                  <a:cubicBezTo>
                    <a:pt x="520" y="702"/>
                    <a:pt x="543" y="696"/>
                    <a:pt x="543" y="692"/>
                  </a:cubicBezTo>
                  <a:cubicBezTo>
                    <a:pt x="543" y="688"/>
                    <a:pt x="546" y="678"/>
                    <a:pt x="546" y="678"/>
                  </a:cubicBezTo>
                  <a:cubicBezTo>
                    <a:pt x="530" y="674"/>
                    <a:pt x="530" y="674"/>
                    <a:pt x="530" y="674"/>
                  </a:cubicBezTo>
                  <a:cubicBezTo>
                    <a:pt x="544" y="667"/>
                    <a:pt x="544" y="667"/>
                    <a:pt x="544" y="667"/>
                  </a:cubicBezTo>
                  <a:cubicBezTo>
                    <a:pt x="544" y="667"/>
                    <a:pt x="528" y="640"/>
                    <a:pt x="534" y="635"/>
                  </a:cubicBezTo>
                  <a:cubicBezTo>
                    <a:pt x="539" y="630"/>
                    <a:pt x="530" y="614"/>
                    <a:pt x="530" y="614"/>
                  </a:cubicBezTo>
                  <a:cubicBezTo>
                    <a:pt x="480" y="595"/>
                    <a:pt x="480" y="595"/>
                    <a:pt x="480" y="595"/>
                  </a:cubicBezTo>
                  <a:cubicBezTo>
                    <a:pt x="480" y="595"/>
                    <a:pt x="478" y="576"/>
                    <a:pt x="484" y="576"/>
                  </a:cubicBezTo>
                  <a:cubicBezTo>
                    <a:pt x="466" y="554"/>
                    <a:pt x="500" y="548"/>
                    <a:pt x="503" y="543"/>
                  </a:cubicBezTo>
                  <a:cubicBezTo>
                    <a:pt x="503" y="518"/>
                    <a:pt x="515" y="510"/>
                    <a:pt x="515" y="510"/>
                  </a:cubicBezTo>
                  <a:cubicBezTo>
                    <a:pt x="528" y="531"/>
                    <a:pt x="528" y="531"/>
                    <a:pt x="528" y="531"/>
                  </a:cubicBezTo>
                  <a:cubicBezTo>
                    <a:pt x="534" y="518"/>
                    <a:pt x="534" y="518"/>
                    <a:pt x="534" y="518"/>
                  </a:cubicBezTo>
                  <a:cubicBezTo>
                    <a:pt x="562" y="519"/>
                    <a:pt x="562" y="519"/>
                    <a:pt x="562" y="519"/>
                  </a:cubicBezTo>
                  <a:cubicBezTo>
                    <a:pt x="562" y="519"/>
                    <a:pt x="563" y="530"/>
                    <a:pt x="568" y="528"/>
                  </a:cubicBezTo>
                  <a:cubicBezTo>
                    <a:pt x="574" y="527"/>
                    <a:pt x="596" y="532"/>
                    <a:pt x="596" y="532"/>
                  </a:cubicBezTo>
                  <a:cubicBezTo>
                    <a:pt x="596" y="499"/>
                    <a:pt x="639" y="522"/>
                    <a:pt x="639" y="522"/>
                  </a:cubicBezTo>
                  <a:cubicBezTo>
                    <a:pt x="639" y="522"/>
                    <a:pt x="631" y="510"/>
                    <a:pt x="664" y="515"/>
                  </a:cubicBezTo>
                  <a:cubicBezTo>
                    <a:pt x="698" y="520"/>
                    <a:pt x="698" y="492"/>
                    <a:pt x="707" y="487"/>
                  </a:cubicBezTo>
                  <a:cubicBezTo>
                    <a:pt x="668" y="448"/>
                    <a:pt x="719" y="450"/>
                    <a:pt x="719" y="450"/>
                  </a:cubicBezTo>
                  <a:cubicBezTo>
                    <a:pt x="719" y="450"/>
                    <a:pt x="742" y="450"/>
                    <a:pt x="763" y="440"/>
                  </a:cubicBezTo>
                  <a:cubicBezTo>
                    <a:pt x="772" y="422"/>
                    <a:pt x="794" y="428"/>
                    <a:pt x="794" y="428"/>
                  </a:cubicBezTo>
                  <a:cubicBezTo>
                    <a:pt x="795" y="388"/>
                    <a:pt x="795" y="388"/>
                    <a:pt x="795" y="388"/>
                  </a:cubicBezTo>
                  <a:cubicBezTo>
                    <a:pt x="839" y="387"/>
                    <a:pt x="839" y="387"/>
                    <a:pt x="839" y="387"/>
                  </a:cubicBezTo>
                  <a:cubicBezTo>
                    <a:pt x="839" y="370"/>
                    <a:pt x="839" y="370"/>
                    <a:pt x="839" y="370"/>
                  </a:cubicBezTo>
                  <a:cubicBezTo>
                    <a:pt x="860" y="368"/>
                    <a:pt x="860" y="368"/>
                    <a:pt x="860" y="368"/>
                  </a:cubicBezTo>
                  <a:cubicBezTo>
                    <a:pt x="863" y="351"/>
                    <a:pt x="863" y="351"/>
                    <a:pt x="863" y="351"/>
                  </a:cubicBezTo>
                  <a:cubicBezTo>
                    <a:pt x="884" y="326"/>
                    <a:pt x="884" y="326"/>
                    <a:pt x="884" y="326"/>
                  </a:cubicBezTo>
                  <a:lnTo>
                    <a:pt x="871" y="318"/>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09" name="Aquitaine" descr="© INSCALE GmbH, 05.05.2010&#10;http://www.presentationload.com/">
              <a:extLst>
                <a:ext uri="{FF2B5EF4-FFF2-40B4-BE49-F238E27FC236}">
                  <a16:creationId xmlns:a16="http://schemas.microsoft.com/office/drawing/2014/main" id="{97CDBFD3-5115-4B18-AE8A-FC35BD36554B}"/>
                </a:ext>
              </a:extLst>
            </p:cNvPr>
            <p:cNvSpPr>
              <a:spLocks/>
            </p:cNvSpPr>
            <p:nvPr/>
          </p:nvSpPr>
          <p:spPr bwMode="gray">
            <a:xfrm>
              <a:off x="758" y="1992"/>
              <a:ext cx="793" cy="1021"/>
            </a:xfrm>
            <a:custGeom>
              <a:avLst/>
              <a:gdLst/>
              <a:ahLst/>
              <a:cxnLst>
                <a:cxn ang="0">
                  <a:pos x="347" y="849"/>
                </a:cxn>
                <a:cxn ang="0">
                  <a:pos x="376" y="813"/>
                </a:cxn>
                <a:cxn ang="0">
                  <a:pos x="399" y="773"/>
                </a:cxn>
                <a:cxn ang="0">
                  <a:pos x="381" y="733"/>
                </a:cxn>
                <a:cxn ang="0">
                  <a:pos x="343" y="693"/>
                </a:cxn>
                <a:cxn ang="0">
                  <a:pos x="339" y="658"/>
                </a:cxn>
                <a:cxn ang="0">
                  <a:pos x="351" y="625"/>
                </a:cxn>
                <a:cxn ang="0">
                  <a:pos x="392" y="570"/>
                </a:cxn>
                <a:cxn ang="0">
                  <a:pos x="413" y="578"/>
                </a:cxn>
                <a:cxn ang="0">
                  <a:pos x="449" y="554"/>
                </a:cxn>
                <a:cxn ang="0">
                  <a:pos x="536" y="541"/>
                </a:cxn>
                <a:cxn ang="0">
                  <a:pos x="605" y="522"/>
                </a:cxn>
                <a:cxn ang="0">
                  <a:pos x="600" y="469"/>
                </a:cxn>
                <a:cxn ang="0">
                  <a:pos x="636" y="425"/>
                </a:cxn>
                <a:cxn ang="0">
                  <a:pos x="672" y="353"/>
                </a:cxn>
                <a:cxn ang="0">
                  <a:pos x="699" y="310"/>
                </a:cxn>
                <a:cxn ang="0">
                  <a:pos x="733" y="289"/>
                </a:cxn>
                <a:cxn ang="0">
                  <a:pos x="729" y="243"/>
                </a:cxn>
                <a:cxn ang="0">
                  <a:pos x="727" y="207"/>
                </a:cxn>
                <a:cxn ang="0">
                  <a:pos x="692" y="183"/>
                </a:cxn>
                <a:cxn ang="0">
                  <a:pos x="691" y="150"/>
                </a:cxn>
                <a:cxn ang="0">
                  <a:pos x="700" y="117"/>
                </a:cxn>
                <a:cxn ang="0">
                  <a:pos x="655" y="74"/>
                </a:cxn>
                <a:cxn ang="0">
                  <a:pos x="589" y="58"/>
                </a:cxn>
                <a:cxn ang="0">
                  <a:pos x="540" y="43"/>
                </a:cxn>
                <a:cxn ang="0">
                  <a:pos x="519" y="74"/>
                </a:cxn>
                <a:cxn ang="0">
                  <a:pos x="464" y="147"/>
                </a:cxn>
                <a:cxn ang="0">
                  <a:pos x="407" y="202"/>
                </a:cxn>
                <a:cxn ang="0">
                  <a:pos x="319" y="169"/>
                </a:cxn>
                <a:cxn ang="0">
                  <a:pos x="265" y="131"/>
                </a:cxn>
                <a:cxn ang="0">
                  <a:pos x="279" y="178"/>
                </a:cxn>
                <a:cxn ang="0">
                  <a:pos x="239" y="76"/>
                </a:cxn>
                <a:cxn ang="0">
                  <a:pos x="185" y="0"/>
                </a:cxn>
                <a:cxn ang="0">
                  <a:pos x="133" y="309"/>
                </a:cxn>
                <a:cxn ang="0">
                  <a:pos x="147" y="302"/>
                </a:cxn>
                <a:cxn ang="0">
                  <a:pos x="23" y="730"/>
                </a:cxn>
                <a:cxn ang="0">
                  <a:pos x="34" y="764"/>
                </a:cxn>
                <a:cxn ang="0">
                  <a:pos x="86" y="787"/>
                </a:cxn>
                <a:cxn ang="0">
                  <a:pos x="110" y="831"/>
                </a:cxn>
                <a:cxn ang="0">
                  <a:pos x="142" y="869"/>
                </a:cxn>
                <a:cxn ang="0">
                  <a:pos x="228" y="882"/>
                </a:cxn>
                <a:cxn ang="0">
                  <a:pos x="293" y="943"/>
                </a:cxn>
                <a:cxn ang="0">
                  <a:pos x="309" y="934"/>
                </a:cxn>
              </a:cxnLst>
              <a:rect l="0" t="0" r="r" b="b"/>
              <a:pathLst>
                <a:path w="735" h="946">
                  <a:moveTo>
                    <a:pt x="331" y="869"/>
                  </a:moveTo>
                  <a:cubicBezTo>
                    <a:pt x="347" y="867"/>
                    <a:pt x="347" y="867"/>
                    <a:pt x="347" y="867"/>
                  </a:cubicBezTo>
                  <a:cubicBezTo>
                    <a:pt x="347" y="849"/>
                    <a:pt x="347" y="849"/>
                    <a:pt x="347" y="849"/>
                  </a:cubicBezTo>
                  <a:cubicBezTo>
                    <a:pt x="367" y="823"/>
                    <a:pt x="367" y="823"/>
                    <a:pt x="367" y="823"/>
                  </a:cubicBezTo>
                  <a:cubicBezTo>
                    <a:pt x="376" y="823"/>
                    <a:pt x="376" y="823"/>
                    <a:pt x="376" y="823"/>
                  </a:cubicBezTo>
                  <a:cubicBezTo>
                    <a:pt x="376" y="813"/>
                    <a:pt x="376" y="813"/>
                    <a:pt x="376" y="813"/>
                  </a:cubicBezTo>
                  <a:cubicBezTo>
                    <a:pt x="376" y="813"/>
                    <a:pt x="388" y="803"/>
                    <a:pt x="388" y="798"/>
                  </a:cubicBezTo>
                  <a:cubicBezTo>
                    <a:pt x="381" y="790"/>
                    <a:pt x="387" y="778"/>
                    <a:pt x="387" y="778"/>
                  </a:cubicBezTo>
                  <a:cubicBezTo>
                    <a:pt x="399" y="773"/>
                    <a:pt x="399" y="773"/>
                    <a:pt x="399" y="773"/>
                  </a:cubicBezTo>
                  <a:cubicBezTo>
                    <a:pt x="397" y="743"/>
                    <a:pt x="397" y="743"/>
                    <a:pt x="397" y="743"/>
                  </a:cubicBezTo>
                  <a:cubicBezTo>
                    <a:pt x="381" y="749"/>
                    <a:pt x="381" y="749"/>
                    <a:pt x="381" y="749"/>
                  </a:cubicBezTo>
                  <a:cubicBezTo>
                    <a:pt x="381" y="733"/>
                    <a:pt x="381" y="733"/>
                    <a:pt x="381" y="733"/>
                  </a:cubicBezTo>
                  <a:cubicBezTo>
                    <a:pt x="392" y="729"/>
                    <a:pt x="392" y="729"/>
                    <a:pt x="392" y="729"/>
                  </a:cubicBezTo>
                  <a:cubicBezTo>
                    <a:pt x="392" y="729"/>
                    <a:pt x="389" y="725"/>
                    <a:pt x="385" y="715"/>
                  </a:cubicBezTo>
                  <a:cubicBezTo>
                    <a:pt x="381" y="706"/>
                    <a:pt x="343" y="693"/>
                    <a:pt x="343" y="693"/>
                  </a:cubicBezTo>
                  <a:cubicBezTo>
                    <a:pt x="331" y="681"/>
                    <a:pt x="331" y="681"/>
                    <a:pt x="331" y="681"/>
                  </a:cubicBezTo>
                  <a:cubicBezTo>
                    <a:pt x="340" y="677"/>
                    <a:pt x="340" y="677"/>
                    <a:pt x="340" y="677"/>
                  </a:cubicBezTo>
                  <a:cubicBezTo>
                    <a:pt x="339" y="658"/>
                    <a:pt x="339" y="658"/>
                    <a:pt x="339" y="658"/>
                  </a:cubicBezTo>
                  <a:cubicBezTo>
                    <a:pt x="352" y="643"/>
                    <a:pt x="352" y="643"/>
                    <a:pt x="352" y="643"/>
                  </a:cubicBezTo>
                  <a:cubicBezTo>
                    <a:pt x="347" y="622"/>
                    <a:pt x="347" y="622"/>
                    <a:pt x="347" y="622"/>
                  </a:cubicBezTo>
                  <a:cubicBezTo>
                    <a:pt x="351" y="625"/>
                    <a:pt x="351" y="625"/>
                    <a:pt x="351" y="625"/>
                  </a:cubicBezTo>
                  <a:cubicBezTo>
                    <a:pt x="347" y="593"/>
                    <a:pt x="347" y="593"/>
                    <a:pt x="347" y="593"/>
                  </a:cubicBezTo>
                  <a:cubicBezTo>
                    <a:pt x="347" y="593"/>
                    <a:pt x="369" y="579"/>
                    <a:pt x="376" y="579"/>
                  </a:cubicBezTo>
                  <a:cubicBezTo>
                    <a:pt x="383" y="579"/>
                    <a:pt x="392" y="570"/>
                    <a:pt x="392" y="570"/>
                  </a:cubicBezTo>
                  <a:cubicBezTo>
                    <a:pt x="392" y="570"/>
                    <a:pt x="395" y="570"/>
                    <a:pt x="397" y="577"/>
                  </a:cubicBezTo>
                  <a:cubicBezTo>
                    <a:pt x="400" y="583"/>
                    <a:pt x="405" y="591"/>
                    <a:pt x="413" y="594"/>
                  </a:cubicBezTo>
                  <a:cubicBezTo>
                    <a:pt x="421" y="597"/>
                    <a:pt x="415" y="583"/>
                    <a:pt x="413" y="578"/>
                  </a:cubicBezTo>
                  <a:cubicBezTo>
                    <a:pt x="412" y="573"/>
                    <a:pt x="427" y="561"/>
                    <a:pt x="427" y="561"/>
                  </a:cubicBezTo>
                  <a:cubicBezTo>
                    <a:pt x="436" y="563"/>
                    <a:pt x="436" y="563"/>
                    <a:pt x="436" y="563"/>
                  </a:cubicBezTo>
                  <a:cubicBezTo>
                    <a:pt x="449" y="554"/>
                    <a:pt x="449" y="554"/>
                    <a:pt x="449" y="554"/>
                  </a:cubicBezTo>
                  <a:cubicBezTo>
                    <a:pt x="449" y="554"/>
                    <a:pt x="463" y="563"/>
                    <a:pt x="477" y="562"/>
                  </a:cubicBezTo>
                  <a:cubicBezTo>
                    <a:pt x="492" y="561"/>
                    <a:pt x="523" y="546"/>
                    <a:pt x="523" y="546"/>
                  </a:cubicBezTo>
                  <a:cubicBezTo>
                    <a:pt x="536" y="541"/>
                    <a:pt x="536" y="541"/>
                    <a:pt x="536" y="541"/>
                  </a:cubicBezTo>
                  <a:cubicBezTo>
                    <a:pt x="536" y="541"/>
                    <a:pt x="541" y="557"/>
                    <a:pt x="556" y="557"/>
                  </a:cubicBezTo>
                  <a:cubicBezTo>
                    <a:pt x="571" y="557"/>
                    <a:pt x="583" y="521"/>
                    <a:pt x="583" y="521"/>
                  </a:cubicBezTo>
                  <a:cubicBezTo>
                    <a:pt x="605" y="522"/>
                    <a:pt x="605" y="522"/>
                    <a:pt x="605" y="522"/>
                  </a:cubicBezTo>
                  <a:cubicBezTo>
                    <a:pt x="600" y="505"/>
                    <a:pt x="600" y="505"/>
                    <a:pt x="600" y="505"/>
                  </a:cubicBezTo>
                  <a:cubicBezTo>
                    <a:pt x="617" y="481"/>
                    <a:pt x="617" y="481"/>
                    <a:pt x="617" y="481"/>
                  </a:cubicBezTo>
                  <a:cubicBezTo>
                    <a:pt x="600" y="469"/>
                    <a:pt x="600" y="469"/>
                    <a:pt x="600" y="469"/>
                  </a:cubicBezTo>
                  <a:cubicBezTo>
                    <a:pt x="600" y="469"/>
                    <a:pt x="603" y="445"/>
                    <a:pt x="621" y="451"/>
                  </a:cubicBezTo>
                  <a:cubicBezTo>
                    <a:pt x="640" y="458"/>
                    <a:pt x="643" y="433"/>
                    <a:pt x="643" y="433"/>
                  </a:cubicBezTo>
                  <a:cubicBezTo>
                    <a:pt x="643" y="433"/>
                    <a:pt x="636" y="429"/>
                    <a:pt x="636" y="425"/>
                  </a:cubicBezTo>
                  <a:cubicBezTo>
                    <a:pt x="636" y="421"/>
                    <a:pt x="625" y="391"/>
                    <a:pt x="625" y="391"/>
                  </a:cubicBezTo>
                  <a:cubicBezTo>
                    <a:pt x="653" y="382"/>
                    <a:pt x="653" y="382"/>
                    <a:pt x="653" y="382"/>
                  </a:cubicBezTo>
                  <a:cubicBezTo>
                    <a:pt x="672" y="353"/>
                    <a:pt x="672" y="353"/>
                    <a:pt x="672" y="353"/>
                  </a:cubicBezTo>
                  <a:cubicBezTo>
                    <a:pt x="693" y="347"/>
                    <a:pt x="693" y="347"/>
                    <a:pt x="693" y="347"/>
                  </a:cubicBezTo>
                  <a:cubicBezTo>
                    <a:pt x="707" y="327"/>
                    <a:pt x="707" y="327"/>
                    <a:pt x="707" y="327"/>
                  </a:cubicBezTo>
                  <a:cubicBezTo>
                    <a:pt x="699" y="310"/>
                    <a:pt x="699" y="310"/>
                    <a:pt x="699" y="310"/>
                  </a:cubicBezTo>
                  <a:cubicBezTo>
                    <a:pt x="715" y="309"/>
                    <a:pt x="715" y="309"/>
                    <a:pt x="715" y="309"/>
                  </a:cubicBezTo>
                  <a:cubicBezTo>
                    <a:pt x="716" y="295"/>
                    <a:pt x="716" y="295"/>
                    <a:pt x="716" y="295"/>
                  </a:cubicBezTo>
                  <a:cubicBezTo>
                    <a:pt x="733" y="289"/>
                    <a:pt x="733" y="289"/>
                    <a:pt x="733" y="289"/>
                  </a:cubicBezTo>
                  <a:cubicBezTo>
                    <a:pt x="728" y="279"/>
                    <a:pt x="728" y="279"/>
                    <a:pt x="728" y="279"/>
                  </a:cubicBezTo>
                  <a:cubicBezTo>
                    <a:pt x="735" y="274"/>
                    <a:pt x="735" y="274"/>
                    <a:pt x="735" y="274"/>
                  </a:cubicBezTo>
                  <a:cubicBezTo>
                    <a:pt x="729" y="243"/>
                    <a:pt x="729" y="243"/>
                    <a:pt x="729" y="243"/>
                  </a:cubicBezTo>
                  <a:cubicBezTo>
                    <a:pt x="732" y="239"/>
                    <a:pt x="732" y="239"/>
                    <a:pt x="732" y="239"/>
                  </a:cubicBezTo>
                  <a:cubicBezTo>
                    <a:pt x="721" y="217"/>
                    <a:pt x="721" y="217"/>
                    <a:pt x="721" y="217"/>
                  </a:cubicBezTo>
                  <a:cubicBezTo>
                    <a:pt x="727" y="207"/>
                    <a:pt x="727" y="207"/>
                    <a:pt x="727" y="207"/>
                  </a:cubicBezTo>
                  <a:cubicBezTo>
                    <a:pt x="696" y="195"/>
                    <a:pt x="696" y="195"/>
                    <a:pt x="696" y="195"/>
                  </a:cubicBezTo>
                  <a:cubicBezTo>
                    <a:pt x="700" y="185"/>
                    <a:pt x="700" y="185"/>
                    <a:pt x="700" y="185"/>
                  </a:cubicBezTo>
                  <a:cubicBezTo>
                    <a:pt x="692" y="183"/>
                    <a:pt x="692" y="183"/>
                    <a:pt x="692" y="183"/>
                  </a:cubicBezTo>
                  <a:cubicBezTo>
                    <a:pt x="699" y="167"/>
                    <a:pt x="699" y="167"/>
                    <a:pt x="699" y="167"/>
                  </a:cubicBezTo>
                  <a:cubicBezTo>
                    <a:pt x="691" y="161"/>
                    <a:pt x="691" y="161"/>
                    <a:pt x="691" y="161"/>
                  </a:cubicBezTo>
                  <a:cubicBezTo>
                    <a:pt x="691" y="150"/>
                    <a:pt x="691" y="150"/>
                    <a:pt x="691" y="150"/>
                  </a:cubicBezTo>
                  <a:cubicBezTo>
                    <a:pt x="691" y="150"/>
                    <a:pt x="707" y="135"/>
                    <a:pt x="707" y="129"/>
                  </a:cubicBezTo>
                  <a:cubicBezTo>
                    <a:pt x="707" y="122"/>
                    <a:pt x="693" y="118"/>
                    <a:pt x="693" y="118"/>
                  </a:cubicBezTo>
                  <a:cubicBezTo>
                    <a:pt x="700" y="117"/>
                    <a:pt x="700" y="117"/>
                    <a:pt x="700" y="117"/>
                  </a:cubicBezTo>
                  <a:cubicBezTo>
                    <a:pt x="668" y="95"/>
                    <a:pt x="668" y="95"/>
                    <a:pt x="668" y="95"/>
                  </a:cubicBezTo>
                  <a:cubicBezTo>
                    <a:pt x="673" y="75"/>
                    <a:pt x="673" y="75"/>
                    <a:pt x="673" y="75"/>
                  </a:cubicBezTo>
                  <a:cubicBezTo>
                    <a:pt x="673" y="75"/>
                    <a:pt x="661" y="74"/>
                    <a:pt x="655" y="74"/>
                  </a:cubicBezTo>
                  <a:cubicBezTo>
                    <a:pt x="648" y="74"/>
                    <a:pt x="643" y="51"/>
                    <a:pt x="643" y="51"/>
                  </a:cubicBezTo>
                  <a:cubicBezTo>
                    <a:pt x="608" y="47"/>
                    <a:pt x="608" y="47"/>
                    <a:pt x="608" y="47"/>
                  </a:cubicBezTo>
                  <a:cubicBezTo>
                    <a:pt x="608" y="47"/>
                    <a:pt x="596" y="62"/>
                    <a:pt x="589" y="58"/>
                  </a:cubicBezTo>
                  <a:cubicBezTo>
                    <a:pt x="583" y="54"/>
                    <a:pt x="589" y="30"/>
                    <a:pt x="589" y="30"/>
                  </a:cubicBezTo>
                  <a:cubicBezTo>
                    <a:pt x="589" y="30"/>
                    <a:pt x="576" y="24"/>
                    <a:pt x="558" y="21"/>
                  </a:cubicBezTo>
                  <a:cubicBezTo>
                    <a:pt x="540" y="43"/>
                    <a:pt x="540" y="43"/>
                    <a:pt x="540" y="43"/>
                  </a:cubicBezTo>
                  <a:cubicBezTo>
                    <a:pt x="540" y="43"/>
                    <a:pt x="529" y="45"/>
                    <a:pt x="525" y="45"/>
                  </a:cubicBezTo>
                  <a:cubicBezTo>
                    <a:pt x="521" y="45"/>
                    <a:pt x="531" y="73"/>
                    <a:pt x="531" y="73"/>
                  </a:cubicBezTo>
                  <a:cubicBezTo>
                    <a:pt x="519" y="74"/>
                    <a:pt x="519" y="74"/>
                    <a:pt x="519" y="74"/>
                  </a:cubicBezTo>
                  <a:cubicBezTo>
                    <a:pt x="519" y="74"/>
                    <a:pt x="515" y="73"/>
                    <a:pt x="511" y="87"/>
                  </a:cubicBezTo>
                  <a:cubicBezTo>
                    <a:pt x="459" y="94"/>
                    <a:pt x="471" y="147"/>
                    <a:pt x="471" y="147"/>
                  </a:cubicBezTo>
                  <a:cubicBezTo>
                    <a:pt x="464" y="147"/>
                    <a:pt x="464" y="147"/>
                    <a:pt x="464" y="147"/>
                  </a:cubicBezTo>
                  <a:cubicBezTo>
                    <a:pt x="464" y="147"/>
                    <a:pt x="445" y="175"/>
                    <a:pt x="441" y="175"/>
                  </a:cubicBezTo>
                  <a:cubicBezTo>
                    <a:pt x="437" y="175"/>
                    <a:pt x="429" y="166"/>
                    <a:pt x="429" y="166"/>
                  </a:cubicBezTo>
                  <a:cubicBezTo>
                    <a:pt x="429" y="166"/>
                    <a:pt x="413" y="189"/>
                    <a:pt x="407" y="202"/>
                  </a:cubicBezTo>
                  <a:cubicBezTo>
                    <a:pt x="400" y="215"/>
                    <a:pt x="367" y="213"/>
                    <a:pt x="349" y="195"/>
                  </a:cubicBezTo>
                  <a:cubicBezTo>
                    <a:pt x="332" y="178"/>
                    <a:pt x="324" y="193"/>
                    <a:pt x="324" y="193"/>
                  </a:cubicBezTo>
                  <a:cubicBezTo>
                    <a:pt x="324" y="193"/>
                    <a:pt x="324" y="187"/>
                    <a:pt x="319" y="169"/>
                  </a:cubicBezTo>
                  <a:cubicBezTo>
                    <a:pt x="325" y="154"/>
                    <a:pt x="285" y="143"/>
                    <a:pt x="285" y="143"/>
                  </a:cubicBezTo>
                  <a:cubicBezTo>
                    <a:pt x="279" y="130"/>
                    <a:pt x="279" y="130"/>
                    <a:pt x="279" y="130"/>
                  </a:cubicBezTo>
                  <a:cubicBezTo>
                    <a:pt x="265" y="131"/>
                    <a:pt x="265" y="131"/>
                    <a:pt x="265" y="131"/>
                  </a:cubicBezTo>
                  <a:cubicBezTo>
                    <a:pt x="267" y="136"/>
                    <a:pt x="270" y="143"/>
                    <a:pt x="272" y="153"/>
                  </a:cubicBezTo>
                  <a:cubicBezTo>
                    <a:pt x="276" y="171"/>
                    <a:pt x="290" y="171"/>
                    <a:pt x="290" y="171"/>
                  </a:cubicBezTo>
                  <a:cubicBezTo>
                    <a:pt x="279" y="178"/>
                    <a:pt x="279" y="178"/>
                    <a:pt x="279" y="178"/>
                  </a:cubicBezTo>
                  <a:cubicBezTo>
                    <a:pt x="279" y="178"/>
                    <a:pt x="262" y="147"/>
                    <a:pt x="258" y="143"/>
                  </a:cubicBezTo>
                  <a:cubicBezTo>
                    <a:pt x="254" y="140"/>
                    <a:pt x="250" y="104"/>
                    <a:pt x="242" y="83"/>
                  </a:cubicBezTo>
                  <a:cubicBezTo>
                    <a:pt x="239" y="76"/>
                    <a:pt x="239" y="76"/>
                    <a:pt x="239" y="76"/>
                  </a:cubicBezTo>
                  <a:cubicBezTo>
                    <a:pt x="239" y="75"/>
                    <a:pt x="239" y="75"/>
                    <a:pt x="239" y="75"/>
                  </a:cubicBezTo>
                  <a:cubicBezTo>
                    <a:pt x="229" y="55"/>
                    <a:pt x="184" y="19"/>
                    <a:pt x="184" y="19"/>
                  </a:cubicBezTo>
                  <a:cubicBezTo>
                    <a:pt x="185" y="0"/>
                    <a:pt x="185" y="0"/>
                    <a:pt x="185" y="0"/>
                  </a:cubicBezTo>
                  <a:cubicBezTo>
                    <a:pt x="162" y="28"/>
                    <a:pt x="162" y="28"/>
                    <a:pt x="162" y="28"/>
                  </a:cubicBezTo>
                  <a:cubicBezTo>
                    <a:pt x="162" y="28"/>
                    <a:pt x="164" y="82"/>
                    <a:pt x="159" y="107"/>
                  </a:cubicBezTo>
                  <a:cubicBezTo>
                    <a:pt x="155" y="130"/>
                    <a:pt x="136" y="279"/>
                    <a:pt x="133" y="309"/>
                  </a:cubicBezTo>
                  <a:cubicBezTo>
                    <a:pt x="136" y="291"/>
                    <a:pt x="155" y="262"/>
                    <a:pt x="155" y="262"/>
                  </a:cubicBezTo>
                  <a:cubicBezTo>
                    <a:pt x="155" y="262"/>
                    <a:pt x="187" y="292"/>
                    <a:pt x="180" y="304"/>
                  </a:cubicBezTo>
                  <a:cubicBezTo>
                    <a:pt x="173" y="316"/>
                    <a:pt x="147" y="302"/>
                    <a:pt x="147" y="302"/>
                  </a:cubicBezTo>
                  <a:cubicBezTo>
                    <a:pt x="145" y="322"/>
                    <a:pt x="131" y="339"/>
                    <a:pt x="131" y="339"/>
                  </a:cubicBezTo>
                  <a:cubicBezTo>
                    <a:pt x="131" y="339"/>
                    <a:pt x="115" y="435"/>
                    <a:pt x="93" y="567"/>
                  </a:cubicBezTo>
                  <a:cubicBezTo>
                    <a:pt x="71" y="699"/>
                    <a:pt x="23" y="730"/>
                    <a:pt x="23" y="730"/>
                  </a:cubicBezTo>
                  <a:cubicBezTo>
                    <a:pt x="0" y="733"/>
                    <a:pt x="0" y="733"/>
                    <a:pt x="0" y="733"/>
                  </a:cubicBezTo>
                  <a:cubicBezTo>
                    <a:pt x="13" y="763"/>
                    <a:pt x="13" y="763"/>
                    <a:pt x="13" y="763"/>
                  </a:cubicBezTo>
                  <a:cubicBezTo>
                    <a:pt x="34" y="764"/>
                    <a:pt x="34" y="764"/>
                    <a:pt x="34" y="764"/>
                  </a:cubicBezTo>
                  <a:cubicBezTo>
                    <a:pt x="34" y="764"/>
                    <a:pt x="37" y="773"/>
                    <a:pt x="42" y="779"/>
                  </a:cubicBezTo>
                  <a:cubicBezTo>
                    <a:pt x="47" y="785"/>
                    <a:pt x="48" y="774"/>
                    <a:pt x="56" y="771"/>
                  </a:cubicBezTo>
                  <a:cubicBezTo>
                    <a:pt x="64" y="768"/>
                    <a:pt x="74" y="776"/>
                    <a:pt x="86" y="787"/>
                  </a:cubicBezTo>
                  <a:cubicBezTo>
                    <a:pt x="98" y="798"/>
                    <a:pt x="71" y="830"/>
                    <a:pt x="69" y="843"/>
                  </a:cubicBezTo>
                  <a:cubicBezTo>
                    <a:pt x="67" y="856"/>
                    <a:pt x="92" y="859"/>
                    <a:pt x="92" y="859"/>
                  </a:cubicBezTo>
                  <a:cubicBezTo>
                    <a:pt x="92" y="859"/>
                    <a:pt x="100" y="831"/>
                    <a:pt x="110" y="831"/>
                  </a:cubicBezTo>
                  <a:cubicBezTo>
                    <a:pt x="120" y="831"/>
                    <a:pt x="107" y="846"/>
                    <a:pt x="107" y="846"/>
                  </a:cubicBezTo>
                  <a:cubicBezTo>
                    <a:pt x="136" y="857"/>
                    <a:pt x="136" y="857"/>
                    <a:pt x="136" y="857"/>
                  </a:cubicBezTo>
                  <a:cubicBezTo>
                    <a:pt x="142" y="869"/>
                    <a:pt x="142" y="869"/>
                    <a:pt x="142" y="869"/>
                  </a:cubicBezTo>
                  <a:cubicBezTo>
                    <a:pt x="149" y="864"/>
                    <a:pt x="149" y="864"/>
                    <a:pt x="149" y="864"/>
                  </a:cubicBezTo>
                  <a:cubicBezTo>
                    <a:pt x="182" y="884"/>
                    <a:pt x="182" y="884"/>
                    <a:pt x="182" y="884"/>
                  </a:cubicBezTo>
                  <a:cubicBezTo>
                    <a:pt x="228" y="882"/>
                    <a:pt x="228" y="882"/>
                    <a:pt x="228" y="882"/>
                  </a:cubicBezTo>
                  <a:cubicBezTo>
                    <a:pt x="228" y="882"/>
                    <a:pt x="230" y="909"/>
                    <a:pt x="239" y="912"/>
                  </a:cubicBezTo>
                  <a:cubicBezTo>
                    <a:pt x="248" y="915"/>
                    <a:pt x="277" y="946"/>
                    <a:pt x="277" y="946"/>
                  </a:cubicBezTo>
                  <a:cubicBezTo>
                    <a:pt x="293" y="936"/>
                    <a:pt x="293" y="943"/>
                    <a:pt x="293" y="943"/>
                  </a:cubicBezTo>
                  <a:cubicBezTo>
                    <a:pt x="293" y="943"/>
                    <a:pt x="309" y="946"/>
                    <a:pt x="306" y="942"/>
                  </a:cubicBezTo>
                  <a:cubicBezTo>
                    <a:pt x="307" y="941"/>
                    <a:pt x="308" y="940"/>
                    <a:pt x="310" y="940"/>
                  </a:cubicBezTo>
                  <a:cubicBezTo>
                    <a:pt x="310" y="936"/>
                    <a:pt x="309" y="934"/>
                    <a:pt x="309" y="934"/>
                  </a:cubicBezTo>
                  <a:lnTo>
                    <a:pt x="331" y="869"/>
                  </a:lnTo>
                  <a:close/>
                </a:path>
              </a:pathLst>
            </a:custGeom>
            <a:grp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sp>
          <p:nvSpPr>
            <p:cNvPr id="110" name="Rhône-Alpes" descr="© INSCALE GmbH, 05.05.2010&#10;http://www.presentationload.com/">
              <a:extLst>
                <a:ext uri="{FF2B5EF4-FFF2-40B4-BE49-F238E27FC236}">
                  <a16:creationId xmlns:a16="http://schemas.microsoft.com/office/drawing/2014/main" id="{C96232F3-AA0D-4686-B8F3-177F16EC3D67}"/>
                </a:ext>
              </a:extLst>
            </p:cNvPr>
            <p:cNvSpPr>
              <a:spLocks/>
            </p:cNvSpPr>
            <p:nvPr/>
          </p:nvSpPr>
          <p:spPr bwMode="gray">
            <a:xfrm>
              <a:off x="2094" y="1710"/>
              <a:ext cx="833" cy="840"/>
            </a:xfrm>
            <a:custGeom>
              <a:avLst/>
              <a:gdLst/>
              <a:ahLst/>
              <a:cxnLst>
                <a:cxn ang="0">
                  <a:pos x="92" y="696"/>
                </a:cxn>
                <a:cxn ang="0">
                  <a:pos x="136" y="744"/>
                </a:cxn>
                <a:cxn ang="0">
                  <a:pos x="170" y="728"/>
                </a:cxn>
                <a:cxn ang="0">
                  <a:pos x="228" y="735"/>
                </a:cxn>
                <a:cxn ang="0">
                  <a:pos x="318" y="724"/>
                </a:cxn>
                <a:cxn ang="0">
                  <a:pos x="341" y="746"/>
                </a:cxn>
                <a:cxn ang="0">
                  <a:pos x="386" y="752"/>
                </a:cxn>
                <a:cxn ang="0">
                  <a:pos x="416" y="778"/>
                </a:cxn>
                <a:cxn ang="0">
                  <a:pos x="462" y="752"/>
                </a:cxn>
                <a:cxn ang="0">
                  <a:pos x="414" y="708"/>
                </a:cxn>
                <a:cxn ang="0">
                  <a:pos x="406" y="670"/>
                </a:cxn>
                <a:cxn ang="0">
                  <a:pos x="453" y="650"/>
                </a:cxn>
                <a:cxn ang="0">
                  <a:pos x="486" y="590"/>
                </a:cxn>
                <a:cxn ang="0">
                  <a:pos x="541" y="546"/>
                </a:cxn>
                <a:cxn ang="0">
                  <a:pos x="572" y="487"/>
                </a:cxn>
                <a:cxn ang="0">
                  <a:pos x="604" y="452"/>
                </a:cxn>
                <a:cxn ang="0">
                  <a:pos x="632" y="458"/>
                </a:cxn>
                <a:cxn ang="0">
                  <a:pos x="685" y="426"/>
                </a:cxn>
                <a:cxn ang="0">
                  <a:pos x="772" y="342"/>
                </a:cxn>
                <a:cxn ang="0">
                  <a:pos x="686" y="232"/>
                </a:cxn>
                <a:cxn ang="0">
                  <a:pos x="706" y="121"/>
                </a:cxn>
                <a:cxn ang="0">
                  <a:pos x="684" y="108"/>
                </a:cxn>
                <a:cxn ang="0">
                  <a:pos x="670" y="33"/>
                </a:cxn>
                <a:cxn ang="0">
                  <a:pos x="611" y="0"/>
                </a:cxn>
                <a:cxn ang="0">
                  <a:pos x="560" y="31"/>
                </a:cxn>
                <a:cxn ang="0">
                  <a:pos x="569" y="68"/>
                </a:cxn>
                <a:cxn ang="0">
                  <a:pos x="517" y="99"/>
                </a:cxn>
                <a:cxn ang="0">
                  <a:pos x="512" y="67"/>
                </a:cxn>
                <a:cxn ang="0">
                  <a:pos x="534" y="29"/>
                </a:cxn>
                <a:cxn ang="0">
                  <a:pos x="441" y="74"/>
                </a:cxn>
                <a:cxn ang="0">
                  <a:pos x="388" y="79"/>
                </a:cxn>
                <a:cxn ang="0">
                  <a:pos x="350" y="50"/>
                </a:cxn>
                <a:cxn ang="0">
                  <a:pos x="326" y="16"/>
                </a:cxn>
                <a:cxn ang="0">
                  <a:pos x="237" y="126"/>
                </a:cxn>
                <a:cxn ang="0">
                  <a:pos x="217" y="100"/>
                </a:cxn>
                <a:cxn ang="0">
                  <a:pos x="188" y="88"/>
                </a:cxn>
                <a:cxn ang="0">
                  <a:pos x="152" y="88"/>
                </a:cxn>
                <a:cxn ang="0">
                  <a:pos x="125" y="136"/>
                </a:cxn>
                <a:cxn ang="0">
                  <a:pos x="86" y="126"/>
                </a:cxn>
                <a:cxn ang="0">
                  <a:pos x="42" y="119"/>
                </a:cxn>
                <a:cxn ang="0">
                  <a:pos x="21" y="124"/>
                </a:cxn>
                <a:cxn ang="0">
                  <a:pos x="25" y="187"/>
                </a:cxn>
                <a:cxn ang="0">
                  <a:pos x="12" y="224"/>
                </a:cxn>
                <a:cxn ang="0">
                  <a:pos x="29" y="311"/>
                </a:cxn>
                <a:cxn ang="0">
                  <a:pos x="50" y="403"/>
                </a:cxn>
                <a:cxn ang="0">
                  <a:pos x="72" y="396"/>
                </a:cxn>
                <a:cxn ang="0">
                  <a:pos x="90" y="390"/>
                </a:cxn>
                <a:cxn ang="0">
                  <a:pos x="150" y="406"/>
                </a:cxn>
                <a:cxn ang="0">
                  <a:pos x="171" y="469"/>
                </a:cxn>
                <a:cxn ang="0">
                  <a:pos x="157" y="458"/>
                </a:cxn>
                <a:cxn ang="0">
                  <a:pos x="157" y="495"/>
                </a:cxn>
                <a:cxn ang="0">
                  <a:pos x="122" y="519"/>
                </a:cxn>
                <a:cxn ang="0">
                  <a:pos x="81" y="554"/>
                </a:cxn>
                <a:cxn ang="0">
                  <a:pos x="41" y="588"/>
                </a:cxn>
              </a:cxnLst>
              <a:rect l="0" t="0" r="r" b="b"/>
              <a:pathLst>
                <a:path w="772" h="778">
                  <a:moveTo>
                    <a:pt x="68" y="647"/>
                  </a:moveTo>
                  <a:cubicBezTo>
                    <a:pt x="72" y="678"/>
                    <a:pt x="72" y="678"/>
                    <a:pt x="72" y="678"/>
                  </a:cubicBezTo>
                  <a:cubicBezTo>
                    <a:pt x="92" y="696"/>
                    <a:pt x="92" y="696"/>
                    <a:pt x="92" y="696"/>
                  </a:cubicBezTo>
                  <a:cubicBezTo>
                    <a:pt x="85" y="727"/>
                    <a:pt x="85" y="727"/>
                    <a:pt x="85" y="727"/>
                  </a:cubicBezTo>
                  <a:cubicBezTo>
                    <a:pt x="104" y="716"/>
                    <a:pt x="104" y="716"/>
                    <a:pt x="104" y="716"/>
                  </a:cubicBezTo>
                  <a:cubicBezTo>
                    <a:pt x="136" y="744"/>
                    <a:pt x="136" y="744"/>
                    <a:pt x="136" y="744"/>
                  </a:cubicBezTo>
                  <a:cubicBezTo>
                    <a:pt x="156" y="714"/>
                    <a:pt x="156" y="714"/>
                    <a:pt x="156" y="714"/>
                  </a:cubicBezTo>
                  <a:cubicBezTo>
                    <a:pt x="170" y="714"/>
                    <a:pt x="170" y="714"/>
                    <a:pt x="170" y="714"/>
                  </a:cubicBezTo>
                  <a:cubicBezTo>
                    <a:pt x="170" y="728"/>
                    <a:pt x="170" y="728"/>
                    <a:pt x="170" y="728"/>
                  </a:cubicBezTo>
                  <a:cubicBezTo>
                    <a:pt x="177" y="728"/>
                    <a:pt x="177" y="728"/>
                    <a:pt x="177" y="728"/>
                  </a:cubicBezTo>
                  <a:cubicBezTo>
                    <a:pt x="185" y="716"/>
                    <a:pt x="185" y="716"/>
                    <a:pt x="185" y="716"/>
                  </a:cubicBezTo>
                  <a:cubicBezTo>
                    <a:pt x="228" y="735"/>
                    <a:pt x="228" y="735"/>
                    <a:pt x="228" y="735"/>
                  </a:cubicBezTo>
                  <a:cubicBezTo>
                    <a:pt x="228" y="720"/>
                    <a:pt x="228" y="720"/>
                    <a:pt x="228" y="720"/>
                  </a:cubicBezTo>
                  <a:cubicBezTo>
                    <a:pt x="228" y="720"/>
                    <a:pt x="262" y="712"/>
                    <a:pt x="264" y="748"/>
                  </a:cubicBezTo>
                  <a:cubicBezTo>
                    <a:pt x="318" y="724"/>
                    <a:pt x="318" y="724"/>
                    <a:pt x="318" y="724"/>
                  </a:cubicBezTo>
                  <a:cubicBezTo>
                    <a:pt x="329" y="728"/>
                    <a:pt x="329" y="728"/>
                    <a:pt x="329" y="728"/>
                  </a:cubicBezTo>
                  <a:cubicBezTo>
                    <a:pt x="341" y="722"/>
                    <a:pt x="341" y="722"/>
                    <a:pt x="341" y="722"/>
                  </a:cubicBezTo>
                  <a:cubicBezTo>
                    <a:pt x="341" y="746"/>
                    <a:pt x="341" y="746"/>
                    <a:pt x="341" y="746"/>
                  </a:cubicBezTo>
                  <a:cubicBezTo>
                    <a:pt x="366" y="754"/>
                    <a:pt x="366" y="754"/>
                    <a:pt x="366" y="754"/>
                  </a:cubicBezTo>
                  <a:cubicBezTo>
                    <a:pt x="365" y="747"/>
                    <a:pt x="365" y="747"/>
                    <a:pt x="365" y="747"/>
                  </a:cubicBezTo>
                  <a:cubicBezTo>
                    <a:pt x="386" y="752"/>
                    <a:pt x="386" y="752"/>
                    <a:pt x="386" y="752"/>
                  </a:cubicBezTo>
                  <a:cubicBezTo>
                    <a:pt x="386" y="752"/>
                    <a:pt x="393" y="756"/>
                    <a:pt x="393" y="766"/>
                  </a:cubicBezTo>
                  <a:cubicBezTo>
                    <a:pt x="393" y="775"/>
                    <a:pt x="406" y="771"/>
                    <a:pt x="406" y="771"/>
                  </a:cubicBezTo>
                  <a:cubicBezTo>
                    <a:pt x="416" y="778"/>
                    <a:pt x="416" y="778"/>
                    <a:pt x="416" y="778"/>
                  </a:cubicBezTo>
                  <a:cubicBezTo>
                    <a:pt x="436" y="766"/>
                    <a:pt x="436" y="766"/>
                    <a:pt x="436" y="766"/>
                  </a:cubicBezTo>
                  <a:cubicBezTo>
                    <a:pt x="436" y="766"/>
                    <a:pt x="426" y="755"/>
                    <a:pt x="450" y="763"/>
                  </a:cubicBezTo>
                  <a:cubicBezTo>
                    <a:pt x="448" y="766"/>
                    <a:pt x="462" y="752"/>
                    <a:pt x="462" y="752"/>
                  </a:cubicBezTo>
                  <a:cubicBezTo>
                    <a:pt x="462" y="730"/>
                    <a:pt x="462" y="730"/>
                    <a:pt x="462" y="730"/>
                  </a:cubicBezTo>
                  <a:cubicBezTo>
                    <a:pt x="445" y="710"/>
                    <a:pt x="445" y="710"/>
                    <a:pt x="445" y="710"/>
                  </a:cubicBezTo>
                  <a:cubicBezTo>
                    <a:pt x="414" y="708"/>
                    <a:pt x="414" y="708"/>
                    <a:pt x="414" y="708"/>
                  </a:cubicBezTo>
                  <a:cubicBezTo>
                    <a:pt x="398" y="683"/>
                    <a:pt x="398" y="683"/>
                    <a:pt x="398" y="683"/>
                  </a:cubicBezTo>
                  <a:cubicBezTo>
                    <a:pt x="414" y="682"/>
                    <a:pt x="414" y="682"/>
                    <a:pt x="414" y="682"/>
                  </a:cubicBezTo>
                  <a:cubicBezTo>
                    <a:pt x="406" y="670"/>
                    <a:pt x="406" y="670"/>
                    <a:pt x="406" y="670"/>
                  </a:cubicBezTo>
                  <a:cubicBezTo>
                    <a:pt x="409" y="658"/>
                    <a:pt x="409" y="658"/>
                    <a:pt x="409" y="658"/>
                  </a:cubicBezTo>
                  <a:cubicBezTo>
                    <a:pt x="438" y="662"/>
                    <a:pt x="438" y="662"/>
                    <a:pt x="438" y="662"/>
                  </a:cubicBezTo>
                  <a:cubicBezTo>
                    <a:pt x="453" y="650"/>
                    <a:pt x="453" y="650"/>
                    <a:pt x="453" y="650"/>
                  </a:cubicBezTo>
                  <a:cubicBezTo>
                    <a:pt x="436" y="640"/>
                    <a:pt x="436" y="640"/>
                    <a:pt x="436" y="640"/>
                  </a:cubicBezTo>
                  <a:cubicBezTo>
                    <a:pt x="449" y="614"/>
                    <a:pt x="449" y="614"/>
                    <a:pt x="449" y="614"/>
                  </a:cubicBezTo>
                  <a:cubicBezTo>
                    <a:pt x="449" y="614"/>
                    <a:pt x="490" y="599"/>
                    <a:pt x="486" y="590"/>
                  </a:cubicBezTo>
                  <a:cubicBezTo>
                    <a:pt x="482" y="580"/>
                    <a:pt x="477" y="568"/>
                    <a:pt x="489" y="568"/>
                  </a:cubicBezTo>
                  <a:cubicBezTo>
                    <a:pt x="501" y="568"/>
                    <a:pt x="525" y="562"/>
                    <a:pt x="525" y="562"/>
                  </a:cubicBezTo>
                  <a:cubicBezTo>
                    <a:pt x="525" y="562"/>
                    <a:pt x="534" y="539"/>
                    <a:pt x="541" y="546"/>
                  </a:cubicBezTo>
                  <a:cubicBezTo>
                    <a:pt x="548" y="552"/>
                    <a:pt x="538" y="532"/>
                    <a:pt x="604" y="534"/>
                  </a:cubicBezTo>
                  <a:cubicBezTo>
                    <a:pt x="597" y="511"/>
                    <a:pt x="596" y="492"/>
                    <a:pt x="596" y="492"/>
                  </a:cubicBezTo>
                  <a:cubicBezTo>
                    <a:pt x="596" y="492"/>
                    <a:pt x="572" y="498"/>
                    <a:pt x="572" y="487"/>
                  </a:cubicBezTo>
                  <a:cubicBezTo>
                    <a:pt x="572" y="476"/>
                    <a:pt x="577" y="463"/>
                    <a:pt x="577" y="463"/>
                  </a:cubicBezTo>
                  <a:cubicBezTo>
                    <a:pt x="574" y="455"/>
                    <a:pt x="574" y="455"/>
                    <a:pt x="574" y="455"/>
                  </a:cubicBezTo>
                  <a:cubicBezTo>
                    <a:pt x="604" y="452"/>
                    <a:pt x="604" y="452"/>
                    <a:pt x="604" y="452"/>
                  </a:cubicBezTo>
                  <a:cubicBezTo>
                    <a:pt x="605" y="466"/>
                    <a:pt x="605" y="466"/>
                    <a:pt x="605" y="466"/>
                  </a:cubicBezTo>
                  <a:cubicBezTo>
                    <a:pt x="629" y="466"/>
                    <a:pt x="629" y="466"/>
                    <a:pt x="629" y="466"/>
                  </a:cubicBezTo>
                  <a:cubicBezTo>
                    <a:pt x="632" y="458"/>
                    <a:pt x="632" y="458"/>
                    <a:pt x="632" y="458"/>
                  </a:cubicBezTo>
                  <a:cubicBezTo>
                    <a:pt x="656" y="454"/>
                    <a:pt x="656" y="454"/>
                    <a:pt x="656" y="454"/>
                  </a:cubicBezTo>
                  <a:cubicBezTo>
                    <a:pt x="648" y="442"/>
                    <a:pt x="660" y="431"/>
                    <a:pt x="660" y="431"/>
                  </a:cubicBezTo>
                  <a:cubicBezTo>
                    <a:pt x="670" y="445"/>
                    <a:pt x="685" y="426"/>
                    <a:pt x="685" y="426"/>
                  </a:cubicBezTo>
                  <a:cubicBezTo>
                    <a:pt x="704" y="448"/>
                    <a:pt x="725" y="407"/>
                    <a:pt x="725" y="407"/>
                  </a:cubicBezTo>
                  <a:cubicBezTo>
                    <a:pt x="725" y="407"/>
                    <a:pt x="757" y="400"/>
                    <a:pt x="758" y="394"/>
                  </a:cubicBezTo>
                  <a:cubicBezTo>
                    <a:pt x="755" y="371"/>
                    <a:pt x="772" y="342"/>
                    <a:pt x="772" y="342"/>
                  </a:cubicBezTo>
                  <a:cubicBezTo>
                    <a:pt x="764" y="342"/>
                    <a:pt x="744" y="317"/>
                    <a:pt x="741" y="313"/>
                  </a:cubicBezTo>
                  <a:cubicBezTo>
                    <a:pt x="705" y="284"/>
                    <a:pt x="737" y="269"/>
                    <a:pt x="733" y="267"/>
                  </a:cubicBezTo>
                  <a:cubicBezTo>
                    <a:pt x="704" y="274"/>
                    <a:pt x="688" y="235"/>
                    <a:pt x="686" y="232"/>
                  </a:cubicBezTo>
                  <a:cubicBezTo>
                    <a:pt x="678" y="230"/>
                    <a:pt x="684" y="206"/>
                    <a:pt x="684" y="200"/>
                  </a:cubicBezTo>
                  <a:cubicBezTo>
                    <a:pt x="698" y="224"/>
                    <a:pt x="737" y="172"/>
                    <a:pt x="737" y="172"/>
                  </a:cubicBezTo>
                  <a:cubicBezTo>
                    <a:pt x="706" y="121"/>
                    <a:pt x="706" y="121"/>
                    <a:pt x="706" y="121"/>
                  </a:cubicBezTo>
                  <a:cubicBezTo>
                    <a:pt x="701" y="129"/>
                    <a:pt x="701" y="129"/>
                    <a:pt x="701" y="129"/>
                  </a:cubicBezTo>
                  <a:cubicBezTo>
                    <a:pt x="698" y="120"/>
                    <a:pt x="698" y="120"/>
                    <a:pt x="698" y="120"/>
                  </a:cubicBezTo>
                  <a:cubicBezTo>
                    <a:pt x="706" y="98"/>
                    <a:pt x="684" y="108"/>
                    <a:pt x="684" y="108"/>
                  </a:cubicBezTo>
                  <a:cubicBezTo>
                    <a:pt x="675" y="97"/>
                    <a:pt x="675" y="97"/>
                    <a:pt x="675" y="97"/>
                  </a:cubicBezTo>
                  <a:cubicBezTo>
                    <a:pt x="691" y="55"/>
                    <a:pt x="691" y="55"/>
                    <a:pt x="691" y="55"/>
                  </a:cubicBezTo>
                  <a:cubicBezTo>
                    <a:pt x="670" y="33"/>
                    <a:pt x="670" y="33"/>
                    <a:pt x="670" y="33"/>
                  </a:cubicBezTo>
                  <a:cubicBezTo>
                    <a:pt x="680" y="10"/>
                    <a:pt x="680" y="10"/>
                    <a:pt x="680" y="10"/>
                  </a:cubicBezTo>
                  <a:cubicBezTo>
                    <a:pt x="674" y="3"/>
                    <a:pt x="674" y="3"/>
                    <a:pt x="674" y="3"/>
                  </a:cubicBezTo>
                  <a:cubicBezTo>
                    <a:pt x="611" y="0"/>
                    <a:pt x="611" y="0"/>
                    <a:pt x="611" y="0"/>
                  </a:cubicBezTo>
                  <a:cubicBezTo>
                    <a:pt x="593" y="12"/>
                    <a:pt x="593" y="12"/>
                    <a:pt x="593" y="12"/>
                  </a:cubicBezTo>
                  <a:cubicBezTo>
                    <a:pt x="577" y="12"/>
                    <a:pt x="577" y="12"/>
                    <a:pt x="577" y="12"/>
                  </a:cubicBezTo>
                  <a:cubicBezTo>
                    <a:pt x="577" y="12"/>
                    <a:pt x="570" y="21"/>
                    <a:pt x="560" y="31"/>
                  </a:cubicBezTo>
                  <a:cubicBezTo>
                    <a:pt x="550" y="30"/>
                    <a:pt x="553" y="57"/>
                    <a:pt x="553" y="57"/>
                  </a:cubicBezTo>
                  <a:cubicBezTo>
                    <a:pt x="559" y="63"/>
                    <a:pt x="559" y="63"/>
                    <a:pt x="559" y="63"/>
                  </a:cubicBezTo>
                  <a:cubicBezTo>
                    <a:pt x="559" y="63"/>
                    <a:pt x="564" y="60"/>
                    <a:pt x="569" y="68"/>
                  </a:cubicBezTo>
                  <a:cubicBezTo>
                    <a:pt x="574" y="76"/>
                    <a:pt x="558" y="76"/>
                    <a:pt x="558" y="76"/>
                  </a:cubicBezTo>
                  <a:cubicBezTo>
                    <a:pt x="527" y="100"/>
                    <a:pt x="527" y="100"/>
                    <a:pt x="527" y="100"/>
                  </a:cubicBezTo>
                  <a:cubicBezTo>
                    <a:pt x="521" y="93"/>
                    <a:pt x="517" y="99"/>
                    <a:pt x="517" y="99"/>
                  </a:cubicBezTo>
                  <a:cubicBezTo>
                    <a:pt x="499" y="98"/>
                    <a:pt x="499" y="98"/>
                    <a:pt x="499" y="98"/>
                  </a:cubicBezTo>
                  <a:cubicBezTo>
                    <a:pt x="497" y="82"/>
                    <a:pt x="497" y="82"/>
                    <a:pt x="497" y="82"/>
                  </a:cubicBezTo>
                  <a:cubicBezTo>
                    <a:pt x="512" y="67"/>
                    <a:pt x="512" y="67"/>
                    <a:pt x="512" y="67"/>
                  </a:cubicBezTo>
                  <a:cubicBezTo>
                    <a:pt x="525" y="66"/>
                    <a:pt x="525" y="66"/>
                    <a:pt x="525" y="66"/>
                  </a:cubicBezTo>
                  <a:cubicBezTo>
                    <a:pt x="525" y="48"/>
                    <a:pt x="525" y="48"/>
                    <a:pt x="525" y="48"/>
                  </a:cubicBezTo>
                  <a:cubicBezTo>
                    <a:pt x="534" y="41"/>
                    <a:pt x="535" y="34"/>
                    <a:pt x="534" y="29"/>
                  </a:cubicBezTo>
                  <a:cubicBezTo>
                    <a:pt x="477" y="88"/>
                    <a:pt x="477" y="88"/>
                    <a:pt x="477" y="88"/>
                  </a:cubicBezTo>
                  <a:cubicBezTo>
                    <a:pt x="445" y="90"/>
                    <a:pt x="445" y="90"/>
                    <a:pt x="445" y="90"/>
                  </a:cubicBezTo>
                  <a:cubicBezTo>
                    <a:pt x="441" y="74"/>
                    <a:pt x="441" y="74"/>
                    <a:pt x="441" y="74"/>
                  </a:cubicBezTo>
                  <a:cubicBezTo>
                    <a:pt x="441" y="74"/>
                    <a:pt x="421" y="71"/>
                    <a:pt x="425" y="64"/>
                  </a:cubicBezTo>
                  <a:cubicBezTo>
                    <a:pt x="408" y="103"/>
                    <a:pt x="385" y="92"/>
                    <a:pt x="385" y="92"/>
                  </a:cubicBezTo>
                  <a:cubicBezTo>
                    <a:pt x="388" y="79"/>
                    <a:pt x="388" y="79"/>
                    <a:pt x="388" y="79"/>
                  </a:cubicBezTo>
                  <a:cubicBezTo>
                    <a:pt x="364" y="68"/>
                    <a:pt x="364" y="68"/>
                    <a:pt x="364" y="68"/>
                  </a:cubicBezTo>
                  <a:cubicBezTo>
                    <a:pt x="364" y="55"/>
                    <a:pt x="364" y="55"/>
                    <a:pt x="364" y="55"/>
                  </a:cubicBezTo>
                  <a:cubicBezTo>
                    <a:pt x="350" y="50"/>
                    <a:pt x="350" y="50"/>
                    <a:pt x="350" y="50"/>
                  </a:cubicBezTo>
                  <a:cubicBezTo>
                    <a:pt x="352" y="36"/>
                    <a:pt x="352" y="36"/>
                    <a:pt x="352" y="36"/>
                  </a:cubicBezTo>
                  <a:cubicBezTo>
                    <a:pt x="344" y="35"/>
                    <a:pt x="336" y="34"/>
                    <a:pt x="334" y="34"/>
                  </a:cubicBezTo>
                  <a:cubicBezTo>
                    <a:pt x="330" y="34"/>
                    <a:pt x="329" y="22"/>
                    <a:pt x="326" y="16"/>
                  </a:cubicBezTo>
                  <a:cubicBezTo>
                    <a:pt x="324" y="11"/>
                    <a:pt x="309" y="24"/>
                    <a:pt x="296" y="24"/>
                  </a:cubicBezTo>
                  <a:cubicBezTo>
                    <a:pt x="282" y="24"/>
                    <a:pt x="265" y="18"/>
                    <a:pt x="265" y="18"/>
                  </a:cubicBezTo>
                  <a:cubicBezTo>
                    <a:pt x="237" y="126"/>
                    <a:pt x="237" y="126"/>
                    <a:pt x="237" y="126"/>
                  </a:cubicBezTo>
                  <a:cubicBezTo>
                    <a:pt x="226" y="124"/>
                    <a:pt x="226" y="124"/>
                    <a:pt x="226" y="124"/>
                  </a:cubicBezTo>
                  <a:cubicBezTo>
                    <a:pt x="225" y="108"/>
                    <a:pt x="225" y="108"/>
                    <a:pt x="225" y="108"/>
                  </a:cubicBezTo>
                  <a:cubicBezTo>
                    <a:pt x="217" y="100"/>
                    <a:pt x="217" y="100"/>
                    <a:pt x="217" y="100"/>
                  </a:cubicBezTo>
                  <a:cubicBezTo>
                    <a:pt x="217" y="100"/>
                    <a:pt x="218" y="90"/>
                    <a:pt x="208" y="86"/>
                  </a:cubicBezTo>
                  <a:cubicBezTo>
                    <a:pt x="197" y="82"/>
                    <a:pt x="198" y="98"/>
                    <a:pt x="193" y="98"/>
                  </a:cubicBezTo>
                  <a:cubicBezTo>
                    <a:pt x="188" y="98"/>
                    <a:pt x="188" y="88"/>
                    <a:pt x="188" y="88"/>
                  </a:cubicBezTo>
                  <a:cubicBezTo>
                    <a:pt x="173" y="100"/>
                    <a:pt x="173" y="100"/>
                    <a:pt x="173" y="100"/>
                  </a:cubicBezTo>
                  <a:cubicBezTo>
                    <a:pt x="164" y="87"/>
                    <a:pt x="164" y="87"/>
                    <a:pt x="164" y="87"/>
                  </a:cubicBezTo>
                  <a:cubicBezTo>
                    <a:pt x="152" y="88"/>
                    <a:pt x="152" y="88"/>
                    <a:pt x="152" y="88"/>
                  </a:cubicBezTo>
                  <a:cubicBezTo>
                    <a:pt x="148" y="127"/>
                    <a:pt x="148" y="127"/>
                    <a:pt x="148" y="127"/>
                  </a:cubicBezTo>
                  <a:cubicBezTo>
                    <a:pt x="148" y="127"/>
                    <a:pt x="137" y="128"/>
                    <a:pt x="132" y="128"/>
                  </a:cubicBezTo>
                  <a:cubicBezTo>
                    <a:pt x="126" y="128"/>
                    <a:pt x="132" y="135"/>
                    <a:pt x="125" y="136"/>
                  </a:cubicBezTo>
                  <a:cubicBezTo>
                    <a:pt x="120" y="137"/>
                    <a:pt x="113" y="129"/>
                    <a:pt x="110" y="125"/>
                  </a:cubicBezTo>
                  <a:cubicBezTo>
                    <a:pt x="111" y="127"/>
                    <a:pt x="111" y="129"/>
                    <a:pt x="101" y="128"/>
                  </a:cubicBezTo>
                  <a:cubicBezTo>
                    <a:pt x="86" y="127"/>
                    <a:pt x="86" y="126"/>
                    <a:pt x="86" y="126"/>
                  </a:cubicBezTo>
                  <a:cubicBezTo>
                    <a:pt x="62" y="132"/>
                    <a:pt x="62" y="132"/>
                    <a:pt x="62" y="132"/>
                  </a:cubicBezTo>
                  <a:cubicBezTo>
                    <a:pt x="56" y="119"/>
                    <a:pt x="56" y="119"/>
                    <a:pt x="56" y="119"/>
                  </a:cubicBezTo>
                  <a:cubicBezTo>
                    <a:pt x="42" y="119"/>
                    <a:pt x="42" y="119"/>
                    <a:pt x="42" y="119"/>
                  </a:cubicBezTo>
                  <a:cubicBezTo>
                    <a:pt x="41" y="100"/>
                    <a:pt x="41" y="100"/>
                    <a:pt x="41" y="100"/>
                  </a:cubicBezTo>
                  <a:cubicBezTo>
                    <a:pt x="16" y="111"/>
                    <a:pt x="16" y="111"/>
                    <a:pt x="16" y="111"/>
                  </a:cubicBezTo>
                  <a:cubicBezTo>
                    <a:pt x="21" y="124"/>
                    <a:pt x="21" y="124"/>
                    <a:pt x="21" y="124"/>
                  </a:cubicBezTo>
                  <a:cubicBezTo>
                    <a:pt x="17" y="139"/>
                    <a:pt x="17" y="139"/>
                    <a:pt x="17" y="139"/>
                  </a:cubicBezTo>
                  <a:cubicBezTo>
                    <a:pt x="24" y="152"/>
                    <a:pt x="24" y="152"/>
                    <a:pt x="24" y="152"/>
                  </a:cubicBezTo>
                  <a:cubicBezTo>
                    <a:pt x="25" y="187"/>
                    <a:pt x="25" y="187"/>
                    <a:pt x="25" y="187"/>
                  </a:cubicBezTo>
                  <a:cubicBezTo>
                    <a:pt x="0" y="196"/>
                    <a:pt x="0" y="196"/>
                    <a:pt x="0" y="196"/>
                  </a:cubicBezTo>
                  <a:cubicBezTo>
                    <a:pt x="0" y="208"/>
                    <a:pt x="0" y="208"/>
                    <a:pt x="0" y="208"/>
                  </a:cubicBezTo>
                  <a:cubicBezTo>
                    <a:pt x="12" y="224"/>
                    <a:pt x="12" y="224"/>
                    <a:pt x="12" y="224"/>
                  </a:cubicBezTo>
                  <a:cubicBezTo>
                    <a:pt x="4" y="227"/>
                    <a:pt x="4" y="227"/>
                    <a:pt x="4" y="227"/>
                  </a:cubicBezTo>
                  <a:cubicBezTo>
                    <a:pt x="2" y="255"/>
                    <a:pt x="2" y="255"/>
                    <a:pt x="2" y="255"/>
                  </a:cubicBezTo>
                  <a:cubicBezTo>
                    <a:pt x="2" y="255"/>
                    <a:pt x="25" y="291"/>
                    <a:pt x="29" y="311"/>
                  </a:cubicBezTo>
                  <a:cubicBezTo>
                    <a:pt x="34" y="311"/>
                    <a:pt x="74" y="347"/>
                    <a:pt x="62" y="367"/>
                  </a:cubicBezTo>
                  <a:cubicBezTo>
                    <a:pt x="60" y="374"/>
                    <a:pt x="46" y="380"/>
                    <a:pt x="46" y="380"/>
                  </a:cubicBezTo>
                  <a:cubicBezTo>
                    <a:pt x="50" y="403"/>
                    <a:pt x="50" y="403"/>
                    <a:pt x="50" y="403"/>
                  </a:cubicBezTo>
                  <a:cubicBezTo>
                    <a:pt x="56" y="384"/>
                    <a:pt x="56" y="384"/>
                    <a:pt x="56" y="384"/>
                  </a:cubicBezTo>
                  <a:cubicBezTo>
                    <a:pt x="68" y="384"/>
                    <a:pt x="68" y="384"/>
                    <a:pt x="68" y="384"/>
                  </a:cubicBezTo>
                  <a:cubicBezTo>
                    <a:pt x="72" y="396"/>
                    <a:pt x="72" y="396"/>
                    <a:pt x="72" y="396"/>
                  </a:cubicBezTo>
                  <a:cubicBezTo>
                    <a:pt x="82" y="391"/>
                    <a:pt x="82" y="391"/>
                    <a:pt x="82" y="391"/>
                  </a:cubicBezTo>
                  <a:cubicBezTo>
                    <a:pt x="88" y="398"/>
                    <a:pt x="88" y="398"/>
                    <a:pt x="88" y="398"/>
                  </a:cubicBezTo>
                  <a:cubicBezTo>
                    <a:pt x="90" y="390"/>
                    <a:pt x="90" y="390"/>
                    <a:pt x="90" y="390"/>
                  </a:cubicBezTo>
                  <a:cubicBezTo>
                    <a:pt x="90" y="390"/>
                    <a:pt x="120" y="375"/>
                    <a:pt x="126" y="384"/>
                  </a:cubicBezTo>
                  <a:cubicBezTo>
                    <a:pt x="133" y="394"/>
                    <a:pt x="158" y="391"/>
                    <a:pt x="145" y="402"/>
                  </a:cubicBezTo>
                  <a:cubicBezTo>
                    <a:pt x="150" y="406"/>
                    <a:pt x="150" y="406"/>
                    <a:pt x="150" y="406"/>
                  </a:cubicBezTo>
                  <a:cubicBezTo>
                    <a:pt x="157" y="424"/>
                    <a:pt x="157" y="424"/>
                    <a:pt x="157" y="424"/>
                  </a:cubicBezTo>
                  <a:cubicBezTo>
                    <a:pt x="157" y="424"/>
                    <a:pt x="188" y="403"/>
                    <a:pt x="174" y="452"/>
                  </a:cubicBezTo>
                  <a:cubicBezTo>
                    <a:pt x="170" y="464"/>
                    <a:pt x="170" y="468"/>
                    <a:pt x="171" y="469"/>
                  </a:cubicBezTo>
                  <a:cubicBezTo>
                    <a:pt x="172" y="470"/>
                    <a:pt x="172" y="470"/>
                    <a:pt x="172" y="470"/>
                  </a:cubicBezTo>
                  <a:cubicBezTo>
                    <a:pt x="172" y="470"/>
                    <a:pt x="171" y="470"/>
                    <a:pt x="171" y="469"/>
                  </a:cubicBezTo>
                  <a:cubicBezTo>
                    <a:pt x="157" y="458"/>
                    <a:pt x="157" y="458"/>
                    <a:pt x="157" y="458"/>
                  </a:cubicBezTo>
                  <a:cubicBezTo>
                    <a:pt x="160" y="470"/>
                    <a:pt x="160" y="470"/>
                    <a:pt x="160" y="470"/>
                  </a:cubicBezTo>
                  <a:cubicBezTo>
                    <a:pt x="160" y="470"/>
                    <a:pt x="150" y="475"/>
                    <a:pt x="150" y="479"/>
                  </a:cubicBezTo>
                  <a:cubicBezTo>
                    <a:pt x="150" y="483"/>
                    <a:pt x="157" y="495"/>
                    <a:pt x="157" y="495"/>
                  </a:cubicBezTo>
                  <a:cubicBezTo>
                    <a:pt x="142" y="495"/>
                    <a:pt x="142" y="495"/>
                    <a:pt x="142" y="495"/>
                  </a:cubicBezTo>
                  <a:cubicBezTo>
                    <a:pt x="142" y="515"/>
                    <a:pt x="142" y="515"/>
                    <a:pt x="142" y="515"/>
                  </a:cubicBezTo>
                  <a:cubicBezTo>
                    <a:pt x="122" y="519"/>
                    <a:pt x="122" y="519"/>
                    <a:pt x="122" y="519"/>
                  </a:cubicBezTo>
                  <a:cubicBezTo>
                    <a:pt x="110" y="547"/>
                    <a:pt x="110" y="547"/>
                    <a:pt x="110" y="547"/>
                  </a:cubicBezTo>
                  <a:cubicBezTo>
                    <a:pt x="82" y="548"/>
                    <a:pt x="82" y="548"/>
                    <a:pt x="82" y="548"/>
                  </a:cubicBezTo>
                  <a:cubicBezTo>
                    <a:pt x="81" y="554"/>
                    <a:pt x="81" y="554"/>
                    <a:pt x="81" y="554"/>
                  </a:cubicBezTo>
                  <a:cubicBezTo>
                    <a:pt x="62" y="563"/>
                    <a:pt x="62" y="563"/>
                    <a:pt x="62" y="563"/>
                  </a:cubicBezTo>
                  <a:cubicBezTo>
                    <a:pt x="62" y="579"/>
                    <a:pt x="62" y="579"/>
                    <a:pt x="62" y="579"/>
                  </a:cubicBezTo>
                  <a:cubicBezTo>
                    <a:pt x="41" y="588"/>
                    <a:pt x="41" y="588"/>
                    <a:pt x="41" y="588"/>
                  </a:cubicBezTo>
                  <a:cubicBezTo>
                    <a:pt x="54" y="640"/>
                    <a:pt x="54" y="640"/>
                    <a:pt x="54" y="640"/>
                  </a:cubicBezTo>
                  <a:lnTo>
                    <a:pt x="68" y="647"/>
                  </a:lnTo>
                  <a:close/>
                </a:path>
              </a:pathLst>
            </a:custGeom>
            <a:solidFill>
              <a:srgbClr val="F4F3F0"/>
            </a:solidFill>
            <a:ln w="3175" cap="flat" cmpd="sng">
              <a:solidFill>
                <a:schemeClr val="accent2"/>
              </a:solidFill>
              <a:prstDash val="solid"/>
              <a:round/>
              <a:headEnd type="none" w="med" len="med"/>
              <a:tailEnd type="none" w="med" len="med"/>
            </a:ln>
            <a:effectLst/>
          </p:spPr>
          <p:txBody>
            <a:bodyPr/>
            <a:lstStyle/>
            <a:p>
              <a:endParaRPr lang="en-US" sz="1200">
                <a:solidFill>
                  <a:srgbClr val="5F5F5F"/>
                </a:solidFill>
                <a:latin typeface="Tahoma"/>
              </a:endParaRPr>
            </a:p>
          </p:txBody>
        </p:sp>
      </p:grpSp>
      <p:pic>
        <p:nvPicPr>
          <p:cNvPr id="59" name="Graphique 58" descr="Utilisateur">
            <a:extLst>
              <a:ext uri="{FF2B5EF4-FFF2-40B4-BE49-F238E27FC236}">
                <a16:creationId xmlns:a16="http://schemas.microsoft.com/office/drawing/2014/main" id="{BCF539CA-033C-4E53-AA11-C9F1D57FD99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67531" y="918286"/>
            <a:ext cx="343642" cy="343642"/>
          </a:xfrm>
          <a:prstGeom prst="rect">
            <a:avLst/>
          </a:prstGeom>
        </p:spPr>
      </p:pic>
      <p:pic>
        <p:nvPicPr>
          <p:cNvPr id="60" name="Graphique 59" descr="Enfants">
            <a:extLst>
              <a:ext uri="{FF2B5EF4-FFF2-40B4-BE49-F238E27FC236}">
                <a16:creationId xmlns:a16="http://schemas.microsoft.com/office/drawing/2014/main" id="{D039143E-4976-4C18-9C94-0BA53EE64FF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82720" y="929748"/>
            <a:ext cx="357605" cy="357605"/>
          </a:xfrm>
          <a:prstGeom prst="rect">
            <a:avLst/>
          </a:prstGeom>
        </p:spPr>
      </p:pic>
      <p:pic>
        <p:nvPicPr>
          <p:cNvPr id="61" name="Graphique 60" descr="Hôpital">
            <a:extLst>
              <a:ext uri="{FF2B5EF4-FFF2-40B4-BE49-F238E27FC236}">
                <a16:creationId xmlns:a16="http://schemas.microsoft.com/office/drawing/2014/main" id="{5A6293E0-A850-432A-AEC2-55244F91F50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66301" y="898323"/>
            <a:ext cx="320533" cy="377667"/>
          </a:xfrm>
          <a:prstGeom prst="rect">
            <a:avLst/>
          </a:prstGeom>
        </p:spPr>
      </p:pic>
      <p:sp>
        <p:nvSpPr>
          <p:cNvPr id="71" name="ZoneTexte 70">
            <a:extLst>
              <a:ext uri="{FF2B5EF4-FFF2-40B4-BE49-F238E27FC236}">
                <a16:creationId xmlns:a16="http://schemas.microsoft.com/office/drawing/2014/main" id="{95275340-2C5E-4AB7-8968-428537133200}"/>
              </a:ext>
            </a:extLst>
          </p:cNvPr>
          <p:cNvSpPr txBox="1"/>
          <p:nvPr/>
        </p:nvSpPr>
        <p:spPr>
          <a:xfrm>
            <a:off x="3506076" y="959276"/>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ublic cible</a:t>
            </a:r>
          </a:p>
          <a:p>
            <a:pPr marL="171450" indent="-171450">
              <a:buFontTx/>
              <a:buChar char="-"/>
            </a:pPr>
            <a:endParaRPr lang="fr-FR" sz="1200">
              <a:solidFill>
                <a:srgbClr val="5F5F5F"/>
              </a:solidFill>
              <a:latin typeface="Tahoma"/>
            </a:endParaRPr>
          </a:p>
        </p:txBody>
      </p:sp>
      <p:sp>
        <p:nvSpPr>
          <p:cNvPr id="72" name="Rectangle 71">
            <a:extLst>
              <a:ext uri="{FF2B5EF4-FFF2-40B4-BE49-F238E27FC236}">
                <a16:creationId xmlns:a16="http://schemas.microsoft.com/office/drawing/2014/main" id="{CF33C1E5-DDE1-4156-A8BA-4E287E034C81}"/>
              </a:ext>
            </a:extLst>
          </p:cNvPr>
          <p:cNvSpPr/>
          <p:nvPr/>
        </p:nvSpPr>
        <p:spPr>
          <a:xfrm>
            <a:off x="3041223" y="920243"/>
            <a:ext cx="2361679"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4" name="ZoneTexte 73">
            <a:extLst>
              <a:ext uri="{FF2B5EF4-FFF2-40B4-BE49-F238E27FC236}">
                <a16:creationId xmlns:a16="http://schemas.microsoft.com/office/drawing/2014/main" id="{77576367-5766-4A85-8CC6-3A325240D7B8}"/>
              </a:ext>
            </a:extLst>
          </p:cNvPr>
          <p:cNvSpPr txBox="1"/>
          <p:nvPr/>
        </p:nvSpPr>
        <p:spPr>
          <a:xfrm>
            <a:off x="8004359" y="963457"/>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ortage / gestion du projet </a:t>
            </a:r>
          </a:p>
          <a:p>
            <a:pPr marL="171450" indent="-171450">
              <a:buFontTx/>
              <a:buChar char="-"/>
            </a:pPr>
            <a:endParaRPr lang="fr-FR" sz="1200">
              <a:solidFill>
                <a:srgbClr val="5F5F5F"/>
              </a:solidFill>
              <a:latin typeface="Tahoma"/>
            </a:endParaRPr>
          </a:p>
        </p:txBody>
      </p:sp>
      <p:sp>
        <p:nvSpPr>
          <p:cNvPr id="76" name="Rectangle 75">
            <a:extLst>
              <a:ext uri="{FF2B5EF4-FFF2-40B4-BE49-F238E27FC236}">
                <a16:creationId xmlns:a16="http://schemas.microsoft.com/office/drawing/2014/main" id="{DEA056E4-366B-4B6E-AD2A-2A7DACC2777B}"/>
              </a:ext>
            </a:extLst>
          </p:cNvPr>
          <p:cNvSpPr/>
          <p:nvPr/>
        </p:nvSpPr>
        <p:spPr>
          <a:xfrm>
            <a:off x="5461600" y="920242"/>
            <a:ext cx="2128916" cy="1026282"/>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7" name="ZoneTexte 76">
            <a:extLst>
              <a:ext uri="{FF2B5EF4-FFF2-40B4-BE49-F238E27FC236}">
                <a16:creationId xmlns:a16="http://schemas.microsoft.com/office/drawing/2014/main" id="{9B3B4E4E-968C-4AC1-A916-2CB2CBC81062}"/>
              </a:ext>
            </a:extLst>
          </p:cNvPr>
          <p:cNvSpPr txBox="1"/>
          <p:nvPr/>
        </p:nvSpPr>
        <p:spPr>
          <a:xfrm>
            <a:off x="5816454" y="987123"/>
            <a:ext cx="1870787" cy="446276"/>
          </a:xfrm>
          <a:prstGeom prst="rect">
            <a:avLst/>
          </a:prstGeom>
          <a:noFill/>
          <a:ln>
            <a:noFill/>
          </a:ln>
        </p:spPr>
        <p:txBody>
          <a:bodyPr wrap="square" lIns="108000" rIns="108000" rtlCol="0">
            <a:spAutoFit/>
          </a:bodyPr>
          <a:lstStyle/>
          <a:p>
            <a:r>
              <a:rPr lang="fr-FR" sz="1100" b="1">
                <a:solidFill>
                  <a:srgbClr val="503078"/>
                </a:solidFill>
                <a:latin typeface="Tahoma"/>
              </a:rPr>
              <a:t>Typologie de structure</a:t>
            </a:r>
          </a:p>
          <a:p>
            <a:pPr marL="171450" indent="-171450">
              <a:buFontTx/>
              <a:buChar char="-"/>
            </a:pPr>
            <a:endParaRPr lang="fr-FR" sz="1200">
              <a:solidFill>
                <a:srgbClr val="5F5F5F"/>
              </a:solidFill>
              <a:latin typeface="Tahoma"/>
            </a:endParaRPr>
          </a:p>
        </p:txBody>
      </p:sp>
      <p:sp>
        <p:nvSpPr>
          <p:cNvPr id="78" name="ZoneTexte 77">
            <a:extLst>
              <a:ext uri="{FF2B5EF4-FFF2-40B4-BE49-F238E27FC236}">
                <a16:creationId xmlns:a16="http://schemas.microsoft.com/office/drawing/2014/main" id="{96B574C6-E211-4064-9944-5448EE32BE54}"/>
              </a:ext>
            </a:extLst>
          </p:cNvPr>
          <p:cNvSpPr txBox="1"/>
          <p:nvPr/>
        </p:nvSpPr>
        <p:spPr>
          <a:xfrm>
            <a:off x="2992778" y="1229168"/>
            <a:ext cx="2660644" cy="738664"/>
          </a:xfrm>
          <a:prstGeom prst="rect">
            <a:avLst/>
          </a:prstGeom>
          <a:noFill/>
          <a:ln>
            <a:noFill/>
          </a:ln>
        </p:spPr>
        <p:txBody>
          <a:bodyPr wrap="square" lIns="108000" rIns="108000" rtlCol="0">
            <a:spAutoFit/>
          </a:bodyPr>
          <a:lstStyle/>
          <a:p>
            <a:pPr marL="171450" indent="-171450" fontAlgn="base">
              <a:buClr>
                <a:srgbClr val="503078"/>
              </a:buClr>
              <a:buFont typeface="Tahoma" panose="020B0604030504040204" pitchFamily="34" charset="0"/>
              <a:buChar char="⁄"/>
            </a:pPr>
            <a:r>
              <a:rPr lang="fr-FR" sz="1050">
                <a:solidFill>
                  <a:srgbClr val="5F5F5F"/>
                </a:solidFill>
                <a:latin typeface="Tahoma"/>
              </a:rPr>
              <a:t>Personnes atteintes de pathologies chroniques, de maladies rares et de handicap résidant en Ile de France</a:t>
            </a:r>
          </a:p>
          <a:p>
            <a:pPr marL="171450" indent="-171450">
              <a:buClr>
                <a:srgbClr val="503078"/>
              </a:buClr>
              <a:buFont typeface="Tahoma" panose="020B0604030504040204" pitchFamily="34" charset="0"/>
              <a:buChar char="⁄"/>
            </a:pPr>
            <a:r>
              <a:rPr lang="fr-FR" sz="1050">
                <a:solidFill>
                  <a:srgbClr val="5F5F5F"/>
                </a:solidFill>
                <a:latin typeface="Tahoma"/>
              </a:rPr>
              <a:t>Leurs proches aidants </a:t>
            </a:r>
          </a:p>
        </p:txBody>
      </p:sp>
      <p:sp>
        <p:nvSpPr>
          <p:cNvPr id="79" name="ZoneTexte 78">
            <a:extLst>
              <a:ext uri="{FF2B5EF4-FFF2-40B4-BE49-F238E27FC236}">
                <a16:creationId xmlns:a16="http://schemas.microsoft.com/office/drawing/2014/main" id="{201EC015-8921-47D5-8EEB-4F8E037742E5}"/>
              </a:ext>
            </a:extLst>
          </p:cNvPr>
          <p:cNvSpPr txBox="1"/>
          <p:nvPr/>
        </p:nvSpPr>
        <p:spPr>
          <a:xfrm>
            <a:off x="5452000" y="1276107"/>
            <a:ext cx="2734774" cy="577081"/>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pPr>
            <a:r>
              <a:rPr lang="fr-FR" sz="1050">
                <a:solidFill>
                  <a:srgbClr val="5F5F5F"/>
                </a:solidFill>
                <a:latin typeface="Tahoma"/>
              </a:rPr>
              <a:t>ESMS</a:t>
            </a:r>
          </a:p>
          <a:p>
            <a:pPr marL="171450" indent="-171450">
              <a:buClr>
                <a:srgbClr val="503078"/>
              </a:buClr>
              <a:buFont typeface="Tahoma" panose="020B0604030504040204" pitchFamily="34" charset="0"/>
              <a:buChar char="⁄"/>
            </a:pPr>
            <a:r>
              <a:rPr lang="fr-FR" sz="1050">
                <a:solidFill>
                  <a:srgbClr val="5F5F5F"/>
                </a:solidFill>
                <a:latin typeface="Tahoma"/>
              </a:rPr>
              <a:t>Structure de 2 500 m2</a:t>
            </a:r>
          </a:p>
          <a:p>
            <a:pPr marL="171450" indent="-171450">
              <a:buClr>
                <a:srgbClr val="503078"/>
              </a:buClr>
              <a:buFont typeface="Tahoma" panose="020B0604030504040204" pitchFamily="34" charset="0"/>
              <a:buChar char="⁄"/>
            </a:pPr>
            <a:r>
              <a:rPr lang="fr-FR" sz="1050">
                <a:solidFill>
                  <a:srgbClr val="5F5F5F"/>
                </a:solidFill>
                <a:latin typeface="Tahoma"/>
              </a:rPr>
              <a:t>Ouverture prévue en 2024</a:t>
            </a:r>
          </a:p>
        </p:txBody>
      </p:sp>
      <p:sp>
        <p:nvSpPr>
          <p:cNvPr id="80" name="ZoneTexte 79">
            <a:extLst>
              <a:ext uri="{FF2B5EF4-FFF2-40B4-BE49-F238E27FC236}">
                <a16:creationId xmlns:a16="http://schemas.microsoft.com/office/drawing/2014/main" id="{D486C829-4B6E-4981-9B49-72041AC2853F}"/>
              </a:ext>
            </a:extLst>
          </p:cNvPr>
          <p:cNvSpPr txBox="1"/>
          <p:nvPr/>
        </p:nvSpPr>
        <p:spPr>
          <a:xfrm>
            <a:off x="7640758" y="1233161"/>
            <a:ext cx="3400226" cy="846386"/>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defRPr/>
            </a:pPr>
            <a:r>
              <a:rPr lang="fr-FR" sz="1050" err="1">
                <a:solidFill>
                  <a:srgbClr val="5F5F5F"/>
                </a:solidFill>
                <a:latin typeface="Tahoma"/>
              </a:rPr>
              <a:t>Paliped</a:t>
            </a:r>
            <a:r>
              <a:rPr lang="fr-FR" sz="1050">
                <a:solidFill>
                  <a:srgbClr val="5F5F5F"/>
                </a:solidFill>
                <a:latin typeface="Tahoma"/>
              </a:rPr>
              <a:t>, Fondation France Répit, l’Assistance Publique Hôpitaux de Paris, et l’UGECAM, groupe issu de l’Assurance Maladie gestionnaire d’établissements sanitaires et médico-sociaux</a:t>
            </a:r>
          </a:p>
          <a:p>
            <a:pPr marL="171450" indent="-171450">
              <a:buClr>
                <a:srgbClr val="503078"/>
              </a:buClr>
              <a:buFont typeface="Tahoma" panose="020B0604030504040204" pitchFamily="34" charset="0"/>
              <a:buChar char="⁄"/>
              <a:defRPr/>
            </a:pPr>
            <a:endParaRPr lang="fr-FR" sz="1050" baseline="30000">
              <a:solidFill>
                <a:srgbClr val="5F5F5F"/>
              </a:solidFill>
              <a:latin typeface="Tahoma"/>
            </a:endParaRPr>
          </a:p>
        </p:txBody>
      </p:sp>
      <p:sp>
        <p:nvSpPr>
          <p:cNvPr id="31" name="ZoneTexte 30">
            <a:extLst>
              <a:ext uri="{FF2B5EF4-FFF2-40B4-BE49-F238E27FC236}">
                <a16:creationId xmlns:a16="http://schemas.microsoft.com/office/drawing/2014/main" id="{C39631CE-B746-44D2-AD28-BE401BB99C89}"/>
              </a:ext>
            </a:extLst>
          </p:cNvPr>
          <p:cNvSpPr txBox="1"/>
          <p:nvPr/>
        </p:nvSpPr>
        <p:spPr>
          <a:xfrm>
            <a:off x="2624667" y="2525894"/>
            <a:ext cx="3376602" cy="962238"/>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6" name="ZoneTexte 115">
            <a:extLst>
              <a:ext uri="{FF2B5EF4-FFF2-40B4-BE49-F238E27FC236}">
                <a16:creationId xmlns:a16="http://schemas.microsoft.com/office/drawing/2014/main" id="{5841F24B-1AD4-488A-A365-BF5647BD2308}"/>
              </a:ext>
            </a:extLst>
          </p:cNvPr>
          <p:cNvSpPr txBox="1"/>
          <p:nvPr/>
        </p:nvSpPr>
        <p:spPr>
          <a:xfrm>
            <a:off x="2634653" y="4943438"/>
            <a:ext cx="3366617" cy="1279329"/>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17" name="ZoneTexte 116">
            <a:extLst>
              <a:ext uri="{FF2B5EF4-FFF2-40B4-BE49-F238E27FC236}">
                <a16:creationId xmlns:a16="http://schemas.microsoft.com/office/drawing/2014/main" id="{EF317FFF-EA6E-44C5-B24E-8AE03952F5E8}"/>
              </a:ext>
            </a:extLst>
          </p:cNvPr>
          <p:cNvSpPr txBox="1"/>
          <p:nvPr/>
        </p:nvSpPr>
        <p:spPr>
          <a:xfrm>
            <a:off x="2624667" y="3552142"/>
            <a:ext cx="3376602" cy="1327287"/>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120" name="Rectangle 119">
            <a:extLst>
              <a:ext uri="{FF2B5EF4-FFF2-40B4-BE49-F238E27FC236}">
                <a16:creationId xmlns:a16="http://schemas.microsoft.com/office/drawing/2014/main" id="{5A8580EE-0AD3-4053-A66F-58A5DE5D3476}"/>
              </a:ext>
            </a:extLst>
          </p:cNvPr>
          <p:cNvSpPr/>
          <p:nvPr/>
        </p:nvSpPr>
        <p:spPr>
          <a:xfrm>
            <a:off x="1254009" y="2059375"/>
            <a:ext cx="4825165" cy="4237339"/>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21" name="ZoneTexte 120">
            <a:extLst>
              <a:ext uri="{FF2B5EF4-FFF2-40B4-BE49-F238E27FC236}">
                <a16:creationId xmlns:a16="http://schemas.microsoft.com/office/drawing/2014/main" id="{E5F58253-D1BD-4954-81FE-7B8DBC05FC92}"/>
              </a:ext>
            </a:extLst>
          </p:cNvPr>
          <p:cNvSpPr txBox="1"/>
          <p:nvPr/>
        </p:nvSpPr>
        <p:spPr>
          <a:xfrm>
            <a:off x="1254009" y="2080425"/>
            <a:ext cx="4815764" cy="307777"/>
          </a:xfrm>
          <a:prstGeom prst="rect">
            <a:avLst/>
          </a:prstGeom>
          <a:solidFill>
            <a:srgbClr val="B0ADCC"/>
          </a:solidFill>
          <a:ln>
            <a:noFill/>
          </a:ln>
        </p:spPr>
        <p:txBody>
          <a:bodyPr wrap="square" lIns="108000" rIns="108000" rtlCol="0">
            <a:spAutoFit/>
          </a:bodyPr>
          <a:lstStyle/>
          <a:p>
            <a:pPr algn="ctr"/>
            <a:r>
              <a:rPr lang="fr-FR" sz="1400" b="1">
                <a:solidFill>
                  <a:srgbClr val="FFFFFF"/>
                </a:solidFill>
                <a:latin typeface="Tahoma"/>
              </a:rPr>
              <a:t>Modèle opérationnel </a:t>
            </a:r>
          </a:p>
        </p:txBody>
      </p:sp>
      <p:sp>
        <p:nvSpPr>
          <p:cNvPr id="122" name="Rectangle 121">
            <a:extLst>
              <a:ext uri="{FF2B5EF4-FFF2-40B4-BE49-F238E27FC236}">
                <a16:creationId xmlns:a16="http://schemas.microsoft.com/office/drawing/2014/main" id="{EEE3ADDF-8F40-48B9-AE5E-299C1C497490}"/>
              </a:ext>
            </a:extLst>
          </p:cNvPr>
          <p:cNvSpPr/>
          <p:nvPr/>
        </p:nvSpPr>
        <p:spPr>
          <a:xfrm>
            <a:off x="6122614" y="2059375"/>
            <a:ext cx="4824000" cy="4237339"/>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23" name="ZoneTexte 122">
            <a:extLst>
              <a:ext uri="{FF2B5EF4-FFF2-40B4-BE49-F238E27FC236}">
                <a16:creationId xmlns:a16="http://schemas.microsoft.com/office/drawing/2014/main" id="{A32D682C-0E70-4C6A-98EA-32C315F12098}"/>
              </a:ext>
            </a:extLst>
          </p:cNvPr>
          <p:cNvSpPr txBox="1"/>
          <p:nvPr/>
        </p:nvSpPr>
        <p:spPr>
          <a:xfrm>
            <a:off x="6135540" y="2080426"/>
            <a:ext cx="4824000" cy="307777"/>
          </a:xfrm>
          <a:prstGeom prst="rect">
            <a:avLst/>
          </a:prstGeom>
          <a:solidFill>
            <a:srgbClr val="B24669"/>
          </a:solidFill>
          <a:ln>
            <a:noFill/>
          </a:ln>
        </p:spPr>
        <p:txBody>
          <a:bodyPr wrap="square" lIns="108000" rIns="108000" rtlCol="0">
            <a:spAutoFit/>
          </a:bodyPr>
          <a:lstStyle/>
          <a:p>
            <a:pPr algn="ctr"/>
            <a:r>
              <a:rPr lang="fr-FR" sz="1400" b="1">
                <a:solidFill>
                  <a:srgbClr val="FFFFFF"/>
                </a:solidFill>
                <a:latin typeface="Tahoma"/>
              </a:rPr>
              <a:t>Modèle économique </a:t>
            </a:r>
          </a:p>
        </p:txBody>
      </p:sp>
      <p:sp>
        <p:nvSpPr>
          <p:cNvPr id="124" name="ZoneTexte 123">
            <a:extLst>
              <a:ext uri="{FF2B5EF4-FFF2-40B4-BE49-F238E27FC236}">
                <a16:creationId xmlns:a16="http://schemas.microsoft.com/office/drawing/2014/main" id="{A49BC405-C11B-485E-BB12-6EA8FA6FC408}"/>
              </a:ext>
            </a:extLst>
          </p:cNvPr>
          <p:cNvSpPr txBox="1"/>
          <p:nvPr/>
        </p:nvSpPr>
        <p:spPr>
          <a:xfrm>
            <a:off x="2622712" y="2648844"/>
            <a:ext cx="3385019" cy="743602"/>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30 places d’AT pour les personnes dépendantes (dont 10 pour les enfants, 10 PA et 10 PH), une trentaine de studios pour les familles / proches aidants</a:t>
            </a:r>
            <a:r>
              <a:rPr lang="fr-FR" sz="1050" baseline="30000">
                <a:solidFill>
                  <a:srgbClr val="5F5F5F"/>
                </a:solidFill>
                <a:latin typeface="Tahoma"/>
              </a:rPr>
              <a:t> </a:t>
            </a:r>
            <a:endParaRPr lang="fr-FR" sz="1000">
              <a:solidFill>
                <a:srgbClr val="5F5F5F"/>
              </a:solidFill>
              <a:latin typeface="Tahoma"/>
            </a:endParaRPr>
          </a:p>
        </p:txBody>
      </p:sp>
      <p:sp>
        <p:nvSpPr>
          <p:cNvPr id="126" name="ZoneTexte 125">
            <a:extLst>
              <a:ext uri="{FF2B5EF4-FFF2-40B4-BE49-F238E27FC236}">
                <a16:creationId xmlns:a16="http://schemas.microsoft.com/office/drawing/2014/main" id="{B49F6C26-2A8B-4C21-A64B-9E4007B97392}"/>
              </a:ext>
            </a:extLst>
          </p:cNvPr>
          <p:cNvSpPr txBox="1"/>
          <p:nvPr/>
        </p:nvSpPr>
        <p:spPr>
          <a:xfrm>
            <a:off x="2636244" y="5080168"/>
            <a:ext cx="3366617" cy="1016240"/>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Restauration assurée par la maison de répit</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ide psychologique, sociale, administrative</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Formation des aidant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ctivités de bien-être ou de loisirs (repos, soins, jardinage, jeux, lecture, spa, …)</a:t>
            </a:r>
          </a:p>
        </p:txBody>
      </p:sp>
      <p:sp>
        <p:nvSpPr>
          <p:cNvPr id="128" name="ZoneTexte 127">
            <a:extLst>
              <a:ext uri="{FF2B5EF4-FFF2-40B4-BE49-F238E27FC236}">
                <a16:creationId xmlns:a16="http://schemas.microsoft.com/office/drawing/2014/main" id="{D0B66643-80F9-42D8-8F09-B693AF7FBBCB}"/>
              </a:ext>
            </a:extLst>
          </p:cNvPr>
          <p:cNvSpPr txBox="1"/>
          <p:nvPr/>
        </p:nvSpPr>
        <p:spPr>
          <a:xfrm>
            <a:off x="2631372" y="3682077"/>
            <a:ext cx="3376359" cy="1103957"/>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quipe mobile de répit (médecins, infirmières, psychologues, assistantes sociales, assistante administrative)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quipe soignante sur place 24H/24 (médecins, infirmières, aides-soignantes, AMP, psychologue, maîtresse de maison)</a:t>
            </a:r>
          </a:p>
        </p:txBody>
      </p:sp>
      <p:sp>
        <p:nvSpPr>
          <p:cNvPr id="129" name="ZoneTexte 128">
            <a:extLst>
              <a:ext uri="{FF2B5EF4-FFF2-40B4-BE49-F238E27FC236}">
                <a16:creationId xmlns:a16="http://schemas.microsoft.com/office/drawing/2014/main" id="{B5C29EF3-8432-4FB1-A08C-C8DFD0F770E0}"/>
              </a:ext>
            </a:extLst>
          </p:cNvPr>
          <p:cNvSpPr txBox="1"/>
          <p:nvPr/>
        </p:nvSpPr>
        <p:spPr>
          <a:xfrm>
            <a:off x="6183559" y="2508138"/>
            <a:ext cx="3713423" cy="566384"/>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130" name="ZoneTexte 129">
            <a:extLst>
              <a:ext uri="{FF2B5EF4-FFF2-40B4-BE49-F238E27FC236}">
                <a16:creationId xmlns:a16="http://schemas.microsoft.com/office/drawing/2014/main" id="{C51512ED-D218-4E3C-8049-02770EADD196}"/>
              </a:ext>
            </a:extLst>
          </p:cNvPr>
          <p:cNvSpPr txBox="1"/>
          <p:nvPr/>
        </p:nvSpPr>
        <p:spPr>
          <a:xfrm>
            <a:off x="6183558" y="3135087"/>
            <a:ext cx="3717704" cy="1649568"/>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pic>
        <p:nvPicPr>
          <p:cNvPr id="35" name="Graphique 34" descr="Logement avec un remplissage uni">
            <a:extLst>
              <a:ext uri="{FF2B5EF4-FFF2-40B4-BE49-F238E27FC236}">
                <a16:creationId xmlns:a16="http://schemas.microsoft.com/office/drawing/2014/main" id="{71FC271C-D2ED-4AF0-8123-6C7A28C751C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19351" y="2591112"/>
            <a:ext cx="447721" cy="447721"/>
          </a:xfrm>
          <a:prstGeom prst="rect">
            <a:avLst/>
          </a:prstGeom>
        </p:spPr>
      </p:pic>
      <p:sp>
        <p:nvSpPr>
          <p:cNvPr id="131" name="ZoneTexte 130">
            <a:extLst>
              <a:ext uri="{FF2B5EF4-FFF2-40B4-BE49-F238E27FC236}">
                <a16:creationId xmlns:a16="http://schemas.microsoft.com/office/drawing/2014/main" id="{1C14C040-B2C5-440C-B7E3-1882123D0301}"/>
              </a:ext>
            </a:extLst>
          </p:cNvPr>
          <p:cNvSpPr txBox="1"/>
          <p:nvPr/>
        </p:nvSpPr>
        <p:spPr>
          <a:xfrm>
            <a:off x="9796442" y="2423330"/>
            <a:ext cx="1244543" cy="446276"/>
          </a:xfrm>
          <a:prstGeom prst="rect">
            <a:avLst/>
          </a:prstGeom>
          <a:noFill/>
          <a:ln>
            <a:noFill/>
          </a:ln>
        </p:spPr>
        <p:txBody>
          <a:bodyPr wrap="square" lIns="108000" rIns="108000" rtlCol="0">
            <a:spAutoFit/>
          </a:bodyPr>
          <a:lstStyle/>
          <a:p>
            <a:pPr algn="ctr"/>
            <a:r>
              <a:rPr lang="fr-FR" sz="1100" b="1">
                <a:solidFill>
                  <a:srgbClr val="B24669"/>
                </a:solidFill>
                <a:latin typeface="Tahoma"/>
              </a:rPr>
              <a:t>Immobilier</a:t>
            </a:r>
          </a:p>
          <a:p>
            <a:pPr marL="171450" indent="-171450" algn="ctr">
              <a:buFontTx/>
              <a:buChar char="-"/>
            </a:pPr>
            <a:endParaRPr lang="fr-FR" sz="1200">
              <a:solidFill>
                <a:srgbClr val="B24669"/>
              </a:solidFill>
              <a:latin typeface="Tahoma"/>
            </a:endParaRPr>
          </a:p>
        </p:txBody>
      </p:sp>
      <p:sp>
        <p:nvSpPr>
          <p:cNvPr id="133" name="ZoneTexte 132">
            <a:extLst>
              <a:ext uri="{FF2B5EF4-FFF2-40B4-BE49-F238E27FC236}">
                <a16:creationId xmlns:a16="http://schemas.microsoft.com/office/drawing/2014/main" id="{B210A790-ECF0-4619-A27B-B52AFCD222D8}"/>
              </a:ext>
            </a:extLst>
          </p:cNvPr>
          <p:cNvSpPr txBox="1"/>
          <p:nvPr/>
        </p:nvSpPr>
        <p:spPr>
          <a:xfrm>
            <a:off x="6146429" y="2525432"/>
            <a:ext cx="3420905" cy="553998"/>
          </a:xfrm>
          <a:prstGeom prst="rect">
            <a:avLst/>
          </a:prstGeom>
          <a:noFill/>
          <a:ln>
            <a:noFill/>
          </a:ln>
        </p:spPr>
        <p:txBody>
          <a:bodyPr wrap="square" lIns="108000" rIns="108000" rtlCol="0">
            <a:spAutoFit/>
          </a:bodyPr>
          <a:lstStyle/>
          <a:p>
            <a:pPr marL="171450" indent="-171450" algn="just">
              <a:spcAft>
                <a:spcPts val="300"/>
              </a:spcAft>
              <a:buClr>
                <a:srgbClr val="503078"/>
              </a:buClr>
              <a:buFont typeface="Tahoma" panose="020B0604030504040204" pitchFamily="34" charset="0"/>
              <a:buChar char="⁄"/>
              <a:defRPr/>
            </a:pPr>
            <a:r>
              <a:rPr lang="fr-FR" sz="1000">
                <a:solidFill>
                  <a:srgbClr val="5F5F5F"/>
                </a:solidFill>
                <a:latin typeface="Tahoma"/>
              </a:rPr>
              <a:t>Mise à disposition du terrain situé sur la Commune de Boulogne Billancourt par le Conseil départemental des Hauts de Seine</a:t>
            </a:r>
            <a:r>
              <a:rPr lang="fr-FR" sz="1000" baseline="30000">
                <a:solidFill>
                  <a:srgbClr val="5F5F5F"/>
                </a:solidFill>
                <a:latin typeface="Tahoma"/>
              </a:rPr>
              <a:t> 1</a:t>
            </a:r>
            <a:endParaRPr lang="fr-FR" sz="1000">
              <a:solidFill>
                <a:srgbClr val="5F5F5F"/>
              </a:solidFill>
              <a:latin typeface="Tahoma"/>
            </a:endParaRPr>
          </a:p>
        </p:txBody>
      </p:sp>
      <p:sp>
        <p:nvSpPr>
          <p:cNvPr id="134" name="ZoneTexte 133">
            <a:extLst>
              <a:ext uri="{FF2B5EF4-FFF2-40B4-BE49-F238E27FC236}">
                <a16:creationId xmlns:a16="http://schemas.microsoft.com/office/drawing/2014/main" id="{12CB5D0E-D3B7-4457-B3F8-7B85794AC4B0}"/>
              </a:ext>
            </a:extLst>
          </p:cNvPr>
          <p:cNvSpPr txBox="1"/>
          <p:nvPr/>
        </p:nvSpPr>
        <p:spPr>
          <a:xfrm>
            <a:off x="9948430" y="3466695"/>
            <a:ext cx="998185"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Frais de </a:t>
            </a:r>
            <a:r>
              <a:rPr lang="fr-FR" sz="1100" b="1" err="1">
                <a:solidFill>
                  <a:srgbClr val="B24669"/>
                </a:solidFill>
                <a:latin typeface="Tahoma"/>
              </a:rPr>
              <a:t>fonct</a:t>
            </a:r>
            <a:r>
              <a:rPr lang="fr-FR" sz="1100" b="1">
                <a:solidFill>
                  <a:srgbClr val="B24669"/>
                </a:solidFill>
                <a:latin typeface="Tahoma"/>
              </a:rPr>
              <a:t>.</a:t>
            </a:r>
          </a:p>
        </p:txBody>
      </p:sp>
      <p:sp>
        <p:nvSpPr>
          <p:cNvPr id="135" name="ZoneTexte 134">
            <a:extLst>
              <a:ext uri="{FF2B5EF4-FFF2-40B4-BE49-F238E27FC236}">
                <a16:creationId xmlns:a16="http://schemas.microsoft.com/office/drawing/2014/main" id="{3DA739DB-3B5D-4A54-A299-C5AE798A7F11}"/>
              </a:ext>
            </a:extLst>
          </p:cNvPr>
          <p:cNvSpPr txBox="1"/>
          <p:nvPr/>
        </p:nvSpPr>
        <p:spPr>
          <a:xfrm>
            <a:off x="6168765" y="3197103"/>
            <a:ext cx="3636081" cy="1554272"/>
          </a:xfrm>
          <a:prstGeom prst="rect">
            <a:avLst/>
          </a:prstGeom>
          <a:noFill/>
          <a:ln>
            <a:noFill/>
          </a:ln>
        </p:spPr>
        <p:txBody>
          <a:bodyPr wrap="square" lIns="108000" rIns="108000" rtlCol="0">
            <a:spAutoFit/>
          </a:bodyPr>
          <a:lstStyle/>
          <a:p>
            <a:pPr marL="171450" indent="-171450">
              <a:spcAft>
                <a:spcPts val="300"/>
              </a:spcAft>
              <a:buClr>
                <a:srgbClr val="503078"/>
              </a:buClr>
              <a:buFont typeface="Tahoma" panose="020B0604030504040204" pitchFamily="34" charset="0"/>
              <a:buChar char="⁄"/>
              <a:defRPr/>
            </a:pPr>
            <a:r>
              <a:rPr lang="fr-FR" sz="1000">
                <a:solidFill>
                  <a:srgbClr val="5F5F5F"/>
                </a:solidFill>
                <a:latin typeface="Tahoma"/>
              </a:rPr>
              <a:t>Un appel à projets dédié devait être lancé au S1 2022</a:t>
            </a:r>
          </a:p>
          <a:p>
            <a:pPr marL="171450" indent="-171450" algn="just">
              <a:spcAft>
                <a:spcPts val="300"/>
              </a:spcAft>
              <a:buClr>
                <a:srgbClr val="503078"/>
              </a:buClr>
              <a:buFont typeface="Tahoma" panose="020B0604030504040204" pitchFamily="34" charset="0"/>
              <a:buChar char="⁄"/>
              <a:defRPr/>
            </a:pPr>
            <a:r>
              <a:rPr lang="fr-FR" sz="1000">
                <a:solidFill>
                  <a:srgbClr val="5F5F5F"/>
                </a:solidFill>
                <a:latin typeface="Tahoma"/>
              </a:rPr>
              <a:t>Un montant de 3 M€ pourra être consacré par l’ARS Ile-de-France pour cette création, dont 1,5 M€ mobilisés sur les 10 M€ supplémentaires pour la stratégie Agir pour les Aidants (1 M€ sur PH et 0,5 M€ sur PA sur l’enveloppe déléguée à l’Ile-de-France au titre de cette mesure)</a:t>
            </a:r>
            <a:r>
              <a:rPr lang="fr-FR" sz="1000" baseline="30000">
                <a:solidFill>
                  <a:srgbClr val="5F5F5F"/>
                </a:solidFill>
                <a:latin typeface="Tahoma"/>
              </a:rPr>
              <a:t>2</a:t>
            </a:r>
            <a:endParaRPr lang="fr-FR" sz="1000">
              <a:solidFill>
                <a:srgbClr val="5F5F5F"/>
              </a:solidFill>
              <a:latin typeface="Tahoma"/>
            </a:endParaRPr>
          </a:p>
          <a:p>
            <a:pPr marL="171450" indent="-171450" algn="just">
              <a:spcAft>
                <a:spcPts val="300"/>
              </a:spcAft>
              <a:buClr>
                <a:srgbClr val="503078"/>
              </a:buClr>
              <a:buFont typeface="Tahoma" panose="020B0604030504040204" pitchFamily="34" charset="0"/>
              <a:buChar char="⁄"/>
              <a:defRPr/>
            </a:pPr>
            <a:r>
              <a:rPr lang="fr-FR" sz="1000">
                <a:solidFill>
                  <a:srgbClr val="5F5F5F"/>
                </a:solidFill>
                <a:latin typeface="Tahoma"/>
              </a:rPr>
              <a:t>Frais de fonctionnement + places d’AT assurés par un agrément de l’Agence Régionale de Santé Ile de France, gérés par la Fondation France Répit</a:t>
            </a:r>
          </a:p>
        </p:txBody>
      </p:sp>
      <p:sp>
        <p:nvSpPr>
          <p:cNvPr id="136" name="ZoneTexte 135">
            <a:extLst>
              <a:ext uri="{FF2B5EF4-FFF2-40B4-BE49-F238E27FC236}">
                <a16:creationId xmlns:a16="http://schemas.microsoft.com/office/drawing/2014/main" id="{FEA48678-D157-4E80-9C77-987BDFAE3851}"/>
              </a:ext>
            </a:extLst>
          </p:cNvPr>
          <p:cNvSpPr txBox="1"/>
          <p:nvPr/>
        </p:nvSpPr>
        <p:spPr>
          <a:xfrm>
            <a:off x="6173317" y="4845611"/>
            <a:ext cx="3743057" cy="881878"/>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39" name="Rectangle 138">
            <a:extLst>
              <a:ext uri="{FF2B5EF4-FFF2-40B4-BE49-F238E27FC236}">
                <a16:creationId xmlns:a16="http://schemas.microsoft.com/office/drawing/2014/main" id="{23DA1D13-F6FC-42CC-8CBC-A6643FFAA543}"/>
              </a:ext>
            </a:extLst>
          </p:cNvPr>
          <p:cNvSpPr/>
          <p:nvPr/>
        </p:nvSpPr>
        <p:spPr>
          <a:xfrm>
            <a:off x="1254009" y="923574"/>
            <a:ext cx="1728514"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40" name="ZoneTexte 139">
            <a:extLst>
              <a:ext uri="{FF2B5EF4-FFF2-40B4-BE49-F238E27FC236}">
                <a16:creationId xmlns:a16="http://schemas.microsoft.com/office/drawing/2014/main" id="{807D6A60-04F3-43BD-94C2-76626F2816C8}"/>
              </a:ext>
            </a:extLst>
          </p:cNvPr>
          <p:cNvSpPr txBox="1"/>
          <p:nvPr/>
        </p:nvSpPr>
        <p:spPr>
          <a:xfrm>
            <a:off x="9921357" y="4911604"/>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rifs / reste à charge</a:t>
            </a:r>
          </a:p>
        </p:txBody>
      </p:sp>
      <p:pic>
        <p:nvPicPr>
          <p:cNvPr id="41" name="Graphique 40" descr="Clé avec un remplissage uni">
            <a:extLst>
              <a:ext uri="{FF2B5EF4-FFF2-40B4-BE49-F238E27FC236}">
                <a16:creationId xmlns:a16="http://schemas.microsoft.com/office/drawing/2014/main" id="{1FC8698B-AB58-44D0-8399-B572FCCD65E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4241" y="5814522"/>
            <a:ext cx="436000" cy="436000"/>
          </a:xfrm>
          <a:prstGeom prst="rect">
            <a:avLst/>
          </a:prstGeom>
        </p:spPr>
      </p:pic>
      <p:sp>
        <p:nvSpPr>
          <p:cNvPr id="141" name="ZoneTexte 140">
            <a:extLst>
              <a:ext uri="{FF2B5EF4-FFF2-40B4-BE49-F238E27FC236}">
                <a16:creationId xmlns:a16="http://schemas.microsoft.com/office/drawing/2014/main" id="{F5949C22-DA6A-4317-99B2-B19975E52561}"/>
              </a:ext>
            </a:extLst>
          </p:cNvPr>
          <p:cNvSpPr txBox="1"/>
          <p:nvPr/>
        </p:nvSpPr>
        <p:spPr>
          <a:xfrm>
            <a:off x="9909908" y="5679029"/>
            <a:ext cx="1141769" cy="261610"/>
          </a:xfrm>
          <a:prstGeom prst="rect">
            <a:avLst/>
          </a:prstGeom>
          <a:noFill/>
          <a:ln>
            <a:noFill/>
          </a:ln>
        </p:spPr>
        <p:txBody>
          <a:bodyPr wrap="square" lIns="108000" rIns="108000" rtlCol="0">
            <a:spAutoFit/>
          </a:bodyPr>
          <a:lstStyle/>
          <a:p>
            <a:pPr algn="ctr"/>
            <a:r>
              <a:rPr lang="fr-FR" sz="1100" b="1">
                <a:solidFill>
                  <a:srgbClr val="B24669"/>
                </a:solidFill>
                <a:latin typeface="Tahoma"/>
              </a:rPr>
              <a:t>TO / durée</a:t>
            </a:r>
          </a:p>
        </p:txBody>
      </p:sp>
      <p:sp>
        <p:nvSpPr>
          <p:cNvPr id="142" name="ZoneTexte 141">
            <a:extLst>
              <a:ext uri="{FF2B5EF4-FFF2-40B4-BE49-F238E27FC236}">
                <a16:creationId xmlns:a16="http://schemas.microsoft.com/office/drawing/2014/main" id="{8F48A671-85C8-478F-BBC5-AA8E0839A27E}"/>
              </a:ext>
            </a:extLst>
          </p:cNvPr>
          <p:cNvSpPr txBox="1"/>
          <p:nvPr/>
        </p:nvSpPr>
        <p:spPr>
          <a:xfrm>
            <a:off x="6173317" y="5797423"/>
            <a:ext cx="3736591" cy="425344"/>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sp>
        <p:nvSpPr>
          <p:cNvPr id="143" name="ZoneTexte 142">
            <a:extLst>
              <a:ext uri="{FF2B5EF4-FFF2-40B4-BE49-F238E27FC236}">
                <a16:creationId xmlns:a16="http://schemas.microsoft.com/office/drawing/2014/main" id="{7C801268-29AF-4A45-808B-18ADBF5B32BE}"/>
              </a:ext>
            </a:extLst>
          </p:cNvPr>
          <p:cNvSpPr txBox="1"/>
          <p:nvPr/>
        </p:nvSpPr>
        <p:spPr>
          <a:xfrm>
            <a:off x="6154089" y="5790007"/>
            <a:ext cx="3650756" cy="406843"/>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Séjours d’une durée de 30 jours maximum par an, consécutifs ou fractionnés</a:t>
            </a:r>
          </a:p>
        </p:txBody>
      </p:sp>
      <p:pic>
        <p:nvPicPr>
          <p:cNvPr id="146" name="Graphique 145" descr="Tirelire avec un remplissage uni">
            <a:extLst>
              <a:ext uri="{FF2B5EF4-FFF2-40B4-BE49-F238E27FC236}">
                <a16:creationId xmlns:a16="http://schemas.microsoft.com/office/drawing/2014/main" id="{AC1ADC52-5381-42E2-AC24-383BB036C6C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11333" y="3866302"/>
            <a:ext cx="514426" cy="514426"/>
          </a:xfrm>
          <a:prstGeom prst="rect">
            <a:avLst/>
          </a:prstGeom>
        </p:spPr>
      </p:pic>
      <p:sp>
        <p:nvSpPr>
          <p:cNvPr id="81" name="ZoneTexte 80">
            <a:extLst>
              <a:ext uri="{FF2B5EF4-FFF2-40B4-BE49-F238E27FC236}">
                <a16:creationId xmlns:a16="http://schemas.microsoft.com/office/drawing/2014/main" id="{B6B02541-4955-4889-BA74-FB46F4880E07}"/>
              </a:ext>
            </a:extLst>
          </p:cNvPr>
          <p:cNvSpPr txBox="1"/>
          <p:nvPr/>
        </p:nvSpPr>
        <p:spPr>
          <a:xfrm>
            <a:off x="1212080" y="1008468"/>
            <a:ext cx="1743708" cy="707886"/>
          </a:xfrm>
          <a:prstGeom prst="rect">
            <a:avLst/>
          </a:prstGeom>
          <a:noFill/>
        </p:spPr>
        <p:txBody>
          <a:bodyPr wrap="square" lIns="108000" rIns="108000" rtlCol="0">
            <a:spAutoFit/>
          </a:bodyPr>
          <a:lstStyle/>
          <a:p>
            <a:endParaRPr lang="fr-FR" sz="1000">
              <a:solidFill>
                <a:srgbClr val="5F5F5F"/>
              </a:solidFill>
              <a:latin typeface="Tahoma"/>
            </a:endParaRPr>
          </a:p>
          <a:p>
            <a:pPr algn="ctr"/>
            <a:r>
              <a:rPr lang="fr-FR" sz="1000" b="1">
                <a:solidFill>
                  <a:srgbClr val="503078"/>
                </a:solidFill>
                <a:latin typeface="Tahoma"/>
              </a:rPr>
              <a:t>Maison de répit </a:t>
            </a:r>
          </a:p>
          <a:p>
            <a:pPr algn="ctr"/>
            <a:r>
              <a:rPr lang="fr-FR" sz="1000">
                <a:solidFill>
                  <a:srgbClr val="5F5F5F"/>
                </a:solidFill>
                <a:latin typeface="Tahoma"/>
              </a:rPr>
              <a:t>Boulogne Billancourt (69)</a:t>
            </a:r>
          </a:p>
          <a:p>
            <a:endParaRPr lang="fr-FR" sz="1000">
              <a:solidFill>
                <a:srgbClr val="5F5F5F"/>
              </a:solidFill>
              <a:latin typeface="Tahoma"/>
            </a:endParaRPr>
          </a:p>
        </p:txBody>
      </p:sp>
      <p:pic>
        <p:nvPicPr>
          <p:cNvPr id="82" name="Location-White-Background">
            <a:extLst>
              <a:ext uri="{FF2B5EF4-FFF2-40B4-BE49-F238E27FC236}">
                <a16:creationId xmlns:a16="http://schemas.microsoft.com/office/drawing/2014/main" id="{23FE517D-84D3-4474-804F-DE6049B1856D}"/>
              </a:ext>
            </a:extLst>
          </p:cNvPr>
          <p:cNvPicPr>
            <a:picLocks noChangeAspect="1"/>
          </p:cNvPicPr>
          <p:nvPr/>
        </p:nvPicPr>
        <p:blipFill>
          <a:blip r:embed="rId14" cstate="print">
            <a:extLst>
              <a:ext uri="{BEBA8EAE-BF5A-486C-A8C5-ECC9F3942E4B}">
                <a14:imgProps xmlns:a14="http://schemas.microsoft.com/office/drawing/2010/main">
                  <a14:imgLayer r:embed="rId15">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1917745" y="1060371"/>
            <a:ext cx="242960" cy="227494"/>
          </a:xfrm>
          <a:prstGeom prst="rect">
            <a:avLst/>
          </a:prstGeom>
        </p:spPr>
      </p:pic>
      <p:sp>
        <p:nvSpPr>
          <p:cNvPr id="86" name="ZoneTexte 85">
            <a:extLst>
              <a:ext uri="{FF2B5EF4-FFF2-40B4-BE49-F238E27FC236}">
                <a16:creationId xmlns:a16="http://schemas.microsoft.com/office/drawing/2014/main" id="{54650390-EFB3-4DC0-8880-157BFA99BEEE}"/>
              </a:ext>
            </a:extLst>
          </p:cNvPr>
          <p:cNvSpPr txBox="1"/>
          <p:nvPr/>
        </p:nvSpPr>
        <p:spPr>
          <a:xfrm>
            <a:off x="6132855" y="4832651"/>
            <a:ext cx="3764126" cy="861774"/>
          </a:xfrm>
          <a:prstGeom prst="rect">
            <a:avLst/>
          </a:prstGeom>
          <a:noFill/>
          <a:ln>
            <a:noFill/>
          </a:ln>
        </p:spPr>
        <p:txBody>
          <a:bodyPr wrap="square" lIns="108000" rIns="108000" rtlCol="0">
            <a:spAutoFit/>
          </a:bodyPr>
          <a:lstStyle/>
          <a:p>
            <a:pPr marL="171450" indent="-171450" algn="just">
              <a:buClr>
                <a:srgbClr val="503078"/>
              </a:buClr>
              <a:buFont typeface="Tahoma" panose="020B0604030504040204" pitchFamily="34" charset="0"/>
              <a:buChar char="⁄"/>
              <a:defRPr/>
            </a:pPr>
            <a:r>
              <a:rPr lang="fr-FR" sz="1000">
                <a:solidFill>
                  <a:srgbClr val="5F5F5F"/>
                </a:solidFill>
                <a:latin typeface="Tahoma"/>
              </a:rPr>
              <a:t>Pas de précision à ce stade : objectif de répliquer le modèle de coûts Lyonnais (Participation aux frais d’hébergement de 20€/J demandée aux bénéficiaires – gratuité pour les enfants malades ou en situation de handicap et les bénéficiaires de la CMU) ?</a:t>
            </a:r>
          </a:p>
        </p:txBody>
      </p:sp>
      <p:pic>
        <p:nvPicPr>
          <p:cNvPr id="87" name="Graphique 86" descr="Pièces avec un remplissage uni">
            <a:extLst>
              <a:ext uri="{FF2B5EF4-FFF2-40B4-BE49-F238E27FC236}">
                <a16:creationId xmlns:a16="http://schemas.microsoft.com/office/drawing/2014/main" id="{E36EB7B4-4BA2-4FF6-ACD4-B3A837709EE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244604" y="5271874"/>
            <a:ext cx="457966" cy="457966"/>
          </a:xfrm>
          <a:prstGeom prst="rect">
            <a:avLst/>
          </a:prstGeom>
        </p:spPr>
      </p:pic>
      <p:pic>
        <p:nvPicPr>
          <p:cNvPr id="114" name="Graphique 113" descr="Dormir avec un remplissage uni">
            <a:extLst>
              <a:ext uri="{FF2B5EF4-FFF2-40B4-BE49-F238E27FC236}">
                <a16:creationId xmlns:a16="http://schemas.microsoft.com/office/drawing/2014/main" id="{A2C91F7B-29C7-459F-9C04-9AA688F496B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648462" y="2583744"/>
            <a:ext cx="565198" cy="565198"/>
          </a:xfrm>
          <a:prstGeom prst="rect">
            <a:avLst/>
          </a:prstGeom>
        </p:spPr>
      </p:pic>
      <p:pic>
        <p:nvPicPr>
          <p:cNvPr id="115" name="Graphique 114" descr="Trousse de premiers secours avec un remplissage uni">
            <a:extLst>
              <a:ext uri="{FF2B5EF4-FFF2-40B4-BE49-F238E27FC236}">
                <a16:creationId xmlns:a16="http://schemas.microsoft.com/office/drawing/2014/main" id="{88E6B775-C66C-4650-9FA7-9A9B2FDDCCF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683132" y="3767866"/>
            <a:ext cx="557136" cy="557136"/>
          </a:xfrm>
          <a:prstGeom prst="rect">
            <a:avLst/>
          </a:prstGeom>
        </p:spPr>
      </p:pic>
      <p:pic>
        <p:nvPicPr>
          <p:cNvPr id="118" name="Graphique 117" descr="Assiette couverte avec un remplissage uni">
            <a:extLst>
              <a:ext uri="{FF2B5EF4-FFF2-40B4-BE49-F238E27FC236}">
                <a16:creationId xmlns:a16="http://schemas.microsoft.com/office/drawing/2014/main" id="{2F2E741D-B22B-4F38-8E55-AC2069EEEAC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641740" y="5428411"/>
            <a:ext cx="565199" cy="565199"/>
          </a:xfrm>
          <a:prstGeom prst="rect">
            <a:avLst/>
          </a:prstGeom>
        </p:spPr>
      </p:pic>
      <p:sp>
        <p:nvSpPr>
          <p:cNvPr id="119" name="ZoneTexte 118">
            <a:extLst>
              <a:ext uri="{FF2B5EF4-FFF2-40B4-BE49-F238E27FC236}">
                <a16:creationId xmlns:a16="http://schemas.microsoft.com/office/drawing/2014/main" id="{14E32216-A80B-4DE1-9731-B9D15B47C6DA}"/>
              </a:ext>
            </a:extLst>
          </p:cNvPr>
          <p:cNvSpPr txBox="1"/>
          <p:nvPr/>
        </p:nvSpPr>
        <p:spPr>
          <a:xfrm>
            <a:off x="1254007" y="2505800"/>
            <a:ext cx="1376242" cy="446276"/>
          </a:xfrm>
          <a:prstGeom prst="rect">
            <a:avLst/>
          </a:prstGeom>
          <a:noFill/>
          <a:ln>
            <a:noFill/>
          </a:ln>
        </p:spPr>
        <p:txBody>
          <a:bodyPr wrap="square" lIns="108000" rIns="108000" rtlCol="0">
            <a:spAutoFit/>
          </a:bodyPr>
          <a:lstStyle/>
          <a:p>
            <a:pPr algn="ctr"/>
            <a:r>
              <a:rPr lang="fr-FR" sz="1100" b="1">
                <a:solidFill>
                  <a:srgbClr val="B0ADCC"/>
                </a:solidFill>
                <a:latin typeface="Tahoma"/>
              </a:rPr>
              <a:t>Hébergement</a:t>
            </a:r>
          </a:p>
          <a:p>
            <a:pPr marL="171450" indent="-171450" algn="ctr">
              <a:buFontTx/>
              <a:buChar char="-"/>
            </a:pPr>
            <a:endParaRPr lang="fr-FR" sz="1200">
              <a:solidFill>
                <a:srgbClr val="B0ADCC"/>
              </a:solidFill>
              <a:latin typeface="Tahoma"/>
            </a:endParaRPr>
          </a:p>
        </p:txBody>
      </p:sp>
      <p:sp>
        <p:nvSpPr>
          <p:cNvPr id="125" name="ZoneTexte 124">
            <a:extLst>
              <a:ext uri="{FF2B5EF4-FFF2-40B4-BE49-F238E27FC236}">
                <a16:creationId xmlns:a16="http://schemas.microsoft.com/office/drawing/2014/main" id="{0C5CADFA-5C9D-4C16-B598-96E0E8FF4769}"/>
              </a:ext>
            </a:extLst>
          </p:cNvPr>
          <p:cNvSpPr txBox="1"/>
          <p:nvPr/>
        </p:nvSpPr>
        <p:spPr>
          <a:xfrm>
            <a:off x="1450733" y="5080169"/>
            <a:ext cx="965590" cy="430887"/>
          </a:xfrm>
          <a:prstGeom prst="rect">
            <a:avLst/>
          </a:prstGeom>
          <a:noFill/>
          <a:ln>
            <a:noFill/>
          </a:ln>
        </p:spPr>
        <p:txBody>
          <a:bodyPr wrap="square" lIns="108000" rIns="108000" rtlCol="0">
            <a:spAutoFit/>
          </a:bodyPr>
          <a:lstStyle/>
          <a:p>
            <a:pPr algn="ctr"/>
            <a:r>
              <a:rPr lang="fr-FR" sz="1100" b="1">
                <a:solidFill>
                  <a:srgbClr val="B0ADCC"/>
                </a:solidFill>
                <a:latin typeface="Tahoma"/>
              </a:rPr>
              <a:t>Services </a:t>
            </a:r>
          </a:p>
          <a:p>
            <a:pPr algn="ctr"/>
            <a:r>
              <a:rPr lang="fr-FR" sz="1100" b="1">
                <a:solidFill>
                  <a:srgbClr val="B0ADCC"/>
                </a:solidFill>
                <a:latin typeface="Tahoma"/>
              </a:rPr>
              <a:t>hôteliers </a:t>
            </a:r>
          </a:p>
        </p:txBody>
      </p:sp>
      <p:sp>
        <p:nvSpPr>
          <p:cNvPr id="75" name="ZoneTexte 74">
            <a:extLst>
              <a:ext uri="{FF2B5EF4-FFF2-40B4-BE49-F238E27FC236}">
                <a16:creationId xmlns:a16="http://schemas.microsoft.com/office/drawing/2014/main" id="{B41C0DCA-80F1-4816-A457-1207C9D53DC4}"/>
              </a:ext>
            </a:extLst>
          </p:cNvPr>
          <p:cNvSpPr txBox="1"/>
          <p:nvPr/>
        </p:nvSpPr>
        <p:spPr>
          <a:xfrm>
            <a:off x="1074928" y="3430882"/>
            <a:ext cx="1743708" cy="615553"/>
          </a:xfrm>
          <a:prstGeom prst="rect">
            <a:avLst/>
          </a:prstGeom>
          <a:noFill/>
          <a:ln>
            <a:noFill/>
          </a:ln>
        </p:spPr>
        <p:txBody>
          <a:bodyPr wrap="square" lIns="108000" rIns="108000" rtlCol="0">
            <a:spAutoFit/>
          </a:bodyPr>
          <a:lstStyle/>
          <a:p>
            <a:pPr algn="ctr"/>
            <a:r>
              <a:rPr lang="fr-FR" sz="1100" b="1">
                <a:solidFill>
                  <a:srgbClr val="B0ADCC"/>
                </a:solidFill>
                <a:latin typeface="Tahoma"/>
              </a:rPr>
              <a:t>Accompagnement médico-social</a:t>
            </a:r>
          </a:p>
          <a:p>
            <a:pPr marL="171450" indent="-171450" algn="ctr">
              <a:buFontTx/>
              <a:buChar char="-"/>
            </a:pPr>
            <a:endParaRPr lang="fr-FR" sz="1200">
              <a:solidFill>
                <a:srgbClr val="B0ADCC"/>
              </a:solidFill>
              <a:latin typeface="Tahoma"/>
            </a:endParaRPr>
          </a:p>
        </p:txBody>
      </p:sp>
      <p:sp>
        <p:nvSpPr>
          <p:cNvPr id="83" name="ZoneTexte 82">
            <a:extLst>
              <a:ext uri="{FF2B5EF4-FFF2-40B4-BE49-F238E27FC236}">
                <a16:creationId xmlns:a16="http://schemas.microsoft.com/office/drawing/2014/main" id="{E704886D-6C1A-46BC-811A-30A0456B3C66}"/>
              </a:ext>
            </a:extLst>
          </p:cNvPr>
          <p:cNvSpPr txBox="1"/>
          <p:nvPr/>
        </p:nvSpPr>
        <p:spPr>
          <a:xfrm>
            <a:off x="1218661" y="6387472"/>
            <a:ext cx="7239540" cy="346249"/>
          </a:xfrm>
          <a:prstGeom prst="rect">
            <a:avLst/>
          </a:prstGeom>
          <a:solidFill>
            <a:schemeClr val="bg1"/>
          </a:solidFill>
        </p:spPr>
        <p:txBody>
          <a:bodyPr wrap="square">
            <a:spAutoFit/>
          </a:bodyPr>
          <a:lstStyle/>
          <a:p>
            <a:pPr>
              <a:spcAft>
                <a:spcPts val="300"/>
              </a:spcAft>
              <a:buClr>
                <a:srgbClr val="503078"/>
              </a:buClr>
              <a:defRPr/>
            </a:pPr>
            <a:r>
              <a:rPr lang="fr-FR" sz="700">
                <a:solidFill>
                  <a:srgbClr val="5F5F5F">
                    <a:lumMod val="60000"/>
                    <a:lumOff val="40000"/>
                  </a:srgbClr>
                </a:solidFill>
                <a:latin typeface="Tahoma"/>
              </a:rPr>
              <a:t>1. Dossier de presse journée nationale des aidants, Colloque « Être aidant aujourd’hui », département des Hauts-de-Seine, 6 octobre 2021.</a:t>
            </a:r>
          </a:p>
          <a:p>
            <a:pPr>
              <a:spcAft>
                <a:spcPts val="300"/>
              </a:spcAft>
              <a:buClr>
                <a:srgbClr val="503078"/>
              </a:buClr>
              <a:defRPr/>
            </a:pPr>
            <a:r>
              <a:rPr lang="fr-FR" sz="700">
                <a:solidFill>
                  <a:srgbClr val="5F5F5F">
                    <a:lumMod val="60000"/>
                    <a:lumOff val="40000"/>
                  </a:srgbClr>
                </a:solidFill>
                <a:latin typeface="Tahoma"/>
              </a:rPr>
              <a:t>2. Bulletin officiel Santé - Protection sociale - Solidarité n° 2022/11 du 13 mai 2022.</a:t>
            </a:r>
          </a:p>
        </p:txBody>
      </p:sp>
      <p:sp>
        <p:nvSpPr>
          <p:cNvPr id="88" name="Rectangle 87">
            <a:extLst>
              <a:ext uri="{FF2B5EF4-FFF2-40B4-BE49-F238E27FC236}">
                <a16:creationId xmlns:a16="http://schemas.microsoft.com/office/drawing/2014/main" id="{39CA9280-9F58-4F76-8BAC-A3E5AD3EA5AE}"/>
              </a:ext>
            </a:extLst>
          </p:cNvPr>
          <p:cNvSpPr>
            <a:spLocks/>
          </p:cNvSpPr>
          <p:nvPr/>
        </p:nvSpPr>
        <p:spPr>
          <a:xfrm>
            <a:off x="7640759" y="920095"/>
            <a:ext cx="3318783" cy="1016776"/>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11" name="Rectangle 110">
            <a:extLst>
              <a:ext uri="{FF2B5EF4-FFF2-40B4-BE49-F238E27FC236}">
                <a16:creationId xmlns:a16="http://schemas.microsoft.com/office/drawing/2014/main" id="{7517112E-8673-4C66-856A-1C2BE0A55BA7}"/>
              </a:ext>
            </a:extLst>
          </p:cNvPr>
          <p:cNvSpPr>
            <a:spLocks/>
          </p:cNvSpPr>
          <p:nvPr/>
        </p:nvSpPr>
        <p:spPr>
          <a:xfrm>
            <a:off x="5461600" y="920095"/>
            <a:ext cx="2128916" cy="1026282"/>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Tree>
    <p:extLst>
      <p:ext uri="{BB962C8B-B14F-4D97-AF65-F5344CB8AC3E}">
        <p14:creationId xmlns:p14="http://schemas.microsoft.com/office/powerpoint/2010/main" val="13364182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45E749-14D8-42BA-A566-C272C57C4B42}"/>
              </a:ext>
            </a:extLst>
          </p:cNvPr>
          <p:cNvSpPr>
            <a:spLocks noGrp="1"/>
          </p:cNvSpPr>
          <p:nvPr>
            <p:ph type="title"/>
          </p:nvPr>
        </p:nvSpPr>
        <p:spPr/>
        <p:txBody>
          <a:bodyPr/>
          <a:lstStyle/>
          <a:p>
            <a:r>
              <a:rPr lang="fr-FR">
                <a:latin typeface="Tahoma"/>
                <a:ea typeface="+mn-ea"/>
                <a:cs typeface="+mn-cs"/>
              </a:rPr>
              <a:t>Fiches initiatives</a:t>
            </a:r>
            <a:br>
              <a:rPr lang="fr-FR">
                <a:latin typeface="Tahoma"/>
                <a:ea typeface="+mn-ea"/>
                <a:cs typeface="+mn-cs"/>
              </a:rPr>
            </a:br>
            <a:endParaRPr lang="fr-FR"/>
          </a:p>
        </p:txBody>
      </p:sp>
      <p:sp>
        <p:nvSpPr>
          <p:cNvPr id="3" name="Espace réservé du texte 2">
            <a:extLst>
              <a:ext uri="{FF2B5EF4-FFF2-40B4-BE49-F238E27FC236}">
                <a16:creationId xmlns:a16="http://schemas.microsoft.com/office/drawing/2014/main" id="{56CE6F7E-B7E2-4D0A-84E0-E9105A72B01A}"/>
              </a:ext>
            </a:extLst>
          </p:cNvPr>
          <p:cNvSpPr>
            <a:spLocks noGrp="1"/>
          </p:cNvSpPr>
          <p:nvPr>
            <p:ph type="body" sz="quarter" idx="38"/>
          </p:nvPr>
        </p:nvSpPr>
        <p:spPr/>
        <p:txBody>
          <a:bodyPr/>
          <a:lstStyle/>
          <a:p>
            <a:r>
              <a:rPr lang="fr-FR"/>
              <a:t>A</a:t>
            </a:r>
          </a:p>
        </p:txBody>
      </p:sp>
      <p:sp>
        <p:nvSpPr>
          <p:cNvPr id="4" name="Titre 1">
            <a:extLst>
              <a:ext uri="{FF2B5EF4-FFF2-40B4-BE49-F238E27FC236}">
                <a16:creationId xmlns:a16="http://schemas.microsoft.com/office/drawing/2014/main" id="{194C32C5-5DBB-403E-A7AF-719FF8062640}"/>
              </a:ext>
            </a:extLst>
          </p:cNvPr>
          <p:cNvSpPr txBox="1">
            <a:spLocks/>
          </p:cNvSpPr>
          <p:nvPr/>
        </p:nvSpPr>
        <p:spPr bwMode="gray">
          <a:xfrm>
            <a:off x="4037276" y="3816823"/>
            <a:ext cx="6522775" cy="964800"/>
          </a:xfrm>
          <a:prstGeom prst="rect">
            <a:avLst/>
          </a:prstGeom>
          <a:noFill/>
        </p:spPr>
        <p:txBody>
          <a:bodyPr vert="horz" lIns="108000" tIns="108000" rIns="0" bIns="0" rtlCol="0" anchor="t">
            <a:noAutofit/>
          </a:bodyPr>
          <a:lstStyle>
            <a:lvl1pPr algn="r" defTabSz="914400" rtl="0" eaLnBrk="1" latinLnBrk="0" hangingPunct="1">
              <a:lnSpc>
                <a:spcPct val="100000"/>
              </a:lnSpc>
              <a:spcBef>
                <a:spcPct val="0"/>
              </a:spcBef>
              <a:buNone/>
              <a:defRPr sz="2400" kern="1200" cap="none" baseline="0">
                <a:solidFill>
                  <a:schemeClr val="bg2"/>
                </a:solidFill>
                <a:latin typeface="+mj-lt"/>
                <a:ea typeface="+mj-ea"/>
                <a:cs typeface="+mj-cs"/>
              </a:defRPr>
            </a:lvl1pPr>
          </a:lstStyle>
          <a:p>
            <a:r>
              <a:rPr lang="en-US" i="1" err="1">
                <a:solidFill>
                  <a:srgbClr val="048B9A"/>
                </a:solidFill>
                <a:latin typeface="Tahoma"/>
              </a:rPr>
              <a:t>Organisateurs</a:t>
            </a:r>
            <a:r>
              <a:rPr lang="en-US" i="1">
                <a:solidFill>
                  <a:srgbClr val="048B9A"/>
                </a:solidFill>
                <a:latin typeface="Tahoma"/>
              </a:rPr>
              <a:t> de </a:t>
            </a:r>
            <a:r>
              <a:rPr lang="en-US" i="1" err="1">
                <a:solidFill>
                  <a:srgbClr val="048B9A"/>
                </a:solidFill>
                <a:latin typeface="Tahoma"/>
              </a:rPr>
              <a:t>séjours</a:t>
            </a:r>
            <a:r>
              <a:rPr lang="en-US" i="1">
                <a:solidFill>
                  <a:srgbClr val="048B9A"/>
                </a:solidFill>
                <a:latin typeface="Tahoma"/>
              </a:rPr>
              <a:t> de </a:t>
            </a:r>
            <a:r>
              <a:rPr lang="en-US" i="1" err="1">
                <a:solidFill>
                  <a:srgbClr val="048B9A"/>
                </a:solidFill>
                <a:latin typeface="Tahoma"/>
              </a:rPr>
              <a:t>répit</a:t>
            </a:r>
            <a:r>
              <a:rPr lang="en-US" i="1">
                <a:solidFill>
                  <a:srgbClr val="048B9A"/>
                </a:solidFill>
                <a:latin typeface="Tahoma"/>
              </a:rPr>
              <a:t> </a:t>
            </a:r>
            <a:r>
              <a:rPr lang="en-US" i="1" err="1">
                <a:solidFill>
                  <a:srgbClr val="048B9A"/>
                </a:solidFill>
                <a:latin typeface="Tahoma"/>
              </a:rPr>
              <a:t>inclusifs</a:t>
            </a:r>
            <a:endParaRPr lang="fr-FR" i="1">
              <a:solidFill>
                <a:srgbClr val="048B9A"/>
              </a:solidFill>
              <a:latin typeface="Tahoma"/>
            </a:endParaRPr>
          </a:p>
        </p:txBody>
      </p:sp>
    </p:spTree>
    <p:extLst>
      <p:ext uri="{BB962C8B-B14F-4D97-AF65-F5344CB8AC3E}">
        <p14:creationId xmlns:p14="http://schemas.microsoft.com/office/powerpoint/2010/main" val="1385933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DDB96D-5870-433E-8224-8BA70AB31D5A}"/>
              </a:ext>
            </a:extLst>
          </p:cNvPr>
          <p:cNvSpPr>
            <a:spLocks noGrp="1"/>
          </p:cNvSpPr>
          <p:nvPr>
            <p:ph type="title"/>
          </p:nvPr>
        </p:nvSpPr>
        <p:spPr/>
        <p:txBody>
          <a:bodyPr/>
          <a:lstStyle/>
          <a:p>
            <a:r>
              <a:rPr lang="fr-FR"/>
              <a:t>Réseau passerelles </a:t>
            </a:r>
          </a:p>
        </p:txBody>
      </p:sp>
      <p:sp>
        <p:nvSpPr>
          <p:cNvPr id="3" name="Espace réservé du texte 2">
            <a:extLst>
              <a:ext uri="{FF2B5EF4-FFF2-40B4-BE49-F238E27FC236}">
                <a16:creationId xmlns:a16="http://schemas.microsoft.com/office/drawing/2014/main" id="{9C630387-01A6-4667-A171-E57EE95EAA8D}"/>
              </a:ext>
            </a:extLst>
          </p:cNvPr>
          <p:cNvSpPr>
            <a:spLocks noGrp="1"/>
          </p:cNvSpPr>
          <p:nvPr>
            <p:ph type="body" sz="quarter" idx="13"/>
          </p:nvPr>
        </p:nvSpPr>
        <p:spPr/>
        <p:txBody>
          <a:bodyPr/>
          <a:lstStyle/>
          <a:p>
            <a:r>
              <a:rPr lang="fr-FR"/>
              <a:t>fiches initiatives</a:t>
            </a:r>
          </a:p>
        </p:txBody>
      </p:sp>
      <p:pic>
        <p:nvPicPr>
          <p:cNvPr id="59" name="Graphique 58" descr="Utilisateur">
            <a:extLst>
              <a:ext uri="{FF2B5EF4-FFF2-40B4-BE49-F238E27FC236}">
                <a16:creationId xmlns:a16="http://schemas.microsoft.com/office/drawing/2014/main" id="{BCF539CA-033C-4E53-AA11-C9F1D57FD99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62600" y="773902"/>
            <a:ext cx="343642" cy="343642"/>
          </a:xfrm>
          <a:prstGeom prst="rect">
            <a:avLst/>
          </a:prstGeom>
        </p:spPr>
      </p:pic>
      <p:pic>
        <p:nvPicPr>
          <p:cNvPr id="60" name="Graphique 59" descr="Enfants">
            <a:extLst>
              <a:ext uri="{FF2B5EF4-FFF2-40B4-BE49-F238E27FC236}">
                <a16:creationId xmlns:a16="http://schemas.microsoft.com/office/drawing/2014/main" id="{D039143E-4976-4C18-9C94-0BA53EE64FF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82720" y="785364"/>
            <a:ext cx="357605" cy="357605"/>
          </a:xfrm>
          <a:prstGeom prst="rect">
            <a:avLst/>
          </a:prstGeom>
        </p:spPr>
      </p:pic>
      <p:pic>
        <p:nvPicPr>
          <p:cNvPr id="61" name="Graphique 60" descr="Hôpital">
            <a:extLst>
              <a:ext uri="{FF2B5EF4-FFF2-40B4-BE49-F238E27FC236}">
                <a16:creationId xmlns:a16="http://schemas.microsoft.com/office/drawing/2014/main" id="{5A6293E0-A850-432A-AEC2-55244F91F50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01315" y="753939"/>
            <a:ext cx="377667" cy="377667"/>
          </a:xfrm>
          <a:prstGeom prst="rect">
            <a:avLst/>
          </a:prstGeom>
        </p:spPr>
      </p:pic>
      <p:sp>
        <p:nvSpPr>
          <p:cNvPr id="71" name="ZoneTexte 70">
            <a:extLst>
              <a:ext uri="{FF2B5EF4-FFF2-40B4-BE49-F238E27FC236}">
                <a16:creationId xmlns:a16="http://schemas.microsoft.com/office/drawing/2014/main" id="{95275340-2C5E-4AB7-8968-428537133200}"/>
              </a:ext>
            </a:extLst>
          </p:cNvPr>
          <p:cNvSpPr txBox="1"/>
          <p:nvPr/>
        </p:nvSpPr>
        <p:spPr>
          <a:xfrm>
            <a:off x="3506076" y="814892"/>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ublic cible</a:t>
            </a:r>
          </a:p>
          <a:p>
            <a:pPr marL="171450" indent="-171450">
              <a:buFontTx/>
              <a:buChar char="-"/>
            </a:pPr>
            <a:endParaRPr lang="fr-FR" sz="1200">
              <a:solidFill>
                <a:srgbClr val="5F5F5F"/>
              </a:solidFill>
              <a:latin typeface="Tahoma"/>
            </a:endParaRPr>
          </a:p>
        </p:txBody>
      </p:sp>
      <p:sp>
        <p:nvSpPr>
          <p:cNvPr id="72" name="Rectangle 71">
            <a:extLst>
              <a:ext uri="{FF2B5EF4-FFF2-40B4-BE49-F238E27FC236}">
                <a16:creationId xmlns:a16="http://schemas.microsoft.com/office/drawing/2014/main" id="{CF33C1E5-DDE1-4156-A8BA-4E287E034C81}"/>
              </a:ext>
            </a:extLst>
          </p:cNvPr>
          <p:cNvSpPr/>
          <p:nvPr/>
        </p:nvSpPr>
        <p:spPr>
          <a:xfrm>
            <a:off x="3041222" y="775859"/>
            <a:ext cx="2566378"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3" name="Rectangle 72">
            <a:extLst>
              <a:ext uri="{FF2B5EF4-FFF2-40B4-BE49-F238E27FC236}">
                <a16:creationId xmlns:a16="http://schemas.microsoft.com/office/drawing/2014/main" id="{E85DFD2B-8AE0-4AEF-971A-2B7DB41E3803}"/>
              </a:ext>
            </a:extLst>
          </p:cNvPr>
          <p:cNvSpPr/>
          <p:nvPr/>
        </p:nvSpPr>
        <p:spPr>
          <a:xfrm>
            <a:off x="8329059" y="773903"/>
            <a:ext cx="2630482" cy="1028237"/>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4" name="ZoneTexte 73">
            <a:extLst>
              <a:ext uri="{FF2B5EF4-FFF2-40B4-BE49-F238E27FC236}">
                <a16:creationId xmlns:a16="http://schemas.microsoft.com/office/drawing/2014/main" id="{77576367-5766-4A85-8CC6-3A325240D7B8}"/>
              </a:ext>
            </a:extLst>
          </p:cNvPr>
          <p:cNvSpPr txBox="1"/>
          <p:nvPr/>
        </p:nvSpPr>
        <p:spPr>
          <a:xfrm>
            <a:off x="8699428" y="819073"/>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ortage / gestion du projet </a:t>
            </a:r>
          </a:p>
          <a:p>
            <a:pPr marL="171450" indent="-171450">
              <a:buFontTx/>
              <a:buChar char="-"/>
            </a:pPr>
            <a:endParaRPr lang="fr-FR" sz="1200">
              <a:solidFill>
                <a:srgbClr val="5F5F5F"/>
              </a:solidFill>
              <a:latin typeface="Tahoma"/>
            </a:endParaRPr>
          </a:p>
        </p:txBody>
      </p:sp>
      <p:sp>
        <p:nvSpPr>
          <p:cNvPr id="76" name="Rectangle 75">
            <a:extLst>
              <a:ext uri="{FF2B5EF4-FFF2-40B4-BE49-F238E27FC236}">
                <a16:creationId xmlns:a16="http://schemas.microsoft.com/office/drawing/2014/main" id="{DEA056E4-366B-4B6E-AD2A-2A7DACC2777B}"/>
              </a:ext>
            </a:extLst>
          </p:cNvPr>
          <p:cNvSpPr/>
          <p:nvPr/>
        </p:nvSpPr>
        <p:spPr>
          <a:xfrm>
            <a:off x="5657842" y="775858"/>
            <a:ext cx="2630482" cy="1026282"/>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7" name="ZoneTexte 76">
            <a:extLst>
              <a:ext uri="{FF2B5EF4-FFF2-40B4-BE49-F238E27FC236}">
                <a16:creationId xmlns:a16="http://schemas.microsoft.com/office/drawing/2014/main" id="{9B3B4E4E-968C-4AC1-A916-2CB2CBC81062}"/>
              </a:ext>
            </a:extLst>
          </p:cNvPr>
          <p:cNvSpPr txBox="1"/>
          <p:nvPr/>
        </p:nvSpPr>
        <p:spPr>
          <a:xfrm>
            <a:off x="6045885" y="842739"/>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Typologie de structure</a:t>
            </a:r>
          </a:p>
          <a:p>
            <a:pPr marL="171450" indent="-171450">
              <a:buFontTx/>
              <a:buChar char="-"/>
            </a:pPr>
            <a:endParaRPr lang="fr-FR" sz="1200">
              <a:solidFill>
                <a:srgbClr val="5F5F5F"/>
              </a:solidFill>
              <a:latin typeface="Tahoma"/>
            </a:endParaRPr>
          </a:p>
        </p:txBody>
      </p:sp>
      <p:sp>
        <p:nvSpPr>
          <p:cNvPr id="78" name="ZoneTexte 77">
            <a:extLst>
              <a:ext uri="{FF2B5EF4-FFF2-40B4-BE49-F238E27FC236}">
                <a16:creationId xmlns:a16="http://schemas.microsoft.com/office/drawing/2014/main" id="{96B574C6-E211-4064-9944-5448EE32BE54}"/>
              </a:ext>
            </a:extLst>
          </p:cNvPr>
          <p:cNvSpPr txBox="1"/>
          <p:nvPr/>
        </p:nvSpPr>
        <p:spPr>
          <a:xfrm>
            <a:off x="2992778" y="1084784"/>
            <a:ext cx="2660644" cy="738664"/>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pPr>
            <a:r>
              <a:rPr lang="fr-FR" sz="1050">
                <a:solidFill>
                  <a:srgbClr val="5F5F5F"/>
                </a:solidFill>
                <a:latin typeface="Tahoma"/>
              </a:rPr>
              <a:t>Enfants de 3 à 17 ans en situation de handicap et leurs familles</a:t>
            </a:r>
          </a:p>
          <a:p>
            <a:pPr marL="171450" indent="-171450">
              <a:buClr>
                <a:srgbClr val="503078"/>
              </a:buClr>
              <a:buFont typeface="Tahoma" panose="020B0604030504040204" pitchFamily="34" charset="0"/>
              <a:buChar char="⁄"/>
            </a:pPr>
            <a:r>
              <a:rPr lang="fr-FR" sz="1050">
                <a:solidFill>
                  <a:srgbClr val="5F5F5F"/>
                </a:solidFill>
                <a:latin typeface="Tahoma"/>
              </a:rPr>
              <a:t>Jeune majeur en situation de handicap et leurs familles</a:t>
            </a:r>
          </a:p>
        </p:txBody>
      </p:sp>
      <p:sp>
        <p:nvSpPr>
          <p:cNvPr id="79" name="ZoneTexte 78">
            <a:extLst>
              <a:ext uri="{FF2B5EF4-FFF2-40B4-BE49-F238E27FC236}">
                <a16:creationId xmlns:a16="http://schemas.microsoft.com/office/drawing/2014/main" id="{201EC015-8921-47D5-8EEB-4F8E037742E5}"/>
              </a:ext>
            </a:extLst>
          </p:cNvPr>
          <p:cNvSpPr txBox="1"/>
          <p:nvPr/>
        </p:nvSpPr>
        <p:spPr>
          <a:xfrm>
            <a:off x="5633852" y="1083854"/>
            <a:ext cx="2734774" cy="595356"/>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Association (tourisme social) + Club enfants (accueil de loisirs sans hébergement)</a:t>
            </a:r>
            <a:endParaRPr lang="fr-FR" sz="1050" b="1">
              <a:solidFill>
                <a:srgbClr val="5F5F5F"/>
              </a:solidFill>
              <a:latin typeface="Tahoma"/>
            </a:endParaRPr>
          </a:p>
        </p:txBody>
      </p:sp>
      <p:sp>
        <p:nvSpPr>
          <p:cNvPr id="80" name="ZoneTexte 79">
            <a:extLst>
              <a:ext uri="{FF2B5EF4-FFF2-40B4-BE49-F238E27FC236}">
                <a16:creationId xmlns:a16="http://schemas.microsoft.com/office/drawing/2014/main" id="{D486C829-4B6E-4981-9B49-72041AC2853F}"/>
              </a:ext>
            </a:extLst>
          </p:cNvPr>
          <p:cNvSpPr txBox="1"/>
          <p:nvPr/>
        </p:nvSpPr>
        <p:spPr>
          <a:xfrm>
            <a:off x="8270852" y="1088778"/>
            <a:ext cx="2770132" cy="577081"/>
          </a:xfrm>
          <a:prstGeom prst="rect">
            <a:avLst/>
          </a:prstGeom>
          <a:noFill/>
          <a:ln>
            <a:noFill/>
          </a:ln>
        </p:spPr>
        <p:txBody>
          <a:bodyPr wrap="square" lIns="108000" rIns="108000" rtlCol="0">
            <a:spAutoFit/>
          </a:bodyPr>
          <a:lstStyle/>
          <a:p>
            <a:pPr>
              <a:defRPr/>
            </a:pPr>
            <a:r>
              <a:rPr lang="fr-FR" sz="1050">
                <a:solidFill>
                  <a:srgbClr val="5F5F5F"/>
                </a:solidFill>
                <a:latin typeface="Tahoma"/>
              </a:rPr>
              <a:t>Réseau Passerelles, en partenariat avec l’ANCV, KLESIA, la CAF, + groupes de protection sociale. Plus de 25 partenaires </a:t>
            </a:r>
          </a:p>
        </p:txBody>
      </p:sp>
      <p:sp>
        <p:nvSpPr>
          <p:cNvPr id="139" name="Rectangle 138">
            <a:extLst>
              <a:ext uri="{FF2B5EF4-FFF2-40B4-BE49-F238E27FC236}">
                <a16:creationId xmlns:a16="http://schemas.microsoft.com/office/drawing/2014/main" id="{23DA1D13-F6FC-42CC-8CBC-A6643FFAA543}"/>
              </a:ext>
            </a:extLst>
          </p:cNvPr>
          <p:cNvSpPr/>
          <p:nvPr/>
        </p:nvSpPr>
        <p:spPr>
          <a:xfrm>
            <a:off x="1254009" y="779190"/>
            <a:ext cx="1728514"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pic>
        <p:nvPicPr>
          <p:cNvPr id="84" name="Picture 2" descr="Réseau Passerelles – Partir en vacances avec son enfant en situation de  handicap">
            <a:extLst>
              <a:ext uri="{FF2B5EF4-FFF2-40B4-BE49-F238E27FC236}">
                <a16:creationId xmlns:a16="http://schemas.microsoft.com/office/drawing/2014/main" id="{465222A2-4D5D-4C6B-AFCD-45C43AD7548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003188" y="162570"/>
            <a:ext cx="969177" cy="532740"/>
          </a:xfrm>
          <a:prstGeom prst="rect">
            <a:avLst/>
          </a:prstGeom>
          <a:noFill/>
          <a:extLst>
            <a:ext uri="{909E8E84-426E-40DD-AFC4-6F175D3DCCD1}">
              <a14:hiddenFill xmlns:a14="http://schemas.microsoft.com/office/drawing/2010/main">
                <a:solidFill>
                  <a:srgbClr val="FFFFFF"/>
                </a:solidFill>
              </a14:hiddenFill>
            </a:ext>
          </a:extLst>
        </p:spPr>
      </p:pic>
      <p:grpSp>
        <p:nvGrpSpPr>
          <p:cNvPr id="164" name="Groupe 163">
            <a:extLst>
              <a:ext uri="{FF2B5EF4-FFF2-40B4-BE49-F238E27FC236}">
                <a16:creationId xmlns:a16="http://schemas.microsoft.com/office/drawing/2014/main" id="{4DD11B87-D4C7-4212-83F1-315E3569AC00}"/>
              </a:ext>
            </a:extLst>
          </p:cNvPr>
          <p:cNvGrpSpPr/>
          <p:nvPr/>
        </p:nvGrpSpPr>
        <p:grpSpPr>
          <a:xfrm>
            <a:off x="1188897" y="816885"/>
            <a:ext cx="1850320" cy="983868"/>
            <a:chOff x="3512600" y="1332772"/>
            <a:chExt cx="2679921" cy="1471555"/>
          </a:xfrm>
        </p:grpSpPr>
        <p:grpSp>
          <p:nvGrpSpPr>
            <p:cNvPr id="165" name="Groupe 164">
              <a:extLst>
                <a:ext uri="{FF2B5EF4-FFF2-40B4-BE49-F238E27FC236}">
                  <a16:creationId xmlns:a16="http://schemas.microsoft.com/office/drawing/2014/main" id="{A0FC00C6-0527-4326-8484-EA802B07AE1B}"/>
                </a:ext>
              </a:extLst>
            </p:cNvPr>
            <p:cNvGrpSpPr/>
            <p:nvPr/>
          </p:nvGrpSpPr>
          <p:grpSpPr>
            <a:xfrm>
              <a:off x="4107703" y="1332772"/>
              <a:ext cx="1454340" cy="1402821"/>
              <a:chOff x="7058875" y="3087071"/>
              <a:chExt cx="1262862" cy="1244394"/>
            </a:xfrm>
          </p:grpSpPr>
          <p:grpSp>
            <p:nvGrpSpPr>
              <p:cNvPr id="178" name="Group 219">
                <a:extLst>
                  <a:ext uri="{FF2B5EF4-FFF2-40B4-BE49-F238E27FC236}">
                    <a16:creationId xmlns:a16="http://schemas.microsoft.com/office/drawing/2014/main" id="{663569FB-5556-41DD-9279-93CE8A0F2ED1}"/>
                  </a:ext>
                </a:extLst>
              </p:cNvPr>
              <p:cNvGrpSpPr>
                <a:grpSpLocks/>
              </p:cNvGrpSpPr>
              <p:nvPr/>
            </p:nvGrpSpPr>
            <p:grpSpPr bwMode="gray">
              <a:xfrm>
                <a:off x="7058875" y="3087071"/>
                <a:ext cx="1262862" cy="1244394"/>
                <a:chOff x="48" y="168"/>
                <a:chExt cx="3077" cy="3032"/>
              </a:xfrm>
              <a:solidFill>
                <a:schemeClr val="tx2"/>
              </a:solidFill>
              <a:effectLst>
                <a:outerShdw blurRad="127000" dist="50800" dir="2700000" algn="ctr" rotWithShape="0">
                  <a:schemeClr val="tx1">
                    <a:alpha val="40000"/>
                  </a:schemeClr>
                </a:outerShdw>
              </a:effectLst>
            </p:grpSpPr>
            <p:sp>
              <p:nvSpPr>
                <p:cNvPr id="179" name="Nord-Pas-de-Calais" descr="© INSCALE GmbH, 05.05.2010&#10;http://www.presentationload.com/">
                  <a:extLst>
                    <a:ext uri="{FF2B5EF4-FFF2-40B4-BE49-F238E27FC236}">
                      <a16:creationId xmlns:a16="http://schemas.microsoft.com/office/drawing/2014/main" id="{10E48669-D72F-469E-ABF5-04E2E53F5C8F}"/>
                    </a:ext>
                  </a:extLst>
                </p:cNvPr>
                <p:cNvSpPr>
                  <a:spLocks/>
                </p:cNvSpPr>
                <p:nvPr/>
              </p:nvSpPr>
              <p:spPr bwMode="gray">
                <a:xfrm>
                  <a:off x="1600" y="168"/>
                  <a:ext cx="608" cy="383"/>
                </a:xfrm>
                <a:custGeom>
                  <a:avLst/>
                  <a:gdLst/>
                  <a:ahLst/>
                  <a:cxnLst>
                    <a:cxn ang="0">
                      <a:pos x="77" y="236"/>
                    </a:cxn>
                    <a:cxn ang="0">
                      <a:pos x="101" y="257"/>
                    </a:cxn>
                    <a:cxn ang="0">
                      <a:pos x="117" y="279"/>
                    </a:cxn>
                    <a:cxn ang="0">
                      <a:pos x="159" y="269"/>
                    </a:cxn>
                    <a:cxn ang="0">
                      <a:pos x="187" y="273"/>
                    </a:cxn>
                    <a:cxn ang="0">
                      <a:pos x="173" y="309"/>
                    </a:cxn>
                    <a:cxn ang="0">
                      <a:pos x="208" y="304"/>
                    </a:cxn>
                    <a:cxn ang="0">
                      <a:pos x="232" y="300"/>
                    </a:cxn>
                    <a:cxn ang="0">
                      <a:pos x="244" y="323"/>
                    </a:cxn>
                    <a:cxn ang="0">
                      <a:pos x="272" y="324"/>
                    </a:cxn>
                    <a:cxn ang="0">
                      <a:pos x="279" y="321"/>
                    </a:cxn>
                    <a:cxn ang="0">
                      <a:pos x="343" y="329"/>
                    </a:cxn>
                    <a:cxn ang="0">
                      <a:pos x="364" y="327"/>
                    </a:cxn>
                    <a:cxn ang="0">
                      <a:pos x="440" y="317"/>
                    </a:cxn>
                    <a:cxn ang="0">
                      <a:pos x="473" y="333"/>
                    </a:cxn>
                    <a:cxn ang="0">
                      <a:pos x="492" y="335"/>
                    </a:cxn>
                    <a:cxn ang="0">
                      <a:pos x="548" y="320"/>
                    </a:cxn>
                    <a:cxn ang="0">
                      <a:pos x="556" y="283"/>
                    </a:cxn>
                    <a:cxn ang="0">
                      <a:pos x="545" y="269"/>
                    </a:cxn>
                    <a:cxn ang="0">
                      <a:pos x="559" y="243"/>
                    </a:cxn>
                    <a:cxn ang="0">
                      <a:pos x="543" y="243"/>
                    </a:cxn>
                    <a:cxn ang="0">
                      <a:pos x="517" y="215"/>
                    </a:cxn>
                    <a:cxn ang="0">
                      <a:pos x="500" y="219"/>
                    </a:cxn>
                    <a:cxn ang="0">
                      <a:pos x="486" y="217"/>
                    </a:cxn>
                    <a:cxn ang="0">
                      <a:pos x="452" y="228"/>
                    </a:cxn>
                    <a:cxn ang="0">
                      <a:pos x="442" y="201"/>
                    </a:cxn>
                    <a:cxn ang="0">
                      <a:pos x="436" y="174"/>
                    </a:cxn>
                    <a:cxn ang="0">
                      <a:pos x="409" y="165"/>
                    </a:cxn>
                    <a:cxn ang="0">
                      <a:pos x="362" y="157"/>
                    </a:cxn>
                    <a:cxn ang="0">
                      <a:pos x="353" y="124"/>
                    </a:cxn>
                    <a:cxn ang="0">
                      <a:pos x="350" y="110"/>
                    </a:cxn>
                    <a:cxn ang="0">
                      <a:pos x="325" y="90"/>
                    </a:cxn>
                    <a:cxn ang="0">
                      <a:pos x="283" y="114"/>
                    </a:cxn>
                    <a:cxn ang="0">
                      <a:pos x="262" y="106"/>
                    </a:cxn>
                    <a:cxn ang="0">
                      <a:pos x="245" y="76"/>
                    </a:cxn>
                    <a:cxn ang="0">
                      <a:pos x="221" y="67"/>
                    </a:cxn>
                    <a:cxn ang="0">
                      <a:pos x="224" y="42"/>
                    </a:cxn>
                    <a:cxn ang="0">
                      <a:pos x="212" y="9"/>
                    </a:cxn>
                    <a:cxn ang="0">
                      <a:pos x="157" y="7"/>
                    </a:cxn>
                    <a:cxn ang="0">
                      <a:pos x="54" y="31"/>
                    </a:cxn>
                    <a:cxn ang="0">
                      <a:pos x="7" y="57"/>
                    </a:cxn>
                    <a:cxn ang="0">
                      <a:pos x="5" y="106"/>
                    </a:cxn>
                    <a:cxn ang="0">
                      <a:pos x="4" y="192"/>
                    </a:cxn>
                    <a:cxn ang="0">
                      <a:pos x="1" y="228"/>
                    </a:cxn>
                    <a:cxn ang="0">
                      <a:pos x="12" y="235"/>
                    </a:cxn>
                    <a:cxn ang="0">
                      <a:pos x="65" y="237"/>
                    </a:cxn>
                  </a:cxnLst>
                  <a:rect l="0" t="0" r="r" b="b"/>
                  <a:pathLst>
                    <a:path w="564" h="355">
                      <a:moveTo>
                        <a:pt x="65" y="237"/>
                      </a:moveTo>
                      <a:cubicBezTo>
                        <a:pt x="77" y="236"/>
                        <a:pt x="77" y="236"/>
                        <a:pt x="77" y="236"/>
                      </a:cubicBezTo>
                      <a:cubicBezTo>
                        <a:pt x="79" y="247"/>
                        <a:pt x="79" y="247"/>
                        <a:pt x="79" y="247"/>
                      </a:cubicBezTo>
                      <a:cubicBezTo>
                        <a:pt x="101" y="257"/>
                        <a:pt x="101" y="257"/>
                        <a:pt x="101" y="257"/>
                      </a:cubicBezTo>
                      <a:cubicBezTo>
                        <a:pt x="109" y="275"/>
                        <a:pt x="109" y="275"/>
                        <a:pt x="109" y="275"/>
                      </a:cubicBezTo>
                      <a:cubicBezTo>
                        <a:pt x="117" y="279"/>
                        <a:pt x="117" y="279"/>
                        <a:pt x="117" y="279"/>
                      </a:cubicBezTo>
                      <a:cubicBezTo>
                        <a:pt x="143" y="265"/>
                        <a:pt x="143" y="265"/>
                        <a:pt x="143" y="265"/>
                      </a:cubicBezTo>
                      <a:cubicBezTo>
                        <a:pt x="159" y="269"/>
                        <a:pt x="159" y="269"/>
                        <a:pt x="159" y="269"/>
                      </a:cubicBezTo>
                      <a:cubicBezTo>
                        <a:pt x="180" y="263"/>
                        <a:pt x="180" y="263"/>
                        <a:pt x="180" y="263"/>
                      </a:cubicBezTo>
                      <a:cubicBezTo>
                        <a:pt x="187" y="273"/>
                        <a:pt x="187" y="273"/>
                        <a:pt x="187" y="273"/>
                      </a:cubicBezTo>
                      <a:cubicBezTo>
                        <a:pt x="187" y="273"/>
                        <a:pt x="163" y="293"/>
                        <a:pt x="163" y="304"/>
                      </a:cubicBezTo>
                      <a:cubicBezTo>
                        <a:pt x="163" y="315"/>
                        <a:pt x="173" y="309"/>
                        <a:pt x="173" y="309"/>
                      </a:cubicBezTo>
                      <a:cubicBezTo>
                        <a:pt x="173" y="309"/>
                        <a:pt x="193" y="289"/>
                        <a:pt x="193" y="300"/>
                      </a:cubicBezTo>
                      <a:cubicBezTo>
                        <a:pt x="193" y="300"/>
                        <a:pt x="208" y="297"/>
                        <a:pt x="208" y="304"/>
                      </a:cubicBezTo>
                      <a:cubicBezTo>
                        <a:pt x="208" y="311"/>
                        <a:pt x="227" y="313"/>
                        <a:pt x="227" y="313"/>
                      </a:cubicBezTo>
                      <a:cubicBezTo>
                        <a:pt x="232" y="300"/>
                        <a:pt x="232" y="300"/>
                        <a:pt x="232" y="300"/>
                      </a:cubicBezTo>
                      <a:cubicBezTo>
                        <a:pt x="248" y="303"/>
                        <a:pt x="248" y="303"/>
                        <a:pt x="248" y="303"/>
                      </a:cubicBezTo>
                      <a:cubicBezTo>
                        <a:pt x="244" y="323"/>
                        <a:pt x="244" y="323"/>
                        <a:pt x="244" y="323"/>
                      </a:cubicBezTo>
                      <a:cubicBezTo>
                        <a:pt x="263" y="313"/>
                        <a:pt x="263" y="313"/>
                        <a:pt x="263" y="313"/>
                      </a:cubicBezTo>
                      <a:cubicBezTo>
                        <a:pt x="272" y="324"/>
                        <a:pt x="272" y="324"/>
                        <a:pt x="272" y="324"/>
                      </a:cubicBezTo>
                      <a:cubicBezTo>
                        <a:pt x="265" y="332"/>
                        <a:pt x="265" y="332"/>
                        <a:pt x="265" y="332"/>
                      </a:cubicBezTo>
                      <a:cubicBezTo>
                        <a:pt x="279" y="321"/>
                        <a:pt x="279" y="321"/>
                        <a:pt x="279" y="321"/>
                      </a:cubicBezTo>
                      <a:cubicBezTo>
                        <a:pt x="313" y="321"/>
                        <a:pt x="313" y="321"/>
                        <a:pt x="313" y="321"/>
                      </a:cubicBezTo>
                      <a:cubicBezTo>
                        <a:pt x="313" y="321"/>
                        <a:pt x="320" y="341"/>
                        <a:pt x="343" y="329"/>
                      </a:cubicBezTo>
                      <a:cubicBezTo>
                        <a:pt x="348" y="331"/>
                        <a:pt x="348" y="335"/>
                        <a:pt x="348" y="335"/>
                      </a:cubicBezTo>
                      <a:cubicBezTo>
                        <a:pt x="348" y="335"/>
                        <a:pt x="359" y="339"/>
                        <a:pt x="364" y="327"/>
                      </a:cubicBezTo>
                      <a:cubicBezTo>
                        <a:pt x="364" y="327"/>
                        <a:pt x="400" y="337"/>
                        <a:pt x="404" y="319"/>
                      </a:cubicBezTo>
                      <a:cubicBezTo>
                        <a:pt x="403" y="323"/>
                        <a:pt x="413" y="339"/>
                        <a:pt x="440" y="317"/>
                      </a:cubicBezTo>
                      <a:cubicBezTo>
                        <a:pt x="473" y="327"/>
                        <a:pt x="473" y="327"/>
                        <a:pt x="473" y="327"/>
                      </a:cubicBezTo>
                      <a:cubicBezTo>
                        <a:pt x="473" y="333"/>
                        <a:pt x="473" y="333"/>
                        <a:pt x="473" y="333"/>
                      </a:cubicBezTo>
                      <a:cubicBezTo>
                        <a:pt x="492" y="321"/>
                        <a:pt x="492" y="321"/>
                        <a:pt x="492" y="321"/>
                      </a:cubicBezTo>
                      <a:cubicBezTo>
                        <a:pt x="492" y="335"/>
                        <a:pt x="492" y="335"/>
                        <a:pt x="492" y="335"/>
                      </a:cubicBezTo>
                      <a:cubicBezTo>
                        <a:pt x="492" y="335"/>
                        <a:pt x="522" y="355"/>
                        <a:pt x="554" y="333"/>
                      </a:cubicBezTo>
                      <a:cubicBezTo>
                        <a:pt x="551" y="330"/>
                        <a:pt x="549" y="325"/>
                        <a:pt x="548" y="320"/>
                      </a:cubicBezTo>
                      <a:cubicBezTo>
                        <a:pt x="547" y="313"/>
                        <a:pt x="558" y="305"/>
                        <a:pt x="561" y="303"/>
                      </a:cubicBezTo>
                      <a:cubicBezTo>
                        <a:pt x="564" y="301"/>
                        <a:pt x="556" y="283"/>
                        <a:pt x="556" y="283"/>
                      </a:cubicBezTo>
                      <a:cubicBezTo>
                        <a:pt x="556" y="283"/>
                        <a:pt x="553" y="283"/>
                        <a:pt x="547" y="283"/>
                      </a:cubicBezTo>
                      <a:cubicBezTo>
                        <a:pt x="541" y="283"/>
                        <a:pt x="545" y="269"/>
                        <a:pt x="545" y="269"/>
                      </a:cubicBezTo>
                      <a:cubicBezTo>
                        <a:pt x="547" y="260"/>
                        <a:pt x="547" y="260"/>
                        <a:pt x="547" y="260"/>
                      </a:cubicBezTo>
                      <a:cubicBezTo>
                        <a:pt x="547" y="260"/>
                        <a:pt x="558" y="246"/>
                        <a:pt x="559" y="243"/>
                      </a:cubicBezTo>
                      <a:cubicBezTo>
                        <a:pt x="560" y="240"/>
                        <a:pt x="554" y="236"/>
                        <a:pt x="554" y="236"/>
                      </a:cubicBezTo>
                      <a:cubicBezTo>
                        <a:pt x="543" y="243"/>
                        <a:pt x="543" y="243"/>
                        <a:pt x="543" y="243"/>
                      </a:cubicBezTo>
                      <a:cubicBezTo>
                        <a:pt x="542" y="233"/>
                        <a:pt x="542" y="233"/>
                        <a:pt x="542" y="233"/>
                      </a:cubicBezTo>
                      <a:cubicBezTo>
                        <a:pt x="517" y="215"/>
                        <a:pt x="517" y="215"/>
                        <a:pt x="517" y="215"/>
                      </a:cubicBezTo>
                      <a:cubicBezTo>
                        <a:pt x="514" y="219"/>
                        <a:pt x="514" y="219"/>
                        <a:pt x="514" y="219"/>
                      </a:cubicBezTo>
                      <a:cubicBezTo>
                        <a:pt x="500" y="219"/>
                        <a:pt x="500" y="219"/>
                        <a:pt x="500" y="219"/>
                      </a:cubicBezTo>
                      <a:cubicBezTo>
                        <a:pt x="493" y="225"/>
                        <a:pt x="493" y="225"/>
                        <a:pt x="493" y="225"/>
                      </a:cubicBezTo>
                      <a:cubicBezTo>
                        <a:pt x="486" y="217"/>
                        <a:pt x="486" y="217"/>
                        <a:pt x="486" y="217"/>
                      </a:cubicBezTo>
                      <a:cubicBezTo>
                        <a:pt x="460" y="216"/>
                        <a:pt x="460" y="216"/>
                        <a:pt x="460" y="216"/>
                      </a:cubicBezTo>
                      <a:cubicBezTo>
                        <a:pt x="452" y="228"/>
                        <a:pt x="452" y="228"/>
                        <a:pt x="452" y="228"/>
                      </a:cubicBezTo>
                      <a:cubicBezTo>
                        <a:pt x="443" y="216"/>
                        <a:pt x="443" y="216"/>
                        <a:pt x="443" y="216"/>
                      </a:cubicBezTo>
                      <a:cubicBezTo>
                        <a:pt x="442" y="201"/>
                        <a:pt x="442" y="201"/>
                        <a:pt x="442" y="201"/>
                      </a:cubicBezTo>
                      <a:cubicBezTo>
                        <a:pt x="449" y="195"/>
                        <a:pt x="449" y="195"/>
                        <a:pt x="449" y="195"/>
                      </a:cubicBezTo>
                      <a:cubicBezTo>
                        <a:pt x="436" y="174"/>
                        <a:pt x="436" y="174"/>
                        <a:pt x="436" y="174"/>
                      </a:cubicBezTo>
                      <a:cubicBezTo>
                        <a:pt x="410" y="172"/>
                        <a:pt x="410" y="172"/>
                        <a:pt x="410" y="172"/>
                      </a:cubicBezTo>
                      <a:cubicBezTo>
                        <a:pt x="409" y="165"/>
                        <a:pt x="409" y="165"/>
                        <a:pt x="409" y="165"/>
                      </a:cubicBezTo>
                      <a:cubicBezTo>
                        <a:pt x="409" y="165"/>
                        <a:pt x="390" y="174"/>
                        <a:pt x="383" y="174"/>
                      </a:cubicBezTo>
                      <a:cubicBezTo>
                        <a:pt x="376" y="174"/>
                        <a:pt x="362" y="157"/>
                        <a:pt x="362" y="157"/>
                      </a:cubicBezTo>
                      <a:cubicBezTo>
                        <a:pt x="362" y="141"/>
                        <a:pt x="362" y="141"/>
                        <a:pt x="362" y="141"/>
                      </a:cubicBezTo>
                      <a:cubicBezTo>
                        <a:pt x="353" y="124"/>
                        <a:pt x="353" y="124"/>
                        <a:pt x="353" y="124"/>
                      </a:cubicBezTo>
                      <a:cubicBezTo>
                        <a:pt x="353" y="124"/>
                        <a:pt x="360" y="119"/>
                        <a:pt x="359" y="116"/>
                      </a:cubicBezTo>
                      <a:cubicBezTo>
                        <a:pt x="358" y="113"/>
                        <a:pt x="350" y="110"/>
                        <a:pt x="350" y="110"/>
                      </a:cubicBezTo>
                      <a:cubicBezTo>
                        <a:pt x="335" y="85"/>
                        <a:pt x="335" y="85"/>
                        <a:pt x="335" y="85"/>
                      </a:cubicBezTo>
                      <a:cubicBezTo>
                        <a:pt x="325" y="90"/>
                        <a:pt x="325" y="90"/>
                        <a:pt x="325" y="90"/>
                      </a:cubicBezTo>
                      <a:cubicBezTo>
                        <a:pt x="325" y="90"/>
                        <a:pt x="291" y="99"/>
                        <a:pt x="291" y="106"/>
                      </a:cubicBezTo>
                      <a:cubicBezTo>
                        <a:pt x="291" y="113"/>
                        <a:pt x="283" y="114"/>
                        <a:pt x="283" y="114"/>
                      </a:cubicBezTo>
                      <a:cubicBezTo>
                        <a:pt x="273" y="106"/>
                        <a:pt x="273" y="106"/>
                        <a:pt x="273" y="106"/>
                      </a:cubicBezTo>
                      <a:cubicBezTo>
                        <a:pt x="262" y="106"/>
                        <a:pt x="262" y="106"/>
                        <a:pt x="262" y="106"/>
                      </a:cubicBezTo>
                      <a:cubicBezTo>
                        <a:pt x="262" y="106"/>
                        <a:pt x="253" y="99"/>
                        <a:pt x="253" y="95"/>
                      </a:cubicBezTo>
                      <a:cubicBezTo>
                        <a:pt x="253" y="91"/>
                        <a:pt x="245" y="76"/>
                        <a:pt x="245" y="76"/>
                      </a:cubicBezTo>
                      <a:cubicBezTo>
                        <a:pt x="231" y="77"/>
                        <a:pt x="231" y="77"/>
                        <a:pt x="231" y="77"/>
                      </a:cubicBezTo>
                      <a:cubicBezTo>
                        <a:pt x="221" y="67"/>
                        <a:pt x="221" y="67"/>
                        <a:pt x="221" y="67"/>
                      </a:cubicBezTo>
                      <a:cubicBezTo>
                        <a:pt x="223" y="56"/>
                        <a:pt x="223" y="56"/>
                        <a:pt x="223" y="56"/>
                      </a:cubicBezTo>
                      <a:cubicBezTo>
                        <a:pt x="223" y="56"/>
                        <a:pt x="221" y="42"/>
                        <a:pt x="224" y="42"/>
                      </a:cubicBezTo>
                      <a:cubicBezTo>
                        <a:pt x="227" y="42"/>
                        <a:pt x="221" y="27"/>
                        <a:pt x="221" y="27"/>
                      </a:cubicBezTo>
                      <a:cubicBezTo>
                        <a:pt x="221" y="27"/>
                        <a:pt x="212" y="15"/>
                        <a:pt x="212" y="9"/>
                      </a:cubicBezTo>
                      <a:cubicBezTo>
                        <a:pt x="212" y="3"/>
                        <a:pt x="207" y="0"/>
                        <a:pt x="207" y="0"/>
                      </a:cubicBezTo>
                      <a:cubicBezTo>
                        <a:pt x="207" y="0"/>
                        <a:pt x="174" y="6"/>
                        <a:pt x="157" y="7"/>
                      </a:cubicBezTo>
                      <a:cubicBezTo>
                        <a:pt x="140" y="8"/>
                        <a:pt x="143" y="8"/>
                        <a:pt x="115" y="17"/>
                      </a:cubicBezTo>
                      <a:cubicBezTo>
                        <a:pt x="87" y="26"/>
                        <a:pt x="75" y="27"/>
                        <a:pt x="54" y="31"/>
                      </a:cubicBezTo>
                      <a:cubicBezTo>
                        <a:pt x="33" y="35"/>
                        <a:pt x="26" y="54"/>
                        <a:pt x="26" y="54"/>
                      </a:cubicBezTo>
                      <a:cubicBezTo>
                        <a:pt x="7" y="57"/>
                        <a:pt x="7" y="57"/>
                        <a:pt x="7" y="57"/>
                      </a:cubicBezTo>
                      <a:cubicBezTo>
                        <a:pt x="7" y="57"/>
                        <a:pt x="16" y="74"/>
                        <a:pt x="15" y="87"/>
                      </a:cubicBezTo>
                      <a:cubicBezTo>
                        <a:pt x="14" y="100"/>
                        <a:pt x="5" y="100"/>
                        <a:pt x="5" y="106"/>
                      </a:cubicBezTo>
                      <a:cubicBezTo>
                        <a:pt x="5" y="112"/>
                        <a:pt x="14" y="157"/>
                        <a:pt x="14" y="157"/>
                      </a:cubicBezTo>
                      <a:cubicBezTo>
                        <a:pt x="4" y="192"/>
                        <a:pt x="4" y="192"/>
                        <a:pt x="4" y="192"/>
                      </a:cubicBezTo>
                      <a:cubicBezTo>
                        <a:pt x="4" y="192"/>
                        <a:pt x="7" y="201"/>
                        <a:pt x="12" y="203"/>
                      </a:cubicBezTo>
                      <a:cubicBezTo>
                        <a:pt x="4" y="203"/>
                        <a:pt x="0" y="217"/>
                        <a:pt x="1" y="228"/>
                      </a:cubicBezTo>
                      <a:cubicBezTo>
                        <a:pt x="2" y="239"/>
                        <a:pt x="9" y="232"/>
                        <a:pt x="9" y="232"/>
                      </a:cubicBezTo>
                      <a:cubicBezTo>
                        <a:pt x="9" y="232"/>
                        <a:pt x="10" y="233"/>
                        <a:pt x="12" y="235"/>
                      </a:cubicBezTo>
                      <a:cubicBezTo>
                        <a:pt x="21" y="231"/>
                        <a:pt x="35" y="224"/>
                        <a:pt x="39" y="224"/>
                      </a:cubicBezTo>
                      <a:cubicBezTo>
                        <a:pt x="44" y="224"/>
                        <a:pt x="65" y="237"/>
                        <a:pt x="65" y="23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80" name="Picardie" descr="© INSCALE GmbH, 05.05.2010&#10;http://www.presentationload.com/">
                  <a:extLst>
                    <a:ext uri="{FF2B5EF4-FFF2-40B4-BE49-F238E27FC236}">
                      <a16:creationId xmlns:a16="http://schemas.microsoft.com/office/drawing/2014/main" id="{8D1477ED-CFCE-4214-B7E6-C10A06C25A1A}"/>
                    </a:ext>
                  </a:extLst>
                </p:cNvPr>
                <p:cNvSpPr>
                  <a:spLocks/>
                </p:cNvSpPr>
                <p:nvPr/>
              </p:nvSpPr>
              <p:spPr bwMode="gray">
                <a:xfrm>
                  <a:off x="1552" y="410"/>
                  <a:ext cx="644" cy="519"/>
                </a:xfrm>
                <a:custGeom>
                  <a:avLst/>
                  <a:gdLst/>
                  <a:ahLst/>
                  <a:cxnLst>
                    <a:cxn ang="0">
                      <a:pos x="17" y="99"/>
                    </a:cxn>
                    <a:cxn ang="0">
                      <a:pos x="85" y="189"/>
                    </a:cxn>
                    <a:cxn ang="0">
                      <a:pos x="79" y="213"/>
                    </a:cxn>
                    <a:cxn ang="0">
                      <a:pos x="79" y="264"/>
                    </a:cxn>
                    <a:cxn ang="0">
                      <a:pos x="83" y="275"/>
                    </a:cxn>
                    <a:cxn ang="0">
                      <a:pos x="84" y="355"/>
                    </a:cxn>
                    <a:cxn ang="0">
                      <a:pos x="76" y="379"/>
                    </a:cxn>
                    <a:cxn ang="0">
                      <a:pos x="144" y="371"/>
                    </a:cxn>
                    <a:cxn ang="0">
                      <a:pos x="160" y="373"/>
                    </a:cxn>
                    <a:cxn ang="0">
                      <a:pos x="173" y="376"/>
                    </a:cxn>
                    <a:cxn ang="0">
                      <a:pos x="196" y="375"/>
                    </a:cxn>
                    <a:cxn ang="0">
                      <a:pos x="196" y="375"/>
                    </a:cxn>
                    <a:cxn ang="0">
                      <a:pos x="232" y="403"/>
                    </a:cxn>
                    <a:cxn ang="0">
                      <a:pos x="251" y="409"/>
                    </a:cxn>
                    <a:cxn ang="0">
                      <a:pos x="280" y="412"/>
                    </a:cxn>
                    <a:cxn ang="0">
                      <a:pos x="311" y="413"/>
                    </a:cxn>
                    <a:cxn ang="0">
                      <a:pos x="356" y="397"/>
                    </a:cxn>
                    <a:cxn ang="0">
                      <a:pos x="392" y="451"/>
                    </a:cxn>
                    <a:cxn ang="0">
                      <a:pos x="407" y="457"/>
                    </a:cxn>
                    <a:cxn ang="0">
                      <a:pos x="421" y="476"/>
                    </a:cxn>
                    <a:cxn ang="0">
                      <a:pos x="451" y="461"/>
                    </a:cxn>
                    <a:cxn ang="0">
                      <a:pos x="480" y="424"/>
                    </a:cxn>
                    <a:cxn ang="0">
                      <a:pos x="463" y="415"/>
                    </a:cxn>
                    <a:cxn ang="0">
                      <a:pos x="465" y="391"/>
                    </a:cxn>
                    <a:cxn ang="0">
                      <a:pos x="473" y="364"/>
                    </a:cxn>
                    <a:cxn ang="0">
                      <a:pos x="473" y="333"/>
                    </a:cxn>
                    <a:cxn ang="0">
                      <a:pos x="517" y="309"/>
                    </a:cxn>
                    <a:cxn ang="0">
                      <a:pos x="552" y="316"/>
                    </a:cxn>
                    <a:cxn ang="0">
                      <a:pos x="560" y="260"/>
                    </a:cxn>
                    <a:cxn ang="0">
                      <a:pos x="564" y="229"/>
                    </a:cxn>
                    <a:cxn ang="0">
                      <a:pos x="593" y="187"/>
                    </a:cxn>
                    <a:cxn ang="0">
                      <a:pos x="592" y="143"/>
                    </a:cxn>
                    <a:cxn ang="0">
                      <a:pos x="536" y="111"/>
                    </a:cxn>
                    <a:cxn ang="0">
                      <a:pos x="517" y="109"/>
                    </a:cxn>
                    <a:cxn ang="0">
                      <a:pos x="484" y="93"/>
                    </a:cxn>
                    <a:cxn ang="0">
                      <a:pos x="408" y="103"/>
                    </a:cxn>
                    <a:cxn ang="0">
                      <a:pos x="387" y="105"/>
                    </a:cxn>
                    <a:cxn ang="0">
                      <a:pos x="323" y="97"/>
                    </a:cxn>
                    <a:cxn ang="0">
                      <a:pos x="316" y="100"/>
                    </a:cxn>
                    <a:cxn ang="0">
                      <a:pos x="288" y="99"/>
                    </a:cxn>
                    <a:cxn ang="0">
                      <a:pos x="276" y="76"/>
                    </a:cxn>
                    <a:cxn ang="0">
                      <a:pos x="252" y="80"/>
                    </a:cxn>
                    <a:cxn ang="0">
                      <a:pos x="217" y="85"/>
                    </a:cxn>
                    <a:cxn ang="0">
                      <a:pos x="231" y="49"/>
                    </a:cxn>
                    <a:cxn ang="0">
                      <a:pos x="203" y="45"/>
                    </a:cxn>
                    <a:cxn ang="0">
                      <a:pos x="161" y="55"/>
                    </a:cxn>
                    <a:cxn ang="0">
                      <a:pos x="145" y="33"/>
                    </a:cxn>
                    <a:cxn ang="0">
                      <a:pos x="121" y="12"/>
                    </a:cxn>
                    <a:cxn ang="0">
                      <a:pos x="83" y="0"/>
                    </a:cxn>
                    <a:cxn ang="0">
                      <a:pos x="63" y="30"/>
                    </a:cxn>
                    <a:cxn ang="0">
                      <a:pos x="25" y="60"/>
                    </a:cxn>
                    <a:cxn ang="0">
                      <a:pos x="5" y="92"/>
                    </a:cxn>
                  </a:cxnLst>
                  <a:rect l="0" t="0" r="r" b="b"/>
                  <a:pathLst>
                    <a:path w="597" h="481">
                      <a:moveTo>
                        <a:pt x="17" y="95"/>
                      </a:moveTo>
                      <a:cubicBezTo>
                        <a:pt x="17" y="99"/>
                        <a:pt x="17" y="99"/>
                        <a:pt x="17" y="99"/>
                      </a:cubicBezTo>
                      <a:cubicBezTo>
                        <a:pt x="17" y="99"/>
                        <a:pt x="43" y="136"/>
                        <a:pt x="61" y="139"/>
                      </a:cubicBezTo>
                      <a:cubicBezTo>
                        <a:pt x="85" y="189"/>
                        <a:pt x="85" y="189"/>
                        <a:pt x="85" y="189"/>
                      </a:cubicBezTo>
                      <a:cubicBezTo>
                        <a:pt x="85" y="189"/>
                        <a:pt x="64" y="211"/>
                        <a:pt x="68" y="212"/>
                      </a:cubicBezTo>
                      <a:cubicBezTo>
                        <a:pt x="72" y="213"/>
                        <a:pt x="79" y="213"/>
                        <a:pt x="79" y="213"/>
                      </a:cubicBezTo>
                      <a:cubicBezTo>
                        <a:pt x="69" y="244"/>
                        <a:pt x="69" y="244"/>
                        <a:pt x="69" y="244"/>
                      </a:cubicBezTo>
                      <a:cubicBezTo>
                        <a:pt x="79" y="264"/>
                        <a:pt x="79" y="264"/>
                        <a:pt x="79" y="264"/>
                      </a:cubicBezTo>
                      <a:cubicBezTo>
                        <a:pt x="73" y="276"/>
                        <a:pt x="73" y="276"/>
                        <a:pt x="73" y="276"/>
                      </a:cubicBezTo>
                      <a:cubicBezTo>
                        <a:pt x="83" y="275"/>
                        <a:pt x="83" y="275"/>
                        <a:pt x="83" y="275"/>
                      </a:cubicBezTo>
                      <a:cubicBezTo>
                        <a:pt x="73" y="303"/>
                        <a:pt x="73" y="303"/>
                        <a:pt x="73" y="303"/>
                      </a:cubicBezTo>
                      <a:cubicBezTo>
                        <a:pt x="73" y="303"/>
                        <a:pt x="85" y="340"/>
                        <a:pt x="84" y="355"/>
                      </a:cubicBezTo>
                      <a:cubicBezTo>
                        <a:pt x="65" y="349"/>
                        <a:pt x="65" y="349"/>
                        <a:pt x="65" y="349"/>
                      </a:cubicBezTo>
                      <a:cubicBezTo>
                        <a:pt x="76" y="379"/>
                        <a:pt x="76" y="379"/>
                        <a:pt x="76" y="379"/>
                      </a:cubicBezTo>
                      <a:cubicBezTo>
                        <a:pt x="128" y="375"/>
                        <a:pt x="128" y="375"/>
                        <a:pt x="128" y="375"/>
                      </a:cubicBezTo>
                      <a:cubicBezTo>
                        <a:pt x="144" y="371"/>
                        <a:pt x="144" y="371"/>
                        <a:pt x="144" y="371"/>
                      </a:cubicBezTo>
                      <a:cubicBezTo>
                        <a:pt x="151" y="376"/>
                        <a:pt x="151" y="376"/>
                        <a:pt x="151" y="376"/>
                      </a:cubicBezTo>
                      <a:cubicBezTo>
                        <a:pt x="160" y="373"/>
                        <a:pt x="160" y="373"/>
                        <a:pt x="160" y="373"/>
                      </a:cubicBezTo>
                      <a:cubicBezTo>
                        <a:pt x="169" y="383"/>
                        <a:pt x="169" y="383"/>
                        <a:pt x="169" y="383"/>
                      </a:cubicBezTo>
                      <a:cubicBezTo>
                        <a:pt x="173" y="376"/>
                        <a:pt x="173" y="376"/>
                        <a:pt x="173" y="376"/>
                      </a:cubicBezTo>
                      <a:cubicBezTo>
                        <a:pt x="177" y="384"/>
                        <a:pt x="177" y="384"/>
                        <a:pt x="177" y="384"/>
                      </a:cubicBezTo>
                      <a:cubicBezTo>
                        <a:pt x="196" y="375"/>
                        <a:pt x="196" y="375"/>
                        <a:pt x="196" y="375"/>
                      </a:cubicBezTo>
                      <a:cubicBezTo>
                        <a:pt x="197" y="375"/>
                        <a:pt x="197" y="375"/>
                        <a:pt x="197" y="375"/>
                      </a:cubicBezTo>
                      <a:cubicBezTo>
                        <a:pt x="196" y="375"/>
                        <a:pt x="196" y="375"/>
                        <a:pt x="196" y="375"/>
                      </a:cubicBezTo>
                      <a:cubicBezTo>
                        <a:pt x="194" y="376"/>
                        <a:pt x="190" y="380"/>
                        <a:pt x="203" y="383"/>
                      </a:cubicBezTo>
                      <a:cubicBezTo>
                        <a:pt x="219" y="387"/>
                        <a:pt x="237" y="399"/>
                        <a:pt x="232" y="403"/>
                      </a:cubicBezTo>
                      <a:cubicBezTo>
                        <a:pt x="227" y="407"/>
                        <a:pt x="245" y="399"/>
                        <a:pt x="245" y="399"/>
                      </a:cubicBezTo>
                      <a:cubicBezTo>
                        <a:pt x="251" y="409"/>
                        <a:pt x="251" y="409"/>
                        <a:pt x="251" y="409"/>
                      </a:cubicBezTo>
                      <a:cubicBezTo>
                        <a:pt x="251" y="409"/>
                        <a:pt x="253" y="397"/>
                        <a:pt x="260" y="401"/>
                      </a:cubicBezTo>
                      <a:cubicBezTo>
                        <a:pt x="267" y="405"/>
                        <a:pt x="272" y="409"/>
                        <a:pt x="280" y="412"/>
                      </a:cubicBezTo>
                      <a:cubicBezTo>
                        <a:pt x="288" y="415"/>
                        <a:pt x="297" y="405"/>
                        <a:pt x="297" y="405"/>
                      </a:cubicBezTo>
                      <a:cubicBezTo>
                        <a:pt x="311" y="413"/>
                        <a:pt x="311" y="413"/>
                        <a:pt x="311" y="413"/>
                      </a:cubicBezTo>
                      <a:cubicBezTo>
                        <a:pt x="349" y="403"/>
                        <a:pt x="349" y="403"/>
                        <a:pt x="349" y="403"/>
                      </a:cubicBezTo>
                      <a:cubicBezTo>
                        <a:pt x="356" y="397"/>
                        <a:pt x="356" y="397"/>
                        <a:pt x="356" y="397"/>
                      </a:cubicBezTo>
                      <a:cubicBezTo>
                        <a:pt x="356" y="397"/>
                        <a:pt x="380" y="399"/>
                        <a:pt x="376" y="431"/>
                      </a:cubicBezTo>
                      <a:cubicBezTo>
                        <a:pt x="377" y="436"/>
                        <a:pt x="393" y="443"/>
                        <a:pt x="392" y="451"/>
                      </a:cubicBezTo>
                      <a:cubicBezTo>
                        <a:pt x="391" y="459"/>
                        <a:pt x="404" y="449"/>
                        <a:pt x="404" y="449"/>
                      </a:cubicBezTo>
                      <a:cubicBezTo>
                        <a:pt x="407" y="457"/>
                        <a:pt x="407" y="457"/>
                        <a:pt x="407" y="457"/>
                      </a:cubicBezTo>
                      <a:cubicBezTo>
                        <a:pt x="417" y="457"/>
                        <a:pt x="417" y="457"/>
                        <a:pt x="417" y="457"/>
                      </a:cubicBezTo>
                      <a:cubicBezTo>
                        <a:pt x="417" y="457"/>
                        <a:pt x="417" y="476"/>
                        <a:pt x="421" y="476"/>
                      </a:cubicBezTo>
                      <a:cubicBezTo>
                        <a:pt x="425" y="476"/>
                        <a:pt x="441" y="481"/>
                        <a:pt x="441" y="481"/>
                      </a:cubicBezTo>
                      <a:cubicBezTo>
                        <a:pt x="451" y="461"/>
                        <a:pt x="451" y="461"/>
                        <a:pt x="451" y="461"/>
                      </a:cubicBezTo>
                      <a:cubicBezTo>
                        <a:pt x="457" y="459"/>
                        <a:pt x="457" y="459"/>
                        <a:pt x="457" y="459"/>
                      </a:cubicBezTo>
                      <a:cubicBezTo>
                        <a:pt x="457" y="459"/>
                        <a:pt x="487" y="429"/>
                        <a:pt x="480" y="424"/>
                      </a:cubicBezTo>
                      <a:cubicBezTo>
                        <a:pt x="473" y="419"/>
                        <a:pt x="461" y="420"/>
                        <a:pt x="461" y="420"/>
                      </a:cubicBezTo>
                      <a:cubicBezTo>
                        <a:pt x="463" y="415"/>
                        <a:pt x="463" y="415"/>
                        <a:pt x="463" y="415"/>
                      </a:cubicBezTo>
                      <a:cubicBezTo>
                        <a:pt x="471" y="408"/>
                        <a:pt x="471" y="408"/>
                        <a:pt x="471" y="408"/>
                      </a:cubicBezTo>
                      <a:cubicBezTo>
                        <a:pt x="471" y="408"/>
                        <a:pt x="463" y="396"/>
                        <a:pt x="465" y="391"/>
                      </a:cubicBezTo>
                      <a:cubicBezTo>
                        <a:pt x="468" y="385"/>
                        <a:pt x="492" y="380"/>
                        <a:pt x="492" y="380"/>
                      </a:cubicBezTo>
                      <a:cubicBezTo>
                        <a:pt x="473" y="364"/>
                        <a:pt x="473" y="364"/>
                        <a:pt x="473" y="364"/>
                      </a:cubicBezTo>
                      <a:cubicBezTo>
                        <a:pt x="479" y="353"/>
                        <a:pt x="479" y="353"/>
                        <a:pt x="479" y="353"/>
                      </a:cubicBezTo>
                      <a:cubicBezTo>
                        <a:pt x="473" y="333"/>
                        <a:pt x="473" y="333"/>
                        <a:pt x="473" y="333"/>
                      </a:cubicBezTo>
                      <a:cubicBezTo>
                        <a:pt x="473" y="333"/>
                        <a:pt x="495" y="315"/>
                        <a:pt x="512" y="320"/>
                      </a:cubicBezTo>
                      <a:cubicBezTo>
                        <a:pt x="516" y="319"/>
                        <a:pt x="517" y="309"/>
                        <a:pt x="517" y="309"/>
                      </a:cubicBezTo>
                      <a:cubicBezTo>
                        <a:pt x="528" y="303"/>
                        <a:pt x="528" y="303"/>
                        <a:pt x="528" y="303"/>
                      </a:cubicBezTo>
                      <a:cubicBezTo>
                        <a:pt x="528" y="303"/>
                        <a:pt x="547" y="316"/>
                        <a:pt x="552" y="316"/>
                      </a:cubicBezTo>
                      <a:cubicBezTo>
                        <a:pt x="557" y="316"/>
                        <a:pt x="552" y="267"/>
                        <a:pt x="552" y="267"/>
                      </a:cubicBezTo>
                      <a:cubicBezTo>
                        <a:pt x="560" y="260"/>
                        <a:pt x="560" y="260"/>
                        <a:pt x="560" y="260"/>
                      </a:cubicBezTo>
                      <a:cubicBezTo>
                        <a:pt x="548" y="231"/>
                        <a:pt x="548" y="231"/>
                        <a:pt x="548" y="231"/>
                      </a:cubicBezTo>
                      <a:cubicBezTo>
                        <a:pt x="564" y="229"/>
                        <a:pt x="564" y="229"/>
                        <a:pt x="564" y="229"/>
                      </a:cubicBezTo>
                      <a:cubicBezTo>
                        <a:pt x="571" y="215"/>
                        <a:pt x="571" y="215"/>
                        <a:pt x="571" y="215"/>
                      </a:cubicBezTo>
                      <a:cubicBezTo>
                        <a:pt x="593" y="187"/>
                        <a:pt x="593" y="187"/>
                        <a:pt x="593" y="187"/>
                      </a:cubicBezTo>
                      <a:cubicBezTo>
                        <a:pt x="587" y="180"/>
                        <a:pt x="587" y="180"/>
                        <a:pt x="587" y="180"/>
                      </a:cubicBezTo>
                      <a:cubicBezTo>
                        <a:pt x="592" y="143"/>
                        <a:pt x="592" y="143"/>
                        <a:pt x="592" y="143"/>
                      </a:cubicBezTo>
                      <a:cubicBezTo>
                        <a:pt x="592" y="143"/>
                        <a:pt x="583" y="130"/>
                        <a:pt x="597" y="110"/>
                      </a:cubicBezTo>
                      <a:cubicBezTo>
                        <a:pt x="566" y="131"/>
                        <a:pt x="536" y="111"/>
                        <a:pt x="536" y="111"/>
                      </a:cubicBezTo>
                      <a:cubicBezTo>
                        <a:pt x="536" y="97"/>
                        <a:pt x="536" y="97"/>
                        <a:pt x="536" y="97"/>
                      </a:cubicBezTo>
                      <a:cubicBezTo>
                        <a:pt x="517" y="109"/>
                        <a:pt x="517" y="109"/>
                        <a:pt x="517" y="109"/>
                      </a:cubicBezTo>
                      <a:cubicBezTo>
                        <a:pt x="517" y="103"/>
                        <a:pt x="517" y="103"/>
                        <a:pt x="517" y="103"/>
                      </a:cubicBezTo>
                      <a:cubicBezTo>
                        <a:pt x="484" y="93"/>
                        <a:pt x="484" y="93"/>
                        <a:pt x="484" y="93"/>
                      </a:cubicBezTo>
                      <a:cubicBezTo>
                        <a:pt x="457" y="115"/>
                        <a:pt x="447" y="99"/>
                        <a:pt x="448" y="95"/>
                      </a:cubicBezTo>
                      <a:cubicBezTo>
                        <a:pt x="444" y="113"/>
                        <a:pt x="408" y="103"/>
                        <a:pt x="408" y="103"/>
                      </a:cubicBezTo>
                      <a:cubicBezTo>
                        <a:pt x="403" y="115"/>
                        <a:pt x="392" y="111"/>
                        <a:pt x="392" y="111"/>
                      </a:cubicBezTo>
                      <a:cubicBezTo>
                        <a:pt x="392" y="111"/>
                        <a:pt x="392" y="107"/>
                        <a:pt x="387" y="105"/>
                      </a:cubicBezTo>
                      <a:cubicBezTo>
                        <a:pt x="364" y="117"/>
                        <a:pt x="357" y="97"/>
                        <a:pt x="357" y="97"/>
                      </a:cubicBezTo>
                      <a:cubicBezTo>
                        <a:pt x="323" y="97"/>
                        <a:pt x="323" y="97"/>
                        <a:pt x="323" y="97"/>
                      </a:cubicBezTo>
                      <a:cubicBezTo>
                        <a:pt x="309" y="108"/>
                        <a:pt x="309" y="108"/>
                        <a:pt x="309" y="108"/>
                      </a:cubicBezTo>
                      <a:cubicBezTo>
                        <a:pt x="316" y="100"/>
                        <a:pt x="316" y="100"/>
                        <a:pt x="316" y="100"/>
                      </a:cubicBezTo>
                      <a:cubicBezTo>
                        <a:pt x="307" y="89"/>
                        <a:pt x="307" y="89"/>
                        <a:pt x="307" y="89"/>
                      </a:cubicBezTo>
                      <a:cubicBezTo>
                        <a:pt x="288" y="99"/>
                        <a:pt x="288" y="99"/>
                        <a:pt x="288" y="99"/>
                      </a:cubicBezTo>
                      <a:cubicBezTo>
                        <a:pt x="292" y="79"/>
                        <a:pt x="292" y="79"/>
                        <a:pt x="292" y="79"/>
                      </a:cubicBezTo>
                      <a:cubicBezTo>
                        <a:pt x="276" y="76"/>
                        <a:pt x="276" y="76"/>
                        <a:pt x="276" y="76"/>
                      </a:cubicBezTo>
                      <a:cubicBezTo>
                        <a:pt x="271" y="89"/>
                        <a:pt x="271" y="89"/>
                        <a:pt x="271" y="89"/>
                      </a:cubicBezTo>
                      <a:cubicBezTo>
                        <a:pt x="271" y="89"/>
                        <a:pt x="252" y="87"/>
                        <a:pt x="252" y="80"/>
                      </a:cubicBezTo>
                      <a:cubicBezTo>
                        <a:pt x="252" y="73"/>
                        <a:pt x="237" y="76"/>
                        <a:pt x="237" y="76"/>
                      </a:cubicBezTo>
                      <a:cubicBezTo>
                        <a:pt x="237" y="65"/>
                        <a:pt x="217" y="85"/>
                        <a:pt x="217" y="85"/>
                      </a:cubicBezTo>
                      <a:cubicBezTo>
                        <a:pt x="217" y="85"/>
                        <a:pt x="207" y="91"/>
                        <a:pt x="207" y="80"/>
                      </a:cubicBezTo>
                      <a:cubicBezTo>
                        <a:pt x="207" y="69"/>
                        <a:pt x="231" y="49"/>
                        <a:pt x="231" y="49"/>
                      </a:cubicBezTo>
                      <a:cubicBezTo>
                        <a:pt x="224" y="39"/>
                        <a:pt x="224" y="39"/>
                        <a:pt x="224" y="39"/>
                      </a:cubicBezTo>
                      <a:cubicBezTo>
                        <a:pt x="203" y="45"/>
                        <a:pt x="203" y="45"/>
                        <a:pt x="203" y="45"/>
                      </a:cubicBezTo>
                      <a:cubicBezTo>
                        <a:pt x="187" y="41"/>
                        <a:pt x="187" y="41"/>
                        <a:pt x="187" y="41"/>
                      </a:cubicBezTo>
                      <a:cubicBezTo>
                        <a:pt x="161" y="55"/>
                        <a:pt x="161" y="55"/>
                        <a:pt x="161" y="55"/>
                      </a:cubicBezTo>
                      <a:cubicBezTo>
                        <a:pt x="153" y="51"/>
                        <a:pt x="153" y="51"/>
                        <a:pt x="153" y="51"/>
                      </a:cubicBezTo>
                      <a:cubicBezTo>
                        <a:pt x="145" y="33"/>
                        <a:pt x="145" y="33"/>
                        <a:pt x="145" y="33"/>
                      </a:cubicBezTo>
                      <a:cubicBezTo>
                        <a:pt x="123" y="23"/>
                        <a:pt x="123" y="23"/>
                        <a:pt x="123" y="23"/>
                      </a:cubicBezTo>
                      <a:cubicBezTo>
                        <a:pt x="121" y="12"/>
                        <a:pt x="121" y="12"/>
                        <a:pt x="121" y="12"/>
                      </a:cubicBezTo>
                      <a:cubicBezTo>
                        <a:pt x="109" y="13"/>
                        <a:pt x="109" y="13"/>
                        <a:pt x="109" y="13"/>
                      </a:cubicBezTo>
                      <a:cubicBezTo>
                        <a:pt x="109" y="13"/>
                        <a:pt x="88" y="0"/>
                        <a:pt x="83" y="0"/>
                      </a:cubicBezTo>
                      <a:cubicBezTo>
                        <a:pt x="79" y="0"/>
                        <a:pt x="65" y="7"/>
                        <a:pt x="56" y="11"/>
                      </a:cubicBezTo>
                      <a:cubicBezTo>
                        <a:pt x="60" y="16"/>
                        <a:pt x="69" y="27"/>
                        <a:pt x="63" y="30"/>
                      </a:cubicBezTo>
                      <a:cubicBezTo>
                        <a:pt x="55" y="34"/>
                        <a:pt x="45" y="21"/>
                        <a:pt x="45" y="21"/>
                      </a:cubicBezTo>
                      <a:cubicBezTo>
                        <a:pt x="35" y="27"/>
                        <a:pt x="25" y="60"/>
                        <a:pt x="25" y="60"/>
                      </a:cubicBezTo>
                      <a:cubicBezTo>
                        <a:pt x="25" y="60"/>
                        <a:pt x="14" y="68"/>
                        <a:pt x="0" y="77"/>
                      </a:cubicBezTo>
                      <a:cubicBezTo>
                        <a:pt x="5" y="92"/>
                        <a:pt x="5" y="92"/>
                        <a:pt x="5" y="92"/>
                      </a:cubicBezTo>
                      <a:lnTo>
                        <a:pt x="17" y="95"/>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81" name="Haute Normandie" descr="© INSCALE GmbH, 05.05.2010&#10;http://www.presentationload.com/">
                  <a:extLst>
                    <a:ext uri="{FF2B5EF4-FFF2-40B4-BE49-F238E27FC236}">
                      <a16:creationId xmlns:a16="http://schemas.microsoft.com/office/drawing/2014/main" id="{44BDFBC7-BF7E-4218-BE08-29BB7B1F94CF}"/>
                    </a:ext>
                  </a:extLst>
                </p:cNvPr>
                <p:cNvSpPr>
                  <a:spLocks/>
                </p:cNvSpPr>
                <p:nvPr/>
              </p:nvSpPr>
              <p:spPr bwMode="gray">
                <a:xfrm>
                  <a:off x="1259" y="493"/>
                  <a:ext cx="385" cy="503"/>
                </a:xfrm>
                <a:custGeom>
                  <a:avLst/>
                  <a:gdLst/>
                  <a:ahLst/>
                  <a:cxnLst>
                    <a:cxn ang="0">
                      <a:pos x="355" y="198"/>
                    </a:cxn>
                    <a:cxn ang="0">
                      <a:pos x="345" y="199"/>
                    </a:cxn>
                    <a:cxn ang="0">
                      <a:pos x="351" y="187"/>
                    </a:cxn>
                    <a:cxn ang="0">
                      <a:pos x="341" y="167"/>
                    </a:cxn>
                    <a:cxn ang="0">
                      <a:pos x="351" y="136"/>
                    </a:cxn>
                    <a:cxn ang="0">
                      <a:pos x="340" y="135"/>
                    </a:cxn>
                    <a:cxn ang="0">
                      <a:pos x="357" y="112"/>
                    </a:cxn>
                    <a:cxn ang="0">
                      <a:pos x="333" y="62"/>
                    </a:cxn>
                    <a:cxn ang="0">
                      <a:pos x="289" y="22"/>
                    </a:cxn>
                    <a:cxn ang="0">
                      <a:pos x="289" y="18"/>
                    </a:cxn>
                    <a:cxn ang="0">
                      <a:pos x="277" y="15"/>
                    </a:cxn>
                    <a:cxn ang="0">
                      <a:pos x="272" y="0"/>
                    </a:cxn>
                    <a:cxn ang="0">
                      <a:pos x="220" y="29"/>
                    </a:cxn>
                    <a:cxn ang="0">
                      <a:pos x="155" y="47"/>
                    </a:cxn>
                    <a:cxn ang="0">
                      <a:pos x="108" y="50"/>
                    </a:cxn>
                    <a:cxn ang="0">
                      <a:pos x="30" y="93"/>
                    </a:cxn>
                    <a:cxn ang="0">
                      <a:pos x="0" y="150"/>
                    </a:cxn>
                    <a:cxn ang="0">
                      <a:pos x="10" y="167"/>
                    </a:cxn>
                    <a:cxn ang="0">
                      <a:pos x="39" y="178"/>
                    </a:cxn>
                    <a:cxn ang="0">
                      <a:pos x="52" y="263"/>
                    </a:cxn>
                    <a:cxn ang="0">
                      <a:pos x="53" y="271"/>
                    </a:cxn>
                    <a:cxn ang="0">
                      <a:pos x="67" y="288"/>
                    </a:cxn>
                    <a:cxn ang="0">
                      <a:pos x="67" y="303"/>
                    </a:cxn>
                    <a:cxn ang="0">
                      <a:pos x="72" y="311"/>
                    </a:cxn>
                    <a:cxn ang="0">
                      <a:pos x="71" y="331"/>
                    </a:cxn>
                    <a:cxn ang="0">
                      <a:pos x="63" y="332"/>
                    </a:cxn>
                    <a:cxn ang="0">
                      <a:pos x="72" y="344"/>
                    </a:cxn>
                    <a:cxn ang="0">
                      <a:pos x="65" y="379"/>
                    </a:cxn>
                    <a:cxn ang="0">
                      <a:pos x="72" y="388"/>
                    </a:cxn>
                    <a:cxn ang="0">
                      <a:pos x="105" y="390"/>
                    </a:cxn>
                    <a:cxn ang="0">
                      <a:pos x="112" y="410"/>
                    </a:cxn>
                    <a:cxn ang="0">
                      <a:pos x="136" y="448"/>
                    </a:cxn>
                    <a:cxn ang="0">
                      <a:pos x="139" y="459"/>
                    </a:cxn>
                    <a:cxn ang="0">
                      <a:pos x="167" y="444"/>
                    </a:cxn>
                    <a:cxn ang="0">
                      <a:pos x="201" y="434"/>
                    </a:cxn>
                    <a:cxn ang="0">
                      <a:pos x="211" y="438"/>
                    </a:cxn>
                    <a:cxn ang="0">
                      <a:pos x="212" y="427"/>
                    </a:cxn>
                    <a:cxn ang="0">
                      <a:pos x="263" y="431"/>
                    </a:cxn>
                    <a:cxn ang="0">
                      <a:pos x="268" y="408"/>
                    </a:cxn>
                    <a:cxn ang="0">
                      <a:pos x="288" y="395"/>
                    </a:cxn>
                    <a:cxn ang="0">
                      <a:pos x="288" y="383"/>
                    </a:cxn>
                    <a:cxn ang="0">
                      <a:pos x="297" y="379"/>
                    </a:cxn>
                    <a:cxn ang="0">
                      <a:pos x="284" y="343"/>
                    </a:cxn>
                    <a:cxn ang="0">
                      <a:pos x="297" y="338"/>
                    </a:cxn>
                    <a:cxn ang="0">
                      <a:pos x="295" y="331"/>
                    </a:cxn>
                    <a:cxn ang="0">
                      <a:pos x="323" y="328"/>
                    </a:cxn>
                    <a:cxn ang="0">
                      <a:pos x="340" y="281"/>
                    </a:cxn>
                    <a:cxn ang="0">
                      <a:pos x="337" y="272"/>
                    </a:cxn>
                    <a:cxn ang="0">
                      <a:pos x="354" y="277"/>
                    </a:cxn>
                    <a:cxn ang="0">
                      <a:pos x="356" y="278"/>
                    </a:cxn>
                    <a:cxn ang="0">
                      <a:pos x="356" y="277"/>
                    </a:cxn>
                    <a:cxn ang="0">
                      <a:pos x="345" y="226"/>
                    </a:cxn>
                    <a:cxn ang="0">
                      <a:pos x="355" y="198"/>
                    </a:cxn>
                  </a:cxnLst>
                  <a:rect l="0" t="0" r="r" b="b"/>
                  <a:pathLst>
                    <a:path w="357" h="466">
                      <a:moveTo>
                        <a:pt x="355" y="198"/>
                      </a:moveTo>
                      <a:cubicBezTo>
                        <a:pt x="345" y="199"/>
                        <a:pt x="345" y="199"/>
                        <a:pt x="345" y="199"/>
                      </a:cubicBezTo>
                      <a:cubicBezTo>
                        <a:pt x="351" y="187"/>
                        <a:pt x="351" y="187"/>
                        <a:pt x="351" y="187"/>
                      </a:cubicBezTo>
                      <a:cubicBezTo>
                        <a:pt x="341" y="167"/>
                        <a:pt x="341" y="167"/>
                        <a:pt x="341" y="167"/>
                      </a:cubicBezTo>
                      <a:cubicBezTo>
                        <a:pt x="351" y="136"/>
                        <a:pt x="351" y="136"/>
                        <a:pt x="351" y="136"/>
                      </a:cubicBezTo>
                      <a:cubicBezTo>
                        <a:pt x="351" y="136"/>
                        <a:pt x="344" y="136"/>
                        <a:pt x="340" y="135"/>
                      </a:cubicBezTo>
                      <a:cubicBezTo>
                        <a:pt x="336" y="134"/>
                        <a:pt x="357" y="112"/>
                        <a:pt x="357" y="112"/>
                      </a:cubicBezTo>
                      <a:cubicBezTo>
                        <a:pt x="333" y="62"/>
                        <a:pt x="333" y="62"/>
                        <a:pt x="333" y="62"/>
                      </a:cubicBezTo>
                      <a:cubicBezTo>
                        <a:pt x="315" y="59"/>
                        <a:pt x="289" y="22"/>
                        <a:pt x="289" y="22"/>
                      </a:cubicBezTo>
                      <a:cubicBezTo>
                        <a:pt x="289" y="18"/>
                        <a:pt x="289" y="18"/>
                        <a:pt x="289" y="18"/>
                      </a:cubicBezTo>
                      <a:cubicBezTo>
                        <a:pt x="277" y="15"/>
                        <a:pt x="277" y="15"/>
                        <a:pt x="277" y="15"/>
                      </a:cubicBezTo>
                      <a:cubicBezTo>
                        <a:pt x="272" y="0"/>
                        <a:pt x="272" y="0"/>
                        <a:pt x="272" y="0"/>
                      </a:cubicBezTo>
                      <a:cubicBezTo>
                        <a:pt x="255" y="11"/>
                        <a:pt x="233" y="25"/>
                        <a:pt x="220" y="29"/>
                      </a:cubicBezTo>
                      <a:cubicBezTo>
                        <a:pt x="196" y="38"/>
                        <a:pt x="155" y="47"/>
                        <a:pt x="155" y="47"/>
                      </a:cubicBezTo>
                      <a:cubicBezTo>
                        <a:pt x="155" y="47"/>
                        <a:pt x="110" y="54"/>
                        <a:pt x="108" y="50"/>
                      </a:cubicBezTo>
                      <a:cubicBezTo>
                        <a:pt x="81" y="78"/>
                        <a:pt x="30" y="93"/>
                        <a:pt x="30" y="93"/>
                      </a:cubicBezTo>
                      <a:cubicBezTo>
                        <a:pt x="0" y="150"/>
                        <a:pt x="0" y="150"/>
                        <a:pt x="0" y="150"/>
                      </a:cubicBezTo>
                      <a:cubicBezTo>
                        <a:pt x="10" y="167"/>
                        <a:pt x="10" y="167"/>
                        <a:pt x="10" y="167"/>
                      </a:cubicBezTo>
                      <a:cubicBezTo>
                        <a:pt x="10" y="167"/>
                        <a:pt x="44" y="176"/>
                        <a:pt x="39" y="178"/>
                      </a:cubicBezTo>
                      <a:cubicBezTo>
                        <a:pt x="52" y="263"/>
                        <a:pt x="52" y="263"/>
                        <a:pt x="52" y="263"/>
                      </a:cubicBezTo>
                      <a:cubicBezTo>
                        <a:pt x="52" y="263"/>
                        <a:pt x="84" y="260"/>
                        <a:pt x="53" y="271"/>
                      </a:cubicBezTo>
                      <a:cubicBezTo>
                        <a:pt x="51" y="278"/>
                        <a:pt x="67" y="288"/>
                        <a:pt x="67" y="288"/>
                      </a:cubicBezTo>
                      <a:cubicBezTo>
                        <a:pt x="67" y="303"/>
                        <a:pt x="67" y="303"/>
                        <a:pt x="67" y="303"/>
                      </a:cubicBezTo>
                      <a:cubicBezTo>
                        <a:pt x="72" y="311"/>
                        <a:pt x="72" y="311"/>
                        <a:pt x="72" y="311"/>
                      </a:cubicBezTo>
                      <a:cubicBezTo>
                        <a:pt x="71" y="331"/>
                        <a:pt x="71" y="331"/>
                        <a:pt x="71" y="331"/>
                      </a:cubicBezTo>
                      <a:cubicBezTo>
                        <a:pt x="63" y="332"/>
                        <a:pt x="63" y="332"/>
                        <a:pt x="63" y="332"/>
                      </a:cubicBezTo>
                      <a:cubicBezTo>
                        <a:pt x="72" y="344"/>
                        <a:pt x="72" y="344"/>
                        <a:pt x="72" y="344"/>
                      </a:cubicBezTo>
                      <a:cubicBezTo>
                        <a:pt x="72" y="344"/>
                        <a:pt x="72" y="374"/>
                        <a:pt x="65" y="379"/>
                      </a:cubicBezTo>
                      <a:cubicBezTo>
                        <a:pt x="59" y="384"/>
                        <a:pt x="72" y="388"/>
                        <a:pt x="72" y="388"/>
                      </a:cubicBezTo>
                      <a:cubicBezTo>
                        <a:pt x="105" y="390"/>
                        <a:pt x="105" y="390"/>
                        <a:pt x="105" y="390"/>
                      </a:cubicBezTo>
                      <a:cubicBezTo>
                        <a:pt x="112" y="410"/>
                        <a:pt x="112" y="410"/>
                        <a:pt x="112" y="410"/>
                      </a:cubicBezTo>
                      <a:cubicBezTo>
                        <a:pt x="112" y="410"/>
                        <a:pt x="157" y="434"/>
                        <a:pt x="136" y="448"/>
                      </a:cubicBezTo>
                      <a:cubicBezTo>
                        <a:pt x="132" y="448"/>
                        <a:pt x="139" y="459"/>
                        <a:pt x="139" y="459"/>
                      </a:cubicBezTo>
                      <a:cubicBezTo>
                        <a:pt x="139" y="459"/>
                        <a:pt x="159" y="466"/>
                        <a:pt x="167" y="444"/>
                      </a:cubicBezTo>
                      <a:cubicBezTo>
                        <a:pt x="171" y="444"/>
                        <a:pt x="179" y="456"/>
                        <a:pt x="201" y="434"/>
                      </a:cubicBezTo>
                      <a:cubicBezTo>
                        <a:pt x="203" y="438"/>
                        <a:pt x="211" y="438"/>
                        <a:pt x="211" y="438"/>
                      </a:cubicBezTo>
                      <a:cubicBezTo>
                        <a:pt x="212" y="427"/>
                        <a:pt x="212" y="427"/>
                        <a:pt x="212" y="427"/>
                      </a:cubicBezTo>
                      <a:cubicBezTo>
                        <a:pt x="212" y="427"/>
                        <a:pt x="256" y="442"/>
                        <a:pt x="263" y="431"/>
                      </a:cubicBezTo>
                      <a:cubicBezTo>
                        <a:pt x="269" y="420"/>
                        <a:pt x="268" y="408"/>
                        <a:pt x="268" y="408"/>
                      </a:cubicBezTo>
                      <a:cubicBezTo>
                        <a:pt x="268" y="408"/>
                        <a:pt x="287" y="400"/>
                        <a:pt x="288" y="395"/>
                      </a:cubicBezTo>
                      <a:cubicBezTo>
                        <a:pt x="289" y="390"/>
                        <a:pt x="288" y="383"/>
                        <a:pt x="288" y="383"/>
                      </a:cubicBezTo>
                      <a:cubicBezTo>
                        <a:pt x="297" y="379"/>
                        <a:pt x="297" y="379"/>
                        <a:pt x="297" y="379"/>
                      </a:cubicBezTo>
                      <a:cubicBezTo>
                        <a:pt x="284" y="343"/>
                        <a:pt x="284" y="343"/>
                        <a:pt x="284" y="343"/>
                      </a:cubicBezTo>
                      <a:cubicBezTo>
                        <a:pt x="284" y="343"/>
                        <a:pt x="301" y="338"/>
                        <a:pt x="297" y="338"/>
                      </a:cubicBezTo>
                      <a:cubicBezTo>
                        <a:pt x="293" y="338"/>
                        <a:pt x="295" y="331"/>
                        <a:pt x="295" y="331"/>
                      </a:cubicBezTo>
                      <a:cubicBezTo>
                        <a:pt x="323" y="328"/>
                        <a:pt x="323" y="328"/>
                        <a:pt x="323" y="328"/>
                      </a:cubicBezTo>
                      <a:cubicBezTo>
                        <a:pt x="340" y="281"/>
                        <a:pt x="340" y="281"/>
                        <a:pt x="340" y="281"/>
                      </a:cubicBezTo>
                      <a:cubicBezTo>
                        <a:pt x="337" y="272"/>
                        <a:pt x="337" y="272"/>
                        <a:pt x="337" y="272"/>
                      </a:cubicBezTo>
                      <a:cubicBezTo>
                        <a:pt x="354" y="277"/>
                        <a:pt x="354" y="277"/>
                        <a:pt x="354" y="277"/>
                      </a:cubicBezTo>
                      <a:cubicBezTo>
                        <a:pt x="356" y="278"/>
                        <a:pt x="356" y="278"/>
                        <a:pt x="356" y="278"/>
                      </a:cubicBezTo>
                      <a:cubicBezTo>
                        <a:pt x="356" y="278"/>
                        <a:pt x="356" y="277"/>
                        <a:pt x="356" y="277"/>
                      </a:cubicBezTo>
                      <a:cubicBezTo>
                        <a:pt x="357" y="262"/>
                        <a:pt x="345" y="226"/>
                        <a:pt x="345" y="226"/>
                      </a:cubicBezTo>
                      <a:lnTo>
                        <a:pt x="355" y="198"/>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82" name="Ile-de-France" descr="© INSCALE GmbH, 05.05.2010&#10;http://www.presentationload.com/">
                  <a:extLst>
                    <a:ext uri="{FF2B5EF4-FFF2-40B4-BE49-F238E27FC236}">
                      <a16:creationId xmlns:a16="http://schemas.microsoft.com/office/drawing/2014/main" id="{B928C5ED-101A-4CF2-8C79-1A9569022972}"/>
                    </a:ext>
                  </a:extLst>
                </p:cNvPr>
                <p:cNvSpPr>
                  <a:spLocks/>
                </p:cNvSpPr>
                <p:nvPr/>
              </p:nvSpPr>
              <p:spPr bwMode="gray">
                <a:xfrm>
                  <a:off x="1565" y="796"/>
                  <a:ext cx="483" cy="386"/>
                </a:xfrm>
                <a:custGeom>
                  <a:avLst/>
                  <a:gdLst/>
                  <a:ahLst/>
                  <a:cxnLst>
                    <a:cxn ang="0">
                      <a:pos x="31" y="127"/>
                    </a:cxn>
                    <a:cxn ang="0">
                      <a:pos x="36" y="158"/>
                    </a:cxn>
                    <a:cxn ang="0">
                      <a:pos x="35" y="177"/>
                    </a:cxn>
                    <a:cxn ang="0">
                      <a:pos x="48" y="199"/>
                    </a:cxn>
                    <a:cxn ang="0">
                      <a:pos x="56" y="214"/>
                    </a:cxn>
                    <a:cxn ang="0">
                      <a:pos x="71" y="246"/>
                    </a:cxn>
                    <a:cxn ang="0">
                      <a:pos x="103" y="267"/>
                    </a:cxn>
                    <a:cxn ang="0">
                      <a:pos x="111" y="303"/>
                    </a:cxn>
                    <a:cxn ang="0">
                      <a:pos x="153" y="301"/>
                    </a:cxn>
                    <a:cxn ang="0">
                      <a:pos x="167" y="290"/>
                    </a:cxn>
                    <a:cxn ang="0">
                      <a:pos x="183" y="293"/>
                    </a:cxn>
                    <a:cxn ang="0">
                      <a:pos x="201" y="297"/>
                    </a:cxn>
                    <a:cxn ang="0">
                      <a:pos x="229" y="338"/>
                    </a:cxn>
                    <a:cxn ang="0">
                      <a:pos x="273" y="354"/>
                    </a:cxn>
                    <a:cxn ang="0">
                      <a:pos x="285" y="346"/>
                    </a:cxn>
                    <a:cxn ang="0">
                      <a:pos x="316" y="345"/>
                    </a:cxn>
                    <a:cxn ang="0">
                      <a:pos x="333" y="297"/>
                    </a:cxn>
                    <a:cxn ang="0">
                      <a:pos x="400" y="277"/>
                    </a:cxn>
                    <a:cxn ang="0">
                      <a:pos x="411" y="243"/>
                    </a:cxn>
                    <a:cxn ang="0">
                      <a:pos x="413" y="225"/>
                    </a:cxn>
                    <a:cxn ang="0">
                      <a:pos x="424" y="210"/>
                    </a:cxn>
                    <a:cxn ang="0">
                      <a:pos x="437" y="199"/>
                    </a:cxn>
                    <a:cxn ang="0">
                      <a:pos x="440" y="191"/>
                    </a:cxn>
                    <a:cxn ang="0">
                      <a:pos x="425" y="158"/>
                    </a:cxn>
                    <a:cxn ang="0">
                      <a:pos x="411" y="147"/>
                    </a:cxn>
                    <a:cxn ang="0">
                      <a:pos x="412" y="137"/>
                    </a:cxn>
                    <a:cxn ang="0">
                      <a:pos x="428" y="123"/>
                    </a:cxn>
                    <a:cxn ang="0">
                      <a:pos x="405" y="99"/>
                    </a:cxn>
                    <a:cxn ang="0">
                      <a:pos x="392" y="91"/>
                    </a:cxn>
                    <a:cxn ang="0">
                      <a:pos x="364" y="73"/>
                    </a:cxn>
                    <a:cxn ang="0">
                      <a:pos x="337" y="45"/>
                    </a:cxn>
                    <a:cxn ang="0">
                      <a:pos x="285" y="47"/>
                    </a:cxn>
                    <a:cxn ang="0">
                      <a:pos x="248" y="43"/>
                    </a:cxn>
                    <a:cxn ang="0">
                      <a:pos x="233" y="41"/>
                    </a:cxn>
                    <a:cxn ang="0">
                      <a:pos x="191" y="25"/>
                    </a:cxn>
                    <a:cxn ang="0">
                      <a:pos x="165" y="26"/>
                    </a:cxn>
                    <a:cxn ang="0">
                      <a:pos x="157" y="25"/>
                    </a:cxn>
                    <a:cxn ang="0">
                      <a:pos x="139" y="18"/>
                    </a:cxn>
                    <a:cxn ang="0">
                      <a:pos x="116" y="17"/>
                    </a:cxn>
                    <a:cxn ang="0">
                      <a:pos x="56" y="0"/>
                    </a:cxn>
                    <a:cxn ang="0">
                      <a:pos x="11" y="50"/>
                    </a:cxn>
                    <a:cxn ang="0">
                      <a:pos x="0" y="62"/>
                    </a:cxn>
                    <a:cxn ang="0">
                      <a:pos x="12" y="99"/>
                    </a:cxn>
                    <a:cxn ang="0">
                      <a:pos x="23" y="122"/>
                    </a:cxn>
                  </a:cxnLst>
                  <a:rect l="0" t="0" r="r" b="b"/>
                  <a:pathLst>
                    <a:path w="448" h="357">
                      <a:moveTo>
                        <a:pt x="23" y="122"/>
                      </a:moveTo>
                      <a:cubicBezTo>
                        <a:pt x="31" y="127"/>
                        <a:pt x="31" y="127"/>
                        <a:pt x="31" y="127"/>
                      </a:cubicBezTo>
                      <a:cubicBezTo>
                        <a:pt x="29" y="151"/>
                        <a:pt x="29" y="151"/>
                        <a:pt x="29" y="151"/>
                      </a:cubicBezTo>
                      <a:cubicBezTo>
                        <a:pt x="36" y="158"/>
                        <a:pt x="36" y="158"/>
                        <a:pt x="36" y="158"/>
                      </a:cubicBezTo>
                      <a:cubicBezTo>
                        <a:pt x="25" y="173"/>
                        <a:pt x="25" y="173"/>
                        <a:pt x="25" y="173"/>
                      </a:cubicBezTo>
                      <a:cubicBezTo>
                        <a:pt x="35" y="177"/>
                        <a:pt x="35" y="177"/>
                        <a:pt x="35" y="177"/>
                      </a:cubicBezTo>
                      <a:cubicBezTo>
                        <a:pt x="33" y="187"/>
                        <a:pt x="33" y="187"/>
                        <a:pt x="33" y="187"/>
                      </a:cubicBezTo>
                      <a:cubicBezTo>
                        <a:pt x="48" y="199"/>
                        <a:pt x="48" y="199"/>
                        <a:pt x="48" y="199"/>
                      </a:cubicBezTo>
                      <a:cubicBezTo>
                        <a:pt x="57" y="202"/>
                        <a:pt x="57" y="202"/>
                        <a:pt x="57" y="202"/>
                      </a:cubicBezTo>
                      <a:cubicBezTo>
                        <a:pt x="56" y="214"/>
                        <a:pt x="56" y="214"/>
                        <a:pt x="56" y="214"/>
                      </a:cubicBezTo>
                      <a:cubicBezTo>
                        <a:pt x="69" y="221"/>
                        <a:pt x="69" y="221"/>
                        <a:pt x="69" y="221"/>
                      </a:cubicBezTo>
                      <a:cubicBezTo>
                        <a:pt x="71" y="246"/>
                        <a:pt x="71" y="246"/>
                        <a:pt x="71" y="246"/>
                      </a:cubicBezTo>
                      <a:cubicBezTo>
                        <a:pt x="71" y="246"/>
                        <a:pt x="95" y="261"/>
                        <a:pt x="97" y="253"/>
                      </a:cubicBezTo>
                      <a:cubicBezTo>
                        <a:pt x="101" y="254"/>
                        <a:pt x="103" y="267"/>
                        <a:pt x="103" y="267"/>
                      </a:cubicBezTo>
                      <a:cubicBezTo>
                        <a:pt x="113" y="269"/>
                        <a:pt x="113" y="269"/>
                        <a:pt x="113" y="269"/>
                      </a:cubicBezTo>
                      <a:cubicBezTo>
                        <a:pt x="113" y="269"/>
                        <a:pt x="101" y="295"/>
                        <a:pt x="111" y="303"/>
                      </a:cubicBezTo>
                      <a:cubicBezTo>
                        <a:pt x="120" y="311"/>
                        <a:pt x="127" y="301"/>
                        <a:pt x="135" y="301"/>
                      </a:cubicBezTo>
                      <a:cubicBezTo>
                        <a:pt x="143" y="301"/>
                        <a:pt x="153" y="301"/>
                        <a:pt x="153" y="301"/>
                      </a:cubicBezTo>
                      <a:cubicBezTo>
                        <a:pt x="160" y="287"/>
                        <a:pt x="160" y="287"/>
                        <a:pt x="160" y="287"/>
                      </a:cubicBezTo>
                      <a:cubicBezTo>
                        <a:pt x="167" y="290"/>
                        <a:pt x="167" y="290"/>
                        <a:pt x="167" y="290"/>
                      </a:cubicBezTo>
                      <a:cubicBezTo>
                        <a:pt x="169" y="301"/>
                        <a:pt x="169" y="301"/>
                        <a:pt x="169" y="301"/>
                      </a:cubicBezTo>
                      <a:cubicBezTo>
                        <a:pt x="183" y="293"/>
                        <a:pt x="183" y="293"/>
                        <a:pt x="183" y="293"/>
                      </a:cubicBezTo>
                      <a:cubicBezTo>
                        <a:pt x="199" y="298"/>
                        <a:pt x="199" y="298"/>
                        <a:pt x="199" y="298"/>
                      </a:cubicBezTo>
                      <a:cubicBezTo>
                        <a:pt x="201" y="297"/>
                        <a:pt x="201" y="297"/>
                        <a:pt x="201" y="297"/>
                      </a:cubicBezTo>
                      <a:cubicBezTo>
                        <a:pt x="205" y="313"/>
                        <a:pt x="205" y="313"/>
                        <a:pt x="205" y="313"/>
                      </a:cubicBezTo>
                      <a:cubicBezTo>
                        <a:pt x="205" y="313"/>
                        <a:pt x="232" y="319"/>
                        <a:pt x="229" y="338"/>
                      </a:cubicBezTo>
                      <a:cubicBezTo>
                        <a:pt x="228" y="349"/>
                        <a:pt x="222" y="352"/>
                        <a:pt x="218" y="353"/>
                      </a:cubicBezTo>
                      <a:cubicBezTo>
                        <a:pt x="273" y="354"/>
                        <a:pt x="273" y="354"/>
                        <a:pt x="273" y="354"/>
                      </a:cubicBezTo>
                      <a:cubicBezTo>
                        <a:pt x="273" y="346"/>
                        <a:pt x="273" y="346"/>
                        <a:pt x="273" y="346"/>
                      </a:cubicBezTo>
                      <a:cubicBezTo>
                        <a:pt x="285" y="346"/>
                        <a:pt x="285" y="346"/>
                        <a:pt x="285" y="346"/>
                      </a:cubicBezTo>
                      <a:cubicBezTo>
                        <a:pt x="285" y="357"/>
                        <a:pt x="285" y="357"/>
                        <a:pt x="285" y="357"/>
                      </a:cubicBezTo>
                      <a:cubicBezTo>
                        <a:pt x="285" y="357"/>
                        <a:pt x="308" y="353"/>
                        <a:pt x="316" y="345"/>
                      </a:cubicBezTo>
                      <a:cubicBezTo>
                        <a:pt x="324" y="337"/>
                        <a:pt x="339" y="313"/>
                        <a:pt x="339" y="313"/>
                      </a:cubicBezTo>
                      <a:cubicBezTo>
                        <a:pt x="333" y="297"/>
                        <a:pt x="333" y="297"/>
                        <a:pt x="333" y="297"/>
                      </a:cubicBezTo>
                      <a:cubicBezTo>
                        <a:pt x="341" y="277"/>
                        <a:pt x="341" y="277"/>
                        <a:pt x="341" y="277"/>
                      </a:cubicBezTo>
                      <a:cubicBezTo>
                        <a:pt x="400" y="277"/>
                        <a:pt x="400" y="277"/>
                        <a:pt x="400" y="277"/>
                      </a:cubicBezTo>
                      <a:cubicBezTo>
                        <a:pt x="415" y="269"/>
                        <a:pt x="415" y="269"/>
                        <a:pt x="415" y="269"/>
                      </a:cubicBezTo>
                      <a:cubicBezTo>
                        <a:pt x="411" y="243"/>
                        <a:pt x="411" y="243"/>
                        <a:pt x="411" y="243"/>
                      </a:cubicBezTo>
                      <a:cubicBezTo>
                        <a:pt x="420" y="234"/>
                        <a:pt x="420" y="234"/>
                        <a:pt x="420" y="234"/>
                      </a:cubicBezTo>
                      <a:cubicBezTo>
                        <a:pt x="413" y="225"/>
                        <a:pt x="413" y="225"/>
                        <a:pt x="413" y="225"/>
                      </a:cubicBezTo>
                      <a:cubicBezTo>
                        <a:pt x="428" y="222"/>
                        <a:pt x="428" y="222"/>
                        <a:pt x="428" y="222"/>
                      </a:cubicBezTo>
                      <a:cubicBezTo>
                        <a:pt x="424" y="210"/>
                        <a:pt x="424" y="210"/>
                        <a:pt x="424" y="210"/>
                      </a:cubicBezTo>
                      <a:cubicBezTo>
                        <a:pt x="436" y="210"/>
                        <a:pt x="436" y="210"/>
                        <a:pt x="436" y="210"/>
                      </a:cubicBezTo>
                      <a:cubicBezTo>
                        <a:pt x="437" y="199"/>
                        <a:pt x="437" y="199"/>
                        <a:pt x="437" y="199"/>
                      </a:cubicBezTo>
                      <a:cubicBezTo>
                        <a:pt x="448" y="201"/>
                        <a:pt x="448" y="201"/>
                        <a:pt x="448" y="201"/>
                      </a:cubicBezTo>
                      <a:cubicBezTo>
                        <a:pt x="440" y="191"/>
                        <a:pt x="440" y="191"/>
                        <a:pt x="440" y="191"/>
                      </a:cubicBezTo>
                      <a:cubicBezTo>
                        <a:pt x="424" y="190"/>
                        <a:pt x="424" y="190"/>
                        <a:pt x="424" y="190"/>
                      </a:cubicBezTo>
                      <a:cubicBezTo>
                        <a:pt x="425" y="158"/>
                        <a:pt x="425" y="158"/>
                        <a:pt x="425" y="158"/>
                      </a:cubicBezTo>
                      <a:cubicBezTo>
                        <a:pt x="411" y="157"/>
                        <a:pt x="411" y="157"/>
                        <a:pt x="411" y="157"/>
                      </a:cubicBezTo>
                      <a:cubicBezTo>
                        <a:pt x="411" y="147"/>
                        <a:pt x="411" y="147"/>
                        <a:pt x="411" y="147"/>
                      </a:cubicBezTo>
                      <a:cubicBezTo>
                        <a:pt x="419" y="146"/>
                        <a:pt x="419" y="146"/>
                        <a:pt x="419" y="146"/>
                      </a:cubicBezTo>
                      <a:cubicBezTo>
                        <a:pt x="412" y="137"/>
                        <a:pt x="412" y="137"/>
                        <a:pt x="412" y="137"/>
                      </a:cubicBezTo>
                      <a:cubicBezTo>
                        <a:pt x="428" y="130"/>
                        <a:pt x="428" y="130"/>
                        <a:pt x="428" y="130"/>
                      </a:cubicBezTo>
                      <a:cubicBezTo>
                        <a:pt x="428" y="123"/>
                        <a:pt x="428" y="123"/>
                        <a:pt x="428" y="123"/>
                      </a:cubicBezTo>
                      <a:cubicBezTo>
                        <a:pt x="424" y="122"/>
                        <a:pt x="413" y="118"/>
                        <a:pt x="409" y="118"/>
                      </a:cubicBezTo>
                      <a:cubicBezTo>
                        <a:pt x="405" y="118"/>
                        <a:pt x="405" y="99"/>
                        <a:pt x="405" y="99"/>
                      </a:cubicBezTo>
                      <a:cubicBezTo>
                        <a:pt x="395" y="99"/>
                        <a:pt x="395" y="99"/>
                        <a:pt x="395" y="99"/>
                      </a:cubicBezTo>
                      <a:cubicBezTo>
                        <a:pt x="392" y="91"/>
                        <a:pt x="392" y="91"/>
                        <a:pt x="392" y="91"/>
                      </a:cubicBezTo>
                      <a:cubicBezTo>
                        <a:pt x="392" y="91"/>
                        <a:pt x="379" y="101"/>
                        <a:pt x="380" y="93"/>
                      </a:cubicBezTo>
                      <a:cubicBezTo>
                        <a:pt x="381" y="85"/>
                        <a:pt x="365" y="78"/>
                        <a:pt x="364" y="73"/>
                      </a:cubicBezTo>
                      <a:cubicBezTo>
                        <a:pt x="368" y="41"/>
                        <a:pt x="344" y="39"/>
                        <a:pt x="344" y="39"/>
                      </a:cubicBezTo>
                      <a:cubicBezTo>
                        <a:pt x="337" y="45"/>
                        <a:pt x="337" y="45"/>
                        <a:pt x="337" y="45"/>
                      </a:cubicBezTo>
                      <a:cubicBezTo>
                        <a:pt x="299" y="55"/>
                        <a:pt x="299" y="55"/>
                        <a:pt x="299" y="55"/>
                      </a:cubicBezTo>
                      <a:cubicBezTo>
                        <a:pt x="285" y="47"/>
                        <a:pt x="285" y="47"/>
                        <a:pt x="285" y="47"/>
                      </a:cubicBezTo>
                      <a:cubicBezTo>
                        <a:pt x="285" y="47"/>
                        <a:pt x="276" y="57"/>
                        <a:pt x="268" y="54"/>
                      </a:cubicBezTo>
                      <a:cubicBezTo>
                        <a:pt x="260" y="51"/>
                        <a:pt x="255" y="47"/>
                        <a:pt x="248" y="43"/>
                      </a:cubicBezTo>
                      <a:cubicBezTo>
                        <a:pt x="241" y="39"/>
                        <a:pt x="239" y="51"/>
                        <a:pt x="239" y="51"/>
                      </a:cubicBezTo>
                      <a:cubicBezTo>
                        <a:pt x="233" y="41"/>
                        <a:pt x="233" y="41"/>
                        <a:pt x="233" y="41"/>
                      </a:cubicBezTo>
                      <a:cubicBezTo>
                        <a:pt x="233" y="41"/>
                        <a:pt x="215" y="49"/>
                        <a:pt x="220" y="45"/>
                      </a:cubicBezTo>
                      <a:cubicBezTo>
                        <a:pt x="225" y="41"/>
                        <a:pt x="207" y="29"/>
                        <a:pt x="191" y="25"/>
                      </a:cubicBezTo>
                      <a:cubicBezTo>
                        <a:pt x="178" y="22"/>
                        <a:pt x="182" y="18"/>
                        <a:pt x="184" y="17"/>
                      </a:cubicBezTo>
                      <a:cubicBezTo>
                        <a:pt x="165" y="26"/>
                        <a:pt x="165" y="26"/>
                        <a:pt x="165" y="26"/>
                      </a:cubicBezTo>
                      <a:cubicBezTo>
                        <a:pt x="161" y="18"/>
                        <a:pt x="161" y="18"/>
                        <a:pt x="161" y="18"/>
                      </a:cubicBezTo>
                      <a:cubicBezTo>
                        <a:pt x="157" y="25"/>
                        <a:pt x="157" y="25"/>
                        <a:pt x="157" y="25"/>
                      </a:cubicBezTo>
                      <a:cubicBezTo>
                        <a:pt x="148" y="15"/>
                        <a:pt x="148" y="15"/>
                        <a:pt x="148" y="15"/>
                      </a:cubicBezTo>
                      <a:cubicBezTo>
                        <a:pt x="139" y="18"/>
                        <a:pt x="139" y="18"/>
                        <a:pt x="139" y="18"/>
                      </a:cubicBezTo>
                      <a:cubicBezTo>
                        <a:pt x="132" y="13"/>
                        <a:pt x="132" y="13"/>
                        <a:pt x="132" y="13"/>
                      </a:cubicBezTo>
                      <a:cubicBezTo>
                        <a:pt x="116" y="17"/>
                        <a:pt x="116" y="17"/>
                        <a:pt x="116" y="17"/>
                      </a:cubicBezTo>
                      <a:cubicBezTo>
                        <a:pt x="64" y="21"/>
                        <a:pt x="64" y="21"/>
                        <a:pt x="64" y="21"/>
                      </a:cubicBezTo>
                      <a:cubicBezTo>
                        <a:pt x="56" y="0"/>
                        <a:pt x="56" y="0"/>
                        <a:pt x="56" y="0"/>
                      </a:cubicBezTo>
                      <a:cubicBezTo>
                        <a:pt x="39" y="47"/>
                        <a:pt x="39" y="47"/>
                        <a:pt x="39" y="47"/>
                      </a:cubicBezTo>
                      <a:cubicBezTo>
                        <a:pt x="11" y="50"/>
                        <a:pt x="11" y="50"/>
                        <a:pt x="11" y="50"/>
                      </a:cubicBezTo>
                      <a:cubicBezTo>
                        <a:pt x="11" y="50"/>
                        <a:pt x="9" y="57"/>
                        <a:pt x="13" y="57"/>
                      </a:cubicBezTo>
                      <a:cubicBezTo>
                        <a:pt x="17" y="57"/>
                        <a:pt x="0" y="62"/>
                        <a:pt x="0" y="62"/>
                      </a:cubicBezTo>
                      <a:cubicBezTo>
                        <a:pt x="13" y="98"/>
                        <a:pt x="13" y="98"/>
                        <a:pt x="13" y="98"/>
                      </a:cubicBezTo>
                      <a:cubicBezTo>
                        <a:pt x="12" y="99"/>
                        <a:pt x="12" y="99"/>
                        <a:pt x="12" y="99"/>
                      </a:cubicBezTo>
                      <a:cubicBezTo>
                        <a:pt x="27" y="113"/>
                        <a:pt x="27" y="113"/>
                        <a:pt x="27" y="113"/>
                      </a:cubicBezTo>
                      <a:lnTo>
                        <a:pt x="23" y="122"/>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83" name="Champagne-Ardenne" descr="© INSCALE GmbH, 05.05.2010&#10;http://www.presentationload.com/">
                  <a:extLst>
                    <a:ext uri="{FF2B5EF4-FFF2-40B4-BE49-F238E27FC236}">
                      <a16:creationId xmlns:a16="http://schemas.microsoft.com/office/drawing/2014/main" id="{59A03AD4-1C49-4100-87BA-7B300E03BEF6}"/>
                    </a:ext>
                  </a:extLst>
                </p:cNvPr>
                <p:cNvSpPr>
                  <a:spLocks/>
                </p:cNvSpPr>
                <p:nvPr/>
              </p:nvSpPr>
              <p:spPr bwMode="gray">
                <a:xfrm>
                  <a:off x="2008" y="466"/>
                  <a:ext cx="578" cy="893"/>
                </a:xfrm>
                <a:custGeom>
                  <a:avLst/>
                  <a:gdLst/>
                  <a:ahLst/>
                  <a:cxnLst>
                    <a:cxn ang="0">
                      <a:pos x="514" y="699"/>
                    </a:cxn>
                    <a:cxn ang="0">
                      <a:pos x="493" y="668"/>
                    </a:cxn>
                    <a:cxn ang="0">
                      <a:pos x="497" y="623"/>
                    </a:cxn>
                    <a:cxn ang="0">
                      <a:pos x="465" y="599"/>
                    </a:cxn>
                    <a:cxn ang="0">
                      <a:pos x="432" y="580"/>
                    </a:cxn>
                    <a:cxn ang="0">
                      <a:pos x="429" y="563"/>
                    </a:cxn>
                    <a:cxn ang="0">
                      <a:pos x="381" y="521"/>
                    </a:cxn>
                    <a:cxn ang="0">
                      <a:pos x="341" y="497"/>
                    </a:cxn>
                    <a:cxn ang="0">
                      <a:pos x="322" y="425"/>
                    </a:cxn>
                    <a:cxn ang="0">
                      <a:pos x="333" y="363"/>
                    </a:cxn>
                    <a:cxn ang="0">
                      <a:pos x="324" y="299"/>
                    </a:cxn>
                    <a:cxn ang="0">
                      <a:pos x="354" y="240"/>
                    </a:cxn>
                    <a:cxn ang="0">
                      <a:pos x="365" y="192"/>
                    </a:cxn>
                    <a:cxn ang="0">
                      <a:pos x="394" y="184"/>
                    </a:cxn>
                    <a:cxn ang="0">
                      <a:pos x="416" y="161"/>
                    </a:cxn>
                    <a:cxn ang="0">
                      <a:pos x="351" y="115"/>
                    </a:cxn>
                    <a:cxn ang="0">
                      <a:pos x="321" y="99"/>
                    </a:cxn>
                    <a:cxn ang="0">
                      <a:pos x="301" y="55"/>
                    </a:cxn>
                    <a:cxn ang="0">
                      <a:pos x="320" y="8"/>
                    </a:cxn>
                    <a:cxn ang="0">
                      <a:pos x="282" y="21"/>
                    </a:cxn>
                    <a:cxn ang="0">
                      <a:pos x="230" y="63"/>
                    </a:cxn>
                    <a:cxn ang="0">
                      <a:pos x="175" y="57"/>
                    </a:cxn>
                    <a:cxn ang="0">
                      <a:pos x="164" y="128"/>
                    </a:cxn>
                    <a:cxn ang="0">
                      <a:pos x="141" y="177"/>
                    </a:cxn>
                    <a:cxn ang="0">
                      <a:pos x="129" y="215"/>
                    </a:cxn>
                    <a:cxn ang="0">
                      <a:pos x="94" y="257"/>
                    </a:cxn>
                    <a:cxn ang="0">
                      <a:pos x="56" y="301"/>
                    </a:cxn>
                    <a:cxn ang="0">
                      <a:pos x="42" y="339"/>
                    </a:cxn>
                    <a:cxn ang="0">
                      <a:pos x="38" y="368"/>
                    </a:cxn>
                    <a:cxn ang="0">
                      <a:pos x="28" y="409"/>
                    </a:cxn>
                    <a:cxn ang="0">
                      <a:pos x="17" y="436"/>
                    </a:cxn>
                    <a:cxn ang="0">
                      <a:pos x="0" y="453"/>
                    </a:cxn>
                    <a:cxn ang="0">
                      <a:pos x="13" y="496"/>
                    </a:cxn>
                    <a:cxn ang="0">
                      <a:pos x="26" y="505"/>
                    </a:cxn>
                    <a:cxn ang="0">
                      <a:pos x="17" y="528"/>
                    </a:cxn>
                    <a:cxn ang="0">
                      <a:pos x="0" y="549"/>
                    </a:cxn>
                    <a:cxn ang="0">
                      <a:pos x="14" y="583"/>
                    </a:cxn>
                    <a:cxn ang="0">
                      <a:pos x="44" y="644"/>
                    </a:cxn>
                    <a:cxn ang="0">
                      <a:pos x="68" y="653"/>
                    </a:cxn>
                    <a:cxn ang="0">
                      <a:pos x="76" y="656"/>
                    </a:cxn>
                    <a:cxn ang="0">
                      <a:pos x="108" y="720"/>
                    </a:cxn>
                    <a:cxn ang="0">
                      <a:pos x="156" y="723"/>
                    </a:cxn>
                    <a:cxn ang="0">
                      <a:pos x="173" y="707"/>
                    </a:cxn>
                    <a:cxn ang="0">
                      <a:pos x="197" y="723"/>
                    </a:cxn>
                    <a:cxn ang="0">
                      <a:pos x="301" y="691"/>
                    </a:cxn>
                    <a:cxn ang="0">
                      <a:pos x="318" y="713"/>
                    </a:cxn>
                    <a:cxn ang="0">
                      <a:pos x="325" y="719"/>
                    </a:cxn>
                    <a:cxn ang="0">
                      <a:pos x="332" y="767"/>
                    </a:cxn>
                    <a:cxn ang="0">
                      <a:pos x="353" y="787"/>
                    </a:cxn>
                    <a:cxn ang="0">
                      <a:pos x="388" y="807"/>
                    </a:cxn>
                    <a:cxn ang="0">
                      <a:pos x="421" y="816"/>
                    </a:cxn>
                    <a:cxn ang="0">
                      <a:pos x="468" y="792"/>
                    </a:cxn>
                    <a:cxn ang="0">
                      <a:pos x="500" y="788"/>
                    </a:cxn>
                    <a:cxn ang="0">
                      <a:pos x="497" y="747"/>
                    </a:cxn>
                    <a:cxn ang="0">
                      <a:pos x="525" y="735"/>
                    </a:cxn>
                    <a:cxn ang="0">
                      <a:pos x="530" y="697"/>
                    </a:cxn>
                  </a:cxnLst>
                  <a:rect l="0" t="0" r="r" b="b"/>
                  <a:pathLst>
                    <a:path w="536" h="828">
                      <a:moveTo>
                        <a:pt x="530" y="697"/>
                      </a:moveTo>
                      <a:cubicBezTo>
                        <a:pt x="517" y="701"/>
                        <a:pt x="517" y="701"/>
                        <a:pt x="517" y="701"/>
                      </a:cubicBezTo>
                      <a:cubicBezTo>
                        <a:pt x="514" y="699"/>
                        <a:pt x="514" y="699"/>
                        <a:pt x="514" y="699"/>
                      </a:cubicBezTo>
                      <a:cubicBezTo>
                        <a:pt x="514" y="701"/>
                        <a:pt x="514" y="701"/>
                        <a:pt x="514" y="701"/>
                      </a:cubicBezTo>
                      <a:cubicBezTo>
                        <a:pt x="513" y="681"/>
                        <a:pt x="513" y="681"/>
                        <a:pt x="513" y="681"/>
                      </a:cubicBezTo>
                      <a:cubicBezTo>
                        <a:pt x="493" y="668"/>
                        <a:pt x="493" y="668"/>
                        <a:pt x="493" y="668"/>
                      </a:cubicBezTo>
                      <a:cubicBezTo>
                        <a:pt x="476" y="664"/>
                        <a:pt x="476" y="664"/>
                        <a:pt x="476" y="664"/>
                      </a:cubicBezTo>
                      <a:cubicBezTo>
                        <a:pt x="486" y="652"/>
                        <a:pt x="486" y="652"/>
                        <a:pt x="486" y="652"/>
                      </a:cubicBezTo>
                      <a:cubicBezTo>
                        <a:pt x="486" y="652"/>
                        <a:pt x="486" y="628"/>
                        <a:pt x="497" y="623"/>
                      </a:cubicBezTo>
                      <a:cubicBezTo>
                        <a:pt x="490" y="612"/>
                        <a:pt x="490" y="612"/>
                        <a:pt x="490" y="612"/>
                      </a:cubicBezTo>
                      <a:cubicBezTo>
                        <a:pt x="481" y="611"/>
                        <a:pt x="481" y="611"/>
                        <a:pt x="481" y="611"/>
                      </a:cubicBezTo>
                      <a:cubicBezTo>
                        <a:pt x="481" y="611"/>
                        <a:pt x="481" y="588"/>
                        <a:pt x="465" y="599"/>
                      </a:cubicBezTo>
                      <a:cubicBezTo>
                        <a:pt x="452" y="576"/>
                        <a:pt x="452" y="576"/>
                        <a:pt x="452" y="576"/>
                      </a:cubicBezTo>
                      <a:cubicBezTo>
                        <a:pt x="452" y="576"/>
                        <a:pt x="442" y="573"/>
                        <a:pt x="436" y="577"/>
                      </a:cubicBezTo>
                      <a:cubicBezTo>
                        <a:pt x="435" y="579"/>
                        <a:pt x="434" y="581"/>
                        <a:pt x="432" y="580"/>
                      </a:cubicBezTo>
                      <a:cubicBezTo>
                        <a:pt x="433" y="579"/>
                        <a:pt x="434" y="578"/>
                        <a:pt x="436" y="577"/>
                      </a:cubicBezTo>
                      <a:cubicBezTo>
                        <a:pt x="436" y="574"/>
                        <a:pt x="434" y="571"/>
                        <a:pt x="434" y="571"/>
                      </a:cubicBezTo>
                      <a:cubicBezTo>
                        <a:pt x="429" y="563"/>
                        <a:pt x="429" y="563"/>
                        <a:pt x="429" y="563"/>
                      </a:cubicBezTo>
                      <a:cubicBezTo>
                        <a:pt x="441" y="557"/>
                        <a:pt x="441" y="557"/>
                        <a:pt x="441" y="557"/>
                      </a:cubicBezTo>
                      <a:cubicBezTo>
                        <a:pt x="441" y="557"/>
                        <a:pt x="400" y="521"/>
                        <a:pt x="383" y="521"/>
                      </a:cubicBezTo>
                      <a:cubicBezTo>
                        <a:pt x="383" y="522"/>
                        <a:pt x="382" y="522"/>
                        <a:pt x="381" y="521"/>
                      </a:cubicBezTo>
                      <a:cubicBezTo>
                        <a:pt x="382" y="521"/>
                        <a:pt x="382" y="521"/>
                        <a:pt x="383" y="521"/>
                      </a:cubicBezTo>
                      <a:cubicBezTo>
                        <a:pt x="384" y="518"/>
                        <a:pt x="349" y="491"/>
                        <a:pt x="349" y="491"/>
                      </a:cubicBezTo>
                      <a:cubicBezTo>
                        <a:pt x="341" y="497"/>
                        <a:pt x="341" y="497"/>
                        <a:pt x="341" y="497"/>
                      </a:cubicBezTo>
                      <a:cubicBezTo>
                        <a:pt x="342" y="457"/>
                        <a:pt x="342" y="457"/>
                        <a:pt x="342" y="457"/>
                      </a:cubicBezTo>
                      <a:cubicBezTo>
                        <a:pt x="316" y="439"/>
                        <a:pt x="316" y="439"/>
                        <a:pt x="316" y="439"/>
                      </a:cubicBezTo>
                      <a:cubicBezTo>
                        <a:pt x="322" y="425"/>
                        <a:pt x="322" y="425"/>
                        <a:pt x="322" y="425"/>
                      </a:cubicBezTo>
                      <a:cubicBezTo>
                        <a:pt x="320" y="404"/>
                        <a:pt x="320" y="404"/>
                        <a:pt x="320" y="404"/>
                      </a:cubicBezTo>
                      <a:cubicBezTo>
                        <a:pt x="320" y="404"/>
                        <a:pt x="344" y="395"/>
                        <a:pt x="342" y="385"/>
                      </a:cubicBezTo>
                      <a:cubicBezTo>
                        <a:pt x="341" y="376"/>
                        <a:pt x="344" y="357"/>
                        <a:pt x="333" y="363"/>
                      </a:cubicBezTo>
                      <a:cubicBezTo>
                        <a:pt x="336" y="359"/>
                        <a:pt x="320" y="313"/>
                        <a:pt x="320" y="313"/>
                      </a:cubicBezTo>
                      <a:cubicBezTo>
                        <a:pt x="330" y="305"/>
                        <a:pt x="330" y="305"/>
                        <a:pt x="330" y="305"/>
                      </a:cubicBezTo>
                      <a:cubicBezTo>
                        <a:pt x="324" y="299"/>
                        <a:pt x="324" y="299"/>
                        <a:pt x="324" y="299"/>
                      </a:cubicBezTo>
                      <a:cubicBezTo>
                        <a:pt x="341" y="287"/>
                        <a:pt x="341" y="287"/>
                        <a:pt x="341" y="287"/>
                      </a:cubicBezTo>
                      <a:cubicBezTo>
                        <a:pt x="341" y="287"/>
                        <a:pt x="333" y="275"/>
                        <a:pt x="337" y="269"/>
                      </a:cubicBezTo>
                      <a:cubicBezTo>
                        <a:pt x="341" y="264"/>
                        <a:pt x="354" y="240"/>
                        <a:pt x="354" y="240"/>
                      </a:cubicBezTo>
                      <a:cubicBezTo>
                        <a:pt x="354" y="240"/>
                        <a:pt x="354" y="225"/>
                        <a:pt x="342" y="211"/>
                      </a:cubicBezTo>
                      <a:cubicBezTo>
                        <a:pt x="346" y="213"/>
                        <a:pt x="348" y="187"/>
                        <a:pt x="348" y="187"/>
                      </a:cubicBezTo>
                      <a:cubicBezTo>
                        <a:pt x="365" y="192"/>
                        <a:pt x="365" y="192"/>
                        <a:pt x="365" y="192"/>
                      </a:cubicBezTo>
                      <a:cubicBezTo>
                        <a:pt x="374" y="192"/>
                        <a:pt x="374" y="192"/>
                        <a:pt x="374" y="192"/>
                      </a:cubicBezTo>
                      <a:cubicBezTo>
                        <a:pt x="386" y="199"/>
                        <a:pt x="386" y="199"/>
                        <a:pt x="386" y="199"/>
                      </a:cubicBezTo>
                      <a:cubicBezTo>
                        <a:pt x="394" y="184"/>
                        <a:pt x="394" y="184"/>
                        <a:pt x="394" y="184"/>
                      </a:cubicBezTo>
                      <a:cubicBezTo>
                        <a:pt x="408" y="183"/>
                        <a:pt x="408" y="183"/>
                        <a:pt x="408" y="183"/>
                      </a:cubicBezTo>
                      <a:cubicBezTo>
                        <a:pt x="420" y="162"/>
                        <a:pt x="420" y="162"/>
                        <a:pt x="420" y="162"/>
                      </a:cubicBezTo>
                      <a:cubicBezTo>
                        <a:pt x="417" y="162"/>
                        <a:pt x="416" y="161"/>
                        <a:pt x="416" y="161"/>
                      </a:cubicBezTo>
                      <a:cubicBezTo>
                        <a:pt x="420" y="146"/>
                        <a:pt x="412" y="145"/>
                        <a:pt x="412" y="145"/>
                      </a:cubicBezTo>
                      <a:cubicBezTo>
                        <a:pt x="412" y="145"/>
                        <a:pt x="402" y="139"/>
                        <a:pt x="385" y="140"/>
                      </a:cubicBezTo>
                      <a:cubicBezTo>
                        <a:pt x="369" y="118"/>
                        <a:pt x="358" y="115"/>
                        <a:pt x="351" y="115"/>
                      </a:cubicBezTo>
                      <a:cubicBezTo>
                        <a:pt x="346" y="106"/>
                        <a:pt x="344" y="108"/>
                        <a:pt x="334" y="109"/>
                      </a:cubicBezTo>
                      <a:cubicBezTo>
                        <a:pt x="325" y="118"/>
                        <a:pt x="316" y="104"/>
                        <a:pt x="316" y="104"/>
                      </a:cubicBezTo>
                      <a:cubicBezTo>
                        <a:pt x="321" y="99"/>
                        <a:pt x="321" y="99"/>
                        <a:pt x="321" y="99"/>
                      </a:cubicBezTo>
                      <a:cubicBezTo>
                        <a:pt x="321" y="99"/>
                        <a:pt x="319" y="96"/>
                        <a:pt x="315" y="89"/>
                      </a:cubicBezTo>
                      <a:cubicBezTo>
                        <a:pt x="322" y="83"/>
                        <a:pt x="321" y="72"/>
                        <a:pt x="321" y="72"/>
                      </a:cubicBezTo>
                      <a:cubicBezTo>
                        <a:pt x="321" y="72"/>
                        <a:pt x="296" y="57"/>
                        <a:pt x="301" y="55"/>
                      </a:cubicBezTo>
                      <a:cubicBezTo>
                        <a:pt x="306" y="53"/>
                        <a:pt x="311" y="35"/>
                        <a:pt x="311" y="35"/>
                      </a:cubicBezTo>
                      <a:cubicBezTo>
                        <a:pt x="308" y="25"/>
                        <a:pt x="308" y="25"/>
                        <a:pt x="308" y="25"/>
                      </a:cubicBezTo>
                      <a:cubicBezTo>
                        <a:pt x="308" y="25"/>
                        <a:pt x="319" y="13"/>
                        <a:pt x="320" y="8"/>
                      </a:cubicBezTo>
                      <a:cubicBezTo>
                        <a:pt x="321" y="3"/>
                        <a:pt x="311" y="0"/>
                        <a:pt x="303" y="0"/>
                      </a:cubicBezTo>
                      <a:cubicBezTo>
                        <a:pt x="295" y="0"/>
                        <a:pt x="289" y="17"/>
                        <a:pt x="289" y="17"/>
                      </a:cubicBezTo>
                      <a:cubicBezTo>
                        <a:pt x="289" y="17"/>
                        <a:pt x="286" y="17"/>
                        <a:pt x="282" y="21"/>
                      </a:cubicBezTo>
                      <a:cubicBezTo>
                        <a:pt x="278" y="25"/>
                        <a:pt x="280" y="45"/>
                        <a:pt x="279" y="49"/>
                      </a:cubicBezTo>
                      <a:cubicBezTo>
                        <a:pt x="278" y="53"/>
                        <a:pt x="263" y="50"/>
                        <a:pt x="254" y="49"/>
                      </a:cubicBezTo>
                      <a:cubicBezTo>
                        <a:pt x="249" y="63"/>
                        <a:pt x="236" y="63"/>
                        <a:pt x="230" y="63"/>
                      </a:cubicBezTo>
                      <a:cubicBezTo>
                        <a:pt x="224" y="63"/>
                        <a:pt x="207" y="56"/>
                        <a:pt x="199" y="55"/>
                      </a:cubicBezTo>
                      <a:cubicBezTo>
                        <a:pt x="191" y="54"/>
                        <a:pt x="187" y="59"/>
                        <a:pt x="181" y="60"/>
                      </a:cubicBezTo>
                      <a:cubicBezTo>
                        <a:pt x="179" y="61"/>
                        <a:pt x="176" y="59"/>
                        <a:pt x="175" y="57"/>
                      </a:cubicBezTo>
                      <a:cubicBezTo>
                        <a:pt x="174" y="57"/>
                        <a:pt x="174" y="58"/>
                        <a:pt x="174" y="58"/>
                      </a:cubicBezTo>
                      <a:cubicBezTo>
                        <a:pt x="160" y="78"/>
                        <a:pt x="169" y="91"/>
                        <a:pt x="169" y="91"/>
                      </a:cubicBezTo>
                      <a:cubicBezTo>
                        <a:pt x="164" y="128"/>
                        <a:pt x="164" y="128"/>
                        <a:pt x="164" y="128"/>
                      </a:cubicBezTo>
                      <a:cubicBezTo>
                        <a:pt x="170" y="135"/>
                        <a:pt x="170" y="135"/>
                        <a:pt x="170" y="135"/>
                      </a:cubicBezTo>
                      <a:cubicBezTo>
                        <a:pt x="148" y="163"/>
                        <a:pt x="148" y="163"/>
                        <a:pt x="148" y="163"/>
                      </a:cubicBezTo>
                      <a:cubicBezTo>
                        <a:pt x="141" y="177"/>
                        <a:pt x="141" y="177"/>
                        <a:pt x="141" y="177"/>
                      </a:cubicBezTo>
                      <a:cubicBezTo>
                        <a:pt x="125" y="179"/>
                        <a:pt x="125" y="179"/>
                        <a:pt x="125" y="179"/>
                      </a:cubicBezTo>
                      <a:cubicBezTo>
                        <a:pt x="137" y="208"/>
                        <a:pt x="137" y="208"/>
                        <a:pt x="137" y="208"/>
                      </a:cubicBezTo>
                      <a:cubicBezTo>
                        <a:pt x="129" y="215"/>
                        <a:pt x="129" y="215"/>
                        <a:pt x="129" y="215"/>
                      </a:cubicBezTo>
                      <a:cubicBezTo>
                        <a:pt x="129" y="215"/>
                        <a:pt x="134" y="264"/>
                        <a:pt x="129" y="264"/>
                      </a:cubicBezTo>
                      <a:cubicBezTo>
                        <a:pt x="124" y="264"/>
                        <a:pt x="105" y="251"/>
                        <a:pt x="105" y="251"/>
                      </a:cubicBezTo>
                      <a:cubicBezTo>
                        <a:pt x="94" y="257"/>
                        <a:pt x="94" y="257"/>
                        <a:pt x="94" y="257"/>
                      </a:cubicBezTo>
                      <a:cubicBezTo>
                        <a:pt x="94" y="257"/>
                        <a:pt x="93" y="267"/>
                        <a:pt x="89" y="268"/>
                      </a:cubicBezTo>
                      <a:cubicBezTo>
                        <a:pt x="72" y="263"/>
                        <a:pt x="50" y="281"/>
                        <a:pt x="50" y="281"/>
                      </a:cubicBezTo>
                      <a:cubicBezTo>
                        <a:pt x="56" y="301"/>
                        <a:pt x="56" y="301"/>
                        <a:pt x="56" y="301"/>
                      </a:cubicBezTo>
                      <a:cubicBezTo>
                        <a:pt x="50" y="312"/>
                        <a:pt x="50" y="312"/>
                        <a:pt x="50" y="312"/>
                      </a:cubicBezTo>
                      <a:cubicBezTo>
                        <a:pt x="69" y="328"/>
                        <a:pt x="69" y="328"/>
                        <a:pt x="69" y="328"/>
                      </a:cubicBezTo>
                      <a:cubicBezTo>
                        <a:pt x="69" y="328"/>
                        <a:pt x="45" y="333"/>
                        <a:pt x="42" y="339"/>
                      </a:cubicBezTo>
                      <a:cubicBezTo>
                        <a:pt x="40" y="344"/>
                        <a:pt x="48" y="356"/>
                        <a:pt x="48" y="356"/>
                      </a:cubicBezTo>
                      <a:cubicBezTo>
                        <a:pt x="40" y="363"/>
                        <a:pt x="40" y="363"/>
                        <a:pt x="40" y="363"/>
                      </a:cubicBezTo>
                      <a:cubicBezTo>
                        <a:pt x="38" y="368"/>
                        <a:pt x="38" y="368"/>
                        <a:pt x="38" y="368"/>
                      </a:cubicBezTo>
                      <a:cubicBezTo>
                        <a:pt x="38" y="368"/>
                        <a:pt x="50" y="367"/>
                        <a:pt x="57" y="372"/>
                      </a:cubicBezTo>
                      <a:cubicBezTo>
                        <a:pt x="64" y="377"/>
                        <a:pt x="34" y="407"/>
                        <a:pt x="34" y="407"/>
                      </a:cubicBezTo>
                      <a:cubicBezTo>
                        <a:pt x="28" y="409"/>
                        <a:pt x="28" y="409"/>
                        <a:pt x="28" y="409"/>
                      </a:cubicBezTo>
                      <a:cubicBezTo>
                        <a:pt x="18" y="429"/>
                        <a:pt x="18" y="429"/>
                        <a:pt x="18" y="429"/>
                      </a:cubicBezTo>
                      <a:cubicBezTo>
                        <a:pt x="18" y="429"/>
                        <a:pt x="18" y="429"/>
                        <a:pt x="17" y="429"/>
                      </a:cubicBezTo>
                      <a:cubicBezTo>
                        <a:pt x="17" y="436"/>
                        <a:pt x="17" y="436"/>
                        <a:pt x="17" y="436"/>
                      </a:cubicBezTo>
                      <a:cubicBezTo>
                        <a:pt x="1" y="443"/>
                        <a:pt x="1" y="443"/>
                        <a:pt x="1" y="443"/>
                      </a:cubicBezTo>
                      <a:cubicBezTo>
                        <a:pt x="8" y="452"/>
                        <a:pt x="8" y="452"/>
                        <a:pt x="8" y="452"/>
                      </a:cubicBezTo>
                      <a:cubicBezTo>
                        <a:pt x="0" y="453"/>
                        <a:pt x="0" y="453"/>
                        <a:pt x="0" y="453"/>
                      </a:cubicBezTo>
                      <a:cubicBezTo>
                        <a:pt x="0" y="463"/>
                        <a:pt x="0" y="463"/>
                        <a:pt x="0" y="463"/>
                      </a:cubicBezTo>
                      <a:cubicBezTo>
                        <a:pt x="14" y="464"/>
                        <a:pt x="14" y="464"/>
                        <a:pt x="14" y="464"/>
                      </a:cubicBezTo>
                      <a:cubicBezTo>
                        <a:pt x="13" y="496"/>
                        <a:pt x="13" y="496"/>
                        <a:pt x="13" y="496"/>
                      </a:cubicBezTo>
                      <a:cubicBezTo>
                        <a:pt x="29" y="497"/>
                        <a:pt x="29" y="497"/>
                        <a:pt x="29" y="497"/>
                      </a:cubicBezTo>
                      <a:cubicBezTo>
                        <a:pt x="37" y="507"/>
                        <a:pt x="37" y="507"/>
                        <a:pt x="37" y="507"/>
                      </a:cubicBezTo>
                      <a:cubicBezTo>
                        <a:pt x="26" y="505"/>
                        <a:pt x="26" y="505"/>
                        <a:pt x="26" y="505"/>
                      </a:cubicBezTo>
                      <a:cubicBezTo>
                        <a:pt x="25" y="516"/>
                        <a:pt x="25" y="516"/>
                        <a:pt x="25" y="516"/>
                      </a:cubicBezTo>
                      <a:cubicBezTo>
                        <a:pt x="13" y="516"/>
                        <a:pt x="13" y="516"/>
                        <a:pt x="13" y="516"/>
                      </a:cubicBezTo>
                      <a:cubicBezTo>
                        <a:pt x="17" y="528"/>
                        <a:pt x="17" y="528"/>
                        <a:pt x="17" y="528"/>
                      </a:cubicBezTo>
                      <a:cubicBezTo>
                        <a:pt x="2" y="531"/>
                        <a:pt x="2" y="531"/>
                        <a:pt x="2" y="531"/>
                      </a:cubicBezTo>
                      <a:cubicBezTo>
                        <a:pt x="9" y="540"/>
                        <a:pt x="9" y="540"/>
                        <a:pt x="9" y="540"/>
                      </a:cubicBezTo>
                      <a:cubicBezTo>
                        <a:pt x="0" y="549"/>
                        <a:pt x="0" y="549"/>
                        <a:pt x="0" y="549"/>
                      </a:cubicBezTo>
                      <a:cubicBezTo>
                        <a:pt x="4" y="575"/>
                        <a:pt x="4" y="575"/>
                        <a:pt x="4" y="575"/>
                      </a:cubicBezTo>
                      <a:cubicBezTo>
                        <a:pt x="8" y="585"/>
                        <a:pt x="8" y="585"/>
                        <a:pt x="8" y="585"/>
                      </a:cubicBezTo>
                      <a:cubicBezTo>
                        <a:pt x="14" y="583"/>
                        <a:pt x="14" y="583"/>
                        <a:pt x="14" y="583"/>
                      </a:cubicBezTo>
                      <a:cubicBezTo>
                        <a:pt x="14" y="583"/>
                        <a:pt x="41" y="593"/>
                        <a:pt x="41" y="608"/>
                      </a:cubicBezTo>
                      <a:cubicBezTo>
                        <a:pt x="45" y="613"/>
                        <a:pt x="45" y="613"/>
                        <a:pt x="45" y="613"/>
                      </a:cubicBezTo>
                      <a:cubicBezTo>
                        <a:pt x="45" y="613"/>
                        <a:pt x="53" y="635"/>
                        <a:pt x="44" y="644"/>
                      </a:cubicBezTo>
                      <a:cubicBezTo>
                        <a:pt x="53" y="641"/>
                        <a:pt x="53" y="641"/>
                        <a:pt x="53" y="641"/>
                      </a:cubicBezTo>
                      <a:cubicBezTo>
                        <a:pt x="62" y="656"/>
                        <a:pt x="62" y="656"/>
                        <a:pt x="62" y="656"/>
                      </a:cubicBezTo>
                      <a:cubicBezTo>
                        <a:pt x="68" y="653"/>
                        <a:pt x="68" y="653"/>
                        <a:pt x="68" y="653"/>
                      </a:cubicBezTo>
                      <a:cubicBezTo>
                        <a:pt x="68" y="644"/>
                        <a:pt x="68" y="644"/>
                        <a:pt x="68" y="644"/>
                      </a:cubicBezTo>
                      <a:cubicBezTo>
                        <a:pt x="76" y="645"/>
                        <a:pt x="76" y="645"/>
                        <a:pt x="76" y="645"/>
                      </a:cubicBezTo>
                      <a:cubicBezTo>
                        <a:pt x="76" y="656"/>
                        <a:pt x="76" y="656"/>
                        <a:pt x="76" y="656"/>
                      </a:cubicBezTo>
                      <a:cubicBezTo>
                        <a:pt x="76" y="656"/>
                        <a:pt x="85" y="664"/>
                        <a:pt x="94" y="684"/>
                      </a:cubicBezTo>
                      <a:cubicBezTo>
                        <a:pt x="104" y="704"/>
                        <a:pt x="102" y="708"/>
                        <a:pt x="112" y="700"/>
                      </a:cubicBezTo>
                      <a:cubicBezTo>
                        <a:pt x="112" y="703"/>
                        <a:pt x="108" y="720"/>
                        <a:pt x="108" y="720"/>
                      </a:cubicBezTo>
                      <a:cubicBezTo>
                        <a:pt x="142" y="721"/>
                        <a:pt x="142" y="721"/>
                        <a:pt x="142" y="721"/>
                      </a:cubicBezTo>
                      <a:cubicBezTo>
                        <a:pt x="144" y="716"/>
                        <a:pt x="144" y="716"/>
                        <a:pt x="144" y="716"/>
                      </a:cubicBezTo>
                      <a:cubicBezTo>
                        <a:pt x="156" y="723"/>
                        <a:pt x="156" y="723"/>
                        <a:pt x="156" y="723"/>
                      </a:cubicBezTo>
                      <a:cubicBezTo>
                        <a:pt x="169" y="712"/>
                        <a:pt x="169" y="712"/>
                        <a:pt x="169" y="712"/>
                      </a:cubicBezTo>
                      <a:cubicBezTo>
                        <a:pt x="176" y="716"/>
                        <a:pt x="176" y="716"/>
                        <a:pt x="176" y="716"/>
                      </a:cubicBezTo>
                      <a:cubicBezTo>
                        <a:pt x="173" y="707"/>
                        <a:pt x="173" y="707"/>
                        <a:pt x="173" y="707"/>
                      </a:cubicBezTo>
                      <a:cubicBezTo>
                        <a:pt x="182" y="707"/>
                        <a:pt x="182" y="707"/>
                        <a:pt x="182" y="707"/>
                      </a:cubicBezTo>
                      <a:cubicBezTo>
                        <a:pt x="188" y="720"/>
                        <a:pt x="188" y="720"/>
                        <a:pt x="188" y="720"/>
                      </a:cubicBezTo>
                      <a:cubicBezTo>
                        <a:pt x="197" y="723"/>
                        <a:pt x="197" y="723"/>
                        <a:pt x="197" y="723"/>
                      </a:cubicBezTo>
                      <a:cubicBezTo>
                        <a:pt x="197" y="711"/>
                        <a:pt x="197" y="711"/>
                        <a:pt x="197" y="711"/>
                      </a:cubicBezTo>
                      <a:cubicBezTo>
                        <a:pt x="252" y="709"/>
                        <a:pt x="252" y="709"/>
                        <a:pt x="252" y="709"/>
                      </a:cubicBezTo>
                      <a:cubicBezTo>
                        <a:pt x="252" y="709"/>
                        <a:pt x="220" y="675"/>
                        <a:pt x="301" y="691"/>
                      </a:cubicBezTo>
                      <a:cubicBezTo>
                        <a:pt x="300" y="708"/>
                        <a:pt x="300" y="708"/>
                        <a:pt x="300" y="708"/>
                      </a:cubicBezTo>
                      <a:cubicBezTo>
                        <a:pt x="313" y="708"/>
                        <a:pt x="313" y="708"/>
                        <a:pt x="313" y="708"/>
                      </a:cubicBezTo>
                      <a:cubicBezTo>
                        <a:pt x="318" y="713"/>
                        <a:pt x="318" y="713"/>
                        <a:pt x="318" y="713"/>
                      </a:cubicBezTo>
                      <a:cubicBezTo>
                        <a:pt x="312" y="721"/>
                        <a:pt x="312" y="721"/>
                        <a:pt x="312" y="721"/>
                      </a:cubicBezTo>
                      <a:cubicBezTo>
                        <a:pt x="318" y="725"/>
                        <a:pt x="318" y="725"/>
                        <a:pt x="318" y="725"/>
                      </a:cubicBezTo>
                      <a:cubicBezTo>
                        <a:pt x="325" y="719"/>
                        <a:pt x="325" y="719"/>
                        <a:pt x="325" y="719"/>
                      </a:cubicBezTo>
                      <a:cubicBezTo>
                        <a:pt x="325" y="719"/>
                        <a:pt x="336" y="740"/>
                        <a:pt x="342" y="748"/>
                      </a:cubicBezTo>
                      <a:cubicBezTo>
                        <a:pt x="332" y="766"/>
                        <a:pt x="332" y="766"/>
                        <a:pt x="332" y="766"/>
                      </a:cubicBezTo>
                      <a:cubicBezTo>
                        <a:pt x="332" y="767"/>
                        <a:pt x="332" y="767"/>
                        <a:pt x="332" y="767"/>
                      </a:cubicBezTo>
                      <a:cubicBezTo>
                        <a:pt x="341" y="769"/>
                        <a:pt x="341" y="769"/>
                        <a:pt x="341" y="769"/>
                      </a:cubicBezTo>
                      <a:cubicBezTo>
                        <a:pt x="341" y="792"/>
                        <a:pt x="341" y="792"/>
                        <a:pt x="341" y="792"/>
                      </a:cubicBezTo>
                      <a:cubicBezTo>
                        <a:pt x="353" y="787"/>
                        <a:pt x="353" y="787"/>
                        <a:pt x="353" y="787"/>
                      </a:cubicBezTo>
                      <a:cubicBezTo>
                        <a:pt x="353" y="787"/>
                        <a:pt x="365" y="801"/>
                        <a:pt x="374" y="801"/>
                      </a:cubicBezTo>
                      <a:cubicBezTo>
                        <a:pt x="384" y="801"/>
                        <a:pt x="388" y="797"/>
                        <a:pt x="388" y="797"/>
                      </a:cubicBezTo>
                      <a:cubicBezTo>
                        <a:pt x="388" y="807"/>
                        <a:pt x="388" y="807"/>
                        <a:pt x="388" y="807"/>
                      </a:cubicBezTo>
                      <a:cubicBezTo>
                        <a:pt x="404" y="815"/>
                        <a:pt x="404" y="815"/>
                        <a:pt x="404" y="815"/>
                      </a:cubicBezTo>
                      <a:cubicBezTo>
                        <a:pt x="404" y="828"/>
                        <a:pt x="404" y="828"/>
                        <a:pt x="404" y="828"/>
                      </a:cubicBezTo>
                      <a:cubicBezTo>
                        <a:pt x="421" y="816"/>
                        <a:pt x="421" y="816"/>
                        <a:pt x="421" y="816"/>
                      </a:cubicBezTo>
                      <a:cubicBezTo>
                        <a:pt x="421" y="816"/>
                        <a:pt x="426" y="819"/>
                        <a:pt x="430" y="819"/>
                      </a:cubicBezTo>
                      <a:cubicBezTo>
                        <a:pt x="434" y="819"/>
                        <a:pt x="438" y="791"/>
                        <a:pt x="438" y="791"/>
                      </a:cubicBezTo>
                      <a:cubicBezTo>
                        <a:pt x="468" y="792"/>
                        <a:pt x="468" y="792"/>
                        <a:pt x="468" y="792"/>
                      </a:cubicBezTo>
                      <a:cubicBezTo>
                        <a:pt x="469" y="785"/>
                        <a:pt x="469" y="785"/>
                        <a:pt x="469" y="785"/>
                      </a:cubicBezTo>
                      <a:cubicBezTo>
                        <a:pt x="481" y="793"/>
                        <a:pt x="481" y="793"/>
                        <a:pt x="481" y="793"/>
                      </a:cubicBezTo>
                      <a:cubicBezTo>
                        <a:pt x="500" y="788"/>
                        <a:pt x="500" y="788"/>
                        <a:pt x="500" y="788"/>
                      </a:cubicBezTo>
                      <a:cubicBezTo>
                        <a:pt x="502" y="757"/>
                        <a:pt x="502" y="757"/>
                        <a:pt x="502" y="757"/>
                      </a:cubicBezTo>
                      <a:cubicBezTo>
                        <a:pt x="492" y="757"/>
                        <a:pt x="492" y="757"/>
                        <a:pt x="492" y="757"/>
                      </a:cubicBezTo>
                      <a:cubicBezTo>
                        <a:pt x="497" y="747"/>
                        <a:pt x="497" y="747"/>
                        <a:pt x="497" y="747"/>
                      </a:cubicBezTo>
                      <a:cubicBezTo>
                        <a:pt x="505" y="748"/>
                        <a:pt x="505" y="748"/>
                        <a:pt x="505" y="748"/>
                      </a:cubicBezTo>
                      <a:cubicBezTo>
                        <a:pt x="512" y="733"/>
                        <a:pt x="512" y="733"/>
                        <a:pt x="512" y="733"/>
                      </a:cubicBezTo>
                      <a:cubicBezTo>
                        <a:pt x="525" y="735"/>
                        <a:pt x="525" y="735"/>
                        <a:pt x="525" y="735"/>
                      </a:cubicBezTo>
                      <a:cubicBezTo>
                        <a:pt x="528" y="720"/>
                        <a:pt x="528" y="720"/>
                        <a:pt x="528" y="720"/>
                      </a:cubicBezTo>
                      <a:cubicBezTo>
                        <a:pt x="536" y="715"/>
                        <a:pt x="536" y="715"/>
                        <a:pt x="536" y="715"/>
                      </a:cubicBezTo>
                      <a:lnTo>
                        <a:pt x="530" y="697"/>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84" name="Lorraine" descr="© INSCALE GmbH, 05.05.2010&#10;http://www.presentationload.com/">
                  <a:extLst>
                    <a:ext uri="{FF2B5EF4-FFF2-40B4-BE49-F238E27FC236}">
                      <a16:creationId xmlns:a16="http://schemas.microsoft.com/office/drawing/2014/main" id="{4057FD6E-4468-4A74-8BE4-E02775497E05}"/>
                    </a:ext>
                  </a:extLst>
                </p:cNvPr>
                <p:cNvSpPr>
                  <a:spLocks/>
                </p:cNvSpPr>
                <p:nvPr/>
              </p:nvSpPr>
              <p:spPr bwMode="gray">
                <a:xfrm>
                  <a:off x="2349" y="641"/>
                  <a:ext cx="619" cy="618"/>
                </a:xfrm>
                <a:custGeom>
                  <a:avLst/>
                  <a:gdLst/>
                  <a:ahLst/>
                  <a:cxnLst>
                    <a:cxn ang="0">
                      <a:pos x="552" y="140"/>
                    </a:cxn>
                    <a:cxn ang="0">
                      <a:pos x="524" y="152"/>
                    </a:cxn>
                    <a:cxn ang="0">
                      <a:pos x="482" y="143"/>
                    </a:cxn>
                    <a:cxn ang="0">
                      <a:pos x="464" y="142"/>
                    </a:cxn>
                    <a:cxn ang="0">
                      <a:pos x="429" y="124"/>
                    </a:cxn>
                    <a:cxn ang="0">
                      <a:pos x="423" y="143"/>
                    </a:cxn>
                    <a:cxn ang="0">
                      <a:pos x="395" y="131"/>
                    </a:cxn>
                    <a:cxn ang="0">
                      <a:pos x="388" y="114"/>
                    </a:cxn>
                    <a:cxn ang="0">
                      <a:pos x="365" y="84"/>
                    </a:cxn>
                    <a:cxn ang="0">
                      <a:pos x="368" y="71"/>
                    </a:cxn>
                    <a:cxn ang="0">
                      <a:pos x="333" y="43"/>
                    </a:cxn>
                    <a:cxn ang="0">
                      <a:pos x="281" y="38"/>
                    </a:cxn>
                    <a:cxn ang="0">
                      <a:pos x="233" y="36"/>
                    </a:cxn>
                    <a:cxn ang="0">
                      <a:pos x="191" y="20"/>
                    </a:cxn>
                    <a:cxn ang="0">
                      <a:pos x="165" y="33"/>
                    </a:cxn>
                    <a:cxn ang="0">
                      <a:pos x="128" y="21"/>
                    </a:cxn>
                    <a:cxn ang="0">
                      <a:pos x="92" y="21"/>
                    </a:cxn>
                    <a:cxn ang="0">
                      <a:pos x="70" y="37"/>
                    </a:cxn>
                    <a:cxn ang="0">
                      <a:pos x="49" y="30"/>
                    </a:cxn>
                    <a:cxn ang="0">
                      <a:pos x="26" y="49"/>
                    </a:cxn>
                    <a:cxn ang="0">
                      <a:pos x="21" y="107"/>
                    </a:cxn>
                    <a:cxn ang="0">
                      <a:pos x="8" y="137"/>
                    </a:cxn>
                    <a:cxn ang="0">
                      <a:pos x="4" y="151"/>
                    </a:cxn>
                    <a:cxn ang="0">
                      <a:pos x="26" y="223"/>
                    </a:cxn>
                    <a:cxn ang="0">
                      <a:pos x="6" y="263"/>
                    </a:cxn>
                    <a:cxn ang="0">
                      <a:pos x="26" y="295"/>
                    </a:cxn>
                    <a:cxn ang="0">
                      <a:pos x="33" y="329"/>
                    </a:cxn>
                    <a:cxn ang="0">
                      <a:pos x="125" y="395"/>
                    </a:cxn>
                    <a:cxn ang="0">
                      <a:pos x="118" y="409"/>
                    </a:cxn>
                    <a:cxn ang="0">
                      <a:pos x="136" y="414"/>
                    </a:cxn>
                    <a:cxn ang="0">
                      <a:pos x="165" y="449"/>
                    </a:cxn>
                    <a:cxn ang="0">
                      <a:pos x="181" y="461"/>
                    </a:cxn>
                    <a:cxn ang="0">
                      <a:pos x="160" y="502"/>
                    </a:cxn>
                    <a:cxn ang="0">
                      <a:pos x="197" y="519"/>
                    </a:cxn>
                    <a:cxn ang="0">
                      <a:pos x="201" y="539"/>
                    </a:cxn>
                    <a:cxn ang="0">
                      <a:pos x="217" y="544"/>
                    </a:cxn>
                    <a:cxn ang="0">
                      <a:pos x="234" y="534"/>
                    </a:cxn>
                    <a:cxn ang="0">
                      <a:pos x="244" y="537"/>
                    </a:cxn>
                    <a:cxn ang="0">
                      <a:pos x="274" y="517"/>
                    </a:cxn>
                    <a:cxn ang="0">
                      <a:pos x="286" y="534"/>
                    </a:cxn>
                    <a:cxn ang="0">
                      <a:pos x="337" y="537"/>
                    </a:cxn>
                    <a:cxn ang="0">
                      <a:pos x="372" y="537"/>
                    </a:cxn>
                    <a:cxn ang="0">
                      <a:pos x="414" y="562"/>
                    </a:cxn>
                    <a:cxn ang="0">
                      <a:pos x="442" y="559"/>
                    </a:cxn>
                    <a:cxn ang="0">
                      <a:pos x="441" y="545"/>
                    </a:cxn>
                    <a:cxn ang="0">
                      <a:pos x="472" y="470"/>
                    </a:cxn>
                    <a:cxn ang="0">
                      <a:pos x="490" y="411"/>
                    </a:cxn>
                    <a:cxn ang="0">
                      <a:pos x="469" y="399"/>
                    </a:cxn>
                    <a:cxn ang="0">
                      <a:pos x="458" y="343"/>
                    </a:cxn>
                    <a:cxn ang="0">
                      <a:pos x="508" y="299"/>
                    </a:cxn>
                    <a:cxn ang="0">
                      <a:pos x="477" y="242"/>
                    </a:cxn>
                    <a:cxn ang="0">
                      <a:pos x="449" y="243"/>
                    </a:cxn>
                    <a:cxn ang="0">
                      <a:pos x="429" y="223"/>
                    </a:cxn>
                    <a:cxn ang="0">
                      <a:pos x="450" y="166"/>
                    </a:cxn>
                    <a:cxn ang="0">
                      <a:pos x="465" y="189"/>
                    </a:cxn>
                    <a:cxn ang="0">
                      <a:pos x="533" y="197"/>
                    </a:cxn>
                    <a:cxn ang="0">
                      <a:pos x="563" y="150"/>
                    </a:cxn>
                  </a:cxnLst>
                  <a:rect l="0" t="0" r="r" b="b"/>
                  <a:pathLst>
                    <a:path w="574" h="573">
                      <a:moveTo>
                        <a:pt x="563" y="150"/>
                      </a:moveTo>
                      <a:cubicBezTo>
                        <a:pt x="569" y="145"/>
                        <a:pt x="561" y="142"/>
                        <a:pt x="552" y="140"/>
                      </a:cubicBezTo>
                      <a:cubicBezTo>
                        <a:pt x="542" y="130"/>
                        <a:pt x="536" y="147"/>
                        <a:pt x="536" y="147"/>
                      </a:cubicBezTo>
                      <a:cubicBezTo>
                        <a:pt x="524" y="152"/>
                        <a:pt x="524" y="152"/>
                        <a:pt x="524" y="152"/>
                      </a:cubicBezTo>
                      <a:cubicBezTo>
                        <a:pt x="489" y="154"/>
                        <a:pt x="489" y="154"/>
                        <a:pt x="489" y="154"/>
                      </a:cubicBezTo>
                      <a:cubicBezTo>
                        <a:pt x="482" y="143"/>
                        <a:pt x="482" y="143"/>
                        <a:pt x="482" y="143"/>
                      </a:cubicBezTo>
                      <a:cubicBezTo>
                        <a:pt x="471" y="154"/>
                        <a:pt x="471" y="154"/>
                        <a:pt x="471" y="154"/>
                      </a:cubicBezTo>
                      <a:cubicBezTo>
                        <a:pt x="464" y="142"/>
                        <a:pt x="464" y="142"/>
                        <a:pt x="464" y="142"/>
                      </a:cubicBezTo>
                      <a:cubicBezTo>
                        <a:pt x="464" y="122"/>
                        <a:pt x="438" y="126"/>
                        <a:pt x="438" y="126"/>
                      </a:cubicBezTo>
                      <a:cubicBezTo>
                        <a:pt x="429" y="124"/>
                        <a:pt x="429" y="124"/>
                        <a:pt x="429" y="124"/>
                      </a:cubicBezTo>
                      <a:cubicBezTo>
                        <a:pt x="431" y="135"/>
                        <a:pt x="431" y="135"/>
                        <a:pt x="431" y="135"/>
                      </a:cubicBezTo>
                      <a:cubicBezTo>
                        <a:pt x="423" y="143"/>
                        <a:pt x="423" y="143"/>
                        <a:pt x="423" y="143"/>
                      </a:cubicBezTo>
                      <a:cubicBezTo>
                        <a:pt x="419" y="140"/>
                        <a:pt x="419" y="140"/>
                        <a:pt x="419" y="140"/>
                      </a:cubicBezTo>
                      <a:cubicBezTo>
                        <a:pt x="397" y="145"/>
                        <a:pt x="395" y="131"/>
                        <a:pt x="395" y="131"/>
                      </a:cubicBezTo>
                      <a:cubicBezTo>
                        <a:pt x="403" y="125"/>
                        <a:pt x="397" y="121"/>
                        <a:pt x="397" y="121"/>
                      </a:cubicBezTo>
                      <a:cubicBezTo>
                        <a:pt x="392" y="126"/>
                        <a:pt x="388" y="114"/>
                        <a:pt x="388" y="114"/>
                      </a:cubicBezTo>
                      <a:cubicBezTo>
                        <a:pt x="389" y="107"/>
                        <a:pt x="377" y="99"/>
                        <a:pt x="370" y="96"/>
                      </a:cubicBezTo>
                      <a:cubicBezTo>
                        <a:pt x="370" y="88"/>
                        <a:pt x="365" y="84"/>
                        <a:pt x="365" y="84"/>
                      </a:cubicBezTo>
                      <a:cubicBezTo>
                        <a:pt x="371" y="79"/>
                        <a:pt x="371" y="79"/>
                        <a:pt x="371" y="79"/>
                      </a:cubicBezTo>
                      <a:cubicBezTo>
                        <a:pt x="368" y="71"/>
                        <a:pt x="368" y="71"/>
                        <a:pt x="368" y="71"/>
                      </a:cubicBezTo>
                      <a:cubicBezTo>
                        <a:pt x="361" y="71"/>
                        <a:pt x="358" y="59"/>
                        <a:pt x="358" y="59"/>
                      </a:cubicBezTo>
                      <a:cubicBezTo>
                        <a:pt x="333" y="43"/>
                        <a:pt x="333" y="43"/>
                        <a:pt x="333" y="43"/>
                      </a:cubicBezTo>
                      <a:cubicBezTo>
                        <a:pt x="317" y="61"/>
                        <a:pt x="297" y="38"/>
                        <a:pt x="297" y="38"/>
                      </a:cubicBezTo>
                      <a:cubicBezTo>
                        <a:pt x="297" y="38"/>
                        <a:pt x="297" y="38"/>
                        <a:pt x="281" y="38"/>
                      </a:cubicBezTo>
                      <a:cubicBezTo>
                        <a:pt x="272" y="54"/>
                        <a:pt x="245" y="52"/>
                        <a:pt x="243" y="48"/>
                      </a:cubicBezTo>
                      <a:cubicBezTo>
                        <a:pt x="241" y="44"/>
                        <a:pt x="233" y="36"/>
                        <a:pt x="233" y="36"/>
                      </a:cubicBezTo>
                      <a:cubicBezTo>
                        <a:pt x="233" y="36"/>
                        <a:pt x="223" y="33"/>
                        <a:pt x="212" y="31"/>
                      </a:cubicBezTo>
                      <a:cubicBezTo>
                        <a:pt x="206" y="20"/>
                        <a:pt x="191" y="20"/>
                        <a:pt x="191" y="20"/>
                      </a:cubicBezTo>
                      <a:cubicBezTo>
                        <a:pt x="175" y="19"/>
                        <a:pt x="175" y="19"/>
                        <a:pt x="175" y="19"/>
                      </a:cubicBezTo>
                      <a:cubicBezTo>
                        <a:pt x="165" y="33"/>
                        <a:pt x="165" y="33"/>
                        <a:pt x="165" y="33"/>
                      </a:cubicBezTo>
                      <a:cubicBezTo>
                        <a:pt x="165" y="33"/>
                        <a:pt x="162" y="29"/>
                        <a:pt x="145" y="30"/>
                      </a:cubicBezTo>
                      <a:cubicBezTo>
                        <a:pt x="126" y="45"/>
                        <a:pt x="129" y="24"/>
                        <a:pt x="128" y="21"/>
                      </a:cubicBezTo>
                      <a:cubicBezTo>
                        <a:pt x="128" y="5"/>
                        <a:pt x="111" y="1"/>
                        <a:pt x="104" y="0"/>
                      </a:cubicBezTo>
                      <a:cubicBezTo>
                        <a:pt x="92" y="21"/>
                        <a:pt x="92" y="21"/>
                        <a:pt x="92" y="21"/>
                      </a:cubicBezTo>
                      <a:cubicBezTo>
                        <a:pt x="78" y="22"/>
                        <a:pt x="78" y="22"/>
                        <a:pt x="78" y="22"/>
                      </a:cubicBezTo>
                      <a:cubicBezTo>
                        <a:pt x="70" y="37"/>
                        <a:pt x="70" y="37"/>
                        <a:pt x="70" y="37"/>
                      </a:cubicBezTo>
                      <a:cubicBezTo>
                        <a:pt x="58" y="30"/>
                        <a:pt x="58" y="30"/>
                        <a:pt x="58" y="30"/>
                      </a:cubicBezTo>
                      <a:cubicBezTo>
                        <a:pt x="49" y="30"/>
                        <a:pt x="49" y="30"/>
                        <a:pt x="49" y="30"/>
                      </a:cubicBezTo>
                      <a:cubicBezTo>
                        <a:pt x="32" y="25"/>
                        <a:pt x="32" y="25"/>
                        <a:pt x="32" y="25"/>
                      </a:cubicBezTo>
                      <a:cubicBezTo>
                        <a:pt x="32" y="25"/>
                        <a:pt x="30" y="51"/>
                        <a:pt x="26" y="49"/>
                      </a:cubicBezTo>
                      <a:cubicBezTo>
                        <a:pt x="38" y="63"/>
                        <a:pt x="38" y="78"/>
                        <a:pt x="38" y="78"/>
                      </a:cubicBezTo>
                      <a:cubicBezTo>
                        <a:pt x="38" y="78"/>
                        <a:pt x="25" y="102"/>
                        <a:pt x="21" y="107"/>
                      </a:cubicBezTo>
                      <a:cubicBezTo>
                        <a:pt x="17" y="113"/>
                        <a:pt x="25" y="125"/>
                        <a:pt x="25" y="125"/>
                      </a:cubicBezTo>
                      <a:cubicBezTo>
                        <a:pt x="8" y="137"/>
                        <a:pt x="8" y="137"/>
                        <a:pt x="8" y="137"/>
                      </a:cubicBezTo>
                      <a:cubicBezTo>
                        <a:pt x="14" y="143"/>
                        <a:pt x="14" y="143"/>
                        <a:pt x="14" y="143"/>
                      </a:cubicBezTo>
                      <a:cubicBezTo>
                        <a:pt x="4" y="151"/>
                        <a:pt x="4" y="151"/>
                        <a:pt x="4" y="151"/>
                      </a:cubicBezTo>
                      <a:cubicBezTo>
                        <a:pt x="4" y="151"/>
                        <a:pt x="20" y="197"/>
                        <a:pt x="17" y="201"/>
                      </a:cubicBezTo>
                      <a:cubicBezTo>
                        <a:pt x="28" y="195"/>
                        <a:pt x="25" y="214"/>
                        <a:pt x="26" y="223"/>
                      </a:cubicBezTo>
                      <a:cubicBezTo>
                        <a:pt x="28" y="233"/>
                        <a:pt x="4" y="242"/>
                        <a:pt x="4" y="242"/>
                      </a:cubicBezTo>
                      <a:cubicBezTo>
                        <a:pt x="6" y="263"/>
                        <a:pt x="6" y="263"/>
                        <a:pt x="6" y="263"/>
                      </a:cubicBezTo>
                      <a:cubicBezTo>
                        <a:pt x="0" y="277"/>
                        <a:pt x="0" y="277"/>
                        <a:pt x="0" y="277"/>
                      </a:cubicBezTo>
                      <a:cubicBezTo>
                        <a:pt x="26" y="295"/>
                        <a:pt x="26" y="295"/>
                        <a:pt x="26" y="295"/>
                      </a:cubicBezTo>
                      <a:cubicBezTo>
                        <a:pt x="25" y="335"/>
                        <a:pt x="25" y="335"/>
                        <a:pt x="25" y="335"/>
                      </a:cubicBezTo>
                      <a:cubicBezTo>
                        <a:pt x="33" y="329"/>
                        <a:pt x="33" y="329"/>
                        <a:pt x="33" y="329"/>
                      </a:cubicBezTo>
                      <a:cubicBezTo>
                        <a:pt x="33" y="329"/>
                        <a:pt x="68" y="356"/>
                        <a:pt x="67" y="359"/>
                      </a:cubicBezTo>
                      <a:cubicBezTo>
                        <a:pt x="84" y="359"/>
                        <a:pt x="125" y="395"/>
                        <a:pt x="125" y="395"/>
                      </a:cubicBezTo>
                      <a:cubicBezTo>
                        <a:pt x="113" y="401"/>
                        <a:pt x="113" y="401"/>
                        <a:pt x="113" y="401"/>
                      </a:cubicBezTo>
                      <a:cubicBezTo>
                        <a:pt x="118" y="409"/>
                        <a:pt x="118" y="409"/>
                        <a:pt x="118" y="409"/>
                      </a:cubicBezTo>
                      <a:cubicBezTo>
                        <a:pt x="118" y="409"/>
                        <a:pt x="120" y="412"/>
                        <a:pt x="120" y="415"/>
                      </a:cubicBezTo>
                      <a:cubicBezTo>
                        <a:pt x="126" y="411"/>
                        <a:pt x="136" y="414"/>
                        <a:pt x="136" y="414"/>
                      </a:cubicBezTo>
                      <a:cubicBezTo>
                        <a:pt x="149" y="437"/>
                        <a:pt x="149" y="437"/>
                        <a:pt x="149" y="437"/>
                      </a:cubicBezTo>
                      <a:cubicBezTo>
                        <a:pt x="165" y="426"/>
                        <a:pt x="165" y="449"/>
                        <a:pt x="165" y="449"/>
                      </a:cubicBezTo>
                      <a:cubicBezTo>
                        <a:pt x="174" y="450"/>
                        <a:pt x="174" y="450"/>
                        <a:pt x="174" y="450"/>
                      </a:cubicBezTo>
                      <a:cubicBezTo>
                        <a:pt x="181" y="461"/>
                        <a:pt x="181" y="461"/>
                        <a:pt x="181" y="461"/>
                      </a:cubicBezTo>
                      <a:cubicBezTo>
                        <a:pt x="170" y="466"/>
                        <a:pt x="170" y="490"/>
                        <a:pt x="170" y="490"/>
                      </a:cubicBezTo>
                      <a:cubicBezTo>
                        <a:pt x="160" y="502"/>
                        <a:pt x="160" y="502"/>
                        <a:pt x="160" y="502"/>
                      </a:cubicBezTo>
                      <a:cubicBezTo>
                        <a:pt x="177" y="506"/>
                        <a:pt x="177" y="506"/>
                        <a:pt x="177" y="506"/>
                      </a:cubicBezTo>
                      <a:cubicBezTo>
                        <a:pt x="197" y="519"/>
                        <a:pt x="197" y="519"/>
                        <a:pt x="197" y="519"/>
                      </a:cubicBezTo>
                      <a:cubicBezTo>
                        <a:pt x="198" y="537"/>
                        <a:pt x="198" y="537"/>
                        <a:pt x="198" y="537"/>
                      </a:cubicBezTo>
                      <a:cubicBezTo>
                        <a:pt x="201" y="539"/>
                        <a:pt x="201" y="539"/>
                        <a:pt x="201" y="539"/>
                      </a:cubicBezTo>
                      <a:cubicBezTo>
                        <a:pt x="214" y="547"/>
                        <a:pt x="214" y="547"/>
                        <a:pt x="214" y="547"/>
                      </a:cubicBezTo>
                      <a:cubicBezTo>
                        <a:pt x="217" y="544"/>
                        <a:pt x="217" y="544"/>
                        <a:pt x="217" y="544"/>
                      </a:cubicBezTo>
                      <a:cubicBezTo>
                        <a:pt x="224" y="533"/>
                        <a:pt x="224" y="533"/>
                        <a:pt x="224" y="533"/>
                      </a:cubicBezTo>
                      <a:cubicBezTo>
                        <a:pt x="234" y="534"/>
                        <a:pt x="234" y="534"/>
                        <a:pt x="234" y="534"/>
                      </a:cubicBezTo>
                      <a:cubicBezTo>
                        <a:pt x="230" y="543"/>
                        <a:pt x="230" y="543"/>
                        <a:pt x="230" y="543"/>
                      </a:cubicBezTo>
                      <a:cubicBezTo>
                        <a:pt x="244" y="537"/>
                        <a:pt x="244" y="537"/>
                        <a:pt x="244" y="537"/>
                      </a:cubicBezTo>
                      <a:cubicBezTo>
                        <a:pt x="249" y="523"/>
                        <a:pt x="249" y="523"/>
                        <a:pt x="249" y="523"/>
                      </a:cubicBezTo>
                      <a:cubicBezTo>
                        <a:pt x="274" y="517"/>
                        <a:pt x="274" y="517"/>
                        <a:pt x="274" y="517"/>
                      </a:cubicBezTo>
                      <a:cubicBezTo>
                        <a:pt x="273" y="533"/>
                        <a:pt x="273" y="533"/>
                        <a:pt x="273" y="533"/>
                      </a:cubicBezTo>
                      <a:cubicBezTo>
                        <a:pt x="286" y="534"/>
                        <a:pt x="286" y="534"/>
                        <a:pt x="286" y="534"/>
                      </a:cubicBezTo>
                      <a:cubicBezTo>
                        <a:pt x="285" y="543"/>
                        <a:pt x="285" y="543"/>
                        <a:pt x="285" y="543"/>
                      </a:cubicBezTo>
                      <a:cubicBezTo>
                        <a:pt x="285" y="543"/>
                        <a:pt x="333" y="526"/>
                        <a:pt x="337" y="537"/>
                      </a:cubicBezTo>
                      <a:cubicBezTo>
                        <a:pt x="341" y="547"/>
                        <a:pt x="346" y="554"/>
                        <a:pt x="346" y="554"/>
                      </a:cubicBezTo>
                      <a:cubicBezTo>
                        <a:pt x="372" y="537"/>
                        <a:pt x="372" y="537"/>
                        <a:pt x="372" y="537"/>
                      </a:cubicBezTo>
                      <a:cubicBezTo>
                        <a:pt x="381" y="549"/>
                        <a:pt x="381" y="549"/>
                        <a:pt x="381" y="549"/>
                      </a:cubicBezTo>
                      <a:cubicBezTo>
                        <a:pt x="414" y="562"/>
                        <a:pt x="414" y="562"/>
                        <a:pt x="414" y="562"/>
                      </a:cubicBezTo>
                      <a:cubicBezTo>
                        <a:pt x="414" y="562"/>
                        <a:pt x="422" y="573"/>
                        <a:pt x="428" y="570"/>
                      </a:cubicBezTo>
                      <a:cubicBezTo>
                        <a:pt x="433" y="567"/>
                        <a:pt x="442" y="559"/>
                        <a:pt x="442" y="559"/>
                      </a:cubicBezTo>
                      <a:cubicBezTo>
                        <a:pt x="437" y="550"/>
                        <a:pt x="437" y="550"/>
                        <a:pt x="437" y="550"/>
                      </a:cubicBezTo>
                      <a:cubicBezTo>
                        <a:pt x="441" y="545"/>
                        <a:pt x="441" y="545"/>
                        <a:pt x="441" y="545"/>
                      </a:cubicBezTo>
                      <a:cubicBezTo>
                        <a:pt x="442" y="514"/>
                        <a:pt x="442" y="514"/>
                        <a:pt x="442" y="514"/>
                      </a:cubicBezTo>
                      <a:cubicBezTo>
                        <a:pt x="442" y="514"/>
                        <a:pt x="460" y="511"/>
                        <a:pt x="472" y="470"/>
                      </a:cubicBezTo>
                      <a:cubicBezTo>
                        <a:pt x="476" y="470"/>
                        <a:pt x="469" y="466"/>
                        <a:pt x="469" y="466"/>
                      </a:cubicBezTo>
                      <a:cubicBezTo>
                        <a:pt x="490" y="411"/>
                        <a:pt x="490" y="411"/>
                        <a:pt x="490" y="411"/>
                      </a:cubicBezTo>
                      <a:cubicBezTo>
                        <a:pt x="489" y="402"/>
                        <a:pt x="489" y="402"/>
                        <a:pt x="489" y="402"/>
                      </a:cubicBezTo>
                      <a:cubicBezTo>
                        <a:pt x="489" y="402"/>
                        <a:pt x="469" y="411"/>
                        <a:pt x="469" y="399"/>
                      </a:cubicBezTo>
                      <a:cubicBezTo>
                        <a:pt x="469" y="387"/>
                        <a:pt x="472" y="349"/>
                        <a:pt x="472" y="349"/>
                      </a:cubicBezTo>
                      <a:cubicBezTo>
                        <a:pt x="458" y="343"/>
                        <a:pt x="458" y="343"/>
                        <a:pt x="458" y="343"/>
                      </a:cubicBezTo>
                      <a:cubicBezTo>
                        <a:pt x="480" y="338"/>
                        <a:pt x="480" y="338"/>
                        <a:pt x="480" y="338"/>
                      </a:cubicBezTo>
                      <a:cubicBezTo>
                        <a:pt x="480" y="338"/>
                        <a:pt x="505" y="337"/>
                        <a:pt x="508" y="299"/>
                      </a:cubicBezTo>
                      <a:cubicBezTo>
                        <a:pt x="506" y="304"/>
                        <a:pt x="487" y="294"/>
                        <a:pt x="505" y="262"/>
                      </a:cubicBezTo>
                      <a:cubicBezTo>
                        <a:pt x="502" y="260"/>
                        <a:pt x="483" y="244"/>
                        <a:pt x="477" y="242"/>
                      </a:cubicBezTo>
                      <a:cubicBezTo>
                        <a:pt x="470" y="239"/>
                        <a:pt x="457" y="258"/>
                        <a:pt x="457" y="258"/>
                      </a:cubicBezTo>
                      <a:cubicBezTo>
                        <a:pt x="449" y="243"/>
                        <a:pt x="449" y="243"/>
                        <a:pt x="449" y="243"/>
                      </a:cubicBezTo>
                      <a:cubicBezTo>
                        <a:pt x="457" y="233"/>
                        <a:pt x="457" y="233"/>
                        <a:pt x="457" y="233"/>
                      </a:cubicBezTo>
                      <a:cubicBezTo>
                        <a:pt x="429" y="223"/>
                        <a:pt x="429" y="223"/>
                        <a:pt x="429" y="223"/>
                      </a:cubicBezTo>
                      <a:cubicBezTo>
                        <a:pt x="429" y="223"/>
                        <a:pt x="434" y="203"/>
                        <a:pt x="444" y="205"/>
                      </a:cubicBezTo>
                      <a:cubicBezTo>
                        <a:pt x="450" y="166"/>
                        <a:pt x="450" y="166"/>
                        <a:pt x="450" y="166"/>
                      </a:cubicBezTo>
                      <a:cubicBezTo>
                        <a:pt x="456" y="167"/>
                        <a:pt x="456" y="167"/>
                        <a:pt x="456" y="167"/>
                      </a:cubicBezTo>
                      <a:cubicBezTo>
                        <a:pt x="465" y="189"/>
                        <a:pt x="465" y="189"/>
                        <a:pt x="465" y="189"/>
                      </a:cubicBezTo>
                      <a:cubicBezTo>
                        <a:pt x="493" y="193"/>
                        <a:pt x="493" y="193"/>
                        <a:pt x="493" y="193"/>
                      </a:cubicBezTo>
                      <a:cubicBezTo>
                        <a:pt x="493" y="193"/>
                        <a:pt x="498" y="217"/>
                        <a:pt x="533" y="197"/>
                      </a:cubicBezTo>
                      <a:cubicBezTo>
                        <a:pt x="533" y="197"/>
                        <a:pt x="553" y="229"/>
                        <a:pt x="574" y="164"/>
                      </a:cubicBezTo>
                      <a:lnTo>
                        <a:pt x="563" y="150"/>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85" name="Alsace" descr="© INSCALE GmbH, 05.05.2010&#10;http://www.presentationload.com/">
                  <a:extLst>
                    <a:ext uri="{FF2B5EF4-FFF2-40B4-BE49-F238E27FC236}">
                      <a16:creationId xmlns:a16="http://schemas.microsoft.com/office/drawing/2014/main" id="{E19FE908-E143-4047-8835-AA87C62577C4}"/>
                    </a:ext>
                  </a:extLst>
                </p:cNvPr>
                <p:cNvSpPr>
                  <a:spLocks/>
                </p:cNvSpPr>
                <p:nvPr/>
              </p:nvSpPr>
              <p:spPr bwMode="gray">
                <a:xfrm>
                  <a:off x="2808" y="818"/>
                  <a:ext cx="317" cy="567"/>
                </a:xfrm>
                <a:custGeom>
                  <a:avLst/>
                  <a:gdLst/>
                  <a:ahLst/>
                  <a:cxnLst>
                    <a:cxn ang="0">
                      <a:pos x="271" y="35"/>
                    </a:cxn>
                    <a:cxn ang="0">
                      <a:pos x="250" y="20"/>
                    </a:cxn>
                    <a:cxn ang="0">
                      <a:pos x="242" y="22"/>
                    </a:cxn>
                    <a:cxn ang="0">
                      <a:pos x="225" y="13"/>
                    </a:cxn>
                    <a:cxn ang="0">
                      <a:pos x="206" y="12"/>
                    </a:cxn>
                    <a:cxn ang="0">
                      <a:pos x="172" y="14"/>
                    </a:cxn>
                    <a:cxn ang="0">
                      <a:pos x="164" y="2"/>
                    </a:cxn>
                    <a:cxn ang="0">
                      <a:pos x="152" y="4"/>
                    </a:cxn>
                    <a:cxn ang="0">
                      <a:pos x="148" y="0"/>
                    </a:cxn>
                    <a:cxn ang="0">
                      <a:pos x="107" y="33"/>
                    </a:cxn>
                    <a:cxn ang="0">
                      <a:pos x="67" y="29"/>
                    </a:cxn>
                    <a:cxn ang="0">
                      <a:pos x="39" y="25"/>
                    </a:cxn>
                    <a:cxn ang="0">
                      <a:pos x="30" y="3"/>
                    </a:cxn>
                    <a:cxn ang="0">
                      <a:pos x="24" y="2"/>
                    </a:cxn>
                    <a:cxn ang="0">
                      <a:pos x="18" y="41"/>
                    </a:cxn>
                    <a:cxn ang="0">
                      <a:pos x="3" y="59"/>
                    </a:cxn>
                    <a:cxn ang="0">
                      <a:pos x="31" y="69"/>
                    </a:cxn>
                    <a:cxn ang="0">
                      <a:pos x="23" y="79"/>
                    </a:cxn>
                    <a:cxn ang="0">
                      <a:pos x="31" y="94"/>
                    </a:cxn>
                    <a:cxn ang="0">
                      <a:pos x="51" y="78"/>
                    </a:cxn>
                    <a:cxn ang="0">
                      <a:pos x="79" y="98"/>
                    </a:cxn>
                    <a:cxn ang="0">
                      <a:pos x="82" y="135"/>
                    </a:cxn>
                    <a:cxn ang="0">
                      <a:pos x="54" y="174"/>
                    </a:cxn>
                    <a:cxn ang="0">
                      <a:pos x="32" y="179"/>
                    </a:cxn>
                    <a:cxn ang="0">
                      <a:pos x="46" y="185"/>
                    </a:cxn>
                    <a:cxn ang="0">
                      <a:pos x="43" y="235"/>
                    </a:cxn>
                    <a:cxn ang="0">
                      <a:pos x="63" y="238"/>
                    </a:cxn>
                    <a:cxn ang="0">
                      <a:pos x="64" y="247"/>
                    </a:cxn>
                    <a:cxn ang="0">
                      <a:pos x="43" y="302"/>
                    </a:cxn>
                    <a:cxn ang="0">
                      <a:pos x="46" y="306"/>
                    </a:cxn>
                    <a:cxn ang="0">
                      <a:pos x="16" y="350"/>
                    </a:cxn>
                    <a:cxn ang="0">
                      <a:pos x="15" y="381"/>
                    </a:cxn>
                    <a:cxn ang="0">
                      <a:pos x="11" y="386"/>
                    </a:cxn>
                    <a:cxn ang="0">
                      <a:pos x="16" y="395"/>
                    </a:cxn>
                    <a:cxn ang="0">
                      <a:pos x="2" y="406"/>
                    </a:cxn>
                    <a:cxn ang="0">
                      <a:pos x="0" y="406"/>
                    </a:cxn>
                    <a:cxn ang="0">
                      <a:pos x="4" y="417"/>
                    </a:cxn>
                    <a:cxn ang="0">
                      <a:pos x="43" y="471"/>
                    </a:cxn>
                    <a:cxn ang="0">
                      <a:pos x="66" y="496"/>
                    </a:cxn>
                    <a:cxn ang="0">
                      <a:pos x="90" y="499"/>
                    </a:cxn>
                    <a:cxn ang="0">
                      <a:pos x="113" y="510"/>
                    </a:cxn>
                    <a:cxn ang="0">
                      <a:pos x="143" y="491"/>
                    </a:cxn>
                    <a:cxn ang="0">
                      <a:pos x="152" y="503"/>
                    </a:cxn>
                    <a:cxn ang="0">
                      <a:pos x="161" y="493"/>
                    </a:cxn>
                    <a:cxn ang="0">
                      <a:pos x="174" y="463"/>
                    </a:cxn>
                    <a:cxn ang="0">
                      <a:pos x="165" y="419"/>
                    </a:cxn>
                    <a:cxn ang="0">
                      <a:pos x="167" y="386"/>
                    </a:cxn>
                    <a:cxn ang="0">
                      <a:pos x="176" y="349"/>
                    </a:cxn>
                    <a:cxn ang="0">
                      <a:pos x="176" y="336"/>
                    </a:cxn>
                    <a:cxn ang="0">
                      <a:pos x="185" y="262"/>
                    </a:cxn>
                    <a:cxn ang="0">
                      <a:pos x="199" y="229"/>
                    </a:cxn>
                    <a:cxn ang="0">
                      <a:pos x="209" y="177"/>
                    </a:cxn>
                    <a:cxn ang="0">
                      <a:pos x="218" y="138"/>
                    </a:cxn>
                    <a:cxn ang="0">
                      <a:pos x="245" y="104"/>
                    </a:cxn>
                    <a:cxn ang="0">
                      <a:pos x="261" y="93"/>
                    </a:cxn>
                    <a:cxn ang="0">
                      <a:pos x="279" y="58"/>
                    </a:cxn>
                    <a:cxn ang="0">
                      <a:pos x="294" y="35"/>
                    </a:cxn>
                    <a:cxn ang="0">
                      <a:pos x="271" y="35"/>
                    </a:cxn>
                  </a:cxnLst>
                  <a:rect l="0" t="0" r="r" b="b"/>
                  <a:pathLst>
                    <a:path w="294" h="526">
                      <a:moveTo>
                        <a:pt x="271" y="35"/>
                      </a:moveTo>
                      <a:cubicBezTo>
                        <a:pt x="250" y="20"/>
                        <a:pt x="250" y="20"/>
                        <a:pt x="250" y="20"/>
                      </a:cubicBezTo>
                      <a:cubicBezTo>
                        <a:pt x="242" y="22"/>
                        <a:pt x="242" y="22"/>
                        <a:pt x="242" y="22"/>
                      </a:cubicBezTo>
                      <a:cubicBezTo>
                        <a:pt x="233" y="7"/>
                        <a:pt x="232" y="15"/>
                        <a:pt x="225" y="13"/>
                      </a:cubicBezTo>
                      <a:cubicBezTo>
                        <a:pt x="215" y="25"/>
                        <a:pt x="206" y="12"/>
                        <a:pt x="206" y="12"/>
                      </a:cubicBezTo>
                      <a:cubicBezTo>
                        <a:pt x="172" y="14"/>
                        <a:pt x="172" y="14"/>
                        <a:pt x="172" y="14"/>
                      </a:cubicBezTo>
                      <a:cubicBezTo>
                        <a:pt x="164" y="2"/>
                        <a:pt x="164" y="2"/>
                        <a:pt x="164" y="2"/>
                      </a:cubicBezTo>
                      <a:cubicBezTo>
                        <a:pt x="152" y="4"/>
                        <a:pt x="152" y="4"/>
                        <a:pt x="152" y="4"/>
                      </a:cubicBezTo>
                      <a:cubicBezTo>
                        <a:pt x="148" y="0"/>
                        <a:pt x="148" y="0"/>
                        <a:pt x="148" y="0"/>
                      </a:cubicBezTo>
                      <a:cubicBezTo>
                        <a:pt x="127" y="65"/>
                        <a:pt x="107" y="33"/>
                        <a:pt x="107" y="33"/>
                      </a:cubicBezTo>
                      <a:cubicBezTo>
                        <a:pt x="72" y="53"/>
                        <a:pt x="67" y="29"/>
                        <a:pt x="67" y="29"/>
                      </a:cubicBezTo>
                      <a:cubicBezTo>
                        <a:pt x="39" y="25"/>
                        <a:pt x="39" y="25"/>
                        <a:pt x="39" y="25"/>
                      </a:cubicBezTo>
                      <a:cubicBezTo>
                        <a:pt x="30" y="3"/>
                        <a:pt x="30" y="3"/>
                        <a:pt x="30" y="3"/>
                      </a:cubicBezTo>
                      <a:cubicBezTo>
                        <a:pt x="24" y="2"/>
                        <a:pt x="24" y="2"/>
                        <a:pt x="24" y="2"/>
                      </a:cubicBezTo>
                      <a:cubicBezTo>
                        <a:pt x="18" y="41"/>
                        <a:pt x="18" y="41"/>
                        <a:pt x="18" y="41"/>
                      </a:cubicBezTo>
                      <a:cubicBezTo>
                        <a:pt x="8" y="39"/>
                        <a:pt x="3" y="59"/>
                        <a:pt x="3" y="59"/>
                      </a:cubicBezTo>
                      <a:cubicBezTo>
                        <a:pt x="31" y="69"/>
                        <a:pt x="31" y="69"/>
                        <a:pt x="31" y="69"/>
                      </a:cubicBezTo>
                      <a:cubicBezTo>
                        <a:pt x="23" y="79"/>
                        <a:pt x="23" y="79"/>
                        <a:pt x="23" y="79"/>
                      </a:cubicBezTo>
                      <a:cubicBezTo>
                        <a:pt x="31" y="94"/>
                        <a:pt x="31" y="94"/>
                        <a:pt x="31" y="94"/>
                      </a:cubicBezTo>
                      <a:cubicBezTo>
                        <a:pt x="31" y="94"/>
                        <a:pt x="44" y="75"/>
                        <a:pt x="51" y="78"/>
                      </a:cubicBezTo>
                      <a:cubicBezTo>
                        <a:pt x="57" y="80"/>
                        <a:pt x="76" y="96"/>
                        <a:pt x="79" y="98"/>
                      </a:cubicBezTo>
                      <a:cubicBezTo>
                        <a:pt x="61" y="130"/>
                        <a:pt x="80" y="140"/>
                        <a:pt x="82" y="135"/>
                      </a:cubicBezTo>
                      <a:cubicBezTo>
                        <a:pt x="79" y="173"/>
                        <a:pt x="54" y="174"/>
                        <a:pt x="54" y="174"/>
                      </a:cubicBezTo>
                      <a:cubicBezTo>
                        <a:pt x="32" y="179"/>
                        <a:pt x="32" y="179"/>
                        <a:pt x="32" y="179"/>
                      </a:cubicBezTo>
                      <a:cubicBezTo>
                        <a:pt x="46" y="185"/>
                        <a:pt x="46" y="185"/>
                        <a:pt x="46" y="185"/>
                      </a:cubicBezTo>
                      <a:cubicBezTo>
                        <a:pt x="46" y="185"/>
                        <a:pt x="43" y="223"/>
                        <a:pt x="43" y="235"/>
                      </a:cubicBezTo>
                      <a:cubicBezTo>
                        <a:pt x="43" y="247"/>
                        <a:pt x="63" y="238"/>
                        <a:pt x="63" y="238"/>
                      </a:cubicBezTo>
                      <a:cubicBezTo>
                        <a:pt x="64" y="247"/>
                        <a:pt x="64" y="247"/>
                        <a:pt x="64" y="247"/>
                      </a:cubicBezTo>
                      <a:cubicBezTo>
                        <a:pt x="43" y="302"/>
                        <a:pt x="43" y="302"/>
                        <a:pt x="43" y="302"/>
                      </a:cubicBezTo>
                      <a:cubicBezTo>
                        <a:pt x="43" y="302"/>
                        <a:pt x="50" y="306"/>
                        <a:pt x="46" y="306"/>
                      </a:cubicBezTo>
                      <a:cubicBezTo>
                        <a:pt x="34" y="347"/>
                        <a:pt x="16" y="350"/>
                        <a:pt x="16" y="350"/>
                      </a:cubicBezTo>
                      <a:cubicBezTo>
                        <a:pt x="15" y="381"/>
                        <a:pt x="15" y="381"/>
                        <a:pt x="15" y="381"/>
                      </a:cubicBezTo>
                      <a:cubicBezTo>
                        <a:pt x="11" y="386"/>
                        <a:pt x="11" y="386"/>
                        <a:pt x="11" y="386"/>
                      </a:cubicBezTo>
                      <a:cubicBezTo>
                        <a:pt x="16" y="395"/>
                        <a:pt x="16" y="395"/>
                        <a:pt x="16" y="395"/>
                      </a:cubicBezTo>
                      <a:cubicBezTo>
                        <a:pt x="16" y="395"/>
                        <a:pt x="7" y="403"/>
                        <a:pt x="2" y="406"/>
                      </a:cubicBezTo>
                      <a:cubicBezTo>
                        <a:pt x="1" y="406"/>
                        <a:pt x="1" y="406"/>
                        <a:pt x="0" y="406"/>
                      </a:cubicBezTo>
                      <a:cubicBezTo>
                        <a:pt x="4" y="417"/>
                        <a:pt x="4" y="417"/>
                        <a:pt x="4" y="417"/>
                      </a:cubicBezTo>
                      <a:cubicBezTo>
                        <a:pt x="4" y="417"/>
                        <a:pt x="52" y="414"/>
                        <a:pt x="43" y="471"/>
                      </a:cubicBezTo>
                      <a:cubicBezTo>
                        <a:pt x="45" y="477"/>
                        <a:pt x="61" y="476"/>
                        <a:pt x="66" y="496"/>
                      </a:cubicBezTo>
                      <a:cubicBezTo>
                        <a:pt x="76" y="498"/>
                        <a:pt x="87" y="500"/>
                        <a:pt x="90" y="499"/>
                      </a:cubicBezTo>
                      <a:cubicBezTo>
                        <a:pt x="92" y="526"/>
                        <a:pt x="116" y="512"/>
                        <a:pt x="113" y="510"/>
                      </a:cubicBezTo>
                      <a:cubicBezTo>
                        <a:pt x="153" y="521"/>
                        <a:pt x="143" y="491"/>
                        <a:pt x="143" y="491"/>
                      </a:cubicBezTo>
                      <a:cubicBezTo>
                        <a:pt x="152" y="503"/>
                        <a:pt x="152" y="503"/>
                        <a:pt x="152" y="503"/>
                      </a:cubicBezTo>
                      <a:cubicBezTo>
                        <a:pt x="152" y="503"/>
                        <a:pt x="152" y="503"/>
                        <a:pt x="161" y="493"/>
                      </a:cubicBezTo>
                      <a:cubicBezTo>
                        <a:pt x="158" y="468"/>
                        <a:pt x="174" y="468"/>
                        <a:pt x="174" y="463"/>
                      </a:cubicBezTo>
                      <a:cubicBezTo>
                        <a:pt x="154" y="435"/>
                        <a:pt x="165" y="419"/>
                        <a:pt x="165" y="419"/>
                      </a:cubicBezTo>
                      <a:cubicBezTo>
                        <a:pt x="165" y="419"/>
                        <a:pt x="159" y="406"/>
                        <a:pt x="167" y="386"/>
                      </a:cubicBezTo>
                      <a:cubicBezTo>
                        <a:pt x="166" y="363"/>
                        <a:pt x="176" y="349"/>
                        <a:pt x="176" y="349"/>
                      </a:cubicBezTo>
                      <a:cubicBezTo>
                        <a:pt x="176" y="336"/>
                        <a:pt x="176" y="336"/>
                        <a:pt x="176" y="336"/>
                      </a:cubicBezTo>
                      <a:cubicBezTo>
                        <a:pt x="144" y="322"/>
                        <a:pt x="179" y="281"/>
                        <a:pt x="185" y="262"/>
                      </a:cubicBezTo>
                      <a:cubicBezTo>
                        <a:pt x="180" y="238"/>
                        <a:pt x="199" y="232"/>
                        <a:pt x="199" y="229"/>
                      </a:cubicBezTo>
                      <a:cubicBezTo>
                        <a:pt x="191" y="200"/>
                        <a:pt x="207" y="183"/>
                        <a:pt x="209" y="177"/>
                      </a:cubicBezTo>
                      <a:cubicBezTo>
                        <a:pt x="200" y="156"/>
                        <a:pt x="215" y="141"/>
                        <a:pt x="218" y="138"/>
                      </a:cubicBezTo>
                      <a:cubicBezTo>
                        <a:pt x="247" y="113"/>
                        <a:pt x="245" y="104"/>
                        <a:pt x="245" y="104"/>
                      </a:cubicBezTo>
                      <a:cubicBezTo>
                        <a:pt x="251" y="104"/>
                        <a:pt x="261" y="93"/>
                        <a:pt x="261" y="93"/>
                      </a:cubicBezTo>
                      <a:cubicBezTo>
                        <a:pt x="270" y="94"/>
                        <a:pt x="279" y="58"/>
                        <a:pt x="279" y="58"/>
                      </a:cubicBezTo>
                      <a:cubicBezTo>
                        <a:pt x="294" y="35"/>
                        <a:pt x="294" y="35"/>
                        <a:pt x="294" y="35"/>
                      </a:cubicBezTo>
                      <a:lnTo>
                        <a:pt x="271" y="35"/>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86" name="Franche-Comté" descr="© INSCALE GmbH, 05.05.2010&#10;http://www.presentationload.com/">
                  <a:extLst>
                    <a:ext uri="{FF2B5EF4-FFF2-40B4-BE49-F238E27FC236}">
                      <a16:creationId xmlns:a16="http://schemas.microsoft.com/office/drawing/2014/main" id="{7E4A7D8B-963E-433E-802E-98DB1C31109E}"/>
                    </a:ext>
                  </a:extLst>
                </p:cNvPr>
                <p:cNvSpPr>
                  <a:spLocks/>
                </p:cNvSpPr>
                <p:nvPr/>
              </p:nvSpPr>
              <p:spPr bwMode="gray">
                <a:xfrm>
                  <a:off x="2452" y="1199"/>
                  <a:ext cx="435" cy="623"/>
                </a:xfrm>
                <a:custGeom>
                  <a:avLst/>
                  <a:gdLst/>
                  <a:ahLst/>
                  <a:cxnLst>
                    <a:cxn ang="0">
                      <a:pos x="40" y="136"/>
                    </a:cxn>
                    <a:cxn ang="0">
                      <a:pos x="17" y="186"/>
                    </a:cxn>
                    <a:cxn ang="0">
                      <a:pos x="30" y="212"/>
                    </a:cxn>
                    <a:cxn ang="0">
                      <a:pos x="46" y="228"/>
                    </a:cxn>
                    <a:cxn ang="0">
                      <a:pos x="13" y="312"/>
                    </a:cxn>
                    <a:cxn ang="0">
                      <a:pos x="12" y="326"/>
                    </a:cxn>
                    <a:cxn ang="0">
                      <a:pos x="14" y="353"/>
                    </a:cxn>
                    <a:cxn ang="0">
                      <a:pos x="46" y="380"/>
                    </a:cxn>
                    <a:cxn ang="0">
                      <a:pos x="25" y="402"/>
                    </a:cxn>
                    <a:cxn ang="0">
                      <a:pos x="36" y="418"/>
                    </a:cxn>
                    <a:cxn ang="0">
                      <a:pos x="37" y="465"/>
                    </a:cxn>
                    <a:cxn ang="0">
                      <a:pos x="40" y="498"/>
                    </a:cxn>
                    <a:cxn ang="0">
                      <a:pos x="18" y="524"/>
                    </a:cxn>
                    <a:cxn ang="0">
                      <a:pos x="32" y="542"/>
                    </a:cxn>
                    <a:cxn ang="0">
                      <a:pos x="53" y="566"/>
                    </a:cxn>
                    <a:cxn ang="0">
                      <a:pos x="109" y="548"/>
                    </a:cxn>
                    <a:cxn ang="0">
                      <a:pos x="145" y="562"/>
                    </a:cxn>
                    <a:cxn ang="0">
                      <a:pos x="200" y="497"/>
                    </a:cxn>
                    <a:cxn ang="0">
                      <a:pos x="201" y="425"/>
                    </a:cxn>
                    <a:cxn ang="0">
                      <a:pos x="257" y="358"/>
                    </a:cxn>
                    <a:cxn ang="0">
                      <a:pos x="272" y="305"/>
                    </a:cxn>
                    <a:cxn ang="0">
                      <a:pos x="312" y="288"/>
                    </a:cxn>
                    <a:cxn ang="0">
                      <a:pos x="370" y="218"/>
                    </a:cxn>
                    <a:cxn ang="0">
                      <a:pos x="373" y="202"/>
                    </a:cxn>
                    <a:cxn ang="0">
                      <a:pos x="386" y="180"/>
                    </a:cxn>
                    <a:cxn ang="0">
                      <a:pos x="364" y="161"/>
                    </a:cxn>
                    <a:cxn ang="0">
                      <a:pos x="378" y="139"/>
                    </a:cxn>
                    <a:cxn ang="0">
                      <a:pos x="373" y="118"/>
                    </a:cxn>
                    <a:cxn ang="0">
                      <a:pos x="330" y="53"/>
                    </a:cxn>
                    <a:cxn ang="0">
                      <a:pos x="285" y="32"/>
                    </a:cxn>
                    <a:cxn ang="0">
                      <a:pos x="250" y="37"/>
                    </a:cxn>
                    <a:cxn ang="0">
                      <a:pos x="189" y="26"/>
                    </a:cxn>
                    <a:cxn ang="0">
                      <a:pos x="177" y="16"/>
                    </a:cxn>
                    <a:cxn ang="0">
                      <a:pos x="153" y="6"/>
                    </a:cxn>
                    <a:cxn ang="0">
                      <a:pos x="134" y="26"/>
                    </a:cxn>
                    <a:cxn ang="0">
                      <a:pos x="128" y="16"/>
                    </a:cxn>
                    <a:cxn ang="0">
                      <a:pos x="124" y="36"/>
                    </a:cxn>
                    <a:cxn ang="0">
                      <a:pos x="113" y="56"/>
                    </a:cxn>
                    <a:cxn ang="0">
                      <a:pos x="93" y="69"/>
                    </a:cxn>
                    <a:cxn ang="0">
                      <a:pos x="80" y="78"/>
                    </a:cxn>
                    <a:cxn ang="0">
                      <a:pos x="88" y="109"/>
                    </a:cxn>
                    <a:cxn ang="0">
                      <a:pos x="57" y="106"/>
                    </a:cxn>
                    <a:cxn ang="0">
                      <a:pos x="26" y="112"/>
                    </a:cxn>
                    <a:cxn ang="0">
                      <a:pos x="24" y="140"/>
                    </a:cxn>
                  </a:cxnLst>
                  <a:rect l="0" t="0" r="r" b="b"/>
                  <a:pathLst>
                    <a:path w="403" h="577">
                      <a:moveTo>
                        <a:pt x="32" y="132"/>
                      </a:moveTo>
                      <a:cubicBezTo>
                        <a:pt x="40" y="136"/>
                        <a:pt x="40" y="136"/>
                        <a:pt x="40" y="136"/>
                      </a:cubicBezTo>
                      <a:cubicBezTo>
                        <a:pt x="40" y="136"/>
                        <a:pt x="45" y="176"/>
                        <a:pt x="29" y="176"/>
                      </a:cubicBezTo>
                      <a:cubicBezTo>
                        <a:pt x="13" y="176"/>
                        <a:pt x="25" y="186"/>
                        <a:pt x="17" y="186"/>
                      </a:cubicBezTo>
                      <a:cubicBezTo>
                        <a:pt x="9" y="186"/>
                        <a:pt x="30" y="190"/>
                        <a:pt x="30" y="190"/>
                      </a:cubicBezTo>
                      <a:cubicBezTo>
                        <a:pt x="30" y="212"/>
                        <a:pt x="30" y="212"/>
                        <a:pt x="30" y="212"/>
                      </a:cubicBezTo>
                      <a:cubicBezTo>
                        <a:pt x="49" y="208"/>
                        <a:pt x="49" y="208"/>
                        <a:pt x="49" y="208"/>
                      </a:cubicBezTo>
                      <a:cubicBezTo>
                        <a:pt x="46" y="228"/>
                        <a:pt x="46" y="228"/>
                        <a:pt x="46" y="228"/>
                      </a:cubicBezTo>
                      <a:cubicBezTo>
                        <a:pt x="54" y="236"/>
                        <a:pt x="54" y="236"/>
                        <a:pt x="54" y="236"/>
                      </a:cubicBezTo>
                      <a:cubicBezTo>
                        <a:pt x="54" y="236"/>
                        <a:pt x="34" y="301"/>
                        <a:pt x="13" y="312"/>
                      </a:cubicBezTo>
                      <a:cubicBezTo>
                        <a:pt x="10" y="316"/>
                        <a:pt x="5" y="325"/>
                        <a:pt x="5" y="325"/>
                      </a:cubicBezTo>
                      <a:cubicBezTo>
                        <a:pt x="12" y="326"/>
                        <a:pt x="12" y="326"/>
                        <a:pt x="12" y="326"/>
                      </a:cubicBezTo>
                      <a:cubicBezTo>
                        <a:pt x="12" y="326"/>
                        <a:pt x="0" y="340"/>
                        <a:pt x="0" y="352"/>
                      </a:cubicBezTo>
                      <a:cubicBezTo>
                        <a:pt x="14" y="353"/>
                        <a:pt x="14" y="353"/>
                        <a:pt x="14" y="353"/>
                      </a:cubicBezTo>
                      <a:cubicBezTo>
                        <a:pt x="18" y="364"/>
                        <a:pt x="18" y="364"/>
                        <a:pt x="18" y="364"/>
                      </a:cubicBezTo>
                      <a:cubicBezTo>
                        <a:pt x="18" y="364"/>
                        <a:pt x="30" y="368"/>
                        <a:pt x="46" y="380"/>
                      </a:cubicBezTo>
                      <a:cubicBezTo>
                        <a:pt x="13" y="392"/>
                        <a:pt x="13" y="392"/>
                        <a:pt x="13" y="392"/>
                      </a:cubicBezTo>
                      <a:cubicBezTo>
                        <a:pt x="25" y="402"/>
                        <a:pt x="25" y="402"/>
                        <a:pt x="25" y="402"/>
                      </a:cubicBezTo>
                      <a:cubicBezTo>
                        <a:pt x="25" y="422"/>
                        <a:pt x="25" y="422"/>
                        <a:pt x="25" y="422"/>
                      </a:cubicBezTo>
                      <a:cubicBezTo>
                        <a:pt x="36" y="418"/>
                        <a:pt x="36" y="418"/>
                        <a:pt x="36" y="418"/>
                      </a:cubicBezTo>
                      <a:cubicBezTo>
                        <a:pt x="36" y="418"/>
                        <a:pt x="28" y="436"/>
                        <a:pt x="45" y="445"/>
                      </a:cubicBezTo>
                      <a:cubicBezTo>
                        <a:pt x="40" y="445"/>
                        <a:pt x="37" y="465"/>
                        <a:pt x="37" y="465"/>
                      </a:cubicBezTo>
                      <a:cubicBezTo>
                        <a:pt x="37" y="465"/>
                        <a:pt x="16" y="484"/>
                        <a:pt x="41" y="490"/>
                      </a:cubicBezTo>
                      <a:cubicBezTo>
                        <a:pt x="44" y="492"/>
                        <a:pt x="40" y="498"/>
                        <a:pt x="40" y="498"/>
                      </a:cubicBezTo>
                      <a:cubicBezTo>
                        <a:pt x="21" y="504"/>
                        <a:pt x="21" y="504"/>
                        <a:pt x="21" y="504"/>
                      </a:cubicBezTo>
                      <a:cubicBezTo>
                        <a:pt x="18" y="524"/>
                        <a:pt x="18" y="524"/>
                        <a:pt x="18" y="524"/>
                      </a:cubicBezTo>
                      <a:cubicBezTo>
                        <a:pt x="32" y="529"/>
                        <a:pt x="32" y="529"/>
                        <a:pt x="32" y="529"/>
                      </a:cubicBezTo>
                      <a:cubicBezTo>
                        <a:pt x="32" y="542"/>
                        <a:pt x="32" y="542"/>
                        <a:pt x="32" y="542"/>
                      </a:cubicBezTo>
                      <a:cubicBezTo>
                        <a:pt x="56" y="553"/>
                        <a:pt x="56" y="553"/>
                        <a:pt x="56" y="553"/>
                      </a:cubicBezTo>
                      <a:cubicBezTo>
                        <a:pt x="53" y="566"/>
                        <a:pt x="53" y="566"/>
                        <a:pt x="53" y="566"/>
                      </a:cubicBezTo>
                      <a:cubicBezTo>
                        <a:pt x="53" y="566"/>
                        <a:pt x="76" y="577"/>
                        <a:pt x="93" y="538"/>
                      </a:cubicBezTo>
                      <a:cubicBezTo>
                        <a:pt x="89" y="545"/>
                        <a:pt x="109" y="548"/>
                        <a:pt x="109" y="548"/>
                      </a:cubicBezTo>
                      <a:cubicBezTo>
                        <a:pt x="113" y="564"/>
                        <a:pt x="113" y="564"/>
                        <a:pt x="113" y="564"/>
                      </a:cubicBezTo>
                      <a:cubicBezTo>
                        <a:pt x="145" y="562"/>
                        <a:pt x="145" y="562"/>
                        <a:pt x="145" y="562"/>
                      </a:cubicBezTo>
                      <a:cubicBezTo>
                        <a:pt x="202" y="503"/>
                        <a:pt x="202" y="503"/>
                        <a:pt x="202" y="503"/>
                      </a:cubicBezTo>
                      <a:cubicBezTo>
                        <a:pt x="201" y="500"/>
                        <a:pt x="200" y="497"/>
                        <a:pt x="200" y="497"/>
                      </a:cubicBezTo>
                      <a:cubicBezTo>
                        <a:pt x="166" y="487"/>
                        <a:pt x="201" y="445"/>
                        <a:pt x="201" y="445"/>
                      </a:cubicBezTo>
                      <a:cubicBezTo>
                        <a:pt x="188" y="434"/>
                        <a:pt x="201" y="425"/>
                        <a:pt x="201" y="425"/>
                      </a:cubicBezTo>
                      <a:cubicBezTo>
                        <a:pt x="201" y="425"/>
                        <a:pt x="253" y="379"/>
                        <a:pt x="253" y="376"/>
                      </a:cubicBezTo>
                      <a:cubicBezTo>
                        <a:pt x="261" y="375"/>
                        <a:pt x="271" y="367"/>
                        <a:pt x="257" y="358"/>
                      </a:cubicBezTo>
                      <a:cubicBezTo>
                        <a:pt x="276" y="339"/>
                        <a:pt x="259" y="323"/>
                        <a:pt x="259" y="323"/>
                      </a:cubicBezTo>
                      <a:cubicBezTo>
                        <a:pt x="272" y="305"/>
                        <a:pt x="272" y="305"/>
                        <a:pt x="272" y="305"/>
                      </a:cubicBezTo>
                      <a:cubicBezTo>
                        <a:pt x="302" y="298"/>
                        <a:pt x="302" y="298"/>
                        <a:pt x="302" y="298"/>
                      </a:cubicBezTo>
                      <a:cubicBezTo>
                        <a:pt x="312" y="288"/>
                        <a:pt x="312" y="288"/>
                        <a:pt x="312" y="288"/>
                      </a:cubicBezTo>
                      <a:cubicBezTo>
                        <a:pt x="315" y="277"/>
                        <a:pt x="315" y="277"/>
                        <a:pt x="315" y="277"/>
                      </a:cubicBezTo>
                      <a:cubicBezTo>
                        <a:pt x="315" y="277"/>
                        <a:pt x="368" y="222"/>
                        <a:pt x="370" y="218"/>
                      </a:cubicBezTo>
                      <a:cubicBezTo>
                        <a:pt x="365" y="210"/>
                        <a:pt x="376" y="203"/>
                        <a:pt x="375" y="202"/>
                      </a:cubicBezTo>
                      <a:cubicBezTo>
                        <a:pt x="374" y="202"/>
                        <a:pt x="374" y="202"/>
                        <a:pt x="373" y="202"/>
                      </a:cubicBezTo>
                      <a:cubicBezTo>
                        <a:pt x="374" y="202"/>
                        <a:pt x="374" y="202"/>
                        <a:pt x="375" y="202"/>
                      </a:cubicBezTo>
                      <a:cubicBezTo>
                        <a:pt x="403" y="203"/>
                        <a:pt x="386" y="180"/>
                        <a:pt x="386" y="180"/>
                      </a:cubicBezTo>
                      <a:cubicBezTo>
                        <a:pt x="354" y="184"/>
                        <a:pt x="354" y="184"/>
                        <a:pt x="354" y="184"/>
                      </a:cubicBezTo>
                      <a:cubicBezTo>
                        <a:pt x="364" y="161"/>
                        <a:pt x="364" y="161"/>
                        <a:pt x="364" y="161"/>
                      </a:cubicBezTo>
                      <a:cubicBezTo>
                        <a:pt x="380" y="152"/>
                        <a:pt x="380" y="152"/>
                        <a:pt x="380" y="152"/>
                      </a:cubicBezTo>
                      <a:cubicBezTo>
                        <a:pt x="378" y="139"/>
                        <a:pt x="378" y="139"/>
                        <a:pt x="378" y="139"/>
                      </a:cubicBezTo>
                      <a:cubicBezTo>
                        <a:pt x="378" y="139"/>
                        <a:pt x="387" y="141"/>
                        <a:pt x="396" y="143"/>
                      </a:cubicBezTo>
                      <a:cubicBezTo>
                        <a:pt x="391" y="123"/>
                        <a:pt x="375" y="124"/>
                        <a:pt x="373" y="118"/>
                      </a:cubicBezTo>
                      <a:cubicBezTo>
                        <a:pt x="382" y="61"/>
                        <a:pt x="334" y="64"/>
                        <a:pt x="334" y="64"/>
                      </a:cubicBezTo>
                      <a:cubicBezTo>
                        <a:pt x="330" y="53"/>
                        <a:pt x="330" y="53"/>
                        <a:pt x="330" y="53"/>
                      </a:cubicBezTo>
                      <a:cubicBezTo>
                        <a:pt x="325" y="54"/>
                        <a:pt x="318" y="45"/>
                        <a:pt x="318" y="45"/>
                      </a:cubicBezTo>
                      <a:cubicBezTo>
                        <a:pt x="285" y="32"/>
                        <a:pt x="285" y="32"/>
                        <a:pt x="285" y="32"/>
                      </a:cubicBezTo>
                      <a:cubicBezTo>
                        <a:pt x="276" y="20"/>
                        <a:pt x="276" y="20"/>
                        <a:pt x="276" y="20"/>
                      </a:cubicBezTo>
                      <a:cubicBezTo>
                        <a:pt x="250" y="37"/>
                        <a:pt x="250" y="37"/>
                        <a:pt x="250" y="37"/>
                      </a:cubicBezTo>
                      <a:cubicBezTo>
                        <a:pt x="250" y="37"/>
                        <a:pt x="245" y="30"/>
                        <a:pt x="241" y="20"/>
                      </a:cubicBezTo>
                      <a:cubicBezTo>
                        <a:pt x="237" y="9"/>
                        <a:pt x="189" y="26"/>
                        <a:pt x="189" y="26"/>
                      </a:cubicBezTo>
                      <a:cubicBezTo>
                        <a:pt x="190" y="17"/>
                        <a:pt x="190" y="17"/>
                        <a:pt x="190" y="17"/>
                      </a:cubicBezTo>
                      <a:cubicBezTo>
                        <a:pt x="177" y="16"/>
                        <a:pt x="177" y="16"/>
                        <a:pt x="177" y="16"/>
                      </a:cubicBezTo>
                      <a:cubicBezTo>
                        <a:pt x="178" y="0"/>
                        <a:pt x="178" y="0"/>
                        <a:pt x="178" y="0"/>
                      </a:cubicBezTo>
                      <a:cubicBezTo>
                        <a:pt x="153" y="6"/>
                        <a:pt x="153" y="6"/>
                        <a:pt x="153" y="6"/>
                      </a:cubicBezTo>
                      <a:cubicBezTo>
                        <a:pt x="148" y="20"/>
                        <a:pt x="148" y="20"/>
                        <a:pt x="148" y="20"/>
                      </a:cubicBezTo>
                      <a:cubicBezTo>
                        <a:pt x="134" y="26"/>
                        <a:pt x="134" y="26"/>
                        <a:pt x="134" y="26"/>
                      </a:cubicBezTo>
                      <a:cubicBezTo>
                        <a:pt x="138" y="17"/>
                        <a:pt x="138" y="17"/>
                        <a:pt x="138" y="17"/>
                      </a:cubicBezTo>
                      <a:cubicBezTo>
                        <a:pt x="128" y="16"/>
                        <a:pt x="128" y="16"/>
                        <a:pt x="128" y="16"/>
                      </a:cubicBezTo>
                      <a:cubicBezTo>
                        <a:pt x="121" y="27"/>
                        <a:pt x="121" y="27"/>
                        <a:pt x="121" y="27"/>
                      </a:cubicBezTo>
                      <a:cubicBezTo>
                        <a:pt x="124" y="36"/>
                        <a:pt x="124" y="36"/>
                        <a:pt x="124" y="36"/>
                      </a:cubicBezTo>
                      <a:cubicBezTo>
                        <a:pt x="116" y="41"/>
                        <a:pt x="116" y="41"/>
                        <a:pt x="116" y="41"/>
                      </a:cubicBezTo>
                      <a:cubicBezTo>
                        <a:pt x="113" y="56"/>
                        <a:pt x="113" y="56"/>
                        <a:pt x="113" y="56"/>
                      </a:cubicBezTo>
                      <a:cubicBezTo>
                        <a:pt x="100" y="54"/>
                        <a:pt x="100" y="54"/>
                        <a:pt x="100" y="54"/>
                      </a:cubicBezTo>
                      <a:cubicBezTo>
                        <a:pt x="93" y="69"/>
                        <a:pt x="93" y="69"/>
                        <a:pt x="93" y="69"/>
                      </a:cubicBezTo>
                      <a:cubicBezTo>
                        <a:pt x="85" y="68"/>
                        <a:pt x="85" y="68"/>
                        <a:pt x="85" y="68"/>
                      </a:cubicBezTo>
                      <a:cubicBezTo>
                        <a:pt x="80" y="78"/>
                        <a:pt x="80" y="78"/>
                        <a:pt x="80" y="78"/>
                      </a:cubicBezTo>
                      <a:cubicBezTo>
                        <a:pt x="90" y="78"/>
                        <a:pt x="90" y="78"/>
                        <a:pt x="90" y="78"/>
                      </a:cubicBezTo>
                      <a:cubicBezTo>
                        <a:pt x="88" y="109"/>
                        <a:pt x="88" y="109"/>
                        <a:pt x="88" y="109"/>
                      </a:cubicBezTo>
                      <a:cubicBezTo>
                        <a:pt x="69" y="114"/>
                        <a:pt x="69" y="114"/>
                        <a:pt x="69" y="114"/>
                      </a:cubicBezTo>
                      <a:cubicBezTo>
                        <a:pt x="57" y="106"/>
                        <a:pt x="57" y="106"/>
                        <a:pt x="57" y="106"/>
                      </a:cubicBezTo>
                      <a:cubicBezTo>
                        <a:pt x="56" y="113"/>
                        <a:pt x="56" y="113"/>
                        <a:pt x="56" y="113"/>
                      </a:cubicBezTo>
                      <a:cubicBezTo>
                        <a:pt x="26" y="112"/>
                        <a:pt x="26" y="112"/>
                        <a:pt x="26" y="112"/>
                      </a:cubicBezTo>
                      <a:cubicBezTo>
                        <a:pt x="26" y="112"/>
                        <a:pt x="24" y="129"/>
                        <a:pt x="21" y="136"/>
                      </a:cubicBezTo>
                      <a:cubicBezTo>
                        <a:pt x="24" y="140"/>
                        <a:pt x="24" y="140"/>
                        <a:pt x="24" y="140"/>
                      </a:cubicBezTo>
                      <a:lnTo>
                        <a:pt x="32" y="132"/>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87" name="Bourgogne" descr="© INSCALE GmbH, 05.05.2010&#10;http://www.presentationload.com/">
                  <a:extLst>
                    <a:ext uri="{FF2B5EF4-FFF2-40B4-BE49-F238E27FC236}">
                      <a16:creationId xmlns:a16="http://schemas.microsoft.com/office/drawing/2014/main" id="{04A83090-7C1B-40B8-9D1B-77BF625B7535}"/>
                    </a:ext>
                  </a:extLst>
                </p:cNvPr>
                <p:cNvSpPr>
                  <a:spLocks/>
                </p:cNvSpPr>
                <p:nvPr/>
              </p:nvSpPr>
              <p:spPr bwMode="gray">
                <a:xfrm>
                  <a:off x="1885" y="1086"/>
                  <a:ext cx="625" cy="772"/>
                </a:xfrm>
                <a:custGeom>
                  <a:avLst/>
                  <a:gdLst/>
                  <a:ahLst/>
                  <a:cxnLst>
                    <a:cxn ang="0">
                      <a:pos x="43" y="156"/>
                    </a:cxn>
                    <a:cxn ang="0">
                      <a:pos x="36" y="170"/>
                    </a:cxn>
                    <a:cxn ang="0">
                      <a:pos x="0" y="220"/>
                    </a:cxn>
                    <a:cxn ang="0">
                      <a:pos x="19" y="253"/>
                    </a:cxn>
                    <a:cxn ang="0">
                      <a:pos x="20" y="309"/>
                    </a:cxn>
                    <a:cxn ang="0">
                      <a:pos x="40" y="429"/>
                    </a:cxn>
                    <a:cxn ang="0">
                      <a:pos x="43" y="512"/>
                    </a:cxn>
                    <a:cxn ang="0">
                      <a:pos x="111" y="545"/>
                    </a:cxn>
                    <a:cxn ang="0">
                      <a:pos x="138" y="558"/>
                    </a:cxn>
                    <a:cxn ang="0">
                      <a:pos x="164" y="521"/>
                    </a:cxn>
                    <a:cxn ang="0">
                      <a:pos x="219" y="597"/>
                    </a:cxn>
                    <a:cxn ang="0">
                      <a:pos x="255" y="658"/>
                    </a:cxn>
                    <a:cxn ang="0">
                      <a:pos x="235" y="669"/>
                    </a:cxn>
                    <a:cxn ang="0">
                      <a:pos x="256" y="710"/>
                    </a:cxn>
                    <a:cxn ang="0">
                      <a:pos x="304" y="703"/>
                    </a:cxn>
                    <a:cxn ang="0">
                      <a:pos x="319" y="714"/>
                    </a:cxn>
                    <a:cxn ang="0">
                      <a:pos x="346" y="666"/>
                    </a:cxn>
                    <a:cxn ang="0">
                      <a:pos x="382" y="666"/>
                    </a:cxn>
                    <a:cxn ang="0">
                      <a:pos x="411" y="678"/>
                    </a:cxn>
                    <a:cxn ang="0">
                      <a:pos x="431" y="704"/>
                    </a:cxn>
                    <a:cxn ang="0">
                      <a:pos x="520" y="594"/>
                    </a:cxn>
                    <a:cxn ang="0">
                      <a:pos x="547" y="608"/>
                    </a:cxn>
                    <a:cxn ang="0">
                      <a:pos x="563" y="569"/>
                    </a:cxn>
                    <a:cxn ang="0">
                      <a:pos x="551" y="526"/>
                    </a:cxn>
                    <a:cxn ang="0">
                      <a:pos x="572" y="484"/>
                    </a:cxn>
                    <a:cxn ang="0">
                      <a:pos x="526" y="456"/>
                    </a:cxn>
                    <a:cxn ang="0">
                      <a:pos x="539" y="416"/>
                    </a:cxn>
                    <a:cxn ang="0">
                      <a:pos x="575" y="312"/>
                    </a:cxn>
                    <a:cxn ang="0">
                      <a:pos x="543" y="290"/>
                    </a:cxn>
                    <a:cxn ang="0">
                      <a:pos x="558" y="236"/>
                    </a:cxn>
                    <a:cxn ang="0">
                      <a:pos x="544" y="244"/>
                    </a:cxn>
                    <a:cxn ang="0">
                      <a:pos x="518" y="240"/>
                    </a:cxn>
                    <a:cxn ang="0">
                      <a:pos x="488" y="226"/>
                    </a:cxn>
                    <a:cxn ang="0">
                      <a:pos x="455" y="194"/>
                    </a:cxn>
                    <a:cxn ang="0">
                      <a:pos x="456" y="173"/>
                    </a:cxn>
                    <a:cxn ang="0">
                      <a:pos x="426" y="146"/>
                    </a:cxn>
                    <a:cxn ang="0">
                      <a:pos x="414" y="133"/>
                    </a:cxn>
                    <a:cxn ang="0">
                      <a:pos x="311" y="136"/>
                    </a:cxn>
                    <a:cxn ang="0">
                      <a:pos x="296" y="132"/>
                    </a:cxn>
                    <a:cxn ang="0">
                      <a:pos x="283" y="137"/>
                    </a:cxn>
                    <a:cxn ang="0">
                      <a:pos x="256" y="146"/>
                    </a:cxn>
                    <a:cxn ang="0">
                      <a:pos x="208" y="109"/>
                    </a:cxn>
                    <a:cxn ang="0">
                      <a:pos x="182" y="69"/>
                    </a:cxn>
                    <a:cxn ang="0">
                      <a:pos x="167" y="66"/>
                    </a:cxn>
                    <a:cxn ang="0">
                      <a:pos x="155" y="33"/>
                    </a:cxn>
                    <a:cxn ang="0">
                      <a:pos x="118" y="0"/>
                    </a:cxn>
                    <a:cxn ang="0">
                      <a:pos x="36" y="28"/>
                    </a:cxn>
                    <a:cxn ang="0">
                      <a:pos x="39" y="84"/>
                    </a:cxn>
                  </a:cxnLst>
                  <a:rect l="0" t="0" r="r" b="b"/>
                  <a:pathLst>
                    <a:path w="580" h="715">
                      <a:moveTo>
                        <a:pt x="58" y="114"/>
                      </a:moveTo>
                      <a:cubicBezTo>
                        <a:pt x="59" y="133"/>
                        <a:pt x="59" y="133"/>
                        <a:pt x="59" y="133"/>
                      </a:cubicBezTo>
                      <a:cubicBezTo>
                        <a:pt x="43" y="156"/>
                        <a:pt x="43" y="156"/>
                        <a:pt x="43" y="156"/>
                      </a:cubicBezTo>
                      <a:cubicBezTo>
                        <a:pt x="34" y="157"/>
                        <a:pt x="34" y="157"/>
                        <a:pt x="34" y="157"/>
                      </a:cubicBezTo>
                      <a:cubicBezTo>
                        <a:pt x="31" y="170"/>
                        <a:pt x="31" y="170"/>
                        <a:pt x="31" y="170"/>
                      </a:cubicBezTo>
                      <a:cubicBezTo>
                        <a:pt x="36" y="170"/>
                        <a:pt x="36" y="170"/>
                        <a:pt x="36" y="170"/>
                      </a:cubicBezTo>
                      <a:cubicBezTo>
                        <a:pt x="36" y="194"/>
                        <a:pt x="36" y="194"/>
                        <a:pt x="36" y="194"/>
                      </a:cubicBezTo>
                      <a:cubicBezTo>
                        <a:pt x="2" y="204"/>
                        <a:pt x="2" y="204"/>
                        <a:pt x="2" y="204"/>
                      </a:cubicBezTo>
                      <a:cubicBezTo>
                        <a:pt x="0" y="220"/>
                        <a:pt x="0" y="220"/>
                        <a:pt x="0" y="220"/>
                      </a:cubicBezTo>
                      <a:cubicBezTo>
                        <a:pt x="10" y="218"/>
                        <a:pt x="10" y="218"/>
                        <a:pt x="10" y="218"/>
                      </a:cubicBezTo>
                      <a:cubicBezTo>
                        <a:pt x="23" y="240"/>
                        <a:pt x="23" y="240"/>
                        <a:pt x="23" y="240"/>
                      </a:cubicBezTo>
                      <a:cubicBezTo>
                        <a:pt x="19" y="253"/>
                        <a:pt x="19" y="253"/>
                        <a:pt x="19" y="253"/>
                      </a:cubicBezTo>
                      <a:cubicBezTo>
                        <a:pt x="27" y="265"/>
                        <a:pt x="27" y="265"/>
                        <a:pt x="27" y="265"/>
                      </a:cubicBezTo>
                      <a:cubicBezTo>
                        <a:pt x="4" y="270"/>
                        <a:pt x="4" y="270"/>
                        <a:pt x="4" y="270"/>
                      </a:cubicBezTo>
                      <a:cubicBezTo>
                        <a:pt x="20" y="309"/>
                        <a:pt x="20" y="309"/>
                        <a:pt x="20" y="309"/>
                      </a:cubicBezTo>
                      <a:cubicBezTo>
                        <a:pt x="6" y="344"/>
                        <a:pt x="6" y="344"/>
                        <a:pt x="6" y="344"/>
                      </a:cubicBezTo>
                      <a:cubicBezTo>
                        <a:pt x="31" y="365"/>
                        <a:pt x="31" y="365"/>
                        <a:pt x="31" y="365"/>
                      </a:cubicBezTo>
                      <a:cubicBezTo>
                        <a:pt x="31" y="365"/>
                        <a:pt x="40" y="385"/>
                        <a:pt x="40" y="429"/>
                      </a:cubicBezTo>
                      <a:cubicBezTo>
                        <a:pt x="50" y="437"/>
                        <a:pt x="50" y="437"/>
                        <a:pt x="50" y="437"/>
                      </a:cubicBezTo>
                      <a:cubicBezTo>
                        <a:pt x="50" y="437"/>
                        <a:pt x="51" y="469"/>
                        <a:pt x="46" y="474"/>
                      </a:cubicBezTo>
                      <a:cubicBezTo>
                        <a:pt x="40" y="480"/>
                        <a:pt x="56" y="497"/>
                        <a:pt x="43" y="512"/>
                      </a:cubicBezTo>
                      <a:cubicBezTo>
                        <a:pt x="47" y="514"/>
                        <a:pt x="67" y="546"/>
                        <a:pt x="76" y="548"/>
                      </a:cubicBezTo>
                      <a:cubicBezTo>
                        <a:pt x="86" y="549"/>
                        <a:pt x="91" y="538"/>
                        <a:pt x="95" y="538"/>
                      </a:cubicBezTo>
                      <a:cubicBezTo>
                        <a:pt x="99" y="538"/>
                        <a:pt x="107" y="545"/>
                        <a:pt x="111" y="545"/>
                      </a:cubicBezTo>
                      <a:cubicBezTo>
                        <a:pt x="115" y="545"/>
                        <a:pt x="126" y="537"/>
                        <a:pt x="126" y="537"/>
                      </a:cubicBezTo>
                      <a:cubicBezTo>
                        <a:pt x="138" y="544"/>
                        <a:pt x="138" y="544"/>
                        <a:pt x="138" y="544"/>
                      </a:cubicBezTo>
                      <a:cubicBezTo>
                        <a:pt x="138" y="558"/>
                        <a:pt x="138" y="558"/>
                        <a:pt x="138" y="558"/>
                      </a:cubicBezTo>
                      <a:cubicBezTo>
                        <a:pt x="150" y="544"/>
                        <a:pt x="150" y="544"/>
                        <a:pt x="150" y="544"/>
                      </a:cubicBezTo>
                      <a:cubicBezTo>
                        <a:pt x="159" y="545"/>
                        <a:pt x="159" y="545"/>
                        <a:pt x="159" y="545"/>
                      </a:cubicBezTo>
                      <a:cubicBezTo>
                        <a:pt x="159" y="545"/>
                        <a:pt x="160" y="517"/>
                        <a:pt x="164" y="521"/>
                      </a:cubicBezTo>
                      <a:cubicBezTo>
                        <a:pt x="168" y="525"/>
                        <a:pt x="198" y="576"/>
                        <a:pt x="198" y="576"/>
                      </a:cubicBezTo>
                      <a:cubicBezTo>
                        <a:pt x="202" y="594"/>
                        <a:pt x="202" y="594"/>
                        <a:pt x="202" y="594"/>
                      </a:cubicBezTo>
                      <a:cubicBezTo>
                        <a:pt x="219" y="597"/>
                        <a:pt x="219" y="597"/>
                        <a:pt x="219" y="597"/>
                      </a:cubicBezTo>
                      <a:cubicBezTo>
                        <a:pt x="230" y="610"/>
                        <a:pt x="230" y="610"/>
                        <a:pt x="230" y="610"/>
                      </a:cubicBezTo>
                      <a:cubicBezTo>
                        <a:pt x="230" y="610"/>
                        <a:pt x="258" y="600"/>
                        <a:pt x="256" y="614"/>
                      </a:cubicBezTo>
                      <a:cubicBezTo>
                        <a:pt x="255" y="629"/>
                        <a:pt x="255" y="658"/>
                        <a:pt x="255" y="658"/>
                      </a:cubicBezTo>
                      <a:cubicBezTo>
                        <a:pt x="248" y="658"/>
                        <a:pt x="248" y="658"/>
                        <a:pt x="248" y="658"/>
                      </a:cubicBezTo>
                      <a:cubicBezTo>
                        <a:pt x="243" y="672"/>
                        <a:pt x="243" y="672"/>
                        <a:pt x="243" y="672"/>
                      </a:cubicBezTo>
                      <a:cubicBezTo>
                        <a:pt x="235" y="669"/>
                        <a:pt x="235" y="669"/>
                        <a:pt x="235" y="669"/>
                      </a:cubicBezTo>
                      <a:cubicBezTo>
                        <a:pt x="236" y="697"/>
                        <a:pt x="236" y="697"/>
                        <a:pt x="236" y="697"/>
                      </a:cubicBezTo>
                      <a:cubicBezTo>
                        <a:pt x="250" y="697"/>
                        <a:pt x="250" y="697"/>
                        <a:pt x="250" y="697"/>
                      </a:cubicBezTo>
                      <a:cubicBezTo>
                        <a:pt x="256" y="710"/>
                        <a:pt x="256" y="710"/>
                        <a:pt x="256" y="710"/>
                      </a:cubicBezTo>
                      <a:cubicBezTo>
                        <a:pt x="280" y="704"/>
                        <a:pt x="280" y="704"/>
                        <a:pt x="280" y="704"/>
                      </a:cubicBezTo>
                      <a:cubicBezTo>
                        <a:pt x="280" y="704"/>
                        <a:pt x="280" y="705"/>
                        <a:pt x="295" y="706"/>
                      </a:cubicBezTo>
                      <a:cubicBezTo>
                        <a:pt x="305" y="707"/>
                        <a:pt x="305" y="705"/>
                        <a:pt x="304" y="703"/>
                      </a:cubicBezTo>
                      <a:cubicBezTo>
                        <a:pt x="303" y="702"/>
                        <a:pt x="303" y="701"/>
                        <a:pt x="303" y="701"/>
                      </a:cubicBezTo>
                      <a:cubicBezTo>
                        <a:pt x="303" y="701"/>
                        <a:pt x="304" y="702"/>
                        <a:pt x="304" y="703"/>
                      </a:cubicBezTo>
                      <a:cubicBezTo>
                        <a:pt x="307" y="707"/>
                        <a:pt x="314" y="715"/>
                        <a:pt x="319" y="714"/>
                      </a:cubicBezTo>
                      <a:cubicBezTo>
                        <a:pt x="326" y="713"/>
                        <a:pt x="320" y="706"/>
                        <a:pt x="326" y="706"/>
                      </a:cubicBezTo>
                      <a:cubicBezTo>
                        <a:pt x="331" y="706"/>
                        <a:pt x="342" y="705"/>
                        <a:pt x="342" y="705"/>
                      </a:cubicBezTo>
                      <a:cubicBezTo>
                        <a:pt x="346" y="666"/>
                        <a:pt x="346" y="666"/>
                        <a:pt x="346" y="666"/>
                      </a:cubicBezTo>
                      <a:cubicBezTo>
                        <a:pt x="358" y="665"/>
                        <a:pt x="358" y="665"/>
                        <a:pt x="358" y="665"/>
                      </a:cubicBezTo>
                      <a:cubicBezTo>
                        <a:pt x="367" y="678"/>
                        <a:pt x="367" y="678"/>
                        <a:pt x="367" y="678"/>
                      </a:cubicBezTo>
                      <a:cubicBezTo>
                        <a:pt x="382" y="666"/>
                        <a:pt x="382" y="666"/>
                        <a:pt x="382" y="666"/>
                      </a:cubicBezTo>
                      <a:cubicBezTo>
                        <a:pt x="382" y="666"/>
                        <a:pt x="382" y="676"/>
                        <a:pt x="387" y="676"/>
                      </a:cubicBezTo>
                      <a:cubicBezTo>
                        <a:pt x="392" y="676"/>
                        <a:pt x="391" y="660"/>
                        <a:pt x="402" y="664"/>
                      </a:cubicBezTo>
                      <a:cubicBezTo>
                        <a:pt x="412" y="668"/>
                        <a:pt x="411" y="678"/>
                        <a:pt x="411" y="678"/>
                      </a:cubicBezTo>
                      <a:cubicBezTo>
                        <a:pt x="419" y="686"/>
                        <a:pt x="419" y="686"/>
                        <a:pt x="419" y="686"/>
                      </a:cubicBezTo>
                      <a:cubicBezTo>
                        <a:pt x="420" y="702"/>
                        <a:pt x="420" y="702"/>
                        <a:pt x="420" y="702"/>
                      </a:cubicBezTo>
                      <a:cubicBezTo>
                        <a:pt x="431" y="704"/>
                        <a:pt x="431" y="704"/>
                        <a:pt x="431" y="704"/>
                      </a:cubicBezTo>
                      <a:cubicBezTo>
                        <a:pt x="459" y="596"/>
                        <a:pt x="459" y="596"/>
                        <a:pt x="459" y="596"/>
                      </a:cubicBezTo>
                      <a:cubicBezTo>
                        <a:pt x="459" y="596"/>
                        <a:pt x="476" y="602"/>
                        <a:pt x="490" y="602"/>
                      </a:cubicBezTo>
                      <a:cubicBezTo>
                        <a:pt x="503" y="602"/>
                        <a:pt x="518" y="589"/>
                        <a:pt x="520" y="594"/>
                      </a:cubicBezTo>
                      <a:cubicBezTo>
                        <a:pt x="523" y="600"/>
                        <a:pt x="524" y="612"/>
                        <a:pt x="528" y="612"/>
                      </a:cubicBezTo>
                      <a:cubicBezTo>
                        <a:pt x="530" y="612"/>
                        <a:pt x="538" y="613"/>
                        <a:pt x="546" y="614"/>
                      </a:cubicBezTo>
                      <a:cubicBezTo>
                        <a:pt x="547" y="608"/>
                        <a:pt x="547" y="608"/>
                        <a:pt x="547" y="608"/>
                      </a:cubicBezTo>
                      <a:cubicBezTo>
                        <a:pt x="566" y="602"/>
                        <a:pt x="566" y="602"/>
                        <a:pt x="566" y="602"/>
                      </a:cubicBezTo>
                      <a:cubicBezTo>
                        <a:pt x="566" y="602"/>
                        <a:pt x="570" y="596"/>
                        <a:pt x="567" y="594"/>
                      </a:cubicBezTo>
                      <a:cubicBezTo>
                        <a:pt x="542" y="588"/>
                        <a:pt x="563" y="569"/>
                        <a:pt x="563" y="569"/>
                      </a:cubicBezTo>
                      <a:cubicBezTo>
                        <a:pt x="563" y="569"/>
                        <a:pt x="566" y="549"/>
                        <a:pt x="571" y="549"/>
                      </a:cubicBezTo>
                      <a:cubicBezTo>
                        <a:pt x="554" y="540"/>
                        <a:pt x="562" y="522"/>
                        <a:pt x="562" y="522"/>
                      </a:cubicBezTo>
                      <a:cubicBezTo>
                        <a:pt x="551" y="526"/>
                        <a:pt x="551" y="526"/>
                        <a:pt x="551" y="526"/>
                      </a:cubicBezTo>
                      <a:cubicBezTo>
                        <a:pt x="551" y="506"/>
                        <a:pt x="551" y="506"/>
                        <a:pt x="551" y="506"/>
                      </a:cubicBezTo>
                      <a:cubicBezTo>
                        <a:pt x="539" y="496"/>
                        <a:pt x="539" y="496"/>
                        <a:pt x="539" y="496"/>
                      </a:cubicBezTo>
                      <a:cubicBezTo>
                        <a:pt x="572" y="484"/>
                        <a:pt x="572" y="484"/>
                        <a:pt x="572" y="484"/>
                      </a:cubicBezTo>
                      <a:cubicBezTo>
                        <a:pt x="556" y="472"/>
                        <a:pt x="544" y="468"/>
                        <a:pt x="544" y="468"/>
                      </a:cubicBezTo>
                      <a:cubicBezTo>
                        <a:pt x="540" y="457"/>
                        <a:pt x="540" y="457"/>
                        <a:pt x="540" y="457"/>
                      </a:cubicBezTo>
                      <a:cubicBezTo>
                        <a:pt x="526" y="456"/>
                        <a:pt x="526" y="456"/>
                        <a:pt x="526" y="456"/>
                      </a:cubicBezTo>
                      <a:cubicBezTo>
                        <a:pt x="526" y="444"/>
                        <a:pt x="538" y="430"/>
                        <a:pt x="538" y="430"/>
                      </a:cubicBezTo>
                      <a:cubicBezTo>
                        <a:pt x="531" y="429"/>
                        <a:pt x="531" y="429"/>
                        <a:pt x="531" y="429"/>
                      </a:cubicBezTo>
                      <a:cubicBezTo>
                        <a:pt x="531" y="429"/>
                        <a:pt x="536" y="420"/>
                        <a:pt x="539" y="416"/>
                      </a:cubicBezTo>
                      <a:cubicBezTo>
                        <a:pt x="560" y="405"/>
                        <a:pt x="580" y="340"/>
                        <a:pt x="580" y="340"/>
                      </a:cubicBezTo>
                      <a:cubicBezTo>
                        <a:pt x="572" y="332"/>
                        <a:pt x="572" y="332"/>
                        <a:pt x="572" y="332"/>
                      </a:cubicBezTo>
                      <a:cubicBezTo>
                        <a:pt x="575" y="312"/>
                        <a:pt x="575" y="312"/>
                        <a:pt x="575" y="312"/>
                      </a:cubicBezTo>
                      <a:cubicBezTo>
                        <a:pt x="556" y="316"/>
                        <a:pt x="556" y="316"/>
                        <a:pt x="556" y="316"/>
                      </a:cubicBezTo>
                      <a:cubicBezTo>
                        <a:pt x="556" y="294"/>
                        <a:pt x="556" y="294"/>
                        <a:pt x="556" y="294"/>
                      </a:cubicBezTo>
                      <a:cubicBezTo>
                        <a:pt x="556" y="294"/>
                        <a:pt x="535" y="290"/>
                        <a:pt x="543" y="290"/>
                      </a:cubicBezTo>
                      <a:cubicBezTo>
                        <a:pt x="551" y="290"/>
                        <a:pt x="539" y="280"/>
                        <a:pt x="555" y="280"/>
                      </a:cubicBezTo>
                      <a:cubicBezTo>
                        <a:pt x="571" y="280"/>
                        <a:pt x="566" y="240"/>
                        <a:pt x="566" y="240"/>
                      </a:cubicBezTo>
                      <a:cubicBezTo>
                        <a:pt x="558" y="236"/>
                        <a:pt x="558" y="236"/>
                        <a:pt x="558" y="236"/>
                      </a:cubicBezTo>
                      <a:cubicBezTo>
                        <a:pt x="550" y="244"/>
                        <a:pt x="550" y="244"/>
                        <a:pt x="550" y="244"/>
                      </a:cubicBezTo>
                      <a:cubicBezTo>
                        <a:pt x="547" y="240"/>
                        <a:pt x="547" y="240"/>
                        <a:pt x="547" y="240"/>
                      </a:cubicBezTo>
                      <a:cubicBezTo>
                        <a:pt x="546" y="242"/>
                        <a:pt x="545" y="244"/>
                        <a:pt x="544" y="244"/>
                      </a:cubicBezTo>
                      <a:cubicBezTo>
                        <a:pt x="540" y="244"/>
                        <a:pt x="535" y="241"/>
                        <a:pt x="535" y="241"/>
                      </a:cubicBezTo>
                      <a:cubicBezTo>
                        <a:pt x="518" y="253"/>
                        <a:pt x="518" y="253"/>
                        <a:pt x="518" y="253"/>
                      </a:cubicBezTo>
                      <a:cubicBezTo>
                        <a:pt x="518" y="240"/>
                        <a:pt x="518" y="240"/>
                        <a:pt x="518" y="240"/>
                      </a:cubicBezTo>
                      <a:cubicBezTo>
                        <a:pt x="502" y="232"/>
                        <a:pt x="502" y="232"/>
                        <a:pt x="502" y="232"/>
                      </a:cubicBezTo>
                      <a:cubicBezTo>
                        <a:pt x="502" y="222"/>
                        <a:pt x="502" y="222"/>
                        <a:pt x="502" y="222"/>
                      </a:cubicBezTo>
                      <a:cubicBezTo>
                        <a:pt x="502" y="222"/>
                        <a:pt x="498" y="226"/>
                        <a:pt x="488" y="226"/>
                      </a:cubicBezTo>
                      <a:cubicBezTo>
                        <a:pt x="479" y="226"/>
                        <a:pt x="467" y="212"/>
                        <a:pt x="467" y="212"/>
                      </a:cubicBezTo>
                      <a:cubicBezTo>
                        <a:pt x="455" y="217"/>
                        <a:pt x="455" y="217"/>
                        <a:pt x="455" y="217"/>
                      </a:cubicBezTo>
                      <a:cubicBezTo>
                        <a:pt x="455" y="194"/>
                        <a:pt x="455" y="194"/>
                        <a:pt x="455" y="194"/>
                      </a:cubicBezTo>
                      <a:cubicBezTo>
                        <a:pt x="446" y="192"/>
                        <a:pt x="446" y="192"/>
                        <a:pt x="446" y="192"/>
                      </a:cubicBezTo>
                      <a:cubicBezTo>
                        <a:pt x="446" y="191"/>
                        <a:pt x="446" y="191"/>
                        <a:pt x="446" y="191"/>
                      </a:cubicBezTo>
                      <a:cubicBezTo>
                        <a:pt x="456" y="173"/>
                        <a:pt x="456" y="173"/>
                        <a:pt x="456" y="173"/>
                      </a:cubicBezTo>
                      <a:cubicBezTo>
                        <a:pt x="450" y="165"/>
                        <a:pt x="439" y="144"/>
                        <a:pt x="439" y="144"/>
                      </a:cubicBezTo>
                      <a:cubicBezTo>
                        <a:pt x="432" y="150"/>
                        <a:pt x="432" y="150"/>
                        <a:pt x="432" y="150"/>
                      </a:cubicBezTo>
                      <a:cubicBezTo>
                        <a:pt x="426" y="146"/>
                        <a:pt x="426" y="146"/>
                        <a:pt x="426" y="146"/>
                      </a:cubicBezTo>
                      <a:cubicBezTo>
                        <a:pt x="432" y="138"/>
                        <a:pt x="432" y="138"/>
                        <a:pt x="432" y="138"/>
                      </a:cubicBezTo>
                      <a:cubicBezTo>
                        <a:pt x="427" y="133"/>
                        <a:pt x="427" y="133"/>
                        <a:pt x="427" y="133"/>
                      </a:cubicBezTo>
                      <a:cubicBezTo>
                        <a:pt x="414" y="133"/>
                        <a:pt x="414" y="133"/>
                        <a:pt x="414" y="133"/>
                      </a:cubicBezTo>
                      <a:cubicBezTo>
                        <a:pt x="414" y="133"/>
                        <a:pt x="414" y="133"/>
                        <a:pt x="415" y="116"/>
                      </a:cubicBezTo>
                      <a:cubicBezTo>
                        <a:pt x="334" y="100"/>
                        <a:pt x="366" y="134"/>
                        <a:pt x="366" y="134"/>
                      </a:cubicBezTo>
                      <a:cubicBezTo>
                        <a:pt x="311" y="136"/>
                        <a:pt x="311" y="136"/>
                        <a:pt x="311" y="136"/>
                      </a:cubicBezTo>
                      <a:cubicBezTo>
                        <a:pt x="311" y="148"/>
                        <a:pt x="311" y="148"/>
                        <a:pt x="311" y="148"/>
                      </a:cubicBezTo>
                      <a:cubicBezTo>
                        <a:pt x="302" y="145"/>
                        <a:pt x="302" y="145"/>
                        <a:pt x="302" y="145"/>
                      </a:cubicBezTo>
                      <a:cubicBezTo>
                        <a:pt x="296" y="132"/>
                        <a:pt x="296" y="132"/>
                        <a:pt x="296" y="132"/>
                      </a:cubicBezTo>
                      <a:cubicBezTo>
                        <a:pt x="287" y="132"/>
                        <a:pt x="287" y="132"/>
                        <a:pt x="287" y="132"/>
                      </a:cubicBezTo>
                      <a:cubicBezTo>
                        <a:pt x="290" y="141"/>
                        <a:pt x="290" y="141"/>
                        <a:pt x="290" y="141"/>
                      </a:cubicBezTo>
                      <a:cubicBezTo>
                        <a:pt x="283" y="137"/>
                        <a:pt x="283" y="137"/>
                        <a:pt x="283" y="137"/>
                      </a:cubicBezTo>
                      <a:cubicBezTo>
                        <a:pt x="270" y="148"/>
                        <a:pt x="270" y="148"/>
                        <a:pt x="270" y="148"/>
                      </a:cubicBezTo>
                      <a:cubicBezTo>
                        <a:pt x="258" y="141"/>
                        <a:pt x="258" y="141"/>
                        <a:pt x="258" y="141"/>
                      </a:cubicBezTo>
                      <a:cubicBezTo>
                        <a:pt x="256" y="146"/>
                        <a:pt x="256" y="146"/>
                        <a:pt x="256" y="146"/>
                      </a:cubicBezTo>
                      <a:cubicBezTo>
                        <a:pt x="222" y="145"/>
                        <a:pt x="222" y="145"/>
                        <a:pt x="222" y="145"/>
                      </a:cubicBezTo>
                      <a:cubicBezTo>
                        <a:pt x="222" y="145"/>
                        <a:pt x="226" y="128"/>
                        <a:pt x="226" y="125"/>
                      </a:cubicBezTo>
                      <a:cubicBezTo>
                        <a:pt x="216" y="133"/>
                        <a:pt x="218" y="129"/>
                        <a:pt x="208" y="109"/>
                      </a:cubicBezTo>
                      <a:cubicBezTo>
                        <a:pt x="199" y="89"/>
                        <a:pt x="190" y="81"/>
                        <a:pt x="190" y="81"/>
                      </a:cubicBezTo>
                      <a:cubicBezTo>
                        <a:pt x="190" y="70"/>
                        <a:pt x="190" y="70"/>
                        <a:pt x="190" y="70"/>
                      </a:cubicBezTo>
                      <a:cubicBezTo>
                        <a:pt x="182" y="69"/>
                        <a:pt x="182" y="69"/>
                        <a:pt x="182" y="69"/>
                      </a:cubicBezTo>
                      <a:cubicBezTo>
                        <a:pt x="182" y="78"/>
                        <a:pt x="182" y="78"/>
                        <a:pt x="182" y="78"/>
                      </a:cubicBezTo>
                      <a:cubicBezTo>
                        <a:pt x="176" y="81"/>
                        <a:pt x="176" y="81"/>
                        <a:pt x="176" y="81"/>
                      </a:cubicBezTo>
                      <a:cubicBezTo>
                        <a:pt x="167" y="66"/>
                        <a:pt x="167" y="66"/>
                        <a:pt x="167" y="66"/>
                      </a:cubicBezTo>
                      <a:cubicBezTo>
                        <a:pt x="158" y="69"/>
                        <a:pt x="158" y="69"/>
                        <a:pt x="158" y="69"/>
                      </a:cubicBezTo>
                      <a:cubicBezTo>
                        <a:pt x="167" y="60"/>
                        <a:pt x="159" y="38"/>
                        <a:pt x="159" y="38"/>
                      </a:cubicBezTo>
                      <a:cubicBezTo>
                        <a:pt x="155" y="33"/>
                        <a:pt x="155" y="33"/>
                        <a:pt x="155" y="33"/>
                      </a:cubicBezTo>
                      <a:cubicBezTo>
                        <a:pt x="155" y="18"/>
                        <a:pt x="128" y="8"/>
                        <a:pt x="128" y="8"/>
                      </a:cubicBezTo>
                      <a:cubicBezTo>
                        <a:pt x="122" y="10"/>
                        <a:pt x="122" y="10"/>
                        <a:pt x="122" y="10"/>
                      </a:cubicBezTo>
                      <a:cubicBezTo>
                        <a:pt x="118" y="0"/>
                        <a:pt x="118" y="0"/>
                        <a:pt x="118" y="0"/>
                      </a:cubicBezTo>
                      <a:cubicBezTo>
                        <a:pt x="103" y="8"/>
                        <a:pt x="103" y="8"/>
                        <a:pt x="103" y="8"/>
                      </a:cubicBezTo>
                      <a:cubicBezTo>
                        <a:pt x="44" y="8"/>
                        <a:pt x="44" y="8"/>
                        <a:pt x="44" y="8"/>
                      </a:cubicBezTo>
                      <a:cubicBezTo>
                        <a:pt x="36" y="28"/>
                        <a:pt x="36" y="28"/>
                        <a:pt x="36" y="28"/>
                      </a:cubicBezTo>
                      <a:cubicBezTo>
                        <a:pt x="42" y="44"/>
                        <a:pt x="42" y="44"/>
                        <a:pt x="42" y="44"/>
                      </a:cubicBezTo>
                      <a:cubicBezTo>
                        <a:pt x="42" y="44"/>
                        <a:pt x="28" y="66"/>
                        <a:pt x="20" y="75"/>
                      </a:cubicBezTo>
                      <a:cubicBezTo>
                        <a:pt x="39" y="84"/>
                        <a:pt x="39" y="84"/>
                        <a:pt x="39" y="84"/>
                      </a:cubicBezTo>
                      <a:cubicBezTo>
                        <a:pt x="39" y="84"/>
                        <a:pt x="28" y="104"/>
                        <a:pt x="58" y="114"/>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88" name="Centre" descr="© INSCALE GmbH, 05.05.2010&#10;http://www.presentationload.com/">
                  <a:extLst>
                    <a:ext uri="{FF2B5EF4-FFF2-40B4-BE49-F238E27FC236}">
                      <a16:creationId xmlns:a16="http://schemas.microsoft.com/office/drawing/2014/main" id="{2CEDFACD-4B39-41D4-94A6-C5EAE6C1D366}"/>
                    </a:ext>
                  </a:extLst>
                </p:cNvPr>
                <p:cNvSpPr>
                  <a:spLocks/>
                </p:cNvSpPr>
                <p:nvPr/>
              </p:nvSpPr>
              <p:spPr bwMode="gray">
                <a:xfrm>
                  <a:off x="1233" y="903"/>
                  <a:ext cx="716" cy="887"/>
                </a:xfrm>
                <a:custGeom>
                  <a:avLst/>
                  <a:gdLst/>
                  <a:ahLst/>
                  <a:cxnLst>
                    <a:cxn ang="0">
                      <a:pos x="209" y="158"/>
                    </a:cxn>
                    <a:cxn ang="0">
                      <a:pos x="173" y="227"/>
                    </a:cxn>
                    <a:cxn ang="0">
                      <a:pos x="193" y="251"/>
                    </a:cxn>
                    <a:cxn ang="0">
                      <a:pos x="168" y="275"/>
                    </a:cxn>
                    <a:cxn ang="0">
                      <a:pos x="179" y="314"/>
                    </a:cxn>
                    <a:cxn ang="0">
                      <a:pos x="144" y="367"/>
                    </a:cxn>
                    <a:cxn ang="0">
                      <a:pos x="79" y="406"/>
                    </a:cxn>
                    <a:cxn ang="0">
                      <a:pos x="43" y="418"/>
                    </a:cxn>
                    <a:cxn ang="0">
                      <a:pos x="29" y="494"/>
                    </a:cxn>
                    <a:cxn ang="0">
                      <a:pos x="29" y="594"/>
                    </a:cxn>
                    <a:cxn ang="0">
                      <a:pos x="56" y="598"/>
                    </a:cxn>
                    <a:cxn ang="0">
                      <a:pos x="79" y="632"/>
                    </a:cxn>
                    <a:cxn ang="0">
                      <a:pos x="108" y="611"/>
                    </a:cxn>
                    <a:cxn ang="0">
                      <a:pos x="185" y="712"/>
                    </a:cxn>
                    <a:cxn ang="0">
                      <a:pos x="233" y="788"/>
                    </a:cxn>
                    <a:cxn ang="0">
                      <a:pos x="251" y="820"/>
                    </a:cxn>
                    <a:cxn ang="0">
                      <a:pos x="287" y="811"/>
                    </a:cxn>
                    <a:cxn ang="0">
                      <a:pos x="320" y="814"/>
                    </a:cxn>
                    <a:cxn ang="0">
                      <a:pos x="353" y="806"/>
                    </a:cxn>
                    <a:cxn ang="0">
                      <a:pos x="404" y="802"/>
                    </a:cxn>
                    <a:cxn ang="0">
                      <a:pos x="539" y="771"/>
                    </a:cxn>
                    <a:cxn ang="0">
                      <a:pos x="559" y="719"/>
                    </a:cxn>
                    <a:cxn ang="0">
                      <a:pos x="650" y="684"/>
                    </a:cxn>
                    <a:cxn ang="0">
                      <a:pos x="655" y="607"/>
                    </a:cxn>
                    <a:cxn ang="0">
                      <a:pos x="611" y="514"/>
                    </a:cxn>
                    <a:cxn ang="0">
                      <a:pos x="632" y="435"/>
                    </a:cxn>
                    <a:cxn ang="0">
                      <a:pos x="615" y="388"/>
                    </a:cxn>
                    <a:cxn ang="0">
                      <a:pos x="641" y="364"/>
                    </a:cxn>
                    <a:cxn ang="0">
                      <a:pos x="639" y="327"/>
                    </a:cxn>
                    <a:cxn ang="0">
                      <a:pos x="663" y="284"/>
                    </a:cxn>
                    <a:cxn ang="0">
                      <a:pos x="624" y="246"/>
                    </a:cxn>
                    <a:cxn ang="0">
                      <a:pos x="581" y="247"/>
                    </a:cxn>
                    <a:cxn ang="0">
                      <a:pos x="520" y="254"/>
                    </a:cxn>
                    <a:cxn ang="0">
                      <a:pos x="513" y="214"/>
                    </a:cxn>
                    <a:cxn ang="0">
                      <a:pos x="491" y="194"/>
                    </a:cxn>
                    <a:cxn ang="0">
                      <a:pos x="468" y="188"/>
                    </a:cxn>
                    <a:cxn ang="0">
                      <a:pos x="419" y="204"/>
                    </a:cxn>
                    <a:cxn ang="0">
                      <a:pos x="405" y="154"/>
                    </a:cxn>
                    <a:cxn ang="0">
                      <a:pos x="364" y="115"/>
                    </a:cxn>
                    <a:cxn ang="0">
                      <a:pos x="341" y="88"/>
                    </a:cxn>
                    <a:cxn ang="0">
                      <a:pos x="344" y="59"/>
                    </a:cxn>
                    <a:cxn ang="0">
                      <a:pos x="331" y="23"/>
                    </a:cxn>
                    <a:cxn ang="0">
                      <a:pos x="312" y="3"/>
                    </a:cxn>
                    <a:cxn ang="0">
                      <a:pos x="287" y="51"/>
                    </a:cxn>
                    <a:cxn ang="0">
                      <a:pos x="225" y="54"/>
                    </a:cxn>
                    <a:cxn ang="0">
                      <a:pos x="177" y="98"/>
                    </a:cxn>
                  </a:cxnLst>
                  <a:rect l="0" t="0" r="r" b="b"/>
                  <a:pathLst>
                    <a:path w="664" h="822">
                      <a:moveTo>
                        <a:pt x="205" y="131"/>
                      </a:moveTo>
                      <a:cubicBezTo>
                        <a:pt x="205" y="136"/>
                        <a:pt x="201" y="144"/>
                        <a:pt x="201" y="144"/>
                      </a:cubicBezTo>
                      <a:cubicBezTo>
                        <a:pt x="209" y="158"/>
                        <a:pt x="209" y="158"/>
                        <a:pt x="209" y="158"/>
                      </a:cubicBezTo>
                      <a:cubicBezTo>
                        <a:pt x="197" y="172"/>
                        <a:pt x="197" y="172"/>
                        <a:pt x="197" y="172"/>
                      </a:cubicBezTo>
                      <a:cubicBezTo>
                        <a:pt x="197" y="172"/>
                        <a:pt x="171" y="179"/>
                        <a:pt x="168" y="190"/>
                      </a:cubicBezTo>
                      <a:cubicBezTo>
                        <a:pt x="165" y="200"/>
                        <a:pt x="173" y="227"/>
                        <a:pt x="173" y="227"/>
                      </a:cubicBezTo>
                      <a:cubicBezTo>
                        <a:pt x="173" y="235"/>
                        <a:pt x="173" y="235"/>
                        <a:pt x="173" y="235"/>
                      </a:cubicBezTo>
                      <a:cubicBezTo>
                        <a:pt x="193" y="242"/>
                        <a:pt x="193" y="242"/>
                        <a:pt x="193" y="242"/>
                      </a:cubicBezTo>
                      <a:cubicBezTo>
                        <a:pt x="193" y="251"/>
                        <a:pt x="193" y="251"/>
                        <a:pt x="193" y="251"/>
                      </a:cubicBezTo>
                      <a:cubicBezTo>
                        <a:pt x="179" y="252"/>
                        <a:pt x="179" y="252"/>
                        <a:pt x="179" y="252"/>
                      </a:cubicBezTo>
                      <a:cubicBezTo>
                        <a:pt x="179" y="270"/>
                        <a:pt x="179" y="270"/>
                        <a:pt x="179" y="270"/>
                      </a:cubicBezTo>
                      <a:cubicBezTo>
                        <a:pt x="168" y="275"/>
                        <a:pt x="168" y="275"/>
                        <a:pt x="168" y="275"/>
                      </a:cubicBezTo>
                      <a:cubicBezTo>
                        <a:pt x="176" y="287"/>
                        <a:pt x="176" y="287"/>
                        <a:pt x="176" y="287"/>
                      </a:cubicBezTo>
                      <a:cubicBezTo>
                        <a:pt x="172" y="300"/>
                        <a:pt x="172" y="300"/>
                        <a:pt x="172" y="300"/>
                      </a:cubicBezTo>
                      <a:cubicBezTo>
                        <a:pt x="179" y="314"/>
                        <a:pt x="179" y="314"/>
                        <a:pt x="179" y="314"/>
                      </a:cubicBezTo>
                      <a:cubicBezTo>
                        <a:pt x="171" y="324"/>
                        <a:pt x="171" y="324"/>
                        <a:pt x="171" y="324"/>
                      </a:cubicBezTo>
                      <a:cubicBezTo>
                        <a:pt x="171" y="324"/>
                        <a:pt x="161" y="328"/>
                        <a:pt x="161" y="343"/>
                      </a:cubicBezTo>
                      <a:cubicBezTo>
                        <a:pt x="157" y="347"/>
                        <a:pt x="144" y="367"/>
                        <a:pt x="144" y="367"/>
                      </a:cubicBezTo>
                      <a:cubicBezTo>
                        <a:pt x="144" y="367"/>
                        <a:pt x="112" y="388"/>
                        <a:pt x="128" y="394"/>
                      </a:cubicBezTo>
                      <a:cubicBezTo>
                        <a:pt x="124" y="395"/>
                        <a:pt x="95" y="402"/>
                        <a:pt x="95" y="402"/>
                      </a:cubicBezTo>
                      <a:cubicBezTo>
                        <a:pt x="95" y="402"/>
                        <a:pt x="96" y="424"/>
                        <a:pt x="79" y="406"/>
                      </a:cubicBezTo>
                      <a:cubicBezTo>
                        <a:pt x="80" y="408"/>
                        <a:pt x="69" y="415"/>
                        <a:pt x="69" y="415"/>
                      </a:cubicBezTo>
                      <a:cubicBezTo>
                        <a:pt x="80" y="430"/>
                        <a:pt x="80" y="430"/>
                        <a:pt x="80" y="430"/>
                      </a:cubicBezTo>
                      <a:cubicBezTo>
                        <a:pt x="43" y="418"/>
                        <a:pt x="43" y="418"/>
                        <a:pt x="43" y="418"/>
                      </a:cubicBezTo>
                      <a:cubicBezTo>
                        <a:pt x="43" y="418"/>
                        <a:pt x="32" y="446"/>
                        <a:pt x="39" y="454"/>
                      </a:cubicBezTo>
                      <a:cubicBezTo>
                        <a:pt x="35" y="464"/>
                        <a:pt x="23" y="482"/>
                        <a:pt x="23" y="482"/>
                      </a:cubicBezTo>
                      <a:cubicBezTo>
                        <a:pt x="29" y="494"/>
                        <a:pt x="29" y="494"/>
                        <a:pt x="29" y="494"/>
                      </a:cubicBezTo>
                      <a:cubicBezTo>
                        <a:pt x="29" y="494"/>
                        <a:pt x="0" y="528"/>
                        <a:pt x="3" y="556"/>
                      </a:cubicBezTo>
                      <a:cubicBezTo>
                        <a:pt x="5" y="584"/>
                        <a:pt x="29" y="580"/>
                        <a:pt x="29" y="580"/>
                      </a:cubicBezTo>
                      <a:cubicBezTo>
                        <a:pt x="29" y="594"/>
                        <a:pt x="29" y="594"/>
                        <a:pt x="29" y="594"/>
                      </a:cubicBezTo>
                      <a:cubicBezTo>
                        <a:pt x="43" y="587"/>
                        <a:pt x="43" y="587"/>
                        <a:pt x="43" y="587"/>
                      </a:cubicBezTo>
                      <a:cubicBezTo>
                        <a:pt x="47" y="594"/>
                        <a:pt x="47" y="594"/>
                        <a:pt x="47" y="594"/>
                      </a:cubicBezTo>
                      <a:cubicBezTo>
                        <a:pt x="56" y="598"/>
                        <a:pt x="56" y="598"/>
                        <a:pt x="56" y="598"/>
                      </a:cubicBezTo>
                      <a:cubicBezTo>
                        <a:pt x="56" y="598"/>
                        <a:pt x="44" y="624"/>
                        <a:pt x="56" y="628"/>
                      </a:cubicBezTo>
                      <a:cubicBezTo>
                        <a:pt x="68" y="632"/>
                        <a:pt x="67" y="626"/>
                        <a:pt x="67" y="626"/>
                      </a:cubicBezTo>
                      <a:cubicBezTo>
                        <a:pt x="79" y="632"/>
                        <a:pt x="79" y="632"/>
                        <a:pt x="79" y="632"/>
                      </a:cubicBezTo>
                      <a:cubicBezTo>
                        <a:pt x="93" y="624"/>
                        <a:pt x="93" y="624"/>
                        <a:pt x="93" y="624"/>
                      </a:cubicBezTo>
                      <a:cubicBezTo>
                        <a:pt x="116" y="624"/>
                        <a:pt x="116" y="624"/>
                        <a:pt x="116" y="624"/>
                      </a:cubicBezTo>
                      <a:cubicBezTo>
                        <a:pt x="108" y="611"/>
                        <a:pt x="108" y="611"/>
                        <a:pt x="108" y="611"/>
                      </a:cubicBezTo>
                      <a:cubicBezTo>
                        <a:pt x="140" y="622"/>
                        <a:pt x="140" y="622"/>
                        <a:pt x="140" y="622"/>
                      </a:cubicBezTo>
                      <a:cubicBezTo>
                        <a:pt x="140" y="622"/>
                        <a:pt x="143" y="654"/>
                        <a:pt x="160" y="670"/>
                      </a:cubicBezTo>
                      <a:cubicBezTo>
                        <a:pt x="177" y="686"/>
                        <a:pt x="153" y="679"/>
                        <a:pt x="185" y="712"/>
                      </a:cubicBezTo>
                      <a:cubicBezTo>
                        <a:pt x="184" y="726"/>
                        <a:pt x="179" y="755"/>
                        <a:pt x="207" y="756"/>
                      </a:cubicBezTo>
                      <a:cubicBezTo>
                        <a:pt x="211" y="758"/>
                        <a:pt x="208" y="767"/>
                        <a:pt x="208" y="767"/>
                      </a:cubicBezTo>
                      <a:cubicBezTo>
                        <a:pt x="208" y="767"/>
                        <a:pt x="227" y="746"/>
                        <a:pt x="233" y="788"/>
                      </a:cubicBezTo>
                      <a:cubicBezTo>
                        <a:pt x="237" y="795"/>
                        <a:pt x="248" y="800"/>
                        <a:pt x="248" y="800"/>
                      </a:cubicBezTo>
                      <a:cubicBezTo>
                        <a:pt x="244" y="811"/>
                        <a:pt x="244" y="811"/>
                        <a:pt x="244" y="811"/>
                      </a:cubicBezTo>
                      <a:cubicBezTo>
                        <a:pt x="251" y="820"/>
                        <a:pt x="251" y="820"/>
                        <a:pt x="251" y="820"/>
                      </a:cubicBezTo>
                      <a:cubicBezTo>
                        <a:pt x="269" y="818"/>
                        <a:pt x="269" y="818"/>
                        <a:pt x="269" y="818"/>
                      </a:cubicBezTo>
                      <a:cubicBezTo>
                        <a:pt x="269" y="811"/>
                        <a:pt x="269" y="811"/>
                        <a:pt x="269" y="811"/>
                      </a:cubicBezTo>
                      <a:cubicBezTo>
                        <a:pt x="287" y="811"/>
                        <a:pt x="287" y="811"/>
                        <a:pt x="287" y="811"/>
                      </a:cubicBezTo>
                      <a:cubicBezTo>
                        <a:pt x="292" y="822"/>
                        <a:pt x="292" y="822"/>
                        <a:pt x="292" y="822"/>
                      </a:cubicBezTo>
                      <a:cubicBezTo>
                        <a:pt x="319" y="802"/>
                        <a:pt x="319" y="802"/>
                        <a:pt x="319" y="802"/>
                      </a:cubicBezTo>
                      <a:cubicBezTo>
                        <a:pt x="320" y="814"/>
                        <a:pt x="320" y="814"/>
                        <a:pt x="320" y="814"/>
                      </a:cubicBezTo>
                      <a:cubicBezTo>
                        <a:pt x="337" y="803"/>
                        <a:pt x="337" y="803"/>
                        <a:pt x="337" y="803"/>
                      </a:cubicBezTo>
                      <a:cubicBezTo>
                        <a:pt x="340" y="811"/>
                        <a:pt x="340" y="811"/>
                        <a:pt x="340" y="811"/>
                      </a:cubicBezTo>
                      <a:cubicBezTo>
                        <a:pt x="353" y="806"/>
                        <a:pt x="353" y="806"/>
                        <a:pt x="353" y="806"/>
                      </a:cubicBezTo>
                      <a:cubicBezTo>
                        <a:pt x="363" y="812"/>
                        <a:pt x="363" y="812"/>
                        <a:pt x="363" y="812"/>
                      </a:cubicBezTo>
                      <a:cubicBezTo>
                        <a:pt x="368" y="794"/>
                        <a:pt x="368" y="794"/>
                        <a:pt x="368" y="794"/>
                      </a:cubicBezTo>
                      <a:cubicBezTo>
                        <a:pt x="368" y="794"/>
                        <a:pt x="392" y="804"/>
                        <a:pt x="404" y="802"/>
                      </a:cubicBezTo>
                      <a:cubicBezTo>
                        <a:pt x="416" y="799"/>
                        <a:pt x="411" y="790"/>
                        <a:pt x="436" y="803"/>
                      </a:cubicBezTo>
                      <a:cubicBezTo>
                        <a:pt x="441" y="812"/>
                        <a:pt x="483" y="802"/>
                        <a:pt x="483" y="802"/>
                      </a:cubicBezTo>
                      <a:cubicBezTo>
                        <a:pt x="483" y="802"/>
                        <a:pt x="505" y="759"/>
                        <a:pt x="539" y="771"/>
                      </a:cubicBezTo>
                      <a:cubicBezTo>
                        <a:pt x="555" y="760"/>
                        <a:pt x="555" y="760"/>
                        <a:pt x="555" y="760"/>
                      </a:cubicBezTo>
                      <a:cubicBezTo>
                        <a:pt x="555" y="760"/>
                        <a:pt x="545" y="738"/>
                        <a:pt x="552" y="732"/>
                      </a:cubicBezTo>
                      <a:cubicBezTo>
                        <a:pt x="559" y="727"/>
                        <a:pt x="559" y="719"/>
                        <a:pt x="559" y="719"/>
                      </a:cubicBezTo>
                      <a:cubicBezTo>
                        <a:pt x="559" y="719"/>
                        <a:pt x="577" y="700"/>
                        <a:pt x="581" y="700"/>
                      </a:cubicBezTo>
                      <a:cubicBezTo>
                        <a:pt x="585" y="700"/>
                        <a:pt x="600" y="722"/>
                        <a:pt x="608" y="706"/>
                      </a:cubicBezTo>
                      <a:cubicBezTo>
                        <a:pt x="615" y="691"/>
                        <a:pt x="625" y="683"/>
                        <a:pt x="650" y="684"/>
                      </a:cubicBezTo>
                      <a:cubicBezTo>
                        <a:pt x="649" y="683"/>
                        <a:pt x="649" y="682"/>
                        <a:pt x="648" y="682"/>
                      </a:cubicBezTo>
                      <a:cubicBezTo>
                        <a:pt x="661" y="667"/>
                        <a:pt x="645" y="650"/>
                        <a:pt x="651" y="644"/>
                      </a:cubicBezTo>
                      <a:cubicBezTo>
                        <a:pt x="656" y="639"/>
                        <a:pt x="655" y="607"/>
                        <a:pt x="655" y="607"/>
                      </a:cubicBezTo>
                      <a:cubicBezTo>
                        <a:pt x="645" y="599"/>
                        <a:pt x="645" y="599"/>
                        <a:pt x="645" y="599"/>
                      </a:cubicBezTo>
                      <a:cubicBezTo>
                        <a:pt x="645" y="555"/>
                        <a:pt x="636" y="535"/>
                        <a:pt x="636" y="535"/>
                      </a:cubicBezTo>
                      <a:cubicBezTo>
                        <a:pt x="611" y="514"/>
                        <a:pt x="611" y="514"/>
                        <a:pt x="611" y="514"/>
                      </a:cubicBezTo>
                      <a:cubicBezTo>
                        <a:pt x="625" y="479"/>
                        <a:pt x="625" y="479"/>
                        <a:pt x="625" y="479"/>
                      </a:cubicBezTo>
                      <a:cubicBezTo>
                        <a:pt x="609" y="440"/>
                        <a:pt x="609" y="440"/>
                        <a:pt x="609" y="440"/>
                      </a:cubicBezTo>
                      <a:cubicBezTo>
                        <a:pt x="632" y="435"/>
                        <a:pt x="632" y="435"/>
                        <a:pt x="632" y="435"/>
                      </a:cubicBezTo>
                      <a:cubicBezTo>
                        <a:pt x="624" y="423"/>
                        <a:pt x="624" y="423"/>
                        <a:pt x="624" y="423"/>
                      </a:cubicBezTo>
                      <a:cubicBezTo>
                        <a:pt x="628" y="410"/>
                        <a:pt x="628" y="410"/>
                        <a:pt x="628" y="410"/>
                      </a:cubicBezTo>
                      <a:cubicBezTo>
                        <a:pt x="615" y="388"/>
                        <a:pt x="615" y="388"/>
                        <a:pt x="615" y="388"/>
                      </a:cubicBezTo>
                      <a:cubicBezTo>
                        <a:pt x="605" y="390"/>
                        <a:pt x="605" y="390"/>
                        <a:pt x="605" y="390"/>
                      </a:cubicBezTo>
                      <a:cubicBezTo>
                        <a:pt x="607" y="374"/>
                        <a:pt x="607" y="374"/>
                        <a:pt x="607" y="374"/>
                      </a:cubicBezTo>
                      <a:cubicBezTo>
                        <a:pt x="641" y="364"/>
                        <a:pt x="641" y="364"/>
                        <a:pt x="641" y="364"/>
                      </a:cubicBezTo>
                      <a:cubicBezTo>
                        <a:pt x="641" y="340"/>
                        <a:pt x="641" y="340"/>
                        <a:pt x="641" y="340"/>
                      </a:cubicBezTo>
                      <a:cubicBezTo>
                        <a:pt x="636" y="340"/>
                        <a:pt x="636" y="340"/>
                        <a:pt x="636" y="340"/>
                      </a:cubicBezTo>
                      <a:cubicBezTo>
                        <a:pt x="639" y="327"/>
                        <a:pt x="639" y="327"/>
                        <a:pt x="639" y="327"/>
                      </a:cubicBezTo>
                      <a:cubicBezTo>
                        <a:pt x="648" y="326"/>
                        <a:pt x="648" y="326"/>
                        <a:pt x="648" y="326"/>
                      </a:cubicBezTo>
                      <a:cubicBezTo>
                        <a:pt x="664" y="303"/>
                        <a:pt x="664" y="303"/>
                        <a:pt x="664" y="303"/>
                      </a:cubicBezTo>
                      <a:cubicBezTo>
                        <a:pt x="663" y="284"/>
                        <a:pt x="663" y="284"/>
                        <a:pt x="663" y="284"/>
                      </a:cubicBezTo>
                      <a:cubicBezTo>
                        <a:pt x="633" y="274"/>
                        <a:pt x="644" y="254"/>
                        <a:pt x="644" y="254"/>
                      </a:cubicBezTo>
                      <a:cubicBezTo>
                        <a:pt x="625" y="245"/>
                        <a:pt x="625" y="245"/>
                        <a:pt x="625" y="245"/>
                      </a:cubicBezTo>
                      <a:cubicBezTo>
                        <a:pt x="625" y="245"/>
                        <a:pt x="624" y="246"/>
                        <a:pt x="624" y="246"/>
                      </a:cubicBezTo>
                      <a:cubicBezTo>
                        <a:pt x="616" y="254"/>
                        <a:pt x="593" y="258"/>
                        <a:pt x="593" y="258"/>
                      </a:cubicBezTo>
                      <a:cubicBezTo>
                        <a:pt x="593" y="247"/>
                        <a:pt x="593" y="247"/>
                        <a:pt x="593" y="247"/>
                      </a:cubicBezTo>
                      <a:cubicBezTo>
                        <a:pt x="581" y="247"/>
                        <a:pt x="581" y="247"/>
                        <a:pt x="581" y="247"/>
                      </a:cubicBezTo>
                      <a:cubicBezTo>
                        <a:pt x="581" y="255"/>
                        <a:pt x="581" y="255"/>
                        <a:pt x="581" y="255"/>
                      </a:cubicBezTo>
                      <a:cubicBezTo>
                        <a:pt x="526" y="254"/>
                        <a:pt x="526" y="254"/>
                        <a:pt x="526" y="254"/>
                      </a:cubicBezTo>
                      <a:cubicBezTo>
                        <a:pt x="523" y="254"/>
                        <a:pt x="520" y="254"/>
                        <a:pt x="520" y="254"/>
                      </a:cubicBezTo>
                      <a:cubicBezTo>
                        <a:pt x="526" y="254"/>
                        <a:pt x="526" y="254"/>
                        <a:pt x="526" y="254"/>
                      </a:cubicBezTo>
                      <a:cubicBezTo>
                        <a:pt x="530" y="253"/>
                        <a:pt x="536" y="250"/>
                        <a:pt x="537" y="239"/>
                      </a:cubicBezTo>
                      <a:cubicBezTo>
                        <a:pt x="540" y="220"/>
                        <a:pt x="513" y="214"/>
                        <a:pt x="513" y="214"/>
                      </a:cubicBezTo>
                      <a:cubicBezTo>
                        <a:pt x="509" y="198"/>
                        <a:pt x="509" y="198"/>
                        <a:pt x="509" y="198"/>
                      </a:cubicBezTo>
                      <a:cubicBezTo>
                        <a:pt x="507" y="199"/>
                        <a:pt x="507" y="199"/>
                        <a:pt x="507" y="199"/>
                      </a:cubicBezTo>
                      <a:cubicBezTo>
                        <a:pt x="491" y="194"/>
                        <a:pt x="491" y="194"/>
                        <a:pt x="491" y="194"/>
                      </a:cubicBezTo>
                      <a:cubicBezTo>
                        <a:pt x="477" y="202"/>
                        <a:pt x="477" y="202"/>
                        <a:pt x="477" y="202"/>
                      </a:cubicBezTo>
                      <a:cubicBezTo>
                        <a:pt x="475" y="191"/>
                        <a:pt x="475" y="191"/>
                        <a:pt x="475" y="191"/>
                      </a:cubicBezTo>
                      <a:cubicBezTo>
                        <a:pt x="468" y="188"/>
                        <a:pt x="468" y="188"/>
                        <a:pt x="468" y="188"/>
                      </a:cubicBezTo>
                      <a:cubicBezTo>
                        <a:pt x="461" y="202"/>
                        <a:pt x="461" y="202"/>
                        <a:pt x="461" y="202"/>
                      </a:cubicBezTo>
                      <a:cubicBezTo>
                        <a:pt x="461" y="202"/>
                        <a:pt x="451" y="202"/>
                        <a:pt x="443" y="202"/>
                      </a:cubicBezTo>
                      <a:cubicBezTo>
                        <a:pt x="435" y="202"/>
                        <a:pt x="428" y="212"/>
                        <a:pt x="419" y="204"/>
                      </a:cubicBezTo>
                      <a:cubicBezTo>
                        <a:pt x="409" y="196"/>
                        <a:pt x="421" y="170"/>
                        <a:pt x="421" y="170"/>
                      </a:cubicBezTo>
                      <a:cubicBezTo>
                        <a:pt x="411" y="168"/>
                        <a:pt x="411" y="168"/>
                        <a:pt x="411" y="168"/>
                      </a:cubicBezTo>
                      <a:cubicBezTo>
                        <a:pt x="411" y="168"/>
                        <a:pt x="409" y="155"/>
                        <a:pt x="405" y="154"/>
                      </a:cubicBezTo>
                      <a:cubicBezTo>
                        <a:pt x="403" y="162"/>
                        <a:pt x="379" y="147"/>
                        <a:pt x="379" y="147"/>
                      </a:cubicBezTo>
                      <a:cubicBezTo>
                        <a:pt x="377" y="122"/>
                        <a:pt x="377" y="122"/>
                        <a:pt x="377" y="122"/>
                      </a:cubicBezTo>
                      <a:cubicBezTo>
                        <a:pt x="364" y="115"/>
                        <a:pt x="364" y="115"/>
                        <a:pt x="364" y="115"/>
                      </a:cubicBezTo>
                      <a:cubicBezTo>
                        <a:pt x="365" y="103"/>
                        <a:pt x="365" y="103"/>
                        <a:pt x="365" y="103"/>
                      </a:cubicBezTo>
                      <a:cubicBezTo>
                        <a:pt x="356" y="100"/>
                        <a:pt x="356" y="100"/>
                        <a:pt x="356" y="100"/>
                      </a:cubicBezTo>
                      <a:cubicBezTo>
                        <a:pt x="341" y="88"/>
                        <a:pt x="341" y="88"/>
                        <a:pt x="341" y="88"/>
                      </a:cubicBezTo>
                      <a:cubicBezTo>
                        <a:pt x="343" y="78"/>
                        <a:pt x="343" y="78"/>
                        <a:pt x="343" y="78"/>
                      </a:cubicBezTo>
                      <a:cubicBezTo>
                        <a:pt x="333" y="74"/>
                        <a:pt x="333" y="74"/>
                        <a:pt x="333" y="74"/>
                      </a:cubicBezTo>
                      <a:cubicBezTo>
                        <a:pt x="344" y="59"/>
                        <a:pt x="344" y="59"/>
                        <a:pt x="344" y="59"/>
                      </a:cubicBezTo>
                      <a:cubicBezTo>
                        <a:pt x="337" y="52"/>
                        <a:pt x="337" y="52"/>
                        <a:pt x="337" y="52"/>
                      </a:cubicBezTo>
                      <a:cubicBezTo>
                        <a:pt x="339" y="28"/>
                        <a:pt x="339" y="28"/>
                        <a:pt x="339" y="28"/>
                      </a:cubicBezTo>
                      <a:cubicBezTo>
                        <a:pt x="331" y="23"/>
                        <a:pt x="331" y="23"/>
                        <a:pt x="331" y="23"/>
                      </a:cubicBezTo>
                      <a:cubicBezTo>
                        <a:pt x="335" y="14"/>
                        <a:pt x="335" y="14"/>
                        <a:pt x="335" y="14"/>
                      </a:cubicBezTo>
                      <a:cubicBezTo>
                        <a:pt x="320" y="0"/>
                        <a:pt x="320" y="0"/>
                        <a:pt x="320" y="0"/>
                      </a:cubicBezTo>
                      <a:cubicBezTo>
                        <a:pt x="312" y="3"/>
                        <a:pt x="312" y="3"/>
                        <a:pt x="312" y="3"/>
                      </a:cubicBezTo>
                      <a:cubicBezTo>
                        <a:pt x="312" y="3"/>
                        <a:pt x="313" y="10"/>
                        <a:pt x="312" y="15"/>
                      </a:cubicBezTo>
                      <a:cubicBezTo>
                        <a:pt x="311" y="20"/>
                        <a:pt x="292" y="28"/>
                        <a:pt x="292" y="28"/>
                      </a:cubicBezTo>
                      <a:cubicBezTo>
                        <a:pt x="292" y="28"/>
                        <a:pt x="293" y="40"/>
                        <a:pt x="287" y="51"/>
                      </a:cubicBezTo>
                      <a:cubicBezTo>
                        <a:pt x="280" y="62"/>
                        <a:pt x="236" y="47"/>
                        <a:pt x="236" y="47"/>
                      </a:cubicBezTo>
                      <a:cubicBezTo>
                        <a:pt x="235" y="58"/>
                        <a:pt x="235" y="58"/>
                        <a:pt x="235" y="58"/>
                      </a:cubicBezTo>
                      <a:cubicBezTo>
                        <a:pt x="235" y="58"/>
                        <a:pt x="227" y="58"/>
                        <a:pt x="225" y="54"/>
                      </a:cubicBezTo>
                      <a:cubicBezTo>
                        <a:pt x="203" y="76"/>
                        <a:pt x="195" y="64"/>
                        <a:pt x="191" y="64"/>
                      </a:cubicBezTo>
                      <a:cubicBezTo>
                        <a:pt x="187" y="74"/>
                        <a:pt x="182" y="78"/>
                        <a:pt x="176" y="79"/>
                      </a:cubicBezTo>
                      <a:cubicBezTo>
                        <a:pt x="177" y="98"/>
                        <a:pt x="177" y="98"/>
                        <a:pt x="177" y="98"/>
                      </a:cubicBezTo>
                      <a:cubicBezTo>
                        <a:pt x="177" y="98"/>
                        <a:pt x="205" y="126"/>
                        <a:pt x="205" y="13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89" name="Basse Normandie" descr="© INSCALE GmbH, 05.05.2010&#10;http://www.presentationload.com/">
                  <a:extLst>
                    <a:ext uri="{FF2B5EF4-FFF2-40B4-BE49-F238E27FC236}">
                      <a16:creationId xmlns:a16="http://schemas.microsoft.com/office/drawing/2014/main" id="{586FAF0F-6A41-4F04-9A6A-7524156374B6}"/>
                    </a:ext>
                  </a:extLst>
                </p:cNvPr>
                <p:cNvSpPr>
                  <a:spLocks/>
                </p:cNvSpPr>
                <p:nvPr/>
              </p:nvSpPr>
              <p:spPr bwMode="gray">
                <a:xfrm>
                  <a:off x="801" y="585"/>
                  <a:ext cx="657" cy="573"/>
                </a:xfrm>
                <a:custGeom>
                  <a:avLst/>
                  <a:gdLst/>
                  <a:ahLst/>
                  <a:cxnLst>
                    <a:cxn ang="0">
                      <a:pos x="197" y="413"/>
                    </a:cxn>
                    <a:cxn ang="0">
                      <a:pos x="245" y="437"/>
                    </a:cxn>
                    <a:cxn ang="0">
                      <a:pos x="265" y="435"/>
                    </a:cxn>
                    <a:cxn ang="0">
                      <a:pos x="315" y="422"/>
                    </a:cxn>
                    <a:cxn ang="0">
                      <a:pos x="336" y="415"/>
                    </a:cxn>
                    <a:cxn ang="0">
                      <a:pos x="348" y="405"/>
                    </a:cxn>
                    <a:cxn ang="0">
                      <a:pos x="373" y="439"/>
                    </a:cxn>
                    <a:cxn ang="0">
                      <a:pos x="395" y="465"/>
                    </a:cxn>
                    <a:cxn ang="0">
                      <a:pos x="485" y="481"/>
                    </a:cxn>
                    <a:cxn ang="0">
                      <a:pos x="512" y="513"/>
                    </a:cxn>
                    <a:cxn ang="0">
                      <a:pos x="561" y="531"/>
                    </a:cxn>
                    <a:cxn ang="0">
                      <a:pos x="573" y="522"/>
                    </a:cxn>
                    <a:cxn ang="0">
                      <a:pos x="597" y="467"/>
                    </a:cxn>
                    <a:cxn ang="0">
                      <a:pos x="601" y="439"/>
                    </a:cxn>
                    <a:cxn ang="0">
                      <a:pos x="577" y="393"/>
                    </a:cxn>
                    <a:cxn ang="0">
                      <a:pos x="563" y="374"/>
                    </a:cxn>
                    <a:cxn ang="0">
                      <a:pos x="536" y="325"/>
                    </a:cxn>
                    <a:cxn ang="0">
                      <a:pos x="496" y="303"/>
                    </a:cxn>
                    <a:cxn ang="0">
                      <a:pos x="496" y="259"/>
                    </a:cxn>
                    <a:cxn ang="0">
                      <a:pos x="495" y="246"/>
                    </a:cxn>
                    <a:cxn ang="0">
                      <a:pos x="491" y="218"/>
                    </a:cxn>
                    <a:cxn ang="0">
                      <a:pos x="477" y="186"/>
                    </a:cxn>
                    <a:cxn ang="0">
                      <a:pos x="463" y="93"/>
                    </a:cxn>
                    <a:cxn ang="0">
                      <a:pos x="357" y="137"/>
                    </a:cxn>
                    <a:cxn ang="0">
                      <a:pos x="239" y="114"/>
                    </a:cxn>
                    <a:cxn ang="0">
                      <a:pos x="168" y="123"/>
                    </a:cxn>
                    <a:cxn ang="0">
                      <a:pos x="157" y="102"/>
                    </a:cxn>
                    <a:cxn ang="0">
                      <a:pos x="130" y="51"/>
                    </a:cxn>
                    <a:cxn ang="0">
                      <a:pos x="140" y="11"/>
                    </a:cxn>
                    <a:cxn ang="0">
                      <a:pos x="91" y="21"/>
                    </a:cxn>
                    <a:cxn ang="0">
                      <a:pos x="1" y="0"/>
                    </a:cxn>
                    <a:cxn ang="0">
                      <a:pos x="16" y="23"/>
                    </a:cxn>
                    <a:cxn ang="0">
                      <a:pos x="22" y="85"/>
                    </a:cxn>
                    <a:cxn ang="0">
                      <a:pos x="66" y="158"/>
                    </a:cxn>
                    <a:cxn ang="0">
                      <a:pos x="73" y="216"/>
                    </a:cxn>
                    <a:cxn ang="0">
                      <a:pos x="78" y="239"/>
                    </a:cxn>
                    <a:cxn ang="0">
                      <a:pos x="69" y="294"/>
                    </a:cxn>
                    <a:cxn ang="0">
                      <a:pos x="83" y="331"/>
                    </a:cxn>
                    <a:cxn ang="0">
                      <a:pos x="58" y="332"/>
                    </a:cxn>
                    <a:cxn ang="0">
                      <a:pos x="136" y="402"/>
                    </a:cxn>
                  </a:cxnLst>
                  <a:rect l="0" t="0" r="r" b="b"/>
                  <a:pathLst>
                    <a:path w="609" h="531">
                      <a:moveTo>
                        <a:pt x="136" y="402"/>
                      </a:moveTo>
                      <a:cubicBezTo>
                        <a:pt x="173" y="418"/>
                        <a:pt x="187" y="426"/>
                        <a:pt x="197" y="413"/>
                      </a:cubicBezTo>
                      <a:cubicBezTo>
                        <a:pt x="207" y="418"/>
                        <a:pt x="220" y="422"/>
                        <a:pt x="220" y="422"/>
                      </a:cubicBezTo>
                      <a:cubicBezTo>
                        <a:pt x="220" y="422"/>
                        <a:pt x="245" y="446"/>
                        <a:pt x="245" y="437"/>
                      </a:cubicBezTo>
                      <a:cubicBezTo>
                        <a:pt x="245" y="427"/>
                        <a:pt x="261" y="426"/>
                        <a:pt x="261" y="426"/>
                      </a:cubicBezTo>
                      <a:cubicBezTo>
                        <a:pt x="265" y="435"/>
                        <a:pt x="265" y="435"/>
                        <a:pt x="265" y="435"/>
                      </a:cubicBezTo>
                      <a:cubicBezTo>
                        <a:pt x="265" y="435"/>
                        <a:pt x="288" y="435"/>
                        <a:pt x="293" y="421"/>
                      </a:cubicBezTo>
                      <a:cubicBezTo>
                        <a:pt x="300" y="421"/>
                        <a:pt x="315" y="422"/>
                        <a:pt x="315" y="422"/>
                      </a:cubicBezTo>
                      <a:cubicBezTo>
                        <a:pt x="321" y="427"/>
                        <a:pt x="321" y="427"/>
                        <a:pt x="321" y="427"/>
                      </a:cubicBezTo>
                      <a:cubicBezTo>
                        <a:pt x="336" y="415"/>
                        <a:pt x="336" y="415"/>
                        <a:pt x="336" y="415"/>
                      </a:cubicBezTo>
                      <a:cubicBezTo>
                        <a:pt x="336" y="415"/>
                        <a:pt x="344" y="426"/>
                        <a:pt x="348" y="418"/>
                      </a:cubicBezTo>
                      <a:cubicBezTo>
                        <a:pt x="352" y="410"/>
                        <a:pt x="344" y="405"/>
                        <a:pt x="348" y="405"/>
                      </a:cubicBezTo>
                      <a:cubicBezTo>
                        <a:pt x="352" y="405"/>
                        <a:pt x="375" y="414"/>
                        <a:pt x="375" y="414"/>
                      </a:cubicBezTo>
                      <a:cubicBezTo>
                        <a:pt x="375" y="414"/>
                        <a:pt x="361" y="439"/>
                        <a:pt x="373" y="439"/>
                      </a:cubicBezTo>
                      <a:cubicBezTo>
                        <a:pt x="385" y="439"/>
                        <a:pt x="391" y="438"/>
                        <a:pt x="391" y="438"/>
                      </a:cubicBezTo>
                      <a:cubicBezTo>
                        <a:pt x="395" y="465"/>
                        <a:pt x="395" y="465"/>
                        <a:pt x="395" y="465"/>
                      </a:cubicBezTo>
                      <a:cubicBezTo>
                        <a:pt x="415" y="465"/>
                        <a:pt x="415" y="465"/>
                        <a:pt x="415" y="465"/>
                      </a:cubicBezTo>
                      <a:cubicBezTo>
                        <a:pt x="415" y="465"/>
                        <a:pt x="477" y="390"/>
                        <a:pt x="485" y="481"/>
                      </a:cubicBezTo>
                      <a:cubicBezTo>
                        <a:pt x="492" y="486"/>
                        <a:pt x="505" y="493"/>
                        <a:pt x="505" y="493"/>
                      </a:cubicBezTo>
                      <a:cubicBezTo>
                        <a:pt x="512" y="513"/>
                        <a:pt x="512" y="513"/>
                        <a:pt x="512" y="513"/>
                      </a:cubicBezTo>
                      <a:cubicBezTo>
                        <a:pt x="537" y="507"/>
                        <a:pt x="537" y="507"/>
                        <a:pt x="537" y="507"/>
                      </a:cubicBezTo>
                      <a:cubicBezTo>
                        <a:pt x="561" y="531"/>
                        <a:pt x="561" y="531"/>
                        <a:pt x="561" y="531"/>
                      </a:cubicBezTo>
                      <a:cubicBezTo>
                        <a:pt x="573" y="529"/>
                        <a:pt x="573" y="529"/>
                        <a:pt x="573" y="529"/>
                      </a:cubicBezTo>
                      <a:cubicBezTo>
                        <a:pt x="573" y="522"/>
                        <a:pt x="573" y="522"/>
                        <a:pt x="573" y="522"/>
                      </a:cubicBezTo>
                      <a:cubicBezTo>
                        <a:pt x="573" y="522"/>
                        <a:pt x="565" y="495"/>
                        <a:pt x="568" y="485"/>
                      </a:cubicBezTo>
                      <a:cubicBezTo>
                        <a:pt x="571" y="474"/>
                        <a:pt x="597" y="467"/>
                        <a:pt x="597" y="467"/>
                      </a:cubicBezTo>
                      <a:cubicBezTo>
                        <a:pt x="609" y="453"/>
                        <a:pt x="609" y="453"/>
                        <a:pt x="609" y="453"/>
                      </a:cubicBezTo>
                      <a:cubicBezTo>
                        <a:pt x="601" y="439"/>
                        <a:pt x="601" y="439"/>
                        <a:pt x="601" y="439"/>
                      </a:cubicBezTo>
                      <a:cubicBezTo>
                        <a:pt x="601" y="439"/>
                        <a:pt x="605" y="431"/>
                        <a:pt x="605" y="426"/>
                      </a:cubicBezTo>
                      <a:cubicBezTo>
                        <a:pt x="605" y="421"/>
                        <a:pt x="577" y="393"/>
                        <a:pt x="577" y="393"/>
                      </a:cubicBezTo>
                      <a:cubicBezTo>
                        <a:pt x="576" y="374"/>
                        <a:pt x="576" y="374"/>
                        <a:pt x="576" y="374"/>
                      </a:cubicBezTo>
                      <a:cubicBezTo>
                        <a:pt x="569" y="376"/>
                        <a:pt x="563" y="374"/>
                        <a:pt x="563" y="374"/>
                      </a:cubicBezTo>
                      <a:cubicBezTo>
                        <a:pt x="563" y="374"/>
                        <a:pt x="556" y="363"/>
                        <a:pt x="560" y="363"/>
                      </a:cubicBezTo>
                      <a:cubicBezTo>
                        <a:pt x="581" y="349"/>
                        <a:pt x="536" y="325"/>
                        <a:pt x="536" y="325"/>
                      </a:cubicBezTo>
                      <a:cubicBezTo>
                        <a:pt x="529" y="305"/>
                        <a:pt x="529" y="305"/>
                        <a:pt x="529" y="305"/>
                      </a:cubicBezTo>
                      <a:cubicBezTo>
                        <a:pt x="496" y="303"/>
                        <a:pt x="496" y="303"/>
                        <a:pt x="496" y="303"/>
                      </a:cubicBezTo>
                      <a:cubicBezTo>
                        <a:pt x="496" y="303"/>
                        <a:pt x="483" y="299"/>
                        <a:pt x="489" y="294"/>
                      </a:cubicBezTo>
                      <a:cubicBezTo>
                        <a:pt x="496" y="289"/>
                        <a:pt x="496" y="259"/>
                        <a:pt x="496" y="259"/>
                      </a:cubicBezTo>
                      <a:cubicBezTo>
                        <a:pt x="487" y="247"/>
                        <a:pt x="487" y="247"/>
                        <a:pt x="487" y="247"/>
                      </a:cubicBezTo>
                      <a:cubicBezTo>
                        <a:pt x="495" y="246"/>
                        <a:pt x="495" y="246"/>
                        <a:pt x="495" y="246"/>
                      </a:cubicBezTo>
                      <a:cubicBezTo>
                        <a:pt x="496" y="226"/>
                        <a:pt x="496" y="226"/>
                        <a:pt x="496" y="226"/>
                      </a:cubicBezTo>
                      <a:cubicBezTo>
                        <a:pt x="491" y="218"/>
                        <a:pt x="491" y="218"/>
                        <a:pt x="491" y="218"/>
                      </a:cubicBezTo>
                      <a:cubicBezTo>
                        <a:pt x="491" y="203"/>
                        <a:pt x="491" y="203"/>
                        <a:pt x="491" y="203"/>
                      </a:cubicBezTo>
                      <a:cubicBezTo>
                        <a:pt x="491" y="203"/>
                        <a:pt x="475" y="193"/>
                        <a:pt x="477" y="186"/>
                      </a:cubicBezTo>
                      <a:cubicBezTo>
                        <a:pt x="508" y="175"/>
                        <a:pt x="476" y="178"/>
                        <a:pt x="476" y="178"/>
                      </a:cubicBezTo>
                      <a:cubicBezTo>
                        <a:pt x="463" y="93"/>
                        <a:pt x="463" y="93"/>
                        <a:pt x="463" y="93"/>
                      </a:cubicBezTo>
                      <a:cubicBezTo>
                        <a:pt x="458" y="95"/>
                        <a:pt x="436" y="105"/>
                        <a:pt x="435" y="102"/>
                      </a:cubicBezTo>
                      <a:cubicBezTo>
                        <a:pt x="418" y="138"/>
                        <a:pt x="357" y="137"/>
                        <a:pt x="357" y="137"/>
                      </a:cubicBezTo>
                      <a:cubicBezTo>
                        <a:pt x="325" y="122"/>
                        <a:pt x="325" y="122"/>
                        <a:pt x="325" y="122"/>
                      </a:cubicBezTo>
                      <a:cubicBezTo>
                        <a:pt x="325" y="122"/>
                        <a:pt x="286" y="117"/>
                        <a:pt x="239" y="114"/>
                      </a:cubicBezTo>
                      <a:cubicBezTo>
                        <a:pt x="194" y="93"/>
                        <a:pt x="170" y="107"/>
                        <a:pt x="170" y="107"/>
                      </a:cubicBezTo>
                      <a:cubicBezTo>
                        <a:pt x="168" y="123"/>
                        <a:pt x="168" y="123"/>
                        <a:pt x="168" y="123"/>
                      </a:cubicBezTo>
                      <a:cubicBezTo>
                        <a:pt x="160" y="116"/>
                        <a:pt x="160" y="116"/>
                        <a:pt x="160" y="116"/>
                      </a:cubicBezTo>
                      <a:cubicBezTo>
                        <a:pt x="160" y="116"/>
                        <a:pt x="150" y="108"/>
                        <a:pt x="157" y="102"/>
                      </a:cubicBezTo>
                      <a:cubicBezTo>
                        <a:pt x="164" y="96"/>
                        <a:pt x="152" y="88"/>
                        <a:pt x="152" y="88"/>
                      </a:cubicBezTo>
                      <a:cubicBezTo>
                        <a:pt x="130" y="51"/>
                        <a:pt x="130" y="51"/>
                        <a:pt x="130" y="51"/>
                      </a:cubicBezTo>
                      <a:cubicBezTo>
                        <a:pt x="150" y="35"/>
                        <a:pt x="150" y="35"/>
                        <a:pt x="150" y="35"/>
                      </a:cubicBezTo>
                      <a:cubicBezTo>
                        <a:pt x="140" y="11"/>
                        <a:pt x="140" y="11"/>
                        <a:pt x="140" y="11"/>
                      </a:cubicBezTo>
                      <a:cubicBezTo>
                        <a:pt x="104" y="7"/>
                        <a:pt x="104" y="7"/>
                        <a:pt x="104" y="7"/>
                      </a:cubicBezTo>
                      <a:cubicBezTo>
                        <a:pt x="91" y="21"/>
                        <a:pt x="91" y="21"/>
                        <a:pt x="91" y="21"/>
                      </a:cubicBezTo>
                      <a:cubicBezTo>
                        <a:pt x="91" y="21"/>
                        <a:pt x="82" y="30"/>
                        <a:pt x="59" y="24"/>
                      </a:cubicBezTo>
                      <a:cubicBezTo>
                        <a:pt x="36" y="18"/>
                        <a:pt x="1" y="0"/>
                        <a:pt x="1" y="0"/>
                      </a:cubicBezTo>
                      <a:cubicBezTo>
                        <a:pt x="0" y="16"/>
                        <a:pt x="0" y="16"/>
                        <a:pt x="0" y="16"/>
                      </a:cubicBezTo>
                      <a:cubicBezTo>
                        <a:pt x="0" y="16"/>
                        <a:pt x="4" y="16"/>
                        <a:pt x="16" y="23"/>
                      </a:cubicBezTo>
                      <a:cubicBezTo>
                        <a:pt x="28" y="30"/>
                        <a:pt x="12" y="63"/>
                        <a:pt x="12" y="63"/>
                      </a:cubicBezTo>
                      <a:cubicBezTo>
                        <a:pt x="12" y="63"/>
                        <a:pt x="21" y="81"/>
                        <a:pt x="22" y="85"/>
                      </a:cubicBezTo>
                      <a:cubicBezTo>
                        <a:pt x="22" y="112"/>
                        <a:pt x="34" y="108"/>
                        <a:pt x="34" y="108"/>
                      </a:cubicBezTo>
                      <a:cubicBezTo>
                        <a:pt x="66" y="158"/>
                        <a:pt x="66" y="158"/>
                        <a:pt x="66" y="158"/>
                      </a:cubicBezTo>
                      <a:cubicBezTo>
                        <a:pt x="65" y="214"/>
                        <a:pt x="65" y="214"/>
                        <a:pt x="65" y="214"/>
                      </a:cubicBezTo>
                      <a:cubicBezTo>
                        <a:pt x="73" y="216"/>
                        <a:pt x="73" y="216"/>
                        <a:pt x="73" y="216"/>
                      </a:cubicBezTo>
                      <a:cubicBezTo>
                        <a:pt x="69" y="232"/>
                        <a:pt x="69" y="232"/>
                        <a:pt x="69" y="232"/>
                      </a:cubicBezTo>
                      <a:cubicBezTo>
                        <a:pt x="78" y="239"/>
                        <a:pt x="78" y="239"/>
                        <a:pt x="78" y="239"/>
                      </a:cubicBezTo>
                      <a:cubicBezTo>
                        <a:pt x="70" y="245"/>
                        <a:pt x="70" y="245"/>
                        <a:pt x="70" y="245"/>
                      </a:cubicBezTo>
                      <a:cubicBezTo>
                        <a:pt x="70" y="245"/>
                        <a:pt x="66" y="280"/>
                        <a:pt x="69" y="294"/>
                      </a:cubicBezTo>
                      <a:cubicBezTo>
                        <a:pt x="71" y="315"/>
                        <a:pt x="108" y="326"/>
                        <a:pt x="108" y="326"/>
                      </a:cubicBezTo>
                      <a:cubicBezTo>
                        <a:pt x="83" y="331"/>
                        <a:pt x="83" y="331"/>
                        <a:pt x="83" y="331"/>
                      </a:cubicBezTo>
                      <a:cubicBezTo>
                        <a:pt x="83" y="331"/>
                        <a:pt x="75" y="328"/>
                        <a:pt x="68" y="329"/>
                      </a:cubicBezTo>
                      <a:cubicBezTo>
                        <a:pt x="66" y="330"/>
                        <a:pt x="62" y="331"/>
                        <a:pt x="58" y="332"/>
                      </a:cubicBezTo>
                      <a:cubicBezTo>
                        <a:pt x="77" y="377"/>
                        <a:pt x="77" y="377"/>
                        <a:pt x="77" y="377"/>
                      </a:cubicBezTo>
                      <a:cubicBezTo>
                        <a:pt x="77" y="377"/>
                        <a:pt x="87" y="470"/>
                        <a:pt x="136" y="402"/>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90" name="Bretagne" descr="© INSCALE GmbH, 05.05.2010&#10;http://www.presentationload.com/">
                  <a:extLst>
                    <a:ext uri="{FF2B5EF4-FFF2-40B4-BE49-F238E27FC236}">
                      <a16:creationId xmlns:a16="http://schemas.microsoft.com/office/drawing/2014/main" id="{E53FFE35-7FAA-42C4-81E8-6B6C35E3A10F}"/>
                    </a:ext>
                  </a:extLst>
                </p:cNvPr>
                <p:cNvSpPr>
                  <a:spLocks noEditPoints="1"/>
                </p:cNvSpPr>
                <p:nvPr/>
              </p:nvSpPr>
              <p:spPr bwMode="gray">
                <a:xfrm>
                  <a:off x="48" y="857"/>
                  <a:ext cx="953" cy="536"/>
                </a:xfrm>
                <a:custGeom>
                  <a:avLst/>
                  <a:gdLst/>
                  <a:ahLst/>
                  <a:cxnLst>
                    <a:cxn ang="0">
                      <a:pos x="459" y="18"/>
                    </a:cxn>
                    <a:cxn ang="0">
                      <a:pos x="5" y="133"/>
                    </a:cxn>
                    <a:cxn ang="0">
                      <a:pos x="355" y="388"/>
                    </a:cxn>
                    <a:cxn ang="0">
                      <a:pos x="355" y="388"/>
                    </a:cxn>
                    <a:cxn ang="0">
                      <a:pos x="394" y="465"/>
                    </a:cxn>
                    <a:cxn ang="0">
                      <a:pos x="422" y="494"/>
                    </a:cxn>
                    <a:cxn ang="0">
                      <a:pos x="413" y="479"/>
                    </a:cxn>
                    <a:cxn ang="0">
                      <a:pos x="448" y="462"/>
                    </a:cxn>
                    <a:cxn ang="0">
                      <a:pos x="467" y="479"/>
                    </a:cxn>
                    <a:cxn ang="0">
                      <a:pos x="55" y="259"/>
                    </a:cxn>
                    <a:cxn ang="0">
                      <a:pos x="36" y="144"/>
                    </a:cxn>
                    <a:cxn ang="0">
                      <a:pos x="56" y="163"/>
                    </a:cxn>
                    <a:cxn ang="0">
                      <a:pos x="246" y="42"/>
                    </a:cxn>
                    <a:cxn ang="0">
                      <a:pos x="874" y="165"/>
                    </a:cxn>
                    <a:cxn ang="0">
                      <a:pos x="757" y="79"/>
                    </a:cxn>
                    <a:cxn ang="0">
                      <a:pos x="705" y="58"/>
                    </a:cxn>
                    <a:cxn ang="0">
                      <a:pos x="628" y="92"/>
                    </a:cxn>
                    <a:cxn ang="0">
                      <a:pos x="606" y="63"/>
                    </a:cxn>
                    <a:cxn ang="0">
                      <a:pos x="570" y="80"/>
                    </a:cxn>
                    <a:cxn ang="0">
                      <a:pos x="526" y="116"/>
                    </a:cxn>
                    <a:cxn ang="0">
                      <a:pos x="496" y="71"/>
                    </a:cxn>
                    <a:cxn ang="0">
                      <a:pos x="458" y="31"/>
                    </a:cxn>
                    <a:cxn ang="0">
                      <a:pos x="446" y="0"/>
                    </a:cxn>
                    <a:cxn ang="0">
                      <a:pos x="401" y="13"/>
                    </a:cxn>
                    <a:cxn ang="0">
                      <a:pos x="347" y="22"/>
                    </a:cxn>
                    <a:cxn ang="0">
                      <a:pos x="333" y="59"/>
                    </a:cxn>
                    <a:cxn ang="0">
                      <a:pos x="268" y="58"/>
                    </a:cxn>
                    <a:cxn ang="0">
                      <a:pos x="237" y="58"/>
                    </a:cxn>
                    <a:cxn ang="0">
                      <a:pos x="186" y="70"/>
                    </a:cxn>
                    <a:cxn ang="0">
                      <a:pos x="147" y="76"/>
                    </a:cxn>
                    <a:cxn ang="0">
                      <a:pos x="115" y="80"/>
                    </a:cxn>
                    <a:cxn ang="0">
                      <a:pos x="84" y="106"/>
                    </a:cxn>
                    <a:cxn ang="0">
                      <a:pos x="79" y="148"/>
                    </a:cxn>
                    <a:cxn ang="0">
                      <a:pos x="98" y="154"/>
                    </a:cxn>
                    <a:cxn ang="0">
                      <a:pos x="156" y="145"/>
                    </a:cxn>
                    <a:cxn ang="0">
                      <a:pos x="172" y="160"/>
                    </a:cxn>
                    <a:cxn ang="0">
                      <a:pos x="155" y="185"/>
                    </a:cxn>
                    <a:cxn ang="0">
                      <a:pos x="122" y="172"/>
                    </a:cxn>
                    <a:cxn ang="0">
                      <a:pos x="125" y="211"/>
                    </a:cxn>
                    <a:cxn ang="0">
                      <a:pos x="171" y="237"/>
                    </a:cxn>
                    <a:cxn ang="0">
                      <a:pos x="156" y="329"/>
                    </a:cxn>
                    <a:cxn ang="0">
                      <a:pos x="235" y="316"/>
                    </a:cxn>
                    <a:cxn ang="0">
                      <a:pos x="294" y="333"/>
                    </a:cxn>
                    <a:cxn ang="0">
                      <a:pos x="384" y="364"/>
                    </a:cxn>
                    <a:cxn ang="0">
                      <a:pos x="414" y="432"/>
                    </a:cxn>
                    <a:cxn ang="0">
                      <a:pos x="425" y="403"/>
                    </a:cxn>
                    <a:cxn ang="0">
                      <a:pos x="460" y="391"/>
                    </a:cxn>
                    <a:cxn ang="0">
                      <a:pos x="522" y="390"/>
                    </a:cxn>
                    <a:cxn ang="0">
                      <a:pos x="462" y="407"/>
                    </a:cxn>
                    <a:cxn ang="0">
                      <a:pos x="513" y="428"/>
                    </a:cxn>
                    <a:cxn ang="0">
                      <a:pos x="555" y="424"/>
                    </a:cxn>
                    <a:cxn ang="0">
                      <a:pos x="566" y="454"/>
                    </a:cxn>
                    <a:cxn ang="0">
                      <a:pos x="554" y="487"/>
                    </a:cxn>
                    <a:cxn ang="0">
                      <a:pos x="595" y="481"/>
                    </a:cxn>
                    <a:cxn ang="0">
                      <a:pos x="666" y="409"/>
                    </a:cxn>
                    <a:cxn ang="0">
                      <a:pos x="752" y="389"/>
                    </a:cxn>
                    <a:cxn ang="0">
                      <a:pos x="796" y="377"/>
                    </a:cxn>
                    <a:cxn ang="0">
                      <a:pos x="838" y="366"/>
                    </a:cxn>
                    <a:cxn ang="0">
                      <a:pos x="879" y="220"/>
                    </a:cxn>
                  </a:cxnLst>
                  <a:rect l="0" t="0" r="r" b="b"/>
                  <a:pathLst>
                    <a:path w="884" h="496">
                      <a:moveTo>
                        <a:pt x="459" y="18"/>
                      </a:moveTo>
                      <a:cubicBezTo>
                        <a:pt x="460" y="17"/>
                        <a:pt x="460" y="17"/>
                        <a:pt x="460" y="15"/>
                      </a:cubicBezTo>
                      <a:cubicBezTo>
                        <a:pt x="460" y="12"/>
                        <a:pt x="459" y="14"/>
                        <a:pt x="459" y="18"/>
                      </a:cubicBezTo>
                      <a:close/>
                      <a:moveTo>
                        <a:pt x="17" y="117"/>
                      </a:moveTo>
                      <a:cubicBezTo>
                        <a:pt x="11" y="117"/>
                        <a:pt x="0" y="125"/>
                        <a:pt x="0" y="125"/>
                      </a:cubicBezTo>
                      <a:cubicBezTo>
                        <a:pt x="5" y="133"/>
                        <a:pt x="5" y="133"/>
                        <a:pt x="5" y="133"/>
                      </a:cubicBezTo>
                      <a:cubicBezTo>
                        <a:pt x="21" y="123"/>
                        <a:pt x="21" y="123"/>
                        <a:pt x="21" y="123"/>
                      </a:cubicBezTo>
                      <a:cubicBezTo>
                        <a:pt x="21" y="123"/>
                        <a:pt x="23" y="117"/>
                        <a:pt x="17" y="117"/>
                      </a:cubicBezTo>
                      <a:close/>
                      <a:moveTo>
                        <a:pt x="355" y="388"/>
                      </a:moveTo>
                      <a:cubicBezTo>
                        <a:pt x="346" y="382"/>
                        <a:pt x="339" y="378"/>
                        <a:pt x="339" y="378"/>
                      </a:cubicBezTo>
                      <a:cubicBezTo>
                        <a:pt x="339" y="378"/>
                        <a:pt x="333" y="390"/>
                        <a:pt x="344" y="389"/>
                      </a:cubicBezTo>
                      <a:cubicBezTo>
                        <a:pt x="355" y="388"/>
                        <a:pt x="364" y="394"/>
                        <a:pt x="355" y="388"/>
                      </a:cubicBezTo>
                      <a:close/>
                      <a:moveTo>
                        <a:pt x="413" y="479"/>
                      </a:moveTo>
                      <a:cubicBezTo>
                        <a:pt x="409" y="469"/>
                        <a:pt x="409" y="469"/>
                        <a:pt x="409" y="469"/>
                      </a:cubicBezTo>
                      <a:cubicBezTo>
                        <a:pt x="394" y="465"/>
                        <a:pt x="394" y="465"/>
                        <a:pt x="394" y="465"/>
                      </a:cubicBezTo>
                      <a:cubicBezTo>
                        <a:pt x="384" y="466"/>
                        <a:pt x="393" y="490"/>
                        <a:pt x="393" y="490"/>
                      </a:cubicBezTo>
                      <a:cubicBezTo>
                        <a:pt x="413" y="490"/>
                        <a:pt x="413" y="490"/>
                        <a:pt x="413" y="490"/>
                      </a:cubicBezTo>
                      <a:cubicBezTo>
                        <a:pt x="422" y="494"/>
                        <a:pt x="422" y="494"/>
                        <a:pt x="422" y="494"/>
                      </a:cubicBezTo>
                      <a:cubicBezTo>
                        <a:pt x="427" y="485"/>
                        <a:pt x="427" y="485"/>
                        <a:pt x="427" y="485"/>
                      </a:cubicBezTo>
                      <a:cubicBezTo>
                        <a:pt x="425" y="480"/>
                        <a:pt x="425" y="480"/>
                        <a:pt x="425" y="480"/>
                      </a:cubicBezTo>
                      <a:lnTo>
                        <a:pt x="413" y="479"/>
                      </a:lnTo>
                      <a:close/>
                      <a:moveTo>
                        <a:pt x="448" y="462"/>
                      </a:moveTo>
                      <a:cubicBezTo>
                        <a:pt x="448" y="462"/>
                        <a:pt x="454" y="467"/>
                        <a:pt x="454" y="465"/>
                      </a:cubicBezTo>
                      <a:cubicBezTo>
                        <a:pt x="454" y="462"/>
                        <a:pt x="454" y="462"/>
                        <a:pt x="448" y="462"/>
                      </a:cubicBezTo>
                      <a:close/>
                      <a:moveTo>
                        <a:pt x="467" y="479"/>
                      </a:moveTo>
                      <a:cubicBezTo>
                        <a:pt x="467" y="479"/>
                        <a:pt x="473" y="479"/>
                        <a:pt x="473" y="476"/>
                      </a:cubicBezTo>
                      <a:cubicBezTo>
                        <a:pt x="473" y="473"/>
                        <a:pt x="467" y="479"/>
                        <a:pt x="467" y="479"/>
                      </a:cubicBezTo>
                      <a:close/>
                      <a:moveTo>
                        <a:pt x="55" y="259"/>
                      </a:moveTo>
                      <a:cubicBezTo>
                        <a:pt x="58" y="258"/>
                        <a:pt x="53" y="251"/>
                        <a:pt x="53" y="251"/>
                      </a:cubicBezTo>
                      <a:cubicBezTo>
                        <a:pt x="53" y="251"/>
                        <a:pt x="52" y="260"/>
                        <a:pt x="55" y="259"/>
                      </a:cubicBezTo>
                      <a:close/>
                      <a:moveTo>
                        <a:pt x="36" y="144"/>
                      </a:moveTo>
                      <a:cubicBezTo>
                        <a:pt x="41" y="150"/>
                        <a:pt x="40" y="142"/>
                        <a:pt x="40" y="142"/>
                      </a:cubicBezTo>
                      <a:cubicBezTo>
                        <a:pt x="40" y="142"/>
                        <a:pt x="31" y="139"/>
                        <a:pt x="36" y="144"/>
                      </a:cubicBezTo>
                      <a:close/>
                      <a:moveTo>
                        <a:pt x="56" y="163"/>
                      </a:moveTo>
                      <a:cubicBezTo>
                        <a:pt x="56" y="163"/>
                        <a:pt x="64" y="161"/>
                        <a:pt x="59" y="156"/>
                      </a:cubicBezTo>
                      <a:cubicBezTo>
                        <a:pt x="54" y="152"/>
                        <a:pt x="56" y="163"/>
                        <a:pt x="56" y="163"/>
                      </a:cubicBezTo>
                      <a:close/>
                      <a:moveTo>
                        <a:pt x="247" y="36"/>
                      </a:moveTo>
                      <a:cubicBezTo>
                        <a:pt x="242" y="39"/>
                        <a:pt x="242" y="39"/>
                        <a:pt x="242" y="39"/>
                      </a:cubicBezTo>
                      <a:cubicBezTo>
                        <a:pt x="246" y="42"/>
                        <a:pt x="246" y="42"/>
                        <a:pt x="246" y="42"/>
                      </a:cubicBezTo>
                      <a:lnTo>
                        <a:pt x="247" y="36"/>
                      </a:lnTo>
                      <a:close/>
                      <a:moveTo>
                        <a:pt x="872" y="188"/>
                      </a:moveTo>
                      <a:cubicBezTo>
                        <a:pt x="874" y="165"/>
                        <a:pt x="874" y="165"/>
                        <a:pt x="874" y="165"/>
                      </a:cubicBezTo>
                      <a:cubicBezTo>
                        <a:pt x="865" y="163"/>
                        <a:pt x="853" y="157"/>
                        <a:pt x="835" y="149"/>
                      </a:cubicBezTo>
                      <a:cubicBezTo>
                        <a:pt x="786" y="217"/>
                        <a:pt x="776" y="124"/>
                        <a:pt x="776" y="124"/>
                      </a:cubicBezTo>
                      <a:cubicBezTo>
                        <a:pt x="757" y="79"/>
                        <a:pt x="757" y="79"/>
                        <a:pt x="757" y="79"/>
                      </a:cubicBezTo>
                      <a:cubicBezTo>
                        <a:pt x="750" y="81"/>
                        <a:pt x="742" y="83"/>
                        <a:pt x="742" y="83"/>
                      </a:cubicBezTo>
                      <a:cubicBezTo>
                        <a:pt x="742" y="83"/>
                        <a:pt x="722" y="85"/>
                        <a:pt x="710" y="84"/>
                      </a:cubicBezTo>
                      <a:cubicBezTo>
                        <a:pt x="698" y="83"/>
                        <a:pt x="705" y="58"/>
                        <a:pt x="705" y="58"/>
                      </a:cubicBezTo>
                      <a:cubicBezTo>
                        <a:pt x="692" y="58"/>
                        <a:pt x="664" y="78"/>
                        <a:pt x="664" y="78"/>
                      </a:cubicBezTo>
                      <a:cubicBezTo>
                        <a:pt x="647" y="76"/>
                        <a:pt x="647" y="76"/>
                        <a:pt x="647" y="76"/>
                      </a:cubicBezTo>
                      <a:cubicBezTo>
                        <a:pt x="647" y="76"/>
                        <a:pt x="636" y="91"/>
                        <a:pt x="628" y="92"/>
                      </a:cubicBezTo>
                      <a:cubicBezTo>
                        <a:pt x="620" y="93"/>
                        <a:pt x="616" y="75"/>
                        <a:pt x="616" y="75"/>
                      </a:cubicBezTo>
                      <a:cubicBezTo>
                        <a:pt x="601" y="80"/>
                        <a:pt x="601" y="80"/>
                        <a:pt x="601" y="80"/>
                      </a:cubicBezTo>
                      <a:cubicBezTo>
                        <a:pt x="601" y="80"/>
                        <a:pt x="609" y="67"/>
                        <a:pt x="606" y="63"/>
                      </a:cubicBezTo>
                      <a:cubicBezTo>
                        <a:pt x="603" y="59"/>
                        <a:pt x="584" y="75"/>
                        <a:pt x="584" y="75"/>
                      </a:cubicBezTo>
                      <a:cubicBezTo>
                        <a:pt x="571" y="72"/>
                        <a:pt x="571" y="72"/>
                        <a:pt x="571" y="72"/>
                      </a:cubicBezTo>
                      <a:cubicBezTo>
                        <a:pt x="570" y="80"/>
                        <a:pt x="570" y="80"/>
                        <a:pt x="570" y="80"/>
                      </a:cubicBezTo>
                      <a:cubicBezTo>
                        <a:pt x="533" y="109"/>
                        <a:pt x="533" y="109"/>
                        <a:pt x="533" y="109"/>
                      </a:cubicBezTo>
                      <a:cubicBezTo>
                        <a:pt x="529" y="106"/>
                        <a:pt x="529" y="106"/>
                        <a:pt x="529" y="106"/>
                      </a:cubicBezTo>
                      <a:cubicBezTo>
                        <a:pt x="526" y="116"/>
                        <a:pt x="526" y="116"/>
                        <a:pt x="526" y="116"/>
                      </a:cubicBezTo>
                      <a:cubicBezTo>
                        <a:pt x="516" y="96"/>
                        <a:pt x="516" y="96"/>
                        <a:pt x="516" y="96"/>
                      </a:cubicBezTo>
                      <a:cubicBezTo>
                        <a:pt x="499" y="88"/>
                        <a:pt x="499" y="88"/>
                        <a:pt x="499" y="88"/>
                      </a:cubicBezTo>
                      <a:cubicBezTo>
                        <a:pt x="496" y="71"/>
                        <a:pt x="496" y="71"/>
                        <a:pt x="496" y="71"/>
                      </a:cubicBezTo>
                      <a:cubicBezTo>
                        <a:pt x="473" y="49"/>
                        <a:pt x="473" y="49"/>
                        <a:pt x="473" y="49"/>
                      </a:cubicBezTo>
                      <a:cubicBezTo>
                        <a:pt x="473" y="36"/>
                        <a:pt x="473" y="36"/>
                        <a:pt x="473" y="36"/>
                      </a:cubicBezTo>
                      <a:cubicBezTo>
                        <a:pt x="473" y="36"/>
                        <a:pt x="459" y="35"/>
                        <a:pt x="458" y="31"/>
                      </a:cubicBezTo>
                      <a:cubicBezTo>
                        <a:pt x="457" y="29"/>
                        <a:pt x="458" y="22"/>
                        <a:pt x="459" y="18"/>
                      </a:cubicBezTo>
                      <a:cubicBezTo>
                        <a:pt x="455" y="21"/>
                        <a:pt x="444" y="18"/>
                        <a:pt x="444" y="18"/>
                      </a:cubicBezTo>
                      <a:cubicBezTo>
                        <a:pt x="446" y="0"/>
                        <a:pt x="446" y="0"/>
                        <a:pt x="446" y="0"/>
                      </a:cubicBezTo>
                      <a:cubicBezTo>
                        <a:pt x="426" y="10"/>
                        <a:pt x="426" y="10"/>
                        <a:pt x="426" y="10"/>
                      </a:cubicBezTo>
                      <a:cubicBezTo>
                        <a:pt x="415" y="4"/>
                        <a:pt x="415" y="4"/>
                        <a:pt x="415" y="4"/>
                      </a:cubicBezTo>
                      <a:cubicBezTo>
                        <a:pt x="415" y="4"/>
                        <a:pt x="411" y="10"/>
                        <a:pt x="401" y="13"/>
                      </a:cubicBezTo>
                      <a:cubicBezTo>
                        <a:pt x="387" y="15"/>
                        <a:pt x="372" y="26"/>
                        <a:pt x="372" y="26"/>
                      </a:cubicBezTo>
                      <a:cubicBezTo>
                        <a:pt x="371" y="19"/>
                        <a:pt x="356" y="12"/>
                        <a:pt x="351" y="12"/>
                      </a:cubicBezTo>
                      <a:cubicBezTo>
                        <a:pt x="346" y="12"/>
                        <a:pt x="347" y="22"/>
                        <a:pt x="347" y="22"/>
                      </a:cubicBezTo>
                      <a:cubicBezTo>
                        <a:pt x="341" y="25"/>
                        <a:pt x="341" y="25"/>
                        <a:pt x="341" y="25"/>
                      </a:cubicBezTo>
                      <a:cubicBezTo>
                        <a:pt x="347" y="40"/>
                        <a:pt x="347" y="40"/>
                        <a:pt x="347" y="40"/>
                      </a:cubicBezTo>
                      <a:cubicBezTo>
                        <a:pt x="347" y="40"/>
                        <a:pt x="336" y="60"/>
                        <a:pt x="333" y="59"/>
                      </a:cubicBezTo>
                      <a:cubicBezTo>
                        <a:pt x="300" y="51"/>
                        <a:pt x="285" y="50"/>
                        <a:pt x="282" y="56"/>
                      </a:cubicBezTo>
                      <a:cubicBezTo>
                        <a:pt x="279" y="62"/>
                        <a:pt x="280" y="72"/>
                        <a:pt x="277" y="72"/>
                      </a:cubicBezTo>
                      <a:cubicBezTo>
                        <a:pt x="274" y="72"/>
                        <a:pt x="268" y="58"/>
                        <a:pt x="268" y="58"/>
                      </a:cubicBezTo>
                      <a:cubicBezTo>
                        <a:pt x="258" y="63"/>
                        <a:pt x="258" y="63"/>
                        <a:pt x="258" y="63"/>
                      </a:cubicBezTo>
                      <a:cubicBezTo>
                        <a:pt x="258" y="63"/>
                        <a:pt x="251" y="44"/>
                        <a:pt x="245" y="47"/>
                      </a:cubicBezTo>
                      <a:cubicBezTo>
                        <a:pt x="239" y="50"/>
                        <a:pt x="237" y="58"/>
                        <a:pt x="237" y="58"/>
                      </a:cubicBezTo>
                      <a:cubicBezTo>
                        <a:pt x="237" y="58"/>
                        <a:pt x="226" y="55"/>
                        <a:pt x="217" y="54"/>
                      </a:cubicBezTo>
                      <a:cubicBezTo>
                        <a:pt x="208" y="53"/>
                        <a:pt x="200" y="64"/>
                        <a:pt x="200" y="64"/>
                      </a:cubicBezTo>
                      <a:cubicBezTo>
                        <a:pt x="186" y="70"/>
                        <a:pt x="186" y="70"/>
                        <a:pt x="186" y="70"/>
                      </a:cubicBezTo>
                      <a:cubicBezTo>
                        <a:pt x="173" y="60"/>
                        <a:pt x="173" y="60"/>
                        <a:pt x="173" y="60"/>
                      </a:cubicBezTo>
                      <a:cubicBezTo>
                        <a:pt x="173" y="60"/>
                        <a:pt x="168" y="65"/>
                        <a:pt x="161" y="69"/>
                      </a:cubicBezTo>
                      <a:cubicBezTo>
                        <a:pt x="154" y="73"/>
                        <a:pt x="147" y="76"/>
                        <a:pt x="147" y="76"/>
                      </a:cubicBezTo>
                      <a:cubicBezTo>
                        <a:pt x="147" y="76"/>
                        <a:pt x="131" y="70"/>
                        <a:pt x="126" y="70"/>
                      </a:cubicBezTo>
                      <a:cubicBezTo>
                        <a:pt x="121" y="70"/>
                        <a:pt x="134" y="84"/>
                        <a:pt x="134" y="84"/>
                      </a:cubicBezTo>
                      <a:cubicBezTo>
                        <a:pt x="115" y="80"/>
                        <a:pt x="115" y="80"/>
                        <a:pt x="115" y="80"/>
                      </a:cubicBezTo>
                      <a:cubicBezTo>
                        <a:pt x="115" y="85"/>
                        <a:pt x="115" y="85"/>
                        <a:pt x="115" y="85"/>
                      </a:cubicBezTo>
                      <a:cubicBezTo>
                        <a:pt x="105" y="87"/>
                        <a:pt x="105" y="87"/>
                        <a:pt x="105" y="87"/>
                      </a:cubicBezTo>
                      <a:cubicBezTo>
                        <a:pt x="105" y="87"/>
                        <a:pt x="96" y="98"/>
                        <a:pt x="84" y="106"/>
                      </a:cubicBezTo>
                      <a:cubicBezTo>
                        <a:pt x="72" y="114"/>
                        <a:pt x="86" y="121"/>
                        <a:pt x="86" y="121"/>
                      </a:cubicBezTo>
                      <a:cubicBezTo>
                        <a:pt x="86" y="121"/>
                        <a:pt x="76" y="131"/>
                        <a:pt x="75" y="139"/>
                      </a:cubicBezTo>
                      <a:cubicBezTo>
                        <a:pt x="74" y="147"/>
                        <a:pt x="79" y="148"/>
                        <a:pt x="79" y="148"/>
                      </a:cubicBezTo>
                      <a:cubicBezTo>
                        <a:pt x="79" y="148"/>
                        <a:pt x="74" y="150"/>
                        <a:pt x="75" y="160"/>
                      </a:cubicBezTo>
                      <a:cubicBezTo>
                        <a:pt x="76" y="170"/>
                        <a:pt x="86" y="164"/>
                        <a:pt x="86" y="164"/>
                      </a:cubicBezTo>
                      <a:cubicBezTo>
                        <a:pt x="98" y="154"/>
                        <a:pt x="98" y="154"/>
                        <a:pt x="98" y="154"/>
                      </a:cubicBezTo>
                      <a:cubicBezTo>
                        <a:pt x="107" y="157"/>
                        <a:pt x="107" y="157"/>
                        <a:pt x="107" y="157"/>
                      </a:cubicBezTo>
                      <a:cubicBezTo>
                        <a:pt x="107" y="157"/>
                        <a:pt x="112" y="161"/>
                        <a:pt x="122" y="156"/>
                      </a:cubicBezTo>
                      <a:cubicBezTo>
                        <a:pt x="132" y="151"/>
                        <a:pt x="156" y="145"/>
                        <a:pt x="156" y="145"/>
                      </a:cubicBezTo>
                      <a:cubicBezTo>
                        <a:pt x="145" y="163"/>
                        <a:pt x="145" y="163"/>
                        <a:pt x="145" y="163"/>
                      </a:cubicBezTo>
                      <a:cubicBezTo>
                        <a:pt x="157" y="168"/>
                        <a:pt x="157" y="168"/>
                        <a:pt x="157" y="168"/>
                      </a:cubicBezTo>
                      <a:cubicBezTo>
                        <a:pt x="172" y="160"/>
                        <a:pt x="172" y="160"/>
                        <a:pt x="172" y="160"/>
                      </a:cubicBezTo>
                      <a:cubicBezTo>
                        <a:pt x="174" y="166"/>
                        <a:pt x="186" y="174"/>
                        <a:pt x="183" y="174"/>
                      </a:cubicBezTo>
                      <a:cubicBezTo>
                        <a:pt x="180" y="174"/>
                        <a:pt x="166" y="183"/>
                        <a:pt x="166" y="183"/>
                      </a:cubicBezTo>
                      <a:cubicBezTo>
                        <a:pt x="155" y="185"/>
                        <a:pt x="155" y="185"/>
                        <a:pt x="155" y="185"/>
                      </a:cubicBezTo>
                      <a:cubicBezTo>
                        <a:pt x="145" y="173"/>
                        <a:pt x="145" y="173"/>
                        <a:pt x="145" y="173"/>
                      </a:cubicBezTo>
                      <a:cubicBezTo>
                        <a:pt x="137" y="178"/>
                        <a:pt x="137" y="178"/>
                        <a:pt x="137" y="178"/>
                      </a:cubicBezTo>
                      <a:cubicBezTo>
                        <a:pt x="122" y="172"/>
                        <a:pt x="122" y="172"/>
                        <a:pt x="122" y="172"/>
                      </a:cubicBezTo>
                      <a:cubicBezTo>
                        <a:pt x="109" y="181"/>
                        <a:pt x="109" y="181"/>
                        <a:pt x="109" y="181"/>
                      </a:cubicBezTo>
                      <a:cubicBezTo>
                        <a:pt x="120" y="189"/>
                        <a:pt x="120" y="189"/>
                        <a:pt x="120" y="189"/>
                      </a:cubicBezTo>
                      <a:cubicBezTo>
                        <a:pt x="120" y="189"/>
                        <a:pt x="124" y="208"/>
                        <a:pt x="125" y="211"/>
                      </a:cubicBezTo>
                      <a:cubicBezTo>
                        <a:pt x="126" y="214"/>
                        <a:pt x="130" y="192"/>
                        <a:pt x="141" y="191"/>
                      </a:cubicBezTo>
                      <a:cubicBezTo>
                        <a:pt x="152" y="190"/>
                        <a:pt x="135" y="190"/>
                        <a:pt x="164" y="204"/>
                      </a:cubicBezTo>
                      <a:cubicBezTo>
                        <a:pt x="193" y="218"/>
                        <a:pt x="171" y="237"/>
                        <a:pt x="171" y="237"/>
                      </a:cubicBezTo>
                      <a:cubicBezTo>
                        <a:pt x="144" y="227"/>
                        <a:pt x="79" y="254"/>
                        <a:pt x="79" y="254"/>
                      </a:cubicBezTo>
                      <a:cubicBezTo>
                        <a:pt x="139" y="267"/>
                        <a:pt x="141" y="276"/>
                        <a:pt x="153" y="293"/>
                      </a:cubicBezTo>
                      <a:cubicBezTo>
                        <a:pt x="165" y="310"/>
                        <a:pt x="156" y="329"/>
                        <a:pt x="156" y="329"/>
                      </a:cubicBezTo>
                      <a:cubicBezTo>
                        <a:pt x="197" y="333"/>
                        <a:pt x="197" y="333"/>
                        <a:pt x="197" y="333"/>
                      </a:cubicBezTo>
                      <a:cubicBezTo>
                        <a:pt x="197" y="333"/>
                        <a:pt x="207" y="310"/>
                        <a:pt x="214" y="310"/>
                      </a:cubicBezTo>
                      <a:cubicBezTo>
                        <a:pt x="221" y="310"/>
                        <a:pt x="231" y="316"/>
                        <a:pt x="235" y="316"/>
                      </a:cubicBezTo>
                      <a:cubicBezTo>
                        <a:pt x="239" y="316"/>
                        <a:pt x="249" y="301"/>
                        <a:pt x="249" y="301"/>
                      </a:cubicBezTo>
                      <a:cubicBezTo>
                        <a:pt x="268" y="334"/>
                        <a:pt x="268" y="334"/>
                        <a:pt x="268" y="334"/>
                      </a:cubicBezTo>
                      <a:cubicBezTo>
                        <a:pt x="294" y="333"/>
                        <a:pt x="294" y="333"/>
                        <a:pt x="294" y="333"/>
                      </a:cubicBezTo>
                      <a:cubicBezTo>
                        <a:pt x="296" y="338"/>
                        <a:pt x="335" y="344"/>
                        <a:pt x="335" y="344"/>
                      </a:cubicBezTo>
                      <a:cubicBezTo>
                        <a:pt x="335" y="344"/>
                        <a:pt x="355" y="365"/>
                        <a:pt x="358" y="365"/>
                      </a:cubicBezTo>
                      <a:cubicBezTo>
                        <a:pt x="361" y="365"/>
                        <a:pt x="384" y="364"/>
                        <a:pt x="384" y="364"/>
                      </a:cubicBezTo>
                      <a:cubicBezTo>
                        <a:pt x="414" y="401"/>
                        <a:pt x="414" y="401"/>
                        <a:pt x="414" y="401"/>
                      </a:cubicBezTo>
                      <a:cubicBezTo>
                        <a:pt x="410" y="421"/>
                        <a:pt x="410" y="421"/>
                        <a:pt x="410" y="421"/>
                      </a:cubicBezTo>
                      <a:cubicBezTo>
                        <a:pt x="414" y="432"/>
                        <a:pt x="414" y="432"/>
                        <a:pt x="414" y="432"/>
                      </a:cubicBezTo>
                      <a:cubicBezTo>
                        <a:pt x="414" y="432"/>
                        <a:pt x="426" y="438"/>
                        <a:pt x="422" y="432"/>
                      </a:cubicBezTo>
                      <a:cubicBezTo>
                        <a:pt x="418" y="426"/>
                        <a:pt x="421" y="398"/>
                        <a:pt x="421" y="398"/>
                      </a:cubicBezTo>
                      <a:cubicBezTo>
                        <a:pt x="425" y="403"/>
                        <a:pt x="425" y="403"/>
                        <a:pt x="425" y="403"/>
                      </a:cubicBezTo>
                      <a:cubicBezTo>
                        <a:pt x="442" y="399"/>
                        <a:pt x="442" y="399"/>
                        <a:pt x="442" y="399"/>
                      </a:cubicBezTo>
                      <a:cubicBezTo>
                        <a:pt x="452" y="403"/>
                        <a:pt x="452" y="403"/>
                        <a:pt x="452" y="403"/>
                      </a:cubicBezTo>
                      <a:cubicBezTo>
                        <a:pt x="460" y="391"/>
                        <a:pt x="460" y="391"/>
                        <a:pt x="460" y="391"/>
                      </a:cubicBezTo>
                      <a:cubicBezTo>
                        <a:pt x="466" y="399"/>
                        <a:pt x="466" y="399"/>
                        <a:pt x="466" y="399"/>
                      </a:cubicBezTo>
                      <a:cubicBezTo>
                        <a:pt x="481" y="388"/>
                        <a:pt x="481" y="388"/>
                        <a:pt x="481" y="388"/>
                      </a:cubicBezTo>
                      <a:cubicBezTo>
                        <a:pt x="481" y="388"/>
                        <a:pt x="518" y="389"/>
                        <a:pt x="522" y="390"/>
                      </a:cubicBezTo>
                      <a:cubicBezTo>
                        <a:pt x="517" y="392"/>
                        <a:pt x="502" y="416"/>
                        <a:pt x="502" y="416"/>
                      </a:cubicBezTo>
                      <a:cubicBezTo>
                        <a:pt x="502" y="416"/>
                        <a:pt x="503" y="411"/>
                        <a:pt x="495" y="411"/>
                      </a:cubicBezTo>
                      <a:cubicBezTo>
                        <a:pt x="487" y="411"/>
                        <a:pt x="462" y="407"/>
                        <a:pt x="462" y="407"/>
                      </a:cubicBezTo>
                      <a:cubicBezTo>
                        <a:pt x="487" y="429"/>
                        <a:pt x="487" y="429"/>
                        <a:pt x="487" y="429"/>
                      </a:cubicBezTo>
                      <a:cubicBezTo>
                        <a:pt x="505" y="422"/>
                        <a:pt x="505" y="422"/>
                        <a:pt x="505" y="422"/>
                      </a:cubicBezTo>
                      <a:cubicBezTo>
                        <a:pt x="513" y="428"/>
                        <a:pt x="513" y="428"/>
                        <a:pt x="513" y="428"/>
                      </a:cubicBezTo>
                      <a:cubicBezTo>
                        <a:pt x="517" y="419"/>
                        <a:pt x="517" y="419"/>
                        <a:pt x="517" y="419"/>
                      </a:cubicBezTo>
                      <a:cubicBezTo>
                        <a:pt x="538" y="427"/>
                        <a:pt x="538" y="427"/>
                        <a:pt x="538" y="427"/>
                      </a:cubicBezTo>
                      <a:cubicBezTo>
                        <a:pt x="538" y="427"/>
                        <a:pt x="548" y="420"/>
                        <a:pt x="555" y="424"/>
                      </a:cubicBezTo>
                      <a:cubicBezTo>
                        <a:pt x="562" y="428"/>
                        <a:pt x="557" y="444"/>
                        <a:pt x="557" y="444"/>
                      </a:cubicBezTo>
                      <a:cubicBezTo>
                        <a:pt x="563" y="444"/>
                        <a:pt x="563" y="444"/>
                        <a:pt x="563" y="444"/>
                      </a:cubicBezTo>
                      <a:cubicBezTo>
                        <a:pt x="566" y="454"/>
                        <a:pt x="566" y="454"/>
                        <a:pt x="566" y="454"/>
                      </a:cubicBezTo>
                      <a:cubicBezTo>
                        <a:pt x="555" y="452"/>
                        <a:pt x="555" y="452"/>
                        <a:pt x="555" y="452"/>
                      </a:cubicBezTo>
                      <a:cubicBezTo>
                        <a:pt x="545" y="463"/>
                        <a:pt x="545" y="463"/>
                        <a:pt x="545" y="463"/>
                      </a:cubicBezTo>
                      <a:cubicBezTo>
                        <a:pt x="554" y="487"/>
                        <a:pt x="554" y="487"/>
                        <a:pt x="554" y="487"/>
                      </a:cubicBezTo>
                      <a:cubicBezTo>
                        <a:pt x="567" y="476"/>
                        <a:pt x="567" y="476"/>
                        <a:pt x="567" y="476"/>
                      </a:cubicBezTo>
                      <a:cubicBezTo>
                        <a:pt x="575" y="481"/>
                        <a:pt x="575" y="481"/>
                        <a:pt x="575" y="481"/>
                      </a:cubicBezTo>
                      <a:cubicBezTo>
                        <a:pt x="595" y="481"/>
                        <a:pt x="595" y="481"/>
                        <a:pt x="595" y="481"/>
                      </a:cubicBezTo>
                      <a:cubicBezTo>
                        <a:pt x="596" y="469"/>
                        <a:pt x="596" y="469"/>
                        <a:pt x="596" y="469"/>
                      </a:cubicBezTo>
                      <a:cubicBezTo>
                        <a:pt x="596" y="469"/>
                        <a:pt x="635" y="496"/>
                        <a:pt x="642" y="436"/>
                      </a:cubicBezTo>
                      <a:cubicBezTo>
                        <a:pt x="666" y="409"/>
                        <a:pt x="666" y="409"/>
                        <a:pt x="666" y="409"/>
                      </a:cubicBezTo>
                      <a:cubicBezTo>
                        <a:pt x="674" y="418"/>
                        <a:pt x="674" y="418"/>
                        <a:pt x="674" y="418"/>
                      </a:cubicBezTo>
                      <a:cubicBezTo>
                        <a:pt x="674" y="418"/>
                        <a:pt x="706" y="416"/>
                        <a:pt x="734" y="410"/>
                      </a:cubicBezTo>
                      <a:cubicBezTo>
                        <a:pt x="752" y="389"/>
                        <a:pt x="752" y="389"/>
                        <a:pt x="752" y="389"/>
                      </a:cubicBezTo>
                      <a:cubicBezTo>
                        <a:pt x="778" y="385"/>
                        <a:pt x="778" y="385"/>
                        <a:pt x="778" y="385"/>
                      </a:cubicBezTo>
                      <a:cubicBezTo>
                        <a:pt x="780" y="370"/>
                        <a:pt x="780" y="370"/>
                        <a:pt x="780" y="370"/>
                      </a:cubicBezTo>
                      <a:cubicBezTo>
                        <a:pt x="796" y="377"/>
                        <a:pt x="796" y="377"/>
                        <a:pt x="796" y="377"/>
                      </a:cubicBezTo>
                      <a:cubicBezTo>
                        <a:pt x="799" y="386"/>
                        <a:pt x="799" y="386"/>
                        <a:pt x="799" y="386"/>
                      </a:cubicBezTo>
                      <a:cubicBezTo>
                        <a:pt x="830" y="392"/>
                        <a:pt x="830" y="392"/>
                        <a:pt x="830" y="392"/>
                      </a:cubicBezTo>
                      <a:cubicBezTo>
                        <a:pt x="830" y="392"/>
                        <a:pt x="832" y="378"/>
                        <a:pt x="838" y="366"/>
                      </a:cubicBezTo>
                      <a:cubicBezTo>
                        <a:pt x="843" y="354"/>
                        <a:pt x="848" y="328"/>
                        <a:pt x="870" y="328"/>
                      </a:cubicBezTo>
                      <a:cubicBezTo>
                        <a:pt x="884" y="316"/>
                        <a:pt x="875" y="334"/>
                        <a:pt x="867" y="242"/>
                      </a:cubicBezTo>
                      <a:cubicBezTo>
                        <a:pt x="875" y="214"/>
                        <a:pt x="879" y="220"/>
                        <a:pt x="879" y="220"/>
                      </a:cubicBezTo>
                      <a:lnTo>
                        <a:pt x="872" y="188"/>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91" name="Pays-de-la-Loire" descr="© INSCALE GmbH, 05.05.2010&#10;http://www.presentationload.com/">
                  <a:extLst>
                    <a:ext uri="{FF2B5EF4-FFF2-40B4-BE49-F238E27FC236}">
                      <a16:creationId xmlns:a16="http://schemas.microsoft.com/office/drawing/2014/main" id="{3756DBE5-6F5E-4CC9-843D-1D750E1A1326}"/>
                    </a:ext>
                  </a:extLst>
                </p:cNvPr>
                <p:cNvSpPr>
                  <a:spLocks noEditPoints="1"/>
                </p:cNvSpPr>
                <p:nvPr/>
              </p:nvSpPr>
              <p:spPr bwMode="gray">
                <a:xfrm>
                  <a:off x="644" y="1006"/>
                  <a:ext cx="797" cy="790"/>
                </a:xfrm>
                <a:custGeom>
                  <a:avLst/>
                  <a:gdLst/>
                  <a:ahLst/>
                  <a:cxnLst>
                    <a:cxn ang="0">
                      <a:pos x="16" y="534"/>
                    </a:cxn>
                    <a:cxn ang="0">
                      <a:pos x="51" y="448"/>
                    </a:cxn>
                    <a:cxn ang="0">
                      <a:pos x="219" y="694"/>
                    </a:cxn>
                    <a:cxn ang="0">
                      <a:pos x="191" y="687"/>
                    </a:cxn>
                    <a:cxn ang="0">
                      <a:pos x="211" y="706"/>
                    </a:cxn>
                    <a:cxn ang="0">
                      <a:pos x="222" y="703"/>
                    </a:cxn>
                    <a:cxn ang="0">
                      <a:pos x="707" y="141"/>
                    </a:cxn>
                    <a:cxn ang="0">
                      <a:pos x="651" y="103"/>
                    </a:cxn>
                    <a:cxn ang="0">
                      <a:pos x="541" y="75"/>
                    </a:cxn>
                    <a:cxn ang="0">
                      <a:pos x="521" y="24"/>
                    </a:cxn>
                    <a:cxn ang="0">
                      <a:pos x="482" y="25"/>
                    </a:cxn>
                    <a:cxn ang="0">
                      <a:pos x="439" y="31"/>
                    </a:cxn>
                    <a:cxn ang="0">
                      <a:pos x="391" y="47"/>
                    </a:cxn>
                    <a:cxn ang="0">
                      <a:pos x="321" y="28"/>
                    </a:cxn>
                    <a:cxn ang="0">
                      <a:pos x="314" y="105"/>
                    </a:cxn>
                    <a:cxn ang="0">
                      <a:pos x="277" y="255"/>
                    </a:cxn>
                    <a:cxn ang="0">
                      <a:pos x="227" y="233"/>
                    </a:cxn>
                    <a:cxn ang="0">
                      <a:pos x="181" y="273"/>
                    </a:cxn>
                    <a:cxn ang="0">
                      <a:pos x="89" y="299"/>
                    </a:cxn>
                    <a:cxn ang="0">
                      <a:pos x="22" y="344"/>
                    </a:cxn>
                    <a:cxn ang="0">
                      <a:pos x="3" y="354"/>
                    </a:cxn>
                    <a:cxn ang="0">
                      <a:pos x="24" y="359"/>
                    </a:cxn>
                    <a:cxn ang="0">
                      <a:pos x="105" y="349"/>
                    </a:cxn>
                    <a:cxn ang="0">
                      <a:pos x="67" y="376"/>
                    </a:cxn>
                    <a:cxn ang="0">
                      <a:pos x="52" y="399"/>
                    </a:cxn>
                    <a:cxn ang="0">
                      <a:pos x="104" y="444"/>
                    </a:cxn>
                    <a:cxn ang="0">
                      <a:pos x="72" y="483"/>
                    </a:cxn>
                    <a:cxn ang="0">
                      <a:pos x="55" y="465"/>
                    </a:cxn>
                    <a:cxn ang="0">
                      <a:pos x="72" y="511"/>
                    </a:cxn>
                    <a:cxn ang="0">
                      <a:pos x="135" y="611"/>
                    </a:cxn>
                    <a:cxn ang="0">
                      <a:pos x="210" y="658"/>
                    </a:cxn>
                    <a:cxn ang="0">
                      <a:pos x="251" y="669"/>
                    </a:cxn>
                    <a:cxn ang="0">
                      <a:pos x="287" y="680"/>
                    </a:cxn>
                    <a:cxn ang="0">
                      <a:pos x="289" y="723"/>
                    </a:cxn>
                    <a:cxn ang="0">
                      <a:pos x="337" y="729"/>
                    </a:cxn>
                    <a:cxn ang="0">
                      <a:pos x="385" y="728"/>
                    </a:cxn>
                    <a:cxn ang="0">
                      <a:pos x="389" y="707"/>
                    </a:cxn>
                    <a:cxn ang="0">
                      <a:pos x="394" y="664"/>
                    </a:cxn>
                    <a:cxn ang="0">
                      <a:pos x="386" y="605"/>
                    </a:cxn>
                    <a:cxn ang="0">
                      <a:pos x="353" y="548"/>
                    </a:cxn>
                    <a:cxn ang="0">
                      <a:pos x="378" y="511"/>
                    </a:cxn>
                    <a:cxn ang="0">
                      <a:pos x="434" y="488"/>
                    </a:cxn>
                    <a:cxn ang="0">
                      <a:pos x="502" y="480"/>
                    </a:cxn>
                    <a:cxn ang="0">
                      <a:pos x="514" y="483"/>
                    </a:cxn>
                    <a:cxn ang="0">
                      <a:pos x="549" y="461"/>
                    </a:cxn>
                    <a:cxn ang="0">
                      <a:pos x="585" y="359"/>
                    </a:cxn>
                    <a:cxn ang="0">
                      <a:pos x="615" y="320"/>
                    </a:cxn>
                    <a:cxn ang="0">
                      <a:pos x="674" y="299"/>
                    </a:cxn>
                    <a:cxn ang="0">
                      <a:pos x="717" y="229"/>
                    </a:cxn>
                    <a:cxn ang="0">
                      <a:pos x="722" y="192"/>
                    </a:cxn>
                    <a:cxn ang="0">
                      <a:pos x="725" y="157"/>
                    </a:cxn>
                    <a:cxn ang="0">
                      <a:pos x="719" y="140"/>
                    </a:cxn>
                  </a:cxnLst>
                  <a:rect l="0" t="0" r="r" b="b"/>
                  <a:pathLst>
                    <a:path w="739" h="732">
                      <a:moveTo>
                        <a:pt x="16" y="534"/>
                      </a:moveTo>
                      <a:cubicBezTo>
                        <a:pt x="10" y="548"/>
                        <a:pt x="22" y="548"/>
                        <a:pt x="37" y="548"/>
                      </a:cubicBezTo>
                      <a:cubicBezTo>
                        <a:pt x="32" y="535"/>
                        <a:pt x="16" y="534"/>
                        <a:pt x="16" y="534"/>
                      </a:cubicBezTo>
                      <a:close/>
                      <a:moveTo>
                        <a:pt x="38" y="440"/>
                      </a:moveTo>
                      <a:cubicBezTo>
                        <a:pt x="36" y="461"/>
                        <a:pt x="44" y="460"/>
                        <a:pt x="47" y="462"/>
                      </a:cubicBezTo>
                      <a:cubicBezTo>
                        <a:pt x="50" y="464"/>
                        <a:pt x="51" y="458"/>
                        <a:pt x="51" y="448"/>
                      </a:cubicBezTo>
                      <a:cubicBezTo>
                        <a:pt x="51" y="438"/>
                        <a:pt x="38" y="440"/>
                        <a:pt x="38" y="440"/>
                      </a:cubicBezTo>
                      <a:close/>
                      <a:moveTo>
                        <a:pt x="222" y="703"/>
                      </a:moveTo>
                      <a:cubicBezTo>
                        <a:pt x="219" y="694"/>
                        <a:pt x="219" y="694"/>
                        <a:pt x="219" y="694"/>
                      </a:cubicBezTo>
                      <a:cubicBezTo>
                        <a:pt x="201" y="701"/>
                        <a:pt x="201" y="701"/>
                        <a:pt x="201" y="701"/>
                      </a:cubicBezTo>
                      <a:cubicBezTo>
                        <a:pt x="203" y="686"/>
                        <a:pt x="203" y="686"/>
                        <a:pt x="203" y="686"/>
                      </a:cubicBezTo>
                      <a:cubicBezTo>
                        <a:pt x="191" y="687"/>
                        <a:pt x="191" y="687"/>
                        <a:pt x="191" y="687"/>
                      </a:cubicBezTo>
                      <a:cubicBezTo>
                        <a:pt x="190" y="693"/>
                        <a:pt x="190" y="693"/>
                        <a:pt x="190" y="693"/>
                      </a:cubicBezTo>
                      <a:cubicBezTo>
                        <a:pt x="200" y="708"/>
                        <a:pt x="200" y="708"/>
                        <a:pt x="200" y="708"/>
                      </a:cubicBezTo>
                      <a:cubicBezTo>
                        <a:pt x="211" y="706"/>
                        <a:pt x="211" y="706"/>
                        <a:pt x="211" y="706"/>
                      </a:cubicBezTo>
                      <a:cubicBezTo>
                        <a:pt x="230" y="714"/>
                        <a:pt x="230" y="714"/>
                        <a:pt x="230" y="714"/>
                      </a:cubicBezTo>
                      <a:cubicBezTo>
                        <a:pt x="238" y="725"/>
                        <a:pt x="246" y="718"/>
                        <a:pt x="250" y="719"/>
                      </a:cubicBezTo>
                      <a:cubicBezTo>
                        <a:pt x="241" y="705"/>
                        <a:pt x="222" y="703"/>
                        <a:pt x="222" y="703"/>
                      </a:cubicBezTo>
                      <a:close/>
                      <a:moveTo>
                        <a:pt x="719" y="140"/>
                      </a:moveTo>
                      <a:cubicBezTo>
                        <a:pt x="719" y="139"/>
                        <a:pt x="719" y="139"/>
                        <a:pt x="719" y="139"/>
                      </a:cubicBezTo>
                      <a:cubicBezTo>
                        <a:pt x="707" y="141"/>
                        <a:pt x="707" y="141"/>
                        <a:pt x="707" y="141"/>
                      </a:cubicBezTo>
                      <a:cubicBezTo>
                        <a:pt x="683" y="117"/>
                        <a:pt x="683" y="117"/>
                        <a:pt x="683" y="117"/>
                      </a:cubicBezTo>
                      <a:cubicBezTo>
                        <a:pt x="658" y="123"/>
                        <a:pt x="658" y="123"/>
                        <a:pt x="658" y="123"/>
                      </a:cubicBezTo>
                      <a:cubicBezTo>
                        <a:pt x="651" y="103"/>
                        <a:pt x="651" y="103"/>
                        <a:pt x="651" y="103"/>
                      </a:cubicBezTo>
                      <a:cubicBezTo>
                        <a:pt x="651" y="103"/>
                        <a:pt x="638" y="96"/>
                        <a:pt x="631" y="91"/>
                      </a:cubicBezTo>
                      <a:cubicBezTo>
                        <a:pt x="623" y="0"/>
                        <a:pt x="561" y="75"/>
                        <a:pt x="561" y="75"/>
                      </a:cubicBezTo>
                      <a:cubicBezTo>
                        <a:pt x="541" y="75"/>
                        <a:pt x="541" y="75"/>
                        <a:pt x="541" y="75"/>
                      </a:cubicBezTo>
                      <a:cubicBezTo>
                        <a:pt x="537" y="48"/>
                        <a:pt x="537" y="48"/>
                        <a:pt x="537" y="48"/>
                      </a:cubicBezTo>
                      <a:cubicBezTo>
                        <a:pt x="537" y="48"/>
                        <a:pt x="531" y="49"/>
                        <a:pt x="519" y="49"/>
                      </a:cubicBezTo>
                      <a:cubicBezTo>
                        <a:pt x="507" y="49"/>
                        <a:pt x="521" y="24"/>
                        <a:pt x="521" y="24"/>
                      </a:cubicBezTo>
                      <a:cubicBezTo>
                        <a:pt x="521" y="24"/>
                        <a:pt x="498" y="15"/>
                        <a:pt x="494" y="15"/>
                      </a:cubicBezTo>
                      <a:cubicBezTo>
                        <a:pt x="490" y="15"/>
                        <a:pt x="498" y="20"/>
                        <a:pt x="494" y="28"/>
                      </a:cubicBezTo>
                      <a:cubicBezTo>
                        <a:pt x="490" y="36"/>
                        <a:pt x="482" y="25"/>
                        <a:pt x="482" y="25"/>
                      </a:cubicBezTo>
                      <a:cubicBezTo>
                        <a:pt x="467" y="37"/>
                        <a:pt x="467" y="37"/>
                        <a:pt x="467" y="37"/>
                      </a:cubicBezTo>
                      <a:cubicBezTo>
                        <a:pt x="461" y="32"/>
                        <a:pt x="461" y="32"/>
                        <a:pt x="461" y="32"/>
                      </a:cubicBezTo>
                      <a:cubicBezTo>
                        <a:pt x="461" y="32"/>
                        <a:pt x="446" y="31"/>
                        <a:pt x="439" y="31"/>
                      </a:cubicBezTo>
                      <a:cubicBezTo>
                        <a:pt x="434" y="45"/>
                        <a:pt x="411" y="45"/>
                        <a:pt x="411" y="45"/>
                      </a:cubicBezTo>
                      <a:cubicBezTo>
                        <a:pt x="407" y="36"/>
                        <a:pt x="407" y="36"/>
                        <a:pt x="407" y="36"/>
                      </a:cubicBezTo>
                      <a:cubicBezTo>
                        <a:pt x="407" y="36"/>
                        <a:pt x="391" y="37"/>
                        <a:pt x="391" y="47"/>
                      </a:cubicBezTo>
                      <a:cubicBezTo>
                        <a:pt x="391" y="56"/>
                        <a:pt x="366" y="32"/>
                        <a:pt x="366" y="32"/>
                      </a:cubicBezTo>
                      <a:cubicBezTo>
                        <a:pt x="366" y="32"/>
                        <a:pt x="353" y="28"/>
                        <a:pt x="343" y="23"/>
                      </a:cubicBezTo>
                      <a:cubicBezTo>
                        <a:pt x="338" y="30"/>
                        <a:pt x="331" y="31"/>
                        <a:pt x="321" y="28"/>
                      </a:cubicBezTo>
                      <a:cubicBezTo>
                        <a:pt x="319" y="51"/>
                        <a:pt x="319" y="51"/>
                        <a:pt x="319" y="51"/>
                      </a:cubicBezTo>
                      <a:cubicBezTo>
                        <a:pt x="326" y="83"/>
                        <a:pt x="326" y="83"/>
                        <a:pt x="326" y="83"/>
                      </a:cubicBezTo>
                      <a:cubicBezTo>
                        <a:pt x="326" y="83"/>
                        <a:pt x="322" y="77"/>
                        <a:pt x="314" y="105"/>
                      </a:cubicBezTo>
                      <a:cubicBezTo>
                        <a:pt x="322" y="197"/>
                        <a:pt x="331" y="179"/>
                        <a:pt x="317" y="191"/>
                      </a:cubicBezTo>
                      <a:cubicBezTo>
                        <a:pt x="295" y="191"/>
                        <a:pt x="290" y="217"/>
                        <a:pt x="285" y="229"/>
                      </a:cubicBezTo>
                      <a:cubicBezTo>
                        <a:pt x="279" y="241"/>
                        <a:pt x="277" y="255"/>
                        <a:pt x="277" y="255"/>
                      </a:cubicBezTo>
                      <a:cubicBezTo>
                        <a:pt x="246" y="249"/>
                        <a:pt x="246" y="249"/>
                        <a:pt x="246" y="249"/>
                      </a:cubicBezTo>
                      <a:cubicBezTo>
                        <a:pt x="243" y="240"/>
                        <a:pt x="243" y="240"/>
                        <a:pt x="243" y="240"/>
                      </a:cubicBezTo>
                      <a:cubicBezTo>
                        <a:pt x="227" y="233"/>
                        <a:pt x="227" y="233"/>
                        <a:pt x="227" y="233"/>
                      </a:cubicBezTo>
                      <a:cubicBezTo>
                        <a:pt x="225" y="248"/>
                        <a:pt x="225" y="248"/>
                        <a:pt x="225" y="248"/>
                      </a:cubicBezTo>
                      <a:cubicBezTo>
                        <a:pt x="199" y="252"/>
                        <a:pt x="199" y="252"/>
                        <a:pt x="199" y="252"/>
                      </a:cubicBezTo>
                      <a:cubicBezTo>
                        <a:pt x="199" y="252"/>
                        <a:pt x="199" y="252"/>
                        <a:pt x="181" y="273"/>
                      </a:cubicBezTo>
                      <a:cubicBezTo>
                        <a:pt x="153" y="279"/>
                        <a:pt x="121" y="281"/>
                        <a:pt x="121" y="281"/>
                      </a:cubicBezTo>
                      <a:cubicBezTo>
                        <a:pt x="113" y="272"/>
                        <a:pt x="113" y="272"/>
                        <a:pt x="113" y="272"/>
                      </a:cubicBezTo>
                      <a:cubicBezTo>
                        <a:pt x="113" y="272"/>
                        <a:pt x="113" y="272"/>
                        <a:pt x="89" y="299"/>
                      </a:cubicBezTo>
                      <a:cubicBezTo>
                        <a:pt x="82" y="359"/>
                        <a:pt x="43" y="332"/>
                        <a:pt x="43" y="332"/>
                      </a:cubicBezTo>
                      <a:cubicBezTo>
                        <a:pt x="42" y="344"/>
                        <a:pt x="42" y="344"/>
                        <a:pt x="42" y="344"/>
                      </a:cubicBezTo>
                      <a:cubicBezTo>
                        <a:pt x="22" y="344"/>
                        <a:pt x="22" y="344"/>
                        <a:pt x="22" y="344"/>
                      </a:cubicBezTo>
                      <a:cubicBezTo>
                        <a:pt x="14" y="339"/>
                        <a:pt x="14" y="339"/>
                        <a:pt x="14" y="339"/>
                      </a:cubicBezTo>
                      <a:cubicBezTo>
                        <a:pt x="1" y="350"/>
                        <a:pt x="1" y="350"/>
                        <a:pt x="1" y="350"/>
                      </a:cubicBezTo>
                      <a:cubicBezTo>
                        <a:pt x="3" y="354"/>
                        <a:pt x="3" y="354"/>
                        <a:pt x="3" y="354"/>
                      </a:cubicBezTo>
                      <a:cubicBezTo>
                        <a:pt x="0" y="355"/>
                        <a:pt x="0" y="355"/>
                        <a:pt x="0" y="355"/>
                      </a:cubicBezTo>
                      <a:cubicBezTo>
                        <a:pt x="2" y="357"/>
                        <a:pt x="4" y="360"/>
                        <a:pt x="7" y="364"/>
                      </a:cubicBezTo>
                      <a:cubicBezTo>
                        <a:pt x="14" y="363"/>
                        <a:pt x="24" y="359"/>
                        <a:pt x="24" y="359"/>
                      </a:cubicBezTo>
                      <a:cubicBezTo>
                        <a:pt x="24" y="359"/>
                        <a:pt x="39" y="374"/>
                        <a:pt x="45" y="374"/>
                      </a:cubicBezTo>
                      <a:cubicBezTo>
                        <a:pt x="51" y="374"/>
                        <a:pt x="70" y="351"/>
                        <a:pt x="70" y="351"/>
                      </a:cubicBezTo>
                      <a:cubicBezTo>
                        <a:pt x="70" y="351"/>
                        <a:pt x="103" y="344"/>
                        <a:pt x="105" y="349"/>
                      </a:cubicBezTo>
                      <a:cubicBezTo>
                        <a:pt x="107" y="354"/>
                        <a:pt x="96" y="361"/>
                        <a:pt x="96" y="361"/>
                      </a:cubicBezTo>
                      <a:cubicBezTo>
                        <a:pt x="72" y="363"/>
                        <a:pt x="72" y="363"/>
                        <a:pt x="72" y="363"/>
                      </a:cubicBezTo>
                      <a:cubicBezTo>
                        <a:pt x="67" y="376"/>
                        <a:pt x="67" y="376"/>
                        <a:pt x="67" y="376"/>
                      </a:cubicBezTo>
                      <a:cubicBezTo>
                        <a:pt x="71" y="385"/>
                        <a:pt x="71" y="385"/>
                        <a:pt x="71" y="385"/>
                      </a:cubicBezTo>
                      <a:cubicBezTo>
                        <a:pt x="65" y="399"/>
                        <a:pt x="65" y="399"/>
                        <a:pt x="65" y="399"/>
                      </a:cubicBezTo>
                      <a:cubicBezTo>
                        <a:pt x="52" y="399"/>
                        <a:pt x="52" y="399"/>
                        <a:pt x="52" y="399"/>
                      </a:cubicBezTo>
                      <a:cubicBezTo>
                        <a:pt x="52" y="408"/>
                        <a:pt x="52" y="408"/>
                        <a:pt x="52" y="408"/>
                      </a:cubicBezTo>
                      <a:cubicBezTo>
                        <a:pt x="91" y="415"/>
                        <a:pt x="91" y="415"/>
                        <a:pt x="91" y="415"/>
                      </a:cubicBezTo>
                      <a:cubicBezTo>
                        <a:pt x="104" y="444"/>
                        <a:pt x="104" y="444"/>
                        <a:pt x="104" y="444"/>
                      </a:cubicBezTo>
                      <a:cubicBezTo>
                        <a:pt x="95" y="445"/>
                        <a:pt x="95" y="445"/>
                        <a:pt x="95" y="445"/>
                      </a:cubicBezTo>
                      <a:cubicBezTo>
                        <a:pt x="92" y="462"/>
                        <a:pt x="92" y="462"/>
                        <a:pt x="92" y="462"/>
                      </a:cubicBezTo>
                      <a:cubicBezTo>
                        <a:pt x="72" y="483"/>
                        <a:pt x="72" y="483"/>
                        <a:pt x="72" y="483"/>
                      </a:cubicBezTo>
                      <a:cubicBezTo>
                        <a:pt x="69" y="468"/>
                        <a:pt x="69" y="468"/>
                        <a:pt x="69" y="468"/>
                      </a:cubicBezTo>
                      <a:cubicBezTo>
                        <a:pt x="55" y="458"/>
                        <a:pt x="55" y="458"/>
                        <a:pt x="55" y="458"/>
                      </a:cubicBezTo>
                      <a:cubicBezTo>
                        <a:pt x="55" y="465"/>
                        <a:pt x="55" y="465"/>
                        <a:pt x="55" y="465"/>
                      </a:cubicBezTo>
                      <a:cubicBezTo>
                        <a:pt x="55" y="465"/>
                        <a:pt x="62" y="463"/>
                        <a:pt x="63" y="469"/>
                      </a:cubicBezTo>
                      <a:cubicBezTo>
                        <a:pt x="64" y="475"/>
                        <a:pt x="68" y="489"/>
                        <a:pt x="68" y="489"/>
                      </a:cubicBezTo>
                      <a:cubicBezTo>
                        <a:pt x="68" y="489"/>
                        <a:pt x="73" y="508"/>
                        <a:pt x="72" y="511"/>
                      </a:cubicBezTo>
                      <a:cubicBezTo>
                        <a:pt x="91" y="521"/>
                        <a:pt x="103" y="549"/>
                        <a:pt x="103" y="549"/>
                      </a:cubicBezTo>
                      <a:cubicBezTo>
                        <a:pt x="111" y="549"/>
                        <a:pt x="111" y="549"/>
                        <a:pt x="111" y="549"/>
                      </a:cubicBezTo>
                      <a:cubicBezTo>
                        <a:pt x="126" y="569"/>
                        <a:pt x="135" y="611"/>
                        <a:pt x="135" y="611"/>
                      </a:cubicBezTo>
                      <a:cubicBezTo>
                        <a:pt x="135" y="611"/>
                        <a:pt x="135" y="603"/>
                        <a:pt x="149" y="617"/>
                      </a:cubicBezTo>
                      <a:cubicBezTo>
                        <a:pt x="163" y="631"/>
                        <a:pt x="200" y="642"/>
                        <a:pt x="200" y="642"/>
                      </a:cubicBezTo>
                      <a:cubicBezTo>
                        <a:pt x="210" y="658"/>
                        <a:pt x="210" y="658"/>
                        <a:pt x="210" y="658"/>
                      </a:cubicBezTo>
                      <a:cubicBezTo>
                        <a:pt x="210" y="658"/>
                        <a:pt x="229" y="658"/>
                        <a:pt x="235" y="660"/>
                      </a:cubicBezTo>
                      <a:cubicBezTo>
                        <a:pt x="241" y="662"/>
                        <a:pt x="248" y="678"/>
                        <a:pt x="248" y="678"/>
                      </a:cubicBezTo>
                      <a:cubicBezTo>
                        <a:pt x="251" y="669"/>
                        <a:pt x="251" y="669"/>
                        <a:pt x="251" y="669"/>
                      </a:cubicBezTo>
                      <a:cubicBezTo>
                        <a:pt x="265" y="682"/>
                        <a:pt x="265" y="682"/>
                        <a:pt x="265" y="682"/>
                      </a:cubicBezTo>
                      <a:cubicBezTo>
                        <a:pt x="274" y="666"/>
                        <a:pt x="274" y="666"/>
                        <a:pt x="274" y="666"/>
                      </a:cubicBezTo>
                      <a:cubicBezTo>
                        <a:pt x="274" y="666"/>
                        <a:pt x="284" y="675"/>
                        <a:pt x="287" y="680"/>
                      </a:cubicBezTo>
                      <a:cubicBezTo>
                        <a:pt x="290" y="685"/>
                        <a:pt x="262" y="717"/>
                        <a:pt x="262" y="717"/>
                      </a:cubicBezTo>
                      <a:cubicBezTo>
                        <a:pt x="267" y="720"/>
                        <a:pt x="271" y="724"/>
                        <a:pt x="275" y="728"/>
                      </a:cubicBezTo>
                      <a:cubicBezTo>
                        <a:pt x="289" y="723"/>
                        <a:pt x="289" y="723"/>
                        <a:pt x="289" y="723"/>
                      </a:cubicBezTo>
                      <a:cubicBezTo>
                        <a:pt x="322" y="712"/>
                        <a:pt x="322" y="712"/>
                        <a:pt x="322" y="712"/>
                      </a:cubicBezTo>
                      <a:cubicBezTo>
                        <a:pt x="322" y="728"/>
                        <a:pt x="322" y="728"/>
                        <a:pt x="322" y="728"/>
                      </a:cubicBezTo>
                      <a:cubicBezTo>
                        <a:pt x="337" y="729"/>
                        <a:pt x="337" y="729"/>
                        <a:pt x="337" y="729"/>
                      </a:cubicBezTo>
                      <a:cubicBezTo>
                        <a:pt x="346" y="723"/>
                        <a:pt x="346" y="723"/>
                        <a:pt x="346" y="723"/>
                      </a:cubicBezTo>
                      <a:cubicBezTo>
                        <a:pt x="361" y="732"/>
                        <a:pt x="361" y="732"/>
                        <a:pt x="361" y="732"/>
                      </a:cubicBezTo>
                      <a:cubicBezTo>
                        <a:pt x="361" y="732"/>
                        <a:pt x="378" y="728"/>
                        <a:pt x="385" y="728"/>
                      </a:cubicBezTo>
                      <a:cubicBezTo>
                        <a:pt x="391" y="728"/>
                        <a:pt x="391" y="717"/>
                        <a:pt x="391" y="717"/>
                      </a:cubicBezTo>
                      <a:cubicBezTo>
                        <a:pt x="391" y="717"/>
                        <a:pt x="421" y="719"/>
                        <a:pt x="398" y="699"/>
                      </a:cubicBezTo>
                      <a:cubicBezTo>
                        <a:pt x="389" y="707"/>
                        <a:pt x="389" y="707"/>
                        <a:pt x="389" y="707"/>
                      </a:cubicBezTo>
                      <a:cubicBezTo>
                        <a:pt x="393" y="684"/>
                        <a:pt x="393" y="684"/>
                        <a:pt x="393" y="684"/>
                      </a:cubicBezTo>
                      <a:cubicBezTo>
                        <a:pt x="383" y="664"/>
                        <a:pt x="383" y="664"/>
                        <a:pt x="383" y="664"/>
                      </a:cubicBezTo>
                      <a:cubicBezTo>
                        <a:pt x="394" y="664"/>
                        <a:pt x="394" y="664"/>
                        <a:pt x="394" y="664"/>
                      </a:cubicBezTo>
                      <a:cubicBezTo>
                        <a:pt x="394" y="627"/>
                        <a:pt x="394" y="627"/>
                        <a:pt x="394" y="627"/>
                      </a:cubicBezTo>
                      <a:cubicBezTo>
                        <a:pt x="383" y="627"/>
                        <a:pt x="383" y="627"/>
                        <a:pt x="383" y="627"/>
                      </a:cubicBezTo>
                      <a:cubicBezTo>
                        <a:pt x="386" y="605"/>
                        <a:pt x="386" y="605"/>
                        <a:pt x="386" y="605"/>
                      </a:cubicBezTo>
                      <a:cubicBezTo>
                        <a:pt x="371" y="585"/>
                        <a:pt x="371" y="585"/>
                        <a:pt x="371" y="585"/>
                      </a:cubicBezTo>
                      <a:cubicBezTo>
                        <a:pt x="378" y="573"/>
                        <a:pt x="378" y="573"/>
                        <a:pt x="378" y="573"/>
                      </a:cubicBezTo>
                      <a:cubicBezTo>
                        <a:pt x="353" y="548"/>
                        <a:pt x="353" y="548"/>
                        <a:pt x="353" y="548"/>
                      </a:cubicBezTo>
                      <a:cubicBezTo>
                        <a:pt x="357" y="537"/>
                        <a:pt x="357" y="537"/>
                        <a:pt x="357" y="537"/>
                      </a:cubicBezTo>
                      <a:cubicBezTo>
                        <a:pt x="357" y="537"/>
                        <a:pt x="337" y="532"/>
                        <a:pt x="339" y="523"/>
                      </a:cubicBezTo>
                      <a:cubicBezTo>
                        <a:pt x="342" y="513"/>
                        <a:pt x="371" y="503"/>
                        <a:pt x="378" y="511"/>
                      </a:cubicBezTo>
                      <a:cubicBezTo>
                        <a:pt x="385" y="519"/>
                        <a:pt x="413" y="501"/>
                        <a:pt x="413" y="501"/>
                      </a:cubicBezTo>
                      <a:cubicBezTo>
                        <a:pt x="415" y="485"/>
                        <a:pt x="415" y="485"/>
                        <a:pt x="415" y="485"/>
                      </a:cubicBezTo>
                      <a:cubicBezTo>
                        <a:pt x="434" y="488"/>
                        <a:pt x="434" y="488"/>
                        <a:pt x="434" y="488"/>
                      </a:cubicBezTo>
                      <a:cubicBezTo>
                        <a:pt x="433" y="496"/>
                        <a:pt x="433" y="496"/>
                        <a:pt x="433" y="496"/>
                      </a:cubicBezTo>
                      <a:cubicBezTo>
                        <a:pt x="459" y="481"/>
                        <a:pt x="459" y="481"/>
                        <a:pt x="459" y="481"/>
                      </a:cubicBezTo>
                      <a:cubicBezTo>
                        <a:pt x="502" y="480"/>
                        <a:pt x="502" y="480"/>
                        <a:pt x="502" y="480"/>
                      </a:cubicBezTo>
                      <a:cubicBezTo>
                        <a:pt x="499" y="492"/>
                        <a:pt x="499" y="492"/>
                        <a:pt x="499" y="492"/>
                      </a:cubicBezTo>
                      <a:cubicBezTo>
                        <a:pt x="509" y="492"/>
                        <a:pt x="509" y="492"/>
                        <a:pt x="509" y="492"/>
                      </a:cubicBezTo>
                      <a:cubicBezTo>
                        <a:pt x="514" y="483"/>
                        <a:pt x="514" y="483"/>
                        <a:pt x="514" y="483"/>
                      </a:cubicBezTo>
                      <a:cubicBezTo>
                        <a:pt x="519" y="484"/>
                        <a:pt x="519" y="484"/>
                        <a:pt x="519" y="484"/>
                      </a:cubicBezTo>
                      <a:cubicBezTo>
                        <a:pt x="519" y="484"/>
                        <a:pt x="518" y="464"/>
                        <a:pt x="549" y="464"/>
                      </a:cubicBezTo>
                      <a:cubicBezTo>
                        <a:pt x="549" y="463"/>
                        <a:pt x="549" y="462"/>
                        <a:pt x="549" y="461"/>
                      </a:cubicBezTo>
                      <a:cubicBezTo>
                        <a:pt x="546" y="433"/>
                        <a:pt x="575" y="399"/>
                        <a:pt x="575" y="399"/>
                      </a:cubicBezTo>
                      <a:cubicBezTo>
                        <a:pt x="569" y="387"/>
                        <a:pt x="569" y="387"/>
                        <a:pt x="569" y="387"/>
                      </a:cubicBezTo>
                      <a:cubicBezTo>
                        <a:pt x="569" y="387"/>
                        <a:pt x="581" y="369"/>
                        <a:pt x="585" y="359"/>
                      </a:cubicBezTo>
                      <a:cubicBezTo>
                        <a:pt x="578" y="351"/>
                        <a:pt x="589" y="323"/>
                        <a:pt x="589" y="323"/>
                      </a:cubicBezTo>
                      <a:cubicBezTo>
                        <a:pt x="626" y="335"/>
                        <a:pt x="626" y="335"/>
                        <a:pt x="626" y="335"/>
                      </a:cubicBezTo>
                      <a:cubicBezTo>
                        <a:pt x="615" y="320"/>
                        <a:pt x="615" y="320"/>
                        <a:pt x="615" y="320"/>
                      </a:cubicBezTo>
                      <a:cubicBezTo>
                        <a:pt x="615" y="320"/>
                        <a:pt x="626" y="313"/>
                        <a:pt x="625" y="311"/>
                      </a:cubicBezTo>
                      <a:cubicBezTo>
                        <a:pt x="642" y="329"/>
                        <a:pt x="641" y="307"/>
                        <a:pt x="641" y="307"/>
                      </a:cubicBezTo>
                      <a:cubicBezTo>
                        <a:pt x="641" y="307"/>
                        <a:pt x="670" y="300"/>
                        <a:pt x="674" y="299"/>
                      </a:cubicBezTo>
                      <a:cubicBezTo>
                        <a:pt x="658" y="293"/>
                        <a:pt x="690" y="272"/>
                        <a:pt x="690" y="272"/>
                      </a:cubicBezTo>
                      <a:cubicBezTo>
                        <a:pt x="690" y="272"/>
                        <a:pt x="703" y="252"/>
                        <a:pt x="707" y="248"/>
                      </a:cubicBezTo>
                      <a:cubicBezTo>
                        <a:pt x="707" y="233"/>
                        <a:pt x="717" y="229"/>
                        <a:pt x="717" y="229"/>
                      </a:cubicBezTo>
                      <a:cubicBezTo>
                        <a:pt x="725" y="219"/>
                        <a:pt x="725" y="219"/>
                        <a:pt x="725" y="219"/>
                      </a:cubicBezTo>
                      <a:cubicBezTo>
                        <a:pt x="718" y="205"/>
                        <a:pt x="718" y="205"/>
                        <a:pt x="718" y="205"/>
                      </a:cubicBezTo>
                      <a:cubicBezTo>
                        <a:pt x="722" y="192"/>
                        <a:pt x="722" y="192"/>
                        <a:pt x="722" y="192"/>
                      </a:cubicBezTo>
                      <a:cubicBezTo>
                        <a:pt x="714" y="180"/>
                        <a:pt x="714" y="180"/>
                        <a:pt x="714" y="180"/>
                      </a:cubicBezTo>
                      <a:cubicBezTo>
                        <a:pt x="725" y="175"/>
                        <a:pt x="725" y="175"/>
                        <a:pt x="725" y="175"/>
                      </a:cubicBezTo>
                      <a:cubicBezTo>
                        <a:pt x="725" y="157"/>
                        <a:pt x="725" y="157"/>
                        <a:pt x="725" y="157"/>
                      </a:cubicBezTo>
                      <a:cubicBezTo>
                        <a:pt x="739" y="156"/>
                        <a:pt x="739" y="156"/>
                        <a:pt x="739" y="156"/>
                      </a:cubicBezTo>
                      <a:cubicBezTo>
                        <a:pt x="739" y="147"/>
                        <a:pt x="739" y="147"/>
                        <a:pt x="739" y="147"/>
                      </a:cubicBezTo>
                      <a:lnTo>
                        <a:pt x="719" y="140"/>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92" name="POitou-Charentes" descr="© INSCALE GmbH, 05.05.2010&#10;http://www.presentationload.com/">
                  <a:extLst>
                    <a:ext uri="{FF2B5EF4-FFF2-40B4-BE49-F238E27FC236}">
                      <a16:creationId xmlns:a16="http://schemas.microsoft.com/office/drawing/2014/main" id="{9FC5B29E-FFA9-4189-94A8-AA4A865DA5FE}"/>
                    </a:ext>
                  </a:extLst>
                </p:cNvPr>
                <p:cNvSpPr>
                  <a:spLocks noEditPoints="1"/>
                </p:cNvSpPr>
                <p:nvPr/>
              </p:nvSpPr>
              <p:spPr bwMode="gray">
                <a:xfrm>
                  <a:off x="881" y="1507"/>
                  <a:ext cx="619" cy="717"/>
                </a:xfrm>
                <a:custGeom>
                  <a:avLst/>
                  <a:gdLst/>
                  <a:ahLst/>
                  <a:cxnLst>
                    <a:cxn ang="0">
                      <a:pos x="39" y="333"/>
                    </a:cxn>
                    <a:cxn ang="0">
                      <a:pos x="19" y="308"/>
                    </a:cxn>
                    <a:cxn ang="0">
                      <a:pos x="6" y="327"/>
                    </a:cxn>
                    <a:cxn ang="0">
                      <a:pos x="32" y="355"/>
                    </a:cxn>
                    <a:cxn ang="0">
                      <a:pos x="46" y="345"/>
                    </a:cxn>
                    <a:cxn ang="0">
                      <a:pos x="559" y="229"/>
                    </a:cxn>
                    <a:cxn ang="0">
                      <a:pos x="533" y="197"/>
                    </a:cxn>
                    <a:cxn ang="0">
                      <a:pos x="486" y="111"/>
                    </a:cxn>
                    <a:cxn ang="0">
                      <a:pos x="434" y="52"/>
                    </a:cxn>
                    <a:cxn ang="0">
                      <a:pos x="419" y="65"/>
                    </a:cxn>
                    <a:cxn ang="0">
                      <a:pos x="393" y="67"/>
                    </a:cxn>
                    <a:cxn ang="0">
                      <a:pos x="382" y="39"/>
                    </a:cxn>
                    <a:cxn ang="0">
                      <a:pos x="369" y="28"/>
                    </a:cxn>
                    <a:cxn ang="0">
                      <a:pos x="355" y="21"/>
                    </a:cxn>
                    <a:cxn ang="0">
                      <a:pos x="299" y="20"/>
                    </a:cxn>
                    <a:cxn ang="0">
                      <a:pos x="289" y="28"/>
                    </a:cxn>
                    <a:cxn ang="0">
                      <a:pos x="282" y="16"/>
                    </a:cxn>
                    <a:cxn ang="0">
                      <a:pos x="213" y="32"/>
                    </a:cxn>
                    <a:cxn ang="0">
                      <a:pos x="195" y="21"/>
                    </a:cxn>
                    <a:cxn ang="0">
                      <a:pos x="158" y="47"/>
                    </a:cxn>
                    <a:cxn ang="0">
                      <a:pos x="137" y="73"/>
                    </a:cxn>
                    <a:cxn ang="0">
                      <a:pos x="158" y="109"/>
                    </a:cxn>
                    <a:cxn ang="0">
                      <a:pos x="166" y="141"/>
                    </a:cxn>
                    <a:cxn ang="0">
                      <a:pos x="174" y="163"/>
                    </a:cxn>
                    <a:cxn ang="0">
                      <a:pos x="163" y="200"/>
                    </a:cxn>
                    <a:cxn ang="0">
                      <a:pos x="169" y="243"/>
                    </a:cxn>
                    <a:cxn ang="0">
                      <a:pos x="171" y="253"/>
                    </a:cxn>
                    <a:cxn ang="0">
                      <a:pos x="141" y="268"/>
                    </a:cxn>
                    <a:cxn ang="0">
                      <a:pos x="117" y="265"/>
                    </a:cxn>
                    <a:cxn ang="0">
                      <a:pos x="102" y="248"/>
                    </a:cxn>
                    <a:cxn ang="0">
                      <a:pos x="55" y="264"/>
                    </a:cxn>
                    <a:cxn ang="0">
                      <a:pos x="64" y="309"/>
                    </a:cxn>
                    <a:cxn ang="0">
                      <a:pos x="69" y="324"/>
                    </a:cxn>
                    <a:cxn ang="0">
                      <a:pos x="63" y="352"/>
                    </a:cxn>
                    <a:cxn ang="0">
                      <a:pos x="58" y="367"/>
                    </a:cxn>
                    <a:cxn ang="0">
                      <a:pos x="44" y="372"/>
                    </a:cxn>
                    <a:cxn ang="0">
                      <a:pos x="37" y="406"/>
                    </a:cxn>
                    <a:cxn ang="0">
                      <a:pos x="80" y="427"/>
                    </a:cxn>
                    <a:cxn ang="0">
                      <a:pos x="103" y="454"/>
                    </a:cxn>
                    <a:cxn ang="0">
                      <a:pos x="147" y="539"/>
                    </a:cxn>
                    <a:cxn ang="0">
                      <a:pos x="152" y="564"/>
                    </a:cxn>
                    <a:cxn ang="0">
                      <a:pos x="151" y="581"/>
                    </a:cxn>
                    <a:cxn ang="0">
                      <a:pos x="171" y="593"/>
                    </a:cxn>
                    <a:cxn ang="0">
                      <a:pos x="210" y="643"/>
                    </a:cxn>
                    <a:cxn ang="0">
                      <a:pos x="293" y="652"/>
                    </a:cxn>
                    <a:cxn ang="0">
                      <a:pos x="327" y="625"/>
                    </a:cxn>
                    <a:cxn ang="0">
                      <a:pos x="357" y="597"/>
                    </a:cxn>
                    <a:cxn ang="0">
                      <a:pos x="405" y="524"/>
                    </a:cxn>
                    <a:cxn ang="0">
                      <a:pos x="411" y="495"/>
                    </a:cxn>
                    <a:cxn ang="0">
                      <a:pos x="461" y="451"/>
                    </a:cxn>
                    <a:cxn ang="0">
                      <a:pos x="481" y="439"/>
                    </a:cxn>
                    <a:cxn ang="0">
                      <a:pos x="487" y="395"/>
                    </a:cxn>
                    <a:cxn ang="0">
                      <a:pos x="513" y="391"/>
                    </a:cxn>
                    <a:cxn ang="0">
                      <a:pos x="490" y="332"/>
                    </a:cxn>
                    <a:cxn ang="0">
                      <a:pos x="494" y="301"/>
                    </a:cxn>
                    <a:cxn ang="0">
                      <a:pos x="529" y="287"/>
                    </a:cxn>
                    <a:cxn ang="0">
                      <a:pos x="555" y="263"/>
                    </a:cxn>
                    <a:cxn ang="0">
                      <a:pos x="570" y="252"/>
                    </a:cxn>
                  </a:cxnLst>
                  <a:rect l="0" t="0" r="r" b="b"/>
                  <a:pathLst>
                    <a:path w="574" h="665">
                      <a:moveTo>
                        <a:pt x="46" y="345"/>
                      </a:moveTo>
                      <a:cubicBezTo>
                        <a:pt x="39" y="333"/>
                        <a:pt x="39" y="333"/>
                        <a:pt x="39" y="333"/>
                      </a:cubicBezTo>
                      <a:cubicBezTo>
                        <a:pt x="38" y="311"/>
                        <a:pt x="38" y="311"/>
                        <a:pt x="38" y="311"/>
                      </a:cubicBezTo>
                      <a:cubicBezTo>
                        <a:pt x="19" y="308"/>
                        <a:pt x="19" y="308"/>
                        <a:pt x="19" y="308"/>
                      </a:cubicBezTo>
                      <a:cubicBezTo>
                        <a:pt x="4" y="289"/>
                        <a:pt x="4" y="289"/>
                        <a:pt x="4" y="289"/>
                      </a:cubicBezTo>
                      <a:cubicBezTo>
                        <a:pt x="0" y="293"/>
                        <a:pt x="6" y="327"/>
                        <a:pt x="6" y="327"/>
                      </a:cubicBezTo>
                      <a:cubicBezTo>
                        <a:pt x="19" y="337"/>
                        <a:pt x="19" y="337"/>
                        <a:pt x="19" y="337"/>
                      </a:cubicBezTo>
                      <a:cubicBezTo>
                        <a:pt x="32" y="355"/>
                        <a:pt x="32" y="355"/>
                        <a:pt x="32" y="355"/>
                      </a:cubicBezTo>
                      <a:cubicBezTo>
                        <a:pt x="36" y="368"/>
                        <a:pt x="36" y="368"/>
                        <a:pt x="36" y="368"/>
                      </a:cubicBezTo>
                      <a:lnTo>
                        <a:pt x="46" y="345"/>
                      </a:lnTo>
                      <a:close/>
                      <a:moveTo>
                        <a:pt x="574" y="241"/>
                      </a:moveTo>
                      <a:cubicBezTo>
                        <a:pt x="574" y="241"/>
                        <a:pt x="563" y="236"/>
                        <a:pt x="559" y="229"/>
                      </a:cubicBezTo>
                      <a:cubicBezTo>
                        <a:pt x="553" y="187"/>
                        <a:pt x="534" y="208"/>
                        <a:pt x="534" y="208"/>
                      </a:cubicBezTo>
                      <a:cubicBezTo>
                        <a:pt x="534" y="208"/>
                        <a:pt x="537" y="199"/>
                        <a:pt x="533" y="197"/>
                      </a:cubicBezTo>
                      <a:cubicBezTo>
                        <a:pt x="505" y="196"/>
                        <a:pt x="510" y="167"/>
                        <a:pt x="511" y="153"/>
                      </a:cubicBezTo>
                      <a:cubicBezTo>
                        <a:pt x="479" y="120"/>
                        <a:pt x="503" y="127"/>
                        <a:pt x="486" y="111"/>
                      </a:cubicBezTo>
                      <a:cubicBezTo>
                        <a:pt x="469" y="95"/>
                        <a:pt x="466" y="63"/>
                        <a:pt x="466" y="63"/>
                      </a:cubicBezTo>
                      <a:cubicBezTo>
                        <a:pt x="434" y="52"/>
                        <a:pt x="434" y="52"/>
                        <a:pt x="434" y="52"/>
                      </a:cubicBezTo>
                      <a:cubicBezTo>
                        <a:pt x="442" y="65"/>
                        <a:pt x="442" y="65"/>
                        <a:pt x="442" y="65"/>
                      </a:cubicBezTo>
                      <a:cubicBezTo>
                        <a:pt x="419" y="65"/>
                        <a:pt x="419" y="65"/>
                        <a:pt x="419" y="65"/>
                      </a:cubicBezTo>
                      <a:cubicBezTo>
                        <a:pt x="405" y="73"/>
                        <a:pt x="405" y="73"/>
                        <a:pt x="405" y="73"/>
                      </a:cubicBezTo>
                      <a:cubicBezTo>
                        <a:pt x="393" y="67"/>
                        <a:pt x="393" y="67"/>
                        <a:pt x="393" y="67"/>
                      </a:cubicBezTo>
                      <a:cubicBezTo>
                        <a:pt x="393" y="67"/>
                        <a:pt x="394" y="73"/>
                        <a:pt x="382" y="69"/>
                      </a:cubicBezTo>
                      <a:cubicBezTo>
                        <a:pt x="370" y="65"/>
                        <a:pt x="382" y="39"/>
                        <a:pt x="382" y="39"/>
                      </a:cubicBezTo>
                      <a:cubicBezTo>
                        <a:pt x="373" y="35"/>
                        <a:pt x="373" y="35"/>
                        <a:pt x="373" y="35"/>
                      </a:cubicBezTo>
                      <a:cubicBezTo>
                        <a:pt x="369" y="28"/>
                        <a:pt x="369" y="28"/>
                        <a:pt x="369" y="28"/>
                      </a:cubicBezTo>
                      <a:cubicBezTo>
                        <a:pt x="355" y="35"/>
                        <a:pt x="355" y="35"/>
                        <a:pt x="355" y="35"/>
                      </a:cubicBezTo>
                      <a:cubicBezTo>
                        <a:pt x="355" y="21"/>
                        <a:pt x="355" y="21"/>
                        <a:pt x="355" y="21"/>
                      </a:cubicBezTo>
                      <a:cubicBezTo>
                        <a:pt x="355" y="21"/>
                        <a:pt x="333" y="25"/>
                        <a:pt x="329" y="0"/>
                      </a:cubicBezTo>
                      <a:cubicBezTo>
                        <a:pt x="298" y="0"/>
                        <a:pt x="299" y="20"/>
                        <a:pt x="299" y="20"/>
                      </a:cubicBezTo>
                      <a:cubicBezTo>
                        <a:pt x="294" y="19"/>
                        <a:pt x="294" y="19"/>
                        <a:pt x="294" y="19"/>
                      </a:cubicBezTo>
                      <a:cubicBezTo>
                        <a:pt x="289" y="28"/>
                        <a:pt x="289" y="28"/>
                        <a:pt x="289" y="28"/>
                      </a:cubicBezTo>
                      <a:cubicBezTo>
                        <a:pt x="279" y="28"/>
                        <a:pt x="279" y="28"/>
                        <a:pt x="279" y="28"/>
                      </a:cubicBezTo>
                      <a:cubicBezTo>
                        <a:pt x="282" y="16"/>
                        <a:pt x="282" y="16"/>
                        <a:pt x="282" y="16"/>
                      </a:cubicBezTo>
                      <a:cubicBezTo>
                        <a:pt x="239" y="17"/>
                        <a:pt x="239" y="17"/>
                        <a:pt x="239" y="17"/>
                      </a:cubicBezTo>
                      <a:cubicBezTo>
                        <a:pt x="213" y="32"/>
                        <a:pt x="213" y="32"/>
                        <a:pt x="213" y="32"/>
                      </a:cubicBezTo>
                      <a:cubicBezTo>
                        <a:pt x="214" y="24"/>
                        <a:pt x="214" y="24"/>
                        <a:pt x="214" y="24"/>
                      </a:cubicBezTo>
                      <a:cubicBezTo>
                        <a:pt x="195" y="21"/>
                        <a:pt x="195" y="21"/>
                        <a:pt x="195" y="21"/>
                      </a:cubicBezTo>
                      <a:cubicBezTo>
                        <a:pt x="193" y="37"/>
                        <a:pt x="193" y="37"/>
                        <a:pt x="193" y="37"/>
                      </a:cubicBezTo>
                      <a:cubicBezTo>
                        <a:pt x="193" y="37"/>
                        <a:pt x="165" y="55"/>
                        <a:pt x="158" y="47"/>
                      </a:cubicBezTo>
                      <a:cubicBezTo>
                        <a:pt x="151" y="39"/>
                        <a:pt x="122" y="49"/>
                        <a:pt x="119" y="59"/>
                      </a:cubicBezTo>
                      <a:cubicBezTo>
                        <a:pt x="117" y="68"/>
                        <a:pt x="137" y="73"/>
                        <a:pt x="137" y="73"/>
                      </a:cubicBezTo>
                      <a:cubicBezTo>
                        <a:pt x="133" y="84"/>
                        <a:pt x="133" y="84"/>
                        <a:pt x="133" y="84"/>
                      </a:cubicBezTo>
                      <a:cubicBezTo>
                        <a:pt x="158" y="109"/>
                        <a:pt x="158" y="109"/>
                        <a:pt x="158" y="109"/>
                      </a:cubicBezTo>
                      <a:cubicBezTo>
                        <a:pt x="151" y="121"/>
                        <a:pt x="151" y="121"/>
                        <a:pt x="151" y="121"/>
                      </a:cubicBezTo>
                      <a:cubicBezTo>
                        <a:pt x="166" y="141"/>
                        <a:pt x="166" y="141"/>
                        <a:pt x="166" y="141"/>
                      </a:cubicBezTo>
                      <a:cubicBezTo>
                        <a:pt x="163" y="163"/>
                        <a:pt x="163" y="163"/>
                        <a:pt x="163" y="163"/>
                      </a:cubicBezTo>
                      <a:cubicBezTo>
                        <a:pt x="174" y="163"/>
                        <a:pt x="174" y="163"/>
                        <a:pt x="174" y="163"/>
                      </a:cubicBezTo>
                      <a:cubicBezTo>
                        <a:pt x="174" y="200"/>
                        <a:pt x="174" y="200"/>
                        <a:pt x="174" y="200"/>
                      </a:cubicBezTo>
                      <a:cubicBezTo>
                        <a:pt x="163" y="200"/>
                        <a:pt x="163" y="200"/>
                        <a:pt x="163" y="200"/>
                      </a:cubicBezTo>
                      <a:cubicBezTo>
                        <a:pt x="173" y="220"/>
                        <a:pt x="173" y="220"/>
                        <a:pt x="173" y="220"/>
                      </a:cubicBezTo>
                      <a:cubicBezTo>
                        <a:pt x="169" y="243"/>
                        <a:pt x="169" y="243"/>
                        <a:pt x="169" y="243"/>
                      </a:cubicBezTo>
                      <a:cubicBezTo>
                        <a:pt x="178" y="235"/>
                        <a:pt x="178" y="235"/>
                        <a:pt x="178" y="235"/>
                      </a:cubicBezTo>
                      <a:cubicBezTo>
                        <a:pt x="201" y="255"/>
                        <a:pt x="171" y="253"/>
                        <a:pt x="171" y="253"/>
                      </a:cubicBezTo>
                      <a:cubicBezTo>
                        <a:pt x="171" y="253"/>
                        <a:pt x="171" y="264"/>
                        <a:pt x="165" y="264"/>
                      </a:cubicBezTo>
                      <a:cubicBezTo>
                        <a:pt x="158" y="264"/>
                        <a:pt x="141" y="268"/>
                        <a:pt x="141" y="268"/>
                      </a:cubicBezTo>
                      <a:cubicBezTo>
                        <a:pt x="126" y="259"/>
                        <a:pt x="126" y="259"/>
                        <a:pt x="126" y="259"/>
                      </a:cubicBezTo>
                      <a:cubicBezTo>
                        <a:pt x="117" y="265"/>
                        <a:pt x="117" y="265"/>
                        <a:pt x="117" y="265"/>
                      </a:cubicBezTo>
                      <a:cubicBezTo>
                        <a:pt x="102" y="264"/>
                        <a:pt x="102" y="264"/>
                        <a:pt x="102" y="264"/>
                      </a:cubicBezTo>
                      <a:cubicBezTo>
                        <a:pt x="102" y="248"/>
                        <a:pt x="102" y="248"/>
                        <a:pt x="102" y="248"/>
                      </a:cubicBezTo>
                      <a:cubicBezTo>
                        <a:pt x="69" y="259"/>
                        <a:pt x="69" y="259"/>
                        <a:pt x="69" y="259"/>
                      </a:cubicBezTo>
                      <a:cubicBezTo>
                        <a:pt x="55" y="264"/>
                        <a:pt x="55" y="264"/>
                        <a:pt x="55" y="264"/>
                      </a:cubicBezTo>
                      <a:cubicBezTo>
                        <a:pt x="71" y="282"/>
                        <a:pt x="78" y="307"/>
                        <a:pt x="78" y="307"/>
                      </a:cubicBezTo>
                      <a:cubicBezTo>
                        <a:pt x="64" y="309"/>
                        <a:pt x="64" y="309"/>
                        <a:pt x="64" y="309"/>
                      </a:cubicBezTo>
                      <a:cubicBezTo>
                        <a:pt x="69" y="320"/>
                        <a:pt x="69" y="320"/>
                        <a:pt x="69" y="320"/>
                      </a:cubicBezTo>
                      <a:cubicBezTo>
                        <a:pt x="69" y="324"/>
                        <a:pt x="69" y="324"/>
                        <a:pt x="69" y="324"/>
                      </a:cubicBezTo>
                      <a:cubicBezTo>
                        <a:pt x="71" y="335"/>
                        <a:pt x="71" y="335"/>
                        <a:pt x="71" y="335"/>
                      </a:cubicBezTo>
                      <a:cubicBezTo>
                        <a:pt x="63" y="352"/>
                        <a:pt x="63" y="352"/>
                        <a:pt x="63" y="352"/>
                      </a:cubicBezTo>
                      <a:cubicBezTo>
                        <a:pt x="52" y="352"/>
                        <a:pt x="52" y="352"/>
                        <a:pt x="52" y="352"/>
                      </a:cubicBezTo>
                      <a:cubicBezTo>
                        <a:pt x="58" y="367"/>
                        <a:pt x="58" y="367"/>
                        <a:pt x="58" y="367"/>
                      </a:cubicBezTo>
                      <a:cubicBezTo>
                        <a:pt x="67" y="382"/>
                        <a:pt x="67" y="382"/>
                        <a:pt x="67" y="382"/>
                      </a:cubicBezTo>
                      <a:cubicBezTo>
                        <a:pt x="67" y="382"/>
                        <a:pt x="51" y="372"/>
                        <a:pt x="44" y="372"/>
                      </a:cubicBezTo>
                      <a:cubicBezTo>
                        <a:pt x="37" y="372"/>
                        <a:pt x="35" y="378"/>
                        <a:pt x="33" y="389"/>
                      </a:cubicBezTo>
                      <a:cubicBezTo>
                        <a:pt x="31" y="400"/>
                        <a:pt x="37" y="406"/>
                        <a:pt x="37" y="406"/>
                      </a:cubicBezTo>
                      <a:cubicBezTo>
                        <a:pt x="70" y="427"/>
                        <a:pt x="70" y="427"/>
                        <a:pt x="70" y="427"/>
                      </a:cubicBezTo>
                      <a:cubicBezTo>
                        <a:pt x="80" y="427"/>
                        <a:pt x="80" y="427"/>
                        <a:pt x="80" y="427"/>
                      </a:cubicBezTo>
                      <a:cubicBezTo>
                        <a:pt x="93" y="454"/>
                        <a:pt x="93" y="454"/>
                        <a:pt x="93" y="454"/>
                      </a:cubicBezTo>
                      <a:cubicBezTo>
                        <a:pt x="103" y="454"/>
                        <a:pt x="103" y="454"/>
                        <a:pt x="103" y="454"/>
                      </a:cubicBezTo>
                      <a:cubicBezTo>
                        <a:pt x="103" y="454"/>
                        <a:pt x="104" y="457"/>
                        <a:pt x="114" y="462"/>
                      </a:cubicBezTo>
                      <a:cubicBezTo>
                        <a:pt x="124" y="467"/>
                        <a:pt x="147" y="539"/>
                        <a:pt x="147" y="539"/>
                      </a:cubicBezTo>
                      <a:cubicBezTo>
                        <a:pt x="145" y="553"/>
                        <a:pt x="145" y="553"/>
                        <a:pt x="145" y="553"/>
                      </a:cubicBezTo>
                      <a:cubicBezTo>
                        <a:pt x="152" y="564"/>
                        <a:pt x="152" y="564"/>
                        <a:pt x="152" y="564"/>
                      </a:cubicBezTo>
                      <a:cubicBezTo>
                        <a:pt x="148" y="576"/>
                        <a:pt x="148" y="576"/>
                        <a:pt x="148" y="576"/>
                      </a:cubicBezTo>
                      <a:cubicBezTo>
                        <a:pt x="148" y="576"/>
                        <a:pt x="149" y="578"/>
                        <a:pt x="151" y="581"/>
                      </a:cubicBezTo>
                      <a:cubicBezTo>
                        <a:pt x="165" y="580"/>
                        <a:pt x="165" y="580"/>
                        <a:pt x="165" y="580"/>
                      </a:cubicBezTo>
                      <a:cubicBezTo>
                        <a:pt x="171" y="593"/>
                        <a:pt x="171" y="593"/>
                        <a:pt x="171" y="593"/>
                      </a:cubicBezTo>
                      <a:cubicBezTo>
                        <a:pt x="171" y="593"/>
                        <a:pt x="211" y="604"/>
                        <a:pt x="205" y="619"/>
                      </a:cubicBezTo>
                      <a:cubicBezTo>
                        <a:pt x="210" y="637"/>
                        <a:pt x="210" y="643"/>
                        <a:pt x="210" y="643"/>
                      </a:cubicBezTo>
                      <a:cubicBezTo>
                        <a:pt x="210" y="643"/>
                        <a:pt x="218" y="628"/>
                        <a:pt x="235" y="645"/>
                      </a:cubicBezTo>
                      <a:cubicBezTo>
                        <a:pt x="253" y="663"/>
                        <a:pt x="286" y="665"/>
                        <a:pt x="293" y="652"/>
                      </a:cubicBezTo>
                      <a:cubicBezTo>
                        <a:pt x="299" y="639"/>
                        <a:pt x="315" y="616"/>
                        <a:pt x="315" y="616"/>
                      </a:cubicBezTo>
                      <a:cubicBezTo>
                        <a:pt x="315" y="616"/>
                        <a:pt x="323" y="625"/>
                        <a:pt x="327" y="625"/>
                      </a:cubicBezTo>
                      <a:cubicBezTo>
                        <a:pt x="331" y="625"/>
                        <a:pt x="350" y="597"/>
                        <a:pt x="350" y="597"/>
                      </a:cubicBezTo>
                      <a:cubicBezTo>
                        <a:pt x="357" y="597"/>
                        <a:pt x="357" y="597"/>
                        <a:pt x="357" y="597"/>
                      </a:cubicBezTo>
                      <a:cubicBezTo>
                        <a:pt x="357" y="597"/>
                        <a:pt x="345" y="544"/>
                        <a:pt x="397" y="537"/>
                      </a:cubicBezTo>
                      <a:cubicBezTo>
                        <a:pt x="401" y="523"/>
                        <a:pt x="405" y="524"/>
                        <a:pt x="405" y="524"/>
                      </a:cubicBezTo>
                      <a:cubicBezTo>
                        <a:pt x="417" y="523"/>
                        <a:pt x="417" y="523"/>
                        <a:pt x="417" y="523"/>
                      </a:cubicBezTo>
                      <a:cubicBezTo>
                        <a:pt x="417" y="523"/>
                        <a:pt x="407" y="495"/>
                        <a:pt x="411" y="495"/>
                      </a:cubicBezTo>
                      <a:cubicBezTo>
                        <a:pt x="415" y="495"/>
                        <a:pt x="426" y="493"/>
                        <a:pt x="426" y="493"/>
                      </a:cubicBezTo>
                      <a:cubicBezTo>
                        <a:pt x="461" y="451"/>
                        <a:pt x="461" y="451"/>
                        <a:pt x="461" y="451"/>
                      </a:cubicBezTo>
                      <a:cubicBezTo>
                        <a:pt x="461" y="443"/>
                        <a:pt x="461" y="443"/>
                        <a:pt x="461" y="443"/>
                      </a:cubicBezTo>
                      <a:cubicBezTo>
                        <a:pt x="481" y="439"/>
                        <a:pt x="481" y="439"/>
                        <a:pt x="481" y="439"/>
                      </a:cubicBezTo>
                      <a:cubicBezTo>
                        <a:pt x="489" y="413"/>
                        <a:pt x="489" y="413"/>
                        <a:pt x="489" y="413"/>
                      </a:cubicBezTo>
                      <a:cubicBezTo>
                        <a:pt x="489" y="413"/>
                        <a:pt x="483" y="393"/>
                        <a:pt x="487" y="395"/>
                      </a:cubicBezTo>
                      <a:cubicBezTo>
                        <a:pt x="491" y="396"/>
                        <a:pt x="501" y="399"/>
                        <a:pt x="501" y="399"/>
                      </a:cubicBezTo>
                      <a:cubicBezTo>
                        <a:pt x="513" y="391"/>
                        <a:pt x="513" y="391"/>
                        <a:pt x="513" y="391"/>
                      </a:cubicBezTo>
                      <a:cubicBezTo>
                        <a:pt x="506" y="371"/>
                        <a:pt x="506" y="371"/>
                        <a:pt x="506" y="371"/>
                      </a:cubicBezTo>
                      <a:cubicBezTo>
                        <a:pt x="506" y="371"/>
                        <a:pt x="478" y="372"/>
                        <a:pt x="490" y="332"/>
                      </a:cubicBezTo>
                      <a:cubicBezTo>
                        <a:pt x="482" y="311"/>
                        <a:pt x="482" y="311"/>
                        <a:pt x="482" y="311"/>
                      </a:cubicBezTo>
                      <a:cubicBezTo>
                        <a:pt x="494" y="301"/>
                        <a:pt x="494" y="301"/>
                        <a:pt x="494" y="301"/>
                      </a:cubicBezTo>
                      <a:cubicBezTo>
                        <a:pt x="510" y="285"/>
                        <a:pt x="510" y="285"/>
                        <a:pt x="510" y="285"/>
                      </a:cubicBezTo>
                      <a:cubicBezTo>
                        <a:pt x="529" y="287"/>
                        <a:pt x="529" y="287"/>
                        <a:pt x="529" y="287"/>
                      </a:cubicBezTo>
                      <a:cubicBezTo>
                        <a:pt x="541" y="261"/>
                        <a:pt x="541" y="261"/>
                        <a:pt x="541" y="261"/>
                      </a:cubicBezTo>
                      <a:cubicBezTo>
                        <a:pt x="555" y="263"/>
                        <a:pt x="555" y="263"/>
                        <a:pt x="555" y="263"/>
                      </a:cubicBezTo>
                      <a:cubicBezTo>
                        <a:pt x="573" y="256"/>
                        <a:pt x="573" y="256"/>
                        <a:pt x="573" y="256"/>
                      </a:cubicBezTo>
                      <a:cubicBezTo>
                        <a:pt x="570" y="252"/>
                        <a:pt x="570" y="252"/>
                        <a:pt x="570" y="252"/>
                      </a:cubicBezTo>
                      <a:lnTo>
                        <a:pt x="574" y="241"/>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93" name="Limousin" descr="© INSCALE GmbH, 05.05.2010&#10;http://www.presentationload.com/">
                  <a:extLst>
                    <a:ext uri="{FF2B5EF4-FFF2-40B4-BE49-F238E27FC236}">
                      <a16:creationId xmlns:a16="http://schemas.microsoft.com/office/drawing/2014/main" id="{D6F2757E-7BCD-4A80-B584-2469FE7D98F1}"/>
                    </a:ext>
                  </a:extLst>
                </p:cNvPr>
                <p:cNvSpPr>
                  <a:spLocks/>
                </p:cNvSpPr>
                <p:nvPr/>
              </p:nvSpPr>
              <p:spPr bwMode="gray">
                <a:xfrm>
                  <a:off x="1360" y="1756"/>
                  <a:ext cx="473" cy="536"/>
                </a:xfrm>
                <a:custGeom>
                  <a:avLst/>
                  <a:gdLst/>
                  <a:ahLst/>
                  <a:cxnLst>
                    <a:cxn ang="0">
                      <a:pos x="50" y="266"/>
                    </a:cxn>
                    <a:cxn ang="0">
                      <a:pos x="97" y="293"/>
                    </a:cxn>
                    <a:cxn ang="0">
                      <a:pos x="110" y="314"/>
                    </a:cxn>
                    <a:cxn ang="0">
                      <a:pos x="135" y="337"/>
                    </a:cxn>
                    <a:cxn ang="0">
                      <a:pos x="133" y="369"/>
                    </a:cxn>
                    <a:cxn ang="0">
                      <a:pos x="141" y="386"/>
                    </a:cxn>
                    <a:cxn ang="0">
                      <a:pos x="142" y="404"/>
                    </a:cxn>
                    <a:cxn ang="0">
                      <a:pos x="169" y="426"/>
                    </a:cxn>
                    <a:cxn ang="0">
                      <a:pos x="175" y="461"/>
                    </a:cxn>
                    <a:cxn ang="0">
                      <a:pos x="258" y="493"/>
                    </a:cxn>
                    <a:cxn ang="0">
                      <a:pos x="286" y="481"/>
                    </a:cxn>
                    <a:cxn ang="0">
                      <a:pos x="319" y="474"/>
                    </a:cxn>
                    <a:cxn ang="0">
                      <a:pos x="343" y="440"/>
                    </a:cxn>
                    <a:cxn ang="0">
                      <a:pos x="350" y="412"/>
                    </a:cxn>
                    <a:cxn ang="0">
                      <a:pos x="363" y="374"/>
                    </a:cxn>
                    <a:cxn ang="0">
                      <a:pos x="385" y="365"/>
                    </a:cxn>
                    <a:cxn ang="0">
                      <a:pos x="402" y="348"/>
                    </a:cxn>
                    <a:cxn ang="0">
                      <a:pos x="410" y="330"/>
                    </a:cxn>
                    <a:cxn ang="0">
                      <a:pos x="419" y="265"/>
                    </a:cxn>
                    <a:cxn ang="0">
                      <a:pos x="403" y="193"/>
                    </a:cxn>
                    <a:cxn ang="0">
                      <a:pos x="438" y="161"/>
                    </a:cxn>
                    <a:cxn ang="0">
                      <a:pos x="430" y="105"/>
                    </a:cxn>
                    <a:cxn ang="0">
                      <a:pos x="397" y="54"/>
                    </a:cxn>
                    <a:cxn ang="0">
                      <a:pos x="375" y="28"/>
                    </a:cxn>
                    <a:cxn ang="0">
                      <a:pos x="365" y="11"/>
                    </a:cxn>
                    <a:cxn ang="0">
                      <a:pos x="318" y="13"/>
                    </a:cxn>
                    <a:cxn ang="0">
                      <a:pos x="250" y="4"/>
                    </a:cxn>
                    <a:cxn ang="0">
                      <a:pos x="235" y="16"/>
                    </a:cxn>
                    <a:cxn ang="0">
                      <a:pos x="219" y="13"/>
                    </a:cxn>
                    <a:cxn ang="0">
                      <a:pos x="201" y="12"/>
                    </a:cxn>
                    <a:cxn ang="0">
                      <a:pos x="169" y="21"/>
                    </a:cxn>
                    <a:cxn ang="0">
                      <a:pos x="151" y="28"/>
                    </a:cxn>
                    <a:cxn ang="0">
                      <a:pos x="129" y="25"/>
                    </a:cxn>
                    <a:cxn ang="0">
                      <a:pos x="97" y="30"/>
                    </a:cxn>
                    <a:cxn ang="0">
                      <a:pos x="66" y="54"/>
                    </a:cxn>
                    <a:cxn ang="0">
                      <a:pos x="38" y="80"/>
                    </a:cxn>
                    <a:cxn ang="0">
                      <a:pos x="62" y="140"/>
                    </a:cxn>
                    <a:cxn ang="0">
                      <a:pos x="57" y="168"/>
                    </a:cxn>
                    <a:cxn ang="0">
                      <a:pos x="45" y="182"/>
                    </a:cxn>
                    <a:cxn ang="0">
                      <a:pos x="17" y="212"/>
                    </a:cxn>
                    <a:cxn ang="0">
                      <a:pos x="0" y="240"/>
                    </a:cxn>
                    <a:cxn ang="0">
                      <a:pos x="31" y="277"/>
                    </a:cxn>
                  </a:cxnLst>
                  <a:rect l="0" t="0" r="r" b="b"/>
                  <a:pathLst>
                    <a:path w="439" h="497">
                      <a:moveTo>
                        <a:pt x="31" y="277"/>
                      </a:moveTo>
                      <a:cubicBezTo>
                        <a:pt x="38" y="281"/>
                        <a:pt x="50" y="266"/>
                        <a:pt x="50" y="266"/>
                      </a:cubicBezTo>
                      <a:cubicBezTo>
                        <a:pt x="85" y="270"/>
                        <a:pt x="85" y="270"/>
                        <a:pt x="85" y="270"/>
                      </a:cubicBezTo>
                      <a:cubicBezTo>
                        <a:pt x="85" y="270"/>
                        <a:pt x="90" y="293"/>
                        <a:pt x="97" y="293"/>
                      </a:cubicBezTo>
                      <a:cubicBezTo>
                        <a:pt x="103" y="293"/>
                        <a:pt x="115" y="294"/>
                        <a:pt x="115" y="294"/>
                      </a:cubicBezTo>
                      <a:cubicBezTo>
                        <a:pt x="110" y="314"/>
                        <a:pt x="110" y="314"/>
                        <a:pt x="110" y="314"/>
                      </a:cubicBezTo>
                      <a:cubicBezTo>
                        <a:pt x="142" y="336"/>
                        <a:pt x="142" y="336"/>
                        <a:pt x="142" y="336"/>
                      </a:cubicBezTo>
                      <a:cubicBezTo>
                        <a:pt x="135" y="337"/>
                        <a:pt x="135" y="337"/>
                        <a:pt x="135" y="337"/>
                      </a:cubicBezTo>
                      <a:cubicBezTo>
                        <a:pt x="135" y="337"/>
                        <a:pt x="149" y="341"/>
                        <a:pt x="149" y="348"/>
                      </a:cubicBezTo>
                      <a:cubicBezTo>
                        <a:pt x="149" y="354"/>
                        <a:pt x="133" y="369"/>
                        <a:pt x="133" y="369"/>
                      </a:cubicBezTo>
                      <a:cubicBezTo>
                        <a:pt x="133" y="380"/>
                        <a:pt x="133" y="380"/>
                        <a:pt x="133" y="380"/>
                      </a:cubicBezTo>
                      <a:cubicBezTo>
                        <a:pt x="141" y="386"/>
                        <a:pt x="141" y="386"/>
                        <a:pt x="141" y="386"/>
                      </a:cubicBezTo>
                      <a:cubicBezTo>
                        <a:pt x="134" y="402"/>
                        <a:pt x="134" y="402"/>
                        <a:pt x="134" y="402"/>
                      </a:cubicBezTo>
                      <a:cubicBezTo>
                        <a:pt x="142" y="404"/>
                        <a:pt x="142" y="404"/>
                        <a:pt x="142" y="404"/>
                      </a:cubicBezTo>
                      <a:cubicBezTo>
                        <a:pt x="138" y="414"/>
                        <a:pt x="138" y="414"/>
                        <a:pt x="138" y="414"/>
                      </a:cubicBezTo>
                      <a:cubicBezTo>
                        <a:pt x="169" y="426"/>
                        <a:pt x="169" y="426"/>
                        <a:pt x="169" y="426"/>
                      </a:cubicBezTo>
                      <a:cubicBezTo>
                        <a:pt x="163" y="436"/>
                        <a:pt x="163" y="436"/>
                        <a:pt x="163" y="436"/>
                      </a:cubicBezTo>
                      <a:cubicBezTo>
                        <a:pt x="175" y="461"/>
                        <a:pt x="175" y="461"/>
                        <a:pt x="175" y="461"/>
                      </a:cubicBezTo>
                      <a:cubicBezTo>
                        <a:pt x="186" y="454"/>
                        <a:pt x="218" y="458"/>
                        <a:pt x="218" y="458"/>
                      </a:cubicBezTo>
                      <a:cubicBezTo>
                        <a:pt x="218" y="458"/>
                        <a:pt x="247" y="489"/>
                        <a:pt x="258" y="493"/>
                      </a:cubicBezTo>
                      <a:cubicBezTo>
                        <a:pt x="269" y="497"/>
                        <a:pt x="283" y="474"/>
                        <a:pt x="283" y="474"/>
                      </a:cubicBezTo>
                      <a:cubicBezTo>
                        <a:pt x="286" y="481"/>
                        <a:pt x="286" y="481"/>
                        <a:pt x="286" y="481"/>
                      </a:cubicBezTo>
                      <a:cubicBezTo>
                        <a:pt x="298" y="476"/>
                        <a:pt x="298" y="476"/>
                        <a:pt x="298" y="476"/>
                      </a:cubicBezTo>
                      <a:cubicBezTo>
                        <a:pt x="319" y="474"/>
                        <a:pt x="319" y="474"/>
                        <a:pt x="319" y="474"/>
                      </a:cubicBezTo>
                      <a:cubicBezTo>
                        <a:pt x="319" y="474"/>
                        <a:pt x="323" y="468"/>
                        <a:pt x="331" y="466"/>
                      </a:cubicBezTo>
                      <a:cubicBezTo>
                        <a:pt x="319" y="444"/>
                        <a:pt x="343" y="440"/>
                        <a:pt x="343" y="440"/>
                      </a:cubicBezTo>
                      <a:cubicBezTo>
                        <a:pt x="342" y="421"/>
                        <a:pt x="342" y="421"/>
                        <a:pt x="342" y="421"/>
                      </a:cubicBezTo>
                      <a:cubicBezTo>
                        <a:pt x="350" y="412"/>
                        <a:pt x="350" y="412"/>
                        <a:pt x="350" y="412"/>
                      </a:cubicBezTo>
                      <a:cubicBezTo>
                        <a:pt x="346" y="401"/>
                        <a:pt x="346" y="401"/>
                        <a:pt x="346" y="401"/>
                      </a:cubicBezTo>
                      <a:cubicBezTo>
                        <a:pt x="363" y="374"/>
                        <a:pt x="363" y="374"/>
                        <a:pt x="363" y="374"/>
                      </a:cubicBezTo>
                      <a:cubicBezTo>
                        <a:pt x="371" y="366"/>
                        <a:pt x="371" y="366"/>
                        <a:pt x="371" y="366"/>
                      </a:cubicBezTo>
                      <a:cubicBezTo>
                        <a:pt x="385" y="365"/>
                        <a:pt x="385" y="365"/>
                        <a:pt x="385" y="365"/>
                      </a:cubicBezTo>
                      <a:cubicBezTo>
                        <a:pt x="385" y="365"/>
                        <a:pt x="378" y="336"/>
                        <a:pt x="385" y="334"/>
                      </a:cubicBezTo>
                      <a:cubicBezTo>
                        <a:pt x="391" y="333"/>
                        <a:pt x="402" y="348"/>
                        <a:pt x="402" y="348"/>
                      </a:cubicBezTo>
                      <a:cubicBezTo>
                        <a:pt x="421" y="342"/>
                        <a:pt x="421" y="342"/>
                        <a:pt x="421" y="342"/>
                      </a:cubicBezTo>
                      <a:cubicBezTo>
                        <a:pt x="410" y="330"/>
                        <a:pt x="410" y="330"/>
                        <a:pt x="410" y="330"/>
                      </a:cubicBezTo>
                      <a:cubicBezTo>
                        <a:pt x="410" y="330"/>
                        <a:pt x="415" y="325"/>
                        <a:pt x="418" y="293"/>
                      </a:cubicBezTo>
                      <a:cubicBezTo>
                        <a:pt x="399" y="269"/>
                        <a:pt x="419" y="265"/>
                        <a:pt x="419" y="265"/>
                      </a:cubicBezTo>
                      <a:cubicBezTo>
                        <a:pt x="419" y="265"/>
                        <a:pt x="426" y="258"/>
                        <a:pt x="403" y="226"/>
                      </a:cubicBezTo>
                      <a:cubicBezTo>
                        <a:pt x="381" y="194"/>
                        <a:pt x="403" y="193"/>
                        <a:pt x="403" y="193"/>
                      </a:cubicBezTo>
                      <a:cubicBezTo>
                        <a:pt x="403" y="193"/>
                        <a:pt x="414" y="208"/>
                        <a:pt x="419" y="185"/>
                      </a:cubicBezTo>
                      <a:cubicBezTo>
                        <a:pt x="425" y="162"/>
                        <a:pt x="438" y="161"/>
                        <a:pt x="438" y="161"/>
                      </a:cubicBezTo>
                      <a:cubicBezTo>
                        <a:pt x="438" y="161"/>
                        <a:pt x="437" y="145"/>
                        <a:pt x="439" y="141"/>
                      </a:cubicBezTo>
                      <a:cubicBezTo>
                        <a:pt x="410" y="118"/>
                        <a:pt x="430" y="105"/>
                        <a:pt x="430" y="105"/>
                      </a:cubicBezTo>
                      <a:cubicBezTo>
                        <a:pt x="411" y="56"/>
                        <a:pt x="411" y="56"/>
                        <a:pt x="411" y="56"/>
                      </a:cubicBezTo>
                      <a:cubicBezTo>
                        <a:pt x="397" y="54"/>
                        <a:pt x="397" y="54"/>
                        <a:pt x="397" y="54"/>
                      </a:cubicBezTo>
                      <a:cubicBezTo>
                        <a:pt x="397" y="54"/>
                        <a:pt x="395" y="45"/>
                        <a:pt x="393" y="44"/>
                      </a:cubicBezTo>
                      <a:cubicBezTo>
                        <a:pt x="354" y="56"/>
                        <a:pt x="375" y="28"/>
                        <a:pt x="375" y="28"/>
                      </a:cubicBezTo>
                      <a:cubicBezTo>
                        <a:pt x="369" y="28"/>
                        <a:pt x="369" y="28"/>
                        <a:pt x="369" y="28"/>
                      </a:cubicBezTo>
                      <a:cubicBezTo>
                        <a:pt x="365" y="11"/>
                        <a:pt x="365" y="11"/>
                        <a:pt x="365" y="11"/>
                      </a:cubicBezTo>
                      <a:cubicBezTo>
                        <a:pt x="365" y="11"/>
                        <a:pt x="365" y="12"/>
                        <a:pt x="365" y="12"/>
                      </a:cubicBezTo>
                      <a:cubicBezTo>
                        <a:pt x="365" y="12"/>
                        <a:pt x="323" y="22"/>
                        <a:pt x="318" y="13"/>
                      </a:cubicBezTo>
                      <a:cubicBezTo>
                        <a:pt x="293" y="0"/>
                        <a:pt x="298" y="9"/>
                        <a:pt x="286" y="12"/>
                      </a:cubicBezTo>
                      <a:cubicBezTo>
                        <a:pt x="274" y="14"/>
                        <a:pt x="250" y="4"/>
                        <a:pt x="250" y="4"/>
                      </a:cubicBezTo>
                      <a:cubicBezTo>
                        <a:pt x="245" y="22"/>
                        <a:pt x="245" y="22"/>
                        <a:pt x="245" y="22"/>
                      </a:cubicBezTo>
                      <a:cubicBezTo>
                        <a:pt x="235" y="16"/>
                        <a:pt x="235" y="16"/>
                        <a:pt x="235" y="16"/>
                      </a:cubicBezTo>
                      <a:cubicBezTo>
                        <a:pt x="222" y="21"/>
                        <a:pt x="222" y="21"/>
                        <a:pt x="222" y="21"/>
                      </a:cubicBezTo>
                      <a:cubicBezTo>
                        <a:pt x="219" y="13"/>
                        <a:pt x="219" y="13"/>
                        <a:pt x="219" y="13"/>
                      </a:cubicBezTo>
                      <a:cubicBezTo>
                        <a:pt x="202" y="24"/>
                        <a:pt x="202" y="24"/>
                        <a:pt x="202" y="24"/>
                      </a:cubicBezTo>
                      <a:cubicBezTo>
                        <a:pt x="201" y="12"/>
                        <a:pt x="201" y="12"/>
                        <a:pt x="201" y="12"/>
                      </a:cubicBezTo>
                      <a:cubicBezTo>
                        <a:pt x="174" y="32"/>
                        <a:pt x="174" y="32"/>
                        <a:pt x="174" y="32"/>
                      </a:cubicBezTo>
                      <a:cubicBezTo>
                        <a:pt x="169" y="21"/>
                        <a:pt x="169" y="21"/>
                        <a:pt x="169" y="21"/>
                      </a:cubicBezTo>
                      <a:cubicBezTo>
                        <a:pt x="151" y="21"/>
                        <a:pt x="151" y="21"/>
                        <a:pt x="151" y="21"/>
                      </a:cubicBezTo>
                      <a:cubicBezTo>
                        <a:pt x="151" y="28"/>
                        <a:pt x="151" y="28"/>
                        <a:pt x="151" y="28"/>
                      </a:cubicBezTo>
                      <a:cubicBezTo>
                        <a:pt x="133" y="30"/>
                        <a:pt x="133" y="30"/>
                        <a:pt x="133" y="30"/>
                      </a:cubicBezTo>
                      <a:cubicBezTo>
                        <a:pt x="129" y="25"/>
                        <a:pt x="129" y="25"/>
                        <a:pt x="129" y="25"/>
                      </a:cubicBezTo>
                      <a:cubicBezTo>
                        <a:pt x="111" y="32"/>
                        <a:pt x="111" y="32"/>
                        <a:pt x="111" y="32"/>
                      </a:cubicBezTo>
                      <a:cubicBezTo>
                        <a:pt x="97" y="30"/>
                        <a:pt x="97" y="30"/>
                        <a:pt x="97" y="30"/>
                      </a:cubicBezTo>
                      <a:cubicBezTo>
                        <a:pt x="85" y="56"/>
                        <a:pt x="85" y="56"/>
                        <a:pt x="85" y="56"/>
                      </a:cubicBezTo>
                      <a:cubicBezTo>
                        <a:pt x="66" y="54"/>
                        <a:pt x="66" y="54"/>
                        <a:pt x="66" y="54"/>
                      </a:cubicBezTo>
                      <a:cubicBezTo>
                        <a:pt x="50" y="70"/>
                        <a:pt x="50" y="70"/>
                        <a:pt x="50" y="70"/>
                      </a:cubicBezTo>
                      <a:cubicBezTo>
                        <a:pt x="38" y="80"/>
                        <a:pt x="38" y="80"/>
                        <a:pt x="38" y="80"/>
                      </a:cubicBezTo>
                      <a:cubicBezTo>
                        <a:pt x="46" y="101"/>
                        <a:pt x="46" y="101"/>
                        <a:pt x="46" y="101"/>
                      </a:cubicBezTo>
                      <a:cubicBezTo>
                        <a:pt x="34" y="141"/>
                        <a:pt x="62" y="140"/>
                        <a:pt x="62" y="140"/>
                      </a:cubicBezTo>
                      <a:cubicBezTo>
                        <a:pt x="69" y="160"/>
                        <a:pt x="69" y="160"/>
                        <a:pt x="69" y="160"/>
                      </a:cubicBezTo>
                      <a:cubicBezTo>
                        <a:pt x="57" y="168"/>
                        <a:pt x="57" y="168"/>
                        <a:pt x="57" y="168"/>
                      </a:cubicBezTo>
                      <a:cubicBezTo>
                        <a:pt x="57" y="168"/>
                        <a:pt x="47" y="165"/>
                        <a:pt x="43" y="164"/>
                      </a:cubicBezTo>
                      <a:cubicBezTo>
                        <a:pt x="39" y="162"/>
                        <a:pt x="45" y="182"/>
                        <a:pt x="45" y="182"/>
                      </a:cubicBezTo>
                      <a:cubicBezTo>
                        <a:pt x="37" y="208"/>
                        <a:pt x="37" y="208"/>
                        <a:pt x="37" y="208"/>
                      </a:cubicBezTo>
                      <a:cubicBezTo>
                        <a:pt x="17" y="212"/>
                        <a:pt x="17" y="212"/>
                        <a:pt x="17" y="212"/>
                      </a:cubicBezTo>
                      <a:cubicBezTo>
                        <a:pt x="17" y="220"/>
                        <a:pt x="17" y="220"/>
                        <a:pt x="17" y="220"/>
                      </a:cubicBezTo>
                      <a:cubicBezTo>
                        <a:pt x="0" y="240"/>
                        <a:pt x="0" y="240"/>
                        <a:pt x="0" y="240"/>
                      </a:cubicBezTo>
                      <a:cubicBezTo>
                        <a:pt x="18" y="243"/>
                        <a:pt x="31" y="249"/>
                        <a:pt x="31" y="249"/>
                      </a:cubicBezTo>
                      <a:cubicBezTo>
                        <a:pt x="31" y="249"/>
                        <a:pt x="25" y="273"/>
                        <a:pt x="31" y="2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94" name="Auvergne" descr="© INSCALE GmbH, 05.05.2010&#10;http://www.presentationload.com/">
                  <a:extLst>
                    <a:ext uri="{FF2B5EF4-FFF2-40B4-BE49-F238E27FC236}">
                      <a16:creationId xmlns:a16="http://schemas.microsoft.com/office/drawing/2014/main" id="{789153CF-18A3-473F-AB79-23B37DEBB309}"/>
                    </a:ext>
                  </a:extLst>
                </p:cNvPr>
                <p:cNvSpPr>
                  <a:spLocks/>
                </p:cNvSpPr>
                <p:nvPr/>
              </p:nvSpPr>
              <p:spPr bwMode="gray">
                <a:xfrm>
                  <a:off x="1704" y="1640"/>
                  <a:ext cx="593" cy="753"/>
                </a:xfrm>
                <a:custGeom>
                  <a:avLst/>
                  <a:gdLst/>
                  <a:ahLst/>
                  <a:cxnLst>
                    <a:cxn ang="0">
                      <a:pos x="15" y="669"/>
                    </a:cxn>
                    <a:cxn ang="0">
                      <a:pos x="31" y="697"/>
                    </a:cxn>
                    <a:cxn ang="0">
                      <a:pos x="60" y="689"/>
                    </a:cxn>
                    <a:cxn ang="0">
                      <a:pos x="111" y="665"/>
                    </a:cxn>
                    <a:cxn ang="0">
                      <a:pos x="122" y="617"/>
                    </a:cxn>
                    <a:cxn ang="0">
                      <a:pos x="186" y="636"/>
                    </a:cxn>
                    <a:cxn ang="0">
                      <a:pos x="218" y="663"/>
                    </a:cxn>
                    <a:cxn ang="0">
                      <a:pos x="231" y="607"/>
                    </a:cxn>
                    <a:cxn ang="0">
                      <a:pos x="266" y="611"/>
                    </a:cxn>
                    <a:cxn ang="0">
                      <a:pos x="266" y="603"/>
                    </a:cxn>
                    <a:cxn ang="0">
                      <a:pos x="318" y="635"/>
                    </a:cxn>
                    <a:cxn ang="0">
                      <a:pos x="378" y="629"/>
                    </a:cxn>
                    <a:cxn ang="0">
                      <a:pos x="424" y="628"/>
                    </a:cxn>
                    <a:cxn ang="0">
                      <a:pos x="472" y="612"/>
                    </a:cxn>
                    <a:cxn ang="0">
                      <a:pos x="504" y="560"/>
                    </a:cxn>
                    <a:cxn ang="0">
                      <a:pos x="522" y="535"/>
                    </a:cxn>
                    <a:cxn ang="0">
                      <a:pos x="536" y="517"/>
                    </a:cxn>
                    <a:cxn ang="0">
                      <a:pos x="507" y="467"/>
                    </a:cxn>
                    <a:cxn ang="0">
                      <a:pos x="450" y="463"/>
                    </a:cxn>
                    <a:cxn ang="0">
                      <a:pos x="430" y="449"/>
                    </a:cxn>
                    <a:cxn ang="0">
                      <a:pos x="408" y="445"/>
                    </a:cxn>
                    <a:cxn ang="0">
                      <a:pos x="364" y="320"/>
                    </a:cxn>
                    <a:cxn ang="0">
                      <a:pos x="362" y="273"/>
                    </a:cxn>
                    <a:cxn ang="0">
                      <a:pos x="386" y="217"/>
                    </a:cxn>
                    <a:cxn ang="0">
                      <a:pos x="378" y="176"/>
                    </a:cxn>
                    <a:cxn ang="0">
                      <a:pos x="411" y="159"/>
                    </a:cxn>
                    <a:cxn ang="0">
                      <a:pos x="424" y="101"/>
                    </a:cxn>
                    <a:cxn ang="0">
                      <a:pos x="370" y="81"/>
                    </a:cxn>
                    <a:cxn ang="0">
                      <a:pos x="327" y="32"/>
                    </a:cxn>
                    <a:cxn ang="0">
                      <a:pos x="306" y="31"/>
                    </a:cxn>
                    <a:cxn ang="0">
                      <a:pos x="263" y="25"/>
                    </a:cxn>
                    <a:cxn ang="0">
                      <a:pos x="171" y="23"/>
                    </a:cxn>
                    <a:cxn ang="0">
                      <a:pos x="115" y="49"/>
                    </a:cxn>
                    <a:cxn ang="0">
                      <a:pos x="46" y="118"/>
                    </a:cxn>
                    <a:cxn ang="0">
                      <a:pos x="74" y="151"/>
                    </a:cxn>
                    <a:cxn ang="0">
                      <a:pos x="111" y="212"/>
                    </a:cxn>
                    <a:cxn ang="0">
                      <a:pos x="100" y="292"/>
                    </a:cxn>
                    <a:cxn ang="0">
                      <a:pos x="100" y="372"/>
                    </a:cxn>
                    <a:cxn ang="0">
                      <a:pos x="102" y="449"/>
                    </a:cxn>
                    <a:cxn ang="0">
                      <a:pos x="66" y="472"/>
                    </a:cxn>
                    <a:cxn ang="0">
                      <a:pos x="27" y="508"/>
                    </a:cxn>
                    <a:cxn ang="0">
                      <a:pos x="24" y="547"/>
                    </a:cxn>
                    <a:cxn ang="0">
                      <a:pos x="4" y="608"/>
                    </a:cxn>
                  </a:cxnLst>
                  <a:rect l="0" t="0" r="r" b="b"/>
                  <a:pathLst>
                    <a:path w="550" h="697">
                      <a:moveTo>
                        <a:pt x="4" y="608"/>
                      </a:moveTo>
                      <a:cubicBezTo>
                        <a:pt x="20" y="635"/>
                        <a:pt x="20" y="635"/>
                        <a:pt x="20" y="635"/>
                      </a:cubicBezTo>
                      <a:cubicBezTo>
                        <a:pt x="15" y="669"/>
                        <a:pt x="15" y="669"/>
                        <a:pt x="15" y="669"/>
                      </a:cubicBezTo>
                      <a:cubicBezTo>
                        <a:pt x="24" y="675"/>
                        <a:pt x="24" y="675"/>
                        <a:pt x="24" y="675"/>
                      </a:cubicBezTo>
                      <a:cubicBezTo>
                        <a:pt x="26" y="691"/>
                        <a:pt x="26" y="691"/>
                        <a:pt x="26" y="691"/>
                      </a:cubicBezTo>
                      <a:cubicBezTo>
                        <a:pt x="31" y="697"/>
                        <a:pt x="31" y="697"/>
                        <a:pt x="31" y="697"/>
                      </a:cubicBezTo>
                      <a:cubicBezTo>
                        <a:pt x="30" y="685"/>
                        <a:pt x="30" y="685"/>
                        <a:pt x="30" y="685"/>
                      </a:cubicBezTo>
                      <a:cubicBezTo>
                        <a:pt x="59" y="684"/>
                        <a:pt x="59" y="684"/>
                        <a:pt x="59" y="684"/>
                      </a:cubicBezTo>
                      <a:cubicBezTo>
                        <a:pt x="60" y="689"/>
                        <a:pt x="60" y="689"/>
                        <a:pt x="60" y="689"/>
                      </a:cubicBezTo>
                      <a:cubicBezTo>
                        <a:pt x="94" y="687"/>
                        <a:pt x="94" y="687"/>
                        <a:pt x="94" y="687"/>
                      </a:cubicBezTo>
                      <a:cubicBezTo>
                        <a:pt x="98" y="675"/>
                        <a:pt x="98" y="675"/>
                        <a:pt x="98" y="675"/>
                      </a:cubicBezTo>
                      <a:cubicBezTo>
                        <a:pt x="111" y="665"/>
                        <a:pt x="111" y="665"/>
                        <a:pt x="111" y="665"/>
                      </a:cubicBezTo>
                      <a:cubicBezTo>
                        <a:pt x="112" y="645"/>
                        <a:pt x="112" y="645"/>
                        <a:pt x="112" y="645"/>
                      </a:cubicBezTo>
                      <a:cubicBezTo>
                        <a:pt x="120" y="639"/>
                        <a:pt x="120" y="639"/>
                        <a:pt x="120" y="639"/>
                      </a:cubicBezTo>
                      <a:cubicBezTo>
                        <a:pt x="122" y="617"/>
                        <a:pt x="122" y="617"/>
                        <a:pt x="122" y="617"/>
                      </a:cubicBezTo>
                      <a:cubicBezTo>
                        <a:pt x="122" y="617"/>
                        <a:pt x="122" y="624"/>
                        <a:pt x="131" y="616"/>
                      </a:cubicBezTo>
                      <a:cubicBezTo>
                        <a:pt x="157" y="579"/>
                        <a:pt x="163" y="607"/>
                        <a:pt x="161" y="614"/>
                      </a:cubicBezTo>
                      <a:cubicBezTo>
                        <a:pt x="172" y="606"/>
                        <a:pt x="186" y="636"/>
                        <a:pt x="186" y="636"/>
                      </a:cubicBezTo>
                      <a:cubicBezTo>
                        <a:pt x="195" y="647"/>
                        <a:pt x="195" y="647"/>
                        <a:pt x="195" y="647"/>
                      </a:cubicBezTo>
                      <a:cubicBezTo>
                        <a:pt x="204" y="687"/>
                        <a:pt x="204" y="687"/>
                        <a:pt x="204" y="687"/>
                      </a:cubicBezTo>
                      <a:cubicBezTo>
                        <a:pt x="218" y="663"/>
                        <a:pt x="218" y="663"/>
                        <a:pt x="218" y="663"/>
                      </a:cubicBezTo>
                      <a:cubicBezTo>
                        <a:pt x="224" y="636"/>
                        <a:pt x="224" y="636"/>
                        <a:pt x="224" y="636"/>
                      </a:cubicBezTo>
                      <a:cubicBezTo>
                        <a:pt x="232" y="627"/>
                        <a:pt x="232" y="627"/>
                        <a:pt x="232" y="627"/>
                      </a:cubicBezTo>
                      <a:cubicBezTo>
                        <a:pt x="231" y="607"/>
                        <a:pt x="231" y="607"/>
                        <a:pt x="231" y="607"/>
                      </a:cubicBezTo>
                      <a:cubicBezTo>
                        <a:pt x="240" y="603"/>
                        <a:pt x="240" y="603"/>
                        <a:pt x="240" y="603"/>
                      </a:cubicBezTo>
                      <a:cubicBezTo>
                        <a:pt x="248" y="616"/>
                        <a:pt x="248" y="616"/>
                        <a:pt x="248" y="616"/>
                      </a:cubicBezTo>
                      <a:cubicBezTo>
                        <a:pt x="266" y="611"/>
                        <a:pt x="266" y="611"/>
                        <a:pt x="266" y="611"/>
                      </a:cubicBezTo>
                      <a:cubicBezTo>
                        <a:pt x="266" y="603"/>
                        <a:pt x="266" y="603"/>
                        <a:pt x="266" y="603"/>
                      </a:cubicBezTo>
                      <a:cubicBezTo>
                        <a:pt x="263" y="603"/>
                        <a:pt x="267" y="593"/>
                        <a:pt x="267" y="593"/>
                      </a:cubicBezTo>
                      <a:cubicBezTo>
                        <a:pt x="266" y="603"/>
                        <a:pt x="266" y="603"/>
                        <a:pt x="266" y="603"/>
                      </a:cubicBezTo>
                      <a:cubicBezTo>
                        <a:pt x="267" y="603"/>
                        <a:pt x="269" y="602"/>
                        <a:pt x="271" y="600"/>
                      </a:cubicBezTo>
                      <a:cubicBezTo>
                        <a:pt x="282" y="591"/>
                        <a:pt x="300" y="584"/>
                        <a:pt x="300" y="584"/>
                      </a:cubicBezTo>
                      <a:cubicBezTo>
                        <a:pt x="318" y="635"/>
                        <a:pt x="318" y="635"/>
                        <a:pt x="318" y="635"/>
                      </a:cubicBezTo>
                      <a:cubicBezTo>
                        <a:pt x="318" y="635"/>
                        <a:pt x="318" y="635"/>
                        <a:pt x="342" y="627"/>
                      </a:cubicBezTo>
                      <a:cubicBezTo>
                        <a:pt x="346" y="600"/>
                        <a:pt x="356" y="624"/>
                        <a:pt x="356" y="624"/>
                      </a:cubicBezTo>
                      <a:cubicBezTo>
                        <a:pt x="378" y="629"/>
                        <a:pt x="378" y="629"/>
                        <a:pt x="378" y="629"/>
                      </a:cubicBezTo>
                      <a:cubicBezTo>
                        <a:pt x="399" y="655"/>
                        <a:pt x="399" y="655"/>
                        <a:pt x="399" y="655"/>
                      </a:cubicBezTo>
                      <a:cubicBezTo>
                        <a:pt x="424" y="644"/>
                        <a:pt x="424" y="644"/>
                        <a:pt x="424" y="644"/>
                      </a:cubicBezTo>
                      <a:cubicBezTo>
                        <a:pt x="424" y="628"/>
                        <a:pt x="424" y="628"/>
                        <a:pt x="424" y="628"/>
                      </a:cubicBezTo>
                      <a:cubicBezTo>
                        <a:pt x="443" y="619"/>
                        <a:pt x="443" y="619"/>
                        <a:pt x="443" y="619"/>
                      </a:cubicBezTo>
                      <a:cubicBezTo>
                        <a:pt x="444" y="613"/>
                        <a:pt x="444" y="613"/>
                        <a:pt x="444" y="613"/>
                      </a:cubicBezTo>
                      <a:cubicBezTo>
                        <a:pt x="472" y="612"/>
                        <a:pt x="472" y="612"/>
                        <a:pt x="472" y="612"/>
                      </a:cubicBezTo>
                      <a:cubicBezTo>
                        <a:pt x="484" y="584"/>
                        <a:pt x="484" y="584"/>
                        <a:pt x="484" y="584"/>
                      </a:cubicBezTo>
                      <a:cubicBezTo>
                        <a:pt x="504" y="580"/>
                        <a:pt x="504" y="580"/>
                        <a:pt x="504" y="580"/>
                      </a:cubicBezTo>
                      <a:cubicBezTo>
                        <a:pt x="504" y="560"/>
                        <a:pt x="504" y="560"/>
                        <a:pt x="504" y="560"/>
                      </a:cubicBezTo>
                      <a:cubicBezTo>
                        <a:pt x="519" y="560"/>
                        <a:pt x="519" y="560"/>
                        <a:pt x="519" y="560"/>
                      </a:cubicBezTo>
                      <a:cubicBezTo>
                        <a:pt x="519" y="560"/>
                        <a:pt x="512" y="548"/>
                        <a:pt x="512" y="544"/>
                      </a:cubicBezTo>
                      <a:cubicBezTo>
                        <a:pt x="512" y="540"/>
                        <a:pt x="522" y="535"/>
                        <a:pt x="522" y="535"/>
                      </a:cubicBezTo>
                      <a:cubicBezTo>
                        <a:pt x="519" y="523"/>
                        <a:pt x="519" y="523"/>
                        <a:pt x="519" y="523"/>
                      </a:cubicBezTo>
                      <a:cubicBezTo>
                        <a:pt x="533" y="534"/>
                        <a:pt x="533" y="534"/>
                        <a:pt x="533" y="534"/>
                      </a:cubicBezTo>
                      <a:cubicBezTo>
                        <a:pt x="532" y="533"/>
                        <a:pt x="532" y="529"/>
                        <a:pt x="536" y="517"/>
                      </a:cubicBezTo>
                      <a:cubicBezTo>
                        <a:pt x="550" y="468"/>
                        <a:pt x="519" y="489"/>
                        <a:pt x="519" y="489"/>
                      </a:cubicBezTo>
                      <a:cubicBezTo>
                        <a:pt x="512" y="471"/>
                        <a:pt x="512" y="471"/>
                        <a:pt x="512" y="471"/>
                      </a:cubicBezTo>
                      <a:cubicBezTo>
                        <a:pt x="507" y="467"/>
                        <a:pt x="507" y="467"/>
                        <a:pt x="507" y="467"/>
                      </a:cubicBezTo>
                      <a:cubicBezTo>
                        <a:pt x="520" y="456"/>
                        <a:pt x="495" y="459"/>
                        <a:pt x="488" y="449"/>
                      </a:cubicBezTo>
                      <a:cubicBezTo>
                        <a:pt x="482" y="440"/>
                        <a:pt x="452" y="455"/>
                        <a:pt x="452" y="455"/>
                      </a:cubicBezTo>
                      <a:cubicBezTo>
                        <a:pt x="450" y="463"/>
                        <a:pt x="450" y="463"/>
                        <a:pt x="450" y="463"/>
                      </a:cubicBezTo>
                      <a:cubicBezTo>
                        <a:pt x="444" y="456"/>
                        <a:pt x="444" y="456"/>
                        <a:pt x="444" y="456"/>
                      </a:cubicBezTo>
                      <a:cubicBezTo>
                        <a:pt x="434" y="461"/>
                        <a:pt x="434" y="461"/>
                        <a:pt x="434" y="461"/>
                      </a:cubicBezTo>
                      <a:cubicBezTo>
                        <a:pt x="430" y="449"/>
                        <a:pt x="430" y="449"/>
                        <a:pt x="430" y="449"/>
                      </a:cubicBezTo>
                      <a:cubicBezTo>
                        <a:pt x="418" y="449"/>
                        <a:pt x="418" y="449"/>
                        <a:pt x="418" y="449"/>
                      </a:cubicBezTo>
                      <a:cubicBezTo>
                        <a:pt x="412" y="468"/>
                        <a:pt x="412" y="468"/>
                        <a:pt x="412" y="468"/>
                      </a:cubicBezTo>
                      <a:cubicBezTo>
                        <a:pt x="408" y="445"/>
                        <a:pt x="408" y="445"/>
                        <a:pt x="408" y="445"/>
                      </a:cubicBezTo>
                      <a:cubicBezTo>
                        <a:pt x="408" y="445"/>
                        <a:pt x="422" y="439"/>
                        <a:pt x="424" y="432"/>
                      </a:cubicBezTo>
                      <a:cubicBezTo>
                        <a:pt x="436" y="412"/>
                        <a:pt x="396" y="376"/>
                        <a:pt x="391" y="376"/>
                      </a:cubicBezTo>
                      <a:cubicBezTo>
                        <a:pt x="387" y="356"/>
                        <a:pt x="364" y="320"/>
                        <a:pt x="364" y="320"/>
                      </a:cubicBezTo>
                      <a:cubicBezTo>
                        <a:pt x="366" y="292"/>
                        <a:pt x="366" y="292"/>
                        <a:pt x="366" y="292"/>
                      </a:cubicBezTo>
                      <a:cubicBezTo>
                        <a:pt x="374" y="289"/>
                        <a:pt x="374" y="289"/>
                        <a:pt x="374" y="289"/>
                      </a:cubicBezTo>
                      <a:cubicBezTo>
                        <a:pt x="362" y="273"/>
                        <a:pt x="362" y="273"/>
                        <a:pt x="362" y="273"/>
                      </a:cubicBezTo>
                      <a:cubicBezTo>
                        <a:pt x="362" y="261"/>
                        <a:pt x="362" y="261"/>
                        <a:pt x="362" y="261"/>
                      </a:cubicBezTo>
                      <a:cubicBezTo>
                        <a:pt x="387" y="252"/>
                        <a:pt x="387" y="252"/>
                        <a:pt x="387" y="252"/>
                      </a:cubicBezTo>
                      <a:cubicBezTo>
                        <a:pt x="386" y="217"/>
                        <a:pt x="386" y="217"/>
                        <a:pt x="386" y="217"/>
                      </a:cubicBezTo>
                      <a:cubicBezTo>
                        <a:pt x="379" y="204"/>
                        <a:pt x="379" y="204"/>
                        <a:pt x="379" y="204"/>
                      </a:cubicBezTo>
                      <a:cubicBezTo>
                        <a:pt x="383" y="189"/>
                        <a:pt x="383" y="189"/>
                        <a:pt x="383" y="189"/>
                      </a:cubicBezTo>
                      <a:cubicBezTo>
                        <a:pt x="378" y="176"/>
                        <a:pt x="378" y="176"/>
                        <a:pt x="378" y="176"/>
                      </a:cubicBezTo>
                      <a:cubicBezTo>
                        <a:pt x="403" y="165"/>
                        <a:pt x="403" y="165"/>
                        <a:pt x="403" y="165"/>
                      </a:cubicBezTo>
                      <a:cubicBezTo>
                        <a:pt x="403" y="156"/>
                        <a:pt x="403" y="156"/>
                        <a:pt x="403" y="156"/>
                      </a:cubicBezTo>
                      <a:cubicBezTo>
                        <a:pt x="411" y="159"/>
                        <a:pt x="411" y="159"/>
                        <a:pt x="411" y="159"/>
                      </a:cubicBezTo>
                      <a:cubicBezTo>
                        <a:pt x="416" y="145"/>
                        <a:pt x="416" y="145"/>
                        <a:pt x="416" y="145"/>
                      </a:cubicBezTo>
                      <a:cubicBezTo>
                        <a:pt x="423" y="145"/>
                        <a:pt x="423" y="145"/>
                        <a:pt x="423" y="145"/>
                      </a:cubicBezTo>
                      <a:cubicBezTo>
                        <a:pt x="423" y="145"/>
                        <a:pt x="423" y="116"/>
                        <a:pt x="424" y="101"/>
                      </a:cubicBezTo>
                      <a:cubicBezTo>
                        <a:pt x="426" y="87"/>
                        <a:pt x="398" y="97"/>
                        <a:pt x="398" y="97"/>
                      </a:cubicBezTo>
                      <a:cubicBezTo>
                        <a:pt x="387" y="84"/>
                        <a:pt x="387" y="84"/>
                        <a:pt x="387" y="84"/>
                      </a:cubicBezTo>
                      <a:cubicBezTo>
                        <a:pt x="370" y="81"/>
                        <a:pt x="370" y="81"/>
                        <a:pt x="370" y="81"/>
                      </a:cubicBezTo>
                      <a:cubicBezTo>
                        <a:pt x="366" y="63"/>
                        <a:pt x="366" y="63"/>
                        <a:pt x="366" y="63"/>
                      </a:cubicBezTo>
                      <a:cubicBezTo>
                        <a:pt x="366" y="63"/>
                        <a:pt x="336" y="12"/>
                        <a:pt x="332" y="8"/>
                      </a:cubicBezTo>
                      <a:cubicBezTo>
                        <a:pt x="328" y="4"/>
                        <a:pt x="327" y="32"/>
                        <a:pt x="327" y="32"/>
                      </a:cubicBezTo>
                      <a:cubicBezTo>
                        <a:pt x="318" y="31"/>
                        <a:pt x="318" y="31"/>
                        <a:pt x="318" y="31"/>
                      </a:cubicBezTo>
                      <a:cubicBezTo>
                        <a:pt x="306" y="45"/>
                        <a:pt x="306" y="45"/>
                        <a:pt x="306" y="45"/>
                      </a:cubicBezTo>
                      <a:cubicBezTo>
                        <a:pt x="306" y="31"/>
                        <a:pt x="306" y="31"/>
                        <a:pt x="306" y="31"/>
                      </a:cubicBezTo>
                      <a:cubicBezTo>
                        <a:pt x="294" y="24"/>
                        <a:pt x="294" y="24"/>
                        <a:pt x="294" y="24"/>
                      </a:cubicBezTo>
                      <a:cubicBezTo>
                        <a:pt x="294" y="24"/>
                        <a:pt x="283" y="32"/>
                        <a:pt x="279" y="32"/>
                      </a:cubicBezTo>
                      <a:cubicBezTo>
                        <a:pt x="275" y="32"/>
                        <a:pt x="267" y="25"/>
                        <a:pt x="263" y="25"/>
                      </a:cubicBezTo>
                      <a:cubicBezTo>
                        <a:pt x="259" y="25"/>
                        <a:pt x="254" y="36"/>
                        <a:pt x="244" y="35"/>
                      </a:cubicBezTo>
                      <a:cubicBezTo>
                        <a:pt x="236" y="34"/>
                        <a:pt x="220" y="9"/>
                        <a:pt x="213" y="1"/>
                      </a:cubicBezTo>
                      <a:cubicBezTo>
                        <a:pt x="188" y="0"/>
                        <a:pt x="178" y="8"/>
                        <a:pt x="171" y="23"/>
                      </a:cubicBezTo>
                      <a:cubicBezTo>
                        <a:pt x="163" y="39"/>
                        <a:pt x="148" y="17"/>
                        <a:pt x="144" y="17"/>
                      </a:cubicBezTo>
                      <a:cubicBezTo>
                        <a:pt x="140" y="17"/>
                        <a:pt x="122" y="36"/>
                        <a:pt x="122" y="36"/>
                      </a:cubicBezTo>
                      <a:cubicBezTo>
                        <a:pt x="122" y="36"/>
                        <a:pt x="122" y="44"/>
                        <a:pt x="115" y="49"/>
                      </a:cubicBezTo>
                      <a:cubicBezTo>
                        <a:pt x="108" y="55"/>
                        <a:pt x="118" y="77"/>
                        <a:pt x="118" y="77"/>
                      </a:cubicBezTo>
                      <a:cubicBezTo>
                        <a:pt x="118" y="77"/>
                        <a:pt x="118" y="77"/>
                        <a:pt x="102" y="88"/>
                      </a:cubicBezTo>
                      <a:cubicBezTo>
                        <a:pt x="72" y="77"/>
                        <a:pt x="50" y="111"/>
                        <a:pt x="46" y="118"/>
                      </a:cubicBezTo>
                      <a:cubicBezTo>
                        <a:pt x="50" y="135"/>
                        <a:pt x="50" y="135"/>
                        <a:pt x="50" y="135"/>
                      </a:cubicBezTo>
                      <a:cubicBezTo>
                        <a:pt x="56" y="135"/>
                        <a:pt x="56" y="135"/>
                        <a:pt x="56" y="135"/>
                      </a:cubicBezTo>
                      <a:cubicBezTo>
                        <a:pt x="56" y="135"/>
                        <a:pt x="35" y="163"/>
                        <a:pt x="74" y="151"/>
                      </a:cubicBezTo>
                      <a:cubicBezTo>
                        <a:pt x="76" y="152"/>
                        <a:pt x="78" y="161"/>
                        <a:pt x="78" y="161"/>
                      </a:cubicBezTo>
                      <a:cubicBezTo>
                        <a:pt x="92" y="163"/>
                        <a:pt x="92" y="163"/>
                        <a:pt x="92" y="163"/>
                      </a:cubicBezTo>
                      <a:cubicBezTo>
                        <a:pt x="111" y="212"/>
                        <a:pt x="111" y="212"/>
                        <a:pt x="111" y="212"/>
                      </a:cubicBezTo>
                      <a:cubicBezTo>
                        <a:pt x="111" y="212"/>
                        <a:pt x="91" y="225"/>
                        <a:pt x="120" y="248"/>
                      </a:cubicBezTo>
                      <a:cubicBezTo>
                        <a:pt x="118" y="252"/>
                        <a:pt x="119" y="268"/>
                        <a:pt x="119" y="268"/>
                      </a:cubicBezTo>
                      <a:cubicBezTo>
                        <a:pt x="119" y="268"/>
                        <a:pt x="106" y="269"/>
                        <a:pt x="100" y="292"/>
                      </a:cubicBezTo>
                      <a:cubicBezTo>
                        <a:pt x="95" y="315"/>
                        <a:pt x="84" y="300"/>
                        <a:pt x="84" y="300"/>
                      </a:cubicBezTo>
                      <a:cubicBezTo>
                        <a:pt x="84" y="300"/>
                        <a:pt x="62" y="301"/>
                        <a:pt x="84" y="333"/>
                      </a:cubicBezTo>
                      <a:cubicBezTo>
                        <a:pt x="107" y="365"/>
                        <a:pt x="100" y="372"/>
                        <a:pt x="100" y="372"/>
                      </a:cubicBezTo>
                      <a:cubicBezTo>
                        <a:pt x="100" y="372"/>
                        <a:pt x="80" y="376"/>
                        <a:pt x="99" y="400"/>
                      </a:cubicBezTo>
                      <a:cubicBezTo>
                        <a:pt x="96" y="432"/>
                        <a:pt x="91" y="437"/>
                        <a:pt x="91" y="437"/>
                      </a:cubicBezTo>
                      <a:cubicBezTo>
                        <a:pt x="102" y="449"/>
                        <a:pt x="102" y="449"/>
                        <a:pt x="102" y="449"/>
                      </a:cubicBezTo>
                      <a:cubicBezTo>
                        <a:pt x="83" y="455"/>
                        <a:pt x="83" y="455"/>
                        <a:pt x="83" y="455"/>
                      </a:cubicBezTo>
                      <a:cubicBezTo>
                        <a:pt x="83" y="455"/>
                        <a:pt x="72" y="440"/>
                        <a:pt x="66" y="441"/>
                      </a:cubicBezTo>
                      <a:cubicBezTo>
                        <a:pt x="59" y="443"/>
                        <a:pt x="66" y="472"/>
                        <a:pt x="66" y="472"/>
                      </a:cubicBezTo>
                      <a:cubicBezTo>
                        <a:pt x="52" y="473"/>
                        <a:pt x="52" y="473"/>
                        <a:pt x="52" y="473"/>
                      </a:cubicBezTo>
                      <a:cubicBezTo>
                        <a:pt x="44" y="481"/>
                        <a:pt x="44" y="481"/>
                        <a:pt x="44" y="481"/>
                      </a:cubicBezTo>
                      <a:cubicBezTo>
                        <a:pt x="27" y="508"/>
                        <a:pt x="27" y="508"/>
                        <a:pt x="27" y="508"/>
                      </a:cubicBezTo>
                      <a:cubicBezTo>
                        <a:pt x="31" y="519"/>
                        <a:pt x="31" y="519"/>
                        <a:pt x="31" y="519"/>
                      </a:cubicBezTo>
                      <a:cubicBezTo>
                        <a:pt x="23" y="528"/>
                        <a:pt x="23" y="528"/>
                        <a:pt x="23" y="528"/>
                      </a:cubicBezTo>
                      <a:cubicBezTo>
                        <a:pt x="24" y="547"/>
                        <a:pt x="24" y="547"/>
                        <a:pt x="24" y="547"/>
                      </a:cubicBezTo>
                      <a:cubicBezTo>
                        <a:pt x="24" y="547"/>
                        <a:pt x="0" y="551"/>
                        <a:pt x="12" y="573"/>
                      </a:cubicBezTo>
                      <a:cubicBezTo>
                        <a:pt x="8" y="574"/>
                        <a:pt x="5" y="576"/>
                        <a:pt x="3" y="578"/>
                      </a:cubicBezTo>
                      <a:cubicBezTo>
                        <a:pt x="6" y="591"/>
                        <a:pt x="4" y="608"/>
                        <a:pt x="4" y="608"/>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95" name="Provence" descr="© INSCALE GmbH, 05.05.2010&#10;http://www.presentationload.com/">
                  <a:extLst>
                    <a:ext uri="{FF2B5EF4-FFF2-40B4-BE49-F238E27FC236}">
                      <a16:creationId xmlns:a16="http://schemas.microsoft.com/office/drawing/2014/main" id="{E7708C19-BF5C-4D4A-97B6-2C53F4C7E609}"/>
                    </a:ext>
                  </a:extLst>
                </p:cNvPr>
                <p:cNvSpPr>
                  <a:spLocks/>
                </p:cNvSpPr>
                <p:nvPr/>
              </p:nvSpPr>
              <p:spPr bwMode="gray">
                <a:xfrm>
                  <a:off x="2233" y="2198"/>
                  <a:ext cx="838" cy="739"/>
                </a:xfrm>
                <a:custGeom>
                  <a:avLst/>
                  <a:gdLst/>
                  <a:ahLst/>
                  <a:cxnLst>
                    <a:cxn ang="0">
                      <a:pos x="68" y="539"/>
                    </a:cxn>
                    <a:cxn ang="0">
                      <a:pos x="78" y="572"/>
                    </a:cxn>
                    <a:cxn ang="0">
                      <a:pos x="129" y="586"/>
                    </a:cxn>
                    <a:cxn ang="0">
                      <a:pos x="134" y="565"/>
                    </a:cxn>
                    <a:cxn ang="0">
                      <a:pos x="161" y="554"/>
                    </a:cxn>
                    <a:cxn ang="0">
                      <a:pos x="214" y="585"/>
                    </a:cxn>
                    <a:cxn ang="0">
                      <a:pos x="251" y="596"/>
                    </a:cxn>
                    <a:cxn ang="0">
                      <a:pos x="255" y="612"/>
                    </a:cxn>
                    <a:cxn ang="0">
                      <a:pos x="295" y="632"/>
                    </a:cxn>
                    <a:cxn ang="0">
                      <a:pos x="332" y="649"/>
                    </a:cxn>
                    <a:cxn ang="0">
                      <a:pos x="364" y="684"/>
                    </a:cxn>
                    <a:cxn ang="0">
                      <a:pos x="407" y="679"/>
                    </a:cxn>
                    <a:cxn ang="0">
                      <a:pos x="426" y="679"/>
                    </a:cxn>
                    <a:cxn ang="0">
                      <a:pos x="465" y="665"/>
                    </a:cxn>
                    <a:cxn ang="0">
                      <a:pos x="526" y="641"/>
                    </a:cxn>
                    <a:cxn ang="0">
                      <a:pos x="549" y="634"/>
                    </a:cxn>
                    <a:cxn ang="0">
                      <a:pos x="532" y="604"/>
                    </a:cxn>
                    <a:cxn ang="0">
                      <a:pos x="569" y="558"/>
                    </a:cxn>
                    <a:cxn ang="0">
                      <a:pos x="631" y="523"/>
                    </a:cxn>
                    <a:cxn ang="0">
                      <a:pos x="667" y="477"/>
                    </a:cxn>
                    <a:cxn ang="0">
                      <a:pos x="691" y="466"/>
                    </a:cxn>
                    <a:cxn ang="0">
                      <a:pos x="715" y="460"/>
                    </a:cxn>
                    <a:cxn ang="0">
                      <a:pos x="723" y="445"/>
                    </a:cxn>
                    <a:cxn ang="0">
                      <a:pos x="727" y="410"/>
                    </a:cxn>
                    <a:cxn ang="0">
                      <a:pos x="749" y="384"/>
                    </a:cxn>
                    <a:cxn ang="0">
                      <a:pos x="764" y="325"/>
                    </a:cxn>
                    <a:cxn ang="0">
                      <a:pos x="758" y="308"/>
                    </a:cxn>
                    <a:cxn ang="0">
                      <a:pos x="725" y="323"/>
                    </a:cxn>
                    <a:cxn ang="0">
                      <a:pos x="630" y="285"/>
                    </a:cxn>
                    <a:cxn ang="0">
                      <a:pos x="612" y="282"/>
                    </a:cxn>
                    <a:cxn ang="0">
                      <a:pos x="589" y="238"/>
                    </a:cxn>
                    <a:cxn ang="0">
                      <a:pos x="579" y="182"/>
                    </a:cxn>
                    <a:cxn ang="0">
                      <a:pos x="609" y="133"/>
                    </a:cxn>
                    <a:cxn ang="0">
                      <a:pos x="614" y="82"/>
                    </a:cxn>
                    <a:cxn ang="0">
                      <a:pos x="548" y="49"/>
                    </a:cxn>
                    <a:cxn ang="0">
                      <a:pos x="534" y="16"/>
                    </a:cxn>
                    <a:cxn ang="0">
                      <a:pos x="528" y="2"/>
                    </a:cxn>
                    <a:cxn ang="0">
                      <a:pos x="501" y="14"/>
                    </a:cxn>
                    <a:cxn ang="0">
                      <a:pos x="476" y="0"/>
                    </a:cxn>
                    <a:cxn ang="0">
                      <a:pos x="449" y="11"/>
                    </a:cxn>
                    <a:cxn ang="0">
                      <a:pos x="468" y="40"/>
                    </a:cxn>
                    <a:cxn ang="0">
                      <a:pos x="413" y="94"/>
                    </a:cxn>
                    <a:cxn ang="0">
                      <a:pos x="361" y="116"/>
                    </a:cxn>
                    <a:cxn ang="0">
                      <a:pos x="321" y="162"/>
                    </a:cxn>
                    <a:cxn ang="0">
                      <a:pos x="325" y="198"/>
                    </a:cxn>
                    <a:cxn ang="0">
                      <a:pos x="281" y="206"/>
                    </a:cxn>
                    <a:cxn ang="0">
                      <a:pos x="286" y="230"/>
                    </a:cxn>
                    <a:cxn ang="0">
                      <a:pos x="286" y="256"/>
                    </a:cxn>
                    <a:cxn ang="0">
                      <a:pos x="334" y="278"/>
                    </a:cxn>
                    <a:cxn ang="0">
                      <a:pos x="322" y="311"/>
                    </a:cxn>
                    <a:cxn ang="0">
                      <a:pos x="288" y="326"/>
                    </a:cxn>
                    <a:cxn ang="0">
                      <a:pos x="265" y="314"/>
                    </a:cxn>
                    <a:cxn ang="0">
                      <a:pos x="237" y="295"/>
                    </a:cxn>
                    <a:cxn ang="0">
                      <a:pos x="213" y="294"/>
                    </a:cxn>
                    <a:cxn ang="0">
                      <a:pos x="201" y="276"/>
                    </a:cxn>
                    <a:cxn ang="0">
                      <a:pos x="136" y="296"/>
                    </a:cxn>
                    <a:cxn ang="0">
                      <a:pos x="100" y="283"/>
                    </a:cxn>
                    <a:cxn ang="0">
                      <a:pos x="104" y="303"/>
                    </a:cxn>
                    <a:cxn ang="0">
                      <a:pos x="114" y="343"/>
                    </a:cxn>
                    <a:cxn ang="0">
                      <a:pos x="145" y="371"/>
                    </a:cxn>
                    <a:cxn ang="0">
                      <a:pos x="94" y="472"/>
                    </a:cxn>
                    <a:cxn ang="0">
                      <a:pos x="54" y="490"/>
                    </a:cxn>
                    <a:cxn ang="0">
                      <a:pos x="0" y="540"/>
                    </a:cxn>
                  </a:cxnLst>
                  <a:rect l="0" t="0" r="r" b="b"/>
                  <a:pathLst>
                    <a:path w="778" h="684">
                      <a:moveTo>
                        <a:pt x="2" y="541"/>
                      </a:moveTo>
                      <a:cubicBezTo>
                        <a:pt x="3" y="544"/>
                        <a:pt x="54" y="539"/>
                        <a:pt x="68" y="539"/>
                      </a:cubicBezTo>
                      <a:cubicBezTo>
                        <a:pt x="82" y="539"/>
                        <a:pt x="80" y="555"/>
                        <a:pt x="80" y="555"/>
                      </a:cubicBezTo>
                      <a:cubicBezTo>
                        <a:pt x="57" y="564"/>
                        <a:pt x="80" y="563"/>
                        <a:pt x="78" y="572"/>
                      </a:cubicBezTo>
                      <a:cubicBezTo>
                        <a:pt x="76" y="581"/>
                        <a:pt x="119" y="577"/>
                        <a:pt x="119" y="577"/>
                      </a:cubicBezTo>
                      <a:cubicBezTo>
                        <a:pt x="119" y="577"/>
                        <a:pt x="127" y="583"/>
                        <a:pt x="129" y="586"/>
                      </a:cubicBezTo>
                      <a:cubicBezTo>
                        <a:pt x="131" y="589"/>
                        <a:pt x="138" y="577"/>
                        <a:pt x="144" y="575"/>
                      </a:cubicBezTo>
                      <a:cubicBezTo>
                        <a:pt x="150" y="573"/>
                        <a:pt x="138" y="576"/>
                        <a:pt x="134" y="565"/>
                      </a:cubicBezTo>
                      <a:cubicBezTo>
                        <a:pt x="130" y="554"/>
                        <a:pt x="139" y="558"/>
                        <a:pt x="139" y="554"/>
                      </a:cubicBezTo>
                      <a:cubicBezTo>
                        <a:pt x="139" y="550"/>
                        <a:pt x="151" y="554"/>
                        <a:pt x="161" y="554"/>
                      </a:cubicBezTo>
                      <a:cubicBezTo>
                        <a:pt x="171" y="554"/>
                        <a:pt x="177" y="583"/>
                        <a:pt x="177" y="583"/>
                      </a:cubicBezTo>
                      <a:cubicBezTo>
                        <a:pt x="214" y="585"/>
                        <a:pt x="214" y="585"/>
                        <a:pt x="214" y="585"/>
                      </a:cubicBezTo>
                      <a:cubicBezTo>
                        <a:pt x="214" y="585"/>
                        <a:pt x="233" y="578"/>
                        <a:pt x="240" y="569"/>
                      </a:cubicBezTo>
                      <a:cubicBezTo>
                        <a:pt x="247" y="560"/>
                        <a:pt x="251" y="596"/>
                        <a:pt x="251" y="596"/>
                      </a:cubicBezTo>
                      <a:cubicBezTo>
                        <a:pt x="251" y="596"/>
                        <a:pt x="248" y="600"/>
                        <a:pt x="245" y="600"/>
                      </a:cubicBezTo>
                      <a:cubicBezTo>
                        <a:pt x="242" y="600"/>
                        <a:pt x="252" y="608"/>
                        <a:pt x="255" y="612"/>
                      </a:cubicBezTo>
                      <a:cubicBezTo>
                        <a:pt x="258" y="616"/>
                        <a:pt x="248" y="623"/>
                        <a:pt x="248" y="623"/>
                      </a:cubicBezTo>
                      <a:cubicBezTo>
                        <a:pt x="248" y="623"/>
                        <a:pt x="291" y="631"/>
                        <a:pt x="295" y="632"/>
                      </a:cubicBezTo>
                      <a:cubicBezTo>
                        <a:pt x="305" y="651"/>
                        <a:pt x="316" y="636"/>
                        <a:pt x="322" y="637"/>
                      </a:cubicBezTo>
                      <a:cubicBezTo>
                        <a:pt x="328" y="638"/>
                        <a:pt x="320" y="648"/>
                        <a:pt x="332" y="649"/>
                      </a:cubicBezTo>
                      <a:cubicBezTo>
                        <a:pt x="344" y="650"/>
                        <a:pt x="354" y="671"/>
                        <a:pt x="348" y="676"/>
                      </a:cubicBezTo>
                      <a:cubicBezTo>
                        <a:pt x="342" y="681"/>
                        <a:pt x="356" y="680"/>
                        <a:pt x="364" y="684"/>
                      </a:cubicBezTo>
                      <a:cubicBezTo>
                        <a:pt x="372" y="671"/>
                        <a:pt x="393" y="669"/>
                        <a:pt x="399" y="666"/>
                      </a:cubicBezTo>
                      <a:cubicBezTo>
                        <a:pt x="405" y="663"/>
                        <a:pt x="404" y="681"/>
                        <a:pt x="407" y="679"/>
                      </a:cubicBezTo>
                      <a:cubicBezTo>
                        <a:pt x="410" y="677"/>
                        <a:pt x="418" y="669"/>
                        <a:pt x="424" y="674"/>
                      </a:cubicBezTo>
                      <a:cubicBezTo>
                        <a:pt x="426" y="676"/>
                        <a:pt x="426" y="678"/>
                        <a:pt x="426" y="679"/>
                      </a:cubicBezTo>
                      <a:cubicBezTo>
                        <a:pt x="427" y="679"/>
                        <a:pt x="437" y="672"/>
                        <a:pt x="443" y="663"/>
                      </a:cubicBezTo>
                      <a:cubicBezTo>
                        <a:pt x="449" y="654"/>
                        <a:pt x="443" y="663"/>
                        <a:pt x="465" y="665"/>
                      </a:cubicBezTo>
                      <a:cubicBezTo>
                        <a:pt x="472" y="679"/>
                        <a:pt x="481" y="671"/>
                        <a:pt x="481" y="671"/>
                      </a:cubicBezTo>
                      <a:cubicBezTo>
                        <a:pt x="469" y="660"/>
                        <a:pt x="520" y="642"/>
                        <a:pt x="526" y="641"/>
                      </a:cubicBezTo>
                      <a:cubicBezTo>
                        <a:pt x="532" y="640"/>
                        <a:pt x="538" y="646"/>
                        <a:pt x="538" y="646"/>
                      </a:cubicBezTo>
                      <a:cubicBezTo>
                        <a:pt x="538" y="646"/>
                        <a:pt x="547" y="639"/>
                        <a:pt x="549" y="634"/>
                      </a:cubicBezTo>
                      <a:cubicBezTo>
                        <a:pt x="551" y="629"/>
                        <a:pt x="551" y="618"/>
                        <a:pt x="548" y="610"/>
                      </a:cubicBezTo>
                      <a:cubicBezTo>
                        <a:pt x="518" y="622"/>
                        <a:pt x="535" y="604"/>
                        <a:pt x="532" y="604"/>
                      </a:cubicBezTo>
                      <a:cubicBezTo>
                        <a:pt x="529" y="604"/>
                        <a:pt x="552" y="584"/>
                        <a:pt x="560" y="578"/>
                      </a:cubicBezTo>
                      <a:cubicBezTo>
                        <a:pt x="559" y="561"/>
                        <a:pt x="569" y="558"/>
                        <a:pt x="569" y="558"/>
                      </a:cubicBezTo>
                      <a:cubicBezTo>
                        <a:pt x="581" y="586"/>
                        <a:pt x="609" y="532"/>
                        <a:pt x="609" y="532"/>
                      </a:cubicBezTo>
                      <a:cubicBezTo>
                        <a:pt x="603" y="509"/>
                        <a:pt x="629" y="516"/>
                        <a:pt x="631" y="523"/>
                      </a:cubicBezTo>
                      <a:cubicBezTo>
                        <a:pt x="630" y="511"/>
                        <a:pt x="644" y="515"/>
                        <a:pt x="648" y="508"/>
                      </a:cubicBezTo>
                      <a:cubicBezTo>
                        <a:pt x="647" y="480"/>
                        <a:pt x="667" y="477"/>
                        <a:pt x="667" y="477"/>
                      </a:cubicBezTo>
                      <a:cubicBezTo>
                        <a:pt x="675" y="465"/>
                        <a:pt x="675" y="465"/>
                        <a:pt x="675" y="465"/>
                      </a:cubicBezTo>
                      <a:cubicBezTo>
                        <a:pt x="691" y="466"/>
                        <a:pt x="691" y="466"/>
                        <a:pt x="691" y="466"/>
                      </a:cubicBezTo>
                      <a:cubicBezTo>
                        <a:pt x="696" y="456"/>
                        <a:pt x="696" y="456"/>
                        <a:pt x="696" y="456"/>
                      </a:cubicBezTo>
                      <a:cubicBezTo>
                        <a:pt x="715" y="460"/>
                        <a:pt x="715" y="460"/>
                        <a:pt x="715" y="460"/>
                      </a:cubicBezTo>
                      <a:cubicBezTo>
                        <a:pt x="713" y="442"/>
                        <a:pt x="713" y="442"/>
                        <a:pt x="713" y="442"/>
                      </a:cubicBezTo>
                      <a:cubicBezTo>
                        <a:pt x="723" y="445"/>
                        <a:pt x="723" y="445"/>
                        <a:pt x="723" y="445"/>
                      </a:cubicBezTo>
                      <a:cubicBezTo>
                        <a:pt x="736" y="435"/>
                        <a:pt x="736" y="435"/>
                        <a:pt x="736" y="435"/>
                      </a:cubicBezTo>
                      <a:cubicBezTo>
                        <a:pt x="727" y="410"/>
                        <a:pt x="727" y="410"/>
                        <a:pt x="727" y="410"/>
                      </a:cubicBezTo>
                      <a:cubicBezTo>
                        <a:pt x="746" y="398"/>
                        <a:pt x="746" y="398"/>
                        <a:pt x="746" y="398"/>
                      </a:cubicBezTo>
                      <a:cubicBezTo>
                        <a:pt x="749" y="384"/>
                        <a:pt x="749" y="384"/>
                        <a:pt x="749" y="384"/>
                      </a:cubicBezTo>
                      <a:cubicBezTo>
                        <a:pt x="763" y="390"/>
                        <a:pt x="778" y="338"/>
                        <a:pt x="778" y="338"/>
                      </a:cubicBezTo>
                      <a:cubicBezTo>
                        <a:pt x="764" y="325"/>
                        <a:pt x="764" y="325"/>
                        <a:pt x="764" y="325"/>
                      </a:cubicBezTo>
                      <a:cubicBezTo>
                        <a:pt x="768" y="311"/>
                        <a:pt x="768" y="311"/>
                        <a:pt x="768" y="311"/>
                      </a:cubicBezTo>
                      <a:cubicBezTo>
                        <a:pt x="758" y="308"/>
                        <a:pt x="758" y="308"/>
                        <a:pt x="758" y="308"/>
                      </a:cubicBezTo>
                      <a:cubicBezTo>
                        <a:pt x="751" y="316"/>
                        <a:pt x="751" y="316"/>
                        <a:pt x="751" y="316"/>
                      </a:cubicBezTo>
                      <a:cubicBezTo>
                        <a:pt x="751" y="316"/>
                        <a:pt x="730" y="316"/>
                        <a:pt x="725" y="323"/>
                      </a:cubicBezTo>
                      <a:cubicBezTo>
                        <a:pt x="717" y="339"/>
                        <a:pt x="690" y="316"/>
                        <a:pt x="690" y="316"/>
                      </a:cubicBezTo>
                      <a:cubicBezTo>
                        <a:pt x="630" y="285"/>
                        <a:pt x="630" y="285"/>
                        <a:pt x="630" y="285"/>
                      </a:cubicBezTo>
                      <a:cubicBezTo>
                        <a:pt x="623" y="288"/>
                        <a:pt x="623" y="288"/>
                        <a:pt x="623" y="288"/>
                      </a:cubicBezTo>
                      <a:cubicBezTo>
                        <a:pt x="612" y="282"/>
                        <a:pt x="612" y="282"/>
                        <a:pt x="612" y="282"/>
                      </a:cubicBezTo>
                      <a:cubicBezTo>
                        <a:pt x="613" y="271"/>
                        <a:pt x="613" y="271"/>
                        <a:pt x="613" y="271"/>
                      </a:cubicBezTo>
                      <a:cubicBezTo>
                        <a:pt x="589" y="238"/>
                        <a:pt x="589" y="238"/>
                        <a:pt x="589" y="238"/>
                      </a:cubicBezTo>
                      <a:cubicBezTo>
                        <a:pt x="598" y="219"/>
                        <a:pt x="598" y="219"/>
                        <a:pt x="598" y="219"/>
                      </a:cubicBezTo>
                      <a:cubicBezTo>
                        <a:pt x="579" y="182"/>
                        <a:pt x="579" y="182"/>
                        <a:pt x="579" y="182"/>
                      </a:cubicBezTo>
                      <a:cubicBezTo>
                        <a:pt x="579" y="182"/>
                        <a:pt x="601" y="155"/>
                        <a:pt x="604" y="152"/>
                      </a:cubicBezTo>
                      <a:cubicBezTo>
                        <a:pt x="598" y="134"/>
                        <a:pt x="611" y="136"/>
                        <a:pt x="609" y="133"/>
                      </a:cubicBezTo>
                      <a:cubicBezTo>
                        <a:pt x="622" y="140"/>
                        <a:pt x="620" y="121"/>
                        <a:pt x="624" y="123"/>
                      </a:cubicBezTo>
                      <a:cubicBezTo>
                        <a:pt x="611" y="113"/>
                        <a:pt x="614" y="82"/>
                        <a:pt x="614" y="82"/>
                      </a:cubicBezTo>
                      <a:cubicBezTo>
                        <a:pt x="577" y="74"/>
                        <a:pt x="577" y="74"/>
                        <a:pt x="577" y="74"/>
                      </a:cubicBezTo>
                      <a:cubicBezTo>
                        <a:pt x="548" y="49"/>
                        <a:pt x="548" y="49"/>
                        <a:pt x="548" y="49"/>
                      </a:cubicBezTo>
                      <a:cubicBezTo>
                        <a:pt x="550" y="19"/>
                        <a:pt x="550" y="19"/>
                        <a:pt x="550" y="19"/>
                      </a:cubicBezTo>
                      <a:cubicBezTo>
                        <a:pt x="534" y="16"/>
                        <a:pt x="534" y="16"/>
                        <a:pt x="534" y="16"/>
                      </a:cubicBezTo>
                      <a:cubicBezTo>
                        <a:pt x="532" y="7"/>
                        <a:pt x="532" y="7"/>
                        <a:pt x="532" y="7"/>
                      </a:cubicBezTo>
                      <a:cubicBezTo>
                        <a:pt x="530" y="6"/>
                        <a:pt x="529" y="4"/>
                        <a:pt x="528" y="2"/>
                      </a:cubicBezTo>
                      <a:cubicBezTo>
                        <a:pt x="504" y="6"/>
                        <a:pt x="504" y="6"/>
                        <a:pt x="504" y="6"/>
                      </a:cubicBezTo>
                      <a:cubicBezTo>
                        <a:pt x="501" y="14"/>
                        <a:pt x="501" y="14"/>
                        <a:pt x="501" y="14"/>
                      </a:cubicBezTo>
                      <a:cubicBezTo>
                        <a:pt x="477" y="14"/>
                        <a:pt x="477" y="14"/>
                        <a:pt x="477" y="14"/>
                      </a:cubicBezTo>
                      <a:cubicBezTo>
                        <a:pt x="476" y="0"/>
                        <a:pt x="476" y="0"/>
                        <a:pt x="476" y="0"/>
                      </a:cubicBezTo>
                      <a:cubicBezTo>
                        <a:pt x="446" y="3"/>
                        <a:pt x="446" y="3"/>
                        <a:pt x="446" y="3"/>
                      </a:cubicBezTo>
                      <a:cubicBezTo>
                        <a:pt x="449" y="11"/>
                        <a:pt x="449" y="11"/>
                        <a:pt x="449" y="11"/>
                      </a:cubicBezTo>
                      <a:cubicBezTo>
                        <a:pt x="449" y="11"/>
                        <a:pt x="444" y="24"/>
                        <a:pt x="444" y="35"/>
                      </a:cubicBezTo>
                      <a:cubicBezTo>
                        <a:pt x="444" y="46"/>
                        <a:pt x="468" y="40"/>
                        <a:pt x="468" y="40"/>
                      </a:cubicBezTo>
                      <a:cubicBezTo>
                        <a:pt x="468" y="40"/>
                        <a:pt x="469" y="59"/>
                        <a:pt x="476" y="82"/>
                      </a:cubicBezTo>
                      <a:cubicBezTo>
                        <a:pt x="410" y="80"/>
                        <a:pt x="420" y="100"/>
                        <a:pt x="413" y="94"/>
                      </a:cubicBezTo>
                      <a:cubicBezTo>
                        <a:pt x="406" y="87"/>
                        <a:pt x="397" y="110"/>
                        <a:pt x="397" y="110"/>
                      </a:cubicBezTo>
                      <a:cubicBezTo>
                        <a:pt x="397" y="110"/>
                        <a:pt x="373" y="116"/>
                        <a:pt x="361" y="116"/>
                      </a:cubicBezTo>
                      <a:cubicBezTo>
                        <a:pt x="349" y="116"/>
                        <a:pt x="354" y="128"/>
                        <a:pt x="358" y="138"/>
                      </a:cubicBezTo>
                      <a:cubicBezTo>
                        <a:pt x="362" y="147"/>
                        <a:pt x="321" y="162"/>
                        <a:pt x="321" y="162"/>
                      </a:cubicBezTo>
                      <a:cubicBezTo>
                        <a:pt x="308" y="188"/>
                        <a:pt x="308" y="188"/>
                        <a:pt x="308" y="188"/>
                      </a:cubicBezTo>
                      <a:cubicBezTo>
                        <a:pt x="325" y="198"/>
                        <a:pt x="325" y="198"/>
                        <a:pt x="325" y="198"/>
                      </a:cubicBezTo>
                      <a:cubicBezTo>
                        <a:pt x="310" y="210"/>
                        <a:pt x="310" y="210"/>
                        <a:pt x="310" y="210"/>
                      </a:cubicBezTo>
                      <a:cubicBezTo>
                        <a:pt x="281" y="206"/>
                        <a:pt x="281" y="206"/>
                        <a:pt x="281" y="206"/>
                      </a:cubicBezTo>
                      <a:cubicBezTo>
                        <a:pt x="278" y="218"/>
                        <a:pt x="278" y="218"/>
                        <a:pt x="278" y="218"/>
                      </a:cubicBezTo>
                      <a:cubicBezTo>
                        <a:pt x="286" y="230"/>
                        <a:pt x="286" y="230"/>
                        <a:pt x="286" y="230"/>
                      </a:cubicBezTo>
                      <a:cubicBezTo>
                        <a:pt x="270" y="231"/>
                        <a:pt x="270" y="231"/>
                        <a:pt x="270" y="231"/>
                      </a:cubicBezTo>
                      <a:cubicBezTo>
                        <a:pt x="286" y="256"/>
                        <a:pt x="286" y="256"/>
                        <a:pt x="286" y="256"/>
                      </a:cubicBezTo>
                      <a:cubicBezTo>
                        <a:pt x="317" y="258"/>
                        <a:pt x="317" y="258"/>
                        <a:pt x="317" y="258"/>
                      </a:cubicBezTo>
                      <a:cubicBezTo>
                        <a:pt x="334" y="278"/>
                        <a:pt x="334" y="278"/>
                        <a:pt x="334" y="278"/>
                      </a:cubicBezTo>
                      <a:cubicBezTo>
                        <a:pt x="334" y="300"/>
                        <a:pt x="334" y="300"/>
                        <a:pt x="334" y="300"/>
                      </a:cubicBezTo>
                      <a:cubicBezTo>
                        <a:pt x="334" y="300"/>
                        <a:pt x="320" y="314"/>
                        <a:pt x="322" y="311"/>
                      </a:cubicBezTo>
                      <a:cubicBezTo>
                        <a:pt x="298" y="303"/>
                        <a:pt x="308" y="314"/>
                        <a:pt x="308" y="314"/>
                      </a:cubicBezTo>
                      <a:cubicBezTo>
                        <a:pt x="288" y="326"/>
                        <a:pt x="288" y="326"/>
                        <a:pt x="288" y="326"/>
                      </a:cubicBezTo>
                      <a:cubicBezTo>
                        <a:pt x="278" y="319"/>
                        <a:pt x="278" y="319"/>
                        <a:pt x="278" y="319"/>
                      </a:cubicBezTo>
                      <a:cubicBezTo>
                        <a:pt x="278" y="319"/>
                        <a:pt x="265" y="323"/>
                        <a:pt x="265" y="314"/>
                      </a:cubicBezTo>
                      <a:cubicBezTo>
                        <a:pt x="265" y="304"/>
                        <a:pt x="258" y="300"/>
                        <a:pt x="258" y="300"/>
                      </a:cubicBezTo>
                      <a:cubicBezTo>
                        <a:pt x="237" y="295"/>
                        <a:pt x="237" y="295"/>
                        <a:pt x="237" y="295"/>
                      </a:cubicBezTo>
                      <a:cubicBezTo>
                        <a:pt x="238" y="302"/>
                        <a:pt x="238" y="302"/>
                        <a:pt x="238" y="302"/>
                      </a:cubicBezTo>
                      <a:cubicBezTo>
                        <a:pt x="213" y="294"/>
                        <a:pt x="213" y="294"/>
                        <a:pt x="213" y="294"/>
                      </a:cubicBezTo>
                      <a:cubicBezTo>
                        <a:pt x="213" y="270"/>
                        <a:pt x="213" y="270"/>
                        <a:pt x="213" y="270"/>
                      </a:cubicBezTo>
                      <a:cubicBezTo>
                        <a:pt x="201" y="276"/>
                        <a:pt x="201" y="276"/>
                        <a:pt x="201" y="276"/>
                      </a:cubicBezTo>
                      <a:cubicBezTo>
                        <a:pt x="190" y="272"/>
                        <a:pt x="190" y="272"/>
                        <a:pt x="190" y="272"/>
                      </a:cubicBezTo>
                      <a:cubicBezTo>
                        <a:pt x="136" y="296"/>
                        <a:pt x="136" y="296"/>
                        <a:pt x="136" y="296"/>
                      </a:cubicBezTo>
                      <a:cubicBezTo>
                        <a:pt x="134" y="260"/>
                        <a:pt x="100" y="268"/>
                        <a:pt x="100" y="268"/>
                      </a:cubicBezTo>
                      <a:cubicBezTo>
                        <a:pt x="100" y="283"/>
                        <a:pt x="100" y="283"/>
                        <a:pt x="100" y="283"/>
                      </a:cubicBezTo>
                      <a:cubicBezTo>
                        <a:pt x="95" y="281"/>
                        <a:pt x="95" y="281"/>
                        <a:pt x="95" y="281"/>
                      </a:cubicBezTo>
                      <a:cubicBezTo>
                        <a:pt x="104" y="303"/>
                        <a:pt x="104" y="303"/>
                        <a:pt x="104" y="303"/>
                      </a:cubicBezTo>
                      <a:cubicBezTo>
                        <a:pt x="114" y="304"/>
                        <a:pt x="114" y="304"/>
                        <a:pt x="114" y="304"/>
                      </a:cubicBezTo>
                      <a:cubicBezTo>
                        <a:pt x="114" y="343"/>
                        <a:pt x="114" y="343"/>
                        <a:pt x="114" y="343"/>
                      </a:cubicBezTo>
                      <a:cubicBezTo>
                        <a:pt x="125" y="339"/>
                        <a:pt x="125" y="339"/>
                        <a:pt x="125" y="339"/>
                      </a:cubicBezTo>
                      <a:cubicBezTo>
                        <a:pt x="145" y="371"/>
                        <a:pt x="145" y="371"/>
                        <a:pt x="145" y="371"/>
                      </a:cubicBezTo>
                      <a:cubicBezTo>
                        <a:pt x="102" y="415"/>
                        <a:pt x="102" y="415"/>
                        <a:pt x="102" y="415"/>
                      </a:cubicBezTo>
                      <a:cubicBezTo>
                        <a:pt x="94" y="472"/>
                        <a:pt x="94" y="472"/>
                        <a:pt x="94" y="472"/>
                      </a:cubicBezTo>
                      <a:cubicBezTo>
                        <a:pt x="69" y="466"/>
                        <a:pt x="69" y="466"/>
                        <a:pt x="69" y="466"/>
                      </a:cubicBezTo>
                      <a:cubicBezTo>
                        <a:pt x="54" y="490"/>
                        <a:pt x="54" y="490"/>
                        <a:pt x="54" y="490"/>
                      </a:cubicBezTo>
                      <a:cubicBezTo>
                        <a:pt x="58" y="500"/>
                        <a:pt x="58" y="500"/>
                        <a:pt x="58" y="500"/>
                      </a:cubicBezTo>
                      <a:cubicBezTo>
                        <a:pt x="0" y="540"/>
                        <a:pt x="0" y="540"/>
                        <a:pt x="0" y="540"/>
                      </a:cubicBezTo>
                      <a:cubicBezTo>
                        <a:pt x="1" y="541"/>
                        <a:pt x="2" y="541"/>
                        <a:pt x="2" y="541"/>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96" name="Languedoc-Roussillon" descr="© INSCALE GmbH, 05.05.2010&#10;http://www.presentationload.com/">
                  <a:extLst>
                    <a:ext uri="{FF2B5EF4-FFF2-40B4-BE49-F238E27FC236}">
                      <a16:creationId xmlns:a16="http://schemas.microsoft.com/office/drawing/2014/main" id="{B8721DEA-F549-45D5-8C11-1409608F57D6}"/>
                    </a:ext>
                  </a:extLst>
                </p:cNvPr>
                <p:cNvSpPr>
                  <a:spLocks/>
                </p:cNvSpPr>
                <p:nvPr/>
              </p:nvSpPr>
              <p:spPr bwMode="gray">
                <a:xfrm>
                  <a:off x="1594" y="2270"/>
                  <a:ext cx="795" cy="930"/>
                </a:xfrm>
                <a:custGeom>
                  <a:avLst/>
                  <a:gdLst/>
                  <a:ahLst/>
                  <a:cxnLst>
                    <a:cxn ang="0">
                      <a:pos x="20" y="800"/>
                    </a:cxn>
                    <a:cxn ang="0">
                      <a:pos x="61" y="817"/>
                    </a:cxn>
                    <a:cxn ang="0">
                      <a:pos x="99" y="847"/>
                    </a:cxn>
                    <a:cxn ang="0">
                      <a:pos x="151" y="830"/>
                    </a:cxn>
                    <a:cxn ang="0">
                      <a:pos x="230" y="858"/>
                    </a:cxn>
                    <a:cxn ang="0">
                      <a:pos x="248" y="831"/>
                    </a:cxn>
                    <a:cxn ang="0">
                      <a:pos x="282" y="817"/>
                    </a:cxn>
                    <a:cxn ang="0">
                      <a:pos x="318" y="812"/>
                    </a:cxn>
                    <a:cxn ang="0">
                      <a:pos x="347" y="824"/>
                    </a:cxn>
                    <a:cxn ang="0">
                      <a:pos x="335" y="788"/>
                    </a:cxn>
                    <a:cxn ang="0">
                      <a:pos x="322" y="658"/>
                    </a:cxn>
                    <a:cxn ang="0">
                      <a:pos x="319" y="622"/>
                    </a:cxn>
                    <a:cxn ang="0">
                      <a:pos x="466" y="488"/>
                    </a:cxn>
                    <a:cxn ang="0">
                      <a:pos x="564" y="442"/>
                    </a:cxn>
                    <a:cxn ang="0">
                      <a:pos x="650" y="433"/>
                    </a:cxn>
                    <a:cxn ang="0">
                      <a:pos x="661" y="399"/>
                    </a:cxn>
                    <a:cxn ang="0">
                      <a:pos x="694" y="348"/>
                    </a:cxn>
                    <a:cxn ang="0">
                      <a:pos x="717" y="272"/>
                    </a:cxn>
                    <a:cxn ang="0">
                      <a:pos x="706" y="237"/>
                    </a:cxn>
                    <a:cxn ang="0">
                      <a:pos x="687" y="214"/>
                    </a:cxn>
                    <a:cxn ang="0">
                      <a:pos x="641" y="209"/>
                    </a:cxn>
                    <a:cxn ang="0">
                      <a:pos x="634" y="195"/>
                    </a:cxn>
                    <a:cxn ang="0">
                      <a:pos x="600" y="225"/>
                    </a:cxn>
                    <a:cxn ang="0">
                      <a:pos x="549" y="208"/>
                    </a:cxn>
                    <a:cxn ang="0">
                      <a:pos x="536" y="159"/>
                    </a:cxn>
                    <a:cxn ang="0">
                      <a:pos x="518" y="121"/>
                    </a:cxn>
                    <a:cxn ang="0">
                      <a:pos x="501" y="71"/>
                    </a:cxn>
                    <a:cxn ang="0">
                      <a:pos x="458" y="40"/>
                    </a:cxn>
                    <a:cxn ang="0">
                      <a:pos x="420" y="51"/>
                    </a:cxn>
                    <a:cxn ang="0">
                      <a:pos x="373" y="16"/>
                    </a:cxn>
                    <a:cxn ang="0">
                      <a:pos x="368" y="27"/>
                    </a:cxn>
                    <a:cxn ang="0">
                      <a:pos x="342" y="19"/>
                    </a:cxn>
                    <a:cxn ang="0">
                      <a:pos x="334" y="43"/>
                    </a:cxn>
                    <a:cxn ang="0">
                      <a:pos x="320" y="79"/>
                    </a:cxn>
                    <a:cxn ang="0">
                      <a:pos x="308" y="108"/>
                    </a:cxn>
                    <a:cxn ang="0">
                      <a:pos x="325" y="155"/>
                    </a:cxn>
                    <a:cxn ang="0">
                      <a:pos x="348" y="208"/>
                    </a:cxn>
                    <a:cxn ang="0">
                      <a:pos x="361" y="232"/>
                    </a:cxn>
                    <a:cxn ang="0">
                      <a:pos x="393" y="256"/>
                    </a:cxn>
                    <a:cxn ang="0">
                      <a:pos x="393" y="285"/>
                    </a:cxn>
                    <a:cxn ang="0">
                      <a:pos x="418" y="303"/>
                    </a:cxn>
                    <a:cxn ang="0">
                      <a:pos x="394" y="345"/>
                    </a:cxn>
                    <a:cxn ang="0">
                      <a:pos x="373" y="364"/>
                    </a:cxn>
                    <a:cxn ang="0">
                      <a:pos x="328" y="405"/>
                    </a:cxn>
                    <a:cxn ang="0">
                      <a:pos x="253" y="427"/>
                    </a:cxn>
                    <a:cxn ang="0">
                      <a:pos x="198" y="492"/>
                    </a:cxn>
                    <a:cxn ang="0">
                      <a:pos x="130" y="509"/>
                    </a:cxn>
                    <a:cxn ang="0">
                      <a:pos x="96" y="496"/>
                    </a:cxn>
                    <a:cxn ang="0">
                      <a:pos x="62" y="508"/>
                    </a:cxn>
                    <a:cxn ang="0">
                      <a:pos x="37" y="520"/>
                    </a:cxn>
                    <a:cxn ang="0">
                      <a:pos x="14" y="572"/>
                    </a:cxn>
                    <a:cxn ang="0">
                      <a:pos x="68" y="612"/>
                    </a:cxn>
                    <a:cxn ang="0">
                      <a:pos x="64" y="651"/>
                    </a:cxn>
                    <a:cxn ang="0">
                      <a:pos x="77" y="669"/>
                    </a:cxn>
                    <a:cxn ang="0">
                      <a:pos x="53" y="693"/>
                    </a:cxn>
                    <a:cxn ang="0">
                      <a:pos x="101" y="713"/>
                    </a:cxn>
                    <a:cxn ang="0">
                      <a:pos x="76" y="743"/>
                    </a:cxn>
                    <a:cxn ang="0">
                      <a:pos x="57" y="760"/>
                    </a:cxn>
                    <a:cxn ang="0">
                      <a:pos x="26" y="768"/>
                    </a:cxn>
                    <a:cxn ang="0">
                      <a:pos x="25" y="777"/>
                    </a:cxn>
                  </a:cxnLst>
                  <a:rect l="0" t="0" r="r" b="b"/>
                  <a:pathLst>
                    <a:path w="737" h="861">
                      <a:moveTo>
                        <a:pt x="25" y="777"/>
                      </a:moveTo>
                      <a:cubicBezTo>
                        <a:pt x="20" y="781"/>
                        <a:pt x="20" y="800"/>
                        <a:pt x="20" y="800"/>
                      </a:cubicBezTo>
                      <a:cubicBezTo>
                        <a:pt x="20" y="800"/>
                        <a:pt x="41" y="808"/>
                        <a:pt x="43" y="805"/>
                      </a:cubicBezTo>
                      <a:cubicBezTo>
                        <a:pt x="47" y="818"/>
                        <a:pt x="61" y="817"/>
                        <a:pt x="61" y="817"/>
                      </a:cubicBezTo>
                      <a:cubicBezTo>
                        <a:pt x="79" y="848"/>
                        <a:pt x="79" y="848"/>
                        <a:pt x="79" y="848"/>
                      </a:cubicBezTo>
                      <a:cubicBezTo>
                        <a:pt x="99" y="847"/>
                        <a:pt x="99" y="847"/>
                        <a:pt x="99" y="847"/>
                      </a:cubicBezTo>
                      <a:cubicBezTo>
                        <a:pt x="119" y="828"/>
                        <a:pt x="119" y="828"/>
                        <a:pt x="119" y="828"/>
                      </a:cubicBezTo>
                      <a:cubicBezTo>
                        <a:pt x="151" y="830"/>
                        <a:pt x="151" y="830"/>
                        <a:pt x="151" y="830"/>
                      </a:cubicBezTo>
                      <a:cubicBezTo>
                        <a:pt x="151" y="830"/>
                        <a:pt x="194" y="861"/>
                        <a:pt x="205" y="857"/>
                      </a:cubicBezTo>
                      <a:cubicBezTo>
                        <a:pt x="216" y="853"/>
                        <a:pt x="230" y="858"/>
                        <a:pt x="230" y="858"/>
                      </a:cubicBezTo>
                      <a:cubicBezTo>
                        <a:pt x="234" y="844"/>
                        <a:pt x="234" y="844"/>
                        <a:pt x="234" y="844"/>
                      </a:cubicBezTo>
                      <a:cubicBezTo>
                        <a:pt x="248" y="831"/>
                        <a:pt x="248" y="831"/>
                        <a:pt x="248" y="831"/>
                      </a:cubicBezTo>
                      <a:cubicBezTo>
                        <a:pt x="265" y="830"/>
                        <a:pt x="265" y="830"/>
                        <a:pt x="265" y="830"/>
                      </a:cubicBezTo>
                      <a:cubicBezTo>
                        <a:pt x="282" y="817"/>
                        <a:pt x="282" y="817"/>
                        <a:pt x="282" y="817"/>
                      </a:cubicBezTo>
                      <a:cubicBezTo>
                        <a:pt x="313" y="812"/>
                        <a:pt x="313" y="812"/>
                        <a:pt x="313" y="812"/>
                      </a:cubicBezTo>
                      <a:cubicBezTo>
                        <a:pt x="318" y="812"/>
                        <a:pt x="318" y="812"/>
                        <a:pt x="318" y="812"/>
                      </a:cubicBezTo>
                      <a:cubicBezTo>
                        <a:pt x="328" y="830"/>
                        <a:pt x="328" y="830"/>
                        <a:pt x="328" y="830"/>
                      </a:cubicBezTo>
                      <a:cubicBezTo>
                        <a:pt x="347" y="824"/>
                        <a:pt x="347" y="824"/>
                        <a:pt x="347" y="824"/>
                      </a:cubicBezTo>
                      <a:cubicBezTo>
                        <a:pt x="352" y="815"/>
                        <a:pt x="340" y="807"/>
                        <a:pt x="340" y="807"/>
                      </a:cubicBezTo>
                      <a:cubicBezTo>
                        <a:pt x="335" y="788"/>
                        <a:pt x="335" y="788"/>
                        <a:pt x="335" y="788"/>
                      </a:cubicBezTo>
                      <a:cubicBezTo>
                        <a:pt x="318" y="785"/>
                        <a:pt x="318" y="785"/>
                        <a:pt x="318" y="785"/>
                      </a:cubicBezTo>
                      <a:cubicBezTo>
                        <a:pt x="322" y="658"/>
                        <a:pt x="322" y="658"/>
                        <a:pt x="322" y="658"/>
                      </a:cubicBezTo>
                      <a:cubicBezTo>
                        <a:pt x="312" y="643"/>
                        <a:pt x="312" y="643"/>
                        <a:pt x="312" y="643"/>
                      </a:cubicBezTo>
                      <a:cubicBezTo>
                        <a:pt x="312" y="643"/>
                        <a:pt x="319" y="627"/>
                        <a:pt x="319" y="622"/>
                      </a:cubicBezTo>
                      <a:cubicBezTo>
                        <a:pt x="380" y="492"/>
                        <a:pt x="416" y="533"/>
                        <a:pt x="416" y="533"/>
                      </a:cubicBezTo>
                      <a:cubicBezTo>
                        <a:pt x="416" y="533"/>
                        <a:pt x="445" y="505"/>
                        <a:pt x="466" y="488"/>
                      </a:cubicBezTo>
                      <a:cubicBezTo>
                        <a:pt x="487" y="471"/>
                        <a:pt x="490" y="472"/>
                        <a:pt x="496" y="458"/>
                      </a:cubicBezTo>
                      <a:cubicBezTo>
                        <a:pt x="559" y="418"/>
                        <a:pt x="561" y="439"/>
                        <a:pt x="564" y="442"/>
                      </a:cubicBezTo>
                      <a:cubicBezTo>
                        <a:pt x="546" y="458"/>
                        <a:pt x="582" y="469"/>
                        <a:pt x="592" y="473"/>
                      </a:cubicBezTo>
                      <a:cubicBezTo>
                        <a:pt x="650" y="433"/>
                        <a:pt x="650" y="433"/>
                        <a:pt x="650" y="433"/>
                      </a:cubicBezTo>
                      <a:cubicBezTo>
                        <a:pt x="646" y="423"/>
                        <a:pt x="646" y="423"/>
                        <a:pt x="646" y="423"/>
                      </a:cubicBezTo>
                      <a:cubicBezTo>
                        <a:pt x="661" y="399"/>
                        <a:pt x="661" y="399"/>
                        <a:pt x="661" y="399"/>
                      </a:cubicBezTo>
                      <a:cubicBezTo>
                        <a:pt x="686" y="405"/>
                        <a:pt x="686" y="405"/>
                        <a:pt x="686" y="405"/>
                      </a:cubicBezTo>
                      <a:cubicBezTo>
                        <a:pt x="694" y="348"/>
                        <a:pt x="694" y="348"/>
                        <a:pt x="694" y="348"/>
                      </a:cubicBezTo>
                      <a:cubicBezTo>
                        <a:pt x="737" y="304"/>
                        <a:pt x="737" y="304"/>
                        <a:pt x="737" y="304"/>
                      </a:cubicBezTo>
                      <a:cubicBezTo>
                        <a:pt x="717" y="272"/>
                        <a:pt x="717" y="272"/>
                        <a:pt x="717" y="272"/>
                      </a:cubicBezTo>
                      <a:cubicBezTo>
                        <a:pt x="706" y="276"/>
                        <a:pt x="706" y="276"/>
                        <a:pt x="706" y="276"/>
                      </a:cubicBezTo>
                      <a:cubicBezTo>
                        <a:pt x="706" y="237"/>
                        <a:pt x="706" y="237"/>
                        <a:pt x="706" y="237"/>
                      </a:cubicBezTo>
                      <a:cubicBezTo>
                        <a:pt x="696" y="236"/>
                        <a:pt x="696" y="236"/>
                        <a:pt x="696" y="236"/>
                      </a:cubicBezTo>
                      <a:cubicBezTo>
                        <a:pt x="687" y="214"/>
                        <a:pt x="687" y="214"/>
                        <a:pt x="687" y="214"/>
                      </a:cubicBezTo>
                      <a:cubicBezTo>
                        <a:pt x="649" y="197"/>
                        <a:pt x="649" y="197"/>
                        <a:pt x="649" y="197"/>
                      </a:cubicBezTo>
                      <a:cubicBezTo>
                        <a:pt x="641" y="209"/>
                        <a:pt x="641" y="209"/>
                        <a:pt x="641" y="209"/>
                      </a:cubicBezTo>
                      <a:cubicBezTo>
                        <a:pt x="634" y="209"/>
                        <a:pt x="634" y="209"/>
                        <a:pt x="634" y="209"/>
                      </a:cubicBezTo>
                      <a:cubicBezTo>
                        <a:pt x="634" y="195"/>
                        <a:pt x="634" y="195"/>
                        <a:pt x="634" y="195"/>
                      </a:cubicBezTo>
                      <a:cubicBezTo>
                        <a:pt x="620" y="195"/>
                        <a:pt x="620" y="195"/>
                        <a:pt x="620" y="195"/>
                      </a:cubicBezTo>
                      <a:cubicBezTo>
                        <a:pt x="600" y="225"/>
                        <a:pt x="600" y="225"/>
                        <a:pt x="600" y="225"/>
                      </a:cubicBezTo>
                      <a:cubicBezTo>
                        <a:pt x="568" y="197"/>
                        <a:pt x="568" y="197"/>
                        <a:pt x="568" y="197"/>
                      </a:cubicBezTo>
                      <a:cubicBezTo>
                        <a:pt x="549" y="208"/>
                        <a:pt x="549" y="208"/>
                        <a:pt x="549" y="208"/>
                      </a:cubicBezTo>
                      <a:cubicBezTo>
                        <a:pt x="556" y="177"/>
                        <a:pt x="556" y="177"/>
                        <a:pt x="556" y="177"/>
                      </a:cubicBezTo>
                      <a:cubicBezTo>
                        <a:pt x="536" y="159"/>
                        <a:pt x="536" y="159"/>
                        <a:pt x="536" y="159"/>
                      </a:cubicBezTo>
                      <a:cubicBezTo>
                        <a:pt x="532" y="128"/>
                        <a:pt x="532" y="128"/>
                        <a:pt x="532" y="128"/>
                      </a:cubicBezTo>
                      <a:cubicBezTo>
                        <a:pt x="518" y="121"/>
                        <a:pt x="518" y="121"/>
                        <a:pt x="518" y="121"/>
                      </a:cubicBezTo>
                      <a:cubicBezTo>
                        <a:pt x="505" y="69"/>
                        <a:pt x="505" y="69"/>
                        <a:pt x="505" y="69"/>
                      </a:cubicBezTo>
                      <a:cubicBezTo>
                        <a:pt x="501" y="71"/>
                        <a:pt x="501" y="71"/>
                        <a:pt x="501" y="71"/>
                      </a:cubicBezTo>
                      <a:cubicBezTo>
                        <a:pt x="480" y="45"/>
                        <a:pt x="480" y="45"/>
                        <a:pt x="480" y="45"/>
                      </a:cubicBezTo>
                      <a:cubicBezTo>
                        <a:pt x="458" y="40"/>
                        <a:pt x="458" y="40"/>
                        <a:pt x="458" y="40"/>
                      </a:cubicBezTo>
                      <a:cubicBezTo>
                        <a:pt x="458" y="40"/>
                        <a:pt x="448" y="16"/>
                        <a:pt x="444" y="43"/>
                      </a:cubicBezTo>
                      <a:cubicBezTo>
                        <a:pt x="420" y="51"/>
                        <a:pt x="420" y="51"/>
                        <a:pt x="420" y="51"/>
                      </a:cubicBezTo>
                      <a:cubicBezTo>
                        <a:pt x="402" y="0"/>
                        <a:pt x="402" y="0"/>
                        <a:pt x="402" y="0"/>
                      </a:cubicBezTo>
                      <a:cubicBezTo>
                        <a:pt x="402" y="0"/>
                        <a:pt x="384" y="7"/>
                        <a:pt x="373" y="16"/>
                      </a:cubicBezTo>
                      <a:cubicBezTo>
                        <a:pt x="371" y="18"/>
                        <a:pt x="369" y="19"/>
                        <a:pt x="368" y="19"/>
                      </a:cubicBezTo>
                      <a:cubicBezTo>
                        <a:pt x="368" y="27"/>
                        <a:pt x="368" y="27"/>
                        <a:pt x="368" y="27"/>
                      </a:cubicBezTo>
                      <a:cubicBezTo>
                        <a:pt x="350" y="32"/>
                        <a:pt x="350" y="32"/>
                        <a:pt x="350" y="32"/>
                      </a:cubicBezTo>
                      <a:cubicBezTo>
                        <a:pt x="342" y="19"/>
                        <a:pt x="342" y="19"/>
                        <a:pt x="342" y="19"/>
                      </a:cubicBezTo>
                      <a:cubicBezTo>
                        <a:pt x="333" y="23"/>
                        <a:pt x="333" y="23"/>
                        <a:pt x="333" y="23"/>
                      </a:cubicBezTo>
                      <a:cubicBezTo>
                        <a:pt x="334" y="43"/>
                        <a:pt x="334" y="43"/>
                        <a:pt x="334" y="43"/>
                      </a:cubicBezTo>
                      <a:cubicBezTo>
                        <a:pt x="326" y="52"/>
                        <a:pt x="326" y="52"/>
                        <a:pt x="326" y="52"/>
                      </a:cubicBezTo>
                      <a:cubicBezTo>
                        <a:pt x="320" y="79"/>
                        <a:pt x="320" y="79"/>
                        <a:pt x="320" y="79"/>
                      </a:cubicBezTo>
                      <a:cubicBezTo>
                        <a:pt x="308" y="99"/>
                        <a:pt x="308" y="99"/>
                        <a:pt x="308" y="99"/>
                      </a:cubicBezTo>
                      <a:cubicBezTo>
                        <a:pt x="308" y="108"/>
                        <a:pt x="308" y="108"/>
                        <a:pt x="308" y="108"/>
                      </a:cubicBezTo>
                      <a:cubicBezTo>
                        <a:pt x="329" y="123"/>
                        <a:pt x="329" y="123"/>
                        <a:pt x="329" y="123"/>
                      </a:cubicBezTo>
                      <a:cubicBezTo>
                        <a:pt x="325" y="155"/>
                        <a:pt x="325" y="155"/>
                        <a:pt x="325" y="155"/>
                      </a:cubicBezTo>
                      <a:cubicBezTo>
                        <a:pt x="346" y="168"/>
                        <a:pt x="346" y="168"/>
                        <a:pt x="346" y="168"/>
                      </a:cubicBezTo>
                      <a:cubicBezTo>
                        <a:pt x="348" y="208"/>
                        <a:pt x="348" y="208"/>
                        <a:pt x="348" y="208"/>
                      </a:cubicBezTo>
                      <a:cubicBezTo>
                        <a:pt x="338" y="224"/>
                        <a:pt x="338" y="224"/>
                        <a:pt x="338" y="224"/>
                      </a:cubicBezTo>
                      <a:cubicBezTo>
                        <a:pt x="361" y="232"/>
                        <a:pt x="361" y="232"/>
                        <a:pt x="361" y="232"/>
                      </a:cubicBezTo>
                      <a:cubicBezTo>
                        <a:pt x="357" y="244"/>
                        <a:pt x="357" y="244"/>
                        <a:pt x="357" y="244"/>
                      </a:cubicBezTo>
                      <a:cubicBezTo>
                        <a:pt x="357" y="244"/>
                        <a:pt x="398" y="251"/>
                        <a:pt x="393" y="256"/>
                      </a:cubicBezTo>
                      <a:cubicBezTo>
                        <a:pt x="388" y="261"/>
                        <a:pt x="373" y="279"/>
                        <a:pt x="373" y="279"/>
                      </a:cubicBezTo>
                      <a:cubicBezTo>
                        <a:pt x="393" y="285"/>
                        <a:pt x="393" y="285"/>
                        <a:pt x="393" y="285"/>
                      </a:cubicBezTo>
                      <a:cubicBezTo>
                        <a:pt x="405" y="295"/>
                        <a:pt x="405" y="295"/>
                        <a:pt x="405" y="295"/>
                      </a:cubicBezTo>
                      <a:cubicBezTo>
                        <a:pt x="418" y="303"/>
                        <a:pt x="418" y="303"/>
                        <a:pt x="418" y="303"/>
                      </a:cubicBezTo>
                      <a:cubicBezTo>
                        <a:pt x="397" y="328"/>
                        <a:pt x="397" y="328"/>
                        <a:pt x="397" y="328"/>
                      </a:cubicBezTo>
                      <a:cubicBezTo>
                        <a:pt x="394" y="345"/>
                        <a:pt x="394" y="345"/>
                        <a:pt x="394" y="345"/>
                      </a:cubicBezTo>
                      <a:cubicBezTo>
                        <a:pt x="373" y="347"/>
                        <a:pt x="373" y="347"/>
                        <a:pt x="373" y="347"/>
                      </a:cubicBezTo>
                      <a:cubicBezTo>
                        <a:pt x="373" y="364"/>
                        <a:pt x="373" y="364"/>
                        <a:pt x="373" y="364"/>
                      </a:cubicBezTo>
                      <a:cubicBezTo>
                        <a:pt x="329" y="365"/>
                        <a:pt x="329" y="365"/>
                        <a:pt x="329" y="365"/>
                      </a:cubicBezTo>
                      <a:cubicBezTo>
                        <a:pt x="328" y="405"/>
                        <a:pt x="328" y="405"/>
                        <a:pt x="328" y="405"/>
                      </a:cubicBezTo>
                      <a:cubicBezTo>
                        <a:pt x="328" y="405"/>
                        <a:pt x="306" y="399"/>
                        <a:pt x="297" y="417"/>
                      </a:cubicBezTo>
                      <a:cubicBezTo>
                        <a:pt x="276" y="427"/>
                        <a:pt x="253" y="427"/>
                        <a:pt x="253" y="427"/>
                      </a:cubicBezTo>
                      <a:cubicBezTo>
                        <a:pt x="253" y="427"/>
                        <a:pt x="202" y="425"/>
                        <a:pt x="241" y="464"/>
                      </a:cubicBezTo>
                      <a:cubicBezTo>
                        <a:pt x="232" y="469"/>
                        <a:pt x="232" y="497"/>
                        <a:pt x="198" y="492"/>
                      </a:cubicBezTo>
                      <a:cubicBezTo>
                        <a:pt x="165" y="487"/>
                        <a:pt x="173" y="499"/>
                        <a:pt x="173" y="499"/>
                      </a:cubicBezTo>
                      <a:cubicBezTo>
                        <a:pt x="173" y="499"/>
                        <a:pt x="130" y="476"/>
                        <a:pt x="130" y="509"/>
                      </a:cubicBezTo>
                      <a:cubicBezTo>
                        <a:pt x="130" y="509"/>
                        <a:pt x="108" y="504"/>
                        <a:pt x="102" y="505"/>
                      </a:cubicBezTo>
                      <a:cubicBezTo>
                        <a:pt x="97" y="507"/>
                        <a:pt x="96" y="496"/>
                        <a:pt x="96" y="496"/>
                      </a:cubicBezTo>
                      <a:cubicBezTo>
                        <a:pt x="68" y="495"/>
                        <a:pt x="68" y="495"/>
                        <a:pt x="68" y="495"/>
                      </a:cubicBezTo>
                      <a:cubicBezTo>
                        <a:pt x="62" y="508"/>
                        <a:pt x="62" y="508"/>
                        <a:pt x="62" y="508"/>
                      </a:cubicBezTo>
                      <a:cubicBezTo>
                        <a:pt x="49" y="487"/>
                        <a:pt x="49" y="487"/>
                        <a:pt x="49" y="487"/>
                      </a:cubicBezTo>
                      <a:cubicBezTo>
                        <a:pt x="49" y="487"/>
                        <a:pt x="37" y="495"/>
                        <a:pt x="37" y="520"/>
                      </a:cubicBezTo>
                      <a:cubicBezTo>
                        <a:pt x="34" y="525"/>
                        <a:pt x="0" y="531"/>
                        <a:pt x="18" y="553"/>
                      </a:cubicBezTo>
                      <a:cubicBezTo>
                        <a:pt x="12" y="553"/>
                        <a:pt x="14" y="572"/>
                        <a:pt x="14" y="572"/>
                      </a:cubicBezTo>
                      <a:cubicBezTo>
                        <a:pt x="64" y="591"/>
                        <a:pt x="64" y="591"/>
                        <a:pt x="64" y="591"/>
                      </a:cubicBezTo>
                      <a:cubicBezTo>
                        <a:pt x="64" y="591"/>
                        <a:pt x="73" y="607"/>
                        <a:pt x="68" y="612"/>
                      </a:cubicBezTo>
                      <a:cubicBezTo>
                        <a:pt x="62" y="617"/>
                        <a:pt x="78" y="644"/>
                        <a:pt x="78" y="644"/>
                      </a:cubicBezTo>
                      <a:cubicBezTo>
                        <a:pt x="64" y="651"/>
                        <a:pt x="64" y="651"/>
                        <a:pt x="64" y="651"/>
                      </a:cubicBezTo>
                      <a:cubicBezTo>
                        <a:pt x="80" y="655"/>
                        <a:pt x="80" y="655"/>
                        <a:pt x="80" y="655"/>
                      </a:cubicBezTo>
                      <a:cubicBezTo>
                        <a:pt x="80" y="655"/>
                        <a:pt x="77" y="665"/>
                        <a:pt x="77" y="669"/>
                      </a:cubicBezTo>
                      <a:cubicBezTo>
                        <a:pt x="77" y="673"/>
                        <a:pt x="54" y="679"/>
                        <a:pt x="54" y="679"/>
                      </a:cubicBezTo>
                      <a:cubicBezTo>
                        <a:pt x="53" y="693"/>
                        <a:pt x="53" y="693"/>
                        <a:pt x="53" y="693"/>
                      </a:cubicBezTo>
                      <a:cubicBezTo>
                        <a:pt x="62" y="697"/>
                        <a:pt x="62" y="697"/>
                        <a:pt x="62" y="697"/>
                      </a:cubicBezTo>
                      <a:cubicBezTo>
                        <a:pt x="62" y="697"/>
                        <a:pt x="48" y="717"/>
                        <a:pt x="101" y="713"/>
                      </a:cubicBezTo>
                      <a:cubicBezTo>
                        <a:pt x="122" y="735"/>
                        <a:pt x="120" y="741"/>
                        <a:pt x="120" y="741"/>
                      </a:cubicBezTo>
                      <a:cubicBezTo>
                        <a:pt x="76" y="743"/>
                        <a:pt x="76" y="743"/>
                        <a:pt x="76" y="743"/>
                      </a:cubicBezTo>
                      <a:cubicBezTo>
                        <a:pt x="78" y="755"/>
                        <a:pt x="78" y="755"/>
                        <a:pt x="78" y="755"/>
                      </a:cubicBezTo>
                      <a:cubicBezTo>
                        <a:pt x="57" y="760"/>
                        <a:pt x="57" y="760"/>
                        <a:pt x="57" y="760"/>
                      </a:cubicBezTo>
                      <a:cubicBezTo>
                        <a:pt x="50" y="769"/>
                        <a:pt x="50" y="769"/>
                        <a:pt x="50" y="769"/>
                      </a:cubicBezTo>
                      <a:cubicBezTo>
                        <a:pt x="26" y="768"/>
                        <a:pt x="26" y="768"/>
                        <a:pt x="26" y="768"/>
                      </a:cubicBezTo>
                      <a:cubicBezTo>
                        <a:pt x="25" y="771"/>
                        <a:pt x="25" y="771"/>
                        <a:pt x="25" y="771"/>
                      </a:cubicBezTo>
                      <a:cubicBezTo>
                        <a:pt x="26" y="774"/>
                        <a:pt x="26" y="776"/>
                        <a:pt x="25" y="777"/>
                      </a:cubicBez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97" name="Midi-Pyrénnées" descr="© INSCALE GmbH, 05.05.2010&#10;http://www.presentationload.com/">
                  <a:extLst>
                    <a:ext uri="{FF2B5EF4-FFF2-40B4-BE49-F238E27FC236}">
                      <a16:creationId xmlns:a16="http://schemas.microsoft.com/office/drawing/2014/main" id="{BEAABDA5-50EE-43BB-9D97-67052969717C}"/>
                    </a:ext>
                  </a:extLst>
                </p:cNvPr>
                <p:cNvSpPr>
                  <a:spLocks/>
                </p:cNvSpPr>
                <p:nvPr/>
              </p:nvSpPr>
              <p:spPr bwMode="gray">
                <a:xfrm>
                  <a:off x="1092" y="2246"/>
                  <a:ext cx="953" cy="857"/>
                </a:xfrm>
                <a:custGeom>
                  <a:avLst/>
                  <a:gdLst/>
                  <a:ahLst/>
                  <a:cxnLst>
                    <a:cxn ang="0">
                      <a:pos x="839" y="302"/>
                    </a:cxn>
                    <a:cxn ang="0">
                      <a:pos x="827" y="255"/>
                    </a:cxn>
                    <a:cxn ang="0">
                      <a:pos x="812" y="191"/>
                    </a:cxn>
                    <a:cxn ang="0">
                      <a:pos x="774" y="131"/>
                    </a:cxn>
                    <a:cxn ang="0">
                      <a:pos x="763" y="86"/>
                    </a:cxn>
                    <a:cxn ang="0">
                      <a:pos x="727" y="55"/>
                    </a:cxn>
                    <a:cxn ang="0">
                      <a:pos x="690" y="56"/>
                    </a:cxn>
                    <a:cxn ang="0">
                      <a:pos x="679" y="104"/>
                    </a:cxn>
                    <a:cxn ang="0">
                      <a:pos x="628" y="128"/>
                    </a:cxn>
                    <a:cxn ang="0">
                      <a:pos x="599" y="136"/>
                    </a:cxn>
                    <a:cxn ang="0">
                      <a:pos x="583" y="108"/>
                    </a:cxn>
                    <a:cxn ang="0">
                      <a:pos x="571" y="17"/>
                    </a:cxn>
                    <a:cxn ang="0">
                      <a:pos x="535" y="27"/>
                    </a:cxn>
                    <a:cxn ang="0">
                      <a:pos x="467" y="4"/>
                    </a:cxn>
                    <a:cxn ang="0">
                      <a:pos x="420" y="8"/>
                    </a:cxn>
                    <a:cxn ang="0">
                      <a:pos x="424" y="54"/>
                    </a:cxn>
                    <a:cxn ang="0">
                      <a:pos x="390" y="75"/>
                    </a:cxn>
                    <a:cxn ang="0">
                      <a:pos x="363" y="118"/>
                    </a:cxn>
                    <a:cxn ang="0">
                      <a:pos x="327" y="190"/>
                    </a:cxn>
                    <a:cxn ang="0">
                      <a:pos x="291" y="234"/>
                    </a:cxn>
                    <a:cxn ang="0">
                      <a:pos x="296" y="287"/>
                    </a:cxn>
                    <a:cxn ang="0">
                      <a:pos x="227" y="306"/>
                    </a:cxn>
                    <a:cxn ang="0">
                      <a:pos x="140" y="319"/>
                    </a:cxn>
                    <a:cxn ang="0">
                      <a:pos x="104" y="343"/>
                    </a:cxn>
                    <a:cxn ang="0">
                      <a:pos x="83" y="335"/>
                    </a:cxn>
                    <a:cxn ang="0">
                      <a:pos x="42" y="390"/>
                    </a:cxn>
                    <a:cxn ang="0">
                      <a:pos x="30" y="423"/>
                    </a:cxn>
                    <a:cxn ang="0">
                      <a:pos x="34" y="458"/>
                    </a:cxn>
                    <a:cxn ang="0">
                      <a:pos x="72" y="498"/>
                    </a:cxn>
                    <a:cxn ang="0">
                      <a:pos x="90" y="538"/>
                    </a:cxn>
                    <a:cxn ang="0">
                      <a:pos x="67" y="578"/>
                    </a:cxn>
                    <a:cxn ang="0">
                      <a:pos x="38" y="614"/>
                    </a:cxn>
                    <a:cxn ang="0">
                      <a:pos x="0" y="699"/>
                    </a:cxn>
                    <a:cxn ang="0">
                      <a:pos x="53" y="712"/>
                    </a:cxn>
                    <a:cxn ang="0">
                      <a:pos x="129" y="735"/>
                    </a:cxn>
                    <a:cxn ang="0">
                      <a:pos x="245" y="753"/>
                    </a:cxn>
                    <a:cxn ang="0">
                      <a:pos x="321" y="721"/>
                    </a:cxn>
                    <a:cxn ang="0">
                      <a:pos x="467" y="782"/>
                    </a:cxn>
                    <a:cxn ang="0">
                      <a:pos x="492" y="791"/>
                    </a:cxn>
                    <a:cxn ang="0">
                      <a:pos x="544" y="778"/>
                    </a:cxn>
                    <a:cxn ang="0">
                      <a:pos x="567" y="736"/>
                    </a:cxn>
                    <a:cxn ang="0">
                      <a:pos x="520" y="702"/>
                    </a:cxn>
                    <a:cxn ang="0">
                      <a:pos x="530" y="674"/>
                    </a:cxn>
                    <a:cxn ang="0">
                      <a:pos x="530" y="614"/>
                    </a:cxn>
                    <a:cxn ang="0">
                      <a:pos x="503" y="543"/>
                    </a:cxn>
                    <a:cxn ang="0">
                      <a:pos x="534" y="518"/>
                    </a:cxn>
                    <a:cxn ang="0">
                      <a:pos x="596" y="532"/>
                    </a:cxn>
                    <a:cxn ang="0">
                      <a:pos x="707" y="487"/>
                    </a:cxn>
                    <a:cxn ang="0">
                      <a:pos x="794" y="428"/>
                    </a:cxn>
                    <a:cxn ang="0">
                      <a:pos x="839" y="370"/>
                    </a:cxn>
                    <a:cxn ang="0">
                      <a:pos x="884" y="326"/>
                    </a:cxn>
                  </a:cxnLst>
                  <a:rect l="0" t="0" r="r" b="b"/>
                  <a:pathLst>
                    <a:path w="884" h="794">
                      <a:moveTo>
                        <a:pt x="871" y="318"/>
                      </a:moveTo>
                      <a:cubicBezTo>
                        <a:pt x="859" y="308"/>
                        <a:pt x="859" y="308"/>
                        <a:pt x="859" y="308"/>
                      </a:cubicBezTo>
                      <a:cubicBezTo>
                        <a:pt x="839" y="302"/>
                        <a:pt x="839" y="302"/>
                        <a:pt x="839" y="302"/>
                      </a:cubicBezTo>
                      <a:cubicBezTo>
                        <a:pt x="839" y="302"/>
                        <a:pt x="854" y="284"/>
                        <a:pt x="859" y="279"/>
                      </a:cubicBezTo>
                      <a:cubicBezTo>
                        <a:pt x="864" y="274"/>
                        <a:pt x="823" y="267"/>
                        <a:pt x="823" y="267"/>
                      </a:cubicBezTo>
                      <a:cubicBezTo>
                        <a:pt x="827" y="255"/>
                        <a:pt x="827" y="255"/>
                        <a:pt x="827" y="255"/>
                      </a:cubicBezTo>
                      <a:cubicBezTo>
                        <a:pt x="804" y="247"/>
                        <a:pt x="804" y="247"/>
                        <a:pt x="804" y="247"/>
                      </a:cubicBezTo>
                      <a:cubicBezTo>
                        <a:pt x="814" y="231"/>
                        <a:pt x="814" y="231"/>
                        <a:pt x="814" y="231"/>
                      </a:cubicBezTo>
                      <a:cubicBezTo>
                        <a:pt x="812" y="191"/>
                        <a:pt x="812" y="191"/>
                        <a:pt x="812" y="191"/>
                      </a:cubicBezTo>
                      <a:cubicBezTo>
                        <a:pt x="791" y="178"/>
                        <a:pt x="791" y="178"/>
                        <a:pt x="791" y="178"/>
                      </a:cubicBezTo>
                      <a:cubicBezTo>
                        <a:pt x="795" y="146"/>
                        <a:pt x="795" y="146"/>
                        <a:pt x="795" y="146"/>
                      </a:cubicBezTo>
                      <a:cubicBezTo>
                        <a:pt x="774" y="131"/>
                        <a:pt x="774" y="131"/>
                        <a:pt x="774" y="131"/>
                      </a:cubicBezTo>
                      <a:cubicBezTo>
                        <a:pt x="774" y="122"/>
                        <a:pt x="774" y="122"/>
                        <a:pt x="774" y="122"/>
                      </a:cubicBezTo>
                      <a:cubicBezTo>
                        <a:pt x="772" y="126"/>
                        <a:pt x="772" y="126"/>
                        <a:pt x="772" y="126"/>
                      </a:cubicBezTo>
                      <a:cubicBezTo>
                        <a:pt x="763" y="86"/>
                        <a:pt x="763" y="86"/>
                        <a:pt x="763" y="86"/>
                      </a:cubicBezTo>
                      <a:cubicBezTo>
                        <a:pt x="754" y="75"/>
                        <a:pt x="754" y="75"/>
                        <a:pt x="754" y="75"/>
                      </a:cubicBezTo>
                      <a:cubicBezTo>
                        <a:pt x="754" y="75"/>
                        <a:pt x="740" y="45"/>
                        <a:pt x="729" y="53"/>
                      </a:cubicBezTo>
                      <a:cubicBezTo>
                        <a:pt x="729" y="55"/>
                        <a:pt x="728" y="56"/>
                        <a:pt x="727" y="55"/>
                      </a:cubicBezTo>
                      <a:cubicBezTo>
                        <a:pt x="728" y="54"/>
                        <a:pt x="728" y="54"/>
                        <a:pt x="729" y="53"/>
                      </a:cubicBezTo>
                      <a:cubicBezTo>
                        <a:pt x="731" y="46"/>
                        <a:pt x="725" y="18"/>
                        <a:pt x="699" y="55"/>
                      </a:cubicBezTo>
                      <a:cubicBezTo>
                        <a:pt x="690" y="63"/>
                        <a:pt x="690" y="56"/>
                        <a:pt x="690" y="56"/>
                      </a:cubicBezTo>
                      <a:cubicBezTo>
                        <a:pt x="688" y="78"/>
                        <a:pt x="688" y="78"/>
                        <a:pt x="688" y="78"/>
                      </a:cubicBezTo>
                      <a:cubicBezTo>
                        <a:pt x="680" y="84"/>
                        <a:pt x="680" y="84"/>
                        <a:pt x="680" y="84"/>
                      </a:cubicBezTo>
                      <a:cubicBezTo>
                        <a:pt x="679" y="104"/>
                        <a:pt x="679" y="104"/>
                        <a:pt x="679" y="104"/>
                      </a:cubicBezTo>
                      <a:cubicBezTo>
                        <a:pt x="666" y="114"/>
                        <a:pt x="666" y="114"/>
                        <a:pt x="666" y="114"/>
                      </a:cubicBezTo>
                      <a:cubicBezTo>
                        <a:pt x="662" y="126"/>
                        <a:pt x="662" y="126"/>
                        <a:pt x="662" y="126"/>
                      </a:cubicBezTo>
                      <a:cubicBezTo>
                        <a:pt x="628" y="128"/>
                        <a:pt x="628" y="128"/>
                        <a:pt x="628" y="128"/>
                      </a:cubicBezTo>
                      <a:cubicBezTo>
                        <a:pt x="627" y="123"/>
                        <a:pt x="627" y="123"/>
                        <a:pt x="627" y="123"/>
                      </a:cubicBezTo>
                      <a:cubicBezTo>
                        <a:pt x="598" y="124"/>
                        <a:pt x="598" y="124"/>
                        <a:pt x="598" y="124"/>
                      </a:cubicBezTo>
                      <a:cubicBezTo>
                        <a:pt x="599" y="136"/>
                        <a:pt x="599" y="136"/>
                        <a:pt x="599" y="136"/>
                      </a:cubicBezTo>
                      <a:cubicBezTo>
                        <a:pt x="594" y="130"/>
                        <a:pt x="594" y="130"/>
                        <a:pt x="594" y="130"/>
                      </a:cubicBezTo>
                      <a:cubicBezTo>
                        <a:pt x="592" y="114"/>
                        <a:pt x="592" y="114"/>
                        <a:pt x="592" y="114"/>
                      </a:cubicBezTo>
                      <a:cubicBezTo>
                        <a:pt x="583" y="108"/>
                        <a:pt x="583" y="108"/>
                        <a:pt x="583" y="108"/>
                      </a:cubicBezTo>
                      <a:cubicBezTo>
                        <a:pt x="588" y="74"/>
                        <a:pt x="588" y="74"/>
                        <a:pt x="588" y="74"/>
                      </a:cubicBezTo>
                      <a:cubicBezTo>
                        <a:pt x="572" y="47"/>
                        <a:pt x="572" y="47"/>
                        <a:pt x="572" y="47"/>
                      </a:cubicBezTo>
                      <a:cubicBezTo>
                        <a:pt x="572" y="47"/>
                        <a:pt x="574" y="30"/>
                        <a:pt x="571" y="17"/>
                      </a:cubicBezTo>
                      <a:cubicBezTo>
                        <a:pt x="569" y="19"/>
                        <a:pt x="568" y="20"/>
                        <a:pt x="568" y="20"/>
                      </a:cubicBezTo>
                      <a:cubicBezTo>
                        <a:pt x="547" y="22"/>
                        <a:pt x="547" y="22"/>
                        <a:pt x="547" y="22"/>
                      </a:cubicBezTo>
                      <a:cubicBezTo>
                        <a:pt x="535" y="27"/>
                        <a:pt x="535" y="27"/>
                        <a:pt x="535" y="27"/>
                      </a:cubicBezTo>
                      <a:cubicBezTo>
                        <a:pt x="532" y="20"/>
                        <a:pt x="532" y="20"/>
                        <a:pt x="532" y="20"/>
                      </a:cubicBezTo>
                      <a:cubicBezTo>
                        <a:pt x="532" y="20"/>
                        <a:pt x="518" y="43"/>
                        <a:pt x="507" y="39"/>
                      </a:cubicBezTo>
                      <a:cubicBezTo>
                        <a:pt x="496" y="35"/>
                        <a:pt x="467" y="4"/>
                        <a:pt x="467" y="4"/>
                      </a:cubicBezTo>
                      <a:cubicBezTo>
                        <a:pt x="467" y="4"/>
                        <a:pt x="435" y="0"/>
                        <a:pt x="424" y="7"/>
                      </a:cubicBezTo>
                      <a:cubicBezTo>
                        <a:pt x="423" y="4"/>
                        <a:pt x="423" y="4"/>
                        <a:pt x="423" y="4"/>
                      </a:cubicBezTo>
                      <a:cubicBezTo>
                        <a:pt x="420" y="8"/>
                        <a:pt x="420" y="8"/>
                        <a:pt x="420" y="8"/>
                      </a:cubicBezTo>
                      <a:cubicBezTo>
                        <a:pt x="426" y="39"/>
                        <a:pt x="426" y="39"/>
                        <a:pt x="426" y="39"/>
                      </a:cubicBezTo>
                      <a:cubicBezTo>
                        <a:pt x="419" y="44"/>
                        <a:pt x="419" y="44"/>
                        <a:pt x="419" y="44"/>
                      </a:cubicBezTo>
                      <a:cubicBezTo>
                        <a:pt x="424" y="54"/>
                        <a:pt x="424" y="54"/>
                        <a:pt x="424" y="54"/>
                      </a:cubicBezTo>
                      <a:cubicBezTo>
                        <a:pt x="407" y="60"/>
                        <a:pt x="407" y="60"/>
                        <a:pt x="407" y="60"/>
                      </a:cubicBezTo>
                      <a:cubicBezTo>
                        <a:pt x="406" y="74"/>
                        <a:pt x="406" y="74"/>
                        <a:pt x="406" y="74"/>
                      </a:cubicBezTo>
                      <a:cubicBezTo>
                        <a:pt x="390" y="75"/>
                        <a:pt x="390" y="75"/>
                        <a:pt x="390" y="75"/>
                      </a:cubicBezTo>
                      <a:cubicBezTo>
                        <a:pt x="398" y="92"/>
                        <a:pt x="398" y="92"/>
                        <a:pt x="398" y="92"/>
                      </a:cubicBezTo>
                      <a:cubicBezTo>
                        <a:pt x="384" y="112"/>
                        <a:pt x="384" y="112"/>
                        <a:pt x="384" y="112"/>
                      </a:cubicBezTo>
                      <a:cubicBezTo>
                        <a:pt x="363" y="118"/>
                        <a:pt x="363" y="118"/>
                        <a:pt x="363" y="118"/>
                      </a:cubicBezTo>
                      <a:cubicBezTo>
                        <a:pt x="344" y="147"/>
                        <a:pt x="344" y="147"/>
                        <a:pt x="344" y="147"/>
                      </a:cubicBezTo>
                      <a:cubicBezTo>
                        <a:pt x="316" y="156"/>
                        <a:pt x="316" y="156"/>
                        <a:pt x="316" y="156"/>
                      </a:cubicBezTo>
                      <a:cubicBezTo>
                        <a:pt x="316" y="156"/>
                        <a:pt x="327" y="186"/>
                        <a:pt x="327" y="190"/>
                      </a:cubicBezTo>
                      <a:cubicBezTo>
                        <a:pt x="327" y="194"/>
                        <a:pt x="334" y="198"/>
                        <a:pt x="334" y="198"/>
                      </a:cubicBezTo>
                      <a:cubicBezTo>
                        <a:pt x="334" y="198"/>
                        <a:pt x="331" y="223"/>
                        <a:pt x="312" y="216"/>
                      </a:cubicBezTo>
                      <a:cubicBezTo>
                        <a:pt x="294" y="210"/>
                        <a:pt x="291" y="234"/>
                        <a:pt x="291" y="234"/>
                      </a:cubicBezTo>
                      <a:cubicBezTo>
                        <a:pt x="308" y="246"/>
                        <a:pt x="308" y="246"/>
                        <a:pt x="308" y="246"/>
                      </a:cubicBezTo>
                      <a:cubicBezTo>
                        <a:pt x="291" y="270"/>
                        <a:pt x="291" y="270"/>
                        <a:pt x="291" y="270"/>
                      </a:cubicBezTo>
                      <a:cubicBezTo>
                        <a:pt x="296" y="287"/>
                        <a:pt x="296" y="287"/>
                        <a:pt x="296" y="287"/>
                      </a:cubicBezTo>
                      <a:cubicBezTo>
                        <a:pt x="274" y="286"/>
                        <a:pt x="274" y="286"/>
                        <a:pt x="274" y="286"/>
                      </a:cubicBezTo>
                      <a:cubicBezTo>
                        <a:pt x="274" y="286"/>
                        <a:pt x="262" y="322"/>
                        <a:pt x="247" y="322"/>
                      </a:cubicBezTo>
                      <a:cubicBezTo>
                        <a:pt x="232" y="322"/>
                        <a:pt x="227" y="306"/>
                        <a:pt x="227" y="306"/>
                      </a:cubicBezTo>
                      <a:cubicBezTo>
                        <a:pt x="214" y="311"/>
                        <a:pt x="214" y="311"/>
                        <a:pt x="214" y="311"/>
                      </a:cubicBezTo>
                      <a:cubicBezTo>
                        <a:pt x="214" y="311"/>
                        <a:pt x="183" y="326"/>
                        <a:pt x="168" y="327"/>
                      </a:cubicBezTo>
                      <a:cubicBezTo>
                        <a:pt x="154" y="328"/>
                        <a:pt x="140" y="319"/>
                        <a:pt x="140" y="319"/>
                      </a:cubicBezTo>
                      <a:cubicBezTo>
                        <a:pt x="127" y="328"/>
                        <a:pt x="127" y="328"/>
                        <a:pt x="127" y="328"/>
                      </a:cubicBezTo>
                      <a:cubicBezTo>
                        <a:pt x="118" y="326"/>
                        <a:pt x="118" y="326"/>
                        <a:pt x="118" y="326"/>
                      </a:cubicBezTo>
                      <a:cubicBezTo>
                        <a:pt x="118" y="326"/>
                        <a:pt x="103" y="338"/>
                        <a:pt x="104" y="343"/>
                      </a:cubicBezTo>
                      <a:cubicBezTo>
                        <a:pt x="106" y="348"/>
                        <a:pt x="112" y="362"/>
                        <a:pt x="104" y="359"/>
                      </a:cubicBezTo>
                      <a:cubicBezTo>
                        <a:pt x="96" y="356"/>
                        <a:pt x="91" y="348"/>
                        <a:pt x="88" y="342"/>
                      </a:cubicBezTo>
                      <a:cubicBezTo>
                        <a:pt x="86" y="335"/>
                        <a:pt x="83" y="335"/>
                        <a:pt x="83" y="335"/>
                      </a:cubicBezTo>
                      <a:cubicBezTo>
                        <a:pt x="83" y="335"/>
                        <a:pt x="74" y="344"/>
                        <a:pt x="67" y="344"/>
                      </a:cubicBezTo>
                      <a:cubicBezTo>
                        <a:pt x="60" y="344"/>
                        <a:pt x="38" y="358"/>
                        <a:pt x="38" y="358"/>
                      </a:cubicBezTo>
                      <a:cubicBezTo>
                        <a:pt x="42" y="390"/>
                        <a:pt x="42" y="390"/>
                        <a:pt x="42" y="390"/>
                      </a:cubicBezTo>
                      <a:cubicBezTo>
                        <a:pt x="38" y="387"/>
                        <a:pt x="38" y="387"/>
                        <a:pt x="38" y="387"/>
                      </a:cubicBezTo>
                      <a:cubicBezTo>
                        <a:pt x="43" y="408"/>
                        <a:pt x="43" y="408"/>
                        <a:pt x="43" y="408"/>
                      </a:cubicBezTo>
                      <a:cubicBezTo>
                        <a:pt x="30" y="423"/>
                        <a:pt x="30" y="423"/>
                        <a:pt x="30" y="423"/>
                      </a:cubicBezTo>
                      <a:cubicBezTo>
                        <a:pt x="31" y="442"/>
                        <a:pt x="31" y="442"/>
                        <a:pt x="31" y="442"/>
                      </a:cubicBezTo>
                      <a:cubicBezTo>
                        <a:pt x="22" y="446"/>
                        <a:pt x="22" y="446"/>
                        <a:pt x="22" y="446"/>
                      </a:cubicBezTo>
                      <a:cubicBezTo>
                        <a:pt x="34" y="458"/>
                        <a:pt x="34" y="458"/>
                        <a:pt x="34" y="458"/>
                      </a:cubicBezTo>
                      <a:cubicBezTo>
                        <a:pt x="34" y="458"/>
                        <a:pt x="72" y="471"/>
                        <a:pt x="76" y="480"/>
                      </a:cubicBezTo>
                      <a:cubicBezTo>
                        <a:pt x="80" y="490"/>
                        <a:pt x="83" y="494"/>
                        <a:pt x="83" y="494"/>
                      </a:cubicBezTo>
                      <a:cubicBezTo>
                        <a:pt x="72" y="498"/>
                        <a:pt x="72" y="498"/>
                        <a:pt x="72" y="498"/>
                      </a:cubicBezTo>
                      <a:cubicBezTo>
                        <a:pt x="72" y="514"/>
                        <a:pt x="72" y="514"/>
                        <a:pt x="72" y="514"/>
                      </a:cubicBezTo>
                      <a:cubicBezTo>
                        <a:pt x="88" y="508"/>
                        <a:pt x="88" y="508"/>
                        <a:pt x="88" y="508"/>
                      </a:cubicBezTo>
                      <a:cubicBezTo>
                        <a:pt x="90" y="538"/>
                        <a:pt x="90" y="538"/>
                        <a:pt x="90" y="538"/>
                      </a:cubicBezTo>
                      <a:cubicBezTo>
                        <a:pt x="78" y="543"/>
                        <a:pt x="78" y="543"/>
                        <a:pt x="78" y="543"/>
                      </a:cubicBezTo>
                      <a:cubicBezTo>
                        <a:pt x="78" y="543"/>
                        <a:pt x="72" y="555"/>
                        <a:pt x="79" y="563"/>
                      </a:cubicBezTo>
                      <a:cubicBezTo>
                        <a:pt x="79" y="568"/>
                        <a:pt x="67" y="578"/>
                        <a:pt x="67" y="578"/>
                      </a:cubicBezTo>
                      <a:cubicBezTo>
                        <a:pt x="67" y="588"/>
                        <a:pt x="67" y="588"/>
                        <a:pt x="67" y="588"/>
                      </a:cubicBezTo>
                      <a:cubicBezTo>
                        <a:pt x="58" y="588"/>
                        <a:pt x="58" y="588"/>
                        <a:pt x="58" y="588"/>
                      </a:cubicBezTo>
                      <a:cubicBezTo>
                        <a:pt x="38" y="614"/>
                        <a:pt x="38" y="614"/>
                        <a:pt x="38" y="614"/>
                      </a:cubicBezTo>
                      <a:cubicBezTo>
                        <a:pt x="38" y="632"/>
                        <a:pt x="38" y="632"/>
                        <a:pt x="38" y="632"/>
                      </a:cubicBezTo>
                      <a:cubicBezTo>
                        <a:pt x="22" y="634"/>
                        <a:pt x="22" y="634"/>
                        <a:pt x="22" y="634"/>
                      </a:cubicBezTo>
                      <a:cubicBezTo>
                        <a:pt x="0" y="699"/>
                        <a:pt x="0" y="699"/>
                        <a:pt x="0" y="699"/>
                      </a:cubicBezTo>
                      <a:cubicBezTo>
                        <a:pt x="0" y="699"/>
                        <a:pt x="1" y="701"/>
                        <a:pt x="1" y="705"/>
                      </a:cubicBezTo>
                      <a:cubicBezTo>
                        <a:pt x="24" y="689"/>
                        <a:pt x="48" y="712"/>
                        <a:pt x="48" y="712"/>
                      </a:cubicBezTo>
                      <a:cubicBezTo>
                        <a:pt x="53" y="712"/>
                        <a:pt x="53" y="712"/>
                        <a:pt x="53" y="712"/>
                      </a:cubicBezTo>
                      <a:cubicBezTo>
                        <a:pt x="79" y="748"/>
                        <a:pt x="79" y="748"/>
                        <a:pt x="79" y="748"/>
                      </a:cubicBezTo>
                      <a:cubicBezTo>
                        <a:pt x="119" y="746"/>
                        <a:pt x="119" y="746"/>
                        <a:pt x="119" y="746"/>
                      </a:cubicBezTo>
                      <a:cubicBezTo>
                        <a:pt x="129" y="735"/>
                        <a:pt x="129" y="735"/>
                        <a:pt x="129" y="735"/>
                      </a:cubicBezTo>
                      <a:cubicBezTo>
                        <a:pt x="129" y="735"/>
                        <a:pt x="153" y="752"/>
                        <a:pt x="162" y="757"/>
                      </a:cubicBezTo>
                      <a:cubicBezTo>
                        <a:pt x="170" y="733"/>
                        <a:pt x="192" y="748"/>
                        <a:pt x="192" y="748"/>
                      </a:cubicBezTo>
                      <a:cubicBezTo>
                        <a:pt x="192" y="748"/>
                        <a:pt x="239" y="752"/>
                        <a:pt x="245" y="753"/>
                      </a:cubicBezTo>
                      <a:cubicBezTo>
                        <a:pt x="251" y="754"/>
                        <a:pt x="245" y="741"/>
                        <a:pt x="245" y="741"/>
                      </a:cubicBezTo>
                      <a:cubicBezTo>
                        <a:pt x="234" y="718"/>
                        <a:pt x="253" y="691"/>
                        <a:pt x="253" y="691"/>
                      </a:cubicBezTo>
                      <a:cubicBezTo>
                        <a:pt x="253" y="691"/>
                        <a:pt x="302" y="721"/>
                        <a:pt x="321" y="721"/>
                      </a:cubicBezTo>
                      <a:cubicBezTo>
                        <a:pt x="340" y="721"/>
                        <a:pt x="364" y="744"/>
                        <a:pt x="364" y="744"/>
                      </a:cubicBezTo>
                      <a:cubicBezTo>
                        <a:pt x="398" y="728"/>
                        <a:pt x="420" y="779"/>
                        <a:pt x="421" y="782"/>
                      </a:cubicBezTo>
                      <a:cubicBezTo>
                        <a:pt x="442" y="756"/>
                        <a:pt x="467" y="782"/>
                        <a:pt x="467" y="782"/>
                      </a:cubicBezTo>
                      <a:cubicBezTo>
                        <a:pt x="479" y="774"/>
                        <a:pt x="479" y="774"/>
                        <a:pt x="479" y="774"/>
                      </a:cubicBezTo>
                      <a:cubicBezTo>
                        <a:pt x="479" y="774"/>
                        <a:pt x="488" y="786"/>
                        <a:pt x="491" y="794"/>
                      </a:cubicBezTo>
                      <a:cubicBezTo>
                        <a:pt x="492" y="791"/>
                        <a:pt x="492" y="791"/>
                        <a:pt x="492" y="791"/>
                      </a:cubicBezTo>
                      <a:cubicBezTo>
                        <a:pt x="516" y="792"/>
                        <a:pt x="516" y="792"/>
                        <a:pt x="516" y="792"/>
                      </a:cubicBezTo>
                      <a:cubicBezTo>
                        <a:pt x="523" y="783"/>
                        <a:pt x="523" y="783"/>
                        <a:pt x="523" y="783"/>
                      </a:cubicBezTo>
                      <a:cubicBezTo>
                        <a:pt x="544" y="778"/>
                        <a:pt x="544" y="778"/>
                        <a:pt x="544" y="778"/>
                      </a:cubicBezTo>
                      <a:cubicBezTo>
                        <a:pt x="542" y="766"/>
                        <a:pt x="542" y="766"/>
                        <a:pt x="542" y="766"/>
                      </a:cubicBezTo>
                      <a:cubicBezTo>
                        <a:pt x="586" y="764"/>
                        <a:pt x="586" y="764"/>
                        <a:pt x="586" y="764"/>
                      </a:cubicBezTo>
                      <a:cubicBezTo>
                        <a:pt x="586" y="764"/>
                        <a:pt x="588" y="758"/>
                        <a:pt x="567" y="736"/>
                      </a:cubicBezTo>
                      <a:cubicBezTo>
                        <a:pt x="514" y="740"/>
                        <a:pt x="528" y="720"/>
                        <a:pt x="528" y="720"/>
                      </a:cubicBezTo>
                      <a:cubicBezTo>
                        <a:pt x="519" y="716"/>
                        <a:pt x="519" y="716"/>
                        <a:pt x="519" y="716"/>
                      </a:cubicBezTo>
                      <a:cubicBezTo>
                        <a:pt x="520" y="702"/>
                        <a:pt x="520" y="702"/>
                        <a:pt x="520" y="702"/>
                      </a:cubicBezTo>
                      <a:cubicBezTo>
                        <a:pt x="520" y="702"/>
                        <a:pt x="543" y="696"/>
                        <a:pt x="543" y="692"/>
                      </a:cubicBezTo>
                      <a:cubicBezTo>
                        <a:pt x="543" y="688"/>
                        <a:pt x="546" y="678"/>
                        <a:pt x="546" y="678"/>
                      </a:cubicBezTo>
                      <a:cubicBezTo>
                        <a:pt x="530" y="674"/>
                        <a:pt x="530" y="674"/>
                        <a:pt x="530" y="674"/>
                      </a:cubicBezTo>
                      <a:cubicBezTo>
                        <a:pt x="544" y="667"/>
                        <a:pt x="544" y="667"/>
                        <a:pt x="544" y="667"/>
                      </a:cubicBezTo>
                      <a:cubicBezTo>
                        <a:pt x="544" y="667"/>
                        <a:pt x="528" y="640"/>
                        <a:pt x="534" y="635"/>
                      </a:cubicBezTo>
                      <a:cubicBezTo>
                        <a:pt x="539" y="630"/>
                        <a:pt x="530" y="614"/>
                        <a:pt x="530" y="614"/>
                      </a:cubicBezTo>
                      <a:cubicBezTo>
                        <a:pt x="480" y="595"/>
                        <a:pt x="480" y="595"/>
                        <a:pt x="480" y="595"/>
                      </a:cubicBezTo>
                      <a:cubicBezTo>
                        <a:pt x="480" y="595"/>
                        <a:pt x="478" y="576"/>
                        <a:pt x="484" y="576"/>
                      </a:cubicBezTo>
                      <a:cubicBezTo>
                        <a:pt x="466" y="554"/>
                        <a:pt x="500" y="548"/>
                        <a:pt x="503" y="543"/>
                      </a:cubicBezTo>
                      <a:cubicBezTo>
                        <a:pt x="503" y="518"/>
                        <a:pt x="515" y="510"/>
                        <a:pt x="515" y="510"/>
                      </a:cubicBezTo>
                      <a:cubicBezTo>
                        <a:pt x="528" y="531"/>
                        <a:pt x="528" y="531"/>
                        <a:pt x="528" y="531"/>
                      </a:cubicBezTo>
                      <a:cubicBezTo>
                        <a:pt x="534" y="518"/>
                        <a:pt x="534" y="518"/>
                        <a:pt x="534" y="518"/>
                      </a:cubicBezTo>
                      <a:cubicBezTo>
                        <a:pt x="562" y="519"/>
                        <a:pt x="562" y="519"/>
                        <a:pt x="562" y="519"/>
                      </a:cubicBezTo>
                      <a:cubicBezTo>
                        <a:pt x="562" y="519"/>
                        <a:pt x="563" y="530"/>
                        <a:pt x="568" y="528"/>
                      </a:cubicBezTo>
                      <a:cubicBezTo>
                        <a:pt x="574" y="527"/>
                        <a:pt x="596" y="532"/>
                        <a:pt x="596" y="532"/>
                      </a:cubicBezTo>
                      <a:cubicBezTo>
                        <a:pt x="596" y="499"/>
                        <a:pt x="639" y="522"/>
                        <a:pt x="639" y="522"/>
                      </a:cubicBezTo>
                      <a:cubicBezTo>
                        <a:pt x="639" y="522"/>
                        <a:pt x="631" y="510"/>
                        <a:pt x="664" y="515"/>
                      </a:cubicBezTo>
                      <a:cubicBezTo>
                        <a:pt x="698" y="520"/>
                        <a:pt x="698" y="492"/>
                        <a:pt x="707" y="487"/>
                      </a:cubicBezTo>
                      <a:cubicBezTo>
                        <a:pt x="668" y="448"/>
                        <a:pt x="719" y="450"/>
                        <a:pt x="719" y="450"/>
                      </a:cubicBezTo>
                      <a:cubicBezTo>
                        <a:pt x="719" y="450"/>
                        <a:pt x="742" y="450"/>
                        <a:pt x="763" y="440"/>
                      </a:cubicBezTo>
                      <a:cubicBezTo>
                        <a:pt x="772" y="422"/>
                        <a:pt x="794" y="428"/>
                        <a:pt x="794" y="428"/>
                      </a:cubicBezTo>
                      <a:cubicBezTo>
                        <a:pt x="795" y="388"/>
                        <a:pt x="795" y="388"/>
                        <a:pt x="795" y="388"/>
                      </a:cubicBezTo>
                      <a:cubicBezTo>
                        <a:pt x="839" y="387"/>
                        <a:pt x="839" y="387"/>
                        <a:pt x="839" y="387"/>
                      </a:cubicBezTo>
                      <a:cubicBezTo>
                        <a:pt x="839" y="370"/>
                        <a:pt x="839" y="370"/>
                        <a:pt x="839" y="370"/>
                      </a:cubicBezTo>
                      <a:cubicBezTo>
                        <a:pt x="860" y="368"/>
                        <a:pt x="860" y="368"/>
                        <a:pt x="860" y="368"/>
                      </a:cubicBezTo>
                      <a:cubicBezTo>
                        <a:pt x="863" y="351"/>
                        <a:pt x="863" y="351"/>
                        <a:pt x="863" y="351"/>
                      </a:cubicBezTo>
                      <a:cubicBezTo>
                        <a:pt x="884" y="326"/>
                        <a:pt x="884" y="326"/>
                        <a:pt x="884" y="326"/>
                      </a:cubicBezTo>
                      <a:lnTo>
                        <a:pt x="871" y="318"/>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98" name="Aquitaine" descr="© INSCALE GmbH, 05.05.2010&#10;http://www.presentationload.com/">
                  <a:extLst>
                    <a:ext uri="{FF2B5EF4-FFF2-40B4-BE49-F238E27FC236}">
                      <a16:creationId xmlns:a16="http://schemas.microsoft.com/office/drawing/2014/main" id="{7EEA6AA9-0E27-45C9-946A-DEA14C19077A}"/>
                    </a:ext>
                  </a:extLst>
                </p:cNvPr>
                <p:cNvSpPr>
                  <a:spLocks/>
                </p:cNvSpPr>
                <p:nvPr/>
              </p:nvSpPr>
              <p:spPr bwMode="gray">
                <a:xfrm>
                  <a:off x="758" y="1992"/>
                  <a:ext cx="793" cy="1021"/>
                </a:xfrm>
                <a:custGeom>
                  <a:avLst/>
                  <a:gdLst/>
                  <a:ahLst/>
                  <a:cxnLst>
                    <a:cxn ang="0">
                      <a:pos x="347" y="849"/>
                    </a:cxn>
                    <a:cxn ang="0">
                      <a:pos x="376" y="813"/>
                    </a:cxn>
                    <a:cxn ang="0">
                      <a:pos x="399" y="773"/>
                    </a:cxn>
                    <a:cxn ang="0">
                      <a:pos x="381" y="733"/>
                    </a:cxn>
                    <a:cxn ang="0">
                      <a:pos x="343" y="693"/>
                    </a:cxn>
                    <a:cxn ang="0">
                      <a:pos x="339" y="658"/>
                    </a:cxn>
                    <a:cxn ang="0">
                      <a:pos x="351" y="625"/>
                    </a:cxn>
                    <a:cxn ang="0">
                      <a:pos x="392" y="570"/>
                    </a:cxn>
                    <a:cxn ang="0">
                      <a:pos x="413" y="578"/>
                    </a:cxn>
                    <a:cxn ang="0">
                      <a:pos x="449" y="554"/>
                    </a:cxn>
                    <a:cxn ang="0">
                      <a:pos x="536" y="541"/>
                    </a:cxn>
                    <a:cxn ang="0">
                      <a:pos x="605" y="522"/>
                    </a:cxn>
                    <a:cxn ang="0">
                      <a:pos x="600" y="469"/>
                    </a:cxn>
                    <a:cxn ang="0">
                      <a:pos x="636" y="425"/>
                    </a:cxn>
                    <a:cxn ang="0">
                      <a:pos x="672" y="353"/>
                    </a:cxn>
                    <a:cxn ang="0">
                      <a:pos x="699" y="310"/>
                    </a:cxn>
                    <a:cxn ang="0">
                      <a:pos x="733" y="289"/>
                    </a:cxn>
                    <a:cxn ang="0">
                      <a:pos x="729" y="243"/>
                    </a:cxn>
                    <a:cxn ang="0">
                      <a:pos x="727" y="207"/>
                    </a:cxn>
                    <a:cxn ang="0">
                      <a:pos x="692" y="183"/>
                    </a:cxn>
                    <a:cxn ang="0">
                      <a:pos x="691" y="150"/>
                    </a:cxn>
                    <a:cxn ang="0">
                      <a:pos x="700" y="117"/>
                    </a:cxn>
                    <a:cxn ang="0">
                      <a:pos x="655" y="74"/>
                    </a:cxn>
                    <a:cxn ang="0">
                      <a:pos x="589" y="58"/>
                    </a:cxn>
                    <a:cxn ang="0">
                      <a:pos x="540" y="43"/>
                    </a:cxn>
                    <a:cxn ang="0">
                      <a:pos x="519" y="74"/>
                    </a:cxn>
                    <a:cxn ang="0">
                      <a:pos x="464" y="147"/>
                    </a:cxn>
                    <a:cxn ang="0">
                      <a:pos x="407" y="202"/>
                    </a:cxn>
                    <a:cxn ang="0">
                      <a:pos x="319" y="169"/>
                    </a:cxn>
                    <a:cxn ang="0">
                      <a:pos x="265" y="131"/>
                    </a:cxn>
                    <a:cxn ang="0">
                      <a:pos x="279" y="178"/>
                    </a:cxn>
                    <a:cxn ang="0">
                      <a:pos x="239" y="76"/>
                    </a:cxn>
                    <a:cxn ang="0">
                      <a:pos x="185" y="0"/>
                    </a:cxn>
                    <a:cxn ang="0">
                      <a:pos x="133" y="309"/>
                    </a:cxn>
                    <a:cxn ang="0">
                      <a:pos x="147" y="302"/>
                    </a:cxn>
                    <a:cxn ang="0">
                      <a:pos x="23" y="730"/>
                    </a:cxn>
                    <a:cxn ang="0">
                      <a:pos x="34" y="764"/>
                    </a:cxn>
                    <a:cxn ang="0">
                      <a:pos x="86" y="787"/>
                    </a:cxn>
                    <a:cxn ang="0">
                      <a:pos x="110" y="831"/>
                    </a:cxn>
                    <a:cxn ang="0">
                      <a:pos x="142" y="869"/>
                    </a:cxn>
                    <a:cxn ang="0">
                      <a:pos x="228" y="882"/>
                    </a:cxn>
                    <a:cxn ang="0">
                      <a:pos x="293" y="943"/>
                    </a:cxn>
                    <a:cxn ang="0">
                      <a:pos x="309" y="934"/>
                    </a:cxn>
                  </a:cxnLst>
                  <a:rect l="0" t="0" r="r" b="b"/>
                  <a:pathLst>
                    <a:path w="735" h="946">
                      <a:moveTo>
                        <a:pt x="331" y="869"/>
                      </a:moveTo>
                      <a:cubicBezTo>
                        <a:pt x="347" y="867"/>
                        <a:pt x="347" y="867"/>
                        <a:pt x="347" y="867"/>
                      </a:cubicBezTo>
                      <a:cubicBezTo>
                        <a:pt x="347" y="849"/>
                        <a:pt x="347" y="849"/>
                        <a:pt x="347" y="849"/>
                      </a:cubicBezTo>
                      <a:cubicBezTo>
                        <a:pt x="367" y="823"/>
                        <a:pt x="367" y="823"/>
                        <a:pt x="367" y="823"/>
                      </a:cubicBezTo>
                      <a:cubicBezTo>
                        <a:pt x="376" y="823"/>
                        <a:pt x="376" y="823"/>
                        <a:pt x="376" y="823"/>
                      </a:cubicBezTo>
                      <a:cubicBezTo>
                        <a:pt x="376" y="813"/>
                        <a:pt x="376" y="813"/>
                        <a:pt x="376" y="813"/>
                      </a:cubicBezTo>
                      <a:cubicBezTo>
                        <a:pt x="376" y="813"/>
                        <a:pt x="388" y="803"/>
                        <a:pt x="388" y="798"/>
                      </a:cubicBezTo>
                      <a:cubicBezTo>
                        <a:pt x="381" y="790"/>
                        <a:pt x="387" y="778"/>
                        <a:pt x="387" y="778"/>
                      </a:cubicBezTo>
                      <a:cubicBezTo>
                        <a:pt x="399" y="773"/>
                        <a:pt x="399" y="773"/>
                        <a:pt x="399" y="773"/>
                      </a:cubicBezTo>
                      <a:cubicBezTo>
                        <a:pt x="397" y="743"/>
                        <a:pt x="397" y="743"/>
                        <a:pt x="397" y="743"/>
                      </a:cubicBezTo>
                      <a:cubicBezTo>
                        <a:pt x="381" y="749"/>
                        <a:pt x="381" y="749"/>
                        <a:pt x="381" y="749"/>
                      </a:cubicBezTo>
                      <a:cubicBezTo>
                        <a:pt x="381" y="733"/>
                        <a:pt x="381" y="733"/>
                        <a:pt x="381" y="733"/>
                      </a:cubicBezTo>
                      <a:cubicBezTo>
                        <a:pt x="392" y="729"/>
                        <a:pt x="392" y="729"/>
                        <a:pt x="392" y="729"/>
                      </a:cubicBezTo>
                      <a:cubicBezTo>
                        <a:pt x="392" y="729"/>
                        <a:pt x="389" y="725"/>
                        <a:pt x="385" y="715"/>
                      </a:cubicBezTo>
                      <a:cubicBezTo>
                        <a:pt x="381" y="706"/>
                        <a:pt x="343" y="693"/>
                        <a:pt x="343" y="693"/>
                      </a:cubicBezTo>
                      <a:cubicBezTo>
                        <a:pt x="331" y="681"/>
                        <a:pt x="331" y="681"/>
                        <a:pt x="331" y="681"/>
                      </a:cubicBezTo>
                      <a:cubicBezTo>
                        <a:pt x="340" y="677"/>
                        <a:pt x="340" y="677"/>
                        <a:pt x="340" y="677"/>
                      </a:cubicBezTo>
                      <a:cubicBezTo>
                        <a:pt x="339" y="658"/>
                        <a:pt x="339" y="658"/>
                        <a:pt x="339" y="658"/>
                      </a:cubicBezTo>
                      <a:cubicBezTo>
                        <a:pt x="352" y="643"/>
                        <a:pt x="352" y="643"/>
                        <a:pt x="352" y="643"/>
                      </a:cubicBezTo>
                      <a:cubicBezTo>
                        <a:pt x="347" y="622"/>
                        <a:pt x="347" y="622"/>
                        <a:pt x="347" y="622"/>
                      </a:cubicBezTo>
                      <a:cubicBezTo>
                        <a:pt x="351" y="625"/>
                        <a:pt x="351" y="625"/>
                        <a:pt x="351" y="625"/>
                      </a:cubicBezTo>
                      <a:cubicBezTo>
                        <a:pt x="347" y="593"/>
                        <a:pt x="347" y="593"/>
                        <a:pt x="347" y="593"/>
                      </a:cubicBezTo>
                      <a:cubicBezTo>
                        <a:pt x="347" y="593"/>
                        <a:pt x="369" y="579"/>
                        <a:pt x="376" y="579"/>
                      </a:cubicBezTo>
                      <a:cubicBezTo>
                        <a:pt x="383" y="579"/>
                        <a:pt x="392" y="570"/>
                        <a:pt x="392" y="570"/>
                      </a:cubicBezTo>
                      <a:cubicBezTo>
                        <a:pt x="392" y="570"/>
                        <a:pt x="395" y="570"/>
                        <a:pt x="397" y="577"/>
                      </a:cubicBezTo>
                      <a:cubicBezTo>
                        <a:pt x="400" y="583"/>
                        <a:pt x="405" y="591"/>
                        <a:pt x="413" y="594"/>
                      </a:cubicBezTo>
                      <a:cubicBezTo>
                        <a:pt x="421" y="597"/>
                        <a:pt x="415" y="583"/>
                        <a:pt x="413" y="578"/>
                      </a:cubicBezTo>
                      <a:cubicBezTo>
                        <a:pt x="412" y="573"/>
                        <a:pt x="427" y="561"/>
                        <a:pt x="427" y="561"/>
                      </a:cubicBezTo>
                      <a:cubicBezTo>
                        <a:pt x="436" y="563"/>
                        <a:pt x="436" y="563"/>
                        <a:pt x="436" y="563"/>
                      </a:cubicBezTo>
                      <a:cubicBezTo>
                        <a:pt x="449" y="554"/>
                        <a:pt x="449" y="554"/>
                        <a:pt x="449" y="554"/>
                      </a:cubicBezTo>
                      <a:cubicBezTo>
                        <a:pt x="449" y="554"/>
                        <a:pt x="463" y="563"/>
                        <a:pt x="477" y="562"/>
                      </a:cubicBezTo>
                      <a:cubicBezTo>
                        <a:pt x="492" y="561"/>
                        <a:pt x="523" y="546"/>
                        <a:pt x="523" y="546"/>
                      </a:cubicBezTo>
                      <a:cubicBezTo>
                        <a:pt x="536" y="541"/>
                        <a:pt x="536" y="541"/>
                        <a:pt x="536" y="541"/>
                      </a:cubicBezTo>
                      <a:cubicBezTo>
                        <a:pt x="536" y="541"/>
                        <a:pt x="541" y="557"/>
                        <a:pt x="556" y="557"/>
                      </a:cubicBezTo>
                      <a:cubicBezTo>
                        <a:pt x="571" y="557"/>
                        <a:pt x="583" y="521"/>
                        <a:pt x="583" y="521"/>
                      </a:cubicBezTo>
                      <a:cubicBezTo>
                        <a:pt x="605" y="522"/>
                        <a:pt x="605" y="522"/>
                        <a:pt x="605" y="522"/>
                      </a:cubicBezTo>
                      <a:cubicBezTo>
                        <a:pt x="600" y="505"/>
                        <a:pt x="600" y="505"/>
                        <a:pt x="600" y="505"/>
                      </a:cubicBezTo>
                      <a:cubicBezTo>
                        <a:pt x="617" y="481"/>
                        <a:pt x="617" y="481"/>
                        <a:pt x="617" y="481"/>
                      </a:cubicBezTo>
                      <a:cubicBezTo>
                        <a:pt x="600" y="469"/>
                        <a:pt x="600" y="469"/>
                        <a:pt x="600" y="469"/>
                      </a:cubicBezTo>
                      <a:cubicBezTo>
                        <a:pt x="600" y="469"/>
                        <a:pt x="603" y="445"/>
                        <a:pt x="621" y="451"/>
                      </a:cubicBezTo>
                      <a:cubicBezTo>
                        <a:pt x="640" y="458"/>
                        <a:pt x="643" y="433"/>
                        <a:pt x="643" y="433"/>
                      </a:cubicBezTo>
                      <a:cubicBezTo>
                        <a:pt x="643" y="433"/>
                        <a:pt x="636" y="429"/>
                        <a:pt x="636" y="425"/>
                      </a:cubicBezTo>
                      <a:cubicBezTo>
                        <a:pt x="636" y="421"/>
                        <a:pt x="625" y="391"/>
                        <a:pt x="625" y="391"/>
                      </a:cubicBezTo>
                      <a:cubicBezTo>
                        <a:pt x="653" y="382"/>
                        <a:pt x="653" y="382"/>
                        <a:pt x="653" y="382"/>
                      </a:cubicBezTo>
                      <a:cubicBezTo>
                        <a:pt x="672" y="353"/>
                        <a:pt x="672" y="353"/>
                        <a:pt x="672" y="353"/>
                      </a:cubicBezTo>
                      <a:cubicBezTo>
                        <a:pt x="693" y="347"/>
                        <a:pt x="693" y="347"/>
                        <a:pt x="693" y="347"/>
                      </a:cubicBezTo>
                      <a:cubicBezTo>
                        <a:pt x="707" y="327"/>
                        <a:pt x="707" y="327"/>
                        <a:pt x="707" y="327"/>
                      </a:cubicBezTo>
                      <a:cubicBezTo>
                        <a:pt x="699" y="310"/>
                        <a:pt x="699" y="310"/>
                        <a:pt x="699" y="310"/>
                      </a:cubicBezTo>
                      <a:cubicBezTo>
                        <a:pt x="715" y="309"/>
                        <a:pt x="715" y="309"/>
                        <a:pt x="715" y="309"/>
                      </a:cubicBezTo>
                      <a:cubicBezTo>
                        <a:pt x="716" y="295"/>
                        <a:pt x="716" y="295"/>
                        <a:pt x="716" y="295"/>
                      </a:cubicBezTo>
                      <a:cubicBezTo>
                        <a:pt x="733" y="289"/>
                        <a:pt x="733" y="289"/>
                        <a:pt x="733" y="289"/>
                      </a:cubicBezTo>
                      <a:cubicBezTo>
                        <a:pt x="728" y="279"/>
                        <a:pt x="728" y="279"/>
                        <a:pt x="728" y="279"/>
                      </a:cubicBezTo>
                      <a:cubicBezTo>
                        <a:pt x="735" y="274"/>
                        <a:pt x="735" y="274"/>
                        <a:pt x="735" y="274"/>
                      </a:cubicBezTo>
                      <a:cubicBezTo>
                        <a:pt x="729" y="243"/>
                        <a:pt x="729" y="243"/>
                        <a:pt x="729" y="243"/>
                      </a:cubicBezTo>
                      <a:cubicBezTo>
                        <a:pt x="732" y="239"/>
                        <a:pt x="732" y="239"/>
                        <a:pt x="732" y="239"/>
                      </a:cubicBezTo>
                      <a:cubicBezTo>
                        <a:pt x="721" y="217"/>
                        <a:pt x="721" y="217"/>
                        <a:pt x="721" y="217"/>
                      </a:cubicBezTo>
                      <a:cubicBezTo>
                        <a:pt x="727" y="207"/>
                        <a:pt x="727" y="207"/>
                        <a:pt x="727" y="207"/>
                      </a:cubicBezTo>
                      <a:cubicBezTo>
                        <a:pt x="696" y="195"/>
                        <a:pt x="696" y="195"/>
                        <a:pt x="696" y="195"/>
                      </a:cubicBezTo>
                      <a:cubicBezTo>
                        <a:pt x="700" y="185"/>
                        <a:pt x="700" y="185"/>
                        <a:pt x="700" y="185"/>
                      </a:cubicBezTo>
                      <a:cubicBezTo>
                        <a:pt x="692" y="183"/>
                        <a:pt x="692" y="183"/>
                        <a:pt x="692" y="183"/>
                      </a:cubicBezTo>
                      <a:cubicBezTo>
                        <a:pt x="699" y="167"/>
                        <a:pt x="699" y="167"/>
                        <a:pt x="699" y="167"/>
                      </a:cubicBezTo>
                      <a:cubicBezTo>
                        <a:pt x="691" y="161"/>
                        <a:pt x="691" y="161"/>
                        <a:pt x="691" y="161"/>
                      </a:cubicBezTo>
                      <a:cubicBezTo>
                        <a:pt x="691" y="150"/>
                        <a:pt x="691" y="150"/>
                        <a:pt x="691" y="150"/>
                      </a:cubicBezTo>
                      <a:cubicBezTo>
                        <a:pt x="691" y="150"/>
                        <a:pt x="707" y="135"/>
                        <a:pt x="707" y="129"/>
                      </a:cubicBezTo>
                      <a:cubicBezTo>
                        <a:pt x="707" y="122"/>
                        <a:pt x="693" y="118"/>
                        <a:pt x="693" y="118"/>
                      </a:cubicBezTo>
                      <a:cubicBezTo>
                        <a:pt x="700" y="117"/>
                        <a:pt x="700" y="117"/>
                        <a:pt x="700" y="117"/>
                      </a:cubicBezTo>
                      <a:cubicBezTo>
                        <a:pt x="668" y="95"/>
                        <a:pt x="668" y="95"/>
                        <a:pt x="668" y="95"/>
                      </a:cubicBezTo>
                      <a:cubicBezTo>
                        <a:pt x="673" y="75"/>
                        <a:pt x="673" y="75"/>
                        <a:pt x="673" y="75"/>
                      </a:cubicBezTo>
                      <a:cubicBezTo>
                        <a:pt x="673" y="75"/>
                        <a:pt x="661" y="74"/>
                        <a:pt x="655" y="74"/>
                      </a:cubicBezTo>
                      <a:cubicBezTo>
                        <a:pt x="648" y="74"/>
                        <a:pt x="643" y="51"/>
                        <a:pt x="643" y="51"/>
                      </a:cubicBezTo>
                      <a:cubicBezTo>
                        <a:pt x="608" y="47"/>
                        <a:pt x="608" y="47"/>
                        <a:pt x="608" y="47"/>
                      </a:cubicBezTo>
                      <a:cubicBezTo>
                        <a:pt x="608" y="47"/>
                        <a:pt x="596" y="62"/>
                        <a:pt x="589" y="58"/>
                      </a:cubicBezTo>
                      <a:cubicBezTo>
                        <a:pt x="583" y="54"/>
                        <a:pt x="589" y="30"/>
                        <a:pt x="589" y="30"/>
                      </a:cubicBezTo>
                      <a:cubicBezTo>
                        <a:pt x="589" y="30"/>
                        <a:pt x="576" y="24"/>
                        <a:pt x="558" y="21"/>
                      </a:cubicBezTo>
                      <a:cubicBezTo>
                        <a:pt x="540" y="43"/>
                        <a:pt x="540" y="43"/>
                        <a:pt x="540" y="43"/>
                      </a:cubicBezTo>
                      <a:cubicBezTo>
                        <a:pt x="540" y="43"/>
                        <a:pt x="529" y="45"/>
                        <a:pt x="525" y="45"/>
                      </a:cubicBezTo>
                      <a:cubicBezTo>
                        <a:pt x="521" y="45"/>
                        <a:pt x="531" y="73"/>
                        <a:pt x="531" y="73"/>
                      </a:cubicBezTo>
                      <a:cubicBezTo>
                        <a:pt x="519" y="74"/>
                        <a:pt x="519" y="74"/>
                        <a:pt x="519" y="74"/>
                      </a:cubicBezTo>
                      <a:cubicBezTo>
                        <a:pt x="519" y="74"/>
                        <a:pt x="515" y="73"/>
                        <a:pt x="511" y="87"/>
                      </a:cubicBezTo>
                      <a:cubicBezTo>
                        <a:pt x="459" y="94"/>
                        <a:pt x="471" y="147"/>
                        <a:pt x="471" y="147"/>
                      </a:cubicBezTo>
                      <a:cubicBezTo>
                        <a:pt x="464" y="147"/>
                        <a:pt x="464" y="147"/>
                        <a:pt x="464" y="147"/>
                      </a:cubicBezTo>
                      <a:cubicBezTo>
                        <a:pt x="464" y="147"/>
                        <a:pt x="445" y="175"/>
                        <a:pt x="441" y="175"/>
                      </a:cubicBezTo>
                      <a:cubicBezTo>
                        <a:pt x="437" y="175"/>
                        <a:pt x="429" y="166"/>
                        <a:pt x="429" y="166"/>
                      </a:cubicBezTo>
                      <a:cubicBezTo>
                        <a:pt x="429" y="166"/>
                        <a:pt x="413" y="189"/>
                        <a:pt x="407" y="202"/>
                      </a:cubicBezTo>
                      <a:cubicBezTo>
                        <a:pt x="400" y="215"/>
                        <a:pt x="367" y="213"/>
                        <a:pt x="349" y="195"/>
                      </a:cubicBezTo>
                      <a:cubicBezTo>
                        <a:pt x="332" y="178"/>
                        <a:pt x="324" y="193"/>
                        <a:pt x="324" y="193"/>
                      </a:cubicBezTo>
                      <a:cubicBezTo>
                        <a:pt x="324" y="193"/>
                        <a:pt x="324" y="187"/>
                        <a:pt x="319" y="169"/>
                      </a:cubicBezTo>
                      <a:cubicBezTo>
                        <a:pt x="325" y="154"/>
                        <a:pt x="285" y="143"/>
                        <a:pt x="285" y="143"/>
                      </a:cubicBezTo>
                      <a:cubicBezTo>
                        <a:pt x="279" y="130"/>
                        <a:pt x="279" y="130"/>
                        <a:pt x="279" y="130"/>
                      </a:cubicBezTo>
                      <a:cubicBezTo>
                        <a:pt x="265" y="131"/>
                        <a:pt x="265" y="131"/>
                        <a:pt x="265" y="131"/>
                      </a:cubicBezTo>
                      <a:cubicBezTo>
                        <a:pt x="267" y="136"/>
                        <a:pt x="270" y="143"/>
                        <a:pt x="272" y="153"/>
                      </a:cubicBezTo>
                      <a:cubicBezTo>
                        <a:pt x="276" y="171"/>
                        <a:pt x="290" y="171"/>
                        <a:pt x="290" y="171"/>
                      </a:cubicBezTo>
                      <a:cubicBezTo>
                        <a:pt x="279" y="178"/>
                        <a:pt x="279" y="178"/>
                        <a:pt x="279" y="178"/>
                      </a:cubicBezTo>
                      <a:cubicBezTo>
                        <a:pt x="279" y="178"/>
                        <a:pt x="262" y="147"/>
                        <a:pt x="258" y="143"/>
                      </a:cubicBezTo>
                      <a:cubicBezTo>
                        <a:pt x="254" y="140"/>
                        <a:pt x="250" y="104"/>
                        <a:pt x="242" y="83"/>
                      </a:cubicBezTo>
                      <a:cubicBezTo>
                        <a:pt x="239" y="76"/>
                        <a:pt x="239" y="76"/>
                        <a:pt x="239" y="76"/>
                      </a:cubicBezTo>
                      <a:cubicBezTo>
                        <a:pt x="239" y="75"/>
                        <a:pt x="239" y="75"/>
                        <a:pt x="239" y="75"/>
                      </a:cubicBezTo>
                      <a:cubicBezTo>
                        <a:pt x="229" y="55"/>
                        <a:pt x="184" y="19"/>
                        <a:pt x="184" y="19"/>
                      </a:cubicBezTo>
                      <a:cubicBezTo>
                        <a:pt x="185" y="0"/>
                        <a:pt x="185" y="0"/>
                        <a:pt x="185" y="0"/>
                      </a:cubicBezTo>
                      <a:cubicBezTo>
                        <a:pt x="162" y="28"/>
                        <a:pt x="162" y="28"/>
                        <a:pt x="162" y="28"/>
                      </a:cubicBezTo>
                      <a:cubicBezTo>
                        <a:pt x="162" y="28"/>
                        <a:pt x="164" y="82"/>
                        <a:pt x="159" y="107"/>
                      </a:cubicBezTo>
                      <a:cubicBezTo>
                        <a:pt x="155" y="130"/>
                        <a:pt x="136" y="279"/>
                        <a:pt x="133" y="309"/>
                      </a:cubicBezTo>
                      <a:cubicBezTo>
                        <a:pt x="136" y="291"/>
                        <a:pt x="155" y="262"/>
                        <a:pt x="155" y="262"/>
                      </a:cubicBezTo>
                      <a:cubicBezTo>
                        <a:pt x="155" y="262"/>
                        <a:pt x="187" y="292"/>
                        <a:pt x="180" y="304"/>
                      </a:cubicBezTo>
                      <a:cubicBezTo>
                        <a:pt x="173" y="316"/>
                        <a:pt x="147" y="302"/>
                        <a:pt x="147" y="302"/>
                      </a:cubicBezTo>
                      <a:cubicBezTo>
                        <a:pt x="145" y="322"/>
                        <a:pt x="131" y="339"/>
                        <a:pt x="131" y="339"/>
                      </a:cubicBezTo>
                      <a:cubicBezTo>
                        <a:pt x="131" y="339"/>
                        <a:pt x="115" y="435"/>
                        <a:pt x="93" y="567"/>
                      </a:cubicBezTo>
                      <a:cubicBezTo>
                        <a:pt x="71" y="699"/>
                        <a:pt x="23" y="730"/>
                        <a:pt x="23" y="730"/>
                      </a:cubicBezTo>
                      <a:cubicBezTo>
                        <a:pt x="0" y="733"/>
                        <a:pt x="0" y="733"/>
                        <a:pt x="0" y="733"/>
                      </a:cubicBezTo>
                      <a:cubicBezTo>
                        <a:pt x="13" y="763"/>
                        <a:pt x="13" y="763"/>
                        <a:pt x="13" y="763"/>
                      </a:cubicBezTo>
                      <a:cubicBezTo>
                        <a:pt x="34" y="764"/>
                        <a:pt x="34" y="764"/>
                        <a:pt x="34" y="764"/>
                      </a:cubicBezTo>
                      <a:cubicBezTo>
                        <a:pt x="34" y="764"/>
                        <a:pt x="37" y="773"/>
                        <a:pt x="42" y="779"/>
                      </a:cubicBezTo>
                      <a:cubicBezTo>
                        <a:pt x="47" y="785"/>
                        <a:pt x="48" y="774"/>
                        <a:pt x="56" y="771"/>
                      </a:cubicBezTo>
                      <a:cubicBezTo>
                        <a:pt x="64" y="768"/>
                        <a:pt x="74" y="776"/>
                        <a:pt x="86" y="787"/>
                      </a:cubicBezTo>
                      <a:cubicBezTo>
                        <a:pt x="98" y="798"/>
                        <a:pt x="71" y="830"/>
                        <a:pt x="69" y="843"/>
                      </a:cubicBezTo>
                      <a:cubicBezTo>
                        <a:pt x="67" y="856"/>
                        <a:pt x="92" y="859"/>
                        <a:pt x="92" y="859"/>
                      </a:cubicBezTo>
                      <a:cubicBezTo>
                        <a:pt x="92" y="859"/>
                        <a:pt x="100" y="831"/>
                        <a:pt x="110" y="831"/>
                      </a:cubicBezTo>
                      <a:cubicBezTo>
                        <a:pt x="120" y="831"/>
                        <a:pt x="107" y="846"/>
                        <a:pt x="107" y="846"/>
                      </a:cubicBezTo>
                      <a:cubicBezTo>
                        <a:pt x="136" y="857"/>
                        <a:pt x="136" y="857"/>
                        <a:pt x="136" y="857"/>
                      </a:cubicBezTo>
                      <a:cubicBezTo>
                        <a:pt x="142" y="869"/>
                        <a:pt x="142" y="869"/>
                        <a:pt x="142" y="869"/>
                      </a:cubicBezTo>
                      <a:cubicBezTo>
                        <a:pt x="149" y="864"/>
                        <a:pt x="149" y="864"/>
                        <a:pt x="149" y="864"/>
                      </a:cubicBezTo>
                      <a:cubicBezTo>
                        <a:pt x="182" y="884"/>
                        <a:pt x="182" y="884"/>
                        <a:pt x="182" y="884"/>
                      </a:cubicBezTo>
                      <a:cubicBezTo>
                        <a:pt x="228" y="882"/>
                        <a:pt x="228" y="882"/>
                        <a:pt x="228" y="882"/>
                      </a:cubicBezTo>
                      <a:cubicBezTo>
                        <a:pt x="228" y="882"/>
                        <a:pt x="230" y="909"/>
                        <a:pt x="239" y="912"/>
                      </a:cubicBezTo>
                      <a:cubicBezTo>
                        <a:pt x="248" y="915"/>
                        <a:pt x="277" y="946"/>
                        <a:pt x="277" y="946"/>
                      </a:cubicBezTo>
                      <a:cubicBezTo>
                        <a:pt x="293" y="936"/>
                        <a:pt x="293" y="943"/>
                        <a:pt x="293" y="943"/>
                      </a:cubicBezTo>
                      <a:cubicBezTo>
                        <a:pt x="293" y="943"/>
                        <a:pt x="309" y="946"/>
                        <a:pt x="306" y="942"/>
                      </a:cubicBezTo>
                      <a:cubicBezTo>
                        <a:pt x="307" y="941"/>
                        <a:pt x="308" y="940"/>
                        <a:pt x="310" y="940"/>
                      </a:cubicBezTo>
                      <a:cubicBezTo>
                        <a:pt x="310" y="936"/>
                        <a:pt x="309" y="934"/>
                        <a:pt x="309" y="934"/>
                      </a:cubicBezTo>
                      <a:lnTo>
                        <a:pt x="331" y="869"/>
                      </a:lnTo>
                      <a:close/>
                    </a:path>
                  </a:pathLst>
                </a:custGeom>
                <a:grp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sp>
              <p:nvSpPr>
                <p:cNvPr id="199" name="Rhône-Alpes" descr="© INSCALE GmbH, 05.05.2010&#10;http://www.presentationload.com/">
                  <a:extLst>
                    <a:ext uri="{FF2B5EF4-FFF2-40B4-BE49-F238E27FC236}">
                      <a16:creationId xmlns:a16="http://schemas.microsoft.com/office/drawing/2014/main" id="{7EF925DC-16C9-48A8-A86B-36B8401FD07D}"/>
                    </a:ext>
                  </a:extLst>
                </p:cNvPr>
                <p:cNvSpPr>
                  <a:spLocks/>
                </p:cNvSpPr>
                <p:nvPr/>
              </p:nvSpPr>
              <p:spPr bwMode="gray">
                <a:xfrm>
                  <a:off x="2094" y="1710"/>
                  <a:ext cx="833" cy="840"/>
                </a:xfrm>
                <a:custGeom>
                  <a:avLst/>
                  <a:gdLst/>
                  <a:ahLst/>
                  <a:cxnLst>
                    <a:cxn ang="0">
                      <a:pos x="92" y="696"/>
                    </a:cxn>
                    <a:cxn ang="0">
                      <a:pos x="136" y="744"/>
                    </a:cxn>
                    <a:cxn ang="0">
                      <a:pos x="170" y="728"/>
                    </a:cxn>
                    <a:cxn ang="0">
                      <a:pos x="228" y="735"/>
                    </a:cxn>
                    <a:cxn ang="0">
                      <a:pos x="318" y="724"/>
                    </a:cxn>
                    <a:cxn ang="0">
                      <a:pos x="341" y="746"/>
                    </a:cxn>
                    <a:cxn ang="0">
                      <a:pos x="386" y="752"/>
                    </a:cxn>
                    <a:cxn ang="0">
                      <a:pos x="416" y="778"/>
                    </a:cxn>
                    <a:cxn ang="0">
                      <a:pos x="462" y="752"/>
                    </a:cxn>
                    <a:cxn ang="0">
                      <a:pos x="414" y="708"/>
                    </a:cxn>
                    <a:cxn ang="0">
                      <a:pos x="406" y="670"/>
                    </a:cxn>
                    <a:cxn ang="0">
                      <a:pos x="453" y="650"/>
                    </a:cxn>
                    <a:cxn ang="0">
                      <a:pos x="486" y="590"/>
                    </a:cxn>
                    <a:cxn ang="0">
                      <a:pos x="541" y="546"/>
                    </a:cxn>
                    <a:cxn ang="0">
                      <a:pos x="572" y="487"/>
                    </a:cxn>
                    <a:cxn ang="0">
                      <a:pos x="604" y="452"/>
                    </a:cxn>
                    <a:cxn ang="0">
                      <a:pos x="632" y="458"/>
                    </a:cxn>
                    <a:cxn ang="0">
                      <a:pos x="685" y="426"/>
                    </a:cxn>
                    <a:cxn ang="0">
                      <a:pos x="772" y="342"/>
                    </a:cxn>
                    <a:cxn ang="0">
                      <a:pos x="686" y="232"/>
                    </a:cxn>
                    <a:cxn ang="0">
                      <a:pos x="706" y="121"/>
                    </a:cxn>
                    <a:cxn ang="0">
                      <a:pos x="684" y="108"/>
                    </a:cxn>
                    <a:cxn ang="0">
                      <a:pos x="670" y="33"/>
                    </a:cxn>
                    <a:cxn ang="0">
                      <a:pos x="611" y="0"/>
                    </a:cxn>
                    <a:cxn ang="0">
                      <a:pos x="560" y="31"/>
                    </a:cxn>
                    <a:cxn ang="0">
                      <a:pos x="569" y="68"/>
                    </a:cxn>
                    <a:cxn ang="0">
                      <a:pos x="517" y="99"/>
                    </a:cxn>
                    <a:cxn ang="0">
                      <a:pos x="512" y="67"/>
                    </a:cxn>
                    <a:cxn ang="0">
                      <a:pos x="534" y="29"/>
                    </a:cxn>
                    <a:cxn ang="0">
                      <a:pos x="441" y="74"/>
                    </a:cxn>
                    <a:cxn ang="0">
                      <a:pos x="388" y="79"/>
                    </a:cxn>
                    <a:cxn ang="0">
                      <a:pos x="350" y="50"/>
                    </a:cxn>
                    <a:cxn ang="0">
                      <a:pos x="326" y="16"/>
                    </a:cxn>
                    <a:cxn ang="0">
                      <a:pos x="237" y="126"/>
                    </a:cxn>
                    <a:cxn ang="0">
                      <a:pos x="217" y="100"/>
                    </a:cxn>
                    <a:cxn ang="0">
                      <a:pos x="188" y="88"/>
                    </a:cxn>
                    <a:cxn ang="0">
                      <a:pos x="152" y="88"/>
                    </a:cxn>
                    <a:cxn ang="0">
                      <a:pos x="125" y="136"/>
                    </a:cxn>
                    <a:cxn ang="0">
                      <a:pos x="86" y="126"/>
                    </a:cxn>
                    <a:cxn ang="0">
                      <a:pos x="42" y="119"/>
                    </a:cxn>
                    <a:cxn ang="0">
                      <a:pos x="21" y="124"/>
                    </a:cxn>
                    <a:cxn ang="0">
                      <a:pos x="25" y="187"/>
                    </a:cxn>
                    <a:cxn ang="0">
                      <a:pos x="12" y="224"/>
                    </a:cxn>
                    <a:cxn ang="0">
                      <a:pos x="29" y="311"/>
                    </a:cxn>
                    <a:cxn ang="0">
                      <a:pos x="50" y="403"/>
                    </a:cxn>
                    <a:cxn ang="0">
                      <a:pos x="72" y="396"/>
                    </a:cxn>
                    <a:cxn ang="0">
                      <a:pos x="90" y="390"/>
                    </a:cxn>
                    <a:cxn ang="0">
                      <a:pos x="150" y="406"/>
                    </a:cxn>
                    <a:cxn ang="0">
                      <a:pos x="171" y="469"/>
                    </a:cxn>
                    <a:cxn ang="0">
                      <a:pos x="157" y="458"/>
                    </a:cxn>
                    <a:cxn ang="0">
                      <a:pos x="157" y="495"/>
                    </a:cxn>
                    <a:cxn ang="0">
                      <a:pos x="122" y="519"/>
                    </a:cxn>
                    <a:cxn ang="0">
                      <a:pos x="81" y="554"/>
                    </a:cxn>
                    <a:cxn ang="0">
                      <a:pos x="41" y="588"/>
                    </a:cxn>
                  </a:cxnLst>
                  <a:rect l="0" t="0" r="r" b="b"/>
                  <a:pathLst>
                    <a:path w="772" h="778">
                      <a:moveTo>
                        <a:pt x="68" y="647"/>
                      </a:moveTo>
                      <a:cubicBezTo>
                        <a:pt x="72" y="678"/>
                        <a:pt x="72" y="678"/>
                        <a:pt x="72" y="678"/>
                      </a:cubicBezTo>
                      <a:cubicBezTo>
                        <a:pt x="92" y="696"/>
                        <a:pt x="92" y="696"/>
                        <a:pt x="92" y="696"/>
                      </a:cubicBezTo>
                      <a:cubicBezTo>
                        <a:pt x="85" y="727"/>
                        <a:pt x="85" y="727"/>
                        <a:pt x="85" y="727"/>
                      </a:cubicBezTo>
                      <a:cubicBezTo>
                        <a:pt x="104" y="716"/>
                        <a:pt x="104" y="716"/>
                        <a:pt x="104" y="716"/>
                      </a:cubicBezTo>
                      <a:cubicBezTo>
                        <a:pt x="136" y="744"/>
                        <a:pt x="136" y="744"/>
                        <a:pt x="136" y="744"/>
                      </a:cubicBezTo>
                      <a:cubicBezTo>
                        <a:pt x="156" y="714"/>
                        <a:pt x="156" y="714"/>
                        <a:pt x="156" y="714"/>
                      </a:cubicBezTo>
                      <a:cubicBezTo>
                        <a:pt x="170" y="714"/>
                        <a:pt x="170" y="714"/>
                        <a:pt x="170" y="714"/>
                      </a:cubicBezTo>
                      <a:cubicBezTo>
                        <a:pt x="170" y="728"/>
                        <a:pt x="170" y="728"/>
                        <a:pt x="170" y="728"/>
                      </a:cubicBezTo>
                      <a:cubicBezTo>
                        <a:pt x="177" y="728"/>
                        <a:pt x="177" y="728"/>
                        <a:pt x="177" y="728"/>
                      </a:cubicBezTo>
                      <a:cubicBezTo>
                        <a:pt x="185" y="716"/>
                        <a:pt x="185" y="716"/>
                        <a:pt x="185" y="716"/>
                      </a:cubicBezTo>
                      <a:cubicBezTo>
                        <a:pt x="228" y="735"/>
                        <a:pt x="228" y="735"/>
                        <a:pt x="228" y="735"/>
                      </a:cubicBezTo>
                      <a:cubicBezTo>
                        <a:pt x="228" y="720"/>
                        <a:pt x="228" y="720"/>
                        <a:pt x="228" y="720"/>
                      </a:cubicBezTo>
                      <a:cubicBezTo>
                        <a:pt x="228" y="720"/>
                        <a:pt x="262" y="712"/>
                        <a:pt x="264" y="748"/>
                      </a:cubicBezTo>
                      <a:cubicBezTo>
                        <a:pt x="318" y="724"/>
                        <a:pt x="318" y="724"/>
                        <a:pt x="318" y="724"/>
                      </a:cubicBezTo>
                      <a:cubicBezTo>
                        <a:pt x="329" y="728"/>
                        <a:pt x="329" y="728"/>
                        <a:pt x="329" y="728"/>
                      </a:cubicBezTo>
                      <a:cubicBezTo>
                        <a:pt x="341" y="722"/>
                        <a:pt x="341" y="722"/>
                        <a:pt x="341" y="722"/>
                      </a:cubicBezTo>
                      <a:cubicBezTo>
                        <a:pt x="341" y="746"/>
                        <a:pt x="341" y="746"/>
                        <a:pt x="341" y="746"/>
                      </a:cubicBezTo>
                      <a:cubicBezTo>
                        <a:pt x="366" y="754"/>
                        <a:pt x="366" y="754"/>
                        <a:pt x="366" y="754"/>
                      </a:cubicBezTo>
                      <a:cubicBezTo>
                        <a:pt x="365" y="747"/>
                        <a:pt x="365" y="747"/>
                        <a:pt x="365" y="747"/>
                      </a:cubicBezTo>
                      <a:cubicBezTo>
                        <a:pt x="386" y="752"/>
                        <a:pt x="386" y="752"/>
                        <a:pt x="386" y="752"/>
                      </a:cubicBezTo>
                      <a:cubicBezTo>
                        <a:pt x="386" y="752"/>
                        <a:pt x="393" y="756"/>
                        <a:pt x="393" y="766"/>
                      </a:cubicBezTo>
                      <a:cubicBezTo>
                        <a:pt x="393" y="775"/>
                        <a:pt x="406" y="771"/>
                        <a:pt x="406" y="771"/>
                      </a:cubicBezTo>
                      <a:cubicBezTo>
                        <a:pt x="416" y="778"/>
                        <a:pt x="416" y="778"/>
                        <a:pt x="416" y="778"/>
                      </a:cubicBezTo>
                      <a:cubicBezTo>
                        <a:pt x="436" y="766"/>
                        <a:pt x="436" y="766"/>
                        <a:pt x="436" y="766"/>
                      </a:cubicBezTo>
                      <a:cubicBezTo>
                        <a:pt x="436" y="766"/>
                        <a:pt x="426" y="755"/>
                        <a:pt x="450" y="763"/>
                      </a:cubicBezTo>
                      <a:cubicBezTo>
                        <a:pt x="448" y="766"/>
                        <a:pt x="462" y="752"/>
                        <a:pt x="462" y="752"/>
                      </a:cubicBezTo>
                      <a:cubicBezTo>
                        <a:pt x="462" y="730"/>
                        <a:pt x="462" y="730"/>
                        <a:pt x="462" y="730"/>
                      </a:cubicBezTo>
                      <a:cubicBezTo>
                        <a:pt x="445" y="710"/>
                        <a:pt x="445" y="710"/>
                        <a:pt x="445" y="710"/>
                      </a:cubicBezTo>
                      <a:cubicBezTo>
                        <a:pt x="414" y="708"/>
                        <a:pt x="414" y="708"/>
                        <a:pt x="414" y="708"/>
                      </a:cubicBezTo>
                      <a:cubicBezTo>
                        <a:pt x="398" y="683"/>
                        <a:pt x="398" y="683"/>
                        <a:pt x="398" y="683"/>
                      </a:cubicBezTo>
                      <a:cubicBezTo>
                        <a:pt x="414" y="682"/>
                        <a:pt x="414" y="682"/>
                        <a:pt x="414" y="682"/>
                      </a:cubicBezTo>
                      <a:cubicBezTo>
                        <a:pt x="406" y="670"/>
                        <a:pt x="406" y="670"/>
                        <a:pt x="406" y="670"/>
                      </a:cubicBezTo>
                      <a:cubicBezTo>
                        <a:pt x="409" y="658"/>
                        <a:pt x="409" y="658"/>
                        <a:pt x="409" y="658"/>
                      </a:cubicBezTo>
                      <a:cubicBezTo>
                        <a:pt x="438" y="662"/>
                        <a:pt x="438" y="662"/>
                        <a:pt x="438" y="662"/>
                      </a:cubicBezTo>
                      <a:cubicBezTo>
                        <a:pt x="453" y="650"/>
                        <a:pt x="453" y="650"/>
                        <a:pt x="453" y="650"/>
                      </a:cubicBezTo>
                      <a:cubicBezTo>
                        <a:pt x="436" y="640"/>
                        <a:pt x="436" y="640"/>
                        <a:pt x="436" y="640"/>
                      </a:cubicBezTo>
                      <a:cubicBezTo>
                        <a:pt x="449" y="614"/>
                        <a:pt x="449" y="614"/>
                        <a:pt x="449" y="614"/>
                      </a:cubicBezTo>
                      <a:cubicBezTo>
                        <a:pt x="449" y="614"/>
                        <a:pt x="490" y="599"/>
                        <a:pt x="486" y="590"/>
                      </a:cubicBezTo>
                      <a:cubicBezTo>
                        <a:pt x="482" y="580"/>
                        <a:pt x="477" y="568"/>
                        <a:pt x="489" y="568"/>
                      </a:cubicBezTo>
                      <a:cubicBezTo>
                        <a:pt x="501" y="568"/>
                        <a:pt x="525" y="562"/>
                        <a:pt x="525" y="562"/>
                      </a:cubicBezTo>
                      <a:cubicBezTo>
                        <a:pt x="525" y="562"/>
                        <a:pt x="534" y="539"/>
                        <a:pt x="541" y="546"/>
                      </a:cubicBezTo>
                      <a:cubicBezTo>
                        <a:pt x="548" y="552"/>
                        <a:pt x="538" y="532"/>
                        <a:pt x="604" y="534"/>
                      </a:cubicBezTo>
                      <a:cubicBezTo>
                        <a:pt x="597" y="511"/>
                        <a:pt x="596" y="492"/>
                        <a:pt x="596" y="492"/>
                      </a:cubicBezTo>
                      <a:cubicBezTo>
                        <a:pt x="596" y="492"/>
                        <a:pt x="572" y="498"/>
                        <a:pt x="572" y="487"/>
                      </a:cubicBezTo>
                      <a:cubicBezTo>
                        <a:pt x="572" y="476"/>
                        <a:pt x="577" y="463"/>
                        <a:pt x="577" y="463"/>
                      </a:cubicBezTo>
                      <a:cubicBezTo>
                        <a:pt x="574" y="455"/>
                        <a:pt x="574" y="455"/>
                        <a:pt x="574" y="455"/>
                      </a:cubicBezTo>
                      <a:cubicBezTo>
                        <a:pt x="604" y="452"/>
                        <a:pt x="604" y="452"/>
                        <a:pt x="604" y="452"/>
                      </a:cubicBezTo>
                      <a:cubicBezTo>
                        <a:pt x="605" y="466"/>
                        <a:pt x="605" y="466"/>
                        <a:pt x="605" y="466"/>
                      </a:cubicBezTo>
                      <a:cubicBezTo>
                        <a:pt x="629" y="466"/>
                        <a:pt x="629" y="466"/>
                        <a:pt x="629" y="466"/>
                      </a:cubicBezTo>
                      <a:cubicBezTo>
                        <a:pt x="632" y="458"/>
                        <a:pt x="632" y="458"/>
                        <a:pt x="632" y="458"/>
                      </a:cubicBezTo>
                      <a:cubicBezTo>
                        <a:pt x="656" y="454"/>
                        <a:pt x="656" y="454"/>
                        <a:pt x="656" y="454"/>
                      </a:cubicBezTo>
                      <a:cubicBezTo>
                        <a:pt x="648" y="442"/>
                        <a:pt x="660" y="431"/>
                        <a:pt x="660" y="431"/>
                      </a:cubicBezTo>
                      <a:cubicBezTo>
                        <a:pt x="670" y="445"/>
                        <a:pt x="685" y="426"/>
                        <a:pt x="685" y="426"/>
                      </a:cubicBezTo>
                      <a:cubicBezTo>
                        <a:pt x="704" y="448"/>
                        <a:pt x="725" y="407"/>
                        <a:pt x="725" y="407"/>
                      </a:cubicBezTo>
                      <a:cubicBezTo>
                        <a:pt x="725" y="407"/>
                        <a:pt x="757" y="400"/>
                        <a:pt x="758" y="394"/>
                      </a:cubicBezTo>
                      <a:cubicBezTo>
                        <a:pt x="755" y="371"/>
                        <a:pt x="772" y="342"/>
                        <a:pt x="772" y="342"/>
                      </a:cubicBezTo>
                      <a:cubicBezTo>
                        <a:pt x="764" y="342"/>
                        <a:pt x="744" y="317"/>
                        <a:pt x="741" y="313"/>
                      </a:cubicBezTo>
                      <a:cubicBezTo>
                        <a:pt x="705" y="284"/>
                        <a:pt x="737" y="269"/>
                        <a:pt x="733" y="267"/>
                      </a:cubicBezTo>
                      <a:cubicBezTo>
                        <a:pt x="704" y="274"/>
                        <a:pt x="688" y="235"/>
                        <a:pt x="686" y="232"/>
                      </a:cubicBezTo>
                      <a:cubicBezTo>
                        <a:pt x="678" y="230"/>
                        <a:pt x="684" y="206"/>
                        <a:pt x="684" y="200"/>
                      </a:cubicBezTo>
                      <a:cubicBezTo>
                        <a:pt x="698" y="224"/>
                        <a:pt x="737" y="172"/>
                        <a:pt x="737" y="172"/>
                      </a:cubicBezTo>
                      <a:cubicBezTo>
                        <a:pt x="706" y="121"/>
                        <a:pt x="706" y="121"/>
                        <a:pt x="706" y="121"/>
                      </a:cubicBezTo>
                      <a:cubicBezTo>
                        <a:pt x="701" y="129"/>
                        <a:pt x="701" y="129"/>
                        <a:pt x="701" y="129"/>
                      </a:cubicBezTo>
                      <a:cubicBezTo>
                        <a:pt x="698" y="120"/>
                        <a:pt x="698" y="120"/>
                        <a:pt x="698" y="120"/>
                      </a:cubicBezTo>
                      <a:cubicBezTo>
                        <a:pt x="706" y="98"/>
                        <a:pt x="684" y="108"/>
                        <a:pt x="684" y="108"/>
                      </a:cubicBezTo>
                      <a:cubicBezTo>
                        <a:pt x="675" y="97"/>
                        <a:pt x="675" y="97"/>
                        <a:pt x="675" y="97"/>
                      </a:cubicBezTo>
                      <a:cubicBezTo>
                        <a:pt x="691" y="55"/>
                        <a:pt x="691" y="55"/>
                        <a:pt x="691" y="55"/>
                      </a:cubicBezTo>
                      <a:cubicBezTo>
                        <a:pt x="670" y="33"/>
                        <a:pt x="670" y="33"/>
                        <a:pt x="670" y="33"/>
                      </a:cubicBezTo>
                      <a:cubicBezTo>
                        <a:pt x="680" y="10"/>
                        <a:pt x="680" y="10"/>
                        <a:pt x="680" y="10"/>
                      </a:cubicBezTo>
                      <a:cubicBezTo>
                        <a:pt x="674" y="3"/>
                        <a:pt x="674" y="3"/>
                        <a:pt x="674" y="3"/>
                      </a:cubicBezTo>
                      <a:cubicBezTo>
                        <a:pt x="611" y="0"/>
                        <a:pt x="611" y="0"/>
                        <a:pt x="611" y="0"/>
                      </a:cubicBezTo>
                      <a:cubicBezTo>
                        <a:pt x="593" y="12"/>
                        <a:pt x="593" y="12"/>
                        <a:pt x="593" y="12"/>
                      </a:cubicBezTo>
                      <a:cubicBezTo>
                        <a:pt x="577" y="12"/>
                        <a:pt x="577" y="12"/>
                        <a:pt x="577" y="12"/>
                      </a:cubicBezTo>
                      <a:cubicBezTo>
                        <a:pt x="577" y="12"/>
                        <a:pt x="570" y="21"/>
                        <a:pt x="560" y="31"/>
                      </a:cubicBezTo>
                      <a:cubicBezTo>
                        <a:pt x="550" y="30"/>
                        <a:pt x="553" y="57"/>
                        <a:pt x="553" y="57"/>
                      </a:cubicBezTo>
                      <a:cubicBezTo>
                        <a:pt x="559" y="63"/>
                        <a:pt x="559" y="63"/>
                        <a:pt x="559" y="63"/>
                      </a:cubicBezTo>
                      <a:cubicBezTo>
                        <a:pt x="559" y="63"/>
                        <a:pt x="564" y="60"/>
                        <a:pt x="569" y="68"/>
                      </a:cubicBezTo>
                      <a:cubicBezTo>
                        <a:pt x="574" y="76"/>
                        <a:pt x="558" y="76"/>
                        <a:pt x="558" y="76"/>
                      </a:cubicBezTo>
                      <a:cubicBezTo>
                        <a:pt x="527" y="100"/>
                        <a:pt x="527" y="100"/>
                        <a:pt x="527" y="100"/>
                      </a:cubicBezTo>
                      <a:cubicBezTo>
                        <a:pt x="521" y="93"/>
                        <a:pt x="517" y="99"/>
                        <a:pt x="517" y="99"/>
                      </a:cubicBezTo>
                      <a:cubicBezTo>
                        <a:pt x="499" y="98"/>
                        <a:pt x="499" y="98"/>
                        <a:pt x="499" y="98"/>
                      </a:cubicBezTo>
                      <a:cubicBezTo>
                        <a:pt x="497" y="82"/>
                        <a:pt x="497" y="82"/>
                        <a:pt x="497" y="82"/>
                      </a:cubicBezTo>
                      <a:cubicBezTo>
                        <a:pt x="512" y="67"/>
                        <a:pt x="512" y="67"/>
                        <a:pt x="512" y="67"/>
                      </a:cubicBezTo>
                      <a:cubicBezTo>
                        <a:pt x="525" y="66"/>
                        <a:pt x="525" y="66"/>
                        <a:pt x="525" y="66"/>
                      </a:cubicBezTo>
                      <a:cubicBezTo>
                        <a:pt x="525" y="48"/>
                        <a:pt x="525" y="48"/>
                        <a:pt x="525" y="48"/>
                      </a:cubicBezTo>
                      <a:cubicBezTo>
                        <a:pt x="534" y="41"/>
                        <a:pt x="535" y="34"/>
                        <a:pt x="534" y="29"/>
                      </a:cubicBezTo>
                      <a:cubicBezTo>
                        <a:pt x="477" y="88"/>
                        <a:pt x="477" y="88"/>
                        <a:pt x="477" y="88"/>
                      </a:cubicBezTo>
                      <a:cubicBezTo>
                        <a:pt x="445" y="90"/>
                        <a:pt x="445" y="90"/>
                        <a:pt x="445" y="90"/>
                      </a:cubicBezTo>
                      <a:cubicBezTo>
                        <a:pt x="441" y="74"/>
                        <a:pt x="441" y="74"/>
                        <a:pt x="441" y="74"/>
                      </a:cubicBezTo>
                      <a:cubicBezTo>
                        <a:pt x="441" y="74"/>
                        <a:pt x="421" y="71"/>
                        <a:pt x="425" y="64"/>
                      </a:cubicBezTo>
                      <a:cubicBezTo>
                        <a:pt x="408" y="103"/>
                        <a:pt x="385" y="92"/>
                        <a:pt x="385" y="92"/>
                      </a:cubicBezTo>
                      <a:cubicBezTo>
                        <a:pt x="388" y="79"/>
                        <a:pt x="388" y="79"/>
                        <a:pt x="388" y="79"/>
                      </a:cubicBezTo>
                      <a:cubicBezTo>
                        <a:pt x="364" y="68"/>
                        <a:pt x="364" y="68"/>
                        <a:pt x="364" y="68"/>
                      </a:cubicBezTo>
                      <a:cubicBezTo>
                        <a:pt x="364" y="55"/>
                        <a:pt x="364" y="55"/>
                        <a:pt x="364" y="55"/>
                      </a:cubicBezTo>
                      <a:cubicBezTo>
                        <a:pt x="350" y="50"/>
                        <a:pt x="350" y="50"/>
                        <a:pt x="350" y="50"/>
                      </a:cubicBezTo>
                      <a:cubicBezTo>
                        <a:pt x="352" y="36"/>
                        <a:pt x="352" y="36"/>
                        <a:pt x="352" y="36"/>
                      </a:cubicBezTo>
                      <a:cubicBezTo>
                        <a:pt x="344" y="35"/>
                        <a:pt x="336" y="34"/>
                        <a:pt x="334" y="34"/>
                      </a:cubicBezTo>
                      <a:cubicBezTo>
                        <a:pt x="330" y="34"/>
                        <a:pt x="329" y="22"/>
                        <a:pt x="326" y="16"/>
                      </a:cubicBezTo>
                      <a:cubicBezTo>
                        <a:pt x="324" y="11"/>
                        <a:pt x="309" y="24"/>
                        <a:pt x="296" y="24"/>
                      </a:cubicBezTo>
                      <a:cubicBezTo>
                        <a:pt x="282" y="24"/>
                        <a:pt x="265" y="18"/>
                        <a:pt x="265" y="18"/>
                      </a:cubicBezTo>
                      <a:cubicBezTo>
                        <a:pt x="237" y="126"/>
                        <a:pt x="237" y="126"/>
                        <a:pt x="237" y="126"/>
                      </a:cubicBezTo>
                      <a:cubicBezTo>
                        <a:pt x="226" y="124"/>
                        <a:pt x="226" y="124"/>
                        <a:pt x="226" y="124"/>
                      </a:cubicBezTo>
                      <a:cubicBezTo>
                        <a:pt x="225" y="108"/>
                        <a:pt x="225" y="108"/>
                        <a:pt x="225" y="108"/>
                      </a:cubicBezTo>
                      <a:cubicBezTo>
                        <a:pt x="217" y="100"/>
                        <a:pt x="217" y="100"/>
                        <a:pt x="217" y="100"/>
                      </a:cubicBezTo>
                      <a:cubicBezTo>
                        <a:pt x="217" y="100"/>
                        <a:pt x="218" y="90"/>
                        <a:pt x="208" y="86"/>
                      </a:cubicBezTo>
                      <a:cubicBezTo>
                        <a:pt x="197" y="82"/>
                        <a:pt x="198" y="98"/>
                        <a:pt x="193" y="98"/>
                      </a:cubicBezTo>
                      <a:cubicBezTo>
                        <a:pt x="188" y="98"/>
                        <a:pt x="188" y="88"/>
                        <a:pt x="188" y="88"/>
                      </a:cubicBezTo>
                      <a:cubicBezTo>
                        <a:pt x="173" y="100"/>
                        <a:pt x="173" y="100"/>
                        <a:pt x="173" y="100"/>
                      </a:cubicBezTo>
                      <a:cubicBezTo>
                        <a:pt x="164" y="87"/>
                        <a:pt x="164" y="87"/>
                        <a:pt x="164" y="87"/>
                      </a:cubicBezTo>
                      <a:cubicBezTo>
                        <a:pt x="152" y="88"/>
                        <a:pt x="152" y="88"/>
                        <a:pt x="152" y="88"/>
                      </a:cubicBezTo>
                      <a:cubicBezTo>
                        <a:pt x="148" y="127"/>
                        <a:pt x="148" y="127"/>
                        <a:pt x="148" y="127"/>
                      </a:cubicBezTo>
                      <a:cubicBezTo>
                        <a:pt x="148" y="127"/>
                        <a:pt x="137" y="128"/>
                        <a:pt x="132" y="128"/>
                      </a:cubicBezTo>
                      <a:cubicBezTo>
                        <a:pt x="126" y="128"/>
                        <a:pt x="132" y="135"/>
                        <a:pt x="125" y="136"/>
                      </a:cubicBezTo>
                      <a:cubicBezTo>
                        <a:pt x="120" y="137"/>
                        <a:pt x="113" y="129"/>
                        <a:pt x="110" y="125"/>
                      </a:cubicBezTo>
                      <a:cubicBezTo>
                        <a:pt x="111" y="127"/>
                        <a:pt x="111" y="129"/>
                        <a:pt x="101" y="128"/>
                      </a:cubicBezTo>
                      <a:cubicBezTo>
                        <a:pt x="86" y="127"/>
                        <a:pt x="86" y="126"/>
                        <a:pt x="86" y="126"/>
                      </a:cubicBezTo>
                      <a:cubicBezTo>
                        <a:pt x="62" y="132"/>
                        <a:pt x="62" y="132"/>
                        <a:pt x="62" y="132"/>
                      </a:cubicBezTo>
                      <a:cubicBezTo>
                        <a:pt x="56" y="119"/>
                        <a:pt x="56" y="119"/>
                        <a:pt x="56" y="119"/>
                      </a:cubicBezTo>
                      <a:cubicBezTo>
                        <a:pt x="42" y="119"/>
                        <a:pt x="42" y="119"/>
                        <a:pt x="42" y="119"/>
                      </a:cubicBezTo>
                      <a:cubicBezTo>
                        <a:pt x="41" y="100"/>
                        <a:pt x="41" y="100"/>
                        <a:pt x="41" y="100"/>
                      </a:cubicBezTo>
                      <a:cubicBezTo>
                        <a:pt x="16" y="111"/>
                        <a:pt x="16" y="111"/>
                        <a:pt x="16" y="111"/>
                      </a:cubicBezTo>
                      <a:cubicBezTo>
                        <a:pt x="21" y="124"/>
                        <a:pt x="21" y="124"/>
                        <a:pt x="21" y="124"/>
                      </a:cubicBezTo>
                      <a:cubicBezTo>
                        <a:pt x="17" y="139"/>
                        <a:pt x="17" y="139"/>
                        <a:pt x="17" y="139"/>
                      </a:cubicBezTo>
                      <a:cubicBezTo>
                        <a:pt x="24" y="152"/>
                        <a:pt x="24" y="152"/>
                        <a:pt x="24" y="152"/>
                      </a:cubicBezTo>
                      <a:cubicBezTo>
                        <a:pt x="25" y="187"/>
                        <a:pt x="25" y="187"/>
                        <a:pt x="25" y="187"/>
                      </a:cubicBezTo>
                      <a:cubicBezTo>
                        <a:pt x="0" y="196"/>
                        <a:pt x="0" y="196"/>
                        <a:pt x="0" y="196"/>
                      </a:cubicBezTo>
                      <a:cubicBezTo>
                        <a:pt x="0" y="208"/>
                        <a:pt x="0" y="208"/>
                        <a:pt x="0" y="208"/>
                      </a:cubicBezTo>
                      <a:cubicBezTo>
                        <a:pt x="12" y="224"/>
                        <a:pt x="12" y="224"/>
                        <a:pt x="12" y="224"/>
                      </a:cubicBezTo>
                      <a:cubicBezTo>
                        <a:pt x="4" y="227"/>
                        <a:pt x="4" y="227"/>
                        <a:pt x="4" y="227"/>
                      </a:cubicBezTo>
                      <a:cubicBezTo>
                        <a:pt x="2" y="255"/>
                        <a:pt x="2" y="255"/>
                        <a:pt x="2" y="255"/>
                      </a:cubicBezTo>
                      <a:cubicBezTo>
                        <a:pt x="2" y="255"/>
                        <a:pt x="25" y="291"/>
                        <a:pt x="29" y="311"/>
                      </a:cubicBezTo>
                      <a:cubicBezTo>
                        <a:pt x="34" y="311"/>
                        <a:pt x="74" y="347"/>
                        <a:pt x="62" y="367"/>
                      </a:cubicBezTo>
                      <a:cubicBezTo>
                        <a:pt x="60" y="374"/>
                        <a:pt x="46" y="380"/>
                        <a:pt x="46" y="380"/>
                      </a:cubicBezTo>
                      <a:cubicBezTo>
                        <a:pt x="50" y="403"/>
                        <a:pt x="50" y="403"/>
                        <a:pt x="50" y="403"/>
                      </a:cubicBezTo>
                      <a:cubicBezTo>
                        <a:pt x="56" y="384"/>
                        <a:pt x="56" y="384"/>
                        <a:pt x="56" y="384"/>
                      </a:cubicBezTo>
                      <a:cubicBezTo>
                        <a:pt x="68" y="384"/>
                        <a:pt x="68" y="384"/>
                        <a:pt x="68" y="384"/>
                      </a:cubicBezTo>
                      <a:cubicBezTo>
                        <a:pt x="72" y="396"/>
                        <a:pt x="72" y="396"/>
                        <a:pt x="72" y="396"/>
                      </a:cubicBezTo>
                      <a:cubicBezTo>
                        <a:pt x="82" y="391"/>
                        <a:pt x="82" y="391"/>
                        <a:pt x="82" y="391"/>
                      </a:cubicBezTo>
                      <a:cubicBezTo>
                        <a:pt x="88" y="398"/>
                        <a:pt x="88" y="398"/>
                        <a:pt x="88" y="398"/>
                      </a:cubicBezTo>
                      <a:cubicBezTo>
                        <a:pt x="90" y="390"/>
                        <a:pt x="90" y="390"/>
                        <a:pt x="90" y="390"/>
                      </a:cubicBezTo>
                      <a:cubicBezTo>
                        <a:pt x="90" y="390"/>
                        <a:pt x="120" y="375"/>
                        <a:pt x="126" y="384"/>
                      </a:cubicBezTo>
                      <a:cubicBezTo>
                        <a:pt x="133" y="394"/>
                        <a:pt x="158" y="391"/>
                        <a:pt x="145" y="402"/>
                      </a:cubicBezTo>
                      <a:cubicBezTo>
                        <a:pt x="150" y="406"/>
                        <a:pt x="150" y="406"/>
                        <a:pt x="150" y="406"/>
                      </a:cubicBezTo>
                      <a:cubicBezTo>
                        <a:pt x="157" y="424"/>
                        <a:pt x="157" y="424"/>
                        <a:pt x="157" y="424"/>
                      </a:cubicBezTo>
                      <a:cubicBezTo>
                        <a:pt x="157" y="424"/>
                        <a:pt x="188" y="403"/>
                        <a:pt x="174" y="452"/>
                      </a:cubicBezTo>
                      <a:cubicBezTo>
                        <a:pt x="170" y="464"/>
                        <a:pt x="170" y="468"/>
                        <a:pt x="171" y="469"/>
                      </a:cubicBezTo>
                      <a:cubicBezTo>
                        <a:pt x="172" y="470"/>
                        <a:pt x="172" y="470"/>
                        <a:pt x="172" y="470"/>
                      </a:cubicBezTo>
                      <a:cubicBezTo>
                        <a:pt x="172" y="470"/>
                        <a:pt x="171" y="470"/>
                        <a:pt x="171" y="469"/>
                      </a:cubicBezTo>
                      <a:cubicBezTo>
                        <a:pt x="157" y="458"/>
                        <a:pt x="157" y="458"/>
                        <a:pt x="157" y="458"/>
                      </a:cubicBezTo>
                      <a:cubicBezTo>
                        <a:pt x="160" y="470"/>
                        <a:pt x="160" y="470"/>
                        <a:pt x="160" y="470"/>
                      </a:cubicBezTo>
                      <a:cubicBezTo>
                        <a:pt x="160" y="470"/>
                        <a:pt x="150" y="475"/>
                        <a:pt x="150" y="479"/>
                      </a:cubicBezTo>
                      <a:cubicBezTo>
                        <a:pt x="150" y="483"/>
                        <a:pt x="157" y="495"/>
                        <a:pt x="157" y="495"/>
                      </a:cubicBezTo>
                      <a:cubicBezTo>
                        <a:pt x="142" y="495"/>
                        <a:pt x="142" y="495"/>
                        <a:pt x="142" y="495"/>
                      </a:cubicBezTo>
                      <a:cubicBezTo>
                        <a:pt x="142" y="515"/>
                        <a:pt x="142" y="515"/>
                        <a:pt x="142" y="515"/>
                      </a:cubicBezTo>
                      <a:cubicBezTo>
                        <a:pt x="122" y="519"/>
                        <a:pt x="122" y="519"/>
                        <a:pt x="122" y="519"/>
                      </a:cubicBezTo>
                      <a:cubicBezTo>
                        <a:pt x="110" y="547"/>
                        <a:pt x="110" y="547"/>
                        <a:pt x="110" y="547"/>
                      </a:cubicBezTo>
                      <a:cubicBezTo>
                        <a:pt x="82" y="548"/>
                        <a:pt x="82" y="548"/>
                        <a:pt x="82" y="548"/>
                      </a:cubicBezTo>
                      <a:cubicBezTo>
                        <a:pt x="81" y="554"/>
                        <a:pt x="81" y="554"/>
                        <a:pt x="81" y="554"/>
                      </a:cubicBezTo>
                      <a:cubicBezTo>
                        <a:pt x="62" y="563"/>
                        <a:pt x="62" y="563"/>
                        <a:pt x="62" y="563"/>
                      </a:cubicBezTo>
                      <a:cubicBezTo>
                        <a:pt x="62" y="579"/>
                        <a:pt x="62" y="579"/>
                        <a:pt x="62" y="579"/>
                      </a:cubicBezTo>
                      <a:cubicBezTo>
                        <a:pt x="41" y="588"/>
                        <a:pt x="41" y="588"/>
                        <a:pt x="41" y="588"/>
                      </a:cubicBezTo>
                      <a:cubicBezTo>
                        <a:pt x="54" y="640"/>
                        <a:pt x="54" y="640"/>
                        <a:pt x="54" y="640"/>
                      </a:cubicBezTo>
                      <a:lnTo>
                        <a:pt x="68" y="647"/>
                      </a:lnTo>
                      <a:close/>
                    </a:path>
                  </a:pathLst>
                </a:custGeom>
                <a:solidFill>
                  <a:srgbClr val="F4F3F0"/>
                </a:solidFill>
                <a:ln w="3175" cap="flat" cmpd="sng">
                  <a:solidFill>
                    <a:schemeClr val="accent2"/>
                  </a:solidFill>
                  <a:prstDash val="solid"/>
                  <a:round/>
                  <a:headEnd type="none" w="med" len="med"/>
                  <a:tailEnd type="none" w="med" len="med"/>
                </a:ln>
                <a:effectLst/>
              </p:spPr>
              <p:txBody>
                <a:bodyPr/>
                <a:lstStyle/>
                <a:p>
                  <a:endParaRPr lang="en-US">
                    <a:solidFill>
                      <a:srgbClr val="5F5F5F"/>
                    </a:solidFill>
                    <a:latin typeface="Tahoma"/>
                  </a:endParaRPr>
                </a:p>
              </p:txBody>
            </p:sp>
          </p:grpSp>
          <p:pic>
            <p:nvPicPr>
              <p:cNvPr id="176" name="Location-White-Background">
                <a:extLst>
                  <a:ext uri="{FF2B5EF4-FFF2-40B4-BE49-F238E27FC236}">
                    <a16:creationId xmlns:a16="http://schemas.microsoft.com/office/drawing/2014/main" id="{CC5BB4AA-F599-4170-BF1B-412360A20689}"/>
                  </a:ext>
                </a:extLst>
              </p:cNvPr>
              <p:cNvPicPr>
                <a:picLocks noChangeAspect="1"/>
              </p:cNvPicPr>
              <p:nvPr/>
            </p:nvPicPr>
            <p:blipFill>
              <a:blip r:embed="rId9" cstate="print">
                <a:extLst>
                  <a:ext uri="{BEBA8EAE-BF5A-486C-A8C5-ECC9F3942E4B}">
                    <a14:imgProps xmlns:a14="http://schemas.microsoft.com/office/drawing/2010/main">
                      <a14:imgLayer r:embed="rId10">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8124795" y="4049659"/>
                <a:ext cx="161684" cy="161684"/>
              </a:xfrm>
              <a:prstGeom prst="rect">
                <a:avLst/>
              </a:prstGeom>
            </p:spPr>
          </p:pic>
        </p:grpSp>
        <p:pic>
          <p:nvPicPr>
            <p:cNvPr id="166" name="Location-White-Background">
              <a:extLst>
                <a:ext uri="{FF2B5EF4-FFF2-40B4-BE49-F238E27FC236}">
                  <a16:creationId xmlns:a16="http://schemas.microsoft.com/office/drawing/2014/main" id="{644395D3-111C-4208-8808-32EA11115FCE}"/>
                </a:ext>
              </a:extLst>
            </p:cNvPr>
            <p:cNvPicPr>
              <a:picLocks noChangeAspect="1"/>
            </p:cNvPicPr>
            <p:nvPr/>
          </p:nvPicPr>
          <p:blipFill>
            <a:blip r:embed="rId9" cstate="print">
              <a:extLst>
                <a:ext uri="{BEBA8EAE-BF5A-486C-A8C5-ECC9F3942E4B}">
                  <a14:imgProps xmlns:a14="http://schemas.microsoft.com/office/drawing/2010/main">
                    <a14:imgLayer r:embed="rId10">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4508784" y="1624280"/>
              <a:ext cx="186199" cy="182268"/>
            </a:xfrm>
            <a:prstGeom prst="rect">
              <a:avLst/>
            </a:prstGeom>
          </p:spPr>
        </p:pic>
        <p:sp>
          <p:nvSpPr>
            <p:cNvPr id="167" name="ZoneTexte 166">
              <a:extLst>
                <a:ext uri="{FF2B5EF4-FFF2-40B4-BE49-F238E27FC236}">
                  <a16:creationId xmlns:a16="http://schemas.microsoft.com/office/drawing/2014/main" id="{7FF8DDA1-DE46-4A70-ADDC-35B0BC21D19B}"/>
                </a:ext>
              </a:extLst>
            </p:cNvPr>
            <p:cNvSpPr txBox="1"/>
            <p:nvPr/>
          </p:nvSpPr>
          <p:spPr>
            <a:xfrm>
              <a:off x="4994026" y="2505108"/>
              <a:ext cx="1198495" cy="299219"/>
            </a:xfrm>
            <a:prstGeom prst="rect">
              <a:avLst/>
            </a:prstGeom>
            <a:noFill/>
          </p:spPr>
          <p:txBody>
            <a:bodyPr wrap="square" lIns="108000" rIns="108000" rtlCol="0">
              <a:spAutoFit/>
            </a:bodyPr>
            <a:lstStyle/>
            <a:p>
              <a:pPr algn="ctr"/>
              <a:r>
                <a:rPr lang="fr-FR" sz="700" b="1">
                  <a:solidFill>
                    <a:srgbClr val="503078"/>
                  </a:solidFill>
                  <a:latin typeface="Tahoma"/>
                </a:rPr>
                <a:t>Méditerranée</a:t>
              </a:r>
              <a:endParaRPr lang="fr-FR" sz="700">
                <a:solidFill>
                  <a:srgbClr val="5F5F5F"/>
                </a:solidFill>
                <a:latin typeface="Tahoma"/>
              </a:endParaRPr>
            </a:p>
          </p:txBody>
        </p:sp>
        <p:pic>
          <p:nvPicPr>
            <p:cNvPr id="168" name="Location-White-Background">
              <a:extLst>
                <a:ext uri="{FF2B5EF4-FFF2-40B4-BE49-F238E27FC236}">
                  <a16:creationId xmlns:a16="http://schemas.microsoft.com/office/drawing/2014/main" id="{074E458B-26AC-4876-9292-0716A96E4D35}"/>
                </a:ext>
              </a:extLst>
            </p:cNvPr>
            <p:cNvPicPr>
              <a:picLocks noChangeAspect="1"/>
            </p:cNvPicPr>
            <p:nvPr/>
          </p:nvPicPr>
          <p:blipFill>
            <a:blip r:embed="rId9" cstate="print">
              <a:extLst>
                <a:ext uri="{BEBA8EAE-BF5A-486C-A8C5-ECC9F3942E4B}">
                  <a14:imgProps xmlns:a14="http://schemas.microsoft.com/office/drawing/2010/main">
                    <a14:imgLayer r:embed="rId10">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4523037" y="2253473"/>
              <a:ext cx="186199" cy="182268"/>
            </a:xfrm>
            <a:prstGeom prst="rect">
              <a:avLst/>
            </a:prstGeom>
          </p:spPr>
        </p:pic>
        <p:pic>
          <p:nvPicPr>
            <p:cNvPr id="169" name="Location-White-Background">
              <a:extLst>
                <a:ext uri="{FF2B5EF4-FFF2-40B4-BE49-F238E27FC236}">
                  <a16:creationId xmlns:a16="http://schemas.microsoft.com/office/drawing/2014/main" id="{E7420621-4CC5-4E3F-B871-49E288B8A3CE}"/>
                </a:ext>
              </a:extLst>
            </p:cNvPr>
            <p:cNvPicPr>
              <a:picLocks noChangeAspect="1"/>
            </p:cNvPicPr>
            <p:nvPr/>
          </p:nvPicPr>
          <p:blipFill>
            <a:blip r:embed="rId9" cstate="print">
              <a:extLst>
                <a:ext uri="{BEBA8EAE-BF5A-486C-A8C5-ECC9F3942E4B}">
                  <a14:imgProps xmlns:a14="http://schemas.microsoft.com/office/drawing/2010/main">
                    <a14:imgLayer r:embed="rId10">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5219374" y="1934658"/>
              <a:ext cx="186199" cy="182268"/>
            </a:xfrm>
            <a:prstGeom prst="rect">
              <a:avLst/>
            </a:prstGeom>
          </p:spPr>
        </p:pic>
        <p:pic>
          <p:nvPicPr>
            <p:cNvPr id="170" name="Location-White-Background">
              <a:extLst>
                <a:ext uri="{FF2B5EF4-FFF2-40B4-BE49-F238E27FC236}">
                  <a16:creationId xmlns:a16="http://schemas.microsoft.com/office/drawing/2014/main" id="{86A1D248-331D-4A9F-85C1-01401FACDCB4}"/>
                </a:ext>
              </a:extLst>
            </p:cNvPr>
            <p:cNvPicPr>
              <a:picLocks noChangeAspect="1"/>
            </p:cNvPicPr>
            <p:nvPr/>
          </p:nvPicPr>
          <p:blipFill>
            <a:blip r:embed="rId9" cstate="print">
              <a:extLst>
                <a:ext uri="{BEBA8EAE-BF5A-486C-A8C5-ECC9F3942E4B}">
                  <a14:imgProps xmlns:a14="http://schemas.microsoft.com/office/drawing/2010/main">
                    <a14:imgLayer r:embed="rId10">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4447393" y="1874582"/>
              <a:ext cx="186199" cy="182268"/>
            </a:xfrm>
            <a:prstGeom prst="rect">
              <a:avLst/>
            </a:prstGeom>
          </p:spPr>
        </p:pic>
        <p:sp>
          <p:nvSpPr>
            <p:cNvPr id="171" name="ZoneTexte 170">
              <a:extLst>
                <a:ext uri="{FF2B5EF4-FFF2-40B4-BE49-F238E27FC236}">
                  <a16:creationId xmlns:a16="http://schemas.microsoft.com/office/drawing/2014/main" id="{BF9A3DAF-A6FB-41C6-8DD6-1810454F02DD}"/>
                </a:ext>
              </a:extLst>
            </p:cNvPr>
            <p:cNvSpPr txBox="1"/>
            <p:nvPr/>
          </p:nvSpPr>
          <p:spPr>
            <a:xfrm>
              <a:off x="3669077" y="2342436"/>
              <a:ext cx="1345134" cy="460337"/>
            </a:xfrm>
            <a:prstGeom prst="rect">
              <a:avLst/>
            </a:prstGeom>
            <a:noFill/>
          </p:spPr>
          <p:txBody>
            <a:bodyPr wrap="square" lIns="108000" rIns="108000" rtlCol="0">
              <a:spAutoFit/>
            </a:bodyPr>
            <a:lstStyle/>
            <a:p>
              <a:pPr algn="ctr"/>
              <a:r>
                <a:rPr lang="fr-FR" sz="700" b="1">
                  <a:solidFill>
                    <a:srgbClr val="503078"/>
                  </a:solidFill>
                  <a:latin typeface="Tahoma"/>
                </a:rPr>
                <a:t>Sud-Ouest / Atlantique</a:t>
              </a:r>
              <a:endParaRPr lang="fr-FR" sz="700">
                <a:solidFill>
                  <a:srgbClr val="5F5F5F"/>
                </a:solidFill>
                <a:latin typeface="Tahoma"/>
              </a:endParaRPr>
            </a:p>
          </p:txBody>
        </p:sp>
        <p:sp>
          <p:nvSpPr>
            <p:cNvPr id="172" name="ZoneTexte 171">
              <a:extLst>
                <a:ext uri="{FF2B5EF4-FFF2-40B4-BE49-F238E27FC236}">
                  <a16:creationId xmlns:a16="http://schemas.microsoft.com/office/drawing/2014/main" id="{930579A1-7B75-46E7-B704-0B78E08375DB}"/>
                </a:ext>
              </a:extLst>
            </p:cNvPr>
            <p:cNvSpPr txBox="1"/>
            <p:nvPr/>
          </p:nvSpPr>
          <p:spPr>
            <a:xfrm>
              <a:off x="4911674" y="2037373"/>
              <a:ext cx="974002" cy="460337"/>
            </a:xfrm>
            <a:prstGeom prst="rect">
              <a:avLst/>
            </a:prstGeom>
            <a:noFill/>
          </p:spPr>
          <p:txBody>
            <a:bodyPr wrap="square" lIns="108000" rIns="108000" rtlCol="0">
              <a:spAutoFit/>
            </a:bodyPr>
            <a:lstStyle/>
            <a:p>
              <a:pPr algn="ctr"/>
              <a:r>
                <a:rPr lang="fr-FR" sz="700" b="1">
                  <a:solidFill>
                    <a:srgbClr val="503078"/>
                  </a:solidFill>
                  <a:latin typeface="Tahoma"/>
                </a:rPr>
                <a:t>Alpes / Jura</a:t>
              </a:r>
              <a:endParaRPr lang="fr-FR" sz="700">
                <a:solidFill>
                  <a:srgbClr val="5F5F5F"/>
                </a:solidFill>
                <a:latin typeface="Tahoma"/>
              </a:endParaRPr>
            </a:p>
          </p:txBody>
        </p:sp>
        <p:sp>
          <p:nvSpPr>
            <p:cNvPr id="173" name="ZoneTexte 172">
              <a:extLst>
                <a:ext uri="{FF2B5EF4-FFF2-40B4-BE49-F238E27FC236}">
                  <a16:creationId xmlns:a16="http://schemas.microsoft.com/office/drawing/2014/main" id="{85A49B5B-D64A-4EE6-B1AD-3E8FD062625C}"/>
                </a:ext>
              </a:extLst>
            </p:cNvPr>
            <p:cNvSpPr txBox="1"/>
            <p:nvPr/>
          </p:nvSpPr>
          <p:spPr>
            <a:xfrm>
              <a:off x="3512600" y="1493585"/>
              <a:ext cx="1533682" cy="460337"/>
            </a:xfrm>
            <a:prstGeom prst="rect">
              <a:avLst/>
            </a:prstGeom>
            <a:noFill/>
          </p:spPr>
          <p:txBody>
            <a:bodyPr wrap="square" lIns="108000" rIns="108000" rtlCol="0">
              <a:spAutoFit/>
            </a:bodyPr>
            <a:lstStyle/>
            <a:p>
              <a:pPr algn="ctr"/>
              <a:r>
                <a:rPr lang="fr-FR" sz="700" b="1">
                  <a:solidFill>
                    <a:srgbClr val="503078"/>
                  </a:solidFill>
                  <a:latin typeface="Tahoma"/>
                </a:rPr>
                <a:t>Bretagne / Pays de la Loire</a:t>
              </a:r>
              <a:endParaRPr lang="fr-FR" sz="700">
                <a:solidFill>
                  <a:srgbClr val="5F5F5F"/>
                </a:solidFill>
                <a:latin typeface="Tahoma"/>
              </a:endParaRPr>
            </a:p>
          </p:txBody>
        </p:sp>
        <p:sp>
          <p:nvSpPr>
            <p:cNvPr id="174" name="ZoneTexte 173">
              <a:extLst>
                <a:ext uri="{FF2B5EF4-FFF2-40B4-BE49-F238E27FC236}">
                  <a16:creationId xmlns:a16="http://schemas.microsoft.com/office/drawing/2014/main" id="{C7657DA6-7F90-47FF-998A-CA2FAF5ED04E}"/>
                </a:ext>
              </a:extLst>
            </p:cNvPr>
            <p:cNvSpPr txBox="1"/>
            <p:nvPr/>
          </p:nvSpPr>
          <p:spPr>
            <a:xfrm>
              <a:off x="3562134" y="1968083"/>
              <a:ext cx="1596098" cy="299219"/>
            </a:xfrm>
            <a:prstGeom prst="rect">
              <a:avLst/>
            </a:prstGeom>
            <a:noFill/>
          </p:spPr>
          <p:txBody>
            <a:bodyPr wrap="square" lIns="108000" rIns="108000" rtlCol="0">
              <a:spAutoFit/>
            </a:bodyPr>
            <a:lstStyle/>
            <a:p>
              <a:pPr algn="ctr"/>
              <a:r>
                <a:rPr lang="fr-FR" sz="700" b="1">
                  <a:solidFill>
                    <a:srgbClr val="503078"/>
                  </a:solidFill>
                  <a:latin typeface="Tahoma"/>
                </a:rPr>
                <a:t>Charente / Vendée</a:t>
              </a:r>
              <a:endParaRPr lang="fr-FR" sz="700">
                <a:solidFill>
                  <a:srgbClr val="5F5F5F"/>
                </a:solidFill>
                <a:latin typeface="Tahoma"/>
              </a:endParaRPr>
            </a:p>
          </p:txBody>
        </p:sp>
      </p:grpSp>
      <p:sp>
        <p:nvSpPr>
          <p:cNvPr id="200" name="ZoneTexte 199">
            <a:extLst>
              <a:ext uri="{FF2B5EF4-FFF2-40B4-BE49-F238E27FC236}">
                <a16:creationId xmlns:a16="http://schemas.microsoft.com/office/drawing/2014/main" id="{9D2F707F-B137-4D67-8AF0-A94280C85E9E}"/>
              </a:ext>
            </a:extLst>
          </p:cNvPr>
          <p:cNvSpPr txBox="1"/>
          <p:nvPr/>
        </p:nvSpPr>
        <p:spPr>
          <a:xfrm>
            <a:off x="1187839" y="1813684"/>
            <a:ext cx="5982318" cy="307777"/>
          </a:xfrm>
          <a:prstGeom prst="rect">
            <a:avLst/>
          </a:prstGeom>
          <a:noFill/>
          <a:ln>
            <a:solidFill>
              <a:schemeClr val="bg1"/>
            </a:solidFill>
          </a:ln>
        </p:spPr>
        <p:txBody>
          <a:bodyPr wrap="square" lIns="108000" rIns="108000" rtlCol="0">
            <a:spAutoFit/>
          </a:bodyPr>
          <a:lstStyle/>
          <a:p>
            <a:r>
              <a:rPr lang="fr-FR" sz="1400" b="1">
                <a:solidFill>
                  <a:srgbClr val="503078"/>
                </a:solidFill>
                <a:latin typeface="Tahoma"/>
              </a:rPr>
              <a:t>Description</a:t>
            </a:r>
          </a:p>
        </p:txBody>
      </p:sp>
      <p:sp>
        <p:nvSpPr>
          <p:cNvPr id="201" name="ZoneTexte 200">
            <a:extLst>
              <a:ext uri="{FF2B5EF4-FFF2-40B4-BE49-F238E27FC236}">
                <a16:creationId xmlns:a16="http://schemas.microsoft.com/office/drawing/2014/main" id="{89A8527A-3C63-4EFF-8583-1E85A8B450C3}"/>
              </a:ext>
            </a:extLst>
          </p:cNvPr>
          <p:cNvSpPr txBox="1"/>
          <p:nvPr/>
        </p:nvSpPr>
        <p:spPr>
          <a:xfrm>
            <a:off x="1231327" y="2033916"/>
            <a:ext cx="9706664" cy="1061829"/>
          </a:xfrm>
          <a:prstGeom prst="rect">
            <a:avLst/>
          </a:prstGeom>
          <a:noFill/>
        </p:spPr>
        <p:txBody>
          <a:bodyPr wrap="square">
            <a:spAutoFit/>
          </a:bodyPr>
          <a:lstStyle/>
          <a:p>
            <a:pPr algn="just"/>
            <a:r>
              <a:rPr lang="fr-FR" sz="1050">
                <a:solidFill>
                  <a:srgbClr val="5F5F5F"/>
                </a:solidFill>
                <a:latin typeface="Tahoma"/>
              </a:rPr>
              <a:t>Depuis 2013, le réseau Passerelles organise des séjours familiaux sur 32 destinations en France, dans des lieux de vacances ordinaires, où les familles peuvent disposer d’un logement et d’une équipe professionnelle pour assurer l’accueil et la prise en charge de leur enfant en situation de handicap. 1/3 des logements proposés sont adaptés aux PMR. Depuis 2018, Passerelles poursuit également l’objectif d’installer des chalets équipés pour les PSH au sein de lieux de vacances ordinaires. En 2022, Passerelles dispose de 10 logements sur 3 sites : l’objectif est de porter ce nombre à 24 hébergements au sein de 6 sites.</a:t>
            </a:r>
          </a:p>
          <a:p>
            <a:pPr algn="just"/>
            <a:r>
              <a:rPr lang="fr-FR" sz="1050">
                <a:solidFill>
                  <a:srgbClr val="5F5F5F"/>
                </a:solidFill>
                <a:latin typeface="Tahoma"/>
              </a:rPr>
              <a:t>. </a:t>
            </a:r>
          </a:p>
          <a:p>
            <a:pPr algn="just"/>
            <a:endParaRPr lang="fr-FR" sz="1050">
              <a:solidFill>
                <a:srgbClr val="5F5F5F"/>
              </a:solidFill>
              <a:latin typeface="Tahoma"/>
            </a:endParaRPr>
          </a:p>
        </p:txBody>
      </p:sp>
      <p:sp>
        <p:nvSpPr>
          <p:cNvPr id="202" name="ZoneTexte 201">
            <a:extLst>
              <a:ext uri="{FF2B5EF4-FFF2-40B4-BE49-F238E27FC236}">
                <a16:creationId xmlns:a16="http://schemas.microsoft.com/office/drawing/2014/main" id="{86D9062D-5DAA-4187-A261-714CAB818DC0}"/>
              </a:ext>
            </a:extLst>
          </p:cNvPr>
          <p:cNvSpPr txBox="1"/>
          <p:nvPr/>
        </p:nvSpPr>
        <p:spPr>
          <a:xfrm>
            <a:off x="2624666" y="3208246"/>
            <a:ext cx="3376602" cy="1472189"/>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204" name="ZoneTexte 203">
            <a:extLst>
              <a:ext uri="{FF2B5EF4-FFF2-40B4-BE49-F238E27FC236}">
                <a16:creationId xmlns:a16="http://schemas.microsoft.com/office/drawing/2014/main" id="{D68FE60B-BC0E-4C26-A344-18DE6F17651B}"/>
              </a:ext>
            </a:extLst>
          </p:cNvPr>
          <p:cNvSpPr txBox="1"/>
          <p:nvPr/>
        </p:nvSpPr>
        <p:spPr>
          <a:xfrm>
            <a:off x="2620468" y="4749030"/>
            <a:ext cx="3376602" cy="1481083"/>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205" name="Rectangle 204">
            <a:extLst>
              <a:ext uri="{FF2B5EF4-FFF2-40B4-BE49-F238E27FC236}">
                <a16:creationId xmlns:a16="http://schemas.microsoft.com/office/drawing/2014/main" id="{CF48149E-20A4-4107-8D3B-E9C08061E6D3}"/>
              </a:ext>
            </a:extLst>
          </p:cNvPr>
          <p:cNvSpPr/>
          <p:nvPr/>
        </p:nvSpPr>
        <p:spPr>
          <a:xfrm>
            <a:off x="1254008" y="2846616"/>
            <a:ext cx="4825165" cy="3722686"/>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206" name="ZoneTexte 205">
            <a:extLst>
              <a:ext uri="{FF2B5EF4-FFF2-40B4-BE49-F238E27FC236}">
                <a16:creationId xmlns:a16="http://schemas.microsoft.com/office/drawing/2014/main" id="{0EB21C34-11EC-46BC-A926-B83151B45BF2}"/>
              </a:ext>
            </a:extLst>
          </p:cNvPr>
          <p:cNvSpPr txBox="1"/>
          <p:nvPr/>
        </p:nvSpPr>
        <p:spPr>
          <a:xfrm>
            <a:off x="1253624" y="2846696"/>
            <a:ext cx="4815764" cy="307777"/>
          </a:xfrm>
          <a:prstGeom prst="rect">
            <a:avLst/>
          </a:prstGeom>
          <a:solidFill>
            <a:srgbClr val="B0ADCC"/>
          </a:solidFill>
          <a:ln>
            <a:noFill/>
          </a:ln>
        </p:spPr>
        <p:txBody>
          <a:bodyPr wrap="square" lIns="108000" rIns="108000" rtlCol="0">
            <a:spAutoFit/>
          </a:bodyPr>
          <a:lstStyle/>
          <a:p>
            <a:pPr algn="ctr"/>
            <a:r>
              <a:rPr lang="fr-FR" sz="1400" b="1">
                <a:solidFill>
                  <a:srgbClr val="FFFFFF"/>
                </a:solidFill>
                <a:latin typeface="Tahoma"/>
              </a:rPr>
              <a:t>Modèle opérationnel </a:t>
            </a:r>
          </a:p>
        </p:txBody>
      </p:sp>
      <p:sp>
        <p:nvSpPr>
          <p:cNvPr id="207" name="Rectangle 206">
            <a:extLst>
              <a:ext uri="{FF2B5EF4-FFF2-40B4-BE49-F238E27FC236}">
                <a16:creationId xmlns:a16="http://schemas.microsoft.com/office/drawing/2014/main" id="{EFF73BB4-C1D5-47DD-AFD1-E52F46A4D023}"/>
              </a:ext>
            </a:extLst>
          </p:cNvPr>
          <p:cNvSpPr/>
          <p:nvPr/>
        </p:nvSpPr>
        <p:spPr>
          <a:xfrm>
            <a:off x="6122613" y="2846616"/>
            <a:ext cx="4824000" cy="3722686"/>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208" name="ZoneTexte 207">
            <a:extLst>
              <a:ext uri="{FF2B5EF4-FFF2-40B4-BE49-F238E27FC236}">
                <a16:creationId xmlns:a16="http://schemas.microsoft.com/office/drawing/2014/main" id="{3C9830EC-03E9-4EB7-A0ED-B14D1AFB6145}"/>
              </a:ext>
            </a:extLst>
          </p:cNvPr>
          <p:cNvSpPr txBox="1"/>
          <p:nvPr/>
        </p:nvSpPr>
        <p:spPr>
          <a:xfrm>
            <a:off x="6124765" y="2855928"/>
            <a:ext cx="4824000" cy="307777"/>
          </a:xfrm>
          <a:prstGeom prst="rect">
            <a:avLst/>
          </a:prstGeom>
          <a:solidFill>
            <a:srgbClr val="B24669"/>
          </a:solidFill>
          <a:ln>
            <a:noFill/>
          </a:ln>
        </p:spPr>
        <p:txBody>
          <a:bodyPr wrap="square" lIns="108000" rIns="108000" rtlCol="0">
            <a:spAutoFit/>
          </a:bodyPr>
          <a:lstStyle/>
          <a:p>
            <a:pPr algn="ctr"/>
            <a:r>
              <a:rPr lang="fr-FR" sz="1400" b="1">
                <a:solidFill>
                  <a:srgbClr val="FFFFFF"/>
                </a:solidFill>
                <a:latin typeface="Tahoma"/>
              </a:rPr>
              <a:t>Modèle économique </a:t>
            </a:r>
          </a:p>
        </p:txBody>
      </p:sp>
      <p:sp>
        <p:nvSpPr>
          <p:cNvPr id="209" name="ZoneTexte 208">
            <a:extLst>
              <a:ext uri="{FF2B5EF4-FFF2-40B4-BE49-F238E27FC236}">
                <a16:creationId xmlns:a16="http://schemas.microsoft.com/office/drawing/2014/main" id="{316441E8-83CA-47EB-BD43-C7EF2982A1C6}"/>
              </a:ext>
            </a:extLst>
          </p:cNvPr>
          <p:cNvSpPr txBox="1"/>
          <p:nvPr/>
        </p:nvSpPr>
        <p:spPr>
          <a:xfrm>
            <a:off x="2627338" y="3192069"/>
            <a:ext cx="3380319" cy="1515800"/>
          </a:xfrm>
          <a:prstGeom prst="rect">
            <a:avLst/>
          </a:prstGeom>
          <a:noFill/>
          <a:ln>
            <a:noFill/>
          </a:ln>
        </p:spPr>
        <p:txBody>
          <a:bodyPr wrap="square" lIns="108000" rIns="108000" rtlCol="0">
            <a:spAutoFit/>
          </a:bodyPr>
          <a:lstStyle/>
          <a:p>
            <a:pPr marL="171450" indent="-171450" algn="just">
              <a:spcAft>
                <a:spcPts val="300"/>
              </a:spcAft>
              <a:buClr>
                <a:srgbClr val="503078"/>
              </a:buClr>
              <a:buFont typeface="Tahoma" panose="020B0604030504040204" pitchFamily="34" charset="0"/>
              <a:buChar char="⁄"/>
              <a:defRPr/>
            </a:pPr>
            <a:r>
              <a:rPr lang="fr-FR" sz="1000">
                <a:solidFill>
                  <a:srgbClr val="5F5F5F"/>
                </a:solidFill>
                <a:latin typeface="Tahoma"/>
              </a:rPr>
              <a:t>30 destinations en France au sein de campings ou villages de vacances ordinaires : pré-réservation de 4 logements par site pour 4 à 6 semaines l’été via une convention d’allotement</a:t>
            </a:r>
          </a:p>
          <a:p>
            <a:pPr marL="171450" indent="-171450" algn="just">
              <a:spcAft>
                <a:spcPts val="300"/>
              </a:spcAft>
              <a:buClr>
                <a:srgbClr val="503078"/>
              </a:buClr>
              <a:buFont typeface="Tahoma" panose="020B0604030504040204" pitchFamily="34" charset="0"/>
              <a:buChar char="⁄"/>
              <a:defRPr/>
            </a:pPr>
            <a:r>
              <a:rPr lang="fr-FR" sz="1000">
                <a:solidFill>
                  <a:srgbClr val="5F5F5F"/>
                </a:solidFill>
                <a:latin typeface="Tahoma"/>
              </a:rPr>
              <a:t>Plus récemment, Passerelles a mis en place des « Chalets du Soleil » au sein de 3 destinations (Domaine du Pré – Vendée, Domaine de </a:t>
            </a:r>
            <a:r>
              <a:rPr lang="fr-FR" sz="1000" err="1">
                <a:solidFill>
                  <a:srgbClr val="5F5F5F"/>
                </a:solidFill>
                <a:latin typeface="Tahoma"/>
              </a:rPr>
              <a:t>Lévéno</a:t>
            </a:r>
            <a:r>
              <a:rPr lang="fr-FR" sz="1000">
                <a:solidFill>
                  <a:srgbClr val="5F5F5F"/>
                </a:solidFill>
                <a:latin typeface="Tahoma"/>
              </a:rPr>
              <a:t> à Guérande, Camping Aqua Trois masses – Île d’Oléron Charente) : environ 10 logements.</a:t>
            </a:r>
            <a:endParaRPr lang="fr-FR" sz="900">
              <a:solidFill>
                <a:srgbClr val="5F5F5F"/>
              </a:solidFill>
              <a:latin typeface="Tahoma"/>
            </a:endParaRPr>
          </a:p>
        </p:txBody>
      </p:sp>
      <p:sp>
        <p:nvSpPr>
          <p:cNvPr id="211" name="ZoneTexte 210">
            <a:extLst>
              <a:ext uri="{FF2B5EF4-FFF2-40B4-BE49-F238E27FC236}">
                <a16:creationId xmlns:a16="http://schemas.microsoft.com/office/drawing/2014/main" id="{9D7F7D6B-4771-406F-9C8D-1BFE8F6BC331}"/>
              </a:ext>
            </a:extLst>
          </p:cNvPr>
          <p:cNvSpPr txBox="1"/>
          <p:nvPr/>
        </p:nvSpPr>
        <p:spPr>
          <a:xfrm>
            <a:off x="2640235" y="4758378"/>
            <a:ext cx="3405650" cy="1471750"/>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Accueil des enfants dans le Club Enfant Passerelles (accueil de loisirs sans hébergement) pendant 35h dans la semaine + 1 soirée de garde</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quipe d’1 éducatrice spécialisée et 2 animateurs (3 adultes pour 4 enfants en situation de handicap)</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Mise à disposition de matériel médical et réservation de soins paramédicaux si nécessaire (service infirmier, aides-soignants, kinésithérapie…)</a:t>
            </a:r>
          </a:p>
        </p:txBody>
      </p:sp>
      <p:sp>
        <p:nvSpPr>
          <p:cNvPr id="212" name="ZoneTexte 211">
            <a:extLst>
              <a:ext uri="{FF2B5EF4-FFF2-40B4-BE49-F238E27FC236}">
                <a16:creationId xmlns:a16="http://schemas.microsoft.com/office/drawing/2014/main" id="{77BAAD98-2F46-477A-B040-2E10B00C6436}"/>
              </a:ext>
            </a:extLst>
          </p:cNvPr>
          <p:cNvSpPr txBox="1"/>
          <p:nvPr/>
        </p:nvSpPr>
        <p:spPr>
          <a:xfrm>
            <a:off x="6183557" y="3218879"/>
            <a:ext cx="3751654" cy="1168801"/>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213" name="ZoneTexte 212">
            <a:extLst>
              <a:ext uri="{FF2B5EF4-FFF2-40B4-BE49-F238E27FC236}">
                <a16:creationId xmlns:a16="http://schemas.microsoft.com/office/drawing/2014/main" id="{0EDEEA36-40A6-4A14-8D14-A6CE1C28B99E}"/>
              </a:ext>
            </a:extLst>
          </p:cNvPr>
          <p:cNvSpPr txBox="1"/>
          <p:nvPr/>
        </p:nvSpPr>
        <p:spPr>
          <a:xfrm>
            <a:off x="6190462" y="4442903"/>
            <a:ext cx="3751654" cy="735591"/>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pic>
        <p:nvPicPr>
          <p:cNvPr id="214" name="Graphique 213" descr="Logement avec un remplissage uni">
            <a:extLst>
              <a:ext uri="{FF2B5EF4-FFF2-40B4-BE49-F238E27FC236}">
                <a16:creationId xmlns:a16="http://schemas.microsoft.com/office/drawing/2014/main" id="{4BE3D3EE-71BB-468F-AC64-179923F366C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19350" y="3301851"/>
            <a:ext cx="447721" cy="447721"/>
          </a:xfrm>
          <a:prstGeom prst="rect">
            <a:avLst/>
          </a:prstGeom>
        </p:spPr>
      </p:pic>
      <p:sp>
        <p:nvSpPr>
          <p:cNvPr id="215" name="ZoneTexte 214">
            <a:extLst>
              <a:ext uri="{FF2B5EF4-FFF2-40B4-BE49-F238E27FC236}">
                <a16:creationId xmlns:a16="http://schemas.microsoft.com/office/drawing/2014/main" id="{3DE58BAA-B277-4C22-B833-81B0C5781A5B}"/>
              </a:ext>
            </a:extLst>
          </p:cNvPr>
          <p:cNvSpPr txBox="1"/>
          <p:nvPr/>
        </p:nvSpPr>
        <p:spPr>
          <a:xfrm>
            <a:off x="9833569" y="3134069"/>
            <a:ext cx="1207414" cy="446276"/>
          </a:xfrm>
          <a:prstGeom prst="rect">
            <a:avLst/>
          </a:prstGeom>
          <a:noFill/>
          <a:ln>
            <a:noFill/>
          </a:ln>
        </p:spPr>
        <p:txBody>
          <a:bodyPr wrap="square" lIns="108000" rIns="108000" rtlCol="0">
            <a:spAutoFit/>
          </a:bodyPr>
          <a:lstStyle/>
          <a:p>
            <a:pPr algn="ctr"/>
            <a:r>
              <a:rPr lang="fr-FR" sz="1100" b="1">
                <a:solidFill>
                  <a:srgbClr val="B24669"/>
                </a:solidFill>
                <a:latin typeface="Tahoma"/>
              </a:rPr>
              <a:t>Immobilier</a:t>
            </a:r>
          </a:p>
          <a:p>
            <a:pPr marL="171450" indent="-171450" algn="ctr">
              <a:buFontTx/>
              <a:buChar char="-"/>
            </a:pPr>
            <a:endParaRPr lang="fr-FR" sz="1200">
              <a:solidFill>
                <a:srgbClr val="B24669"/>
              </a:solidFill>
              <a:latin typeface="Tahoma"/>
            </a:endParaRPr>
          </a:p>
        </p:txBody>
      </p:sp>
      <p:sp>
        <p:nvSpPr>
          <p:cNvPr id="216" name="ZoneTexte 215">
            <a:extLst>
              <a:ext uri="{FF2B5EF4-FFF2-40B4-BE49-F238E27FC236}">
                <a16:creationId xmlns:a16="http://schemas.microsoft.com/office/drawing/2014/main" id="{8B10D3D2-A5CC-49A2-9701-DD036C529D2F}"/>
              </a:ext>
            </a:extLst>
          </p:cNvPr>
          <p:cNvSpPr txBox="1"/>
          <p:nvPr/>
        </p:nvSpPr>
        <p:spPr>
          <a:xfrm>
            <a:off x="6146428" y="3203800"/>
            <a:ext cx="3779990" cy="1169551"/>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defRPr/>
            </a:pPr>
            <a:r>
              <a:rPr lang="fr-FR" sz="1000">
                <a:solidFill>
                  <a:srgbClr val="5F5F5F"/>
                </a:solidFill>
                <a:latin typeface="Tahoma"/>
              </a:rPr>
              <a:t>Deux modalités</a:t>
            </a:r>
            <a:r>
              <a:rPr lang="fr-FR" sz="1000" baseline="30000">
                <a:solidFill>
                  <a:srgbClr val="5F5F5F"/>
                </a:solidFill>
                <a:latin typeface="Tahoma"/>
              </a:rPr>
              <a:t>1</a:t>
            </a:r>
            <a:r>
              <a:rPr lang="fr-FR" sz="1000">
                <a:solidFill>
                  <a:srgbClr val="5F5F5F"/>
                </a:solidFill>
                <a:latin typeface="Tahoma"/>
              </a:rPr>
              <a:t> : </a:t>
            </a:r>
          </a:p>
          <a:p>
            <a:pPr marL="628650" lvl="1" indent="-171450" algn="just">
              <a:buClr>
                <a:srgbClr val="503078"/>
              </a:buClr>
              <a:buFont typeface="Tahoma" panose="020B0604030504040204" pitchFamily="34" charset="0"/>
              <a:buChar char="⁄"/>
              <a:defRPr/>
            </a:pPr>
            <a:r>
              <a:rPr lang="fr-FR" sz="1000">
                <a:solidFill>
                  <a:srgbClr val="5F5F5F"/>
                </a:solidFill>
                <a:latin typeface="Tahoma"/>
              </a:rPr>
              <a:t>Formule allotement : location de 4 logements par site l’été + 1 logement par site pour l’équipe d’encadrement</a:t>
            </a:r>
          </a:p>
          <a:p>
            <a:pPr marL="628650" lvl="1" indent="-171450" algn="just">
              <a:buClr>
                <a:srgbClr val="503078"/>
              </a:buClr>
              <a:buFont typeface="Tahoma" panose="020B0604030504040204" pitchFamily="34" charset="0"/>
              <a:buChar char="⁄"/>
              <a:defRPr/>
            </a:pPr>
            <a:r>
              <a:rPr lang="fr-FR" sz="1000">
                <a:solidFill>
                  <a:srgbClr val="5F5F5F"/>
                </a:solidFill>
                <a:latin typeface="Tahoma"/>
              </a:rPr>
              <a:t>Formule résidentiel : location d’emplacements et fabrication de chalets équipés, avec l’aide financière de l’ANCV et la Fondation Bettencourt-</a:t>
            </a:r>
            <a:r>
              <a:rPr lang="fr-FR" sz="1000" err="1">
                <a:solidFill>
                  <a:srgbClr val="5F5F5F"/>
                </a:solidFill>
                <a:latin typeface="Tahoma"/>
              </a:rPr>
              <a:t>Schueller</a:t>
            </a:r>
            <a:endParaRPr lang="fr-FR" sz="1000">
              <a:solidFill>
                <a:srgbClr val="5F5F5F"/>
              </a:solidFill>
              <a:latin typeface="Tahoma"/>
            </a:endParaRPr>
          </a:p>
        </p:txBody>
      </p:sp>
      <p:sp>
        <p:nvSpPr>
          <p:cNvPr id="217" name="ZoneTexte 216">
            <a:extLst>
              <a:ext uri="{FF2B5EF4-FFF2-40B4-BE49-F238E27FC236}">
                <a16:creationId xmlns:a16="http://schemas.microsoft.com/office/drawing/2014/main" id="{25720BC1-4030-49A6-9E37-BE0BF3C39C29}"/>
              </a:ext>
            </a:extLst>
          </p:cNvPr>
          <p:cNvSpPr txBox="1"/>
          <p:nvPr/>
        </p:nvSpPr>
        <p:spPr>
          <a:xfrm>
            <a:off x="9961993" y="4387680"/>
            <a:ext cx="998185"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Frais de </a:t>
            </a:r>
            <a:r>
              <a:rPr lang="fr-FR" sz="1100" b="1" err="1">
                <a:solidFill>
                  <a:srgbClr val="B24669"/>
                </a:solidFill>
                <a:latin typeface="Tahoma"/>
              </a:rPr>
              <a:t>fonct</a:t>
            </a:r>
            <a:r>
              <a:rPr lang="fr-FR" sz="1100" b="1">
                <a:solidFill>
                  <a:srgbClr val="B24669"/>
                </a:solidFill>
                <a:latin typeface="Tahoma"/>
              </a:rPr>
              <a:t>.</a:t>
            </a:r>
          </a:p>
        </p:txBody>
      </p:sp>
      <p:sp>
        <p:nvSpPr>
          <p:cNvPr id="218" name="ZoneTexte 217">
            <a:extLst>
              <a:ext uri="{FF2B5EF4-FFF2-40B4-BE49-F238E27FC236}">
                <a16:creationId xmlns:a16="http://schemas.microsoft.com/office/drawing/2014/main" id="{90F55448-AC00-4F29-9940-043B4D110F3D}"/>
              </a:ext>
            </a:extLst>
          </p:cNvPr>
          <p:cNvSpPr txBox="1"/>
          <p:nvPr/>
        </p:nvSpPr>
        <p:spPr>
          <a:xfrm>
            <a:off x="6149376" y="4454147"/>
            <a:ext cx="3792740" cy="707886"/>
          </a:xfrm>
          <a:prstGeom prst="rect">
            <a:avLst/>
          </a:prstGeom>
          <a:noFill/>
          <a:ln>
            <a:noFill/>
          </a:ln>
        </p:spPr>
        <p:txBody>
          <a:bodyPr wrap="square" lIns="108000" rIns="108000" rtlCol="0">
            <a:spAutoFit/>
          </a:bodyPr>
          <a:lstStyle/>
          <a:p>
            <a:pPr marL="171450" indent="-171450" algn="just">
              <a:buClr>
                <a:srgbClr val="503078"/>
              </a:buClr>
              <a:buFont typeface="Tahoma" panose="020B0604030504040204" pitchFamily="34" charset="0"/>
              <a:buChar char="⁄"/>
              <a:defRPr/>
            </a:pPr>
            <a:r>
              <a:rPr lang="fr-FR" sz="1000">
                <a:solidFill>
                  <a:srgbClr val="5F5F5F"/>
                </a:solidFill>
                <a:latin typeface="Tahoma"/>
              </a:rPr>
              <a:t>Dons + mécénat (Fondation Bettencourt-</a:t>
            </a:r>
            <a:r>
              <a:rPr lang="fr-FR" sz="1000" err="1">
                <a:solidFill>
                  <a:srgbClr val="5F5F5F"/>
                </a:solidFill>
                <a:latin typeface="Tahoma"/>
              </a:rPr>
              <a:t>Schueller</a:t>
            </a:r>
            <a:r>
              <a:rPr lang="fr-FR" sz="1000">
                <a:solidFill>
                  <a:srgbClr val="5F5F5F"/>
                </a:solidFill>
                <a:latin typeface="Tahoma"/>
              </a:rPr>
              <a:t>)</a:t>
            </a:r>
          </a:p>
          <a:p>
            <a:pPr marL="171450" indent="-171450" algn="just">
              <a:buClr>
                <a:srgbClr val="503078"/>
              </a:buClr>
              <a:buFont typeface="Tahoma" panose="020B0604030504040204" pitchFamily="34" charset="0"/>
              <a:buChar char="⁄"/>
              <a:defRPr/>
            </a:pPr>
            <a:r>
              <a:rPr lang="fr-FR" sz="1000">
                <a:solidFill>
                  <a:srgbClr val="5F5F5F"/>
                </a:solidFill>
                <a:latin typeface="Tahoma"/>
              </a:rPr>
              <a:t>Partenariats avec 4 groupes de protection sociale : Klesia, AG2R La Mondiale, Malakoff-Humanis, B2Y, partenariats avec l’ANCV, le CCAH, 26 caisses d’allocations familiales</a:t>
            </a:r>
          </a:p>
        </p:txBody>
      </p:sp>
      <p:sp>
        <p:nvSpPr>
          <p:cNvPr id="219" name="ZoneTexte 218">
            <a:extLst>
              <a:ext uri="{FF2B5EF4-FFF2-40B4-BE49-F238E27FC236}">
                <a16:creationId xmlns:a16="http://schemas.microsoft.com/office/drawing/2014/main" id="{7352B2F4-81C7-4D94-A968-5BEC39E61470}"/>
              </a:ext>
            </a:extLst>
          </p:cNvPr>
          <p:cNvSpPr txBox="1"/>
          <p:nvPr/>
        </p:nvSpPr>
        <p:spPr>
          <a:xfrm>
            <a:off x="6190462" y="5248046"/>
            <a:ext cx="3744123" cy="1234120"/>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pic>
        <p:nvPicPr>
          <p:cNvPr id="221" name="Graphique 220" descr="Tirelire avec un remplissage uni">
            <a:extLst>
              <a:ext uri="{FF2B5EF4-FFF2-40B4-BE49-F238E27FC236}">
                <a16:creationId xmlns:a16="http://schemas.microsoft.com/office/drawing/2014/main" id="{A45E8122-D5CB-4F5F-BA90-FDCC7940533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232913" y="4735034"/>
            <a:ext cx="514426" cy="514426"/>
          </a:xfrm>
          <a:prstGeom prst="rect">
            <a:avLst/>
          </a:prstGeom>
        </p:spPr>
      </p:pic>
      <p:sp>
        <p:nvSpPr>
          <p:cNvPr id="222" name="ZoneTexte 221">
            <a:extLst>
              <a:ext uri="{FF2B5EF4-FFF2-40B4-BE49-F238E27FC236}">
                <a16:creationId xmlns:a16="http://schemas.microsoft.com/office/drawing/2014/main" id="{1384EA81-8F6A-478D-93F6-A8314A63369D}"/>
              </a:ext>
            </a:extLst>
          </p:cNvPr>
          <p:cNvSpPr txBox="1"/>
          <p:nvPr/>
        </p:nvSpPr>
        <p:spPr>
          <a:xfrm>
            <a:off x="6155611" y="5279226"/>
            <a:ext cx="3757590" cy="1323439"/>
          </a:xfrm>
          <a:prstGeom prst="rect">
            <a:avLst/>
          </a:prstGeom>
          <a:noFill/>
          <a:ln>
            <a:noFill/>
          </a:ln>
        </p:spPr>
        <p:txBody>
          <a:bodyPr wrap="square" lIns="108000" rIns="108000" rtlCol="0">
            <a:spAutoFit/>
          </a:bodyPr>
          <a:lstStyle/>
          <a:p>
            <a:pPr marL="171450" indent="-171450" algn="just">
              <a:buClr>
                <a:srgbClr val="503078"/>
              </a:buClr>
              <a:buFont typeface="Tahoma" panose="020B0604030504040204" pitchFamily="34" charset="0"/>
              <a:buChar char="⁄"/>
              <a:defRPr/>
            </a:pPr>
            <a:r>
              <a:rPr lang="fr-FR" sz="1000">
                <a:solidFill>
                  <a:srgbClr val="5F5F5F"/>
                </a:solidFill>
                <a:latin typeface="Tahoma"/>
              </a:rPr>
              <a:t>Pour une semaine en famille, 2532€ en moyenne</a:t>
            </a:r>
            <a:r>
              <a:rPr lang="fr-FR" sz="1000" baseline="30000">
                <a:solidFill>
                  <a:srgbClr val="5F5F5F"/>
                </a:solidFill>
                <a:latin typeface="Tahoma"/>
              </a:rPr>
              <a:t>2</a:t>
            </a:r>
            <a:r>
              <a:rPr lang="fr-FR" sz="1000">
                <a:solidFill>
                  <a:srgbClr val="5F5F5F"/>
                </a:solidFill>
                <a:latin typeface="Tahoma"/>
              </a:rPr>
              <a:t> (987€ en moyenne pour le logement, 1475€ pour le forfait accueil handicap + 70€ de frais de dossier)</a:t>
            </a:r>
          </a:p>
          <a:p>
            <a:pPr marL="171450" indent="-171450" algn="just">
              <a:buClr>
                <a:srgbClr val="503078"/>
              </a:buClr>
              <a:buFont typeface="Tahoma" panose="020B0604030504040204" pitchFamily="34" charset="0"/>
              <a:buChar char="⁄"/>
              <a:defRPr/>
            </a:pPr>
            <a:r>
              <a:rPr lang="fr-FR" sz="1000">
                <a:solidFill>
                  <a:srgbClr val="5F5F5F"/>
                </a:solidFill>
                <a:latin typeface="Tahoma"/>
              </a:rPr>
              <a:t>92% des familles partent sans surcoût (conventions de </a:t>
            </a:r>
            <a:r>
              <a:rPr lang="fr-FR" sz="1000" err="1">
                <a:solidFill>
                  <a:srgbClr val="5F5F5F"/>
                </a:solidFill>
                <a:latin typeface="Tahoma"/>
              </a:rPr>
              <a:t>pré-financement</a:t>
            </a:r>
            <a:r>
              <a:rPr lang="fr-FR" sz="1000">
                <a:solidFill>
                  <a:srgbClr val="5F5F5F"/>
                </a:solidFill>
                <a:latin typeface="Tahoma"/>
              </a:rPr>
              <a:t> avec la CAF et les grands groupes de protection sociale en déduction du forfait handicap) + aides VACAF et ANCV pour le logement</a:t>
            </a:r>
          </a:p>
          <a:p>
            <a:pPr>
              <a:buClr>
                <a:srgbClr val="503078"/>
              </a:buClr>
              <a:defRPr/>
            </a:pPr>
            <a:endParaRPr lang="fr-FR" sz="1000">
              <a:solidFill>
                <a:srgbClr val="5F5F5F"/>
              </a:solidFill>
              <a:latin typeface="Tahoma"/>
            </a:endParaRPr>
          </a:p>
        </p:txBody>
      </p:sp>
      <p:pic>
        <p:nvPicPr>
          <p:cNvPr id="224" name="Graphique 223" descr="Dormir avec un remplissage uni">
            <a:extLst>
              <a:ext uri="{FF2B5EF4-FFF2-40B4-BE49-F238E27FC236}">
                <a16:creationId xmlns:a16="http://schemas.microsoft.com/office/drawing/2014/main" id="{1152D55E-96AD-47AD-933E-0592DA24173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648461" y="3326382"/>
            <a:ext cx="565198" cy="565198"/>
          </a:xfrm>
          <a:prstGeom prst="rect">
            <a:avLst/>
          </a:prstGeom>
        </p:spPr>
      </p:pic>
      <p:pic>
        <p:nvPicPr>
          <p:cNvPr id="225" name="Graphique 224" descr="Trousse de premiers secours avec un remplissage uni">
            <a:extLst>
              <a:ext uri="{FF2B5EF4-FFF2-40B4-BE49-F238E27FC236}">
                <a16:creationId xmlns:a16="http://schemas.microsoft.com/office/drawing/2014/main" id="{5F342799-C5D6-43CD-9884-F3E909A4035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654965" y="5265253"/>
            <a:ext cx="557136" cy="557136"/>
          </a:xfrm>
          <a:prstGeom prst="rect">
            <a:avLst/>
          </a:prstGeom>
        </p:spPr>
      </p:pic>
      <p:sp>
        <p:nvSpPr>
          <p:cNvPr id="227" name="ZoneTexte 226">
            <a:extLst>
              <a:ext uri="{FF2B5EF4-FFF2-40B4-BE49-F238E27FC236}">
                <a16:creationId xmlns:a16="http://schemas.microsoft.com/office/drawing/2014/main" id="{8E44F66E-0BC8-4601-842E-CACB1B4F08A7}"/>
              </a:ext>
            </a:extLst>
          </p:cNvPr>
          <p:cNvSpPr txBox="1"/>
          <p:nvPr/>
        </p:nvSpPr>
        <p:spPr>
          <a:xfrm>
            <a:off x="1254006" y="3248438"/>
            <a:ext cx="1376242" cy="446276"/>
          </a:xfrm>
          <a:prstGeom prst="rect">
            <a:avLst/>
          </a:prstGeom>
          <a:noFill/>
          <a:ln>
            <a:noFill/>
          </a:ln>
        </p:spPr>
        <p:txBody>
          <a:bodyPr wrap="square" lIns="108000" rIns="108000" rtlCol="0">
            <a:spAutoFit/>
          </a:bodyPr>
          <a:lstStyle/>
          <a:p>
            <a:pPr algn="ctr"/>
            <a:r>
              <a:rPr lang="fr-FR" sz="1100" b="1">
                <a:solidFill>
                  <a:srgbClr val="B0ADCC"/>
                </a:solidFill>
                <a:latin typeface="Tahoma"/>
              </a:rPr>
              <a:t>Hébergement</a:t>
            </a:r>
          </a:p>
          <a:p>
            <a:pPr marL="171450" indent="-171450" algn="ctr">
              <a:buFontTx/>
              <a:buChar char="-"/>
            </a:pPr>
            <a:endParaRPr lang="fr-FR" sz="1200">
              <a:solidFill>
                <a:srgbClr val="B0ADCC"/>
              </a:solidFill>
              <a:latin typeface="Tahoma"/>
            </a:endParaRPr>
          </a:p>
        </p:txBody>
      </p:sp>
      <p:sp>
        <p:nvSpPr>
          <p:cNvPr id="229" name="ZoneTexte 228">
            <a:extLst>
              <a:ext uri="{FF2B5EF4-FFF2-40B4-BE49-F238E27FC236}">
                <a16:creationId xmlns:a16="http://schemas.microsoft.com/office/drawing/2014/main" id="{1FD1468C-52A0-40DE-9DC4-74726F8C2183}"/>
              </a:ext>
            </a:extLst>
          </p:cNvPr>
          <p:cNvSpPr txBox="1"/>
          <p:nvPr/>
        </p:nvSpPr>
        <p:spPr>
          <a:xfrm>
            <a:off x="1068955" y="4959278"/>
            <a:ext cx="1743708" cy="615553"/>
          </a:xfrm>
          <a:prstGeom prst="rect">
            <a:avLst/>
          </a:prstGeom>
          <a:noFill/>
          <a:ln>
            <a:noFill/>
          </a:ln>
        </p:spPr>
        <p:txBody>
          <a:bodyPr wrap="square" lIns="108000" rIns="108000" rtlCol="0">
            <a:spAutoFit/>
          </a:bodyPr>
          <a:lstStyle/>
          <a:p>
            <a:pPr algn="ctr"/>
            <a:r>
              <a:rPr lang="fr-FR" sz="1100" b="1">
                <a:solidFill>
                  <a:srgbClr val="B0ADCC"/>
                </a:solidFill>
                <a:latin typeface="Tahoma"/>
              </a:rPr>
              <a:t>Accompagnement médico-social</a:t>
            </a:r>
          </a:p>
          <a:p>
            <a:pPr marL="171450" indent="-171450" algn="ctr">
              <a:buFontTx/>
              <a:buChar char="-"/>
            </a:pPr>
            <a:endParaRPr lang="fr-FR" sz="1200">
              <a:solidFill>
                <a:srgbClr val="B0ADCC"/>
              </a:solidFill>
              <a:latin typeface="Tahoma"/>
            </a:endParaRPr>
          </a:p>
        </p:txBody>
      </p:sp>
      <p:sp>
        <p:nvSpPr>
          <p:cNvPr id="230" name="Rectangle 229">
            <a:extLst>
              <a:ext uri="{FF2B5EF4-FFF2-40B4-BE49-F238E27FC236}">
                <a16:creationId xmlns:a16="http://schemas.microsoft.com/office/drawing/2014/main" id="{5AAA3BDB-E136-4262-AE20-510043CAE2D5}"/>
              </a:ext>
            </a:extLst>
          </p:cNvPr>
          <p:cNvSpPr/>
          <p:nvPr/>
        </p:nvSpPr>
        <p:spPr>
          <a:xfrm>
            <a:off x="1254009" y="1872322"/>
            <a:ext cx="9705530" cy="862770"/>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5" name="ZoneTexte 4">
            <a:extLst>
              <a:ext uri="{FF2B5EF4-FFF2-40B4-BE49-F238E27FC236}">
                <a16:creationId xmlns:a16="http://schemas.microsoft.com/office/drawing/2014/main" id="{2A826455-0F2A-4372-B218-8C6B30E20B9A}"/>
              </a:ext>
            </a:extLst>
          </p:cNvPr>
          <p:cNvSpPr txBox="1"/>
          <p:nvPr/>
        </p:nvSpPr>
        <p:spPr>
          <a:xfrm>
            <a:off x="1295022" y="6531223"/>
            <a:ext cx="9894848" cy="346249"/>
          </a:xfrm>
          <a:prstGeom prst="rect">
            <a:avLst/>
          </a:prstGeom>
          <a:noFill/>
        </p:spPr>
        <p:txBody>
          <a:bodyPr wrap="square" lIns="108000" rIns="108000" rtlCol="0">
            <a:spAutoFit/>
          </a:bodyPr>
          <a:lstStyle/>
          <a:p>
            <a:pPr>
              <a:spcAft>
                <a:spcPts val="300"/>
              </a:spcAft>
              <a:buClr>
                <a:srgbClr val="503078"/>
              </a:buClr>
              <a:defRPr/>
            </a:pPr>
            <a:r>
              <a:rPr lang="en-US" sz="700">
                <a:solidFill>
                  <a:srgbClr val="5F5F5F">
                    <a:lumMod val="60000"/>
                    <a:lumOff val="40000"/>
                  </a:srgbClr>
                </a:solidFill>
                <a:latin typeface="Tahoma"/>
              </a:rPr>
              <a:t>1.</a:t>
            </a:r>
            <a:r>
              <a:rPr lang="en-US" sz="700">
                <a:solidFill>
                  <a:srgbClr val="5F5F5F">
                    <a:lumMod val="60000"/>
                    <a:lumOff val="40000"/>
                  </a:srgbClr>
                </a:solidFill>
                <a:latin typeface="Tahoma"/>
                <a:hlinkClick r:id="rId19">
                  <a:extLst>
                    <a:ext uri="{A12FA001-AC4F-418D-AE19-62706E023703}">
                      <ahyp:hlinkClr xmlns:ahyp="http://schemas.microsoft.com/office/drawing/2018/hyperlinkcolor" val="tx"/>
                    </a:ext>
                  </a:extLst>
                </a:hlinkClick>
              </a:rPr>
              <a:t> </a:t>
            </a:r>
            <a:r>
              <a:rPr lang="en-US" sz="700" err="1">
                <a:solidFill>
                  <a:srgbClr val="5F5F5F">
                    <a:lumMod val="60000"/>
                    <a:lumOff val="40000"/>
                  </a:srgbClr>
                </a:solidFill>
                <a:latin typeface="Tahoma"/>
                <a:hlinkClick r:id="rId19">
                  <a:extLst>
                    <a:ext uri="{A12FA001-AC4F-418D-AE19-62706E023703}">
                      <ahyp:hlinkClr xmlns:ahyp="http://schemas.microsoft.com/office/drawing/2018/hyperlinkcolor" val="tx"/>
                    </a:ext>
                  </a:extLst>
                </a:hlinkClick>
              </a:rPr>
              <a:t>Offre</a:t>
            </a:r>
            <a:r>
              <a:rPr lang="en-US" sz="700">
                <a:solidFill>
                  <a:srgbClr val="5F5F5F">
                    <a:lumMod val="60000"/>
                    <a:lumOff val="40000"/>
                  </a:srgbClr>
                </a:solidFill>
                <a:latin typeface="Tahoma"/>
                <a:hlinkClick r:id="rId19">
                  <a:extLst>
                    <a:ext uri="{A12FA001-AC4F-418D-AE19-62706E023703}">
                      <ahyp:hlinkClr xmlns:ahyp="http://schemas.microsoft.com/office/drawing/2018/hyperlinkcolor" val="tx"/>
                    </a:ext>
                  </a:extLst>
                </a:hlinkClick>
              </a:rPr>
              <a:t> de </a:t>
            </a:r>
            <a:r>
              <a:rPr lang="en-US" sz="700" err="1">
                <a:solidFill>
                  <a:srgbClr val="5F5F5F">
                    <a:lumMod val="60000"/>
                    <a:lumOff val="40000"/>
                  </a:srgbClr>
                </a:solidFill>
                <a:latin typeface="Tahoma"/>
                <a:hlinkClick r:id="rId19">
                  <a:extLst>
                    <a:ext uri="{A12FA001-AC4F-418D-AE19-62706E023703}">
                      <ahyp:hlinkClr xmlns:ahyp="http://schemas.microsoft.com/office/drawing/2018/hyperlinkcolor" val="tx"/>
                    </a:ext>
                  </a:extLst>
                </a:hlinkClick>
              </a:rPr>
              <a:t>partenariat</a:t>
            </a:r>
            <a:endParaRPr lang="en-US" sz="700">
              <a:solidFill>
                <a:srgbClr val="5F5F5F">
                  <a:lumMod val="60000"/>
                  <a:lumOff val="40000"/>
                </a:srgbClr>
              </a:solidFill>
              <a:latin typeface="Tahoma"/>
              <a:hlinkClick r:id="rId20">
                <a:extLst>
                  <a:ext uri="{A12FA001-AC4F-418D-AE19-62706E023703}">
                    <ahyp:hlinkClr xmlns:ahyp="http://schemas.microsoft.com/office/drawing/2018/hyperlinkcolor" val="tx"/>
                  </a:ext>
                </a:extLst>
              </a:hlinkClick>
            </a:endParaRPr>
          </a:p>
          <a:p>
            <a:pPr>
              <a:spcAft>
                <a:spcPts val="300"/>
              </a:spcAft>
              <a:buClr>
                <a:srgbClr val="503078"/>
              </a:buClr>
              <a:defRPr/>
            </a:pPr>
            <a:r>
              <a:rPr lang="en-US" sz="700">
                <a:solidFill>
                  <a:srgbClr val="5F5F5F">
                    <a:lumMod val="60000"/>
                    <a:lumOff val="40000"/>
                  </a:srgbClr>
                </a:solidFill>
                <a:latin typeface="Tahoma"/>
              </a:rPr>
              <a:t>2. </a:t>
            </a:r>
            <a:r>
              <a:rPr lang="en-US" sz="700">
                <a:solidFill>
                  <a:srgbClr val="5F5F5F">
                    <a:lumMod val="60000"/>
                    <a:lumOff val="40000"/>
                  </a:srgbClr>
                </a:solidFill>
                <a:latin typeface="Tahoma"/>
                <a:hlinkClick r:id="rId20">
                  <a:extLst>
                    <a:ext uri="{A12FA001-AC4F-418D-AE19-62706E023703}">
                      <ahyp:hlinkClr xmlns:ahyp="http://schemas.microsoft.com/office/drawing/2018/hyperlinkcolor" val="tx"/>
                    </a:ext>
                  </a:extLst>
                </a:hlinkClick>
              </a:rPr>
              <a:t>Information sur les </a:t>
            </a:r>
            <a:r>
              <a:rPr lang="en-US" sz="700" err="1">
                <a:solidFill>
                  <a:srgbClr val="5F5F5F">
                    <a:lumMod val="60000"/>
                    <a:lumOff val="40000"/>
                  </a:srgbClr>
                </a:solidFill>
                <a:latin typeface="Tahoma"/>
                <a:hlinkClick r:id="rId20">
                  <a:extLst>
                    <a:ext uri="{A12FA001-AC4F-418D-AE19-62706E023703}">
                      <ahyp:hlinkClr xmlns:ahyp="http://schemas.microsoft.com/office/drawing/2018/hyperlinkcolor" val="tx"/>
                    </a:ext>
                  </a:extLst>
                </a:hlinkClick>
              </a:rPr>
              <a:t>coûts</a:t>
            </a:r>
            <a:r>
              <a:rPr lang="en-US" sz="700">
                <a:solidFill>
                  <a:srgbClr val="5F5F5F">
                    <a:lumMod val="60000"/>
                    <a:lumOff val="40000"/>
                  </a:srgbClr>
                </a:solidFill>
                <a:latin typeface="Tahoma"/>
                <a:hlinkClick r:id="rId20">
                  <a:extLst>
                    <a:ext uri="{A12FA001-AC4F-418D-AE19-62706E023703}">
                      <ahyp:hlinkClr xmlns:ahyp="http://schemas.microsoft.com/office/drawing/2018/hyperlinkcolor" val="tx"/>
                    </a:ext>
                  </a:extLst>
                </a:hlinkClick>
              </a:rPr>
              <a:t> et le </a:t>
            </a:r>
            <a:r>
              <a:rPr lang="en-US" sz="700" err="1">
                <a:solidFill>
                  <a:srgbClr val="5F5F5F">
                    <a:lumMod val="60000"/>
                    <a:lumOff val="40000"/>
                  </a:srgbClr>
                </a:solidFill>
                <a:latin typeface="Tahoma"/>
                <a:hlinkClick r:id="rId20">
                  <a:extLst>
                    <a:ext uri="{A12FA001-AC4F-418D-AE19-62706E023703}">
                      <ahyp:hlinkClr xmlns:ahyp="http://schemas.microsoft.com/office/drawing/2018/hyperlinkcolor" val="tx"/>
                    </a:ext>
                  </a:extLst>
                </a:hlinkClick>
              </a:rPr>
              <a:t>financement</a:t>
            </a:r>
            <a:r>
              <a:rPr lang="en-US" sz="700">
                <a:solidFill>
                  <a:srgbClr val="5F5F5F">
                    <a:lumMod val="60000"/>
                    <a:lumOff val="40000"/>
                  </a:srgbClr>
                </a:solidFill>
                <a:latin typeface="Tahoma"/>
                <a:hlinkClick r:id="rId20">
                  <a:extLst>
                    <a:ext uri="{A12FA001-AC4F-418D-AE19-62706E023703}">
                      <ahyp:hlinkClr xmlns:ahyp="http://schemas.microsoft.com/office/drawing/2018/hyperlinkcolor" val="tx"/>
                    </a:ext>
                  </a:extLst>
                </a:hlinkClick>
              </a:rPr>
              <a:t> des </a:t>
            </a:r>
            <a:r>
              <a:rPr lang="en-US" sz="700" err="1">
                <a:solidFill>
                  <a:srgbClr val="5F5F5F">
                    <a:lumMod val="60000"/>
                    <a:lumOff val="40000"/>
                  </a:srgbClr>
                </a:solidFill>
                <a:latin typeface="Tahoma"/>
                <a:hlinkClick r:id="rId20">
                  <a:extLst>
                    <a:ext uri="{A12FA001-AC4F-418D-AE19-62706E023703}">
                      <ahyp:hlinkClr xmlns:ahyp="http://schemas.microsoft.com/office/drawing/2018/hyperlinkcolor" val="tx"/>
                    </a:ext>
                  </a:extLst>
                </a:hlinkClick>
              </a:rPr>
              <a:t>séjours</a:t>
            </a:r>
            <a:r>
              <a:rPr lang="en-US" sz="700">
                <a:solidFill>
                  <a:srgbClr val="5F5F5F">
                    <a:lumMod val="60000"/>
                    <a:lumOff val="40000"/>
                  </a:srgbClr>
                </a:solidFill>
                <a:latin typeface="Tahoma"/>
                <a:hlinkClick r:id="rId20">
                  <a:extLst>
                    <a:ext uri="{A12FA001-AC4F-418D-AE19-62706E023703}">
                      <ahyp:hlinkClr xmlns:ahyp="http://schemas.microsoft.com/office/drawing/2018/hyperlinkcolor" val="tx"/>
                    </a:ext>
                  </a:extLst>
                </a:hlinkClick>
              </a:rPr>
              <a:t> </a:t>
            </a:r>
            <a:r>
              <a:rPr lang="en-US" sz="700" err="1">
                <a:solidFill>
                  <a:srgbClr val="5F5F5F">
                    <a:lumMod val="60000"/>
                    <a:lumOff val="40000"/>
                  </a:srgbClr>
                </a:solidFill>
                <a:latin typeface="Tahoma"/>
                <a:hlinkClick r:id="rId20">
                  <a:extLst>
                    <a:ext uri="{A12FA001-AC4F-418D-AE19-62706E023703}">
                      <ahyp:hlinkClr xmlns:ahyp="http://schemas.microsoft.com/office/drawing/2018/hyperlinkcolor" val="tx"/>
                    </a:ext>
                  </a:extLst>
                </a:hlinkClick>
              </a:rPr>
              <a:t>familiaux</a:t>
            </a:r>
            <a:r>
              <a:rPr lang="en-US" sz="700">
                <a:solidFill>
                  <a:srgbClr val="5F5F5F">
                    <a:lumMod val="60000"/>
                    <a:lumOff val="40000"/>
                  </a:srgbClr>
                </a:solidFill>
                <a:latin typeface="Tahoma"/>
                <a:hlinkClick r:id="rId20">
                  <a:extLst>
                    <a:ext uri="{A12FA001-AC4F-418D-AE19-62706E023703}">
                      <ahyp:hlinkClr xmlns:ahyp="http://schemas.microsoft.com/office/drawing/2018/hyperlinkcolor" val="tx"/>
                    </a:ext>
                  </a:extLst>
                </a:hlinkClick>
              </a:rPr>
              <a:t> </a:t>
            </a:r>
            <a:r>
              <a:rPr lang="en-US" sz="700" err="1">
                <a:solidFill>
                  <a:srgbClr val="5F5F5F">
                    <a:lumMod val="60000"/>
                    <a:lumOff val="40000"/>
                  </a:srgbClr>
                </a:solidFill>
                <a:latin typeface="Tahoma"/>
                <a:hlinkClick r:id="rId20">
                  <a:extLst>
                    <a:ext uri="{A12FA001-AC4F-418D-AE19-62706E023703}">
                      <ahyp:hlinkClr xmlns:ahyp="http://schemas.microsoft.com/office/drawing/2018/hyperlinkcolor" val="tx"/>
                    </a:ext>
                  </a:extLst>
                </a:hlinkClick>
              </a:rPr>
              <a:t>Passerelle</a:t>
            </a:r>
            <a:endParaRPr lang="fr-FR" sz="700">
              <a:solidFill>
                <a:srgbClr val="5F5F5F">
                  <a:lumMod val="60000"/>
                  <a:lumOff val="40000"/>
                </a:srgbClr>
              </a:solidFill>
              <a:latin typeface="Tahoma"/>
            </a:endParaRPr>
          </a:p>
        </p:txBody>
      </p:sp>
      <p:sp>
        <p:nvSpPr>
          <p:cNvPr id="231" name="ZoneTexte 230">
            <a:extLst>
              <a:ext uri="{FF2B5EF4-FFF2-40B4-BE49-F238E27FC236}">
                <a16:creationId xmlns:a16="http://schemas.microsoft.com/office/drawing/2014/main" id="{8668BE60-8730-4A80-A61E-2C1146D884B3}"/>
              </a:ext>
            </a:extLst>
          </p:cNvPr>
          <p:cNvSpPr txBox="1"/>
          <p:nvPr/>
        </p:nvSpPr>
        <p:spPr>
          <a:xfrm>
            <a:off x="9897915" y="5496987"/>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rifs / reste à charge</a:t>
            </a:r>
          </a:p>
        </p:txBody>
      </p:sp>
      <p:pic>
        <p:nvPicPr>
          <p:cNvPr id="232" name="Graphique 231" descr="Pièces avec un remplissage uni">
            <a:extLst>
              <a:ext uri="{FF2B5EF4-FFF2-40B4-BE49-F238E27FC236}">
                <a16:creationId xmlns:a16="http://schemas.microsoft.com/office/drawing/2014/main" id="{6B7D9B83-7E88-4F16-B72A-30AFE82369A5}"/>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232611" y="5917856"/>
            <a:ext cx="457966" cy="457966"/>
          </a:xfrm>
          <a:prstGeom prst="rect">
            <a:avLst/>
          </a:prstGeom>
        </p:spPr>
      </p:pic>
      <p:sp>
        <p:nvSpPr>
          <p:cNvPr id="233" name="ZoneTexte 232">
            <a:extLst>
              <a:ext uri="{FF2B5EF4-FFF2-40B4-BE49-F238E27FC236}">
                <a16:creationId xmlns:a16="http://schemas.microsoft.com/office/drawing/2014/main" id="{B754164F-52CE-4B2E-8802-E585B8B10A62}"/>
              </a:ext>
            </a:extLst>
          </p:cNvPr>
          <p:cNvSpPr txBox="1"/>
          <p:nvPr/>
        </p:nvSpPr>
        <p:spPr>
          <a:xfrm>
            <a:off x="2618878" y="6280622"/>
            <a:ext cx="3384079" cy="208498"/>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234" name="ZoneTexte 233">
            <a:extLst>
              <a:ext uri="{FF2B5EF4-FFF2-40B4-BE49-F238E27FC236}">
                <a16:creationId xmlns:a16="http://schemas.microsoft.com/office/drawing/2014/main" id="{858EE19E-EE25-4428-80D2-2981D888813B}"/>
              </a:ext>
            </a:extLst>
          </p:cNvPr>
          <p:cNvSpPr txBox="1"/>
          <p:nvPr/>
        </p:nvSpPr>
        <p:spPr>
          <a:xfrm>
            <a:off x="2620469" y="6261525"/>
            <a:ext cx="3366617" cy="242182"/>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rise en charge par le site d’accueil</a:t>
            </a:r>
          </a:p>
        </p:txBody>
      </p:sp>
      <p:pic>
        <p:nvPicPr>
          <p:cNvPr id="235" name="Graphique 234" descr="Assiette couverte avec un remplissage uni">
            <a:extLst>
              <a:ext uri="{FF2B5EF4-FFF2-40B4-BE49-F238E27FC236}">
                <a16:creationId xmlns:a16="http://schemas.microsoft.com/office/drawing/2014/main" id="{8435DE04-A899-4258-95EB-D38010F48C47}"/>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2005261" y="6079824"/>
            <a:ext cx="565199" cy="565199"/>
          </a:xfrm>
          <a:prstGeom prst="rect">
            <a:avLst/>
          </a:prstGeom>
        </p:spPr>
      </p:pic>
      <p:sp>
        <p:nvSpPr>
          <p:cNvPr id="236" name="ZoneTexte 235">
            <a:extLst>
              <a:ext uri="{FF2B5EF4-FFF2-40B4-BE49-F238E27FC236}">
                <a16:creationId xmlns:a16="http://schemas.microsoft.com/office/drawing/2014/main" id="{58F1CF42-88C5-4709-B0A4-0DB74897F6F7}"/>
              </a:ext>
            </a:extLst>
          </p:cNvPr>
          <p:cNvSpPr txBox="1"/>
          <p:nvPr/>
        </p:nvSpPr>
        <p:spPr>
          <a:xfrm>
            <a:off x="1183669" y="6165302"/>
            <a:ext cx="965590" cy="430887"/>
          </a:xfrm>
          <a:prstGeom prst="rect">
            <a:avLst/>
          </a:prstGeom>
          <a:noFill/>
          <a:ln>
            <a:noFill/>
          </a:ln>
        </p:spPr>
        <p:txBody>
          <a:bodyPr wrap="square" lIns="108000" rIns="108000" rtlCol="0">
            <a:spAutoFit/>
          </a:bodyPr>
          <a:lstStyle/>
          <a:p>
            <a:pPr algn="ctr"/>
            <a:r>
              <a:rPr lang="fr-FR" sz="1100" b="1">
                <a:solidFill>
                  <a:srgbClr val="B0ADCC"/>
                </a:solidFill>
                <a:latin typeface="Tahoma"/>
              </a:rPr>
              <a:t>Services </a:t>
            </a:r>
          </a:p>
          <a:p>
            <a:pPr algn="ctr"/>
            <a:r>
              <a:rPr lang="fr-FR" sz="1100" b="1">
                <a:solidFill>
                  <a:srgbClr val="B0ADCC"/>
                </a:solidFill>
                <a:latin typeface="Tahoma"/>
              </a:rPr>
              <a:t>hôteliers </a:t>
            </a:r>
          </a:p>
        </p:txBody>
      </p:sp>
    </p:spTree>
    <p:extLst>
      <p:ext uri="{BB962C8B-B14F-4D97-AF65-F5344CB8AC3E}">
        <p14:creationId xmlns:p14="http://schemas.microsoft.com/office/powerpoint/2010/main" val="423151176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DDB96D-5870-433E-8224-8BA70AB31D5A}"/>
              </a:ext>
            </a:extLst>
          </p:cNvPr>
          <p:cNvSpPr>
            <a:spLocks noGrp="1"/>
          </p:cNvSpPr>
          <p:nvPr>
            <p:ph type="title"/>
          </p:nvPr>
        </p:nvSpPr>
        <p:spPr/>
        <p:txBody>
          <a:bodyPr/>
          <a:lstStyle/>
          <a:p>
            <a:r>
              <a:rPr lang="fr-FR"/>
              <a:t>Union Nationale France Alzheimer</a:t>
            </a:r>
          </a:p>
        </p:txBody>
      </p:sp>
      <p:sp>
        <p:nvSpPr>
          <p:cNvPr id="3" name="Espace réservé du texte 2">
            <a:extLst>
              <a:ext uri="{FF2B5EF4-FFF2-40B4-BE49-F238E27FC236}">
                <a16:creationId xmlns:a16="http://schemas.microsoft.com/office/drawing/2014/main" id="{9C630387-01A6-4667-A171-E57EE95EAA8D}"/>
              </a:ext>
            </a:extLst>
          </p:cNvPr>
          <p:cNvSpPr>
            <a:spLocks noGrp="1"/>
          </p:cNvSpPr>
          <p:nvPr>
            <p:ph type="body" sz="quarter" idx="13"/>
          </p:nvPr>
        </p:nvSpPr>
        <p:spPr/>
        <p:txBody>
          <a:bodyPr/>
          <a:lstStyle/>
          <a:p>
            <a:r>
              <a:rPr lang="fr-FR"/>
              <a:t>fiches initiatives</a:t>
            </a:r>
          </a:p>
        </p:txBody>
      </p:sp>
      <p:pic>
        <p:nvPicPr>
          <p:cNvPr id="59" name="Graphique 58" descr="Utilisateur">
            <a:extLst>
              <a:ext uri="{FF2B5EF4-FFF2-40B4-BE49-F238E27FC236}">
                <a16:creationId xmlns:a16="http://schemas.microsoft.com/office/drawing/2014/main" id="{BCF539CA-033C-4E53-AA11-C9F1D57FD99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62600" y="773902"/>
            <a:ext cx="343642" cy="343642"/>
          </a:xfrm>
          <a:prstGeom prst="rect">
            <a:avLst/>
          </a:prstGeom>
        </p:spPr>
      </p:pic>
      <p:pic>
        <p:nvPicPr>
          <p:cNvPr id="60" name="Graphique 59" descr="Enfants">
            <a:extLst>
              <a:ext uri="{FF2B5EF4-FFF2-40B4-BE49-F238E27FC236}">
                <a16:creationId xmlns:a16="http://schemas.microsoft.com/office/drawing/2014/main" id="{D039143E-4976-4C18-9C94-0BA53EE64FF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82720" y="785364"/>
            <a:ext cx="357605" cy="357605"/>
          </a:xfrm>
          <a:prstGeom prst="rect">
            <a:avLst/>
          </a:prstGeom>
        </p:spPr>
      </p:pic>
      <p:pic>
        <p:nvPicPr>
          <p:cNvPr id="61" name="Graphique 60" descr="Hôpital">
            <a:extLst>
              <a:ext uri="{FF2B5EF4-FFF2-40B4-BE49-F238E27FC236}">
                <a16:creationId xmlns:a16="http://schemas.microsoft.com/office/drawing/2014/main" id="{5A6293E0-A850-432A-AEC2-55244F91F50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01315" y="753939"/>
            <a:ext cx="377667" cy="377667"/>
          </a:xfrm>
          <a:prstGeom prst="rect">
            <a:avLst/>
          </a:prstGeom>
        </p:spPr>
      </p:pic>
      <p:sp>
        <p:nvSpPr>
          <p:cNvPr id="71" name="ZoneTexte 70">
            <a:extLst>
              <a:ext uri="{FF2B5EF4-FFF2-40B4-BE49-F238E27FC236}">
                <a16:creationId xmlns:a16="http://schemas.microsoft.com/office/drawing/2014/main" id="{95275340-2C5E-4AB7-8968-428537133200}"/>
              </a:ext>
            </a:extLst>
          </p:cNvPr>
          <p:cNvSpPr txBox="1"/>
          <p:nvPr/>
        </p:nvSpPr>
        <p:spPr>
          <a:xfrm>
            <a:off x="3506076" y="814892"/>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ublic cible</a:t>
            </a:r>
          </a:p>
          <a:p>
            <a:pPr marL="171450" indent="-171450">
              <a:buFontTx/>
              <a:buChar char="-"/>
            </a:pPr>
            <a:endParaRPr lang="fr-FR" sz="1200">
              <a:solidFill>
                <a:srgbClr val="5F5F5F"/>
              </a:solidFill>
              <a:latin typeface="Tahoma"/>
            </a:endParaRPr>
          </a:p>
        </p:txBody>
      </p:sp>
      <p:sp>
        <p:nvSpPr>
          <p:cNvPr id="72" name="Rectangle 71">
            <a:extLst>
              <a:ext uri="{FF2B5EF4-FFF2-40B4-BE49-F238E27FC236}">
                <a16:creationId xmlns:a16="http://schemas.microsoft.com/office/drawing/2014/main" id="{CF33C1E5-DDE1-4156-A8BA-4E287E034C81}"/>
              </a:ext>
            </a:extLst>
          </p:cNvPr>
          <p:cNvSpPr/>
          <p:nvPr/>
        </p:nvSpPr>
        <p:spPr>
          <a:xfrm>
            <a:off x="3041222" y="775859"/>
            <a:ext cx="2566378"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3" name="Rectangle 72">
            <a:extLst>
              <a:ext uri="{FF2B5EF4-FFF2-40B4-BE49-F238E27FC236}">
                <a16:creationId xmlns:a16="http://schemas.microsoft.com/office/drawing/2014/main" id="{E85DFD2B-8AE0-4AEF-971A-2B7DB41E3803}"/>
              </a:ext>
            </a:extLst>
          </p:cNvPr>
          <p:cNvSpPr/>
          <p:nvPr/>
        </p:nvSpPr>
        <p:spPr>
          <a:xfrm>
            <a:off x="8329059" y="773903"/>
            <a:ext cx="2630482" cy="1028237"/>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4" name="ZoneTexte 73">
            <a:extLst>
              <a:ext uri="{FF2B5EF4-FFF2-40B4-BE49-F238E27FC236}">
                <a16:creationId xmlns:a16="http://schemas.microsoft.com/office/drawing/2014/main" id="{77576367-5766-4A85-8CC6-3A325240D7B8}"/>
              </a:ext>
            </a:extLst>
          </p:cNvPr>
          <p:cNvSpPr txBox="1"/>
          <p:nvPr/>
        </p:nvSpPr>
        <p:spPr>
          <a:xfrm>
            <a:off x="8699428" y="819073"/>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ortage / gestion du projet </a:t>
            </a:r>
          </a:p>
          <a:p>
            <a:pPr marL="171450" indent="-171450">
              <a:buFontTx/>
              <a:buChar char="-"/>
            </a:pPr>
            <a:endParaRPr lang="fr-FR" sz="1200">
              <a:solidFill>
                <a:srgbClr val="5F5F5F"/>
              </a:solidFill>
              <a:latin typeface="Tahoma"/>
            </a:endParaRPr>
          </a:p>
        </p:txBody>
      </p:sp>
      <p:sp>
        <p:nvSpPr>
          <p:cNvPr id="76" name="Rectangle 75">
            <a:extLst>
              <a:ext uri="{FF2B5EF4-FFF2-40B4-BE49-F238E27FC236}">
                <a16:creationId xmlns:a16="http://schemas.microsoft.com/office/drawing/2014/main" id="{DEA056E4-366B-4B6E-AD2A-2A7DACC2777B}"/>
              </a:ext>
            </a:extLst>
          </p:cNvPr>
          <p:cNvSpPr/>
          <p:nvPr/>
        </p:nvSpPr>
        <p:spPr>
          <a:xfrm>
            <a:off x="5657842" y="775858"/>
            <a:ext cx="2630482" cy="1026282"/>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7" name="ZoneTexte 76">
            <a:extLst>
              <a:ext uri="{FF2B5EF4-FFF2-40B4-BE49-F238E27FC236}">
                <a16:creationId xmlns:a16="http://schemas.microsoft.com/office/drawing/2014/main" id="{9B3B4E4E-968C-4AC1-A916-2CB2CBC81062}"/>
              </a:ext>
            </a:extLst>
          </p:cNvPr>
          <p:cNvSpPr txBox="1"/>
          <p:nvPr/>
        </p:nvSpPr>
        <p:spPr>
          <a:xfrm>
            <a:off x="6045885" y="842739"/>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Typologie de structure</a:t>
            </a:r>
          </a:p>
          <a:p>
            <a:pPr marL="171450" indent="-171450">
              <a:buFontTx/>
              <a:buChar char="-"/>
            </a:pPr>
            <a:endParaRPr lang="fr-FR" sz="1200">
              <a:solidFill>
                <a:srgbClr val="5F5F5F"/>
              </a:solidFill>
              <a:latin typeface="Tahoma"/>
            </a:endParaRPr>
          </a:p>
        </p:txBody>
      </p:sp>
      <p:sp>
        <p:nvSpPr>
          <p:cNvPr id="78" name="ZoneTexte 77">
            <a:extLst>
              <a:ext uri="{FF2B5EF4-FFF2-40B4-BE49-F238E27FC236}">
                <a16:creationId xmlns:a16="http://schemas.microsoft.com/office/drawing/2014/main" id="{96B574C6-E211-4064-9944-5448EE32BE54}"/>
              </a:ext>
            </a:extLst>
          </p:cNvPr>
          <p:cNvSpPr txBox="1"/>
          <p:nvPr/>
        </p:nvSpPr>
        <p:spPr>
          <a:xfrm>
            <a:off x="2992778" y="1084785"/>
            <a:ext cx="2660644" cy="577081"/>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pPr>
            <a:r>
              <a:rPr lang="fr-FR" sz="1050">
                <a:solidFill>
                  <a:srgbClr val="5F5F5F"/>
                </a:solidFill>
                <a:latin typeface="Tahoma"/>
              </a:rPr>
              <a:t>Personnes atteintes de la maladie d’Alzheimer et maladies apparentées et leurs aidants</a:t>
            </a:r>
          </a:p>
        </p:txBody>
      </p:sp>
      <p:sp>
        <p:nvSpPr>
          <p:cNvPr id="79" name="ZoneTexte 78">
            <a:extLst>
              <a:ext uri="{FF2B5EF4-FFF2-40B4-BE49-F238E27FC236}">
                <a16:creationId xmlns:a16="http://schemas.microsoft.com/office/drawing/2014/main" id="{201EC015-8921-47D5-8EEB-4F8E037742E5}"/>
              </a:ext>
            </a:extLst>
          </p:cNvPr>
          <p:cNvSpPr txBox="1"/>
          <p:nvPr/>
        </p:nvSpPr>
        <p:spPr>
          <a:xfrm>
            <a:off x="5633852" y="1083854"/>
            <a:ext cx="2734774" cy="249620"/>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Association</a:t>
            </a:r>
            <a:endParaRPr lang="fr-FR" sz="1050" b="1">
              <a:solidFill>
                <a:srgbClr val="5F5F5F"/>
              </a:solidFill>
              <a:latin typeface="Tahoma"/>
            </a:endParaRPr>
          </a:p>
        </p:txBody>
      </p:sp>
      <p:sp>
        <p:nvSpPr>
          <p:cNvPr id="80" name="ZoneTexte 79">
            <a:extLst>
              <a:ext uri="{FF2B5EF4-FFF2-40B4-BE49-F238E27FC236}">
                <a16:creationId xmlns:a16="http://schemas.microsoft.com/office/drawing/2014/main" id="{D486C829-4B6E-4981-9B49-72041AC2853F}"/>
              </a:ext>
            </a:extLst>
          </p:cNvPr>
          <p:cNvSpPr txBox="1"/>
          <p:nvPr/>
        </p:nvSpPr>
        <p:spPr>
          <a:xfrm>
            <a:off x="8270852" y="1088777"/>
            <a:ext cx="2770132" cy="253916"/>
          </a:xfrm>
          <a:prstGeom prst="rect">
            <a:avLst/>
          </a:prstGeom>
          <a:noFill/>
          <a:ln>
            <a:noFill/>
          </a:ln>
        </p:spPr>
        <p:txBody>
          <a:bodyPr wrap="square" lIns="108000" rIns="108000" rtlCol="0">
            <a:spAutoFit/>
          </a:bodyPr>
          <a:lstStyle/>
          <a:p>
            <a:pPr>
              <a:defRPr/>
            </a:pPr>
            <a:r>
              <a:rPr lang="fr-FR" sz="1050">
                <a:solidFill>
                  <a:srgbClr val="5F5F5F"/>
                </a:solidFill>
                <a:latin typeface="Tahoma"/>
              </a:rPr>
              <a:t>Fondation France Alzheimer </a:t>
            </a:r>
          </a:p>
        </p:txBody>
      </p:sp>
      <p:sp>
        <p:nvSpPr>
          <p:cNvPr id="139" name="Rectangle 138">
            <a:extLst>
              <a:ext uri="{FF2B5EF4-FFF2-40B4-BE49-F238E27FC236}">
                <a16:creationId xmlns:a16="http://schemas.microsoft.com/office/drawing/2014/main" id="{23DA1D13-F6FC-42CC-8CBC-A6643FFAA543}"/>
              </a:ext>
            </a:extLst>
          </p:cNvPr>
          <p:cNvSpPr/>
          <p:nvPr/>
        </p:nvSpPr>
        <p:spPr>
          <a:xfrm>
            <a:off x="1254009" y="779190"/>
            <a:ext cx="1728514"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grpSp>
        <p:nvGrpSpPr>
          <p:cNvPr id="164" name="Groupe 163">
            <a:extLst>
              <a:ext uri="{FF2B5EF4-FFF2-40B4-BE49-F238E27FC236}">
                <a16:creationId xmlns:a16="http://schemas.microsoft.com/office/drawing/2014/main" id="{4DD11B87-D4C7-4212-83F1-315E3569AC00}"/>
              </a:ext>
            </a:extLst>
          </p:cNvPr>
          <p:cNvGrpSpPr/>
          <p:nvPr/>
        </p:nvGrpSpPr>
        <p:grpSpPr>
          <a:xfrm>
            <a:off x="1129877" y="816885"/>
            <a:ext cx="1909342" cy="983868"/>
            <a:chOff x="3427116" y="1332772"/>
            <a:chExt cx="2765405" cy="1471555"/>
          </a:xfrm>
        </p:grpSpPr>
        <p:grpSp>
          <p:nvGrpSpPr>
            <p:cNvPr id="165" name="Groupe 164">
              <a:extLst>
                <a:ext uri="{FF2B5EF4-FFF2-40B4-BE49-F238E27FC236}">
                  <a16:creationId xmlns:a16="http://schemas.microsoft.com/office/drawing/2014/main" id="{A0FC00C6-0527-4326-8484-EA802B07AE1B}"/>
                </a:ext>
              </a:extLst>
            </p:cNvPr>
            <p:cNvGrpSpPr/>
            <p:nvPr/>
          </p:nvGrpSpPr>
          <p:grpSpPr>
            <a:xfrm>
              <a:off x="4107703" y="1332772"/>
              <a:ext cx="1454340" cy="1402821"/>
              <a:chOff x="7058875" y="3087071"/>
              <a:chExt cx="1262862" cy="1244394"/>
            </a:xfrm>
          </p:grpSpPr>
          <p:grpSp>
            <p:nvGrpSpPr>
              <p:cNvPr id="178" name="Group 219">
                <a:extLst>
                  <a:ext uri="{FF2B5EF4-FFF2-40B4-BE49-F238E27FC236}">
                    <a16:creationId xmlns:a16="http://schemas.microsoft.com/office/drawing/2014/main" id="{663569FB-5556-41DD-9279-93CE8A0F2ED1}"/>
                  </a:ext>
                </a:extLst>
              </p:cNvPr>
              <p:cNvGrpSpPr>
                <a:grpSpLocks/>
              </p:cNvGrpSpPr>
              <p:nvPr/>
            </p:nvGrpSpPr>
            <p:grpSpPr bwMode="gray">
              <a:xfrm>
                <a:off x="7058875" y="3087071"/>
                <a:ext cx="1262862" cy="1244394"/>
                <a:chOff x="48" y="168"/>
                <a:chExt cx="3077" cy="3032"/>
              </a:xfrm>
              <a:solidFill>
                <a:schemeClr val="tx2"/>
              </a:solidFill>
              <a:effectLst>
                <a:outerShdw blurRad="127000" dist="50800" dir="2700000" algn="ctr" rotWithShape="0">
                  <a:schemeClr val="tx1">
                    <a:alpha val="40000"/>
                  </a:schemeClr>
                </a:outerShdw>
              </a:effectLst>
            </p:grpSpPr>
            <p:sp>
              <p:nvSpPr>
                <p:cNvPr id="179" name="Nord-Pas-de-Calais" descr="© INSCALE GmbH, 05.05.2010&#10;http://www.presentationload.com/">
                  <a:extLst>
                    <a:ext uri="{FF2B5EF4-FFF2-40B4-BE49-F238E27FC236}">
                      <a16:creationId xmlns:a16="http://schemas.microsoft.com/office/drawing/2014/main" id="{10E48669-D72F-469E-ABF5-04E2E53F5C8F}"/>
                    </a:ext>
                  </a:extLst>
                </p:cNvPr>
                <p:cNvSpPr>
                  <a:spLocks/>
                </p:cNvSpPr>
                <p:nvPr/>
              </p:nvSpPr>
              <p:spPr bwMode="gray">
                <a:xfrm>
                  <a:off x="1600" y="168"/>
                  <a:ext cx="608" cy="383"/>
                </a:xfrm>
                <a:custGeom>
                  <a:avLst/>
                  <a:gdLst/>
                  <a:ahLst/>
                  <a:cxnLst>
                    <a:cxn ang="0">
                      <a:pos x="77" y="236"/>
                    </a:cxn>
                    <a:cxn ang="0">
                      <a:pos x="101" y="257"/>
                    </a:cxn>
                    <a:cxn ang="0">
                      <a:pos x="117" y="279"/>
                    </a:cxn>
                    <a:cxn ang="0">
                      <a:pos x="159" y="269"/>
                    </a:cxn>
                    <a:cxn ang="0">
                      <a:pos x="187" y="273"/>
                    </a:cxn>
                    <a:cxn ang="0">
                      <a:pos x="173" y="309"/>
                    </a:cxn>
                    <a:cxn ang="0">
                      <a:pos x="208" y="304"/>
                    </a:cxn>
                    <a:cxn ang="0">
                      <a:pos x="232" y="300"/>
                    </a:cxn>
                    <a:cxn ang="0">
                      <a:pos x="244" y="323"/>
                    </a:cxn>
                    <a:cxn ang="0">
                      <a:pos x="272" y="324"/>
                    </a:cxn>
                    <a:cxn ang="0">
                      <a:pos x="279" y="321"/>
                    </a:cxn>
                    <a:cxn ang="0">
                      <a:pos x="343" y="329"/>
                    </a:cxn>
                    <a:cxn ang="0">
                      <a:pos x="364" y="327"/>
                    </a:cxn>
                    <a:cxn ang="0">
                      <a:pos x="440" y="317"/>
                    </a:cxn>
                    <a:cxn ang="0">
                      <a:pos x="473" y="333"/>
                    </a:cxn>
                    <a:cxn ang="0">
                      <a:pos x="492" y="335"/>
                    </a:cxn>
                    <a:cxn ang="0">
                      <a:pos x="548" y="320"/>
                    </a:cxn>
                    <a:cxn ang="0">
                      <a:pos x="556" y="283"/>
                    </a:cxn>
                    <a:cxn ang="0">
                      <a:pos x="545" y="269"/>
                    </a:cxn>
                    <a:cxn ang="0">
                      <a:pos x="559" y="243"/>
                    </a:cxn>
                    <a:cxn ang="0">
                      <a:pos x="543" y="243"/>
                    </a:cxn>
                    <a:cxn ang="0">
                      <a:pos x="517" y="215"/>
                    </a:cxn>
                    <a:cxn ang="0">
                      <a:pos x="500" y="219"/>
                    </a:cxn>
                    <a:cxn ang="0">
                      <a:pos x="486" y="217"/>
                    </a:cxn>
                    <a:cxn ang="0">
                      <a:pos x="452" y="228"/>
                    </a:cxn>
                    <a:cxn ang="0">
                      <a:pos x="442" y="201"/>
                    </a:cxn>
                    <a:cxn ang="0">
                      <a:pos x="436" y="174"/>
                    </a:cxn>
                    <a:cxn ang="0">
                      <a:pos x="409" y="165"/>
                    </a:cxn>
                    <a:cxn ang="0">
                      <a:pos x="362" y="157"/>
                    </a:cxn>
                    <a:cxn ang="0">
                      <a:pos x="353" y="124"/>
                    </a:cxn>
                    <a:cxn ang="0">
                      <a:pos x="350" y="110"/>
                    </a:cxn>
                    <a:cxn ang="0">
                      <a:pos x="325" y="90"/>
                    </a:cxn>
                    <a:cxn ang="0">
                      <a:pos x="283" y="114"/>
                    </a:cxn>
                    <a:cxn ang="0">
                      <a:pos x="262" y="106"/>
                    </a:cxn>
                    <a:cxn ang="0">
                      <a:pos x="245" y="76"/>
                    </a:cxn>
                    <a:cxn ang="0">
                      <a:pos x="221" y="67"/>
                    </a:cxn>
                    <a:cxn ang="0">
                      <a:pos x="224" y="42"/>
                    </a:cxn>
                    <a:cxn ang="0">
                      <a:pos x="212" y="9"/>
                    </a:cxn>
                    <a:cxn ang="0">
                      <a:pos x="157" y="7"/>
                    </a:cxn>
                    <a:cxn ang="0">
                      <a:pos x="54" y="31"/>
                    </a:cxn>
                    <a:cxn ang="0">
                      <a:pos x="7" y="57"/>
                    </a:cxn>
                    <a:cxn ang="0">
                      <a:pos x="5" y="106"/>
                    </a:cxn>
                    <a:cxn ang="0">
                      <a:pos x="4" y="192"/>
                    </a:cxn>
                    <a:cxn ang="0">
                      <a:pos x="1" y="228"/>
                    </a:cxn>
                    <a:cxn ang="0">
                      <a:pos x="12" y="235"/>
                    </a:cxn>
                    <a:cxn ang="0">
                      <a:pos x="65" y="237"/>
                    </a:cxn>
                  </a:cxnLst>
                  <a:rect l="0" t="0" r="r" b="b"/>
                  <a:pathLst>
                    <a:path w="564" h="355">
                      <a:moveTo>
                        <a:pt x="65" y="237"/>
                      </a:moveTo>
                      <a:cubicBezTo>
                        <a:pt x="77" y="236"/>
                        <a:pt x="77" y="236"/>
                        <a:pt x="77" y="236"/>
                      </a:cubicBezTo>
                      <a:cubicBezTo>
                        <a:pt x="79" y="247"/>
                        <a:pt x="79" y="247"/>
                        <a:pt x="79" y="247"/>
                      </a:cubicBezTo>
                      <a:cubicBezTo>
                        <a:pt x="101" y="257"/>
                        <a:pt x="101" y="257"/>
                        <a:pt x="101" y="257"/>
                      </a:cubicBezTo>
                      <a:cubicBezTo>
                        <a:pt x="109" y="275"/>
                        <a:pt x="109" y="275"/>
                        <a:pt x="109" y="275"/>
                      </a:cubicBezTo>
                      <a:cubicBezTo>
                        <a:pt x="117" y="279"/>
                        <a:pt x="117" y="279"/>
                        <a:pt x="117" y="279"/>
                      </a:cubicBezTo>
                      <a:cubicBezTo>
                        <a:pt x="143" y="265"/>
                        <a:pt x="143" y="265"/>
                        <a:pt x="143" y="265"/>
                      </a:cubicBezTo>
                      <a:cubicBezTo>
                        <a:pt x="159" y="269"/>
                        <a:pt x="159" y="269"/>
                        <a:pt x="159" y="269"/>
                      </a:cubicBezTo>
                      <a:cubicBezTo>
                        <a:pt x="180" y="263"/>
                        <a:pt x="180" y="263"/>
                        <a:pt x="180" y="263"/>
                      </a:cubicBezTo>
                      <a:cubicBezTo>
                        <a:pt x="187" y="273"/>
                        <a:pt x="187" y="273"/>
                        <a:pt x="187" y="273"/>
                      </a:cubicBezTo>
                      <a:cubicBezTo>
                        <a:pt x="187" y="273"/>
                        <a:pt x="163" y="293"/>
                        <a:pt x="163" y="304"/>
                      </a:cubicBezTo>
                      <a:cubicBezTo>
                        <a:pt x="163" y="315"/>
                        <a:pt x="173" y="309"/>
                        <a:pt x="173" y="309"/>
                      </a:cubicBezTo>
                      <a:cubicBezTo>
                        <a:pt x="173" y="309"/>
                        <a:pt x="193" y="289"/>
                        <a:pt x="193" y="300"/>
                      </a:cubicBezTo>
                      <a:cubicBezTo>
                        <a:pt x="193" y="300"/>
                        <a:pt x="208" y="297"/>
                        <a:pt x="208" y="304"/>
                      </a:cubicBezTo>
                      <a:cubicBezTo>
                        <a:pt x="208" y="311"/>
                        <a:pt x="227" y="313"/>
                        <a:pt x="227" y="313"/>
                      </a:cubicBezTo>
                      <a:cubicBezTo>
                        <a:pt x="232" y="300"/>
                        <a:pt x="232" y="300"/>
                        <a:pt x="232" y="300"/>
                      </a:cubicBezTo>
                      <a:cubicBezTo>
                        <a:pt x="248" y="303"/>
                        <a:pt x="248" y="303"/>
                        <a:pt x="248" y="303"/>
                      </a:cubicBezTo>
                      <a:cubicBezTo>
                        <a:pt x="244" y="323"/>
                        <a:pt x="244" y="323"/>
                        <a:pt x="244" y="323"/>
                      </a:cubicBezTo>
                      <a:cubicBezTo>
                        <a:pt x="263" y="313"/>
                        <a:pt x="263" y="313"/>
                        <a:pt x="263" y="313"/>
                      </a:cubicBezTo>
                      <a:cubicBezTo>
                        <a:pt x="272" y="324"/>
                        <a:pt x="272" y="324"/>
                        <a:pt x="272" y="324"/>
                      </a:cubicBezTo>
                      <a:cubicBezTo>
                        <a:pt x="265" y="332"/>
                        <a:pt x="265" y="332"/>
                        <a:pt x="265" y="332"/>
                      </a:cubicBezTo>
                      <a:cubicBezTo>
                        <a:pt x="279" y="321"/>
                        <a:pt x="279" y="321"/>
                        <a:pt x="279" y="321"/>
                      </a:cubicBezTo>
                      <a:cubicBezTo>
                        <a:pt x="313" y="321"/>
                        <a:pt x="313" y="321"/>
                        <a:pt x="313" y="321"/>
                      </a:cubicBezTo>
                      <a:cubicBezTo>
                        <a:pt x="313" y="321"/>
                        <a:pt x="320" y="341"/>
                        <a:pt x="343" y="329"/>
                      </a:cubicBezTo>
                      <a:cubicBezTo>
                        <a:pt x="348" y="331"/>
                        <a:pt x="348" y="335"/>
                        <a:pt x="348" y="335"/>
                      </a:cubicBezTo>
                      <a:cubicBezTo>
                        <a:pt x="348" y="335"/>
                        <a:pt x="359" y="339"/>
                        <a:pt x="364" y="327"/>
                      </a:cubicBezTo>
                      <a:cubicBezTo>
                        <a:pt x="364" y="327"/>
                        <a:pt x="400" y="337"/>
                        <a:pt x="404" y="319"/>
                      </a:cubicBezTo>
                      <a:cubicBezTo>
                        <a:pt x="403" y="323"/>
                        <a:pt x="413" y="339"/>
                        <a:pt x="440" y="317"/>
                      </a:cubicBezTo>
                      <a:cubicBezTo>
                        <a:pt x="473" y="327"/>
                        <a:pt x="473" y="327"/>
                        <a:pt x="473" y="327"/>
                      </a:cubicBezTo>
                      <a:cubicBezTo>
                        <a:pt x="473" y="333"/>
                        <a:pt x="473" y="333"/>
                        <a:pt x="473" y="333"/>
                      </a:cubicBezTo>
                      <a:cubicBezTo>
                        <a:pt x="492" y="321"/>
                        <a:pt x="492" y="321"/>
                        <a:pt x="492" y="321"/>
                      </a:cubicBezTo>
                      <a:cubicBezTo>
                        <a:pt x="492" y="335"/>
                        <a:pt x="492" y="335"/>
                        <a:pt x="492" y="335"/>
                      </a:cubicBezTo>
                      <a:cubicBezTo>
                        <a:pt x="492" y="335"/>
                        <a:pt x="522" y="355"/>
                        <a:pt x="554" y="333"/>
                      </a:cubicBezTo>
                      <a:cubicBezTo>
                        <a:pt x="551" y="330"/>
                        <a:pt x="549" y="325"/>
                        <a:pt x="548" y="320"/>
                      </a:cubicBezTo>
                      <a:cubicBezTo>
                        <a:pt x="547" y="313"/>
                        <a:pt x="558" y="305"/>
                        <a:pt x="561" y="303"/>
                      </a:cubicBezTo>
                      <a:cubicBezTo>
                        <a:pt x="564" y="301"/>
                        <a:pt x="556" y="283"/>
                        <a:pt x="556" y="283"/>
                      </a:cubicBezTo>
                      <a:cubicBezTo>
                        <a:pt x="556" y="283"/>
                        <a:pt x="553" y="283"/>
                        <a:pt x="547" y="283"/>
                      </a:cubicBezTo>
                      <a:cubicBezTo>
                        <a:pt x="541" y="283"/>
                        <a:pt x="545" y="269"/>
                        <a:pt x="545" y="269"/>
                      </a:cubicBezTo>
                      <a:cubicBezTo>
                        <a:pt x="547" y="260"/>
                        <a:pt x="547" y="260"/>
                        <a:pt x="547" y="260"/>
                      </a:cubicBezTo>
                      <a:cubicBezTo>
                        <a:pt x="547" y="260"/>
                        <a:pt x="558" y="246"/>
                        <a:pt x="559" y="243"/>
                      </a:cubicBezTo>
                      <a:cubicBezTo>
                        <a:pt x="560" y="240"/>
                        <a:pt x="554" y="236"/>
                        <a:pt x="554" y="236"/>
                      </a:cubicBezTo>
                      <a:cubicBezTo>
                        <a:pt x="543" y="243"/>
                        <a:pt x="543" y="243"/>
                        <a:pt x="543" y="243"/>
                      </a:cubicBezTo>
                      <a:cubicBezTo>
                        <a:pt x="542" y="233"/>
                        <a:pt x="542" y="233"/>
                        <a:pt x="542" y="233"/>
                      </a:cubicBezTo>
                      <a:cubicBezTo>
                        <a:pt x="517" y="215"/>
                        <a:pt x="517" y="215"/>
                        <a:pt x="517" y="215"/>
                      </a:cubicBezTo>
                      <a:cubicBezTo>
                        <a:pt x="514" y="219"/>
                        <a:pt x="514" y="219"/>
                        <a:pt x="514" y="219"/>
                      </a:cubicBezTo>
                      <a:cubicBezTo>
                        <a:pt x="500" y="219"/>
                        <a:pt x="500" y="219"/>
                        <a:pt x="500" y="219"/>
                      </a:cubicBezTo>
                      <a:cubicBezTo>
                        <a:pt x="493" y="225"/>
                        <a:pt x="493" y="225"/>
                        <a:pt x="493" y="225"/>
                      </a:cubicBezTo>
                      <a:cubicBezTo>
                        <a:pt x="486" y="217"/>
                        <a:pt x="486" y="217"/>
                        <a:pt x="486" y="217"/>
                      </a:cubicBezTo>
                      <a:cubicBezTo>
                        <a:pt x="460" y="216"/>
                        <a:pt x="460" y="216"/>
                        <a:pt x="460" y="216"/>
                      </a:cubicBezTo>
                      <a:cubicBezTo>
                        <a:pt x="452" y="228"/>
                        <a:pt x="452" y="228"/>
                        <a:pt x="452" y="228"/>
                      </a:cubicBezTo>
                      <a:cubicBezTo>
                        <a:pt x="443" y="216"/>
                        <a:pt x="443" y="216"/>
                        <a:pt x="443" y="216"/>
                      </a:cubicBezTo>
                      <a:cubicBezTo>
                        <a:pt x="442" y="201"/>
                        <a:pt x="442" y="201"/>
                        <a:pt x="442" y="201"/>
                      </a:cubicBezTo>
                      <a:cubicBezTo>
                        <a:pt x="449" y="195"/>
                        <a:pt x="449" y="195"/>
                        <a:pt x="449" y="195"/>
                      </a:cubicBezTo>
                      <a:cubicBezTo>
                        <a:pt x="436" y="174"/>
                        <a:pt x="436" y="174"/>
                        <a:pt x="436" y="174"/>
                      </a:cubicBezTo>
                      <a:cubicBezTo>
                        <a:pt x="410" y="172"/>
                        <a:pt x="410" y="172"/>
                        <a:pt x="410" y="172"/>
                      </a:cubicBezTo>
                      <a:cubicBezTo>
                        <a:pt x="409" y="165"/>
                        <a:pt x="409" y="165"/>
                        <a:pt x="409" y="165"/>
                      </a:cubicBezTo>
                      <a:cubicBezTo>
                        <a:pt x="409" y="165"/>
                        <a:pt x="390" y="174"/>
                        <a:pt x="383" y="174"/>
                      </a:cubicBezTo>
                      <a:cubicBezTo>
                        <a:pt x="376" y="174"/>
                        <a:pt x="362" y="157"/>
                        <a:pt x="362" y="157"/>
                      </a:cubicBezTo>
                      <a:cubicBezTo>
                        <a:pt x="362" y="141"/>
                        <a:pt x="362" y="141"/>
                        <a:pt x="362" y="141"/>
                      </a:cubicBezTo>
                      <a:cubicBezTo>
                        <a:pt x="353" y="124"/>
                        <a:pt x="353" y="124"/>
                        <a:pt x="353" y="124"/>
                      </a:cubicBezTo>
                      <a:cubicBezTo>
                        <a:pt x="353" y="124"/>
                        <a:pt x="360" y="119"/>
                        <a:pt x="359" y="116"/>
                      </a:cubicBezTo>
                      <a:cubicBezTo>
                        <a:pt x="358" y="113"/>
                        <a:pt x="350" y="110"/>
                        <a:pt x="350" y="110"/>
                      </a:cubicBezTo>
                      <a:cubicBezTo>
                        <a:pt x="335" y="85"/>
                        <a:pt x="335" y="85"/>
                        <a:pt x="335" y="85"/>
                      </a:cubicBezTo>
                      <a:cubicBezTo>
                        <a:pt x="325" y="90"/>
                        <a:pt x="325" y="90"/>
                        <a:pt x="325" y="90"/>
                      </a:cubicBezTo>
                      <a:cubicBezTo>
                        <a:pt x="325" y="90"/>
                        <a:pt x="291" y="99"/>
                        <a:pt x="291" y="106"/>
                      </a:cubicBezTo>
                      <a:cubicBezTo>
                        <a:pt x="291" y="113"/>
                        <a:pt x="283" y="114"/>
                        <a:pt x="283" y="114"/>
                      </a:cubicBezTo>
                      <a:cubicBezTo>
                        <a:pt x="273" y="106"/>
                        <a:pt x="273" y="106"/>
                        <a:pt x="273" y="106"/>
                      </a:cubicBezTo>
                      <a:cubicBezTo>
                        <a:pt x="262" y="106"/>
                        <a:pt x="262" y="106"/>
                        <a:pt x="262" y="106"/>
                      </a:cubicBezTo>
                      <a:cubicBezTo>
                        <a:pt x="262" y="106"/>
                        <a:pt x="253" y="99"/>
                        <a:pt x="253" y="95"/>
                      </a:cubicBezTo>
                      <a:cubicBezTo>
                        <a:pt x="253" y="91"/>
                        <a:pt x="245" y="76"/>
                        <a:pt x="245" y="76"/>
                      </a:cubicBezTo>
                      <a:cubicBezTo>
                        <a:pt x="231" y="77"/>
                        <a:pt x="231" y="77"/>
                        <a:pt x="231" y="77"/>
                      </a:cubicBezTo>
                      <a:cubicBezTo>
                        <a:pt x="221" y="67"/>
                        <a:pt x="221" y="67"/>
                        <a:pt x="221" y="67"/>
                      </a:cubicBezTo>
                      <a:cubicBezTo>
                        <a:pt x="223" y="56"/>
                        <a:pt x="223" y="56"/>
                        <a:pt x="223" y="56"/>
                      </a:cubicBezTo>
                      <a:cubicBezTo>
                        <a:pt x="223" y="56"/>
                        <a:pt x="221" y="42"/>
                        <a:pt x="224" y="42"/>
                      </a:cubicBezTo>
                      <a:cubicBezTo>
                        <a:pt x="227" y="42"/>
                        <a:pt x="221" y="27"/>
                        <a:pt x="221" y="27"/>
                      </a:cubicBezTo>
                      <a:cubicBezTo>
                        <a:pt x="221" y="27"/>
                        <a:pt x="212" y="15"/>
                        <a:pt x="212" y="9"/>
                      </a:cubicBezTo>
                      <a:cubicBezTo>
                        <a:pt x="212" y="3"/>
                        <a:pt x="207" y="0"/>
                        <a:pt x="207" y="0"/>
                      </a:cubicBezTo>
                      <a:cubicBezTo>
                        <a:pt x="207" y="0"/>
                        <a:pt x="174" y="6"/>
                        <a:pt x="157" y="7"/>
                      </a:cubicBezTo>
                      <a:cubicBezTo>
                        <a:pt x="140" y="8"/>
                        <a:pt x="143" y="8"/>
                        <a:pt x="115" y="17"/>
                      </a:cubicBezTo>
                      <a:cubicBezTo>
                        <a:pt x="87" y="26"/>
                        <a:pt x="75" y="27"/>
                        <a:pt x="54" y="31"/>
                      </a:cubicBezTo>
                      <a:cubicBezTo>
                        <a:pt x="33" y="35"/>
                        <a:pt x="26" y="54"/>
                        <a:pt x="26" y="54"/>
                      </a:cubicBezTo>
                      <a:cubicBezTo>
                        <a:pt x="7" y="57"/>
                        <a:pt x="7" y="57"/>
                        <a:pt x="7" y="57"/>
                      </a:cubicBezTo>
                      <a:cubicBezTo>
                        <a:pt x="7" y="57"/>
                        <a:pt x="16" y="74"/>
                        <a:pt x="15" y="87"/>
                      </a:cubicBezTo>
                      <a:cubicBezTo>
                        <a:pt x="14" y="100"/>
                        <a:pt x="5" y="100"/>
                        <a:pt x="5" y="106"/>
                      </a:cubicBezTo>
                      <a:cubicBezTo>
                        <a:pt x="5" y="112"/>
                        <a:pt x="14" y="157"/>
                        <a:pt x="14" y="157"/>
                      </a:cubicBezTo>
                      <a:cubicBezTo>
                        <a:pt x="4" y="192"/>
                        <a:pt x="4" y="192"/>
                        <a:pt x="4" y="192"/>
                      </a:cubicBezTo>
                      <a:cubicBezTo>
                        <a:pt x="4" y="192"/>
                        <a:pt x="7" y="201"/>
                        <a:pt x="12" y="203"/>
                      </a:cubicBezTo>
                      <a:cubicBezTo>
                        <a:pt x="4" y="203"/>
                        <a:pt x="0" y="217"/>
                        <a:pt x="1" y="228"/>
                      </a:cubicBezTo>
                      <a:cubicBezTo>
                        <a:pt x="2" y="239"/>
                        <a:pt x="9" y="232"/>
                        <a:pt x="9" y="232"/>
                      </a:cubicBezTo>
                      <a:cubicBezTo>
                        <a:pt x="9" y="232"/>
                        <a:pt x="10" y="233"/>
                        <a:pt x="12" y="235"/>
                      </a:cubicBezTo>
                      <a:cubicBezTo>
                        <a:pt x="21" y="231"/>
                        <a:pt x="35" y="224"/>
                        <a:pt x="39" y="224"/>
                      </a:cubicBezTo>
                      <a:cubicBezTo>
                        <a:pt x="44" y="224"/>
                        <a:pt x="65" y="237"/>
                        <a:pt x="65" y="237"/>
                      </a:cubicBez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80" name="Picardie" descr="© INSCALE GmbH, 05.05.2010&#10;http://www.presentationload.com/">
                  <a:extLst>
                    <a:ext uri="{FF2B5EF4-FFF2-40B4-BE49-F238E27FC236}">
                      <a16:creationId xmlns:a16="http://schemas.microsoft.com/office/drawing/2014/main" id="{8D1477ED-CFCE-4214-B7E6-C10A06C25A1A}"/>
                    </a:ext>
                  </a:extLst>
                </p:cNvPr>
                <p:cNvSpPr>
                  <a:spLocks/>
                </p:cNvSpPr>
                <p:nvPr/>
              </p:nvSpPr>
              <p:spPr bwMode="gray">
                <a:xfrm>
                  <a:off x="1552" y="410"/>
                  <a:ext cx="644" cy="519"/>
                </a:xfrm>
                <a:custGeom>
                  <a:avLst/>
                  <a:gdLst/>
                  <a:ahLst/>
                  <a:cxnLst>
                    <a:cxn ang="0">
                      <a:pos x="17" y="99"/>
                    </a:cxn>
                    <a:cxn ang="0">
                      <a:pos x="85" y="189"/>
                    </a:cxn>
                    <a:cxn ang="0">
                      <a:pos x="79" y="213"/>
                    </a:cxn>
                    <a:cxn ang="0">
                      <a:pos x="79" y="264"/>
                    </a:cxn>
                    <a:cxn ang="0">
                      <a:pos x="83" y="275"/>
                    </a:cxn>
                    <a:cxn ang="0">
                      <a:pos x="84" y="355"/>
                    </a:cxn>
                    <a:cxn ang="0">
                      <a:pos x="76" y="379"/>
                    </a:cxn>
                    <a:cxn ang="0">
                      <a:pos x="144" y="371"/>
                    </a:cxn>
                    <a:cxn ang="0">
                      <a:pos x="160" y="373"/>
                    </a:cxn>
                    <a:cxn ang="0">
                      <a:pos x="173" y="376"/>
                    </a:cxn>
                    <a:cxn ang="0">
                      <a:pos x="196" y="375"/>
                    </a:cxn>
                    <a:cxn ang="0">
                      <a:pos x="196" y="375"/>
                    </a:cxn>
                    <a:cxn ang="0">
                      <a:pos x="232" y="403"/>
                    </a:cxn>
                    <a:cxn ang="0">
                      <a:pos x="251" y="409"/>
                    </a:cxn>
                    <a:cxn ang="0">
                      <a:pos x="280" y="412"/>
                    </a:cxn>
                    <a:cxn ang="0">
                      <a:pos x="311" y="413"/>
                    </a:cxn>
                    <a:cxn ang="0">
                      <a:pos x="356" y="397"/>
                    </a:cxn>
                    <a:cxn ang="0">
                      <a:pos x="392" y="451"/>
                    </a:cxn>
                    <a:cxn ang="0">
                      <a:pos x="407" y="457"/>
                    </a:cxn>
                    <a:cxn ang="0">
                      <a:pos x="421" y="476"/>
                    </a:cxn>
                    <a:cxn ang="0">
                      <a:pos x="451" y="461"/>
                    </a:cxn>
                    <a:cxn ang="0">
                      <a:pos x="480" y="424"/>
                    </a:cxn>
                    <a:cxn ang="0">
                      <a:pos x="463" y="415"/>
                    </a:cxn>
                    <a:cxn ang="0">
                      <a:pos x="465" y="391"/>
                    </a:cxn>
                    <a:cxn ang="0">
                      <a:pos x="473" y="364"/>
                    </a:cxn>
                    <a:cxn ang="0">
                      <a:pos x="473" y="333"/>
                    </a:cxn>
                    <a:cxn ang="0">
                      <a:pos x="517" y="309"/>
                    </a:cxn>
                    <a:cxn ang="0">
                      <a:pos x="552" y="316"/>
                    </a:cxn>
                    <a:cxn ang="0">
                      <a:pos x="560" y="260"/>
                    </a:cxn>
                    <a:cxn ang="0">
                      <a:pos x="564" y="229"/>
                    </a:cxn>
                    <a:cxn ang="0">
                      <a:pos x="593" y="187"/>
                    </a:cxn>
                    <a:cxn ang="0">
                      <a:pos x="592" y="143"/>
                    </a:cxn>
                    <a:cxn ang="0">
                      <a:pos x="536" y="111"/>
                    </a:cxn>
                    <a:cxn ang="0">
                      <a:pos x="517" y="109"/>
                    </a:cxn>
                    <a:cxn ang="0">
                      <a:pos x="484" y="93"/>
                    </a:cxn>
                    <a:cxn ang="0">
                      <a:pos x="408" y="103"/>
                    </a:cxn>
                    <a:cxn ang="0">
                      <a:pos x="387" y="105"/>
                    </a:cxn>
                    <a:cxn ang="0">
                      <a:pos x="323" y="97"/>
                    </a:cxn>
                    <a:cxn ang="0">
                      <a:pos x="316" y="100"/>
                    </a:cxn>
                    <a:cxn ang="0">
                      <a:pos x="288" y="99"/>
                    </a:cxn>
                    <a:cxn ang="0">
                      <a:pos x="276" y="76"/>
                    </a:cxn>
                    <a:cxn ang="0">
                      <a:pos x="252" y="80"/>
                    </a:cxn>
                    <a:cxn ang="0">
                      <a:pos x="217" y="85"/>
                    </a:cxn>
                    <a:cxn ang="0">
                      <a:pos x="231" y="49"/>
                    </a:cxn>
                    <a:cxn ang="0">
                      <a:pos x="203" y="45"/>
                    </a:cxn>
                    <a:cxn ang="0">
                      <a:pos x="161" y="55"/>
                    </a:cxn>
                    <a:cxn ang="0">
                      <a:pos x="145" y="33"/>
                    </a:cxn>
                    <a:cxn ang="0">
                      <a:pos x="121" y="12"/>
                    </a:cxn>
                    <a:cxn ang="0">
                      <a:pos x="83" y="0"/>
                    </a:cxn>
                    <a:cxn ang="0">
                      <a:pos x="63" y="30"/>
                    </a:cxn>
                    <a:cxn ang="0">
                      <a:pos x="25" y="60"/>
                    </a:cxn>
                    <a:cxn ang="0">
                      <a:pos x="5" y="92"/>
                    </a:cxn>
                  </a:cxnLst>
                  <a:rect l="0" t="0" r="r" b="b"/>
                  <a:pathLst>
                    <a:path w="597" h="481">
                      <a:moveTo>
                        <a:pt x="17" y="95"/>
                      </a:moveTo>
                      <a:cubicBezTo>
                        <a:pt x="17" y="99"/>
                        <a:pt x="17" y="99"/>
                        <a:pt x="17" y="99"/>
                      </a:cubicBezTo>
                      <a:cubicBezTo>
                        <a:pt x="17" y="99"/>
                        <a:pt x="43" y="136"/>
                        <a:pt x="61" y="139"/>
                      </a:cubicBezTo>
                      <a:cubicBezTo>
                        <a:pt x="85" y="189"/>
                        <a:pt x="85" y="189"/>
                        <a:pt x="85" y="189"/>
                      </a:cubicBezTo>
                      <a:cubicBezTo>
                        <a:pt x="85" y="189"/>
                        <a:pt x="64" y="211"/>
                        <a:pt x="68" y="212"/>
                      </a:cubicBezTo>
                      <a:cubicBezTo>
                        <a:pt x="72" y="213"/>
                        <a:pt x="79" y="213"/>
                        <a:pt x="79" y="213"/>
                      </a:cubicBezTo>
                      <a:cubicBezTo>
                        <a:pt x="69" y="244"/>
                        <a:pt x="69" y="244"/>
                        <a:pt x="69" y="244"/>
                      </a:cubicBezTo>
                      <a:cubicBezTo>
                        <a:pt x="79" y="264"/>
                        <a:pt x="79" y="264"/>
                        <a:pt x="79" y="264"/>
                      </a:cubicBezTo>
                      <a:cubicBezTo>
                        <a:pt x="73" y="276"/>
                        <a:pt x="73" y="276"/>
                        <a:pt x="73" y="276"/>
                      </a:cubicBezTo>
                      <a:cubicBezTo>
                        <a:pt x="83" y="275"/>
                        <a:pt x="83" y="275"/>
                        <a:pt x="83" y="275"/>
                      </a:cubicBezTo>
                      <a:cubicBezTo>
                        <a:pt x="73" y="303"/>
                        <a:pt x="73" y="303"/>
                        <a:pt x="73" y="303"/>
                      </a:cubicBezTo>
                      <a:cubicBezTo>
                        <a:pt x="73" y="303"/>
                        <a:pt x="85" y="340"/>
                        <a:pt x="84" y="355"/>
                      </a:cubicBezTo>
                      <a:cubicBezTo>
                        <a:pt x="65" y="349"/>
                        <a:pt x="65" y="349"/>
                        <a:pt x="65" y="349"/>
                      </a:cubicBezTo>
                      <a:cubicBezTo>
                        <a:pt x="76" y="379"/>
                        <a:pt x="76" y="379"/>
                        <a:pt x="76" y="379"/>
                      </a:cubicBezTo>
                      <a:cubicBezTo>
                        <a:pt x="128" y="375"/>
                        <a:pt x="128" y="375"/>
                        <a:pt x="128" y="375"/>
                      </a:cubicBezTo>
                      <a:cubicBezTo>
                        <a:pt x="144" y="371"/>
                        <a:pt x="144" y="371"/>
                        <a:pt x="144" y="371"/>
                      </a:cubicBezTo>
                      <a:cubicBezTo>
                        <a:pt x="151" y="376"/>
                        <a:pt x="151" y="376"/>
                        <a:pt x="151" y="376"/>
                      </a:cubicBezTo>
                      <a:cubicBezTo>
                        <a:pt x="160" y="373"/>
                        <a:pt x="160" y="373"/>
                        <a:pt x="160" y="373"/>
                      </a:cubicBezTo>
                      <a:cubicBezTo>
                        <a:pt x="169" y="383"/>
                        <a:pt x="169" y="383"/>
                        <a:pt x="169" y="383"/>
                      </a:cubicBezTo>
                      <a:cubicBezTo>
                        <a:pt x="173" y="376"/>
                        <a:pt x="173" y="376"/>
                        <a:pt x="173" y="376"/>
                      </a:cubicBezTo>
                      <a:cubicBezTo>
                        <a:pt x="177" y="384"/>
                        <a:pt x="177" y="384"/>
                        <a:pt x="177" y="384"/>
                      </a:cubicBezTo>
                      <a:cubicBezTo>
                        <a:pt x="196" y="375"/>
                        <a:pt x="196" y="375"/>
                        <a:pt x="196" y="375"/>
                      </a:cubicBezTo>
                      <a:cubicBezTo>
                        <a:pt x="197" y="375"/>
                        <a:pt x="197" y="375"/>
                        <a:pt x="197" y="375"/>
                      </a:cubicBezTo>
                      <a:cubicBezTo>
                        <a:pt x="196" y="375"/>
                        <a:pt x="196" y="375"/>
                        <a:pt x="196" y="375"/>
                      </a:cubicBezTo>
                      <a:cubicBezTo>
                        <a:pt x="194" y="376"/>
                        <a:pt x="190" y="380"/>
                        <a:pt x="203" y="383"/>
                      </a:cubicBezTo>
                      <a:cubicBezTo>
                        <a:pt x="219" y="387"/>
                        <a:pt x="237" y="399"/>
                        <a:pt x="232" y="403"/>
                      </a:cubicBezTo>
                      <a:cubicBezTo>
                        <a:pt x="227" y="407"/>
                        <a:pt x="245" y="399"/>
                        <a:pt x="245" y="399"/>
                      </a:cubicBezTo>
                      <a:cubicBezTo>
                        <a:pt x="251" y="409"/>
                        <a:pt x="251" y="409"/>
                        <a:pt x="251" y="409"/>
                      </a:cubicBezTo>
                      <a:cubicBezTo>
                        <a:pt x="251" y="409"/>
                        <a:pt x="253" y="397"/>
                        <a:pt x="260" y="401"/>
                      </a:cubicBezTo>
                      <a:cubicBezTo>
                        <a:pt x="267" y="405"/>
                        <a:pt x="272" y="409"/>
                        <a:pt x="280" y="412"/>
                      </a:cubicBezTo>
                      <a:cubicBezTo>
                        <a:pt x="288" y="415"/>
                        <a:pt x="297" y="405"/>
                        <a:pt x="297" y="405"/>
                      </a:cubicBezTo>
                      <a:cubicBezTo>
                        <a:pt x="311" y="413"/>
                        <a:pt x="311" y="413"/>
                        <a:pt x="311" y="413"/>
                      </a:cubicBezTo>
                      <a:cubicBezTo>
                        <a:pt x="349" y="403"/>
                        <a:pt x="349" y="403"/>
                        <a:pt x="349" y="403"/>
                      </a:cubicBezTo>
                      <a:cubicBezTo>
                        <a:pt x="356" y="397"/>
                        <a:pt x="356" y="397"/>
                        <a:pt x="356" y="397"/>
                      </a:cubicBezTo>
                      <a:cubicBezTo>
                        <a:pt x="356" y="397"/>
                        <a:pt x="380" y="399"/>
                        <a:pt x="376" y="431"/>
                      </a:cubicBezTo>
                      <a:cubicBezTo>
                        <a:pt x="377" y="436"/>
                        <a:pt x="393" y="443"/>
                        <a:pt x="392" y="451"/>
                      </a:cubicBezTo>
                      <a:cubicBezTo>
                        <a:pt x="391" y="459"/>
                        <a:pt x="404" y="449"/>
                        <a:pt x="404" y="449"/>
                      </a:cubicBezTo>
                      <a:cubicBezTo>
                        <a:pt x="407" y="457"/>
                        <a:pt x="407" y="457"/>
                        <a:pt x="407" y="457"/>
                      </a:cubicBezTo>
                      <a:cubicBezTo>
                        <a:pt x="417" y="457"/>
                        <a:pt x="417" y="457"/>
                        <a:pt x="417" y="457"/>
                      </a:cubicBezTo>
                      <a:cubicBezTo>
                        <a:pt x="417" y="457"/>
                        <a:pt x="417" y="476"/>
                        <a:pt x="421" y="476"/>
                      </a:cubicBezTo>
                      <a:cubicBezTo>
                        <a:pt x="425" y="476"/>
                        <a:pt x="441" y="481"/>
                        <a:pt x="441" y="481"/>
                      </a:cubicBezTo>
                      <a:cubicBezTo>
                        <a:pt x="451" y="461"/>
                        <a:pt x="451" y="461"/>
                        <a:pt x="451" y="461"/>
                      </a:cubicBezTo>
                      <a:cubicBezTo>
                        <a:pt x="457" y="459"/>
                        <a:pt x="457" y="459"/>
                        <a:pt x="457" y="459"/>
                      </a:cubicBezTo>
                      <a:cubicBezTo>
                        <a:pt x="457" y="459"/>
                        <a:pt x="487" y="429"/>
                        <a:pt x="480" y="424"/>
                      </a:cubicBezTo>
                      <a:cubicBezTo>
                        <a:pt x="473" y="419"/>
                        <a:pt x="461" y="420"/>
                        <a:pt x="461" y="420"/>
                      </a:cubicBezTo>
                      <a:cubicBezTo>
                        <a:pt x="463" y="415"/>
                        <a:pt x="463" y="415"/>
                        <a:pt x="463" y="415"/>
                      </a:cubicBezTo>
                      <a:cubicBezTo>
                        <a:pt x="471" y="408"/>
                        <a:pt x="471" y="408"/>
                        <a:pt x="471" y="408"/>
                      </a:cubicBezTo>
                      <a:cubicBezTo>
                        <a:pt x="471" y="408"/>
                        <a:pt x="463" y="396"/>
                        <a:pt x="465" y="391"/>
                      </a:cubicBezTo>
                      <a:cubicBezTo>
                        <a:pt x="468" y="385"/>
                        <a:pt x="492" y="380"/>
                        <a:pt x="492" y="380"/>
                      </a:cubicBezTo>
                      <a:cubicBezTo>
                        <a:pt x="473" y="364"/>
                        <a:pt x="473" y="364"/>
                        <a:pt x="473" y="364"/>
                      </a:cubicBezTo>
                      <a:cubicBezTo>
                        <a:pt x="479" y="353"/>
                        <a:pt x="479" y="353"/>
                        <a:pt x="479" y="353"/>
                      </a:cubicBezTo>
                      <a:cubicBezTo>
                        <a:pt x="473" y="333"/>
                        <a:pt x="473" y="333"/>
                        <a:pt x="473" y="333"/>
                      </a:cubicBezTo>
                      <a:cubicBezTo>
                        <a:pt x="473" y="333"/>
                        <a:pt x="495" y="315"/>
                        <a:pt x="512" y="320"/>
                      </a:cubicBezTo>
                      <a:cubicBezTo>
                        <a:pt x="516" y="319"/>
                        <a:pt x="517" y="309"/>
                        <a:pt x="517" y="309"/>
                      </a:cubicBezTo>
                      <a:cubicBezTo>
                        <a:pt x="528" y="303"/>
                        <a:pt x="528" y="303"/>
                        <a:pt x="528" y="303"/>
                      </a:cubicBezTo>
                      <a:cubicBezTo>
                        <a:pt x="528" y="303"/>
                        <a:pt x="547" y="316"/>
                        <a:pt x="552" y="316"/>
                      </a:cubicBezTo>
                      <a:cubicBezTo>
                        <a:pt x="557" y="316"/>
                        <a:pt x="552" y="267"/>
                        <a:pt x="552" y="267"/>
                      </a:cubicBezTo>
                      <a:cubicBezTo>
                        <a:pt x="560" y="260"/>
                        <a:pt x="560" y="260"/>
                        <a:pt x="560" y="260"/>
                      </a:cubicBezTo>
                      <a:cubicBezTo>
                        <a:pt x="548" y="231"/>
                        <a:pt x="548" y="231"/>
                        <a:pt x="548" y="231"/>
                      </a:cubicBezTo>
                      <a:cubicBezTo>
                        <a:pt x="564" y="229"/>
                        <a:pt x="564" y="229"/>
                        <a:pt x="564" y="229"/>
                      </a:cubicBezTo>
                      <a:cubicBezTo>
                        <a:pt x="571" y="215"/>
                        <a:pt x="571" y="215"/>
                        <a:pt x="571" y="215"/>
                      </a:cubicBezTo>
                      <a:cubicBezTo>
                        <a:pt x="593" y="187"/>
                        <a:pt x="593" y="187"/>
                        <a:pt x="593" y="187"/>
                      </a:cubicBezTo>
                      <a:cubicBezTo>
                        <a:pt x="587" y="180"/>
                        <a:pt x="587" y="180"/>
                        <a:pt x="587" y="180"/>
                      </a:cubicBezTo>
                      <a:cubicBezTo>
                        <a:pt x="592" y="143"/>
                        <a:pt x="592" y="143"/>
                        <a:pt x="592" y="143"/>
                      </a:cubicBezTo>
                      <a:cubicBezTo>
                        <a:pt x="592" y="143"/>
                        <a:pt x="583" y="130"/>
                        <a:pt x="597" y="110"/>
                      </a:cubicBezTo>
                      <a:cubicBezTo>
                        <a:pt x="566" y="131"/>
                        <a:pt x="536" y="111"/>
                        <a:pt x="536" y="111"/>
                      </a:cubicBezTo>
                      <a:cubicBezTo>
                        <a:pt x="536" y="97"/>
                        <a:pt x="536" y="97"/>
                        <a:pt x="536" y="97"/>
                      </a:cubicBezTo>
                      <a:cubicBezTo>
                        <a:pt x="517" y="109"/>
                        <a:pt x="517" y="109"/>
                        <a:pt x="517" y="109"/>
                      </a:cubicBezTo>
                      <a:cubicBezTo>
                        <a:pt x="517" y="103"/>
                        <a:pt x="517" y="103"/>
                        <a:pt x="517" y="103"/>
                      </a:cubicBezTo>
                      <a:cubicBezTo>
                        <a:pt x="484" y="93"/>
                        <a:pt x="484" y="93"/>
                        <a:pt x="484" y="93"/>
                      </a:cubicBezTo>
                      <a:cubicBezTo>
                        <a:pt x="457" y="115"/>
                        <a:pt x="447" y="99"/>
                        <a:pt x="448" y="95"/>
                      </a:cubicBezTo>
                      <a:cubicBezTo>
                        <a:pt x="444" y="113"/>
                        <a:pt x="408" y="103"/>
                        <a:pt x="408" y="103"/>
                      </a:cubicBezTo>
                      <a:cubicBezTo>
                        <a:pt x="403" y="115"/>
                        <a:pt x="392" y="111"/>
                        <a:pt x="392" y="111"/>
                      </a:cubicBezTo>
                      <a:cubicBezTo>
                        <a:pt x="392" y="111"/>
                        <a:pt x="392" y="107"/>
                        <a:pt x="387" y="105"/>
                      </a:cubicBezTo>
                      <a:cubicBezTo>
                        <a:pt x="364" y="117"/>
                        <a:pt x="357" y="97"/>
                        <a:pt x="357" y="97"/>
                      </a:cubicBezTo>
                      <a:cubicBezTo>
                        <a:pt x="323" y="97"/>
                        <a:pt x="323" y="97"/>
                        <a:pt x="323" y="97"/>
                      </a:cubicBezTo>
                      <a:cubicBezTo>
                        <a:pt x="309" y="108"/>
                        <a:pt x="309" y="108"/>
                        <a:pt x="309" y="108"/>
                      </a:cubicBezTo>
                      <a:cubicBezTo>
                        <a:pt x="316" y="100"/>
                        <a:pt x="316" y="100"/>
                        <a:pt x="316" y="100"/>
                      </a:cubicBezTo>
                      <a:cubicBezTo>
                        <a:pt x="307" y="89"/>
                        <a:pt x="307" y="89"/>
                        <a:pt x="307" y="89"/>
                      </a:cubicBezTo>
                      <a:cubicBezTo>
                        <a:pt x="288" y="99"/>
                        <a:pt x="288" y="99"/>
                        <a:pt x="288" y="99"/>
                      </a:cubicBezTo>
                      <a:cubicBezTo>
                        <a:pt x="292" y="79"/>
                        <a:pt x="292" y="79"/>
                        <a:pt x="292" y="79"/>
                      </a:cubicBezTo>
                      <a:cubicBezTo>
                        <a:pt x="276" y="76"/>
                        <a:pt x="276" y="76"/>
                        <a:pt x="276" y="76"/>
                      </a:cubicBezTo>
                      <a:cubicBezTo>
                        <a:pt x="271" y="89"/>
                        <a:pt x="271" y="89"/>
                        <a:pt x="271" y="89"/>
                      </a:cubicBezTo>
                      <a:cubicBezTo>
                        <a:pt x="271" y="89"/>
                        <a:pt x="252" y="87"/>
                        <a:pt x="252" y="80"/>
                      </a:cubicBezTo>
                      <a:cubicBezTo>
                        <a:pt x="252" y="73"/>
                        <a:pt x="237" y="76"/>
                        <a:pt x="237" y="76"/>
                      </a:cubicBezTo>
                      <a:cubicBezTo>
                        <a:pt x="237" y="65"/>
                        <a:pt x="217" y="85"/>
                        <a:pt x="217" y="85"/>
                      </a:cubicBezTo>
                      <a:cubicBezTo>
                        <a:pt x="217" y="85"/>
                        <a:pt x="207" y="91"/>
                        <a:pt x="207" y="80"/>
                      </a:cubicBezTo>
                      <a:cubicBezTo>
                        <a:pt x="207" y="69"/>
                        <a:pt x="231" y="49"/>
                        <a:pt x="231" y="49"/>
                      </a:cubicBezTo>
                      <a:cubicBezTo>
                        <a:pt x="224" y="39"/>
                        <a:pt x="224" y="39"/>
                        <a:pt x="224" y="39"/>
                      </a:cubicBezTo>
                      <a:cubicBezTo>
                        <a:pt x="203" y="45"/>
                        <a:pt x="203" y="45"/>
                        <a:pt x="203" y="45"/>
                      </a:cubicBezTo>
                      <a:cubicBezTo>
                        <a:pt x="187" y="41"/>
                        <a:pt x="187" y="41"/>
                        <a:pt x="187" y="41"/>
                      </a:cubicBezTo>
                      <a:cubicBezTo>
                        <a:pt x="161" y="55"/>
                        <a:pt x="161" y="55"/>
                        <a:pt x="161" y="55"/>
                      </a:cubicBezTo>
                      <a:cubicBezTo>
                        <a:pt x="153" y="51"/>
                        <a:pt x="153" y="51"/>
                        <a:pt x="153" y="51"/>
                      </a:cubicBezTo>
                      <a:cubicBezTo>
                        <a:pt x="145" y="33"/>
                        <a:pt x="145" y="33"/>
                        <a:pt x="145" y="33"/>
                      </a:cubicBezTo>
                      <a:cubicBezTo>
                        <a:pt x="123" y="23"/>
                        <a:pt x="123" y="23"/>
                        <a:pt x="123" y="23"/>
                      </a:cubicBezTo>
                      <a:cubicBezTo>
                        <a:pt x="121" y="12"/>
                        <a:pt x="121" y="12"/>
                        <a:pt x="121" y="12"/>
                      </a:cubicBezTo>
                      <a:cubicBezTo>
                        <a:pt x="109" y="13"/>
                        <a:pt x="109" y="13"/>
                        <a:pt x="109" y="13"/>
                      </a:cubicBezTo>
                      <a:cubicBezTo>
                        <a:pt x="109" y="13"/>
                        <a:pt x="88" y="0"/>
                        <a:pt x="83" y="0"/>
                      </a:cubicBezTo>
                      <a:cubicBezTo>
                        <a:pt x="79" y="0"/>
                        <a:pt x="65" y="7"/>
                        <a:pt x="56" y="11"/>
                      </a:cubicBezTo>
                      <a:cubicBezTo>
                        <a:pt x="60" y="16"/>
                        <a:pt x="69" y="27"/>
                        <a:pt x="63" y="30"/>
                      </a:cubicBezTo>
                      <a:cubicBezTo>
                        <a:pt x="55" y="34"/>
                        <a:pt x="45" y="21"/>
                        <a:pt x="45" y="21"/>
                      </a:cubicBezTo>
                      <a:cubicBezTo>
                        <a:pt x="35" y="27"/>
                        <a:pt x="25" y="60"/>
                        <a:pt x="25" y="60"/>
                      </a:cubicBezTo>
                      <a:cubicBezTo>
                        <a:pt x="25" y="60"/>
                        <a:pt x="14" y="68"/>
                        <a:pt x="0" y="77"/>
                      </a:cubicBezTo>
                      <a:cubicBezTo>
                        <a:pt x="5" y="92"/>
                        <a:pt x="5" y="92"/>
                        <a:pt x="5" y="92"/>
                      </a:cubicBezTo>
                      <a:lnTo>
                        <a:pt x="17" y="95"/>
                      </a:ln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81" name="Haute Normandie" descr="© INSCALE GmbH, 05.05.2010&#10;http://www.presentationload.com/">
                  <a:extLst>
                    <a:ext uri="{FF2B5EF4-FFF2-40B4-BE49-F238E27FC236}">
                      <a16:creationId xmlns:a16="http://schemas.microsoft.com/office/drawing/2014/main" id="{44BDFBC7-BF7E-4218-BE08-29BB7B1F94CF}"/>
                    </a:ext>
                  </a:extLst>
                </p:cNvPr>
                <p:cNvSpPr>
                  <a:spLocks/>
                </p:cNvSpPr>
                <p:nvPr/>
              </p:nvSpPr>
              <p:spPr bwMode="gray">
                <a:xfrm>
                  <a:off x="1259" y="493"/>
                  <a:ext cx="385" cy="503"/>
                </a:xfrm>
                <a:custGeom>
                  <a:avLst/>
                  <a:gdLst/>
                  <a:ahLst/>
                  <a:cxnLst>
                    <a:cxn ang="0">
                      <a:pos x="355" y="198"/>
                    </a:cxn>
                    <a:cxn ang="0">
                      <a:pos x="345" y="199"/>
                    </a:cxn>
                    <a:cxn ang="0">
                      <a:pos x="351" y="187"/>
                    </a:cxn>
                    <a:cxn ang="0">
                      <a:pos x="341" y="167"/>
                    </a:cxn>
                    <a:cxn ang="0">
                      <a:pos x="351" y="136"/>
                    </a:cxn>
                    <a:cxn ang="0">
                      <a:pos x="340" y="135"/>
                    </a:cxn>
                    <a:cxn ang="0">
                      <a:pos x="357" y="112"/>
                    </a:cxn>
                    <a:cxn ang="0">
                      <a:pos x="333" y="62"/>
                    </a:cxn>
                    <a:cxn ang="0">
                      <a:pos x="289" y="22"/>
                    </a:cxn>
                    <a:cxn ang="0">
                      <a:pos x="289" y="18"/>
                    </a:cxn>
                    <a:cxn ang="0">
                      <a:pos x="277" y="15"/>
                    </a:cxn>
                    <a:cxn ang="0">
                      <a:pos x="272" y="0"/>
                    </a:cxn>
                    <a:cxn ang="0">
                      <a:pos x="220" y="29"/>
                    </a:cxn>
                    <a:cxn ang="0">
                      <a:pos x="155" y="47"/>
                    </a:cxn>
                    <a:cxn ang="0">
                      <a:pos x="108" y="50"/>
                    </a:cxn>
                    <a:cxn ang="0">
                      <a:pos x="30" y="93"/>
                    </a:cxn>
                    <a:cxn ang="0">
                      <a:pos x="0" y="150"/>
                    </a:cxn>
                    <a:cxn ang="0">
                      <a:pos x="10" y="167"/>
                    </a:cxn>
                    <a:cxn ang="0">
                      <a:pos x="39" y="178"/>
                    </a:cxn>
                    <a:cxn ang="0">
                      <a:pos x="52" y="263"/>
                    </a:cxn>
                    <a:cxn ang="0">
                      <a:pos x="53" y="271"/>
                    </a:cxn>
                    <a:cxn ang="0">
                      <a:pos x="67" y="288"/>
                    </a:cxn>
                    <a:cxn ang="0">
                      <a:pos x="67" y="303"/>
                    </a:cxn>
                    <a:cxn ang="0">
                      <a:pos x="72" y="311"/>
                    </a:cxn>
                    <a:cxn ang="0">
                      <a:pos x="71" y="331"/>
                    </a:cxn>
                    <a:cxn ang="0">
                      <a:pos x="63" y="332"/>
                    </a:cxn>
                    <a:cxn ang="0">
                      <a:pos x="72" y="344"/>
                    </a:cxn>
                    <a:cxn ang="0">
                      <a:pos x="65" y="379"/>
                    </a:cxn>
                    <a:cxn ang="0">
                      <a:pos x="72" y="388"/>
                    </a:cxn>
                    <a:cxn ang="0">
                      <a:pos x="105" y="390"/>
                    </a:cxn>
                    <a:cxn ang="0">
                      <a:pos x="112" y="410"/>
                    </a:cxn>
                    <a:cxn ang="0">
                      <a:pos x="136" y="448"/>
                    </a:cxn>
                    <a:cxn ang="0">
                      <a:pos x="139" y="459"/>
                    </a:cxn>
                    <a:cxn ang="0">
                      <a:pos x="167" y="444"/>
                    </a:cxn>
                    <a:cxn ang="0">
                      <a:pos x="201" y="434"/>
                    </a:cxn>
                    <a:cxn ang="0">
                      <a:pos x="211" y="438"/>
                    </a:cxn>
                    <a:cxn ang="0">
                      <a:pos x="212" y="427"/>
                    </a:cxn>
                    <a:cxn ang="0">
                      <a:pos x="263" y="431"/>
                    </a:cxn>
                    <a:cxn ang="0">
                      <a:pos x="268" y="408"/>
                    </a:cxn>
                    <a:cxn ang="0">
                      <a:pos x="288" y="395"/>
                    </a:cxn>
                    <a:cxn ang="0">
                      <a:pos x="288" y="383"/>
                    </a:cxn>
                    <a:cxn ang="0">
                      <a:pos x="297" y="379"/>
                    </a:cxn>
                    <a:cxn ang="0">
                      <a:pos x="284" y="343"/>
                    </a:cxn>
                    <a:cxn ang="0">
                      <a:pos x="297" y="338"/>
                    </a:cxn>
                    <a:cxn ang="0">
                      <a:pos x="295" y="331"/>
                    </a:cxn>
                    <a:cxn ang="0">
                      <a:pos x="323" y="328"/>
                    </a:cxn>
                    <a:cxn ang="0">
                      <a:pos x="340" y="281"/>
                    </a:cxn>
                    <a:cxn ang="0">
                      <a:pos x="337" y="272"/>
                    </a:cxn>
                    <a:cxn ang="0">
                      <a:pos x="354" y="277"/>
                    </a:cxn>
                    <a:cxn ang="0">
                      <a:pos x="356" y="278"/>
                    </a:cxn>
                    <a:cxn ang="0">
                      <a:pos x="356" y="277"/>
                    </a:cxn>
                    <a:cxn ang="0">
                      <a:pos x="345" y="226"/>
                    </a:cxn>
                    <a:cxn ang="0">
                      <a:pos x="355" y="198"/>
                    </a:cxn>
                  </a:cxnLst>
                  <a:rect l="0" t="0" r="r" b="b"/>
                  <a:pathLst>
                    <a:path w="357" h="466">
                      <a:moveTo>
                        <a:pt x="355" y="198"/>
                      </a:moveTo>
                      <a:cubicBezTo>
                        <a:pt x="345" y="199"/>
                        <a:pt x="345" y="199"/>
                        <a:pt x="345" y="199"/>
                      </a:cubicBezTo>
                      <a:cubicBezTo>
                        <a:pt x="351" y="187"/>
                        <a:pt x="351" y="187"/>
                        <a:pt x="351" y="187"/>
                      </a:cubicBezTo>
                      <a:cubicBezTo>
                        <a:pt x="341" y="167"/>
                        <a:pt x="341" y="167"/>
                        <a:pt x="341" y="167"/>
                      </a:cubicBezTo>
                      <a:cubicBezTo>
                        <a:pt x="351" y="136"/>
                        <a:pt x="351" y="136"/>
                        <a:pt x="351" y="136"/>
                      </a:cubicBezTo>
                      <a:cubicBezTo>
                        <a:pt x="351" y="136"/>
                        <a:pt x="344" y="136"/>
                        <a:pt x="340" y="135"/>
                      </a:cubicBezTo>
                      <a:cubicBezTo>
                        <a:pt x="336" y="134"/>
                        <a:pt x="357" y="112"/>
                        <a:pt x="357" y="112"/>
                      </a:cubicBezTo>
                      <a:cubicBezTo>
                        <a:pt x="333" y="62"/>
                        <a:pt x="333" y="62"/>
                        <a:pt x="333" y="62"/>
                      </a:cubicBezTo>
                      <a:cubicBezTo>
                        <a:pt x="315" y="59"/>
                        <a:pt x="289" y="22"/>
                        <a:pt x="289" y="22"/>
                      </a:cubicBezTo>
                      <a:cubicBezTo>
                        <a:pt x="289" y="18"/>
                        <a:pt x="289" y="18"/>
                        <a:pt x="289" y="18"/>
                      </a:cubicBezTo>
                      <a:cubicBezTo>
                        <a:pt x="277" y="15"/>
                        <a:pt x="277" y="15"/>
                        <a:pt x="277" y="15"/>
                      </a:cubicBezTo>
                      <a:cubicBezTo>
                        <a:pt x="272" y="0"/>
                        <a:pt x="272" y="0"/>
                        <a:pt x="272" y="0"/>
                      </a:cubicBezTo>
                      <a:cubicBezTo>
                        <a:pt x="255" y="11"/>
                        <a:pt x="233" y="25"/>
                        <a:pt x="220" y="29"/>
                      </a:cubicBezTo>
                      <a:cubicBezTo>
                        <a:pt x="196" y="38"/>
                        <a:pt x="155" y="47"/>
                        <a:pt x="155" y="47"/>
                      </a:cubicBezTo>
                      <a:cubicBezTo>
                        <a:pt x="155" y="47"/>
                        <a:pt x="110" y="54"/>
                        <a:pt x="108" y="50"/>
                      </a:cubicBezTo>
                      <a:cubicBezTo>
                        <a:pt x="81" y="78"/>
                        <a:pt x="30" y="93"/>
                        <a:pt x="30" y="93"/>
                      </a:cubicBezTo>
                      <a:cubicBezTo>
                        <a:pt x="0" y="150"/>
                        <a:pt x="0" y="150"/>
                        <a:pt x="0" y="150"/>
                      </a:cubicBezTo>
                      <a:cubicBezTo>
                        <a:pt x="10" y="167"/>
                        <a:pt x="10" y="167"/>
                        <a:pt x="10" y="167"/>
                      </a:cubicBezTo>
                      <a:cubicBezTo>
                        <a:pt x="10" y="167"/>
                        <a:pt x="44" y="176"/>
                        <a:pt x="39" y="178"/>
                      </a:cubicBezTo>
                      <a:cubicBezTo>
                        <a:pt x="52" y="263"/>
                        <a:pt x="52" y="263"/>
                        <a:pt x="52" y="263"/>
                      </a:cubicBezTo>
                      <a:cubicBezTo>
                        <a:pt x="52" y="263"/>
                        <a:pt x="84" y="260"/>
                        <a:pt x="53" y="271"/>
                      </a:cubicBezTo>
                      <a:cubicBezTo>
                        <a:pt x="51" y="278"/>
                        <a:pt x="67" y="288"/>
                        <a:pt x="67" y="288"/>
                      </a:cubicBezTo>
                      <a:cubicBezTo>
                        <a:pt x="67" y="303"/>
                        <a:pt x="67" y="303"/>
                        <a:pt x="67" y="303"/>
                      </a:cubicBezTo>
                      <a:cubicBezTo>
                        <a:pt x="72" y="311"/>
                        <a:pt x="72" y="311"/>
                        <a:pt x="72" y="311"/>
                      </a:cubicBezTo>
                      <a:cubicBezTo>
                        <a:pt x="71" y="331"/>
                        <a:pt x="71" y="331"/>
                        <a:pt x="71" y="331"/>
                      </a:cubicBezTo>
                      <a:cubicBezTo>
                        <a:pt x="63" y="332"/>
                        <a:pt x="63" y="332"/>
                        <a:pt x="63" y="332"/>
                      </a:cubicBezTo>
                      <a:cubicBezTo>
                        <a:pt x="72" y="344"/>
                        <a:pt x="72" y="344"/>
                        <a:pt x="72" y="344"/>
                      </a:cubicBezTo>
                      <a:cubicBezTo>
                        <a:pt x="72" y="344"/>
                        <a:pt x="72" y="374"/>
                        <a:pt x="65" y="379"/>
                      </a:cubicBezTo>
                      <a:cubicBezTo>
                        <a:pt x="59" y="384"/>
                        <a:pt x="72" y="388"/>
                        <a:pt x="72" y="388"/>
                      </a:cubicBezTo>
                      <a:cubicBezTo>
                        <a:pt x="105" y="390"/>
                        <a:pt x="105" y="390"/>
                        <a:pt x="105" y="390"/>
                      </a:cubicBezTo>
                      <a:cubicBezTo>
                        <a:pt x="112" y="410"/>
                        <a:pt x="112" y="410"/>
                        <a:pt x="112" y="410"/>
                      </a:cubicBezTo>
                      <a:cubicBezTo>
                        <a:pt x="112" y="410"/>
                        <a:pt x="157" y="434"/>
                        <a:pt x="136" y="448"/>
                      </a:cubicBezTo>
                      <a:cubicBezTo>
                        <a:pt x="132" y="448"/>
                        <a:pt x="139" y="459"/>
                        <a:pt x="139" y="459"/>
                      </a:cubicBezTo>
                      <a:cubicBezTo>
                        <a:pt x="139" y="459"/>
                        <a:pt x="159" y="466"/>
                        <a:pt x="167" y="444"/>
                      </a:cubicBezTo>
                      <a:cubicBezTo>
                        <a:pt x="171" y="444"/>
                        <a:pt x="179" y="456"/>
                        <a:pt x="201" y="434"/>
                      </a:cubicBezTo>
                      <a:cubicBezTo>
                        <a:pt x="203" y="438"/>
                        <a:pt x="211" y="438"/>
                        <a:pt x="211" y="438"/>
                      </a:cubicBezTo>
                      <a:cubicBezTo>
                        <a:pt x="212" y="427"/>
                        <a:pt x="212" y="427"/>
                        <a:pt x="212" y="427"/>
                      </a:cubicBezTo>
                      <a:cubicBezTo>
                        <a:pt x="212" y="427"/>
                        <a:pt x="256" y="442"/>
                        <a:pt x="263" y="431"/>
                      </a:cubicBezTo>
                      <a:cubicBezTo>
                        <a:pt x="269" y="420"/>
                        <a:pt x="268" y="408"/>
                        <a:pt x="268" y="408"/>
                      </a:cubicBezTo>
                      <a:cubicBezTo>
                        <a:pt x="268" y="408"/>
                        <a:pt x="287" y="400"/>
                        <a:pt x="288" y="395"/>
                      </a:cubicBezTo>
                      <a:cubicBezTo>
                        <a:pt x="289" y="390"/>
                        <a:pt x="288" y="383"/>
                        <a:pt x="288" y="383"/>
                      </a:cubicBezTo>
                      <a:cubicBezTo>
                        <a:pt x="297" y="379"/>
                        <a:pt x="297" y="379"/>
                        <a:pt x="297" y="379"/>
                      </a:cubicBezTo>
                      <a:cubicBezTo>
                        <a:pt x="284" y="343"/>
                        <a:pt x="284" y="343"/>
                        <a:pt x="284" y="343"/>
                      </a:cubicBezTo>
                      <a:cubicBezTo>
                        <a:pt x="284" y="343"/>
                        <a:pt x="301" y="338"/>
                        <a:pt x="297" y="338"/>
                      </a:cubicBezTo>
                      <a:cubicBezTo>
                        <a:pt x="293" y="338"/>
                        <a:pt x="295" y="331"/>
                        <a:pt x="295" y="331"/>
                      </a:cubicBezTo>
                      <a:cubicBezTo>
                        <a:pt x="323" y="328"/>
                        <a:pt x="323" y="328"/>
                        <a:pt x="323" y="328"/>
                      </a:cubicBezTo>
                      <a:cubicBezTo>
                        <a:pt x="340" y="281"/>
                        <a:pt x="340" y="281"/>
                        <a:pt x="340" y="281"/>
                      </a:cubicBezTo>
                      <a:cubicBezTo>
                        <a:pt x="337" y="272"/>
                        <a:pt x="337" y="272"/>
                        <a:pt x="337" y="272"/>
                      </a:cubicBezTo>
                      <a:cubicBezTo>
                        <a:pt x="354" y="277"/>
                        <a:pt x="354" y="277"/>
                        <a:pt x="354" y="277"/>
                      </a:cubicBezTo>
                      <a:cubicBezTo>
                        <a:pt x="356" y="278"/>
                        <a:pt x="356" y="278"/>
                        <a:pt x="356" y="278"/>
                      </a:cubicBezTo>
                      <a:cubicBezTo>
                        <a:pt x="356" y="278"/>
                        <a:pt x="356" y="277"/>
                        <a:pt x="356" y="277"/>
                      </a:cubicBezTo>
                      <a:cubicBezTo>
                        <a:pt x="357" y="262"/>
                        <a:pt x="345" y="226"/>
                        <a:pt x="345" y="226"/>
                      </a:cubicBezTo>
                      <a:lnTo>
                        <a:pt x="355" y="198"/>
                      </a:ln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82" name="Ile-de-France" descr="© INSCALE GmbH, 05.05.2010&#10;http://www.presentationload.com/">
                  <a:extLst>
                    <a:ext uri="{FF2B5EF4-FFF2-40B4-BE49-F238E27FC236}">
                      <a16:creationId xmlns:a16="http://schemas.microsoft.com/office/drawing/2014/main" id="{B928C5ED-101A-4CF2-8C79-1A9569022972}"/>
                    </a:ext>
                  </a:extLst>
                </p:cNvPr>
                <p:cNvSpPr>
                  <a:spLocks/>
                </p:cNvSpPr>
                <p:nvPr/>
              </p:nvSpPr>
              <p:spPr bwMode="gray">
                <a:xfrm>
                  <a:off x="1565" y="796"/>
                  <a:ext cx="483" cy="386"/>
                </a:xfrm>
                <a:custGeom>
                  <a:avLst/>
                  <a:gdLst/>
                  <a:ahLst/>
                  <a:cxnLst>
                    <a:cxn ang="0">
                      <a:pos x="31" y="127"/>
                    </a:cxn>
                    <a:cxn ang="0">
                      <a:pos x="36" y="158"/>
                    </a:cxn>
                    <a:cxn ang="0">
                      <a:pos x="35" y="177"/>
                    </a:cxn>
                    <a:cxn ang="0">
                      <a:pos x="48" y="199"/>
                    </a:cxn>
                    <a:cxn ang="0">
                      <a:pos x="56" y="214"/>
                    </a:cxn>
                    <a:cxn ang="0">
                      <a:pos x="71" y="246"/>
                    </a:cxn>
                    <a:cxn ang="0">
                      <a:pos x="103" y="267"/>
                    </a:cxn>
                    <a:cxn ang="0">
                      <a:pos x="111" y="303"/>
                    </a:cxn>
                    <a:cxn ang="0">
                      <a:pos x="153" y="301"/>
                    </a:cxn>
                    <a:cxn ang="0">
                      <a:pos x="167" y="290"/>
                    </a:cxn>
                    <a:cxn ang="0">
                      <a:pos x="183" y="293"/>
                    </a:cxn>
                    <a:cxn ang="0">
                      <a:pos x="201" y="297"/>
                    </a:cxn>
                    <a:cxn ang="0">
                      <a:pos x="229" y="338"/>
                    </a:cxn>
                    <a:cxn ang="0">
                      <a:pos x="273" y="354"/>
                    </a:cxn>
                    <a:cxn ang="0">
                      <a:pos x="285" y="346"/>
                    </a:cxn>
                    <a:cxn ang="0">
                      <a:pos x="316" y="345"/>
                    </a:cxn>
                    <a:cxn ang="0">
                      <a:pos x="333" y="297"/>
                    </a:cxn>
                    <a:cxn ang="0">
                      <a:pos x="400" y="277"/>
                    </a:cxn>
                    <a:cxn ang="0">
                      <a:pos x="411" y="243"/>
                    </a:cxn>
                    <a:cxn ang="0">
                      <a:pos x="413" y="225"/>
                    </a:cxn>
                    <a:cxn ang="0">
                      <a:pos x="424" y="210"/>
                    </a:cxn>
                    <a:cxn ang="0">
                      <a:pos x="437" y="199"/>
                    </a:cxn>
                    <a:cxn ang="0">
                      <a:pos x="440" y="191"/>
                    </a:cxn>
                    <a:cxn ang="0">
                      <a:pos x="425" y="158"/>
                    </a:cxn>
                    <a:cxn ang="0">
                      <a:pos x="411" y="147"/>
                    </a:cxn>
                    <a:cxn ang="0">
                      <a:pos x="412" y="137"/>
                    </a:cxn>
                    <a:cxn ang="0">
                      <a:pos x="428" y="123"/>
                    </a:cxn>
                    <a:cxn ang="0">
                      <a:pos x="405" y="99"/>
                    </a:cxn>
                    <a:cxn ang="0">
                      <a:pos x="392" y="91"/>
                    </a:cxn>
                    <a:cxn ang="0">
                      <a:pos x="364" y="73"/>
                    </a:cxn>
                    <a:cxn ang="0">
                      <a:pos x="337" y="45"/>
                    </a:cxn>
                    <a:cxn ang="0">
                      <a:pos x="285" y="47"/>
                    </a:cxn>
                    <a:cxn ang="0">
                      <a:pos x="248" y="43"/>
                    </a:cxn>
                    <a:cxn ang="0">
                      <a:pos x="233" y="41"/>
                    </a:cxn>
                    <a:cxn ang="0">
                      <a:pos x="191" y="25"/>
                    </a:cxn>
                    <a:cxn ang="0">
                      <a:pos x="165" y="26"/>
                    </a:cxn>
                    <a:cxn ang="0">
                      <a:pos x="157" y="25"/>
                    </a:cxn>
                    <a:cxn ang="0">
                      <a:pos x="139" y="18"/>
                    </a:cxn>
                    <a:cxn ang="0">
                      <a:pos x="116" y="17"/>
                    </a:cxn>
                    <a:cxn ang="0">
                      <a:pos x="56" y="0"/>
                    </a:cxn>
                    <a:cxn ang="0">
                      <a:pos x="11" y="50"/>
                    </a:cxn>
                    <a:cxn ang="0">
                      <a:pos x="0" y="62"/>
                    </a:cxn>
                    <a:cxn ang="0">
                      <a:pos x="12" y="99"/>
                    </a:cxn>
                    <a:cxn ang="0">
                      <a:pos x="23" y="122"/>
                    </a:cxn>
                  </a:cxnLst>
                  <a:rect l="0" t="0" r="r" b="b"/>
                  <a:pathLst>
                    <a:path w="448" h="357">
                      <a:moveTo>
                        <a:pt x="23" y="122"/>
                      </a:moveTo>
                      <a:cubicBezTo>
                        <a:pt x="31" y="127"/>
                        <a:pt x="31" y="127"/>
                        <a:pt x="31" y="127"/>
                      </a:cubicBezTo>
                      <a:cubicBezTo>
                        <a:pt x="29" y="151"/>
                        <a:pt x="29" y="151"/>
                        <a:pt x="29" y="151"/>
                      </a:cubicBezTo>
                      <a:cubicBezTo>
                        <a:pt x="36" y="158"/>
                        <a:pt x="36" y="158"/>
                        <a:pt x="36" y="158"/>
                      </a:cubicBezTo>
                      <a:cubicBezTo>
                        <a:pt x="25" y="173"/>
                        <a:pt x="25" y="173"/>
                        <a:pt x="25" y="173"/>
                      </a:cubicBezTo>
                      <a:cubicBezTo>
                        <a:pt x="35" y="177"/>
                        <a:pt x="35" y="177"/>
                        <a:pt x="35" y="177"/>
                      </a:cubicBezTo>
                      <a:cubicBezTo>
                        <a:pt x="33" y="187"/>
                        <a:pt x="33" y="187"/>
                        <a:pt x="33" y="187"/>
                      </a:cubicBezTo>
                      <a:cubicBezTo>
                        <a:pt x="48" y="199"/>
                        <a:pt x="48" y="199"/>
                        <a:pt x="48" y="199"/>
                      </a:cubicBezTo>
                      <a:cubicBezTo>
                        <a:pt x="57" y="202"/>
                        <a:pt x="57" y="202"/>
                        <a:pt x="57" y="202"/>
                      </a:cubicBezTo>
                      <a:cubicBezTo>
                        <a:pt x="56" y="214"/>
                        <a:pt x="56" y="214"/>
                        <a:pt x="56" y="214"/>
                      </a:cubicBezTo>
                      <a:cubicBezTo>
                        <a:pt x="69" y="221"/>
                        <a:pt x="69" y="221"/>
                        <a:pt x="69" y="221"/>
                      </a:cubicBezTo>
                      <a:cubicBezTo>
                        <a:pt x="71" y="246"/>
                        <a:pt x="71" y="246"/>
                        <a:pt x="71" y="246"/>
                      </a:cubicBezTo>
                      <a:cubicBezTo>
                        <a:pt x="71" y="246"/>
                        <a:pt x="95" y="261"/>
                        <a:pt x="97" y="253"/>
                      </a:cubicBezTo>
                      <a:cubicBezTo>
                        <a:pt x="101" y="254"/>
                        <a:pt x="103" y="267"/>
                        <a:pt x="103" y="267"/>
                      </a:cubicBezTo>
                      <a:cubicBezTo>
                        <a:pt x="113" y="269"/>
                        <a:pt x="113" y="269"/>
                        <a:pt x="113" y="269"/>
                      </a:cubicBezTo>
                      <a:cubicBezTo>
                        <a:pt x="113" y="269"/>
                        <a:pt x="101" y="295"/>
                        <a:pt x="111" y="303"/>
                      </a:cubicBezTo>
                      <a:cubicBezTo>
                        <a:pt x="120" y="311"/>
                        <a:pt x="127" y="301"/>
                        <a:pt x="135" y="301"/>
                      </a:cubicBezTo>
                      <a:cubicBezTo>
                        <a:pt x="143" y="301"/>
                        <a:pt x="153" y="301"/>
                        <a:pt x="153" y="301"/>
                      </a:cubicBezTo>
                      <a:cubicBezTo>
                        <a:pt x="160" y="287"/>
                        <a:pt x="160" y="287"/>
                        <a:pt x="160" y="287"/>
                      </a:cubicBezTo>
                      <a:cubicBezTo>
                        <a:pt x="167" y="290"/>
                        <a:pt x="167" y="290"/>
                        <a:pt x="167" y="290"/>
                      </a:cubicBezTo>
                      <a:cubicBezTo>
                        <a:pt x="169" y="301"/>
                        <a:pt x="169" y="301"/>
                        <a:pt x="169" y="301"/>
                      </a:cubicBezTo>
                      <a:cubicBezTo>
                        <a:pt x="183" y="293"/>
                        <a:pt x="183" y="293"/>
                        <a:pt x="183" y="293"/>
                      </a:cubicBezTo>
                      <a:cubicBezTo>
                        <a:pt x="199" y="298"/>
                        <a:pt x="199" y="298"/>
                        <a:pt x="199" y="298"/>
                      </a:cubicBezTo>
                      <a:cubicBezTo>
                        <a:pt x="201" y="297"/>
                        <a:pt x="201" y="297"/>
                        <a:pt x="201" y="297"/>
                      </a:cubicBezTo>
                      <a:cubicBezTo>
                        <a:pt x="205" y="313"/>
                        <a:pt x="205" y="313"/>
                        <a:pt x="205" y="313"/>
                      </a:cubicBezTo>
                      <a:cubicBezTo>
                        <a:pt x="205" y="313"/>
                        <a:pt x="232" y="319"/>
                        <a:pt x="229" y="338"/>
                      </a:cubicBezTo>
                      <a:cubicBezTo>
                        <a:pt x="228" y="349"/>
                        <a:pt x="222" y="352"/>
                        <a:pt x="218" y="353"/>
                      </a:cubicBezTo>
                      <a:cubicBezTo>
                        <a:pt x="273" y="354"/>
                        <a:pt x="273" y="354"/>
                        <a:pt x="273" y="354"/>
                      </a:cubicBezTo>
                      <a:cubicBezTo>
                        <a:pt x="273" y="346"/>
                        <a:pt x="273" y="346"/>
                        <a:pt x="273" y="346"/>
                      </a:cubicBezTo>
                      <a:cubicBezTo>
                        <a:pt x="285" y="346"/>
                        <a:pt x="285" y="346"/>
                        <a:pt x="285" y="346"/>
                      </a:cubicBezTo>
                      <a:cubicBezTo>
                        <a:pt x="285" y="357"/>
                        <a:pt x="285" y="357"/>
                        <a:pt x="285" y="357"/>
                      </a:cubicBezTo>
                      <a:cubicBezTo>
                        <a:pt x="285" y="357"/>
                        <a:pt x="308" y="353"/>
                        <a:pt x="316" y="345"/>
                      </a:cubicBezTo>
                      <a:cubicBezTo>
                        <a:pt x="324" y="337"/>
                        <a:pt x="339" y="313"/>
                        <a:pt x="339" y="313"/>
                      </a:cubicBezTo>
                      <a:cubicBezTo>
                        <a:pt x="333" y="297"/>
                        <a:pt x="333" y="297"/>
                        <a:pt x="333" y="297"/>
                      </a:cubicBezTo>
                      <a:cubicBezTo>
                        <a:pt x="341" y="277"/>
                        <a:pt x="341" y="277"/>
                        <a:pt x="341" y="277"/>
                      </a:cubicBezTo>
                      <a:cubicBezTo>
                        <a:pt x="400" y="277"/>
                        <a:pt x="400" y="277"/>
                        <a:pt x="400" y="277"/>
                      </a:cubicBezTo>
                      <a:cubicBezTo>
                        <a:pt x="415" y="269"/>
                        <a:pt x="415" y="269"/>
                        <a:pt x="415" y="269"/>
                      </a:cubicBezTo>
                      <a:cubicBezTo>
                        <a:pt x="411" y="243"/>
                        <a:pt x="411" y="243"/>
                        <a:pt x="411" y="243"/>
                      </a:cubicBezTo>
                      <a:cubicBezTo>
                        <a:pt x="420" y="234"/>
                        <a:pt x="420" y="234"/>
                        <a:pt x="420" y="234"/>
                      </a:cubicBezTo>
                      <a:cubicBezTo>
                        <a:pt x="413" y="225"/>
                        <a:pt x="413" y="225"/>
                        <a:pt x="413" y="225"/>
                      </a:cubicBezTo>
                      <a:cubicBezTo>
                        <a:pt x="428" y="222"/>
                        <a:pt x="428" y="222"/>
                        <a:pt x="428" y="222"/>
                      </a:cubicBezTo>
                      <a:cubicBezTo>
                        <a:pt x="424" y="210"/>
                        <a:pt x="424" y="210"/>
                        <a:pt x="424" y="210"/>
                      </a:cubicBezTo>
                      <a:cubicBezTo>
                        <a:pt x="436" y="210"/>
                        <a:pt x="436" y="210"/>
                        <a:pt x="436" y="210"/>
                      </a:cubicBezTo>
                      <a:cubicBezTo>
                        <a:pt x="437" y="199"/>
                        <a:pt x="437" y="199"/>
                        <a:pt x="437" y="199"/>
                      </a:cubicBezTo>
                      <a:cubicBezTo>
                        <a:pt x="448" y="201"/>
                        <a:pt x="448" y="201"/>
                        <a:pt x="448" y="201"/>
                      </a:cubicBezTo>
                      <a:cubicBezTo>
                        <a:pt x="440" y="191"/>
                        <a:pt x="440" y="191"/>
                        <a:pt x="440" y="191"/>
                      </a:cubicBezTo>
                      <a:cubicBezTo>
                        <a:pt x="424" y="190"/>
                        <a:pt x="424" y="190"/>
                        <a:pt x="424" y="190"/>
                      </a:cubicBezTo>
                      <a:cubicBezTo>
                        <a:pt x="425" y="158"/>
                        <a:pt x="425" y="158"/>
                        <a:pt x="425" y="158"/>
                      </a:cubicBezTo>
                      <a:cubicBezTo>
                        <a:pt x="411" y="157"/>
                        <a:pt x="411" y="157"/>
                        <a:pt x="411" y="157"/>
                      </a:cubicBezTo>
                      <a:cubicBezTo>
                        <a:pt x="411" y="147"/>
                        <a:pt x="411" y="147"/>
                        <a:pt x="411" y="147"/>
                      </a:cubicBezTo>
                      <a:cubicBezTo>
                        <a:pt x="419" y="146"/>
                        <a:pt x="419" y="146"/>
                        <a:pt x="419" y="146"/>
                      </a:cubicBezTo>
                      <a:cubicBezTo>
                        <a:pt x="412" y="137"/>
                        <a:pt x="412" y="137"/>
                        <a:pt x="412" y="137"/>
                      </a:cubicBezTo>
                      <a:cubicBezTo>
                        <a:pt x="428" y="130"/>
                        <a:pt x="428" y="130"/>
                        <a:pt x="428" y="130"/>
                      </a:cubicBezTo>
                      <a:cubicBezTo>
                        <a:pt x="428" y="123"/>
                        <a:pt x="428" y="123"/>
                        <a:pt x="428" y="123"/>
                      </a:cubicBezTo>
                      <a:cubicBezTo>
                        <a:pt x="424" y="122"/>
                        <a:pt x="413" y="118"/>
                        <a:pt x="409" y="118"/>
                      </a:cubicBezTo>
                      <a:cubicBezTo>
                        <a:pt x="405" y="118"/>
                        <a:pt x="405" y="99"/>
                        <a:pt x="405" y="99"/>
                      </a:cubicBezTo>
                      <a:cubicBezTo>
                        <a:pt x="395" y="99"/>
                        <a:pt x="395" y="99"/>
                        <a:pt x="395" y="99"/>
                      </a:cubicBezTo>
                      <a:cubicBezTo>
                        <a:pt x="392" y="91"/>
                        <a:pt x="392" y="91"/>
                        <a:pt x="392" y="91"/>
                      </a:cubicBezTo>
                      <a:cubicBezTo>
                        <a:pt x="392" y="91"/>
                        <a:pt x="379" y="101"/>
                        <a:pt x="380" y="93"/>
                      </a:cubicBezTo>
                      <a:cubicBezTo>
                        <a:pt x="381" y="85"/>
                        <a:pt x="365" y="78"/>
                        <a:pt x="364" y="73"/>
                      </a:cubicBezTo>
                      <a:cubicBezTo>
                        <a:pt x="368" y="41"/>
                        <a:pt x="344" y="39"/>
                        <a:pt x="344" y="39"/>
                      </a:cubicBezTo>
                      <a:cubicBezTo>
                        <a:pt x="337" y="45"/>
                        <a:pt x="337" y="45"/>
                        <a:pt x="337" y="45"/>
                      </a:cubicBezTo>
                      <a:cubicBezTo>
                        <a:pt x="299" y="55"/>
                        <a:pt x="299" y="55"/>
                        <a:pt x="299" y="55"/>
                      </a:cubicBezTo>
                      <a:cubicBezTo>
                        <a:pt x="285" y="47"/>
                        <a:pt x="285" y="47"/>
                        <a:pt x="285" y="47"/>
                      </a:cubicBezTo>
                      <a:cubicBezTo>
                        <a:pt x="285" y="47"/>
                        <a:pt x="276" y="57"/>
                        <a:pt x="268" y="54"/>
                      </a:cubicBezTo>
                      <a:cubicBezTo>
                        <a:pt x="260" y="51"/>
                        <a:pt x="255" y="47"/>
                        <a:pt x="248" y="43"/>
                      </a:cubicBezTo>
                      <a:cubicBezTo>
                        <a:pt x="241" y="39"/>
                        <a:pt x="239" y="51"/>
                        <a:pt x="239" y="51"/>
                      </a:cubicBezTo>
                      <a:cubicBezTo>
                        <a:pt x="233" y="41"/>
                        <a:pt x="233" y="41"/>
                        <a:pt x="233" y="41"/>
                      </a:cubicBezTo>
                      <a:cubicBezTo>
                        <a:pt x="233" y="41"/>
                        <a:pt x="215" y="49"/>
                        <a:pt x="220" y="45"/>
                      </a:cubicBezTo>
                      <a:cubicBezTo>
                        <a:pt x="225" y="41"/>
                        <a:pt x="207" y="29"/>
                        <a:pt x="191" y="25"/>
                      </a:cubicBezTo>
                      <a:cubicBezTo>
                        <a:pt x="178" y="22"/>
                        <a:pt x="182" y="18"/>
                        <a:pt x="184" y="17"/>
                      </a:cubicBezTo>
                      <a:cubicBezTo>
                        <a:pt x="165" y="26"/>
                        <a:pt x="165" y="26"/>
                        <a:pt x="165" y="26"/>
                      </a:cubicBezTo>
                      <a:cubicBezTo>
                        <a:pt x="161" y="18"/>
                        <a:pt x="161" y="18"/>
                        <a:pt x="161" y="18"/>
                      </a:cubicBezTo>
                      <a:cubicBezTo>
                        <a:pt x="157" y="25"/>
                        <a:pt x="157" y="25"/>
                        <a:pt x="157" y="25"/>
                      </a:cubicBezTo>
                      <a:cubicBezTo>
                        <a:pt x="148" y="15"/>
                        <a:pt x="148" y="15"/>
                        <a:pt x="148" y="15"/>
                      </a:cubicBezTo>
                      <a:cubicBezTo>
                        <a:pt x="139" y="18"/>
                        <a:pt x="139" y="18"/>
                        <a:pt x="139" y="18"/>
                      </a:cubicBezTo>
                      <a:cubicBezTo>
                        <a:pt x="132" y="13"/>
                        <a:pt x="132" y="13"/>
                        <a:pt x="132" y="13"/>
                      </a:cubicBezTo>
                      <a:cubicBezTo>
                        <a:pt x="116" y="17"/>
                        <a:pt x="116" y="17"/>
                        <a:pt x="116" y="17"/>
                      </a:cubicBezTo>
                      <a:cubicBezTo>
                        <a:pt x="64" y="21"/>
                        <a:pt x="64" y="21"/>
                        <a:pt x="64" y="21"/>
                      </a:cubicBezTo>
                      <a:cubicBezTo>
                        <a:pt x="56" y="0"/>
                        <a:pt x="56" y="0"/>
                        <a:pt x="56" y="0"/>
                      </a:cubicBezTo>
                      <a:cubicBezTo>
                        <a:pt x="39" y="47"/>
                        <a:pt x="39" y="47"/>
                        <a:pt x="39" y="47"/>
                      </a:cubicBezTo>
                      <a:cubicBezTo>
                        <a:pt x="11" y="50"/>
                        <a:pt x="11" y="50"/>
                        <a:pt x="11" y="50"/>
                      </a:cubicBezTo>
                      <a:cubicBezTo>
                        <a:pt x="11" y="50"/>
                        <a:pt x="9" y="57"/>
                        <a:pt x="13" y="57"/>
                      </a:cubicBezTo>
                      <a:cubicBezTo>
                        <a:pt x="17" y="57"/>
                        <a:pt x="0" y="62"/>
                        <a:pt x="0" y="62"/>
                      </a:cubicBezTo>
                      <a:cubicBezTo>
                        <a:pt x="13" y="98"/>
                        <a:pt x="13" y="98"/>
                        <a:pt x="13" y="98"/>
                      </a:cubicBezTo>
                      <a:cubicBezTo>
                        <a:pt x="12" y="99"/>
                        <a:pt x="12" y="99"/>
                        <a:pt x="12" y="99"/>
                      </a:cubicBezTo>
                      <a:cubicBezTo>
                        <a:pt x="27" y="113"/>
                        <a:pt x="27" y="113"/>
                        <a:pt x="27" y="113"/>
                      </a:cubicBezTo>
                      <a:lnTo>
                        <a:pt x="23" y="122"/>
                      </a:ln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83" name="Champagne-Ardenne" descr="© INSCALE GmbH, 05.05.2010&#10;http://www.presentationload.com/">
                  <a:extLst>
                    <a:ext uri="{FF2B5EF4-FFF2-40B4-BE49-F238E27FC236}">
                      <a16:creationId xmlns:a16="http://schemas.microsoft.com/office/drawing/2014/main" id="{59A03AD4-1C49-4100-87BA-7B300E03BEF6}"/>
                    </a:ext>
                  </a:extLst>
                </p:cNvPr>
                <p:cNvSpPr>
                  <a:spLocks/>
                </p:cNvSpPr>
                <p:nvPr/>
              </p:nvSpPr>
              <p:spPr bwMode="gray">
                <a:xfrm>
                  <a:off x="2008" y="466"/>
                  <a:ext cx="578" cy="893"/>
                </a:xfrm>
                <a:custGeom>
                  <a:avLst/>
                  <a:gdLst/>
                  <a:ahLst/>
                  <a:cxnLst>
                    <a:cxn ang="0">
                      <a:pos x="514" y="699"/>
                    </a:cxn>
                    <a:cxn ang="0">
                      <a:pos x="493" y="668"/>
                    </a:cxn>
                    <a:cxn ang="0">
                      <a:pos x="497" y="623"/>
                    </a:cxn>
                    <a:cxn ang="0">
                      <a:pos x="465" y="599"/>
                    </a:cxn>
                    <a:cxn ang="0">
                      <a:pos x="432" y="580"/>
                    </a:cxn>
                    <a:cxn ang="0">
                      <a:pos x="429" y="563"/>
                    </a:cxn>
                    <a:cxn ang="0">
                      <a:pos x="381" y="521"/>
                    </a:cxn>
                    <a:cxn ang="0">
                      <a:pos x="341" y="497"/>
                    </a:cxn>
                    <a:cxn ang="0">
                      <a:pos x="322" y="425"/>
                    </a:cxn>
                    <a:cxn ang="0">
                      <a:pos x="333" y="363"/>
                    </a:cxn>
                    <a:cxn ang="0">
                      <a:pos x="324" y="299"/>
                    </a:cxn>
                    <a:cxn ang="0">
                      <a:pos x="354" y="240"/>
                    </a:cxn>
                    <a:cxn ang="0">
                      <a:pos x="365" y="192"/>
                    </a:cxn>
                    <a:cxn ang="0">
                      <a:pos x="394" y="184"/>
                    </a:cxn>
                    <a:cxn ang="0">
                      <a:pos x="416" y="161"/>
                    </a:cxn>
                    <a:cxn ang="0">
                      <a:pos x="351" y="115"/>
                    </a:cxn>
                    <a:cxn ang="0">
                      <a:pos x="321" y="99"/>
                    </a:cxn>
                    <a:cxn ang="0">
                      <a:pos x="301" y="55"/>
                    </a:cxn>
                    <a:cxn ang="0">
                      <a:pos x="320" y="8"/>
                    </a:cxn>
                    <a:cxn ang="0">
                      <a:pos x="282" y="21"/>
                    </a:cxn>
                    <a:cxn ang="0">
                      <a:pos x="230" y="63"/>
                    </a:cxn>
                    <a:cxn ang="0">
                      <a:pos x="175" y="57"/>
                    </a:cxn>
                    <a:cxn ang="0">
                      <a:pos x="164" y="128"/>
                    </a:cxn>
                    <a:cxn ang="0">
                      <a:pos x="141" y="177"/>
                    </a:cxn>
                    <a:cxn ang="0">
                      <a:pos x="129" y="215"/>
                    </a:cxn>
                    <a:cxn ang="0">
                      <a:pos x="94" y="257"/>
                    </a:cxn>
                    <a:cxn ang="0">
                      <a:pos x="56" y="301"/>
                    </a:cxn>
                    <a:cxn ang="0">
                      <a:pos x="42" y="339"/>
                    </a:cxn>
                    <a:cxn ang="0">
                      <a:pos x="38" y="368"/>
                    </a:cxn>
                    <a:cxn ang="0">
                      <a:pos x="28" y="409"/>
                    </a:cxn>
                    <a:cxn ang="0">
                      <a:pos x="17" y="436"/>
                    </a:cxn>
                    <a:cxn ang="0">
                      <a:pos x="0" y="453"/>
                    </a:cxn>
                    <a:cxn ang="0">
                      <a:pos x="13" y="496"/>
                    </a:cxn>
                    <a:cxn ang="0">
                      <a:pos x="26" y="505"/>
                    </a:cxn>
                    <a:cxn ang="0">
                      <a:pos x="17" y="528"/>
                    </a:cxn>
                    <a:cxn ang="0">
                      <a:pos x="0" y="549"/>
                    </a:cxn>
                    <a:cxn ang="0">
                      <a:pos x="14" y="583"/>
                    </a:cxn>
                    <a:cxn ang="0">
                      <a:pos x="44" y="644"/>
                    </a:cxn>
                    <a:cxn ang="0">
                      <a:pos x="68" y="653"/>
                    </a:cxn>
                    <a:cxn ang="0">
                      <a:pos x="76" y="656"/>
                    </a:cxn>
                    <a:cxn ang="0">
                      <a:pos x="108" y="720"/>
                    </a:cxn>
                    <a:cxn ang="0">
                      <a:pos x="156" y="723"/>
                    </a:cxn>
                    <a:cxn ang="0">
                      <a:pos x="173" y="707"/>
                    </a:cxn>
                    <a:cxn ang="0">
                      <a:pos x="197" y="723"/>
                    </a:cxn>
                    <a:cxn ang="0">
                      <a:pos x="301" y="691"/>
                    </a:cxn>
                    <a:cxn ang="0">
                      <a:pos x="318" y="713"/>
                    </a:cxn>
                    <a:cxn ang="0">
                      <a:pos x="325" y="719"/>
                    </a:cxn>
                    <a:cxn ang="0">
                      <a:pos x="332" y="767"/>
                    </a:cxn>
                    <a:cxn ang="0">
                      <a:pos x="353" y="787"/>
                    </a:cxn>
                    <a:cxn ang="0">
                      <a:pos x="388" y="807"/>
                    </a:cxn>
                    <a:cxn ang="0">
                      <a:pos x="421" y="816"/>
                    </a:cxn>
                    <a:cxn ang="0">
                      <a:pos x="468" y="792"/>
                    </a:cxn>
                    <a:cxn ang="0">
                      <a:pos x="500" y="788"/>
                    </a:cxn>
                    <a:cxn ang="0">
                      <a:pos x="497" y="747"/>
                    </a:cxn>
                    <a:cxn ang="0">
                      <a:pos x="525" y="735"/>
                    </a:cxn>
                    <a:cxn ang="0">
                      <a:pos x="530" y="697"/>
                    </a:cxn>
                  </a:cxnLst>
                  <a:rect l="0" t="0" r="r" b="b"/>
                  <a:pathLst>
                    <a:path w="536" h="828">
                      <a:moveTo>
                        <a:pt x="530" y="697"/>
                      </a:moveTo>
                      <a:cubicBezTo>
                        <a:pt x="517" y="701"/>
                        <a:pt x="517" y="701"/>
                        <a:pt x="517" y="701"/>
                      </a:cubicBezTo>
                      <a:cubicBezTo>
                        <a:pt x="514" y="699"/>
                        <a:pt x="514" y="699"/>
                        <a:pt x="514" y="699"/>
                      </a:cubicBezTo>
                      <a:cubicBezTo>
                        <a:pt x="514" y="701"/>
                        <a:pt x="514" y="701"/>
                        <a:pt x="514" y="701"/>
                      </a:cubicBezTo>
                      <a:cubicBezTo>
                        <a:pt x="513" y="681"/>
                        <a:pt x="513" y="681"/>
                        <a:pt x="513" y="681"/>
                      </a:cubicBezTo>
                      <a:cubicBezTo>
                        <a:pt x="493" y="668"/>
                        <a:pt x="493" y="668"/>
                        <a:pt x="493" y="668"/>
                      </a:cubicBezTo>
                      <a:cubicBezTo>
                        <a:pt x="476" y="664"/>
                        <a:pt x="476" y="664"/>
                        <a:pt x="476" y="664"/>
                      </a:cubicBezTo>
                      <a:cubicBezTo>
                        <a:pt x="486" y="652"/>
                        <a:pt x="486" y="652"/>
                        <a:pt x="486" y="652"/>
                      </a:cubicBezTo>
                      <a:cubicBezTo>
                        <a:pt x="486" y="652"/>
                        <a:pt x="486" y="628"/>
                        <a:pt x="497" y="623"/>
                      </a:cubicBezTo>
                      <a:cubicBezTo>
                        <a:pt x="490" y="612"/>
                        <a:pt x="490" y="612"/>
                        <a:pt x="490" y="612"/>
                      </a:cubicBezTo>
                      <a:cubicBezTo>
                        <a:pt x="481" y="611"/>
                        <a:pt x="481" y="611"/>
                        <a:pt x="481" y="611"/>
                      </a:cubicBezTo>
                      <a:cubicBezTo>
                        <a:pt x="481" y="611"/>
                        <a:pt x="481" y="588"/>
                        <a:pt x="465" y="599"/>
                      </a:cubicBezTo>
                      <a:cubicBezTo>
                        <a:pt x="452" y="576"/>
                        <a:pt x="452" y="576"/>
                        <a:pt x="452" y="576"/>
                      </a:cubicBezTo>
                      <a:cubicBezTo>
                        <a:pt x="452" y="576"/>
                        <a:pt x="442" y="573"/>
                        <a:pt x="436" y="577"/>
                      </a:cubicBezTo>
                      <a:cubicBezTo>
                        <a:pt x="435" y="579"/>
                        <a:pt x="434" y="581"/>
                        <a:pt x="432" y="580"/>
                      </a:cubicBezTo>
                      <a:cubicBezTo>
                        <a:pt x="433" y="579"/>
                        <a:pt x="434" y="578"/>
                        <a:pt x="436" y="577"/>
                      </a:cubicBezTo>
                      <a:cubicBezTo>
                        <a:pt x="436" y="574"/>
                        <a:pt x="434" y="571"/>
                        <a:pt x="434" y="571"/>
                      </a:cubicBezTo>
                      <a:cubicBezTo>
                        <a:pt x="429" y="563"/>
                        <a:pt x="429" y="563"/>
                        <a:pt x="429" y="563"/>
                      </a:cubicBezTo>
                      <a:cubicBezTo>
                        <a:pt x="441" y="557"/>
                        <a:pt x="441" y="557"/>
                        <a:pt x="441" y="557"/>
                      </a:cubicBezTo>
                      <a:cubicBezTo>
                        <a:pt x="441" y="557"/>
                        <a:pt x="400" y="521"/>
                        <a:pt x="383" y="521"/>
                      </a:cubicBezTo>
                      <a:cubicBezTo>
                        <a:pt x="383" y="522"/>
                        <a:pt x="382" y="522"/>
                        <a:pt x="381" y="521"/>
                      </a:cubicBezTo>
                      <a:cubicBezTo>
                        <a:pt x="382" y="521"/>
                        <a:pt x="382" y="521"/>
                        <a:pt x="383" y="521"/>
                      </a:cubicBezTo>
                      <a:cubicBezTo>
                        <a:pt x="384" y="518"/>
                        <a:pt x="349" y="491"/>
                        <a:pt x="349" y="491"/>
                      </a:cubicBezTo>
                      <a:cubicBezTo>
                        <a:pt x="341" y="497"/>
                        <a:pt x="341" y="497"/>
                        <a:pt x="341" y="497"/>
                      </a:cubicBezTo>
                      <a:cubicBezTo>
                        <a:pt x="342" y="457"/>
                        <a:pt x="342" y="457"/>
                        <a:pt x="342" y="457"/>
                      </a:cubicBezTo>
                      <a:cubicBezTo>
                        <a:pt x="316" y="439"/>
                        <a:pt x="316" y="439"/>
                        <a:pt x="316" y="439"/>
                      </a:cubicBezTo>
                      <a:cubicBezTo>
                        <a:pt x="322" y="425"/>
                        <a:pt x="322" y="425"/>
                        <a:pt x="322" y="425"/>
                      </a:cubicBezTo>
                      <a:cubicBezTo>
                        <a:pt x="320" y="404"/>
                        <a:pt x="320" y="404"/>
                        <a:pt x="320" y="404"/>
                      </a:cubicBezTo>
                      <a:cubicBezTo>
                        <a:pt x="320" y="404"/>
                        <a:pt x="344" y="395"/>
                        <a:pt x="342" y="385"/>
                      </a:cubicBezTo>
                      <a:cubicBezTo>
                        <a:pt x="341" y="376"/>
                        <a:pt x="344" y="357"/>
                        <a:pt x="333" y="363"/>
                      </a:cubicBezTo>
                      <a:cubicBezTo>
                        <a:pt x="336" y="359"/>
                        <a:pt x="320" y="313"/>
                        <a:pt x="320" y="313"/>
                      </a:cubicBezTo>
                      <a:cubicBezTo>
                        <a:pt x="330" y="305"/>
                        <a:pt x="330" y="305"/>
                        <a:pt x="330" y="305"/>
                      </a:cubicBezTo>
                      <a:cubicBezTo>
                        <a:pt x="324" y="299"/>
                        <a:pt x="324" y="299"/>
                        <a:pt x="324" y="299"/>
                      </a:cubicBezTo>
                      <a:cubicBezTo>
                        <a:pt x="341" y="287"/>
                        <a:pt x="341" y="287"/>
                        <a:pt x="341" y="287"/>
                      </a:cubicBezTo>
                      <a:cubicBezTo>
                        <a:pt x="341" y="287"/>
                        <a:pt x="333" y="275"/>
                        <a:pt x="337" y="269"/>
                      </a:cubicBezTo>
                      <a:cubicBezTo>
                        <a:pt x="341" y="264"/>
                        <a:pt x="354" y="240"/>
                        <a:pt x="354" y="240"/>
                      </a:cubicBezTo>
                      <a:cubicBezTo>
                        <a:pt x="354" y="240"/>
                        <a:pt x="354" y="225"/>
                        <a:pt x="342" y="211"/>
                      </a:cubicBezTo>
                      <a:cubicBezTo>
                        <a:pt x="346" y="213"/>
                        <a:pt x="348" y="187"/>
                        <a:pt x="348" y="187"/>
                      </a:cubicBezTo>
                      <a:cubicBezTo>
                        <a:pt x="365" y="192"/>
                        <a:pt x="365" y="192"/>
                        <a:pt x="365" y="192"/>
                      </a:cubicBezTo>
                      <a:cubicBezTo>
                        <a:pt x="374" y="192"/>
                        <a:pt x="374" y="192"/>
                        <a:pt x="374" y="192"/>
                      </a:cubicBezTo>
                      <a:cubicBezTo>
                        <a:pt x="386" y="199"/>
                        <a:pt x="386" y="199"/>
                        <a:pt x="386" y="199"/>
                      </a:cubicBezTo>
                      <a:cubicBezTo>
                        <a:pt x="394" y="184"/>
                        <a:pt x="394" y="184"/>
                        <a:pt x="394" y="184"/>
                      </a:cubicBezTo>
                      <a:cubicBezTo>
                        <a:pt x="408" y="183"/>
                        <a:pt x="408" y="183"/>
                        <a:pt x="408" y="183"/>
                      </a:cubicBezTo>
                      <a:cubicBezTo>
                        <a:pt x="420" y="162"/>
                        <a:pt x="420" y="162"/>
                        <a:pt x="420" y="162"/>
                      </a:cubicBezTo>
                      <a:cubicBezTo>
                        <a:pt x="417" y="162"/>
                        <a:pt x="416" y="161"/>
                        <a:pt x="416" y="161"/>
                      </a:cubicBezTo>
                      <a:cubicBezTo>
                        <a:pt x="420" y="146"/>
                        <a:pt x="412" y="145"/>
                        <a:pt x="412" y="145"/>
                      </a:cubicBezTo>
                      <a:cubicBezTo>
                        <a:pt x="412" y="145"/>
                        <a:pt x="402" y="139"/>
                        <a:pt x="385" y="140"/>
                      </a:cubicBezTo>
                      <a:cubicBezTo>
                        <a:pt x="369" y="118"/>
                        <a:pt x="358" y="115"/>
                        <a:pt x="351" y="115"/>
                      </a:cubicBezTo>
                      <a:cubicBezTo>
                        <a:pt x="346" y="106"/>
                        <a:pt x="344" y="108"/>
                        <a:pt x="334" y="109"/>
                      </a:cubicBezTo>
                      <a:cubicBezTo>
                        <a:pt x="325" y="118"/>
                        <a:pt x="316" y="104"/>
                        <a:pt x="316" y="104"/>
                      </a:cubicBezTo>
                      <a:cubicBezTo>
                        <a:pt x="321" y="99"/>
                        <a:pt x="321" y="99"/>
                        <a:pt x="321" y="99"/>
                      </a:cubicBezTo>
                      <a:cubicBezTo>
                        <a:pt x="321" y="99"/>
                        <a:pt x="319" y="96"/>
                        <a:pt x="315" y="89"/>
                      </a:cubicBezTo>
                      <a:cubicBezTo>
                        <a:pt x="322" y="83"/>
                        <a:pt x="321" y="72"/>
                        <a:pt x="321" y="72"/>
                      </a:cubicBezTo>
                      <a:cubicBezTo>
                        <a:pt x="321" y="72"/>
                        <a:pt x="296" y="57"/>
                        <a:pt x="301" y="55"/>
                      </a:cubicBezTo>
                      <a:cubicBezTo>
                        <a:pt x="306" y="53"/>
                        <a:pt x="311" y="35"/>
                        <a:pt x="311" y="35"/>
                      </a:cubicBezTo>
                      <a:cubicBezTo>
                        <a:pt x="308" y="25"/>
                        <a:pt x="308" y="25"/>
                        <a:pt x="308" y="25"/>
                      </a:cubicBezTo>
                      <a:cubicBezTo>
                        <a:pt x="308" y="25"/>
                        <a:pt x="319" y="13"/>
                        <a:pt x="320" y="8"/>
                      </a:cubicBezTo>
                      <a:cubicBezTo>
                        <a:pt x="321" y="3"/>
                        <a:pt x="311" y="0"/>
                        <a:pt x="303" y="0"/>
                      </a:cubicBezTo>
                      <a:cubicBezTo>
                        <a:pt x="295" y="0"/>
                        <a:pt x="289" y="17"/>
                        <a:pt x="289" y="17"/>
                      </a:cubicBezTo>
                      <a:cubicBezTo>
                        <a:pt x="289" y="17"/>
                        <a:pt x="286" y="17"/>
                        <a:pt x="282" y="21"/>
                      </a:cubicBezTo>
                      <a:cubicBezTo>
                        <a:pt x="278" y="25"/>
                        <a:pt x="280" y="45"/>
                        <a:pt x="279" y="49"/>
                      </a:cubicBezTo>
                      <a:cubicBezTo>
                        <a:pt x="278" y="53"/>
                        <a:pt x="263" y="50"/>
                        <a:pt x="254" y="49"/>
                      </a:cubicBezTo>
                      <a:cubicBezTo>
                        <a:pt x="249" y="63"/>
                        <a:pt x="236" y="63"/>
                        <a:pt x="230" y="63"/>
                      </a:cubicBezTo>
                      <a:cubicBezTo>
                        <a:pt x="224" y="63"/>
                        <a:pt x="207" y="56"/>
                        <a:pt x="199" y="55"/>
                      </a:cubicBezTo>
                      <a:cubicBezTo>
                        <a:pt x="191" y="54"/>
                        <a:pt x="187" y="59"/>
                        <a:pt x="181" y="60"/>
                      </a:cubicBezTo>
                      <a:cubicBezTo>
                        <a:pt x="179" y="61"/>
                        <a:pt x="176" y="59"/>
                        <a:pt x="175" y="57"/>
                      </a:cubicBezTo>
                      <a:cubicBezTo>
                        <a:pt x="174" y="57"/>
                        <a:pt x="174" y="58"/>
                        <a:pt x="174" y="58"/>
                      </a:cubicBezTo>
                      <a:cubicBezTo>
                        <a:pt x="160" y="78"/>
                        <a:pt x="169" y="91"/>
                        <a:pt x="169" y="91"/>
                      </a:cubicBezTo>
                      <a:cubicBezTo>
                        <a:pt x="164" y="128"/>
                        <a:pt x="164" y="128"/>
                        <a:pt x="164" y="128"/>
                      </a:cubicBezTo>
                      <a:cubicBezTo>
                        <a:pt x="170" y="135"/>
                        <a:pt x="170" y="135"/>
                        <a:pt x="170" y="135"/>
                      </a:cubicBezTo>
                      <a:cubicBezTo>
                        <a:pt x="148" y="163"/>
                        <a:pt x="148" y="163"/>
                        <a:pt x="148" y="163"/>
                      </a:cubicBezTo>
                      <a:cubicBezTo>
                        <a:pt x="141" y="177"/>
                        <a:pt x="141" y="177"/>
                        <a:pt x="141" y="177"/>
                      </a:cubicBezTo>
                      <a:cubicBezTo>
                        <a:pt x="125" y="179"/>
                        <a:pt x="125" y="179"/>
                        <a:pt x="125" y="179"/>
                      </a:cubicBezTo>
                      <a:cubicBezTo>
                        <a:pt x="137" y="208"/>
                        <a:pt x="137" y="208"/>
                        <a:pt x="137" y="208"/>
                      </a:cubicBezTo>
                      <a:cubicBezTo>
                        <a:pt x="129" y="215"/>
                        <a:pt x="129" y="215"/>
                        <a:pt x="129" y="215"/>
                      </a:cubicBezTo>
                      <a:cubicBezTo>
                        <a:pt x="129" y="215"/>
                        <a:pt x="134" y="264"/>
                        <a:pt x="129" y="264"/>
                      </a:cubicBezTo>
                      <a:cubicBezTo>
                        <a:pt x="124" y="264"/>
                        <a:pt x="105" y="251"/>
                        <a:pt x="105" y="251"/>
                      </a:cubicBezTo>
                      <a:cubicBezTo>
                        <a:pt x="94" y="257"/>
                        <a:pt x="94" y="257"/>
                        <a:pt x="94" y="257"/>
                      </a:cubicBezTo>
                      <a:cubicBezTo>
                        <a:pt x="94" y="257"/>
                        <a:pt x="93" y="267"/>
                        <a:pt x="89" y="268"/>
                      </a:cubicBezTo>
                      <a:cubicBezTo>
                        <a:pt x="72" y="263"/>
                        <a:pt x="50" y="281"/>
                        <a:pt x="50" y="281"/>
                      </a:cubicBezTo>
                      <a:cubicBezTo>
                        <a:pt x="56" y="301"/>
                        <a:pt x="56" y="301"/>
                        <a:pt x="56" y="301"/>
                      </a:cubicBezTo>
                      <a:cubicBezTo>
                        <a:pt x="50" y="312"/>
                        <a:pt x="50" y="312"/>
                        <a:pt x="50" y="312"/>
                      </a:cubicBezTo>
                      <a:cubicBezTo>
                        <a:pt x="69" y="328"/>
                        <a:pt x="69" y="328"/>
                        <a:pt x="69" y="328"/>
                      </a:cubicBezTo>
                      <a:cubicBezTo>
                        <a:pt x="69" y="328"/>
                        <a:pt x="45" y="333"/>
                        <a:pt x="42" y="339"/>
                      </a:cubicBezTo>
                      <a:cubicBezTo>
                        <a:pt x="40" y="344"/>
                        <a:pt x="48" y="356"/>
                        <a:pt x="48" y="356"/>
                      </a:cubicBezTo>
                      <a:cubicBezTo>
                        <a:pt x="40" y="363"/>
                        <a:pt x="40" y="363"/>
                        <a:pt x="40" y="363"/>
                      </a:cubicBezTo>
                      <a:cubicBezTo>
                        <a:pt x="38" y="368"/>
                        <a:pt x="38" y="368"/>
                        <a:pt x="38" y="368"/>
                      </a:cubicBezTo>
                      <a:cubicBezTo>
                        <a:pt x="38" y="368"/>
                        <a:pt x="50" y="367"/>
                        <a:pt x="57" y="372"/>
                      </a:cubicBezTo>
                      <a:cubicBezTo>
                        <a:pt x="64" y="377"/>
                        <a:pt x="34" y="407"/>
                        <a:pt x="34" y="407"/>
                      </a:cubicBezTo>
                      <a:cubicBezTo>
                        <a:pt x="28" y="409"/>
                        <a:pt x="28" y="409"/>
                        <a:pt x="28" y="409"/>
                      </a:cubicBezTo>
                      <a:cubicBezTo>
                        <a:pt x="18" y="429"/>
                        <a:pt x="18" y="429"/>
                        <a:pt x="18" y="429"/>
                      </a:cubicBezTo>
                      <a:cubicBezTo>
                        <a:pt x="18" y="429"/>
                        <a:pt x="18" y="429"/>
                        <a:pt x="17" y="429"/>
                      </a:cubicBezTo>
                      <a:cubicBezTo>
                        <a:pt x="17" y="436"/>
                        <a:pt x="17" y="436"/>
                        <a:pt x="17" y="436"/>
                      </a:cubicBezTo>
                      <a:cubicBezTo>
                        <a:pt x="1" y="443"/>
                        <a:pt x="1" y="443"/>
                        <a:pt x="1" y="443"/>
                      </a:cubicBezTo>
                      <a:cubicBezTo>
                        <a:pt x="8" y="452"/>
                        <a:pt x="8" y="452"/>
                        <a:pt x="8" y="452"/>
                      </a:cubicBezTo>
                      <a:cubicBezTo>
                        <a:pt x="0" y="453"/>
                        <a:pt x="0" y="453"/>
                        <a:pt x="0" y="453"/>
                      </a:cubicBezTo>
                      <a:cubicBezTo>
                        <a:pt x="0" y="463"/>
                        <a:pt x="0" y="463"/>
                        <a:pt x="0" y="463"/>
                      </a:cubicBezTo>
                      <a:cubicBezTo>
                        <a:pt x="14" y="464"/>
                        <a:pt x="14" y="464"/>
                        <a:pt x="14" y="464"/>
                      </a:cubicBezTo>
                      <a:cubicBezTo>
                        <a:pt x="13" y="496"/>
                        <a:pt x="13" y="496"/>
                        <a:pt x="13" y="496"/>
                      </a:cubicBezTo>
                      <a:cubicBezTo>
                        <a:pt x="29" y="497"/>
                        <a:pt x="29" y="497"/>
                        <a:pt x="29" y="497"/>
                      </a:cubicBezTo>
                      <a:cubicBezTo>
                        <a:pt x="37" y="507"/>
                        <a:pt x="37" y="507"/>
                        <a:pt x="37" y="507"/>
                      </a:cubicBezTo>
                      <a:cubicBezTo>
                        <a:pt x="26" y="505"/>
                        <a:pt x="26" y="505"/>
                        <a:pt x="26" y="505"/>
                      </a:cubicBezTo>
                      <a:cubicBezTo>
                        <a:pt x="25" y="516"/>
                        <a:pt x="25" y="516"/>
                        <a:pt x="25" y="516"/>
                      </a:cubicBezTo>
                      <a:cubicBezTo>
                        <a:pt x="13" y="516"/>
                        <a:pt x="13" y="516"/>
                        <a:pt x="13" y="516"/>
                      </a:cubicBezTo>
                      <a:cubicBezTo>
                        <a:pt x="17" y="528"/>
                        <a:pt x="17" y="528"/>
                        <a:pt x="17" y="528"/>
                      </a:cubicBezTo>
                      <a:cubicBezTo>
                        <a:pt x="2" y="531"/>
                        <a:pt x="2" y="531"/>
                        <a:pt x="2" y="531"/>
                      </a:cubicBezTo>
                      <a:cubicBezTo>
                        <a:pt x="9" y="540"/>
                        <a:pt x="9" y="540"/>
                        <a:pt x="9" y="540"/>
                      </a:cubicBezTo>
                      <a:cubicBezTo>
                        <a:pt x="0" y="549"/>
                        <a:pt x="0" y="549"/>
                        <a:pt x="0" y="549"/>
                      </a:cubicBezTo>
                      <a:cubicBezTo>
                        <a:pt x="4" y="575"/>
                        <a:pt x="4" y="575"/>
                        <a:pt x="4" y="575"/>
                      </a:cubicBezTo>
                      <a:cubicBezTo>
                        <a:pt x="8" y="585"/>
                        <a:pt x="8" y="585"/>
                        <a:pt x="8" y="585"/>
                      </a:cubicBezTo>
                      <a:cubicBezTo>
                        <a:pt x="14" y="583"/>
                        <a:pt x="14" y="583"/>
                        <a:pt x="14" y="583"/>
                      </a:cubicBezTo>
                      <a:cubicBezTo>
                        <a:pt x="14" y="583"/>
                        <a:pt x="41" y="593"/>
                        <a:pt x="41" y="608"/>
                      </a:cubicBezTo>
                      <a:cubicBezTo>
                        <a:pt x="45" y="613"/>
                        <a:pt x="45" y="613"/>
                        <a:pt x="45" y="613"/>
                      </a:cubicBezTo>
                      <a:cubicBezTo>
                        <a:pt x="45" y="613"/>
                        <a:pt x="53" y="635"/>
                        <a:pt x="44" y="644"/>
                      </a:cubicBezTo>
                      <a:cubicBezTo>
                        <a:pt x="53" y="641"/>
                        <a:pt x="53" y="641"/>
                        <a:pt x="53" y="641"/>
                      </a:cubicBezTo>
                      <a:cubicBezTo>
                        <a:pt x="62" y="656"/>
                        <a:pt x="62" y="656"/>
                        <a:pt x="62" y="656"/>
                      </a:cubicBezTo>
                      <a:cubicBezTo>
                        <a:pt x="68" y="653"/>
                        <a:pt x="68" y="653"/>
                        <a:pt x="68" y="653"/>
                      </a:cubicBezTo>
                      <a:cubicBezTo>
                        <a:pt x="68" y="644"/>
                        <a:pt x="68" y="644"/>
                        <a:pt x="68" y="644"/>
                      </a:cubicBezTo>
                      <a:cubicBezTo>
                        <a:pt x="76" y="645"/>
                        <a:pt x="76" y="645"/>
                        <a:pt x="76" y="645"/>
                      </a:cubicBezTo>
                      <a:cubicBezTo>
                        <a:pt x="76" y="656"/>
                        <a:pt x="76" y="656"/>
                        <a:pt x="76" y="656"/>
                      </a:cubicBezTo>
                      <a:cubicBezTo>
                        <a:pt x="76" y="656"/>
                        <a:pt x="85" y="664"/>
                        <a:pt x="94" y="684"/>
                      </a:cubicBezTo>
                      <a:cubicBezTo>
                        <a:pt x="104" y="704"/>
                        <a:pt x="102" y="708"/>
                        <a:pt x="112" y="700"/>
                      </a:cubicBezTo>
                      <a:cubicBezTo>
                        <a:pt x="112" y="703"/>
                        <a:pt x="108" y="720"/>
                        <a:pt x="108" y="720"/>
                      </a:cubicBezTo>
                      <a:cubicBezTo>
                        <a:pt x="142" y="721"/>
                        <a:pt x="142" y="721"/>
                        <a:pt x="142" y="721"/>
                      </a:cubicBezTo>
                      <a:cubicBezTo>
                        <a:pt x="144" y="716"/>
                        <a:pt x="144" y="716"/>
                        <a:pt x="144" y="716"/>
                      </a:cubicBezTo>
                      <a:cubicBezTo>
                        <a:pt x="156" y="723"/>
                        <a:pt x="156" y="723"/>
                        <a:pt x="156" y="723"/>
                      </a:cubicBezTo>
                      <a:cubicBezTo>
                        <a:pt x="169" y="712"/>
                        <a:pt x="169" y="712"/>
                        <a:pt x="169" y="712"/>
                      </a:cubicBezTo>
                      <a:cubicBezTo>
                        <a:pt x="176" y="716"/>
                        <a:pt x="176" y="716"/>
                        <a:pt x="176" y="716"/>
                      </a:cubicBezTo>
                      <a:cubicBezTo>
                        <a:pt x="173" y="707"/>
                        <a:pt x="173" y="707"/>
                        <a:pt x="173" y="707"/>
                      </a:cubicBezTo>
                      <a:cubicBezTo>
                        <a:pt x="182" y="707"/>
                        <a:pt x="182" y="707"/>
                        <a:pt x="182" y="707"/>
                      </a:cubicBezTo>
                      <a:cubicBezTo>
                        <a:pt x="188" y="720"/>
                        <a:pt x="188" y="720"/>
                        <a:pt x="188" y="720"/>
                      </a:cubicBezTo>
                      <a:cubicBezTo>
                        <a:pt x="197" y="723"/>
                        <a:pt x="197" y="723"/>
                        <a:pt x="197" y="723"/>
                      </a:cubicBezTo>
                      <a:cubicBezTo>
                        <a:pt x="197" y="711"/>
                        <a:pt x="197" y="711"/>
                        <a:pt x="197" y="711"/>
                      </a:cubicBezTo>
                      <a:cubicBezTo>
                        <a:pt x="252" y="709"/>
                        <a:pt x="252" y="709"/>
                        <a:pt x="252" y="709"/>
                      </a:cubicBezTo>
                      <a:cubicBezTo>
                        <a:pt x="252" y="709"/>
                        <a:pt x="220" y="675"/>
                        <a:pt x="301" y="691"/>
                      </a:cubicBezTo>
                      <a:cubicBezTo>
                        <a:pt x="300" y="708"/>
                        <a:pt x="300" y="708"/>
                        <a:pt x="300" y="708"/>
                      </a:cubicBezTo>
                      <a:cubicBezTo>
                        <a:pt x="313" y="708"/>
                        <a:pt x="313" y="708"/>
                        <a:pt x="313" y="708"/>
                      </a:cubicBezTo>
                      <a:cubicBezTo>
                        <a:pt x="318" y="713"/>
                        <a:pt x="318" y="713"/>
                        <a:pt x="318" y="713"/>
                      </a:cubicBezTo>
                      <a:cubicBezTo>
                        <a:pt x="312" y="721"/>
                        <a:pt x="312" y="721"/>
                        <a:pt x="312" y="721"/>
                      </a:cubicBezTo>
                      <a:cubicBezTo>
                        <a:pt x="318" y="725"/>
                        <a:pt x="318" y="725"/>
                        <a:pt x="318" y="725"/>
                      </a:cubicBezTo>
                      <a:cubicBezTo>
                        <a:pt x="325" y="719"/>
                        <a:pt x="325" y="719"/>
                        <a:pt x="325" y="719"/>
                      </a:cubicBezTo>
                      <a:cubicBezTo>
                        <a:pt x="325" y="719"/>
                        <a:pt x="336" y="740"/>
                        <a:pt x="342" y="748"/>
                      </a:cubicBezTo>
                      <a:cubicBezTo>
                        <a:pt x="332" y="766"/>
                        <a:pt x="332" y="766"/>
                        <a:pt x="332" y="766"/>
                      </a:cubicBezTo>
                      <a:cubicBezTo>
                        <a:pt x="332" y="767"/>
                        <a:pt x="332" y="767"/>
                        <a:pt x="332" y="767"/>
                      </a:cubicBezTo>
                      <a:cubicBezTo>
                        <a:pt x="341" y="769"/>
                        <a:pt x="341" y="769"/>
                        <a:pt x="341" y="769"/>
                      </a:cubicBezTo>
                      <a:cubicBezTo>
                        <a:pt x="341" y="792"/>
                        <a:pt x="341" y="792"/>
                        <a:pt x="341" y="792"/>
                      </a:cubicBezTo>
                      <a:cubicBezTo>
                        <a:pt x="353" y="787"/>
                        <a:pt x="353" y="787"/>
                        <a:pt x="353" y="787"/>
                      </a:cubicBezTo>
                      <a:cubicBezTo>
                        <a:pt x="353" y="787"/>
                        <a:pt x="365" y="801"/>
                        <a:pt x="374" y="801"/>
                      </a:cubicBezTo>
                      <a:cubicBezTo>
                        <a:pt x="384" y="801"/>
                        <a:pt x="388" y="797"/>
                        <a:pt x="388" y="797"/>
                      </a:cubicBezTo>
                      <a:cubicBezTo>
                        <a:pt x="388" y="807"/>
                        <a:pt x="388" y="807"/>
                        <a:pt x="388" y="807"/>
                      </a:cubicBezTo>
                      <a:cubicBezTo>
                        <a:pt x="404" y="815"/>
                        <a:pt x="404" y="815"/>
                        <a:pt x="404" y="815"/>
                      </a:cubicBezTo>
                      <a:cubicBezTo>
                        <a:pt x="404" y="828"/>
                        <a:pt x="404" y="828"/>
                        <a:pt x="404" y="828"/>
                      </a:cubicBezTo>
                      <a:cubicBezTo>
                        <a:pt x="421" y="816"/>
                        <a:pt x="421" y="816"/>
                        <a:pt x="421" y="816"/>
                      </a:cubicBezTo>
                      <a:cubicBezTo>
                        <a:pt x="421" y="816"/>
                        <a:pt x="426" y="819"/>
                        <a:pt x="430" y="819"/>
                      </a:cubicBezTo>
                      <a:cubicBezTo>
                        <a:pt x="434" y="819"/>
                        <a:pt x="438" y="791"/>
                        <a:pt x="438" y="791"/>
                      </a:cubicBezTo>
                      <a:cubicBezTo>
                        <a:pt x="468" y="792"/>
                        <a:pt x="468" y="792"/>
                        <a:pt x="468" y="792"/>
                      </a:cubicBezTo>
                      <a:cubicBezTo>
                        <a:pt x="469" y="785"/>
                        <a:pt x="469" y="785"/>
                        <a:pt x="469" y="785"/>
                      </a:cubicBezTo>
                      <a:cubicBezTo>
                        <a:pt x="481" y="793"/>
                        <a:pt x="481" y="793"/>
                        <a:pt x="481" y="793"/>
                      </a:cubicBezTo>
                      <a:cubicBezTo>
                        <a:pt x="500" y="788"/>
                        <a:pt x="500" y="788"/>
                        <a:pt x="500" y="788"/>
                      </a:cubicBezTo>
                      <a:cubicBezTo>
                        <a:pt x="502" y="757"/>
                        <a:pt x="502" y="757"/>
                        <a:pt x="502" y="757"/>
                      </a:cubicBezTo>
                      <a:cubicBezTo>
                        <a:pt x="492" y="757"/>
                        <a:pt x="492" y="757"/>
                        <a:pt x="492" y="757"/>
                      </a:cubicBezTo>
                      <a:cubicBezTo>
                        <a:pt x="497" y="747"/>
                        <a:pt x="497" y="747"/>
                        <a:pt x="497" y="747"/>
                      </a:cubicBezTo>
                      <a:cubicBezTo>
                        <a:pt x="505" y="748"/>
                        <a:pt x="505" y="748"/>
                        <a:pt x="505" y="748"/>
                      </a:cubicBezTo>
                      <a:cubicBezTo>
                        <a:pt x="512" y="733"/>
                        <a:pt x="512" y="733"/>
                        <a:pt x="512" y="733"/>
                      </a:cubicBezTo>
                      <a:cubicBezTo>
                        <a:pt x="525" y="735"/>
                        <a:pt x="525" y="735"/>
                        <a:pt x="525" y="735"/>
                      </a:cubicBezTo>
                      <a:cubicBezTo>
                        <a:pt x="528" y="720"/>
                        <a:pt x="528" y="720"/>
                        <a:pt x="528" y="720"/>
                      </a:cubicBezTo>
                      <a:cubicBezTo>
                        <a:pt x="536" y="715"/>
                        <a:pt x="536" y="715"/>
                        <a:pt x="536" y="715"/>
                      </a:cubicBezTo>
                      <a:lnTo>
                        <a:pt x="530" y="697"/>
                      </a:ln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84" name="Lorraine" descr="© INSCALE GmbH, 05.05.2010&#10;http://www.presentationload.com/">
                  <a:extLst>
                    <a:ext uri="{FF2B5EF4-FFF2-40B4-BE49-F238E27FC236}">
                      <a16:creationId xmlns:a16="http://schemas.microsoft.com/office/drawing/2014/main" id="{4057FD6E-4468-4A74-8BE4-E02775497E05}"/>
                    </a:ext>
                  </a:extLst>
                </p:cNvPr>
                <p:cNvSpPr>
                  <a:spLocks/>
                </p:cNvSpPr>
                <p:nvPr/>
              </p:nvSpPr>
              <p:spPr bwMode="gray">
                <a:xfrm>
                  <a:off x="2349" y="641"/>
                  <a:ext cx="619" cy="618"/>
                </a:xfrm>
                <a:custGeom>
                  <a:avLst/>
                  <a:gdLst/>
                  <a:ahLst/>
                  <a:cxnLst>
                    <a:cxn ang="0">
                      <a:pos x="552" y="140"/>
                    </a:cxn>
                    <a:cxn ang="0">
                      <a:pos x="524" y="152"/>
                    </a:cxn>
                    <a:cxn ang="0">
                      <a:pos x="482" y="143"/>
                    </a:cxn>
                    <a:cxn ang="0">
                      <a:pos x="464" y="142"/>
                    </a:cxn>
                    <a:cxn ang="0">
                      <a:pos x="429" y="124"/>
                    </a:cxn>
                    <a:cxn ang="0">
                      <a:pos x="423" y="143"/>
                    </a:cxn>
                    <a:cxn ang="0">
                      <a:pos x="395" y="131"/>
                    </a:cxn>
                    <a:cxn ang="0">
                      <a:pos x="388" y="114"/>
                    </a:cxn>
                    <a:cxn ang="0">
                      <a:pos x="365" y="84"/>
                    </a:cxn>
                    <a:cxn ang="0">
                      <a:pos x="368" y="71"/>
                    </a:cxn>
                    <a:cxn ang="0">
                      <a:pos x="333" y="43"/>
                    </a:cxn>
                    <a:cxn ang="0">
                      <a:pos x="281" y="38"/>
                    </a:cxn>
                    <a:cxn ang="0">
                      <a:pos x="233" y="36"/>
                    </a:cxn>
                    <a:cxn ang="0">
                      <a:pos x="191" y="20"/>
                    </a:cxn>
                    <a:cxn ang="0">
                      <a:pos x="165" y="33"/>
                    </a:cxn>
                    <a:cxn ang="0">
                      <a:pos x="128" y="21"/>
                    </a:cxn>
                    <a:cxn ang="0">
                      <a:pos x="92" y="21"/>
                    </a:cxn>
                    <a:cxn ang="0">
                      <a:pos x="70" y="37"/>
                    </a:cxn>
                    <a:cxn ang="0">
                      <a:pos x="49" y="30"/>
                    </a:cxn>
                    <a:cxn ang="0">
                      <a:pos x="26" y="49"/>
                    </a:cxn>
                    <a:cxn ang="0">
                      <a:pos x="21" y="107"/>
                    </a:cxn>
                    <a:cxn ang="0">
                      <a:pos x="8" y="137"/>
                    </a:cxn>
                    <a:cxn ang="0">
                      <a:pos x="4" y="151"/>
                    </a:cxn>
                    <a:cxn ang="0">
                      <a:pos x="26" y="223"/>
                    </a:cxn>
                    <a:cxn ang="0">
                      <a:pos x="6" y="263"/>
                    </a:cxn>
                    <a:cxn ang="0">
                      <a:pos x="26" y="295"/>
                    </a:cxn>
                    <a:cxn ang="0">
                      <a:pos x="33" y="329"/>
                    </a:cxn>
                    <a:cxn ang="0">
                      <a:pos x="125" y="395"/>
                    </a:cxn>
                    <a:cxn ang="0">
                      <a:pos x="118" y="409"/>
                    </a:cxn>
                    <a:cxn ang="0">
                      <a:pos x="136" y="414"/>
                    </a:cxn>
                    <a:cxn ang="0">
                      <a:pos x="165" y="449"/>
                    </a:cxn>
                    <a:cxn ang="0">
                      <a:pos x="181" y="461"/>
                    </a:cxn>
                    <a:cxn ang="0">
                      <a:pos x="160" y="502"/>
                    </a:cxn>
                    <a:cxn ang="0">
                      <a:pos x="197" y="519"/>
                    </a:cxn>
                    <a:cxn ang="0">
                      <a:pos x="201" y="539"/>
                    </a:cxn>
                    <a:cxn ang="0">
                      <a:pos x="217" y="544"/>
                    </a:cxn>
                    <a:cxn ang="0">
                      <a:pos x="234" y="534"/>
                    </a:cxn>
                    <a:cxn ang="0">
                      <a:pos x="244" y="537"/>
                    </a:cxn>
                    <a:cxn ang="0">
                      <a:pos x="274" y="517"/>
                    </a:cxn>
                    <a:cxn ang="0">
                      <a:pos x="286" y="534"/>
                    </a:cxn>
                    <a:cxn ang="0">
                      <a:pos x="337" y="537"/>
                    </a:cxn>
                    <a:cxn ang="0">
                      <a:pos x="372" y="537"/>
                    </a:cxn>
                    <a:cxn ang="0">
                      <a:pos x="414" y="562"/>
                    </a:cxn>
                    <a:cxn ang="0">
                      <a:pos x="442" y="559"/>
                    </a:cxn>
                    <a:cxn ang="0">
                      <a:pos x="441" y="545"/>
                    </a:cxn>
                    <a:cxn ang="0">
                      <a:pos x="472" y="470"/>
                    </a:cxn>
                    <a:cxn ang="0">
                      <a:pos x="490" y="411"/>
                    </a:cxn>
                    <a:cxn ang="0">
                      <a:pos x="469" y="399"/>
                    </a:cxn>
                    <a:cxn ang="0">
                      <a:pos x="458" y="343"/>
                    </a:cxn>
                    <a:cxn ang="0">
                      <a:pos x="508" y="299"/>
                    </a:cxn>
                    <a:cxn ang="0">
                      <a:pos x="477" y="242"/>
                    </a:cxn>
                    <a:cxn ang="0">
                      <a:pos x="449" y="243"/>
                    </a:cxn>
                    <a:cxn ang="0">
                      <a:pos x="429" y="223"/>
                    </a:cxn>
                    <a:cxn ang="0">
                      <a:pos x="450" y="166"/>
                    </a:cxn>
                    <a:cxn ang="0">
                      <a:pos x="465" y="189"/>
                    </a:cxn>
                    <a:cxn ang="0">
                      <a:pos x="533" y="197"/>
                    </a:cxn>
                    <a:cxn ang="0">
                      <a:pos x="563" y="150"/>
                    </a:cxn>
                  </a:cxnLst>
                  <a:rect l="0" t="0" r="r" b="b"/>
                  <a:pathLst>
                    <a:path w="574" h="573">
                      <a:moveTo>
                        <a:pt x="563" y="150"/>
                      </a:moveTo>
                      <a:cubicBezTo>
                        <a:pt x="569" y="145"/>
                        <a:pt x="561" y="142"/>
                        <a:pt x="552" y="140"/>
                      </a:cubicBezTo>
                      <a:cubicBezTo>
                        <a:pt x="542" y="130"/>
                        <a:pt x="536" y="147"/>
                        <a:pt x="536" y="147"/>
                      </a:cubicBezTo>
                      <a:cubicBezTo>
                        <a:pt x="524" y="152"/>
                        <a:pt x="524" y="152"/>
                        <a:pt x="524" y="152"/>
                      </a:cubicBezTo>
                      <a:cubicBezTo>
                        <a:pt x="489" y="154"/>
                        <a:pt x="489" y="154"/>
                        <a:pt x="489" y="154"/>
                      </a:cubicBezTo>
                      <a:cubicBezTo>
                        <a:pt x="482" y="143"/>
                        <a:pt x="482" y="143"/>
                        <a:pt x="482" y="143"/>
                      </a:cubicBezTo>
                      <a:cubicBezTo>
                        <a:pt x="471" y="154"/>
                        <a:pt x="471" y="154"/>
                        <a:pt x="471" y="154"/>
                      </a:cubicBezTo>
                      <a:cubicBezTo>
                        <a:pt x="464" y="142"/>
                        <a:pt x="464" y="142"/>
                        <a:pt x="464" y="142"/>
                      </a:cubicBezTo>
                      <a:cubicBezTo>
                        <a:pt x="464" y="122"/>
                        <a:pt x="438" y="126"/>
                        <a:pt x="438" y="126"/>
                      </a:cubicBezTo>
                      <a:cubicBezTo>
                        <a:pt x="429" y="124"/>
                        <a:pt x="429" y="124"/>
                        <a:pt x="429" y="124"/>
                      </a:cubicBezTo>
                      <a:cubicBezTo>
                        <a:pt x="431" y="135"/>
                        <a:pt x="431" y="135"/>
                        <a:pt x="431" y="135"/>
                      </a:cubicBezTo>
                      <a:cubicBezTo>
                        <a:pt x="423" y="143"/>
                        <a:pt x="423" y="143"/>
                        <a:pt x="423" y="143"/>
                      </a:cubicBezTo>
                      <a:cubicBezTo>
                        <a:pt x="419" y="140"/>
                        <a:pt x="419" y="140"/>
                        <a:pt x="419" y="140"/>
                      </a:cubicBezTo>
                      <a:cubicBezTo>
                        <a:pt x="397" y="145"/>
                        <a:pt x="395" y="131"/>
                        <a:pt x="395" y="131"/>
                      </a:cubicBezTo>
                      <a:cubicBezTo>
                        <a:pt x="403" y="125"/>
                        <a:pt x="397" y="121"/>
                        <a:pt x="397" y="121"/>
                      </a:cubicBezTo>
                      <a:cubicBezTo>
                        <a:pt x="392" y="126"/>
                        <a:pt x="388" y="114"/>
                        <a:pt x="388" y="114"/>
                      </a:cubicBezTo>
                      <a:cubicBezTo>
                        <a:pt x="389" y="107"/>
                        <a:pt x="377" y="99"/>
                        <a:pt x="370" y="96"/>
                      </a:cubicBezTo>
                      <a:cubicBezTo>
                        <a:pt x="370" y="88"/>
                        <a:pt x="365" y="84"/>
                        <a:pt x="365" y="84"/>
                      </a:cubicBezTo>
                      <a:cubicBezTo>
                        <a:pt x="371" y="79"/>
                        <a:pt x="371" y="79"/>
                        <a:pt x="371" y="79"/>
                      </a:cubicBezTo>
                      <a:cubicBezTo>
                        <a:pt x="368" y="71"/>
                        <a:pt x="368" y="71"/>
                        <a:pt x="368" y="71"/>
                      </a:cubicBezTo>
                      <a:cubicBezTo>
                        <a:pt x="361" y="71"/>
                        <a:pt x="358" y="59"/>
                        <a:pt x="358" y="59"/>
                      </a:cubicBezTo>
                      <a:cubicBezTo>
                        <a:pt x="333" y="43"/>
                        <a:pt x="333" y="43"/>
                        <a:pt x="333" y="43"/>
                      </a:cubicBezTo>
                      <a:cubicBezTo>
                        <a:pt x="317" y="61"/>
                        <a:pt x="297" y="38"/>
                        <a:pt x="297" y="38"/>
                      </a:cubicBezTo>
                      <a:cubicBezTo>
                        <a:pt x="297" y="38"/>
                        <a:pt x="297" y="38"/>
                        <a:pt x="281" y="38"/>
                      </a:cubicBezTo>
                      <a:cubicBezTo>
                        <a:pt x="272" y="54"/>
                        <a:pt x="245" y="52"/>
                        <a:pt x="243" y="48"/>
                      </a:cubicBezTo>
                      <a:cubicBezTo>
                        <a:pt x="241" y="44"/>
                        <a:pt x="233" y="36"/>
                        <a:pt x="233" y="36"/>
                      </a:cubicBezTo>
                      <a:cubicBezTo>
                        <a:pt x="233" y="36"/>
                        <a:pt x="223" y="33"/>
                        <a:pt x="212" y="31"/>
                      </a:cubicBezTo>
                      <a:cubicBezTo>
                        <a:pt x="206" y="20"/>
                        <a:pt x="191" y="20"/>
                        <a:pt x="191" y="20"/>
                      </a:cubicBezTo>
                      <a:cubicBezTo>
                        <a:pt x="175" y="19"/>
                        <a:pt x="175" y="19"/>
                        <a:pt x="175" y="19"/>
                      </a:cubicBezTo>
                      <a:cubicBezTo>
                        <a:pt x="165" y="33"/>
                        <a:pt x="165" y="33"/>
                        <a:pt x="165" y="33"/>
                      </a:cubicBezTo>
                      <a:cubicBezTo>
                        <a:pt x="165" y="33"/>
                        <a:pt x="162" y="29"/>
                        <a:pt x="145" y="30"/>
                      </a:cubicBezTo>
                      <a:cubicBezTo>
                        <a:pt x="126" y="45"/>
                        <a:pt x="129" y="24"/>
                        <a:pt x="128" y="21"/>
                      </a:cubicBezTo>
                      <a:cubicBezTo>
                        <a:pt x="128" y="5"/>
                        <a:pt x="111" y="1"/>
                        <a:pt x="104" y="0"/>
                      </a:cubicBezTo>
                      <a:cubicBezTo>
                        <a:pt x="92" y="21"/>
                        <a:pt x="92" y="21"/>
                        <a:pt x="92" y="21"/>
                      </a:cubicBezTo>
                      <a:cubicBezTo>
                        <a:pt x="78" y="22"/>
                        <a:pt x="78" y="22"/>
                        <a:pt x="78" y="22"/>
                      </a:cubicBezTo>
                      <a:cubicBezTo>
                        <a:pt x="70" y="37"/>
                        <a:pt x="70" y="37"/>
                        <a:pt x="70" y="37"/>
                      </a:cubicBezTo>
                      <a:cubicBezTo>
                        <a:pt x="58" y="30"/>
                        <a:pt x="58" y="30"/>
                        <a:pt x="58" y="30"/>
                      </a:cubicBezTo>
                      <a:cubicBezTo>
                        <a:pt x="49" y="30"/>
                        <a:pt x="49" y="30"/>
                        <a:pt x="49" y="30"/>
                      </a:cubicBezTo>
                      <a:cubicBezTo>
                        <a:pt x="32" y="25"/>
                        <a:pt x="32" y="25"/>
                        <a:pt x="32" y="25"/>
                      </a:cubicBezTo>
                      <a:cubicBezTo>
                        <a:pt x="32" y="25"/>
                        <a:pt x="30" y="51"/>
                        <a:pt x="26" y="49"/>
                      </a:cubicBezTo>
                      <a:cubicBezTo>
                        <a:pt x="38" y="63"/>
                        <a:pt x="38" y="78"/>
                        <a:pt x="38" y="78"/>
                      </a:cubicBezTo>
                      <a:cubicBezTo>
                        <a:pt x="38" y="78"/>
                        <a:pt x="25" y="102"/>
                        <a:pt x="21" y="107"/>
                      </a:cubicBezTo>
                      <a:cubicBezTo>
                        <a:pt x="17" y="113"/>
                        <a:pt x="25" y="125"/>
                        <a:pt x="25" y="125"/>
                      </a:cubicBezTo>
                      <a:cubicBezTo>
                        <a:pt x="8" y="137"/>
                        <a:pt x="8" y="137"/>
                        <a:pt x="8" y="137"/>
                      </a:cubicBezTo>
                      <a:cubicBezTo>
                        <a:pt x="14" y="143"/>
                        <a:pt x="14" y="143"/>
                        <a:pt x="14" y="143"/>
                      </a:cubicBezTo>
                      <a:cubicBezTo>
                        <a:pt x="4" y="151"/>
                        <a:pt x="4" y="151"/>
                        <a:pt x="4" y="151"/>
                      </a:cubicBezTo>
                      <a:cubicBezTo>
                        <a:pt x="4" y="151"/>
                        <a:pt x="20" y="197"/>
                        <a:pt x="17" y="201"/>
                      </a:cubicBezTo>
                      <a:cubicBezTo>
                        <a:pt x="28" y="195"/>
                        <a:pt x="25" y="214"/>
                        <a:pt x="26" y="223"/>
                      </a:cubicBezTo>
                      <a:cubicBezTo>
                        <a:pt x="28" y="233"/>
                        <a:pt x="4" y="242"/>
                        <a:pt x="4" y="242"/>
                      </a:cubicBezTo>
                      <a:cubicBezTo>
                        <a:pt x="6" y="263"/>
                        <a:pt x="6" y="263"/>
                        <a:pt x="6" y="263"/>
                      </a:cubicBezTo>
                      <a:cubicBezTo>
                        <a:pt x="0" y="277"/>
                        <a:pt x="0" y="277"/>
                        <a:pt x="0" y="277"/>
                      </a:cubicBezTo>
                      <a:cubicBezTo>
                        <a:pt x="26" y="295"/>
                        <a:pt x="26" y="295"/>
                        <a:pt x="26" y="295"/>
                      </a:cubicBezTo>
                      <a:cubicBezTo>
                        <a:pt x="25" y="335"/>
                        <a:pt x="25" y="335"/>
                        <a:pt x="25" y="335"/>
                      </a:cubicBezTo>
                      <a:cubicBezTo>
                        <a:pt x="33" y="329"/>
                        <a:pt x="33" y="329"/>
                        <a:pt x="33" y="329"/>
                      </a:cubicBezTo>
                      <a:cubicBezTo>
                        <a:pt x="33" y="329"/>
                        <a:pt x="68" y="356"/>
                        <a:pt x="67" y="359"/>
                      </a:cubicBezTo>
                      <a:cubicBezTo>
                        <a:pt x="84" y="359"/>
                        <a:pt x="125" y="395"/>
                        <a:pt x="125" y="395"/>
                      </a:cubicBezTo>
                      <a:cubicBezTo>
                        <a:pt x="113" y="401"/>
                        <a:pt x="113" y="401"/>
                        <a:pt x="113" y="401"/>
                      </a:cubicBezTo>
                      <a:cubicBezTo>
                        <a:pt x="118" y="409"/>
                        <a:pt x="118" y="409"/>
                        <a:pt x="118" y="409"/>
                      </a:cubicBezTo>
                      <a:cubicBezTo>
                        <a:pt x="118" y="409"/>
                        <a:pt x="120" y="412"/>
                        <a:pt x="120" y="415"/>
                      </a:cubicBezTo>
                      <a:cubicBezTo>
                        <a:pt x="126" y="411"/>
                        <a:pt x="136" y="414"/>
                        <a:pt x="136" y="414"/>
                      </a:cubicBezTo>
                      <a:cubicBezTo>
                        <a:pt x="149" y="437"/>
                        <a:pt x="149" y="437"/>
                        <a:pt x="149" y="437"/>
                      </a:cubicBezTo>
                      <a:cubicBezTo>
                        <a:pt x="165" y="426"/>
                        <a:pt x="165" y="449"/>
                        <a:pt x="165" y="449"/>
                      </a:cubicBezTo>
                      <a:cubicBezTo>
                        <a:pt x="174" y="450"/>
                        <a:pt x="174" y="450"/>
                        <a:pt x="174" y="450"/>
                      </a:cubicBezTo>
                      <a:cubicBezTo>
                        <a:pt x="181" y="461"/>
                        <a:pt x="181" y="461"/>
                        <a:pt x="181" y="461"/>
                      </a:cubicBezTo>
                      <a:cubicBezTo>
                        <a:pt x="170" y="466"/>
                        <a:pt x="170" y="490"/>
                        <a:pt x="170" y="490"/>
                      </a:cubicBezTo>
                      <a:cubicBezTo>
                        <a:pt x="160" y="502"/>
                        <a:pt x="160" y="502"/>
                        <a:pt x="160" y="502"/>
                      </a:cubicBezTo>
                      <a:cubicBezTo>
                        <a:pt x="177" y="506"/>
                        <a:pt x="177" y="506"/>
                        <a:pt x="177" y="506"/>
                      </a:cubicBezTo>
                      <a:cubicBezTo>
                        <a:pt x="197" y="519"/>
                        <a:pt x="197" y="519"/>
                        <a:pt x="197" y="519"/>
                      </a:cubicBezTo>
                      <a:cubicBezTo>
                        <a:pt x="198" y="537"/>
                        <a:pt x="198" y="537"/>
                        <a:pt x="198" y="537"/>
                      </a:cubicBezTo>
                      <a:cubicBezTo>
                        <a:pt x="201" y="539"/>
                        <a:pt x="201" y="539"/>
                        <a:pt x="201" y="539"/>
                      </a:cubicBezTo>
                      <a:cubicBezTo>
                        <a:pt x="214" y="547"/>
                        <a:pt x="214" y="547"/>
                        <a:pt x="214" y="547"/>
                      </a:cubicBezTo>
                      <a:cubicBezTo>
                        <a:pt x="217" y="544"/>
                        <a:pt x="217" y="544"/>
                        <a:pt x="217" y="544"/>
                      </a:cubicBezTo>
                      <a:cubicBezTo>
                        <a:pt x="224" y="533"/>
                        <a:pt x="224" y="533"/>
                        <a:pt x="224" y="533"/>
                      </a:cubicBezTo>
                      <a:cubicBezTo>
                        <a:pt x="234" y="534"/>
                        <a:pt x="234" y="534"/>
                        <a:pt x="234" y="534"/>
                      </a:cubicBezTo>
                      <a:cubicBezTo>
                        <a:pt x="230" y="543"/>
                        <a:pt x="230" y="543"/>
                        <a:pt x="230" y="543"/>
                      </a:cubicBezTo>
                      <a:cubicBezTo>
                        <a:pt x="244" y="537"/>
                        <a:pt x="244" y="537"/>
                        <a:pt x="244" y="537"/>
                      </a:cubicBezTo>
                      <a:cubicBezTo>
                        <a:pt x="249" y="523"/>
                        <a:pt x="249" y="523"/>
                        <a:pt x="249" y="523"/>
                      </a:cubicBezTo>
                      <a:cubicBezTo>
                        <a:pt x="274" y="517"/>
                        <a:pt x="274" y="517"/>
                        <a:pt x="274" y="517"/>
                      </a:cubicBezTo>
                      <a:cubicBezTo>
                        <a:pt x="273" y="533"/>
                        <a:pt x="273" y="533"/>
                        <a:pt x="273" y="533"/>
                      </a:cubicBezTo>
                      <a:cubicBezTo>
                        <a:pt x="286" y="534"/>
                        <a:pt x="286" y="534"/>
                        <a:pt x="286" y="534"/>
                      </a:cubicBezTo>
                      <a:cubicBezTo>
                        <a:pt x="285" y="543"/>
                        <a:pt x="285" y="543"/>
                        <a:pt x="285" y="543"/>
                      </a:cubicBezTo>
                      <a:cubicBezTo>
                        <a:pt x="285" y="543"/>
                        <a:pt x="333" y="526"/>
                        <a:pt x="337" y="537"/>
                      </a:cubicBezTo>
                      <a:cubicBezTo>
                        <a:pt x="341" y="547"/>
                        <a:pt x="346" y="554"/>
                        <a:pt x="346" y="554"/>
                      </a:cubicBezTo>
                      <a:cubicBezTo>
                        <a:pt x="372" y="537"/>
                        <a:pt x="372" y="537"/>
                        <a:pt x="372" y="537"/>
                      </a:cubicBezTo>
                      <a:cubicBezTo>
                        <a:pt x="381" y="549"/>
                        <a:pt x="381" y="549"/>
                        <a:pt x="381" y="549"/>
                      </a:cubicBezTo>
                      <a:cubicBezTo>
                        <a:pt x="414" y="562"/>
                        <a:pt x="414" y="562"/>
                        <a:pt x="414" y="562"/>
                      </a:cubicBezTo>
                      <a:cubicBezTo>
                        <a:pt x="414" y="562"/>
                        <a:pt x="422" y="573"/>
                        <a:pt x="428" y="570"/>
                      </a:cubicBezTo>
                      <a:cubicBezTo>
                        <a:pt x="433" y="567"/>
                        <a:pt x="442" y="559"/>
                        <a:pt x="442" y="559"/>
                      </a:cubicBezTo>
                      <a:cubicBezTo>
                        <a:pt x="437" y="550"/>
                        <a:pt x="437" y="550"/>
                        <a:pt x="437" y="550"/>
                      </a:cubicBezTo>
                      <a:cubicBezTo>
                        <a:pt x="441" y="545"/>
                        <a:pt x="441" y="545"/>
                        <a:pt x="441" y="545"/>
                      </a:cubicBezTo>
                      <a:cubicBezTo>
                        <a:pt x="442" y="514"/>
                        <a:pt x="442" y="514"/>
                        <a:pt x="442" y="514"/>
                      </a:cubicBezTo>
                      <a:cubicBezTo>
                        <a:pt x="442" y="514"/>
                        <a:pt x="460" y="511"/>
                        <a:pt x="472" y="470"/>
                      </a:cubicBezTo>
                      <a:cubicBezTo>
                        <a:pt x="476" y="470"/>
                        <a:pt x="469" y="466"/>
                        <a:pt x="469" y="466"/>
                      </a:cubicBezTo>
                      <a:cubicBezTo>
                        <a:pt x="490" y="411"/>
                        <a:pt x="490" y="411"/>
                        <a:pt x="490" y="411"/>
                      </a:cubicBezTo>
                      <a:cubicBezTo>
                        <a:pt x="489" y="402"/>
                        <a:pt x="489" y="402"/>
                        <a:pt x="489" y="402"/>
                      </a:cubicBezTo>
                      <a:cubicBezTo>
                        <a:pt x="489" y="402"/>
                        <a:pt x="469" y="411"/>
                        <a:pt x="469" y="399"/>
                      </a:cubicBezTo>
                      <a:cubicBezTo>
                        <a:pt x="469" y="387"/>
                        <a:pt x="472" y="349"/>
                        <a:pt x="472" y="349"/>
                      </a:cubicBezTo>
                      <a:cubicBezTo>
                        <a:pt x="458" y="343"/>
                        <a:pt x="458" y="343"/>
                        <a:pt x="458" y="343"/>
                      </a:cubicBezTo>
                      <a:cubicBezTo>
                        <a:pt x="480" y="338"/>
                        <a:pt x="480" y="338"/>
                        <a:pt x="480" y="338"/>
                      </a:cubicBezTo>
                      <a:cubicBezTo>
                        <a:pt x="480" y="338"/>
                        <a:pt x="505" y="337"/>
                        <a:pt x="508" y="299"/>
                      </a:cubicBezTo>
                      <a:cubicBezTo>
                        <a:pt x="506" y="304"/>
                        <a:pt x="487" y="294"/>
                        <a:pt x="505" y="262"/>
                      </a:cubicBezTo>
                      <a:cubicBezTo>
                        <a:pt x="502" y="260"/>
                        <a:pt x="483" y="244"/>
                        <a:pt x="477" y="242"/>
                      </a:cubicBezTo>
                      <a:cubicBezTo>
                        <a:pt x="470" y="239"/>
                        <a:pt x="457" y="258"/>
                        <a:pt x="457" y="258"/>
                      </a:cubicBezTo>
                      <a:cubicBezTo>
                        <a:pt x="449" y="243"/>
                        <a:pt x="449" y="243"/>
                        <a:pt x="449" y="243"/>
                      </a:cubicBezTo>
                      <a:cubicBezTo>
                        <a:pt x="457" y="233"/>
                        <a:pt x="457" y="233"/>
                        <a:pt x="457" y="233"/>
                      </a:cubicBezTo>
                      <a:cubicBezTo>
                        <a:pt x="429" y="223"/>
                        <a:pt x="429" y="223"/>
                        <a:pt x="429" y="223"/>
                      </a:cubicBezTo>
                      <a:cubicBezTo>
                        <a:pt x="429" y="223"/>
                        <a:pt x="434" y="203"/>
                        <a:pt x="444" y="205"/>
                      </a:cubicBezTo>
                      <a:cubicBezTo>
                        <a:pt x="450" y="166"/>
                        <a:pt x="450" y="166"/>
                        <a:pt x="450" y="166"/>
                      </a:cubicBezTo>
                      <a:cubicBezTo>
                        <a:pt x="456" y="167"/>
                        <a:pt x="456" y="167"/>
                        <a:pt x="456" y="167"/>
                      </a:cubicBezTo>
                      <a:cubicBezTo>
                        <a:pt x="465" y="189"/>
                        <a:pt x="465" y="189"/>
                        <a:pt x="465" y="189"/>
                      </a:cubicBezTo>
                      <a:cubicBezTo>
                        <a:pt x="493" y="193"/>
                        <a:pt x="493" y="193"/>
                        <a:pt x="493" y="193"/>
                      </a:cubicBezTo>
                      <a:cubicBezTo>
                        <a:pt x="493" y="193"/>
                        <a:pt x="498" y="217"/>
                        <a:pt x="533" y="197"/>
                      </a:cubicBezTo>
                      <a:cubicBezTo>
                        <a:pt x="533" y="197"/>
                        <a:pt x="553" y="229"/>
                        <a:pt x="574" y="164"/>
                      </a:cubicBezTo>
                      <a:lnTo>
                        <a:pt x="563" y="150"/>
                      </a:ln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85" name="Alsace" descr="© INSCALE GmbH, 05.05.2010&#10;http://www.presentationload.com/">
                  <a:extLst>
                    <a:ext uri="{FF2B5EF4-FFF2-40B4-BE49-F238E27FC236}">
                      <a16:creationId xmlns:a16="http://schemas.microsoft.com/office/drawing/2014/main" id="{E19FE908-E143-4047-8835-AA87C62577C4}"/>
                    </a:ext>
                  </a:extLst>
                </p:cNvPr>
                <p:cNvSpPr>
                  <a:spLocks/>
                </p:cNvSpPr>
                <p:nvPr/>
              </p:nvSpPr>
              <p:spPr bwMode="gray">
                <a:xfrm>
                  <a:off x="2808" y="818"/>
                  <a:ext cx="317" cy="567"/>
                </a:xfrm>
                <a:custGeom>
                  <a:avLst/>
                  <a:gdLst/>
                  <a:ahLst/>
                  <a:cxnLst>
                    <a:cxn ang="0">
                      <a:pos x="271" y="35"/>
                    </a:cxn>
                    <a:cxn ang="0">
                      <a:pos x="250" y="20"/>
                    </a:cxn>
                    <a:cxn ang="0">
                      <a:pos x="242" y="22"/>
                    </a:cxn>
                    <a:cxn ang="0">
                      <a:pos x="225" y="13"/>
                    </a:cxn>
                    <a:cxn ang="0">
                      <a:pos x="206" y="12"/>
                    </a:cxn>
                    <a:cxn ang="0">
                      <a:pos x="172" y="14"/>
                    </a:cxn>
                    <a:cxn ang="0">
                      <a:pos x="164" y="2"/>
                    </a:cxn>
                    <a:cxn ang="0">
                      <a:pos x="152" y="4"/>
                    </a:cxn>
                    <a:cxn ang="0">
                      <a:pos x="148" y="0"/>
                    </a:cxn>
                    <a:cxn ang="0">
                      <a:pos x="107" y="33"/>
                    </a:cxn>
                    <a:cxn ang="0">
                      <a:pos x="67" y="29"/>
                    </a:cxn>
                    <a:cxn ang="0">
                      <a:pos x="39" y="25"/>
                    </a:cxn>
                    <a:cxn ang="0">
                      <a:pos x="30" y="3"/>
                    </a:cxn>
                    <a:cxn ang="0">
                      <a:pos x="24" y="2"/>
                    </a:cxn>
                    <a:cxn ang="0">
                      <a:pos x="18" y="41"/>
                    </a:cxn>
                    <a:cxn ang="0">
                      <a:pos x="3" y="59"/>
                    </a:cxn>
                    <a:cxn ang="0">
                      <a:pos x="31" y="69"/>
                    </a:cxn>
                    <a:cxn ang="0">
                      <a:pos x="23" y="79"/>
                    </a:cxn>
                    <a:cxn ang="0">
                      <a:pos x="31" y="94"/>
                    </a:cxn>
                    <a:cxn ang="0">
                      <a:pos x="51" y="78"/>
                    </a:cxn>
                    <a:cxn ang="0">
                      <a:pos x="79" y="98"/>
                    </a:cxn>
                    <a:cxn ang="0">
                      <a:pos x="82" y="135"/>
                    </a:cxn>
                    <a:cxn ang="0">
                      <a:pos x="54" y="174"/>
                    </a:cxn>
                    <a:cxn ang="0">
                      <a:pos x="32" y="179"/>
                    </a:cxn>
                    <a:cxn ang="0">
                      <a:pos x="46" y="185"/>
                    </a:cxn>
                    <a:cxn ang="0">
                      <a:pos x="43" y="235"/>
                    </a:cxn>
                    <a:cxn ang="0">
                      <a:pos x="63" y="238"/>
                    </a:cxn>
                    <a:cxn ang="0">
                      <a:pos x="64" y="247"/>
                    </a:cxn>
                    <a:cxn ang="0">
                      <a:pos x="43" y="302"/>
                    </a:cxn>
                    <a:cxn ang="0">
                      <a:pos x="46" y="306"/>
                    </a:cxn>
                    <a:cxn ang="0">
                      <a:pos x="16" y="350"/>
                    </a:cxn>
                    <a:cxn ang="0">
                      <a:pos x="15" y="381"/>
                    </a:cxn>
                    <a:cxn ang="0">
                      <a:pos x="11" y="386"/>
                    </a:cxn>
                    <a:cxn ang="0">
                      <a:pos x="16" y="395"/>
                    </a:cxn>
                    <a:cxn ang="0">
                      <a:pos x="2" y="406"/>
                    </a:cxn>
                    <a:cxn ang="0">
                      <a:pos x="0" y="406"/>
                    </a:cxn>
                    <a:cxn ang="0">
                      <a:pos x="4" y="417"/>
                    </a:cxn>
                    <a:cxn ang="0">
                      <a:pos x="43" y="471"/>
                    </a:cxn>
                    <a:cxn ang="0">
                      <a:pos x="66" y="496"/>
                    </a:cxn>
                    <a:cxn ang="0">
                      <a:pos x="90" y="499"/>
                    </a:cxn>
                    <a:cxn ang="0">
                      <a:pos x="113" y="510"/>
                    </a:cxn>
                    <a:cxn ang="0">
                      <a:pos x="143" y="491"/>
                    </a:cxn>
                    <a:cxn ang="0">
                      <a:pos x="152" y="503"/>
                    </a:cxn>
                    <a:cxn ang="0">
                      <a:pos x="161" y="493"/>
                    </a:cxn>
                    <a:cxn ang="0">
                      <a:pos x="174" y="463"/>
                    </a:cxn>
                    <a:cxn ang="0">
                      <a:pos x="165" y="419"/>
                    </a:cxn>
                    <a:cxn ang="0">
                      <a:pos x="167" y="386"/>
                    </a:cxn>
                    <a:cxn ang="0">
                      <a:pos x="176" y="349"/>
                    </a:cxn>
                    <a:cxn ang="0">
                      <a:pos x="176" y="336"/>
                    </a:cxn>
                    <a:cxn ang="0">
                      <a:pos x="185" y="262"/>
                    </a:cxn>
                    <a:cxn ang="0">
                      <a:pos x="199" y="229"/>
                    </a:cxn>
                    <a:cxn ang="0">
                      <a:pos x="209" y="177"/>
                    </a:cxn>
                    <a:cxn ang="0">
                      <a:pos x="218" y="138"/>
                    </a:cxn>
                    <a:cxn ang="0">
                      <a:pos x="245" y="104"/>
                    </a:cxn>
                    <a:cxn ang="0">
                      <a:pos x="261" y="93"/>
                    </a:cxn>
                    <a:cxn ang="0">
                      <a:pos x="279" y="58"/>
                    </a:cxn>
                    <a:cxn ang="0">
                      <a:pos x="294" y="35"/>
                    </a:cxn>
                    <a:cxn ang="0">
                      <a:pos x="271" y="35"/>
                    </a:cxn>
                  </a:cxnLst>
                  <a:rect l="0" t="0" r="r" b="b"/>
                  <a:pathLst>
                    <a:path w="294" h="526">
                      <a:moveTo>
                        <a:pt x="271" y="35"/>
                      </a:moveTo>
                      <a:cubicBezTo>
                        <a:pt x="250" y="20"/>
                        <a:pt x="250" y="20"/>
                        <a:pt x="250" y="20"/>
                      </a:cubicBezTo>
                      <a:cubicBezTo>
                        <a:pt x="242" y="22"/>
                        <a:pt x="242" y="22"/>
                        <a:pt x="242" y="22"/>
                      </a:cubicBezTo>
                      <a:cubicBezTo>
                        <a:pt x="233" y="7"/>
                        <a:pt x="232" y="15"/>
                        <a:pt x="225" y="13"/>
                      </a:cubicBezTo>
                      <a:cubicBezTo>
                        <a:pt x="215" y="25"/>
                        <a:pt x="206" y="12"/>
                        <a:pt x="206" y="12"/>
                      </a:cubicBezTo>
                      <a:cubicBezTo>
                        <a:pt x="172" y="14"/>
                        <a:pt x="172" y="14"/>
                        <a:pt x="172" y="14"/>
                      </a:cubicBezTo>
                      <a:cubicBezTo>
                        <a:pt x="164" y="2"/>
                        <a:pt x="164" y="2"/>
                        <a:pt x="164" y="2"/>
                      </a:cubicBezTo>
                      <a:cubicBezTo>
                        <a:pt x="152" y="4"/>
                        <a:pt x="152" y="4"/>
                        <a:pt x="152" y="4"/>
                      </a:cubicBezTo>
                      <a:cubicBezTo>
                        <a:pt x="148" y="0"/>
                        <a:pt x="148" y="0"/>
                        <a:pt x="148" y="0"/>
                      </a:cubicBezTo>
                      <a:cubicBezTo>
                        <a:pt x="127" y="65"/>
                        <a:pt x="107" y="33"/>
                        <a:pt x="107" y="33"/>
                      </a:cubicBezTo>
                      <a:cubicBezTo>
                        <a:pt x="72" y="53"/>
                        <a:pt x="67" y="29"/>
                        <a:pt x="67" y="29"/>
                      </a:cubicBezTo>
                      <a:cubicBezTo>
                        <a:pt x="39" y="25"/>
                        <a:pt x="39" y="25"/>
                        <a:pt x="39" y="25"/>
                      </a:cubicBezTo>
                      <a:cubicBezTo>
                        <a:pt x="30" y="3"/>
                        <a:pt x="30" y="3"/>
                        <a:pt x="30" y="3"/>
                      </a:cubicBezTo>
                      <a:cubicBezTo>
                        <a:pt x="24" y="2"/>
                        <a:pt x="24" y="2"/>
                        <a:pt x="24" y="2"/>
                      </a:cubicBezTo>
                      <a:cubicBezTo>
                        <a:pt x="18" y="41"/>
                        <a:pt x="18" y="41"/>
                        <a:pt x="18" y="41"/>
                      </a:cubicBezTo>
                      <a:cubicBezTo>
                        <a:pt x="8" y="39"/>
                        <a:pt x="3" y="59"/>
                        <a:pt x="3" y="59"/>
                      </a:cubicBezTo>
                      <a:cubicBezTo>
                        <a:pt x="31" y="69"/>
                        <a:pt x="31" y="69"/>
                        <a:pt x="31" y="69"/>
                      </a:cubicBezTo>
                      <a:cubicBezTo>
                        <a:pt x="23" y="79"/>
                        <a:pt x="23" y="79"/>
                        <a:pt x="23" y="79"/>
                      </a:cubicBezTo>
                      <a:cubicBezTo>
                        <a:pt x="31" y="94"/>
                        <a:pt x="31" y="94"/>
                        <a:pt x="31" y="94"/>
                      </a:cubicBezTo>
                      <a:cubicBezTo>
                        <a:pt x="31" y="94"/>
                        <a:pt x="44" y="75"/>
                        <a:pt x="51" y="78"/>
                      </a:cubicBezTo>
                      <a:cubicBezTo>
                        <a:pt x="57" y="80"/>
                        <a:pt x="76" y="96"/>
                        <a:pt x="79" y="98"/>
                      </a:cubicBezTo>
                      <a:cubicBezTo>
                        <a:pt x="61" y="130"/>
                        <a:pt x="80" y="140"/>
                        <a:pt x="82" y="135"/>
                      </a:cubicBezTo>
                      <a:cubicBezTo>
                        <a:pt x="79" y="173"/>
                        <a:pt x="54" y="174"/>
                        <a:pt x="54" y="174"/>
                      </a:cubicBezTo>
                      <a:cubicBezTo>
                        <a:pt x="32" y="179"/>
                        <a:pt x="32" y="179"/>
                        <a:pt x="32" y="179"/>
                      </a:cubicBezTo>
                      <a:cubicBezTo>
                        <a:pt x="46" y="185"/>
                        <a:pt x="46" y="185"/>
                        <a:pt x="46" y="185"/>
                      </a:cubicBezTo>
                      <a:cubicBezTo>
                        <a:pt x="46" y="185"/>
                        <a:pt x="43" y="223"/>
                        <a:pt x="43" y="235"/>
                      </a:cubicBezTo>
                      <a:cubicBezTo>
                        <a:pt x="43" y="247"/>
                        <a:pt x="63" y="238"/>
                        <a:pt x="63" y="238"/>
                      </a:cubicBezTo>
                      <a:cubicBezTo>
                        <a:pt x="64" y="247"/>
                        <a:pt x="64" y="247"/>
                        <a:pt x="64" y="247"/>
                      </a:cubicBezTo>
                      <a:cubicBezTo>
                        <a:pt x="43" y="302"/>
                        <a:pt x="43" y="302"/>
                        <a:pt x="43" y="302"/>
                      </a:cubicBezTo>
                      <a:cubicBezTo>
                        <a:pt x="43" y="302"/>
                        <a:pt x="50" y="306"/>
                        <a:pt x="46" y="306"/>
                      </a:cubicBezTo>
                      <a:cubicBezTo>
                        <a:pt x="34" y="347"/>
                        <a:pt x="16" y="350"/>
                        <a:pt x="16" y="350"/>
                      </a:cubicBezTo>
                      <a:cubicBezTo>
                        <a:pt x="15" y="381"/>
                        <a:pt x="15" y="381"/>
                        <a:pt x="15" y="381"/>
                      </a:cubicBezTo>
                      <a:cubicBezTo>
                        <a:pt x="11" y="386"/>
                        <a:pt x="11" y="386"/>
                        <a:pt x="11" y="386"/>
                      </a:cubicBezTo>
                      <a:cubicBezTo>
                        <a:pt x="16" y="395"/>
                        <a:pt x="16" y="395"/>
                        <a:pt x="16" y="395"/>
                      </a:cubicBezTo>
                      <a:cubicBezTo>
                        <a:pt x="16" y="395"/>
                        <a:pt x="7" y="403"/>
                        <a:pt x="2" y="406"/>
                      </a:cubicBezTo>
                      <a:cubicBezTo>
                        <a:pt x="1" y="406"/>
                        <a:pt x="1" y="406"/>
                        <a:pt x="0" y="406"/>
                      </a:cubicBezTo>
                      <a:cubicBezTo>
                        <a:pt x="4" y="417"/>
                        <a:pt x="4" y="417"/>
                        <a:pt x="4" y="417"/>
                      </a:cubicBezTo>
                      <a:cubicBezTo>
                        <a:pt x="4" y="417"/>
                        <a:pt x="52" y="414"/>
                        <a:pt x="43" y="471"/>
                      </a:cubicBezTo>
                      <a:cubicBezTo>
                        <a:pt x="45" y="477"/>
                        <a:pt x="61" y="476"/>
                        <a:pt x="66" y="496"/>
                      </a:cubicBezTo>
                      <a:cubicBezTo>
                        <a:pt x="76" y="498"/>
                        <a:pt x="87" y="500"/>
                        <a:pt x="90" y="499"/>
                      </a:cubicBezTo>
                      <a:cubicBezTo>
                        <a:pt x="92" y="526"/>
                        <a:pt x="116" y="512"/>
                        <a:pt x="113" y="510"/>
                      </a:cubicBezTo>
                      <a:cubicBezTo>
                        <a:pt x="153" y="521"/>
                        <a:pt x="143" y="491"/>
                        <a:pt x="143" y="491"/>
                      </a:cubicBezTo>
                      <a:cubicBezTo>
                        <a:pt x="152" y="503"/>
                        <a:pt x="152" y="503"/>
                        <a:pt x="152" y="503"/>
                      </a:cubicBezTo>
                      <a:cubicBezTo>
                        <a:pt x="152" y="503"/>
                        <a:pt x="152" y="503"/>
                        <a:pt x="161" y="493"/>
                      </a:cubicBezTo>
                      <a:cubicBezTo>
                        <a:pt x="158" y="468"/>
                        <a:pt x="174" y="468"/>
                        <a:pt x="174" y="463"/>
                      </a:cubicBezTo>
                      <a:cubicBezTo>
                        <a:pt x="154" y="435"/>
                        <a:pt x="165" y="419"/>
                        <a:pt x="165" y="419"/>
                      </a:cubicBezTo>
                      <a:cubicBezTo>
                        <a:pt x="165" y="419"/>
                        <a:pt x="159" y="406"/>
                        <a:pt x="167" y="386"/>
                      </a:cubicBezTo>
                      <a:cubicBezTo>
                        <a:pt x="166" y="363"/>
                        <a:pt x="176" y="349"/>
                        <a:pt x="176" y="349"/>
                      </a:cubicBezTo>
                      <a:cubicBezTo>
                        <a:pt x="176" y="336"/>
                        <a:pt x="176" y="336"/>
                        <a:pt x="176" y="336"/>
                      </a:cubicBezTo>
                      <a:cubicBezTo>
                        <a:pt x="144" y="322"/>
                        <a:pt x="179" y="281"/>
                        <a:pt x="185" y="262"/>
                      </a:cubicBezTo>
                      <a:cubicBezTo>
                        <a:pt x="180" y="238"/>
                        <a:pt x="199" y="232"/>
                        <a:pt x="199" y="229"/>
                      </a:cubicBezTo>
                      <a:cubicBezTo>
                        <a:pt x="191" y="200"/>
                        <a:pt x="207" y="183"/>
                        <a:pt x="209" y="177"/>
                      </a:cubicBezTo>
                      <a:cubicBezTo>
                        <a:pt x="200" y="156"/>
                        <a:pt x="215" y="141"/>
                        <a:pt x="218" y="138"/>
                      </a:cubicBezTo>
                      <a:cubicBezTo>
                        <a:pt x="247" y="113"/>
                        <a:pt x="245" y="104"/>
                        <a:pt x="245" y="104"/>
                      </a:cubicBezTo>
                      <a:cubicBezTo>
                        <a:pt x="251" y="104"/>
                        <a:pt x="261" y="93"/>
                        <a:pt x="261" y="93"/>
                      </a:cubicBezTo>
                      <a:cubicBezTo>
                        <a:pt x="270" y="94"/>
                        <a:pt x="279" y="58"/>
                        <a:pt x="279" y="58"/>
                      </a:cubicBezTo>
                      <a:cubicBezTo>
                        <a:pt x="294" y="35"/>
                        <a:pt x="294" y="35"/>
                        <a:pt x="294" y="35"/>
                      </a:cubicBezTo>
                      <a:lnTo>
                        <a:pt x="271" y="35"/>
                      </a:ln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86" name="Franche-Comté" descr="© INSCALE GmbH, 05.05.2010&#10;http://www.presentationload.com/">
                  <a:extLst>
                    <a:ext uri="{FF2B5EF4-FFF2-40B4-BE49-F238E27FC236}">
                      <a16:creationId xmlns:a16="http://schemas.microsoft.com/office/drawing/2014/main" id="{7E4A7D8B-963E-433E-802E-98DB1C31109E}"/>
                    </a:ext>
                  </a:extLst>
                </p:cNvPr>
                <p:cNvSpPr>
                  <a:spLocks/>
                </p:cNvSpPr>
                <p:nvPr/>
              </p:nvSpPr>
              <p:spPr bwMode="gray">
                <a:xfrm>
                  <a:off x="2452" y="1199"/>
                  <a:ext cx="435" cy="623"/>
                </a:xfrm>
                <a:custGeom>
                  <a:avLst/>
                  <a:gdLst/>
                  <a:ahLst/>
                  <a:cxnLst>
                    <a:cxn ang="0">
                      <a:pos x="40" y="136"/>
                    </a:cxn>
                    <a:cxn ang="0">
                      <a:pos x="17" y="186"/>
                    </a:cxn>
                    <a:cxn ang="0">
                      <a:pos x="30" y="212"/>
                    </a:cxn>
                    <a:cxn ang="0">
                      <a:pos x="46" y="228"/>
                    </a:cxn>
                    <a:cxn ang="0">
                      <a:pos x="13" y="312"/>
                    </a:cxn>
                    <a:cxn ang="0">
                      <a:pos x="12" y="326"/>
                    </a:cxn>
                    <a:cxn ang="0">
                      <a:pos x="14" y="353"/>
                    </a:cxn>
                    <a:cxn ang="0">
                      <a:pos x="46" y="380"/>
                    </a:cxn>
                    <a:cxn ang="0">
                      <a:pos x="25" y="402"/>
                    </a:cxn>
                    <a:cxn ang="0">
                      <a:pos x="36" y="418"/>
                    </a:cxn>
                    <a:cxn ang="0">
                      <a:pos x="37" y="465"/>
                    </a:cxn>
                    <a:cxn ang="0">
                      <a:pos x="40" y="498"/>
                    </a:cxn>
                    <a:cxn ang="0">
                      <a:pos x="18" y="524"/>
                    </a:cxn>
                    <a:cxn ang="0">
                      <a:pos x="32" y="542"/>
                    </a:cxn>
                    <a:cxn ang="0">
                      <a:pos x="53" y="566"/>
                    </a:cxn>
                    <a:cxn ang="0">
                      <a:pos x="109" y="548"/>
                    </a:cxn>
                    <a:cxn ang="0">
                      <a:pos x="145" y="562"/>
                    </a:cxn>
                    <a:cxn ang="0">
                      <a:pos x="200" y="497"/>
                    </a:cxn>
                    <a:cxn ang="0">
                      <a:pos x="201" y="425"/>
                    </a:cxn>
                    <a:cxn ang="0">
                      <a:pos x="257" y="358"/>
                    </a:cxn>
                    <a:cxn ang="0">
                      <a:pos x="272" y="305"/>
                    </a:cxn>
                    <a:cxn ang="0">
                      <a:pos x="312" y="288"/>
                    </a:cxn>
                    <a:cxn ang="0">
                      <a:pos x="370" y="218"/>
                    </a:cxn>
                    <a:cxn ang="0">
                      <a:pos x="373" y="202"/>
                    </a:cxn>
                    <a:cxn ang="0">
                      <a:pos x="386" y="180"/>
                    </a:cxn>
                    <a:cxn ang="0">
                      <a:pos x="364" y="161"/>
                    </a:cxn>
                    <a:cxn ang="0">
                      <a:pos x="378" y="139"/>
                    </a:cxn>
                    <a:cxn ang="0">
                      <a:pos x="373" y="118"/>
                    </a:cxn>
                    <a:cxn ang="0">
                      <a:pos x="330" y="53"/>
                    </a:cxn>
                    <a:cxn ang="0">
                      <a:pos x="285" y="32"/>
                    </a:cxn>
                    <a:cxn ang="0">
                      <a:pos x="250" y="37"/>
                    </a:cxn>
                    <a:cxn ang="0">
                      <a:pos x="189" y="26"/>
                    </a:cxn>
                    <a:cxn ang="0">
                      <a:pos x="177" y="16"/>
                    </a:cxn>
                    <a:cxn ang="0">
                      <a:pos x="153" y="6"/>
                    </a:cxn>
                    <a:cxn ang="0">
                      <a:pos x="134" y="26"/>
                    </a:cxn>
                    <a:cxn ang="0">
                      <a:pos x="128" y="16"/>
                    </a:cxn>
                    <a:cxn ang="0">
                      <a:pos x="124" y="36"/>
                    </a:cxn>
                    <a:cxn ang="0">
                      <a:pos x="113" y="56"/>
                    </a:cxn>
                    <a:cxn ang="0">
                      <a:pos x="93" y="69"/>
                    </a:cxn>
                    <a:cxn ang="0">
                      <a:pos x="80" y="78"/>
                    </a:cxn>
                    <a:cxn ang="0">
                      <a:pos x="88" y="109"/>
                    </a:cxn>
                    <a:cxn ang="0">
                      <a:pos x="57" y="106"/>
                    </a:cxn>
                    <a:cxn ang="0">
                      <a:pos x="26" y="112"/>
                    </a:cxn>
                    <a:cxn ang="0">
                      <a:pos x="24" y="140"/>
                    </a:cxn>
                  </a:cxnLst>
                  <a:rect l="0" t="0" r="r" b="b"/>
                  <a:pathLst>
                    <a:path w="403" h="577">
                      <a:moveTo>
                        <a:pt x="32" y="132"/>
                      </a:moveTo>
                      <a:cubicBezTo>
                        <a:pt x="40" y="136"/>
                        <a:pt x="40" y="136"/>
                        <a:pt x="40" y="136"/>
                      </a:cubicBezTo>
                      <a:cubicBezTo>
                        <a:pt x="40" y="136"/>
                        <a:pt x="45" y="176"/>
                        <a:pt x="29" y="176"/>
                      </a:cubicBezTo>
                      <a:cubicBezTo>
                        <a:pt x="13" y="176"/>
                        <a:pt x="25" y="186"/>
                        <a:pt x="17" y="186"/>
                      </a:cubicBezTo>
                      <a:cubicBezTo>
                        <a:pt x="9" y="186"/>
                        <a:pt x="30" y="190"/>
                        <a:pt x="30" y="190"/>
                      </a:cubicBezTo>
                      <a:cubicBezTo>
                        <a:pt x="30" y="212"/>
                        <a:pt x="30" y="212"/>
                        <a:pt x="30" y="212"/>
                      </a:cubicBezTo>
                      <a:cubicBezTo>
                        <a:pt x="49" y="208"/>
                        <a:pt x="49" y="208"/>
                        <a:pt x="49" y="208"/>
                      </a:cubicBezTo>
                      <a:cubicBezTo>
                        <a:pt x="46" y="228"/>
                        <a:pt x="46" y="228"/>
                        <a:pt x="46" y="228"/>
                      </a:cubicBezTo>
                      <a:cubicBezTo>
                        <a:pt x="54" y="236"/>
                        <a:pt x="54" y="236"/>
                        <a:pt x="54" y="236"/>
                      </a:cubicBezTo>
                      <a:cubicBezTo>
                        <a:pt x="54" y="236"/>
                        <a:pt x="34" y="301"/>
                        <a:pt x="13" y="312"/>
                      </a:cubicBezTo>
                      <a:cubicBezTo>
                        <a:pt x="10" y="316"/>
                        <a:pt x="5" y="325"/>
                        <a:pt x="5" y="325"/>
                      </a:cubicBezTo>
                      <a:cubicBezTo>
                        <a:pt x="12" y="326"/>
                        <a:pt x="12" y="326"/>
                        <a:pt x="12" y="326"/>
                      </a:cubicBezTo>
                      <a:cubicBezTo>
                        <a:pt x="12" y="326"/>
                        <a:pt x="0" y="340"/>
                        <a:pt x="0" y="352"/>
                      </a:cubicBezTo>
                      <a:cubicBezTo>
                        <a:pt x="14" y="353"/>
                        <a:pt x="14" y="353"/>
                        <a:pt x="14" y="353"/>
                      </a:cubicBezTo>
                      <a:cubicBezTo>
                        <a:pt x="18" y="364"/>
                        <a:pt x="18" y="364"/>
                        <a:pt x="18" y="364"/>
                      </a:cubicBezTo>
                      <a:cubicBezTo>
                        <a:pt x="18" y="364"/>
                        <a:pt x="30" y="368"/>
                        <a:pt x="46" y="380"/>
                      </a:cubicBezTo>
                      <a:cubicBezTo>
                        <a:pt x="13" y="392"/>
                        <a:pt x="13" y="392"/>
                        <a:pt x="13" y="392"/>
                      </a:cubicBezTo>
                      <a:cubicBezTo>
                        <a:pt x="25" y="402"/>
                        <a:pt x="25" y="402"/>
                        <a:pt x="25" y="402"/>
                      </a:cubicBezTo>
                      <a:cubicBezTo>
                        <a:pt x="25" y="422"/>
                        <a:pt x="25" y="422"/>
                        <a:pt x="25" y="422"/>
                      </a:cubicBezTo>
                      <a:cubicBezTo>
                        <a:pt x="36" y="418"/>
                        <a:pt x="36" y="418"/>
                        <a:pt x="36" y="418"/>
                      </a:cubicBezTo>
                      <a:cubicBezTo>
                        <a:pt x="36" y="418"/>
                        <a:pt x="28" y="436"/>
                        <a:pt x="45" y="445"/>
                      </a:cubicBezTo>
                      <a:cubicBezTo>
                        <a:pt x="40" y="445"/>
                        <a:pt x="37" y="465"/>
                        <a:pt x="37" y="465"/>
                      </a:cubicBezTo>
                      <a:cubicBezTo>
                        <a:pt x="37" y="465"/>
                        <a:pt x="16" y="484"/>
                        <a:pt x="41" y="490"/>
                      </a:cubicBezTo>
                      <a:cubicBezTo>
                        <a:pt x="44" y="492"/>
                        <a:pt x="40" y="498"/>
                        <a:pt x="40" y="498"/>
                      </a:cubicBezTo>
                      <a:cubicBezTo>
                        <a:pt x="21" y="504"/>
                        <a:pt x="21" y="504"/>
                        <a:pt x="21" y="504"/>
                      </a:cubicBezTo>
                      <a:cubicBezTo>
                        <a:pt x="18" y="524"/>
                        <a:pt x="18" y="524"/>
                        <a:pt x="18" y="524"/>
                      </a:cubicBezTo>
                      <a:cubicBezTo>
                        <a:pt x="32" y="529"/>
                        <a:pt x="32" y="529"/>
                        <a:pt x="32" y="529"/>
                      </a:cubicBezTo>
                      <a:cubicBezTo>
                        <a:pt x="32" y="542"/>
                        <a:pt x="32" y="542"/>
                        <a:pt x="32" y="542"/>
                      </a:cubicBezTo>
                      <a:cubicBezTo>
                        <a:pt x="56" y="553"/>
                        <a:pt x="56" y="553"/>
                        <a:pt x="56" y="553"/>
                      </a:cubicBezTo>
                      <a:cubicBezTo>
                        <a:pt x="53" y="566"/>
                        <a:pt x="53" y="566"/>
                        <a:pt x="53" y="566"/>
                      </a:cubicBezTo>
                      <a:cubicBezTo>
                        <a:pt x="53" y="566"/>
                        <a:pt x="76" y="577"/>
                        <a:pt x="93" y="538"/>
                      </a:cubicBezTo>
                      <a:cubicBezTo>
                        <a:pt x="89" y="545"/>
                        <a:pt x="109" y="548"/>
                        <a:pt x="109" y="548"/>
                      </a:cubicBezTo>
                      <a:cubicBezTo>
                        <a:pt x="113" y="564"/>
                        <a:pt x="113" y="564"/>
                        <a:pt x="113" y="564"/>
                      </a:cubicBezTo>
                      <a:cubicBezTo>
                        <a:pt x="145" y="562"/>
                        <a:pt x="145" y="562"/>
                        <a:pt x="145" y="562"/>
                      </a:cubicBezTo>
                      <a:cubicBezTo>
                        <a:pt x="202" y="503"/>
                        <a:pt x="202" y="503"/>
                        <a:pt x="202" y="503"/>
                      </a:cubicBezTo>
                      <a:cubicBezTo>
                        <a:pt x="201" y="500"/>
                        <a:pt x="200" y="497"/>
                        <a:pt x="200" y="497"/>
                      </a:cubicBezTo>
                      <a:cubicBezTo>
                        <a:pt x="166" y="487"/>
                        <a:pt x="201" y="445"/>
                        <a:pt x="201" y="445"/>
                      </a:cubicBezTo>
                      <a:cubicBezTo>
                        <a:pt x="188" y="434"/>
                        <a:pt x="201" y="425"/>
                        <a:pt x="201" y="425"/>
                      </a:cubicBezTo>
                      <a:cubicBezTo>
                        <a:pt x="201" y="425"/>
                        <a:pt x="253" y="379"/>
                        <a:pt x="253" y="376"/>
                      </a:cubicBezTo>
                      <a:cubicBezTo>
                        <a:pt x="261" y="375"/>
                        <a:pt x="271" y="367"/>
                        <a:pt x="257" y="358"/>
                      </a:cubicBezTo>
                      <a:cubicBezTo>
                        <a:pt x="276" y="339"/>
                        <a:pt x="259" y="323"/>
                        <a:pt x="259" y="323"/>
                      </a:cubicBezTo>
                      <a:cubicBezTo>
                        <a:pt x="272" y="305"/>
                        <a:pt x="272" y="305"/>
                        <a:pt x="272" y="305"/>
                      </a:cubicBezTo>
                      <a:cubicBezTo>
                        <a:pt x="302" y="298"/>
                        <a:pt x="302" y="298"/>
                        <a:pt x="302" y="298"/>
                      </a:cubicBezTo>
                      <a:cubicBezTo>
                        <a:pt x="312" y="288"/>
                        <a:pt x="312" y="288"/>
                        <a:pt x="312" y="288"/>
                      </a:cubicBezTo>
                      <a:cubicBezTo>
                        <a:pt x="315" y="277"/>
                        <a:pt x="315" y="277"/>
                        <a:pt x="315" y="277"/>
                      </a:cubicBezTo>
                      <a:cubicBezTo>
                        <a:pt x="315" y="277"/>
                        <a:pt x="368" y="222"/>
                        <a:pt x="370" y="218"/>
                      </a:cubicBezTo>
                      <a:cubicBezTo>
                        <a:pt x="365" y="210"/>
                        <a:pt x="376" y="203"/>
                        <a:pt x="375" y="202"/>
                      </a:cubicBezTo>
                      <a:cubicBezTo>
                        <a:pt x="374" y="202"/>
                        <a:pt x="374" y="202"/>
                        <a:pt x="373" y="202"/>
                      </a:cubicBezTo>
                      <a:cubicBezTo>
                        <a:pt x="374" y="202"/>
                        <a:pt x="374" y="202"/>
                        <a:pt x="375" y="202"/>
                      </a:cubicBezTo>
                      <a:cubicBezTo>
                        <a:pt x="403" y="203"/>
                        <a:pt x="386" y="180"/>
                        <a:pt x="386" y="180"/>
                      </a:cubicBezTo>
                      <a:cubicBezTo>
                        <a:pt x="354" y="184"/>
                        <a:pt x="354" y="184"/>
                        <a:pt x="354" y="184"/>
                      </a:cubicBezTo>
                      <a:cubicBezTo>
                        <a:pt x="364" y="161"/>
                        <a:pt x="364" y="161"/>
                        <a:pt x="364" y="161"/>
                      </a:cubicBezTo>
                      <a:cubicBezTo>
                        <a:pt x="380" y="152"/>
                        <a:pt x="380" y="152"/>
                        <a:pt x="380" y="152"/>
                      </a:cubicBezTo>
                      <a:cubicBezTo>
                        <a:pt x="378" y="139"/>
                        <a:pt x="378" y="139"/>
                        <a:pt x="378" y="139"/>
                      </a:cubicBezTo>
                      <a:cubicBezTo>
                        <a:pt x="378" y="139"/>
                        <a:pt x="387" y="141"/>
                        <a:pt x="396" y="143"/>
                      </a:cubicBezTo>
                      <a:cubicBezTo>
                        <a:pt x="391" y="123"/>
                        <a:pt x="375" y="124"/>
                        <a:pt x="373" y="118"/>
                      </a:cubicBezTo>
                      <a:cubicBezTo>
                        <a:pt x="382" y="61"/>
                        <a:pt x="334" y="64"/>
                        <a:pt x="334" y="64"/>
                      </a:cubicBezTo>
                      <a:cubicBezTo>
                        <a:pt x="330" y="53"/>
                        <a:pt x="330" y="53"/>
                        <a:pt x="330" y="53"/>
                      </a:cubicBezTo>
                      <a:cubicBezTo>
                        <a:pt x="325" y="54"/>
                        <a:pt x="318" y="45"/>
                        <a:pt x="318" y="45"/>
                      </a:cubicBezTo>
                      <a:cubicBezTo>
                        <a:pt x="285" y="32"/>
                        <a:pt x="285" y="32"/>
                        <a:pt x="285" y="32"/>
                      </a:cubicBezTo>
                      <a:cubicBezTo>
                        <a:pt x="276" y="20"/>
                        <a:pt x="276" y="20"/>
                        <a:pt x="276" y="20"/>
                      </a:cubicBezTo>
                      <a:cubicBezTo>
                        <a:pt x="250" y="37"/>
                        <a:pt x="250" y="37"/>
                        <a:pt x="250" y="37"/>
                      </a:cubicBezTo>
                      <a:cubicBezTo>
                        <a:pt x="250" y="37"/>
                        <a:pt x="245" y="30"/>
                        <a:pt x="241" y="20"/>
                      </a:cubicBezTo>
                      <a:cubicBezTo>
                        <a:pt x="237" y="9"/>
                        <a:pt x="189" y="26"/>
                        <a:pt x="189" y="26"/>
                      </a:cubicBezTo>
                      <a:cubicBezTo>
                        <a:pt x="190" y="17"/>
                        <a:pt x="190" y="17"/>
                        <a:pt x="190" y="17"/>
                      </a:cubicBezTo>
                      <a:cubicBezTo>
                        <a:pt x="177" y="16"/>
                        <a:pt x="177" y="16"/>
                        <a:pt x="177" y="16"/>
                      </a:cubicBezTo>
                      <a:cubicBezTo>
                        <a:pt x="178" y="0"/>
                        <a:pt x="178" y="0"/>
                        <a:pt x="178" y="0"/>
                      </a:cubicBezTo>
                      <a:cubicBezTo>
                        <a:pt x="153" y="6"/>
                        <a:pt x="153" y="6"/>
                        <a:pt x="153" y="6"/>
                      </a:cubicBezTo>
                      <a:cubicBezTo>
                        <a:pt x="148" y="20"/>
                        <a:pt x="148" y="20"/>
                        <a:pt x="148" y="20"/>
                      </a:cubicBezTo>
                      <a:cubicBezTo>
                        <a:pt x="134" y="26"/>
                        <a:pt x="134" y="26"/>
                        <a:pt x="134" y="26"/>
                      </a:cubicBezTo>
                      <a:cubicBezTo>
                        <a:pt x="138" y="17"/>
                        <a:pt x="138" y="17"/>
                        <a:pt x="138" y="17"/>
                      </a:cubicBezTo>
                      <a:cubicBezTo>
                        <a:pt x="128" y="16"/>
                        <a:pt x="128" y="16"/>
                        <a:pt x="128" y="16"/>
                      </a:cubicBezTo>
                      <a:cubicBezTo>
                        <a:pt x="121" y="27"/>
                        <a:pt x="121" y="27"/>
                        <a:pt x="121" y="27"/>
                      </a:cubicBezTo>
                      <a:cubicBezTo>
                        <a:pt x="124" y="36"/>
                        <a:pt x="124" y="36"/>
                        <a:pt x="124" y="36"/>
                      </a:cubicBezTo>
                      <a:cubicBezTo>
                        <a:pt x="116" y="41"/>
                        <a:pt x="116" y="41"/>
                        <a:pt x="116" y="41"/>
                      </a:cubicBezTo>
                      <a:cubicBezTo>
                        <a:pt x="113" y="56"/>
                        <a:pt x="113" y="56"/>
                        <a:pt x="113" y="56"/>
                      </a:cubicBezTo>
                      <a:cubicBezTo>
                        <a:pt x="100" y="54"/>
                        <a:pt x="100" y="54"/>
                        <a:pt x="100" y="54"/>
                      </a:cubicBezTo>
                      <a:cubicBezTo>
                        <a:pt x="93" y="69"/>
                        <a:pt x="93" y="69"/>
                        <a:pt x="93" y="69"/>
                      </a:cubicBezTo>
                      <a:cubicBezTo>
                        <a:pt x="85" y="68"/>
                        <a:pt x="85" y="68"/>
                        <a:pt x="85" y="68"/>
                      </a:cubicBezTo>
                      <a:cubicBezTo>
                        <a:pt x="80" y="78"/>
                        <a:pt x="80" y="78"/>
                        <a:pt x="80" y="78"/>
                      </a:cubicBezTo>
                      <a:cubicBezTo>
                        <a:pt x="90" y="78"/>
                        <a:pt x="90" y="78"/>
                        <a:pt x="90" y="78"/>
                      </a:cubicBezTo>
                      <a:cubicBezTo>
                        <a:pt x="88" y="109"/>
                        <a:pt x="88" y="109"/>
                        <a:pt x="88" y="109"/>
                      </a:cubicBezTo>
                      <a:cubicBezTo>
                        <a:pt x="69" y="114"/>
                        <a:pt x="69" y="114"/>
                        <a:pt x="69" y="114"/>
                      </a:cubicBezTo>
                      <a:cubicBezTo>
                        <a:pt x="57" y="106"/>
                        <a:pt x="57" y="106"/>
                        <a:pt x="57" y="106"/>
                      </a:cubicBezTo>
                      <a:cubicBezTo>
                        <a:pt x="56" y="113"/>
                        <a:pt x="56" y="113"/>
                        <a:pt x="56" y="113"/>
                      </a:cubicBezTo>
                      <a:cubicBezTo>
                        <a:pt x="26" y="112"/>
                        <a:pt x="26" y="112"/>
                        <a:pt x="26" y="112"/>
                      </a:cubicBezTo>
                      <a:cubicBezTo>
                        <a:pt x="26" y="112"/>
                        <a:pt x="24" y="129"/>
                        <a:pt x="21" y="136"/>
                      </a:cubicBezTo>
                      <a:cubicBezTo>
                        <a:pt x="24" y="140"/>
                        <a:pt x="24" y="140"/>
                        <a:pt x="24" y="140"/>
                      </a:cubicBezTo>
                      <a:lnTo>
                        <a:pt x="32" y="132"/>
                      </a:ln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87" name="Bourgogne" descr="© INSCALE GmbH, 05.05.2010&#10;http://www.presentationload.com/">
                  <a:extLst>
                    <a:ext uri="{FF2B5EF4-FFF2-40B4-BE49-F238E27FC236}">
                      <a16:creationId xmlns:a16="http://schemas.microsoft.com/office/drawing/2014/main" id="{04A83090-7C1B-40B8-9D1B-77BF625B7535}"/>
                    </a:ext>
                  </a:extLst>
                </p:cNvPr>
                <p:cNvSpPr>
                  <a:spLocks/>
                </p:cNvSpPr>
                <p:nvPr/>
              </p:nvSpPr>
              <p:spPr bwMode="gray">
                <a:xfrm>
                  <a:off x="1885" y="1086"/>
                  <a:ext cx="625" cy="772"/>
                </a:xfrm>
                <a:custGeom>
                  <a:avLst/>
                  <a:gdLst/>
                  <a:ahLst/>
                  <a:cxnLst>
                    <a:cxn ang="0">
                      <a:pos x="43" y="156"/>
                    </a:cxn>
                    <a:cxn ang="0">
                      <a:pos x="36" y="170"/>
                    </a:cxn>
                    <a:cxn ang="0">
                      <a:pos x="0" y="220"/>
                    </a:cxn>
                    <a:cxn ang="0">
                      <a:pos x="19" y="253"/>
                    </a:cxn>
                    <a:cxn ang="0">
                      <a:pos x="20" y="309"/>
                    </a:cxn>
                    <a:cxn ang="0">
                      <a:pos x="40" y="429"/>
                    </a:cxn>
                    <a:cxn ang="0">
                      <a:pos x="43" y="512"/>
                    </a:cxn>
                    <a:cxn ang="0">
                      <a:pos x="111" y="545"/>
                    </a:cxn>
                    <a:cxn ang="0">
                      <a:pos x="138" y="558"/>
                    </a:cxn>
                    <a:cxn ang="0">
                      <a:pos x="164" y="521"/>
                    </a:cxn>
                    <a:cxn ang="0">
                      <a:pos x="219" y="597"/>
                    </a:cxn>
                    <a:cxn ang="0">
                      <a:pos x="255" y="658"/>
                    </a:cxn>
                    <a:cxn ang="0">
                      <a:pos x="235" y="669"/>
                    </a:cxn>
                    <a:cxn ang="0">
                      <a:pos x="256" y="710"/>
                    </a:cxn>
                    <a:cxn ang="0">
                      <a:pos x="304" y="703"/>
                    </a:cxn>
                    <a:cxn ang="0">
                      <a:pos x="319" y="714"/>
                    </a:cxn>
                    <a:cxn ang="0">
                      <a:pos x="346" y="666"/>
                    </a:cxn>
                    <a:cxn ang="0">
                      <a:pos x="382" y="666"/>
                    </a:cxn>
                    <a:cxn ang="0">
                      <a:pos x="411" y="678"/>
                    </a:cxn>
                    <a:cxn ang="0">
                      <a:pos x="431" y="704"/>
                    </a:cxn>
                    <a:cxn ang="0">
                      <a:pos x="520" y="594"/>
                    </a:cxn>
                    <a:cxn ang="0">
                      <a:pos x="547" y="608"/>
                    </a:cxn>
                    <a:cxn ang="0">
                      <a:pos x="563" y="569"/>
                    </a:cxn>
                    <a:cxn ang="0">
                      <a:pos x="551" y="526"/>
                    </a:cxn>
                    <a:cxn ang="0">
                      <a:pos x="572" y="484"/>
                    </a:cxn>
                    <a:cxn ang="0">
                      <a:pos x="526" y="456"/>
                    </a:cxn>
                    <a:cxn ang="0">
                      <a:pos x="539" y="416"/>
                    </a:cxn>
                    <a:cxn ang="0">
                      <a:pos x="575" y="312"/>
                    </a:cxn>
                    <a:cxn ang="0">
                      <a:pos x="543" y="290"/>
                    </a:cxn>
                    <a:cxn ang="0">
                      <a:pos x="558" y="236"/>
                    </a:cxn>
                    <a:cxn ang="0">
                      <a:pos x="544" y="244"/>
                    </a:cxn>
                    <a:cxn ang="0">
                      <a:pos x="518" y="240"/>
                    </a:cxn>
                    <a:cxn ang="0">
                      <a:pos x="488" y="226"/>
                    </a:cxn>
                    <a:cxn ang="0">
                      <a:pos x="455" y="194"/>
                    </a:cxn>
                    <a:cxn ang="0">
                      <a:pos x="456" y="173"/>
                    </a:cxn>
                    <a:cxn ang="0">
                      <a:pos x="426" y="146"/>
                    </a:cxn>
                    <a:cxn ang="0">
                      <a:pos x="414" y="133"/>
                    </a:cxn>
                    <a:cxn ang="0">
                      <a:pos x="311" y="136"/>
                    </a:cxn>
                    <a:cxn ang="0">
                      <a:pos x="296" y="132"/>
                    </a:cxn>
                    <a:cxn ang="0">
                      <a:pos x="283" y="137"/>
                    </a:cxn>
                    <a:cxn ang="0">
                      <a:pos x="256" y="146"/>
                    </a:cxn>
                    <a:cxn ang="0">
                      <a:pos x="208" y="109"/>
                    </a:cxn>
                    <a:cxn ang="0">
                      <a:pos x="182" y="69"/>
                    </a:cxn>
                    <a:cxn ang="0">
                      <a:pos x="167" y="66"/>
                    </a:cxn>
                    <a:cxn ang="0">
                      <a:pos x="155" y="33"/>
                    </a:cxn>
                    <a:cxn ang="0">
                      <a:pos x="118" y="0"/>
                    </a:cxn>
                    <a:cxn ang="0">
                      <a:pos x="36" y="28"/>
                    </a:cxn>
                    <a:cxn ang="0">
                      <a:pos x="39" y="84"/>
                    </a:cxn>
                  </a:cxnLst>
                  <a:rect l="0" t="0" r="r" b="b"/>
                  <a:pathLst>
                    <a:path w="580" h="715">
                      <a:moveTo>
                        <a:pt x="58" y="114"/>
                      </a:moveTo>
                      <a:cubicBezTo>
                        <a:pt x="59" y="133"/>
                        <a:pt x="59" y="133"/>
                        <a:pt x="59" y="133"/>
                      </a:cubicBezTo>
                      <a:cubicBezTo>
                        <a:pt x="43" y="156"/>
                        <a:pt x="43" y="156"/>
                        <a:pt x="43" y="156"/>
                      </a:cubicBezTo>
                      <a:cubicBezTo>
                        <a:pt x="34" y="157"/>
                        <a:pt x="34" y="157"/>
                        <a:pt x="34" y="157"/>
                      </a:cubicBezTo>
                      <a:cubicBezTo>
                        <a:pt x="31" y="170"/>
                        <a:pt x="31" y="170"/>
                        <a:pt x="31" y="170"/>
                      </a:cubicBezTo>
                      <a:cubicBezTo>
                        <a:pt x="36" y="170"/>
                        <a:pt x="36" y="170"/>
                        <a:pt x="36" y="170"/>
                      </a:cubicBezTo>
                      <a:cubicBezTo>
                        <a:pt x="36" y="194"/>
                        <a:pt x="36" y="194"/>
                        <a:pt x="36" y="194"/>
                      </a:cubicBezTo>
                      <a:cubicBezTo>
                        <a:pt x="2" y="204"/>
                        <a:pt x="2" y="204"/>
                        <a:pt x="2" y="204"/>
                      </a:cubicBezTo>
                      <a:cubicBezTo>
                        <a:pt x="0" y="220"/>
                        <a:pt x="0" y="220"/>
                        <a:pt x="0" y="220"/>
                      </a:cubicBezTo>
                      <a:cubicBezTo>
                        <a:pt x="10" y="218"/>
                        <a:pt x="10" y="218"/>
                        <a:pt x="10" y="218"/>
                      </a:cubicBezTo>
                      <a:cubicBezTo>
                        <a:pt x="23" y="240"/>
                        <a:pt x="23" y="240"/>
                        <a:pt x="23" y="240"/>
                      </a:cubicBezTo>
                      <a:cubicBezTo>
                        <a:pt x="19" y="253"/>
                        <a:pt x="19" y="253"/>
                        <a:pt x="19" y="253"/>
                      </a:cubicBezTo>
                      <a:cubicBezTo>
                        <a:pt x="27" y="265"/>
                        <a:pt x="27" y="265"/>
                        <a:pt x="27" y="265"/>
                      </a:cubicBezTo>
                      <a:cubicBezTo>
                        <a:pt x="4" y="270"/>
                        <a:pt x="4" y="270"/>
                        <a:pt x="4" y="270"/>
                      </a:cubicBezTo>
                      <a:cubicBezTo>
                        <a:pt x="20" y="309"/>
                        <a:pt x="20" y="309"/>
                        <a:pt x="20" y="309"/>
                      </a:cubicBezTo>
                      <a:cubicBezTo>
                        <a:pt x="6" y="344"/>
                        <a:pt x="6" y="344"/>
                        <a:pt x="6" y="344"/>
                      </a:cubicBezTo>
                      <a:cubicBezTo>
                        <a:pt x="31" y="365"/>
                        <a:pt x="31" y="365"/>
                        <a:pt x="31" y="365"/>
                      </a:cubicBezTo>
                      <a:cubicBezTo>
                        <a:pt x="31" y="365"/>
                        <a:pt x="40" y="385"/>
                        <a:pt x="40" y="429"/>
                      </a:cubicBezTo>
                      <a:cubicBezTo>
                        <a:pt x="50" y="437"/>
                        <a:pt x="50" y="437"/>
                        <a:pt x="50" y="437"/>
                      </a:cubicBezTo>
                      <a:cubicBezTo>
                        <a:pt x="50" y="437"/>
                        <a:pt x="51" y="469"/>
                        <a:pt x="46" y="474"/>
                      </a:cubicBezTo>
                      <a:cubicBezTo>
                        <a:pt x="40" y="480"/>
                        <a:pt x="56" y="497"/>
                        <a:pt x="43" y="512"/>
                      </a:cubicBezTo>
                      <a:cubicBezTo>
                        <a:pt x="47" y="514"/>
                        <a:pt x="67" y="546"/>
                        <a:pt x="76" y="548"/>
                      </a:cubicBezTo>
                      <a:cubicBezTo>
                        <a:pt x="86" y="549"/>
                        <a:pt x="91" y="538"/>
                        <a:pt x="95" y="538"/>
                      </a:cubicBezTo>
                      <a:cubicBezTo>
                        <a:pt x="99" y="538"/>
                        <a:pt x="107" y="545"/>
                        <a:pt x="111" y="545"/>
                      </a:cubicBezTo>
                      <a:cubicBezTo>
                        <a:pt x="115" y="545"/>
                        <a:pt x="126" y="537"/>
                        <a:pt x="126" y="537"/>
                      </a:cubicBezTo>
                      <a:cubicBezTo>
                        <a:pt x="138" y="544"/>
                        <a:pt x="138" y="544"/>
                        <a:pt x="138" y="544"/>
                      </a:cubicBezTo>
                      <a:cubicBezTo>
                        <a:pt x="138" y="558"/>
                        <a:pt x="138" y="558"/>
                        <a:pt x="138" y="558"/>
                      </a:cubicBezTo>
                      <a:cubicBezTo>
                        <a:pt x="150" y="544"/>
                        <a:pt x="150" y="544"/>
                        <a:pt x="150" y="544"/>
                      </a:cubicBezTo>
                      <a:cubicBezTo>
                        <a:pt x="159" y="545"/>
                        <a:pt x="159" y="545"/>
                        <a:pt x="159" y="545"/>
                      </a:cubicBezTo>
                      <a:cubicBezTo>
                        <a:pt x="159" y="545"/>
                        <a:pt x="160" y="517"/>
                        <a:pt x="164" y="521"/>
                      </a:cubicBezTo>
                      <a:cubicBezTo>
                        <a:pt x="168" y="525"/>
                        <a:pt x="198" y="576"/>
                        <a:pt x="198" y="576"/>
                      </a:cubicBezTo>
                      <a:cubicBezTo>
                        <a:pt x="202" y="594"/>
                        <a:pt x="202" y="594"/>
                        <a:pt x="202" y="594"/>
                      </a:cubicBezTo>
                      <a:cubicBezTo>
                        <a:pt x="219" y="597"/>
                        <a:pt x="219" y="597"/>
                        <a:pt x="219" y="597"/>
                      </a:cubicBezTo>
                      <a:cubicBezTo>
                        <a:pt x="230" y="610"/>
                        <a:pt x="230" y="610"/>
                        <a:pt x="230" y="610"/>
                      </a:cubicBezTo>
                      <a:cubicBezTo>
                        <a:pt x="230" y="610"/>
                        <a:pt x="258" y="600"/>
                        <a:pt x="256" y="614"/>
                      </a:cubicBezTo>
                      <a:cubicBezTo>
                        <a:pt x="255" y="629"/>
                        <a:pt x="255" y="658"/>
                        <a:pt x="255" y="658"/>
                      </a:cubicBezTo>
                      <a:cubicBezTo>
                        <a:pt x="248" y="658"/>
                        <a:pt x="248" y="658"/>
                        <a:pt x="248" y="658"/>
                      </a:cubicBezTo>
                      <a:cubicBezTo>
                        <a:pt x="243" y="672"/>
                        <a:pt x="243" y="672"/>
                        <a:pt x="243" y="672"/>
                      </a:cubicBezTo>
                      <a:cubicBezTo>
                        <a:pt x="235" y="669"/>
                        <a:pt x="235" y="669"/>
                        <a:pt x="235" y="669"/>
                      </a:cubicBezTo>
                      <a:cubicBezTo>
                        <a:pt x="236" y="697"/>
                        <a:pt x="236" y="697"/>
                        <a:pt x="236" y="697"/>
                      </a:cubicBezTo>
                      <a:cubicBezTo>
                        <a:pt x="250" y="697"/>
                        <a:pt x="250" y="697"/>
                        <a:pt x="250" y="697"/>
                      </a:cubicBezTo>
                      <a:cubicBezTo>
                        <a:pt x="256" y="710"/>
                        <a:pt x="256" y="710"/>
                        <a:pt x="256" y="710"/>
                      </a:cubicBezTo>
                      <a:cubicBezTo>
                        <a:pt x="280" y="704"/>
                        <a:pt x="280" y="704"/>
                        <a:pt x="280" y="704"/>
                      </a:cubicBezTo>
                      <a:cubicBezTo>
                        <a:pt x="280" y="704"/>
                        <a:pt x="280" y="705"/>
                        <a:pt x="295" y="706"/>
                      </a:cubicBezTo>
                      <a:cubicBezTo>
                        <a:pt x="305" y="707"/>
                        <a:pt x="305" y="705"/>
                        <a:pt x="304" y="703"/>
                      </a:cubicBezTo>
                      <a:cubicBezTo>
                        <a:pt x="303" y="702"/>
                        <a:pt x="303" y="701"/>
                        <a:pt x="303" y="701"/>
                      </a:cubicBezTo>
                      <a:cubicBezTo>
                        <a:pt x="303" y="701"/>
                        <a:pt x="304" y="702"/>
                        <a:pt x="304" y="703"/>
                      </a:cubicBezTo>
                      <a:cubicBezTo>
                        <a:pt x="307" y="707"/>
                        <a:pt x="314" y="715"/>
                        <a:pt x="319" y="714"/>
                      </a:cubicBezTo>
                      <a:cubicBezTo>
                        <a:pt x="326" y="713"/>
                        <a:pt x="320" y="706"/>
                        <a:pt x="326" y="706"/>
                      </a:cubicBezTo>
                      <a:cubicBezTo>
                        <a:pt x="331" y="706"/>
                        <a:pt x="342" y="705"/>
                        <a:pt x="342" y="705"/>
                      </a:cubicBezTo>
                      <a:cubicBezTo>
                        <a:pt x="346" y="666"/>
                        <a:pt x="346" y="666"/>
                        <a:pt x="346" y="666"/>
                      </a:cubicBezTo>
                      <a:cubicBezTo>
                        <a:pt x="358" y="665"/>
                        <a:pt x="358" y="665"/>
                        <a:pt x="358" y="665"/>
                      </a:cubicBezTo>
                      <a:cubicBezTo>
                        <a:pt x="367" y="678"/>
                        <a:pt x="367" y="678"/>
                        <a:pt x="367" y="678"/>
                      </a:cubicBezTo>
                      <a:cubicBezTo>
                        <a:pt x="382" y="666"/>
                        <a:pt x="382" y="666"/>
                        <a:pt x="382" y="666"/>
                      </a:cubicBezTo>
                      <a:cubicBezTo>
                        <a:pt x="382" y="666"/>
                        <a:pt x="382" y="676"/>
                        <a:pt x="387" y="676"/>
                      </a:cubicBezTo>
                      <a:cubicBezTo>
                        <a:pt x="392" y="676"/>
                        <a:pt x="391" y="660"/>
                        <a:pt x="402" y="664"/>
                      </a:cubicBezTo>
                      <a:cubicBezTo>
                        <a:pt x="412" y="668"/>
                        <a:pt x="411" y="678"/>
                        <a:pt x="411" y="678"/>
                      </a:cubicBezTo>
                      <a:cubicBezTo>
                        <a:pt x="419" y="686"/>
                        <a:pt x="419" y="686"/>
                        <a:pt x="419" y="686"/>
                      </a:cubicBezTo>
                      <a:cubicBezTo>
                        <a:pt x="420" y="702"/>
                        <a:pt x="420" y="702"/>
                        <a:pt x="420" y="702"/>
                      </a:cubicBezTo>
                      <a:cubicBezTo>
                        <a:pt x="431" y="704"/>
                        <a:pt x="431" y="704"/>
                        <a:pt x="431" y="704"/>
                      </a:cubicBezTo>
                      <a:cubicBezTo>
                        <a:pt x="459" y="596"/>
                        <a:pt x="459" y="596"/>
                        <a:pt x="459" y="596"/>
                      </a:cubicBezTo>
                      <a:cubicBezTo>
                        <a:pt x="459" y="596"/>
                        <a:pt x="476" y="602"/>
                        <a:pt x="490" y="602"/>
                      </a:cubicBezTo>
                      <a:cubicBezTo>
                        <a:pt x="503" y="602"/>
                        <a:pt x="518" y="589"/>
                        <a:pt x="520" y="594"/>
                      </a:cubicBezTo>
                      <a:cubicBezTo>
                        <a:pt x="523" y="600"/>
                        <a:pt x="524" y="612"/>
                        <a:pt x="528" y="612"/>
                      </a:cubicBezTo>
                      <a:cubicBezTo>
                        <a:pt x="530" y="612"/>
                        <a:pt x="538" y="613"/>
                        <a:pt x="546" y="614"/>
                      </a:cubicBezTo>
                      <a:cubicBezTo>
                        <a:pt x="547" y="608"/>
                        <a:pt x="547" y="608"/>
                        <a:pt x="547" y="608"/>
                      </a:cubicBezTo>
                      <a:cubicBezTo>
                        <a:pt x="566" y="602"/>
                        <a:pt x="566" y="602"/>
                        <a:pt x="566" y="602"/>
                      </a:cubicBezTo>
                      <a:cubicBezTo>
                        <a:pt x="566" y="602"/>
                        <a:pt x="570" y="596"/>
                        <a:pt x="567" y="594"/>
                      </a:cubicBezTo>
                      <a:cubicBezTo>
                        <a:pt x="542" y="588"/>
                        <a:pt x="563" y="569"/>
                        <a:pt x="563" y="569"/>
                      </a:cubicBezTo>
                      <a:cubicBezTo>
                        <a:pt x="563" y="569"/>
                        <a:pt x="566" y="549"/>
                        <a:pt x="571" y="549"/>
                      </a:cubicBezTo>
                      <a:cubicBezTo>
                        <a:pt x="554" y="540"/>
                        <a:pt x="562" y="522"/>
                        <a:pt x="562" y="522"/>
                      </a:cubicBezTo>
                      <a:cubicBezTo>
                        <a:pt x="551" y="526"/>
                        <a:pt x="551" y="526"/>
                        <a:pt x="551" y="526"/>
                      </a:cubicBezTo>
                      <a:cubicBezTo>
                        <a:pt x="551" y="506"/>
                        <a:pt x="551" y="506"/>
                        <a:pt x="551" y="506"/>
                      </a:cubicBezTo>
                      <a:cubicBezTo>
                        <a:pt x="539" y="496"/>
                        <a:pt x="539" y="496"/>
                        <a:pt x="539" y="496"/>
                      </a:cubicBezTo>
                      <a:cubicBezTo>
                        <a:pt x="572" y="484"/>
                        <a:pt x="572" y="484"/>
                        <a:pt x="572" y="484"/>
                      </a:cubicBezTo>
                      <a:cubicBezTo>
                        <a:pt x="556" y="472"/>
                        <a:pt x="544" y="468"/>
                        <a:pt x="544" y="468"/>
                      </a:cubicBezTo>
                      <a:cubicBezTo>
                        <a:pt x="540" y="457"/>
                        <a:pt x="540" y="457"/>
                        <a:pt x="540" y="457"/>
                      </a:cubicBezTo>
                      <a:cubicBezTo>
                        <a:pt x="526" y="456"/>
                        <a:pt x="526" y="456"/>
                        <a:pt x="526" y="456"/>
                      </a:cubicBezTo>
                      <a:cubicBezTo>
                        <a:pt x="526" y="444"/>
                        <a:pt x="538" y="430"/>
                        <a:pt x="538" y="430"/>
                      </a:cubicBezTo>
                      <a:cubicBezTo>
                        <a:pt x="531" y="429"/>
                        <a:pt x="531" y="429"/>
                        <a:pt x="531" y="429"/>
                      </a:cubicBezTo>
                      <a:cubicBezTo>
                        <a:pt x="531" y="429"/>
                        <a:pt x="536" y="420"/>
                        <a:pt x="539" y="416"/>
                      </a:cubicBezTo>
                      <a:cubicBezTo>
                        <a:pt x="560" y="405"/>
                        <a:pt x="580" y="340"/>
                        <a:pt x="580" y="340"/>
                      </a:cubicBezTo>
                      <a:cubicBezTo>
                        <a:pt x="572" y="332"/>
                        <a:pt x="572" y="332"/>
                        <a:pt x="572" y="332"/>
                      </a:cubicBezTo>
                      <a:cubicBezTo>
                        <a:pt x="575" y="312"/>
                        <a:pt x="575" y="312"/>
                        <a:pt x="575" y="312"/>
                      </a:cubicBezTo>
                      <a:cubicBezTo>
                        <a:pt x="556" y="316"/>
                        <a:pt x="556" y="316"/>
                        <a:pt x="556" y="316"/>
                      </a:cubicBezTo>
                      <a:cubicBezTo>
                        <a:pt x="556" y="294"/>
                        <a:pt x="556" y="294"/>
                        <a:pt x="556" y="294"/>
                      </a:cubicBezTo>
                      <a:cubicBezTo>
                        <a:pt x="556" y="294"/>
                        <a:pt x="535" y="290"/>
                        <a:pt x="543" y="290"/>
                      </a:cubicBezTo>
                      <a:cubicBezTo>
                        <a:pt x="551" y="290"/>
                        <a:pt x="539" y="280"/>
                        <a:pt x="555" y="280"/>
                      </a:cubicBezTo>
                      <a:cubicBezTo>
                        <a:pt x="571" y="280"/>
                        <a:pt x="566" y="240"/>
                        <a:pt x="566" y="240"/>
                      </a:cubicBezTo>
                      <a:cubicBezTo>
                        <a:pt x="558" y="236"/>
                        <a:pt x="558" y="236"/>
                        <a:pt x="558" y="236"/>
                      </a:cubicBezTo>
                      <a:cubicBezTo>
                        <a:pt x="550" y="244"/>
                        <a:pt x="550" y="244"/>
                        <a:pt x="550" y="244"/>
                      </a:cubicBezTo>
                      <a:cubicBezTo>
                        <a:pt x="547" y="240"/>
                        <a:pt x="547" y="240"/>
                        <a:pt x="547" y="240"/>
                      </a:cubicBezTo>
                      <a:cubicBezTo>
                        <a:pt x="546" y="242"/>
                        <a:pt x="545" y="244"/>
                        <a:pt x="544" y="244"/>
                      </a:cubicBezTo>
                      <a:cubicBezTo>
                        <a:pt x="540" y="244"/>
                        <a:pt x="535" y="241"/>
                        <a:pt x="535" y="241"/>
                      </a:cubicBezTo>
                      <a:cubicBezTo>
                        <a:pt x="518" y="253"/>
                        <a:pt x="518" y="253"/>
                        <a:pt x="518" y="253"/>
                      </a:cubicBezTo>
                      <a:cubicBezTo>
                        <a:pt x="518" y="240"/>
                        <a:pt x="518" y="240"/>
                        <a:pt x="518" y="240"/>
                      </a:cubicBezTo>
                      <a:cubicBezTo>
                        <a:pt x="502" y="232"/>
                        <a:pt x="502" y="232"/>
                        <a:pt x="502" y="232"/>
                      </a:cubicBezTo>
                      <a:cubicBezTo>
                        <a:pt x="502" y="222"/>
                        <a:pt x="502" y="222"/>
                        <a:pt x="502" y="222"/>
                      </a:cubicBezTo>
                      <a:cubicBezTo>
                        <a:pt x="502" y="222"/>
                        <a:pt x="498" y="226"/>
                        <a:pt x="488" y="226"/>
                      </a:cubicBezTo>
                      <a:cubicBezTo>
                        <a:pt x="479" y="226"/>
                        <a:pt x="467" y="212"/>
                        <a:pt x="467" y="212"/>
                      </a:cubicBezTo>
                      <a:cubicBezTo>
                        <a:pt x="455" y="217"/>
                        <a:pt x="455" y="217"/>
                        <a:pt x="455" y="217"/>
                      </a:cubicBezTo>
                      <a:cubicBezTo>
                        <a:pt x="455" y="194"/>
                        <a:pt x="455" y="194"/>
                        <a:pt x="455" y="194"/>
                      </a:cubicBezTo>
                      <a:cubicBezTo>
                        <a:pt x="446" y="192"/>
                        <a:pt x="446" y="192"/>
                        <a:pt x="446" y="192"/>
                      </a:cubicBezTo>
                      <a:cubicBezTo>
                        <a:pt x="446" y="191"/>
                        <a:pt x="446" y="191"/>
                        <a:pt x="446" y="191"/>
                      </a:cubicBezTo>
                      <a:cubicBezTo>
                        <a:pt x="456" y="173"/>
                        <a:pt x="456" y="173"/>
                        <a:pt x="456" y="173"/>
                      </a:cubicBezTo>
                      <a:cubicBezTo>
                        <a:pt x="450" y="165"/>
                        <a:pt x="439" y="144"/>
                        <a:pt x="439" y="144"/>
                      </a:cubicBezTo>
                      <a:cubicBezTo>
                        <a:pt x="432" y="150"/>
                        <a:pt x="432" y="150"/>
                        <a:pt x="432" y="150"/>
                      </a:cubicBezTo>
                      <a:cubicBezTo>
                        <a:pt x="426" y="146"/>
                        <a:pt x="426" y="146"/>
                        <a:pt x="426" y="146"/>
                      </a:cubicBezTo>
                      <a:cubicBezTo>
                        <a:pt x="432" y="138"/>
                        <a:pt x="432" y="138"/>
                        <a:pt x="432" y="138"/>
                      </a:cubicBezTo>
                      <a:cubicBezTo>
                        <a:pt x="427" y="133"/>
                        <a:pt x="427" y="133"/>
                        <a:pt x="427" y="133"/>
                      </a:cubicBezTo>
                      <a:cubicBezTo>
                        <a:pt x="414" y="133"/>
                        <a:pt x="414" y="133"/>
                        <a:pt x="414" y="133"/>
                      </a:cubicBezTo>
                      <a:cubicBezTo>
                        <a:pt x="414" y="133"/>
                        <a:pt x="414" y="133"/>
                        <a:pt x="415" y="116"/>
                      </a:cubicBezTo>
                      <a:cubicBezTo>
                        <a:pt x="334" y="100"/>
                        <a:pt x="366" y="134"/>
                        <a:pt x="366" y="134"/>
                      </a:cubicBezTo>
                      <a:cubicBezTo>
                        <a:pt x="311" y="136"/>
                        <a:pt x="311" y="136"/>
                        <a:pt x="311" y="136"/>
                      </a:cubicBezTo>
                      <a:cubicBezTo>
                        <a:pt x="311" y="148"/>
                        <a:pt x="311" y="148"/>
                        <a:pt x="311" y="148"/>
                      </a:cubicBezTo>
                      <a:cubicBezTo>
                        <a:pt x="302" y="145"/>
                        <a:pt x="302" y="145"/>
                        <a:pt x="302" y="145"/>
                      </a:cubicBezTo>
                      <a:cubicBezTo>
                        <a:pt x="296" y="132"/>
                        <a:pt x="296" y="132"/>
                        <a:pt x="296" y="132"/>
                      </a:cubicBezTo>
                      <a:cubicBezTo>
                        <a:pt x="287" y="132"/>
                        <a:pt x="287" y="132"/>
                        <a:pt x="287" y="132"/>
                      </a:cubicBezTo>
                      <a:cubicBezTo>
                        <a:pt x="290" y="141"/>
                        <a:pt x="290" y="141"/>
                        <a:pt x="290" y="141"/>
                      </a:cubicBezTo>
                      <a:cubicBezTo>
                        <a:pt x="283" y="137"/>
                        <a:pt x="283" y="137"/>
                        <a:pt x="283" y="137"/>
                      </a:cubicBezTo>
                      <a:cubicBezTo>
                        <a:pt x="270" y="148"/>
                        <a:pt x="270" y="148"/>
                        <a:pt x="270" y="148"/>
                      </a:cubicBezTo>
                      <a:cubicBezTo>
                        <a:pt x="258" y="141"/>
                        <a:pt x="258" y="141"/>
                        <a:pt x="258" y="141"/>
                      </a:cubicBezTo>
                      <a:cubicBezTo>
                        <a:pt x="256" y="146"/>
                        <a:pt x="256" y="146"/>
                        <a:pt x="256" y="146"/>
                      </a:cubicBezTo>
                      <a:cubicBezTo>
                        <a:pt x="222" y="145"/>
                        <a:pt x="222" y="145"/>
                        <a:pt x="222" y="145"/>
                      </a:cubicBezTo>
                      <a:cubicBezTo>
                        <a:pt x="222" y="145"/>
                        <a:pt x="226" y="128"/>
                        <a:pt x="226" y="125"/>
                      </a:cubicBezTo>
                      <a:cubicBezTo>
                        <a:pt x="216" y="133"/>
                        <a:pt x="218" y="129"/>
                        <a:pt x="208" y="109"/>
                      </a:cubicBezTo>
                      <a:cubicBezTo>
                        <a:pt x="199" y="89"/>
                        <a:pt x="190" y="81"/>
                        <a:pt x="190" y="81"/>
                      </a:cubicBezTo>
                      <a:cubicBezTo>
                        <a:pt x="190" y="70"/>
                        <a:pt x="190" y="70"/>
                        <a:pt x="190" y="70"/>
                      </a:cubicBezTo>
                      <a:cubicBezTo>
                        <a:pt x="182" y="69"/>
                        <a:pt x="182" y="69"/>
                        <a:pt x="182" y="69"/>
                      </a:cubicBezTo>
                      <a:cubicBezTo>
                        <a:pt x="182" y="78"/>
                        <a:pt x="182" y="78"/>
                        <a:pt x="182" y="78"/>
                      </a:cubicBezTo>
                      <a:cubicBezTo>
                        <a:pt x="176" y="81"/>
                        <a:pt x="176" y="81"/>
                        <a:pt x="176" y="81"/>
                      </a:cubicBezTo>
                      <a:cubicBezTo>
                        <a:pt x="167" y="66"/>
                        <a:pt x="167" y="66"/>
                        <a:pt x="167" y="66"/>
                      </a:cubicBezTo>
                      <a:cubicBezTo>
                        <a:pt x="158" y="69"/>
                        <a:pt x="158" y="69"/>
                        <a:pt x="158" y="69"/>
                      </a:cubicBezTo>
                      <a:cubicBezTo>
                        <a:pt x="167" y="60"/>
                        <a:pt x="159" y="38"/>
                        <a:pt x="159" y="38"/>
                      </a:cubicBezTo>
                      <a:cubicBezTo>
                        <a:pt x="155" y="33"/>
                        <a:pt x="155" y="33"/>
                        <a:pt x="155" y="33"/>
                      </a:cubicBezTo>
                      <a:cubicBezTo>
                        <a:pt x="155" y="18"/>
                        <a:pt x="128" y="8"/>
                        <a:pt x="128" y="8"/>
                      </a:cubicBezTo>
                      <a:cubicBezTo>
                        <a:pt x="122" y="10"/>
                        <a:pt x="122" y="10"/>
                        <a:pt x="122" y="10"/>
                      </a:cubicBezTo>
                      <a:cubicBezTo>
                        <a:pt x="118" y="0"/>
                        <a:pt x="118" y="0"/>
                        <a:pt x="118" y="0"/>
                      </a:cubicBezTo>
                      <a:cubicBezTo>
                        <a:pt x="103" y="8"/>
                        <a:pt x="103" y="8"/>
                        <a:pt x="103" y="8"/>
                      </a:cubicBezTo>
                      <a:cubicBezTo>
                        <a:pt x="44" y="8"/>
                        <a:pt x="44" y="8"/>
                        <a:pt x="44" y="8"/>
                      </a:cubicBezTo>
                      <a:cubicBezTo>
                        <a:pt x="36" y="28"/>
                        <a:pt x="36" y="28"/>
                        <a:pt x="36" y="28"/>
                      </a:cubicBezTo>
                      <a:cubicBezTo>
                        <a:pt x="42" y="44"/>
                        <a:pt x="42" y="44"/>
                        <a:pt x="42" y="44"/>
                      </a:cubicBezTo>
                      <a:cubicBezTo>
                        <a:pt x="42" y="44"/>
                        <a:pt x="28" y="66"/>
                        <a:pt x="20" y="75"/>
                      </a:cubicBezTo>
                      <a:cubicBezTo>
                        <a:pt x="39" y="84"/>
                        <a:pt x="39" y="84"/>
                        <a:pt x="39" y="84"/>
                      </a:cubicBezTo>
                      <a:cubicBezTo>
                        <a:pt x="39" y="84"/>
                        <a:pt x="28" y="104"/>
                        <a:pt x="58" y="114"/>
                      </a:cubicBez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88" name="Centre" descr="© INSCALE GmbH, 05.05.2010&#10;http://www.presentationload.com/">
                  <a:extLst>
                    <a:ext uri="{FF2B5EF4-FFF2-40B4-BE49-F238E27FC236}">
                      <a16:creationId xmlns:a16="http://schemas.microsoft.com/office/drawing/2014/main" id="{2CEDFACD-4B39-41D4-94A6-C5EAE6C1D366}"/>
                    </a:ext>
                  </a:extLst>
                </p:cNvPr>
                <p:cNvSpPr>
                  <a:spLocks/>
                </p:cNvSpPr>
                <p:nvPr/>
              </p:nvSpPr>
              <p:spPr bwMode="gray">
                <a:xfrm>
                  <a:off x="1233" y="903"/>
                  <a:ext cx="716" cy="887"/>
                </a:xfrm>
                <a:custGeom>
                  <a:avLst/>
                  <a:gdLst/>
                  <a:ahLst/>
                  <a:cxnLst>
                    <a:cxn ang="0">
                      <a:pos x="209" y="158"/>
                    </a:cxn>
                    <a:cxn ang="0">
                      <a:pos x="173" y="227"/>
                    </a:cxn>
                    <a:cxn ang="0">
                      <a:pos x="193" y="251"/>
                    </a:cxn>
                    <a:cxn ang="0">
                      <a:pos x="168" y="275"/>
                    </a:cxn>
                    <a:cxn ang="0">
                      <a:pos x="179" y="314"/>
                    </a:cxn>
                    <a:cxn ang="0">
                      <a:pos x="144" y="367"/>
                    </a:cxn>
                    <a:cxn ang="0">
                      <a:pos x="79" y="406"/>
                    </a:cxn>
                    <a:cxn ang="0">
                      <a:pos x="43" y="418"/>
                    </a:cxn>
                    <a:cxn ang="0">
                      <a:pos x="29" y="494"/>
                    </a:cxn>
                    <a:cxn ang="0">
                      <a:pos x="29" y="594"/>
                    </a:cxn>
                    <a:cxn ang="0">
                      <a:pos x="56" y="598"/>
                    </a:cxn>
                    <a:cxn ang="0">
                      <a:pos x="79" y="632"/>
                    </a:cxn>
                    <a:cxn ang="0">
                      <a:pos x="108" y="611"/>
                    </a:cxn>
                    <a:cxn ang="0">
                      <a:pos x="185" y="712"/>
                    </a:cxn>
                    <a:cxn ang="0">
                      <a:pos x="233" y="788"/>
                    </a:cxn>
                    <a:cxn ang="0">
                      <a:pos x="251" y="820"/>
                    </a:cxn>
                    <a:cxn ang="0">
                      <a:pos x="287" y="811"/>
                    </a:cxn>
                    <a:cxn ang="0">
                      <a:pos x="320" y="814"/>
                    </a:cxn>
                    <a:cxn ang="0">
                      <a:pos x="353" y="806"/>
                    </a:cxn>
                    <a:cxn ang="0">
                      <a:pos x="404" y="802"/>
                    </a:cxn>
                    <a:cxn ang="0">
                      <a:pos x="539" y="771"/>
                    </a:cxn>
                    <a:cxn ang="0">
                      <a:pos x="559" y="719"/>
                    </a:cxn>
                    <a:cxn ang="0">
                      <a:pos x="650" y="684"/>
                    </a:cxn>
                    <a:cxn ang="0">
                      <a:pos x="655" y="607"/>
                    </a:cxn>
                    <a:cxn ang="0">
                      <a:pos x="611" y="514"/>
                    </a:cxn>
                    <a:cxn ang="0">
                      <a:pos x="632" y="435"/>
                    </a:cxn>
                    <a:cxn ang="0">
                      <a:pos x="615" y="388"/>
                    </a:cxn>
                    <a:cxn ang="0">
                      <a:pos x="641" y="364"/>
                    </a:cxn>
                    <a:cxn ang="0">
                      <a:pos x="639" y="327"/>
                    </a:cxn>
                    <a:cxn ang="0">
                      <a:pos x="663" y="284"/>
                    </a:cxn>
                    <a:cxn ang="0">
                      <a:pos x="624" y="246"/>
                    </a:cxn>
                    <a:cxn ang="0">
                      <a:pos x="581" y="247"/>
                    </a:cxn>
                    <a:cxn ang="0">
                      <a:pos x="520" y="254"/>
                    </a:cxn>
                    <a:cxn ang="0">
                      <a:pos x="513" y="214"/>
                    </a:cxn>
                    <a:cxn ang="0">
                      <a:pos x="491" y="194"/>
                    </a:cxn>
                    <a:cxn ang="0">
                      <a:pos x="468" y="188"/>
                    </a:cxn>
                    <a:cxn ang="0">
                      <a:pos x="419" y="204"/>
                    </a:cxn>
                    <a:cxn ang="0">
                      <a:pos x="405" y="154"/>
                    </a:cxn>
                    <a:cxn ang="0">
                      <a:pos x="364" y="115"/>
                    </a:cxn>
                    <a:cxn ang="0">
                      <a:pos x="341" y="88"/>
                    </a:cxn>
                    <a:cxn ang="0">
                      <a:pos x="344" y="59"/>
                    </a:cxn>
                    <a:cxn ang="0">
                      <a:pos x="331" y="23"/>
                    </a:cxn>
                    <a:cxn ang="0">
                      <a:pos x="312" y="3"/>
                    </a:cxn>
                    <a:cxn ang="0">
                      <a:pos x="287" y="51"/>
                    </a:cxn>
                    <a:cxn ang="0">
                      <a:pos x="225" y="54"/>
                    </a:cxn>
                    <a:cxn ang="0">
                      <a:pos x="177" y="98"/>
                    </a:cxn>
                  </a:cxnLst>
                  <a:rect l="0" t="0" r="r" b="b"/>
                  <a:pathLst>
                    <a:path w="664" h="822">
                      <a:moveTo>
                        <a:pt x="205" y="131"/>
                      </a:moveTo>
                      <a:cubicBezTo>
                        <a:pt x="205" y="136"/>
                        <a:pt x="201" y="144"/>
                        <a:pt x="201" y="144"/>
                      </a:cubicBezTo>
                      <a:cubicBezTo>
                        <a:pt x="209" y="158"/>
                        <a:pt x="209" y="158"/>
                        <a:pt x="209" y="158"/>
                      </a:cubicBezTo>
                      <a:cubicBezTo>
                        <a:pt x="197" y="172"/>
                        <a:pt x="197" y="172"/>
                        <a:pt x="197" y="172"/>
                      </a:cubicBezTo>
                      <a:cubicBezTo>
                        <a:pt x="197" y="172"/>
                        <a:pt x="171" y="179"/>
                        <a:pt x="168" y="190"/>
                      </a:cubicBezTo>
                      <a:cubicBezTo>
                        <a:pt x="165" y="200"/>
                        <a:pt x="173" y="227"/>
                        <a:pt x="173" y="227"/>
                      </a:cubicBezTo>
                      <a:cubicBezTo>
                        <a:pt x="173" y="235"/>
                        <a:pt x="173" y="235"/>
                        <a:pt x="173" y="235"/>
                      </a:cubicBezTo>
                      <a:cubicBezTo>
                        <a:pt x="193" y="242"/>
                        <a:pt x="193" y="242"/>
                        <a:pt x="193" y="242"/>
                      </a:cubicBezTo>
                      <a:cubicBezTo>
                        <a:pt x="193" y="251"/>
                        <a:pt x="193" y="251"/>
                        <a:pt x="193" y="251"/>
                      </a:cubicBezTo>
                      <a:cubicBezTo>
                        <a:pt x="179" y="252"/>
                        <a:pt x="179" y="252"/>
                        <a:pt x="179" y="252"/>
                      </a:cubicBezTo>
                      <a:cubicBezTo>
                        <a:pt x="179" y="270"/>
                        <a:pt x="179" y="270"/>
                        <a:pt x="179" y="270"/>
                      </a:cubicBezTo>
                      <a:cubicBezTo>
                        <a:pt x="168" y="275"/>
                        <a:pt x="168" y="275"/>
                        <a:pt x="168" y="275"/>
                      </a:cubicBezTo>
                      <a:cubicBezTo>
                        <a:pt x="176" y="287"/>
                        <a:pt x="176" y="287"/>
                        <a:pt x="176" y="287"/>
                      </a:cubicBezTo>
                      <a:cubicBezTo>
                        <a:pt x="172" y="300"/>
                        <a:pt x="172" y="300"/>
                        <a:pt x="172" y="300"/>
                      </a:cubicBezTo>
                      <a:cubicBezTo>
                        <a:pt x="179" y="314"/>
                        <a:pt x="179" y="314"/>
                        <a:pt x="179" y="314"/>
                      </a:cubicBezTo>
                      <a:cubicBezTo>
                        <a:pt x="171" y="324"/>
                        <a:pt x="171" y="324"/>
                        <a:pt x="171" y="324"/>
                      </a:cubicBezTo>
                      <a:cubicBezTo>
                        <a:pt x="171" y="324"/>
                        <a:pt x="161" y="328"/>
                        <a:pt x="161" y="343"/>
                      </a:cubicBezTo>
                      <a:cubicBezTo>
                        <a:pt x="157" y="347"/>
                        <a:pt x="144" y="367"/>
                        <a:pt x="144" y="367"/>
                      </a:cubicBezTo>
                      <a:cubicBezTo>
                        <a:pt x="144" y="367"/>
                        <a:pt x="112" y="388"/>
                        <a:pt x="128" y="394"/>
                      </a:cubicBezTo>
                      <a:cubicBezTo>
                        <a:pt x="124" y="395"/>
                        <a:pt x="95" y="402"/>
                        <a:pt x="95" y="402"/>
                      </a:cubicBezTo>
                      <a:cubicBezTo>
                        <a:pt x="95" y="402"/>
                        <a:pt x="96" y="424"/>
                        <a:pt x="79" y="406"/>
                      </a:cubicBezTo>
                      <a:cubicBezTo>
                        <a:pt x="80" y="408"/>
                        <a:pt x="69" y="415"/>
                        <a:pt x="69" y="415"/>
                      </a:cubicBezTo>
                      <a:cubicBezTo>
                        <a:pt x="80" y="430"/>
                        <a:pt x="80" y="430"/>
                        <a:pt x="80" y="430"/>
                      </a:cubicBezTo>
                      <a:cubicBezTo>
                        <a:pt x="43" y="418"/>
                        <a:pt x="43" y="418"/>
                        <a:pt x="43" y="418"/>
                      </a:cubicBezTo>
                      <a:cubicBezTo>
                        <a:pt x="43" y="418"/>
                        <a:pt x="32" y="446"/>
                        <a:pt x="39" y="454"/>
                      </a:cubicBezTo>
                      <a:cubicBezTo>
                        <a:pt x="35" y="464"/>
                        <a:pt x="23" y="482"/>
                        <a:pt x="23" y="482"/>
                      </a:cubicBezTo>
                      <a:cubicBezTo>
                        <a:pt x="29" y="494"/>
                        <a:pt x="29" y="494"/>
                        <a:pt x="29" y="494"/>
                      </a:cubicBezTo>
                      <a:cubicBezTo>
                        <a:pt x="29" y="494"/>
                        <a:pt x="0" y="528"/>
                        <a:pt x="3" y="556"/>
                      </a:cubicBezTo>
                      <a:cubicBezTo>
                        <a:pt x="5" y="584"/>
                        <a:pt x="29" y="580"/>
                        <a:pt x="29" y="580"/>
                      </a:cubicBezTo>
                      <a:cubicBezTo>
                        <a:pt x="29" y="594"/>
                        <a:pt x="29" y="594"/>
                        <a:pt x="29" y="594"/>
                      </a:cubicBezTo>
                      <a:cubicBezTo>
                        <a:pt x="43" y="587"/>
                        <a:pt x="43" y="587"/>
                        <a:pt x="43" y="587"/>
                      </a:cubicBezTo>
                      <a:cubicBezTo>
                        <a:pt x="47" y="594"/>
                        <a:pt x="47" y="594"/>
                        <a:pt x="47" y="594"/>
                      </a:cubicBezTo>
                      <a:cubicBezTo>
                        <a:pt x="56" y="598"/>
                        <a:pt x="56" y="598"/>
                        <a:pt x="56" y="598"/>
                      </a:cubicBezTo>
                      <a:cubicBezTo>
                        <a:pt x="56" y="598"/>
                        <a:pt x="44" y="624"/>
                        <a:pt x="56" y="628"/>
                      </a:cubicBezTo>
                      <a:cubicBezTo>
                        <a:pt x="68" y="632"/>
                        <a:pt x="67" y="626"/>
                        <a:pt x="67" y="626"/>
                      </a:cubicBezTo>
                      <a:cubicBezTo>
                        <a:pt x="79" y="632"/>
                        <a:pt x="79" y="632"/>
                        <a:pt x="79" y="632"/>
                      </a:cubicBezTo>
                      <a:cubicBezTo>
                        <a:pt x="93" y="624"/>
                        <a:pt x="93" y="624"/>
                        <a:pt x="93" y="624"/>
                      </a:cubicBezTo>
                      <a:cubicBezTo>
                        <a:pt x="116" y="624"/>
                        <a:pt x="116" y="624"/>
                        <a:pt x="116" y="624"/>
                      </a:cubicBezTo>
                      <a:cubicBezTo>
                        <a:pt x="108" y="611"/>
                        <a:pt x="108" y="611"/>
                        <a:pt x="108" y="611"/>
                      </a:cubicBezTo>
                      <a:cubicBezTo>
                        <a:pt x="140" y="622"/>
                        <a:pt x="140" y="622"/>
                        <a:pt x="140" y="622"/>
                      </a:cubicBezTo>
                      <a:cubicBezTo>
                        <a:pt x="140" y="622"/>
                        <a:pt x="143" y="654"/>
                        <a:pt x="160" y="670"/>
                      </a:cubicBezTo>
                      <a:cubicBezTo>
                        <a:pt x="177" y="686"/>
                        <a:pt x="153" y="679"/>
                        <a:pt x="185" y="712"/>
                      </a:cubicBezTo>
                      <a:cubicBezTo>
                        <a:pt x="184" y="726"/>
                        <a:pt x="179" y="755"/>
                        <a:pt x="207" y="756"/>
                      </a:cubicBezTo>
                      <a:cubicBezTo>
                        <a:pt x="211" y="758"/>
                        <a:pt x="208" y="767"/>
                        <a:pt x="208" y="767"/>
                      </a:cubicBezTo>
                      <a:cubicBezTo>
                        <a:pt x="208" y="767"/>
                        <a:pt x="227" y="746"/>
                        <a:pt x="233" y="788"/>
                      </a:cubicBezTo>
                      <a:cubicBezTo>
                        <a:pt x="237" y="795"/>
                        <a:pt x="248" y="800"/>
                        <a:pt x="248" y="800"/>
                      </a:cubicBezTo>
                      <a:cubicBezTo>
                        <a:pt x="244" y="811"/>
                        <a:pt x="244" y="811"/>
                        <a:pt x="244" y="811"/>
                      </a:cubicBezTo>
                      <a:cubicBezTo>
                        <a:pt x="251" y="820"/>
                        <a:pt x="251" y="820"/>
                        <a:pt x="251" y="820"/>
                      </a:cubicBezTo>
                      <a:cubicBezTo>
                        <a:pt x="269" y="818"/>
                        <a:pt x="269" y="818"/>
                        <a:pt x="269" y="818"/>
                      </a:cubicBezTo>
                      <a:cubicBezTo>
                        <a:pt x="269" y="811"/>
                        <a:pt x="269" y="811"/>
                        <a:pt x="269" y="811"/>
                      </a:cubicBezTo>
                      <a:cubicBezTo>
                        <a:pt x="287" y="811"/>
                        <a:pt x="287" y="811"/>
                        <a:pt x="287" y="811"/>
                      </a:cubicBezTo>
                      <a:cubicBezTo>
                        <a:pt x="292" y="822"/>
                        <a:pt x="292" y="822"/>
                        <a:pt x="292" y="822"/>
                      </a:cubicBezTo>
                      <a:cubicBezTo>
                        <a:pt x="319" y="802"/>
                        <a:pt x="319" y="802"/>
                        <a:pt x="319" y="802"/>
                      </a:cubicBezTo>
                      <a:cubicBezTo>
                        <a:pt x="320" y="814"/>
                        <a:pt x="320" y="814"/>
                        <a:pt x="320" y="814"/>
                      </a:cubicBezTo>
                      <a:cubicBezTo>
                        <a:pt x="337" y="803"/>
                        <a:pt x="337" y="803"/>
                        <a:pt x="337" y="803"/>
                      </a:cubicBezTo>
                      <a:cubicBezTo>
                        <a:pt x="340" y="811"/>
                        <a:pt x="340" y="811"/>
                        <a:pt x="340" y="811"/>
                      </a:cubicBezTo>
                      <a:cubicBezTo>
                        <a:pt x="353" y="806"/>
                        <a:pt x="353" y="806"/>
                        <a:pt x="353" y="806"/>
                      </a:cubicBezTo>
                      <a:cubicBezTo>
                        <a:pt x="363" y="812"/>
                        <a:pt x="363" y="812"/>
                        <a:pt x="363" y="812"/>
                      </a:cubicBezTo>
                      <a:cubicBezTo>
                        <a:pt x="368" y="794"/>
                        <a:pt x="368" y="794"/>
                        <a:pt x="368" y="794"/>
                      </a:cubicBezTo>
                      <a:cubicBezTo>
                        <a:pt x="368" y="794"/>
                        <a:pt x="392" y="804"/>
                        <a:pt x="404" y="802"/>
                      </a:cubicBezTo>
                      <a:cubicBezTo>
                        <a:pt x="416" y="799"/>
                        <a:pt x="411" y="790"/>
                        <a:pt x="436" y="803"/>
                      </a:cubicBezTo>
                      <a:cubicBezTo>
                        <a:pt x="441" y="812"/>
                        <a:pt x="483" y="802"/>
                        <a:pt x="483" y="802"/>
                      </a:cubicBezTo>
                      <a:cubicBezTo>
                        <a:pt x="483" y="802"/>
                        <a:pt x="505" y="759"/>
                        <a:pt x="539" y="771"/>
                      </a:cubicBezTo>
                      <a:cubicBezTo>
                        <a:pt x="555" y="760"/>
                        <a:pt x="555" y="760"/>
                        <a:pt x="555" y="760"/>
                      </a:cubicBezTo>
                      <a:cubicBezTo>
                        <a:pt x="555" y="760"/>
                        <a:pt x="545" y="738"/>
                        <a:pt x="552" y="732"/>
                      </a:cubicBezTo>
                      <a:cubicBezTo>
                        <a:pt x="559" y="727"/>
                        <a:pt x="559" y="719"/>
                        <a:pt x="559" y="719"/>
                      </a:cubicBezTo>
                      <a:cubicBezTo>
                        <a:pt x="559" y="719"/>
                        <a:pt x="577" y="700"/>
                        <a:pt x="581" y="700"/>
                      </a:cubicBezTo>
                      <a:cubicBezTo>
                        <a:pt x="585" y="700"/>
                        <a:pt x="600" y="722"/>
                        <a:pt x="608" y="706"/>
                      </a:cubicBezTo>
                      <a:cubicBezTo>
                        <a:pt x="615" y="691"/>
                        <a:pt x="625" y="683"/>
                        <a:pt x="650" y="684"/>
                      </a:cubicBezTo>
                      <a:cubicBezTo>
                        <a:pt x="649" y="683"/>
                        <a:pt x="649" y="682"/>
                        <a:pt x="648" y="682"/>
                      </a:cubicBezTo>
                      <a:cubicBezTo>
                        <a:pt x="661" y="667"/>
                        <a:pt x="645" y="650"/>
                        <a:pt x="651" y="644"/>
                      </a:cubicBezTo>
                      <a:cubicBezTo>
                        <a:pt x="656" y="639"/>
                        <a:pt x="655" y="607"/>
                        <a:pt x="655" y="607"/>
                      </a:cubicBezTo>
                      <a:cubicBezTo>
                        <a:pt x="645" y="599"/>
                        <a:pt x="645" y="599"/>
                        <a:pt x="645" y="599"/>
                      </a:cubicBezTo>
                      <a:cubicBezTo>
                        <a:pt x="645" y="555"/>
                        <a:pt x="636" y="535"/>
                        <a:pt x="636" y="535"/>
                      </a:cubicBezTo>
                      <a:cubicBezTo>
                        <a:pt x="611" y="514"/>
                        <a:pt x="611" y="514"/>
                        <a:pt x="611" y="514"/>
                      </a:cubicBezTo>
                      <a:cubicBezTo>
                        <a:pt x="625" y="479"/>
                        <a:pt x="625" y="479"/>
                        <a:pt x="625" y="479"/>
                      </a:cubicBezTo>
                      <a:cubicBezTo>
                        <a:pt x="609" y="440"/>
                        <a:pt x="609" y="440"/>
                        <a:pt x="609" y="440"/>
                      </a:cubicBezTo>
                      <a:cubicBezTo>
                        <a:pt x="632" y="435"/>
                        <a:pt x="632" y="435"/>
                        <a:pt x="632" y="435"/>
                      </a:cubicBezTo>
                      <a:cubicBezTo>
                        <a:pt x="624" y="423"/>
                        <a:pt x="624" y="423"/>
                        <a:pt x="624" y="423"/>
                      </a:cubicBezTo>
                      <a:cubicBezTo>
                        <a:pt x="628" y="410"/>
                        <a:pt x="628" y="410"/>
                        <a:pt x="628" y="410"/>
                      </a:cubicBezTo>
                      <a:cubicBezTo>
                        <a:pt x="615" y="388"/>
                        <a:pt x="615" y="388"/>
                        <a:pt x="615" y="388"/>
                      </a:cubicBezTo>
                      <a:cubicBezTo>
                        <a:pt x="605" y="390"/>
                        <a:pt x="605" y="390"/>
                        <a:pt x="605" y="390"/>
                      </a:cubicBezTo>
                      <a:cubicBezTo>
                        <a:pt x="607" y="374"/>
                        <a:pt x="607" y="374"/>
                        <a:pt x="607" y="374"/>
                      </a:cubicBezTo>
                      <a:cubicBezTo>
                        <a:pt x="641" y="364"/>
                        <a:pt x="641" y="364"/>
                        <a:pt x="641" y="364"/>
                      </a:cubicBezTo>
                      <a:cubicBezTo>
                        <a:pt x="641" y="340"/>
                        <a:pt x="641" y="340"/>
                        <a:pt x="641" y="340"/>
                      </a:cubicBezTo>
                      <a:cubicBezTo>
                        <a:pt x="636" y="340"/>
                        <a:pt x="636" y="340"/>
                        <a:pt x="636" y="340"/>
                      </a:cubicBezTo>
                      <a:cubicBezTo>
                        <a:pt x="639" y="327"/>
                        <a:pt x="639" y="327"/>
                        <a:pt x="639" y="327"/>
                      </a:cubicBezTo>
                      <a:cubicBezTo>
                        <a:pt x="648" y="326"/>
                        <a:pt x="648" y="326"/>
                        <a:pt x="648" y="326"/>
                      </a:cubicBezTo>
                      <a:cubicBezTo>
                        <a:pt x="664" y="303"/>
                        <a:pt x="664" y="303"/>
                        <a:pt x="664" y="303"/>
                      </a:cubicBezTo>
                      <a:cubicBezTo>
                        <a:pt x="663" y="284"/>
                        <a:pt x="663" y="284"/>
                        <a:pt x="663" y="284"/>
                      </a:cubicBezTo>
                      <a:cubicBezTo>
                        <a:pt x="633" y="274"/>
                        <a:pt x="644" y="254"/>
                        <a:pt x="644" y="254"/>
                      </a:cubicBezTo>
                      <a:cubicBezTo>
                        <a:pt x="625" y="245"/>
                        <a:pt x="625" y="245"/>
                        <a:pt x="625" y="245"/>
                      </a:cubicBezTo>
                      <a:cubicBezTo>
                        <a:pt x="625" y="245"/>
                        <a:pt x="624" y="246"/>
                        <a:pt x="624" y="246"/>
                      </a:cubicBezTo>
                      <a:cubicBezTo>
                        <a:pt x="616" y="254"/>
                        <a:pt x="593" y="258"/>
                        <a:pt x="593" y="258"/>
                      </a:cubicBezTo>
                      <a:cubicBezTo>
                        <a:pt x="593" y="247"/>
                        <a:pt x="593" y="247"/>
                        <a:pt x="593" y="247"/>
                      </a:cubicBezTo>
                      <a:cubicBezTo>
                        <a:pt x="581" y="247"/>
                        <a:pt x="581" y="247"/>
                        <a:pt x="581" y="247"/>
                      </a:cubicBezTo>
                      <a:cubicBezTo>
                        <a:pt x="581" y="255"/>
                        <a:pt x="581" y="255"/>
                        <a:pt x="581" y="255"/>
                      </a:cubicBezTo>
                      <a:cubicBezTo>
                        <a:pt x="526" y="254"/>
                        <a:pt x="526" y="254"/>
                        <a:pt x="526" y="254"/>
                      </a:cubicBezTo>
                      <a:cubicBezTo>
                        <a:pt x="523" y="254"/>
                        <a:pt x="520" y="254"/>
                        <a:pt x="520" y="254"/>
                      </a:cubicBezTo>
                      <a:cubicBezTo>
                        <a:pt x="526" y="254"/>
                        <a:pt x="526" y="254"/>
                        <a:pt x="526" y="254"/>
                      </a:cubicBezTo>
                      <a:cubicBezTo>
                        <a:pt x="530" y="253"/>
                        <a:pt x="536" y="250"/>
                        <a:pt x="537" y="239"/>
                      </a:cubicBezTo>
                      <a:cubicBezTo>
                        <a:pt x="540" y="220"/>
                        <a:pt x="513" y="214"/>
                        <a:pt x="513" y="214"/>
                      </a:cubicBezTo>
                      <a:cubicBezTo>
                        <a:pt x="509" y="198"/>
                        <a:pt x="509" y="198"/>
                        <a:pt x="509" y="198"/>
                      </a:cubicBezTo>
                      <a:cubicBezTo>
                        <a:pt x="507" y="199"/>
                        <a:pt x="507" y="199"/>
                        <a:pt x="507" y="199"/>
                      </a:cubicBezTo>
                      <a:cubicBezTo>
                        <a:pt x="491" y="194"/>
                        <a:pt x="491" y="194"/>
                        <a:pt x="491" y="194"/>
                      </a:cubicBezTo>
                      <a:cubicBezTo>
                        <a:pt x="477" y="202"/>
                        <a:pt x="477" y="202"/>
                        <a:pt x="477" y="202"/>
                      </a:cubicBezTo>
                      <a:cubicBezTo>
                        <a:pt x="475" y="191"/>
                        <a:pt x="475" y="191"/>
                        <a:pt x="475" y="191"/>
                      </a:cubicBezTo>
                      <a:cubicBezTo>
                        <a:pt x="468" y="188"/>
                        <a:pt x="468" y="188"/>
                        <a:pt x="468" y="188"/>
                      </a:cubicBezTo>
                      <a:cubicBezTo>
                        <a:pt x="461" y="202"/>
                        <a:pt x="461" y="202"/>
                        <a:pt x="461" y="202"/>
                      </a:cubicBezTo>
                      <a:cubicBezTo>
                        <a:pt x="461" y="202"/>
                        <a:pt x="451" y="202"/>
                        <a:pt x="443" y="202"/>
                      </a:cubicBezTo>
                      <a:cubicBezTo>
                        <a:pt x="435" y="202"/>
                        <a:pt x="428" y="212"/>
                        <a:pt x="419" y="204"/>
                      </a:cubicBezTo>
                      <a:cubicBezTo>
                        <a:pt x="409" y="196"/>
                        <a:pt x="421" y="170"/>
                        <a:pt x="421" y="170"/>
                      </a:cubicBezTo>
                      <a:cubicBezTo>
                        <a:pt x="411" y="168"/>
                        <a:pt x="411" y="168"/>
                        <a:pt x="411" y="168"/>
                      </a:cubicBezTo>
                      <a:cubicBezTo>
                        <a:pt x="411" y="168"/>
                        <a:pt x="409" y="155"/>
                        <a:pt x="405" y="154"/>
                      </a:cubicBezTo>
                      <a:cubicBezTo>
                        <a:pt x="403" y="162"/>
                        <a:pt x="379" y="147"/>
                        <a:pt x="379" y="147"/>
                      </a:cubicBezTo>
                      <a:cubicBezTo>
                        <a:pt x="377" y="122"/>
                        <a:pt x="377" y="122"/>
                        <a:pt x="377" y="122"/>
                      </a:cubicBezTo>
                      <a:cubicBezTo>
                        <a:pt x="364" y="115"/>
                        <a:pt x="364" y="115"/>
                        <a:pt x="364" y="115"/>
                      </a:cubicBezTo>
                      <a:cubicBezTo>
                        <a:pt x="365" y="103"/>
                        <a:pt x="365" y="103"/>
                        <a:pt x="365" y="103"/>
                      </a:cubicBezTo>
                      <a:cubicBezTo>
                        <a:pt x="356" y="100"/>
                        <a:pt x="356" y="100"/>
                        <a:pt x="356" y="100"/>
                      </a:cubicBezTo>
                      <a:cubicBezTo>
                        <a:pt x="341" y="88"/>
                        <a:pt x="341" y="88"/>
                        <a:pt x="341" y="88"/>
                      </a:cubicBezTo>
                      <a:cubicBezTo>
                        <a:pt x="343" y="78"/>
                        <a:pt x="343" y="78"/>
                        <a:pt x="343" y="78"/>
                      </a:cubicBezTo>
                      <a:cubicBezTo>
                        <a:pt x="333" y="74"/>
                        <a:pt x="333" y="74"/>
                        <a:pt x="333" y="74"/>
                      </a:cubicBezTo>
                      <a:cubicBezTo>
                        <a:pt x="344" y="59"/>
                        <a:pt x="344" y="59"/>
                        <a:pt x="344" y="59"/>
                      </a:cubicBezTo>
                      <a:cubicBezTo>
                        <a:pt x="337" y="52"/>
                        <a:pt x="337" y="52"/>
                        <a:pt x="337" y="52"/>
                      </a:cubicBezTo>
                      <a:cubicBezTo>
                        <a:pt x="339" y="28"/>
                        <a:pt x="339" y="28"/>
                        <a:pt x="339" y="28"/>
                      </a:cubicBezTo>
                      <a:cubicBezTo>
                        <a:pt x="331" y="23"/>
                        <a:pt x="331" y="23"/>
                        <a:pt x="331" y="23"/>
                      </a:cubicBezTo>
                      <a:cubicBezTo>
                        <a:pt x="335" y="14"/>
                        <a:pt x="335" y="14"/>
                        <a:pt x="335" y="14"/>
                      </a:cubicBezTo>
                      <a:cubicBezTo>
                        <a:pt x="320" y="0"/>
                        <a:pt x="320" y="0"/>
                        <a:pt x="320" y="0"/>
                      </a:cubicBezTo>
                      <a:cubicBezTo>
                        <a:pt x="312" y="3"/>
                        <a:pt x="312" y="3"/>
                        <a:pt x="312" y="3"/>
                      </a:cubicBezTo>
                      <a:cubicBezTo>
                        <a:pt x="312" y="3"/>
                        <a:pt x="313" y="10"/>
                        <a:pt x="312" y="15"/>
                      </a:cubicBezTo>
                      <a:cubicBezTo>
                        <a:pt x="311" y="20"/>
                        <a:pt x="292" y="28"/>
                        <a:pt x="292" y="28"/>
                      </a:cubicBezTo>
                      <a:cubicBezTo>
                        <a:pt x="292" y="28"/>
                        <a:pt x="293" y="40"/>
                        <a:pt x="287" y="51"/>
                      </a:cubicBezTo>
                      <a:cubicBezTo>
                        <a:pt x="280" y="62"/>
                        <a:pt x="236" y="47"/>
                        <a:pt x="236" y="47"/>
                      </a:cubicBezTo>
                      <a:cubicBezTo>
                        <a:pt x="235" y="58"/>
                        <a:pt x="235" y="58"/>
                        <a:pt x="235" y="58"/>
                      </a:cubicBezTo>
                      <a:cubicBezTo>
                        <a:pt x="235" y="58"/>
                        <a:pt x="227" y="58"/>
                        <a:pt x="225" y="54"/>
                      </a:cubicBezTo>
                      <a:cubicBezTo>
                        <a:pt x="203" y="76"/>
                        <a:pt x="195" y="64"/>
                        <a:pt x="191" y="64"/>
                      </a:cubicBezTo>
                      <a:cubicBezTo>
                        <a:pt x="187" y="74"/>
                        <a:pt x="182" y="78"/>
                        <a:pt x="176" y="79"/>
                      </a:cubicBezTo>
                      <a:cubicBezTo>
                        <a:pt x="177" y="98"/>
                        <a:pt x="177" y="98"/>
                        <a:pt x="177" y="98"/>
                      </a:cubicBezTo>
                      <a:cubicBezTo>
                        <a:pt x="177" y="98"/>
                        <a:pt x="205" y="126"/>
                        <a:pt x="205" y="131"/>
                      </a:cubicBez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89" name="Basse Normandie" descr="© INSCALE GmbH, 05.05.2010&#10;http://www.presentationload.com/">
                  <a:extLst>
                    <a:ext uri="{FF2B5EF4-FFF2-40B4-BE49-F238E27FC236}">
                      <a16:creationId xmlns:a16="http://schemas.microsoft.com/office/drawing/2014/main" id="{586FAF0F-6A41-4F04-9A6A-7524156374B6}"/>
                    </a:ext>
                  </a:extLst>
                </p:cNvPr>
                <p:cNvSpPr>
                  <a:spLocks/>
                </p:cNvSpPr>
                <p:nvPr/>
              </p:nvSpPr>
              <p:spPr bwMode="gray">
                <a:xfrm>
                  <a:off x="801" y="585"/>
                  <a:ext cx="657" cy="573"/>
                </a:xfrm>
                <a:custGeom>
                  <a:avLst/>
                  <a:gdLst/>
                  <a:ahLst/>
                  <a:cxnLst>
                    <a:cxn ang="0">
                      <a:pos x="197" y="413"/>
                    </a:cxn>
                    <a:cxn ang="0">
                      <a:pos x="245" y="437"/>
                    </a:cxn>
                    <a:cxn ang="0">
                      <a:pos x="265" y="435"/>
                    </a:cxn>
                    <a:cxn ang="0">
                      <a:pos x="315" y="422"/>
                    </a:cxn>
                    <a:cxn ang="0">
                      <a:pos x="336" y="415"/>
                    </a:cxn>
                    <a:cxn ang="0">
                      <a:pos x="348" y="405"/>
                    </a:cxn>
                    <a:cxn ang="0">
                      <a:pos x="373" y="439"/>
                    </a:cxn>
                    <a:cxn ang="0">
                      <a:pos x="395" y="465"/>
                    </a:cxn>
                    <a:cxn ang="0">
                      <a:pos x="485" y="481"/>
                    </a:cxn>
                    <a:cxn ang="0">
                      <a:pos x="512" y="513"/>
                    </a:cxn>
                    <a:cxn ang="0">
                      <a:pos x="561" y="531"/>
                    </a:cxn>
                    <a:cxn ang="0">
                      <a:pos x="573" y="522"/>
                    </a:cxn>
                    <a:cxn ang="0">
                      <a:pos x="597" y="467"/>
                    </a:cxn>
                    <a:cxn ang="0">
                      <a:pos x="601" y="439"/>
                    </a:cxn>
                    <a:cxn ang="0">
                      <a:pos x="577" y="393"/>
                    </a:cxn>
                    <a:cxn ang="0">
                      <a:pos x="563" y="374"/>
                    </a:cxn>
                    <a:cxn ang="0">
                      <a:pos x="536" y="325"/>
                    </a:cxn>
                    <a:cxn ang="0">
                      <a:pos x="496" y="303"/>
                    </a:cxn>
                    <a:cxn ang="0">
                      <a:pos x="496" y="259"/>
                    </a:cxn>
                    <a:cxn ang="0">
                      <a:pos x="495" y="246"/>
                    </a:cxn>
                    <a:cxn ang="0">
                      <a:pos x="491" y="218"/>
                    </a:cxn>
                    <a:cxn ang="0">
                      <a:pos x="477" y="186"/>
                    </a:cxn>
                    <a:cxn ang="0">
                      <a:pos x="463" y="93"/>
                    </a:cxn>
                    <a:cxn ang="0">
                      <a:pos x="357" y="137"/>
                    </a:cxn>
                    <a:cxn ang="0">
                      <a:pos x="239" y="114"/>
                    </a:cxn>
                    <a:cxn ang="0">
                      <a:pos x="168" y="123"/>
                    </a:cxn>
                    <a:cxn ang="0">
                      <a:pos x="157" y="102"/>
                    </a:cxn>
                    <a:cxn ang="0">
                      <a:pos x="130" y="51"/>
                    </a:cxn>
                    <a:cxn ang="0">
                      <a:pos x="140" y="11"/>
                    </a:cxn>
                    <a:cxn ang="0">
                      <a:pos x="91" y="21"/>
                    </a:cxn>
                    <a:cxn ang="0">
                      <a:pos x="1" y="0"/>
                    </a:cxn>
                    <a:cxn ang="0">
                      <a:pos x="16" y="23"/>
                    </a:cxn>
                    <a:cxn ang="0">
                      <a:pos x="22" y="85"/>
                    </a:cxn>
                    <a:cxn ang="0">
                      <a:pos x="66" y="158"/>
                    </a:cxn>
                    <a:cxn ang="0">
                      <a:pos x="73" y="216"/>
                    </a:cxn>
                    <a:cxn ang="0">
                      <a:pos x="78" y="239"/>
                    </a:cxn>
                    <a:cxn ang="0">
                      <a:pos x="69" y="294"/>
                    </a:cxn>
                    <a:cxn ang="0">
                      <a:pos x="83" y="331"/>
                    </a:cxn>
                    <a:cxn ang="0">
                      <a:pos x="58" y="332"/>
                    </a:cxn>
                    <a:cxn ang="0">
                      <a:pos x="136" y="402"/>
                    </a:cxn>
                  </a:cxnLst>
                  <a:rect l="0" t="0" r="r" b="b"/>
                  <a:pathLst>
                    <a:path w="609" h="531">
                      <a:moveTo>
                        <a:pt x="136" y="402"/>
                      </a:moveTo>
                      <a:cubicBezTo>
                        <a:pt x="173" y="418"/>
                        <a:pt x="187" y="426"/>
                        <a:pt x="197" y="413"/>
                      </a:cubicBezTo>
                      <a:cubicBezTo>
                        <a:pt x="207" y="418"/>
                        <a:pt x="220" y="422"/>
                        <a:pt x="220" y="422"/>
                      </a:cubicBezTo>
                      <a:cubicBezTo>
                        <a:pt x="220" y="422"/>
                        <a:pt x="245" y="446"/>
                        <a:pt x="245" y="437"/>
                      </a:cubicBezTo>
                      <a:cubicBezTo>
                        <a:pt x="245" y="427"/>
                        <a:pt x="261" y="426"/>
                        <a:pt x="261" y="426"/>
                      </a:cubicBezTo>
                      <a:cubicBezTo>
                        <a:pt x="265" y="435"/>
                        <a:pt x="265" y="435"/>
                        <a:pt x="265" y="435"/>
                      </a:cubicBezTo>
                      <a:cubicBezTo>
                        <a:pt x="265" y="435"/>
                        <a:pt x="288" y="435"/>
                        <a:pt x="293" y="421"/>
                      </a:cubicBezTo>
                      <a:cubicBezTo>
                        <a:pt x="300" y="421"/>
                        <a:pt x="315" y="422"/>
                        <a:pt x="315" y="422"/>
                      </a:cubicBezTo>
                      <a:cubicBezTo>
                        <a:pt x="321" y="427"/>
                        <a:pt x="321" y="427"/>
                        <a:pt x="321" y="427"/>
                      </a:cubicBezTo>
                      <a:cubicBezTo>
                        <a:pt x="336" y="415"/>
                        <a:pt x="336" y="415"/>
                        <a:pt x="336" y="415"/>
                      </a:cubicBezTo>
                      <a:cubicBezTo>
                        <a:pt x="336" y="415"/>
                        <a:pt x="344" y="426"/>
                        <a:pt x="348" y="418"/>
                      </a:cubicBezTo>
                      <a:cubicBezTo>
                        <a:pt x="352" y="410"/>
                        <a:pt x="344" y="405"/>
                        <a:pt x="348" y="405"/>
                      </a:cubicBezTo>
                      <a:cubicBezTo>
                        <a:pt x="352" y="405"/>
                        <a:pt x="375" y="414"/>
                        <a:pt x="375" y="414"/>
                      </a:cubicBezTo>
                      <a:cubicBezTo>
                        <a:pt x="375" y="414"/>
                        <a:pt x="361" y="439"/>
                        <a:pt x="373" y="439"/>
                      </a:cubicBezTo>
                      <a:cubicBezTo>
                        <a:pt x="385" y="439"/>
                        <a:pt x="391" y="438"/>
                        <a:pt x="391" y="438"/>
                      </a:cubicBezTo>
                      <a:cubicBezTo>
                        <a:pt x="395" y="465"/>
                        <a:pt x="395" y="465"/>
                        <a:pt x="395" y="465"/>
                      </a:cubicBezTo>
                      <a:cubicBezTo>
                        <a:pt x="415" y="465"/>
                        <a:pt x="415" y="465"/>
                        <a:pt x="415" y="465"/>
                      </a:cubicBezTo>
                      <a:cubicBezTo>
                        <a:pt x="415" y="465"/>
                        <a:pt x="477" y="390"/>
                        <a:pt x="485" y="481"/>
                      </a:cubicBezTo>
                      <a:cubicBezTo>
                        <a:pt x="492" y="486"/>
                        <a:pt x="505" y="493"/>
                        <a:pt x="505" y="493"/>
                      </a:cubicBezTo>
                      <a:cubicBezTo>
                        <a:pt x="512" y="513"/>
                        <a:pt x="512" y="513"/>
                        <a:pt x="512" y="513"/>
                      </a:cubicBezTo>
                      <a:cubicBezTo>
                        <a:pt x="537" y="507"/>
                        <a:pt x="537" y="507"/>
                        <a:pt x="537" y="507"/>
                      </a:cubicBezTo>
                      <a:cubicBezTo>
                        <a:pt x="561" y="531"/>
                        <a:pt x="561" y="531"/>
                        <a:pt x="561" y="531"/>
                      </a:cubicBezTo>
                      <a:cubicBezTo>
                        <a:pt x="573" y="529"/>
                        <a:pt x="573" y="529"/>
                        <a:pt x="573" y="529"/>
                      </a:cubicBezTo>
                      <a:cubicBezTo>
                        <a:pt x="573" y="522"/>
                        <a:pt x="573" y="522"/>
                        <a:pt x="573" y="522"/>
                      </a:cubicBezTo>
                      <a:cubicBezTo>
                        <a:pt x="573" y="522"/>
                        <a:pt x="565" y="495"/>
                        <a:pt x="568" y="485"/>
                      </a:cubicBezTo>
                      <a:cubicBezTo>
                        <a:pt x="571" y="474"/>
                        <a:pt x="597" y="467"/>
                        <a:pt x="597" y="467"/>
                      </a:cubicBezTo>
                      <a:cubicBezTo>
                        <a:pt x="609" y="453"/>
                        <a:pt x="609" y="453"/>
                        <a:pt x="609" y="453"/>
                      </a:cubicBezTo>
                      <a:cubicBezTo>
                        <a:pt x="601" y="439"/>
                        <a:pt x="601" y="439"/>
                        <a:pt x="601" y="439"/>
                      </a:cubicBezTo>
                      <a:cubicBezTo>
                        <a:pt x="601" y="439"/>
                        <a:pt x="605" y="431"/>
                        <a:pt x="605" y="426"/>
                      </a:cubicBezTo>
                      <a:cubicBezTo>
                        <a:pt x="605" y="421"/>
                        <a:pt x="577" y="393"/>
                        <a:pt x="577" y="393"/>
                      </a:cubicBezTo>
                      <a:cubicBezTo>
                        <a:pt x="576" y="374"/>
                        <a:pt x="576" y="374"/>
                        <a:pt x="576" y="374"/>
                      </a:cubicBezTo>
                      <a:cubicBezTo>
                        <a:pt x="569" y="376"/>
                        <a:pt x="563" y="374"/>
                        <a:pt x="563" y="374"/>
                      </a:cubicBezTo>
                      <a:cubicBezTo>
                        <a:pt x="563" y="374"/>
                        <a:pt x="556" y="363"/>
                        <a:pt x="560" y="363"/>
                      </a:cubicBezTo>
                      <a:cubicBezTo>
                        <a:pt x="581" y="349"/>
                        <a:pt x="536" y="325"/>
                        <a:pt x="536" y="325"/>
                      </a:cubicBezTo>
                      <a:cubicBezTo>
                        <a:pt x="529" y="305"/>
                        <a:pt x="529" y="305"/>
                        <a:pt x="529" y="305"/>
                      </a:cubicBezTo>
                      <a:cubicBezTo>
                        <a:pt x="496" y="303"/>
                        <a:pt x="496" y="303"/>
                        <a:pt x="496" y="303"/>
                      </a:cubicBezTo>
                      <a:cubicBezTo>
                        <a:pt x="496" y="303"/>
                        <a:pt x="483" y="299"/>
                        <a:pt x="489" y="294"/>
                      </a:cubicBezTo>
                      <a:cubicBezTo>
                        <a:pt x="496" y="289"/>
                        <a:pt x="496" y="259"/>
                        <a:pt x="496" y="259"/>
                      </a:cubicBezTo>
                      <a:cubicBezTo>
                        <a:pt x="487" y="247"/>
                        <a:pt x="487" y="247"/>
                        <a:pt x="487" y="247"/>
                      </a:cubicBezTo>
                      <a:cubicBezTo>
                        <a:pt x="495" y="246"/>
                        <a:pt x="495" y="246"/>
                        <a:pt x="495" y="246"/>
                      </a:cubicBezTo>
                      <a:cubicBezTo>
                        <a:pt x="496" y="226"/>
                        <a:pt x="496" y="226"/>
                        <a:pt x="496" y="226"/>
                      </a:cubicBezTo>
                      <a:cubicBezTo>
                        <a:pt x="491" y="218"/>
                        <a:pt x="491" y="218"/>
                        <a:pt x="491" y="218"/>
                      </a:cubicBezTo>
                      <a:cubicBezTo>
                        <a:pt x="491" y="203"/>
                        <a:pt x="491" y="203"/>
                        <a:pt x="491" y="203"/>
                      </a:cubicBezTo>
                      <a:cubicBezTo>
                        <a:pt x="491" y="203"/>
                        <a:pt x="475" y="193"/>
                        <a:pt x="477" y="186"/>
                      </a:cubicBezTo>
                      <a:cubicBezTo>
                        <a:pt x="508" y="175"/>
                        <a:pt x="476" y="178"/>
                        <a:pt x="476" y="178"/>
                      </a:cubicBezTo>
                      <a:cubicBezTo>
                        <a:pt x="463" y="93"/>
                        <a:pt x="463" y="93"/>
                        <a:pt x="463" y="93"/>
                      </a:cubicBezTo>
                      <a:cubicBezTo>
                        <a:pt x="458" y="95"/>
                        <a:pt x="436" y="105"/>
                        <a:pt x="435" y="102"/>
                      </a:cubicBezTo>
                      <a:cubicBezTo>
                        <a:pt x="418" y="138"/>
                        <a:pt x="357" y="137"/>
                        <a:pt x="357" y="137"/>
                      </a:cubicBezTo>
                      <a:cubicBezTo>
                        <a:pt x="325" y="122"/>
                        <a:pt x="325" y="122"/>
                        <a:pt x="325" y="122"/>
                      </a:cubicBezTo>
                      <a:cubicBezTo>
                        <a:pt x="325" y="122"/>
                        <a:pt x="286" y="117"/>
                        <a:pt x="239" y="114"/>
                      </a:cubicBezTo>
                      <a:cubicBezTo>
                        <a:pt x="194" y="93"/>
                        <a:pt x="170" y="107"/>
                        <a:pt x="170" y="107"/>
                      </a:cubicBezTo>
                      <a:cubicBezTo>
                        <a:pt x="168" y="123"/>
                        <a:pt x="168" y="123"/>
                        <a:pt x="168" y="123"/>
                      </a:cubicBezTo>
                      <a:cubicBezTo>
                        <a:pt x="160" y="116"/>
                        <a:pt x="160" y="116"/>
                        <a:pt x="160" y="116"/>
                      </a:cubicBezTo>
                      <a:cubicBezTo>
                        <a:pt x="160" y="116"/>
                        <a:pt x="150" y="108"/>
                        <a:pt x="157" y="102"/>
                      </a:cubicBezTo>
                      <a:cubicBezTo>
                        <a:pt x="164" y="96"/>
                        <a:pt x="152" y="88"/>
                        <a:pt x="152" y="88"/>
                      </a:cubicBezTo>
                      <a:cubicBezTo>
                        <a:pt x="130" y="51"/>
                        <a:pt x="130" y="51"/>
                        <a:pt x="130" y="51"/>
                      </a:cubicBezTo>
                      <a:cubicBezTo>
                        <a:pt x="150" y="35"/>
                        <a:pt x="150" y="35"/>
                        <a:pt x="150" y="35"/>
                      </a:cubicBezTo>
                      <a:cubicBezTo>
                        <a:pt x="140" y="11"/>
                        <a:pt x="140" y="11"/>
                        <a:pt x="140" y="11"/>
                      </a:cubicBezTo>
                      <a:cubicBezTo>
                        <a:pt x="104" y="7"/>
                        <a:pt x="104" y="7"/>
                        <a:pt x="104" y="7"/>
                      </a:cubicBezTo>
                      <a:cubicBezTo>
                        <a:pt x="91" y="21"/>
                        <a:pt x="91" y="21"/>
                        <a:pt x="91" y="21"/>
                      </a:cubicBezTo>
                      <a:cubicBezTo>
                        <a:pt x="91" y="21"/>
                        <a:pt x="82" y="30"/>
                        <a:pt x="59" y="24"/>
                      </a:cubicBezTo>
                      <a:cubicBezTo>
                        <a:pt x="36" y="18"/>
                        <a:pt x="1" y="0"/>
                        <a:pt x="1" y="0"/>
                      </a:cubicBezTo>
                      <a:cubicBezTo>
                        <a:pt x="0" y="16"/>
                        <a:pt x="0" y="16"/>
                        <a:pt x="0" y="16"/>
                      </a:cubicBezTo>
                      <a:cubicBezTo>
                        <a:pt x="0" y="16"/>
                        <a:pt x="4" y="16"/>
                        <a:pt x="16" y="23"/>
                      </a:cubicBezTo>
                      <a:cubicBezTo>
                        <a:pt x="28" y="30"/>
                        <a:pt x="12" y="63"/>
                        <a:pt x="12" y="63"/>
                      </a:cubicBezTo>
                      <a:cubicBezTo>
                        <a:pt x="12" y="63"/>
                        <a:pt x="21" y="81"/>
                        <a:pt x="22" y="85"/>
                      </a:cubicBezTo>
                      <a:cubicBezTo>
                        <a:pt x="22" y="112"/>
                        <a:pt x="34" y="108"/>
                        <a:pt x="34" y="108"/>
                      </a:cubicBezTo>
                      <a:cubicBezTo>
                        <a:pt x="66" y="158"/>
                        <a:pt x="66" y="158"/>
                        <a:pt x="66" y="158"/>
                      </a:cubicBezTo>
                      <a:cubicBezTo>
                        <a:pt x="65" y="214"/>
                        <a:pt x="65" y="214"/>
                        <a:pt x="65" y="214"/>
                      </a:cubicBezTo>
                      <a:cubicBezTo>
                        <a:pt x="73" y="216"/>
                        <a:pt x="73" y="216"/>
                        <a:pt x="73" y="216"/>
                      </a:cubicBezTo>
                      <a:cubicBezTo>
                        <a:pt x="69" y="232"/>
                        <a:pt x="69" y="232"/>
                        <a:pt x="69" y="232"/>
                      </a:cubicBezTo>
                      <a:cubicBezTo>
                        <a:pt x="78" y="239"/>
                        <a:pt x="78" y="239"/>
                        <a:pt x="78" y="239"/>
                      </a:cubicBezTo>
                      <a:cubicBezTo>
                        <a:pt x="70" y="245"/>
                        <a:pt x="70" y="245"/>
                        <a:pt x="70" y="245"/>
                      </a:cubicBezTo>
                      <a:cubicBezTo>
                        <a:pt x="70" y="245"/>
                        <a:pt x="66" y="280"/>
                        <a:pt x="69" y="294"/>
                      </a:cubicBezTo>
                      <a:cubicBezTo>
                        <a:pt x="71" y="315"/>
                        <a:pt x="108" y="326"/>
                        <a:pt x="108" y="326"/>
                      </a:cubicBezTo>
                      <a:cubicBezTo>
                        <a:pt x="83" y="331"/>
                        <a:pt x="83" y="331"/>
                        <a:pt x="83" y="331"/>
                      </a:cubicBezTo>
                      <a:cubicBezTo>
                        <a:pt x="83" y="331"/>
                        <a:pt x="75" y="328"/>
                        <a:pt x="68" y="329"/>
                      </a:cubicBezTo>
                      <a:cubicBezTo>
                        <a:pt x="66" y="330"/>
                        <a:pt x="62" y="331"/>
                        <a:pt x="58" y="332"/>
                      </a:cubicBezTo>
                      <a:cubicBezTo>
                        <a:pt x="77" y="377"/>
                        <a:pt x="77" y="377"/>
                        <a:pt x="77" y="377"/>
                      </a:cubicBezTo>
                      <a:cubicBezTo>
                        <a:pt x="77" y="377"/>
                        <a:pt x="87" y="470"/>
                        <a:pt x="136" y="402"/>
                      </a:cubicBez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90" name="Bretagne" descr="© INSCALE GmbH, 05.05.2010&#10;http://www.presentationload.com/">
                  <a:extLst>
                    <a:ext uri="{FF2B5EF4-FFF2-40B4-BE49-F238E27FC236}">
                      <a16:creationId xmlns:a16="http://schemas.microsoft.com/office/drawing/2014/main" id="{E53FFE35-7FAA-42C4-81E8-6B6C35E3A10F}"/>
                    </a:ext>
                  </a:extLst>
                </p:cNvPr>
                <p:cNvSpPr>
                  <a:spLocks noEditPoints="1"/>
                </p:cNvSpPr>
                <p:nvPr/>
              </p:nvSpPr>
              <p:spPr bwMode="gray">
                <a:xfrm>
                  <a:off x="48" y="857"/>
                  <a:ext cx="953" cy="536"/>
                </a:xfrm>
                <a:custGeom>
                  <a:avLst/>
                  <a:gdLst/>
                  <a:ahLst/>
                  <a:cxnLst>
                    <a:cxn ang="0">
                      <a:pos x="459" y="18"/>
                    </a:cxn>
                    <a:cxn ang="0">
                      <a:pos x="5" y="133"/>
                    </a:cxn>
                    <a:cxn ang="0">
                      <a:pos x="355" y="388"/>
                    </a:cxn>
                    <a:cxn ang="0">
                      <a:pos x="355" y="388"/>
                    </a:cxn>
                    <a:cxn ang="0">
                      <a:pos x="394" y="465"/>
                    </a:cxn>
                    <a:cxn ang="0">
                      <a:pos x="422" y="494"/>
                    </a:cxn>
                    <a:cxn ang="0">
                      <a:pos x="413" y="479"/>
                    </a:cxn>
                    <a:cxn ang="0">
                      <a:pos x="448" y="462"/>
                    </a:cxn>
                    <a:cxn ang="0">
                      <a:pos x="467" y="479"/>
                    </a:cxn>
                    <a:cxn ang="0">
                      <a:pos x="55" y="259"/>
                    </a:cxn>
                    <a:cxn ang="0">
                      <a:pos x="36" y="144"/>
                    </a:cxn>
                    <a:cxn ang="0">
                      <a:pos x="56" y="163"/>
                    </a:cxn>
                    <a:cxn ang="0">
                      <a:pos x="246" y="42"/>
                    </a:cxn>
                    <a:cxn ang="0">
                      <a:pos x="874" y="165"/>
                    </a:cxn>
                    <a:cxn ang="0">
                      <a:pos x="757" y="79"/>
                    </a:cxn>
                    <a:cxn ang="0">
                      <a:pos x="705" y="58"/>
                    </a:cxn>
                    <a:cxn ang="0">
                      <a:pos x="628" y="92"/>
                    </a:cxn>
                    <a:cxn ang="0">
                      <a:pos x="606" y="63"/>
                    </a:cxn>
                    <a:cxn ang="0">
                      <a:pos x="570" y="80"/>
                    </a:cxn>
                    <a:cxn ang="0">
                      <a:pos x="526" y="116"/>
                    </a:cxn>
                    <a:cxn ang="0">
                      <a:pos x="496" y="71"/>
                    </a:cxn>
                    <a:cxn ang="0">
                      <a:pos x="458" y="31"/>
                    </a:cxn>
                    <a:cxn ang="0">
                      <a:pos x="446" y="0"/>
                    </a:cxn>
                    <a:cxn ang="0">
                      <a:pos x="401" y="13"/>
                    </a:cxn>
                    <a:cxn ang="0">
                      <a:pos x="347" y="22"/>
                    </a:cxn>
                    <a:cxn ang="0">
                      <a:pos x="333" y="59"/>
                    </a:cxn>
                    <a:cxn ang="0">
                      <a:pos x="268" y="58"/>
                    </a:cxn>
                    <a:cxn ang="0">
                      <a:pos x="237" y="58"/>
                    </a:cxn>
                    <a:cxn ang="0">
                      <a:pos x="186" y="70"/>
                    </a:cxn>
                    <a:cxn ang="0">
                      <a:pos x="147" y="76"/>
                    </a:cxn>
                    <a:cxn ang="0">
                      <a:pos x="115" y="80"/>
                    </a:cxn>
                    <a:cxn ang="0">
                      <a:pos x="84" y="106"/>
                    </a:cxn>
                    <a:cxn ang="0">
                      <a:pos x="79" y="148"/>
                    </a:cxn>
                    <a:cxn ang="0">
                      <a:pos x="98" y="154"/>
                    </a:cxn>
                    <a:cxn ang="0">
                      <a:pos x="156" y="145"/>
                    </a:cxn>
                    <a:cxn ang="0">
                      <a:pos x="172" y="160"/>
                    </a:cxn>
                    <a:cxn ang="0">
                      <a:pos x="155" y="185"/>
                    </a:cxn>
                    <a:cxn ang="0">
                      <a:pos x="122" y="172"/>
                    </a:cxn>
                    <a:cxn ang="0">
                      <a:pos x="125" y="211"/>
                    </a:cxn>
                    <a:cxn ang="0">
                      <a:pos x="171" y="237"/>
                    </a:cxn>
                    <a:cxn ang="0">
                      <a:pos x="156" y="329"/>
                    </a:cxn>
                    <a:cxn ang="0">
                      <a:pos x="235" y="316"/>
                    </a:cxn>
                    <a:cxn ang="0">
                      <a:pos x="294" y="333"/>
                    </a:cxn>
                    <a:cxn ang="0">
                      <a:pos x="384" y="364"/>
                    </a:cxn>
                    <a:cxn ang="0">
                      <a:pos x="414" y="432"/>
                    </a:cxn>
                    <a:cxn ang="0">
                      <a:pos x="425" y="403"/>
                    </a:cxn>
                    <a:cxn ang="0">
                      <a:pos x="460" y="391"/>
                    </a:cxn>
                    <a:cxn ang="0">
                      <a:pos x="522" y="390"/>
                    </a:cxn>
                    <a:cxn ang="0">
                      <a:pos x="462" y="407"/>
                    </a:cxn>
                    <a:cxn ang="0">
                      <a:pos x="513" y="428"/>
                    </a:cxn>
                    <a:cxn ang="0">
                      <a:pos x="555" y="424"/>
                    </a:cxn>
                    <a:cxn ang="0">
                      <a:pos x="566" y="454"/>
                    </a:cxn>
                    <a:cxn ang="0">
                      <a:pos x="554" y="487"/>
                    </a:cxn>
                    <a:cxn ang="0">
                      <a:pos x="595" y="481"/>
                    </a:cxn>
                    <a:cxn ang="0">
                      <a:pos x="666" y="409"/>
                    </a:cxn>
                    <a:cxn ang="0">
                      <a:pos x="752" y="389"/>
                    </a:cxn>
                    <a:cxn ang="0">
                      <a:pos x="796" y="377"/>
                    </a:cxn>
                    <a:cxn ang="0">
                      <a:pos x="838" y="366"/>
                    </a:cxn>
                    <a:cxn ang="0">
                      <a:pos x="879" y="220"/>
                    </a:cxn>
                  </a:cxnLst>
                  <a:rect l="0" t="0" r="r" b="b"/>
                  <a:pathLst>
                    <a:path w="884" h="496">
                      <a:moveTo>
                        <a:pt x="459" y="18"/>
                      </a:moveTo>
                      <a:cubicBezTo>
                        <a:pt x="460" y="17"/>
                        <a:pt x="460" y="17"/>
                        <a:pt x="460" y="15"/>
                      </a:cubicBezTo>
                      <a:cubicBezTo>
                        <a:pt x="460" y="12"/>
                        <a:pt x="459" y="14"/>
                        <a:pt x="459" y="18"/>
                      </a:cubicBezTo>
                      <a:close/>
                      <a:moveTo>
                        <a:pt x="17" y="117"/>
                      </a:moveTo>
                      <a:cubicBezTo>
                        <a:pt x="11" y="117"/>
                        <a:pt x="0" y="125"/>
                        <a:pt x="0" y="125"/>
                      </a:cubicBezTo>
                      <a:cubicBezTo>
                        <a:pt x="5" y="133"/>
                        <a:pt x="5" y="133"/>
                        <a:pt x="5" y="133"/>
                      </a:cubicBezTo>
                      <a:cubicBezTo>
                        <a:pt x="21" y="123"/>
                        <a:pt x="21" y="123"/>
                        <a:pt x="21" y="123"/>
                      </a:cubicBezTo>
                      <a:cubicBezTo>
                        <a:pt x="21" y="123"/>
                        <a:pt x="23" y="117"/>
                        <a:pt x="17" y="117"/>
                      </a:cubicBezTo>
                      <a:close/>
                      <a:moveTo>
                        <a:pt x="355" y="388"/>
                      </a:moveTo>
                      <a:cubicBezTo>
                        <a:pt x="346" y="382"/>
                        <a:pt x="339" y="378"/>
                        <a:pt x="339" y="378"/>
                      </a:cubicBezTo>
                      <a:cubicBezTo>
                        <a:pt x="339" y="378"/>
                        <a:pt x="333" y="390"/>
                        <a:pt x="344" y="389"/>
                      </a:cubicBezTo>
                      <a:cubicBezTo>
                        <a:pt x="355" y="388"/>
                        <a:pt x="364" y="394"/>
                        <a:pt x="355" y="388"/>
                      </a:cubicBezTo>
                      <a:close/>
                      <a:moveTo>
                        <a:pt x="413" y="479"/>
                      </a:moveTo>
                      <a:cubicBezTo>
                        <a:pt x="409" y="469"/>
                        <a:pt x="409" y="469"/>
                        <a:pt x="409" y="469"/>
                      </a:cubicBezTo>
                      <a:cubicBezTo>
                        <a:pt x="394" y="465"/>
                        <a:pt x="394" y="465"/>
                        <a:pt x="394" y="465"/>
                      </a:cubicBezTo>
                      <a:cubicBezTo>
                        <a:pt x="384" y="466"/>
                        <a:pt x="393" y="490"/>
                        <a:pt x="393" y="490"/>
                      </a:cubicBezTo>
                      <a:cubicBezTo>
                        <a:pt x="413" y="490"/>
                        <a:pt x="413" y="490"/>
                        <a:pt x="413" y="490"/>
                      </a:cubicBezTo>
                      <a:cubicBezTo>
                        <a:pt x="422" y="494"/>
                        <a:pt x="422" y="494"/>
                        <a:pt x="422" y="494"/>
                      </a:cubicBezTo>
                      <a:cubicBezTo>
                        <a:pt x="427" y="485"/>
                        <a:pt x="427" y="485"/>
                        <a:pt x="427" y="485"/>
                      </a:cubicBezTo>
                      <a:cubicBezTo>
                        <a:pt x="425" y="480"/>
                        <a:pt x="425" y="480"/>
                        <a:pt x="425" y="480"/>
                      </a:cubicBezTo>
                      <a:lnTo>
                        <a:pt x="413" y="479"/>
                      </a:lnTo>
                      <a:close/>
                      <a:moveTo>
                        <a:pt x="448" y="462"/>
                      </a:moveTo>
                      <a:cubicBezTo>
                        <a:pt x="448" y="462"/>
                        <a:pt x="454" y="467"/>
                        <a:pt x="454" y="465"/>
                      </a:cubicBezTo>
                      <a:cubicBezTo>
                        <a:pt x="454" y="462"/>
                        <a:pt x="454" y="462"/>
                        <a:pt x="448" y="462"/>
                      </a:cubicBezTo>
                      <a:close/>
                      <a:moveTo>
                        <a:pt x="467" y="479"/>
                      </a:moveTo>
                      <a:cubicBezTo>
                        <a:pt x="467" y="479"/>
                        <a:pt x="473" y="479"/>
                        <a:pt x="473" y="476"/>
                      </a:cubicBezTo>
                      <a:cubicBezTo>
                        <a:pt x="473" y="473"/>
                        <a:pt x="467" y="479"/>
                        <a:pt x="467" y="479"/>
                      </a:cubicBezTo>
                      <a:close/>
                      <a:moveTo>
                        <a:pt x="55" y="259"/>
                      </a:moveTo>
                      <a:cubicBezTo>
                        <a:pt x="58" y="258"/>
                        <a:pt x="53" y="251"/>
                        <a:pt x="53" y="251"/>
                      </a:cubicBezTo>
                      <a:cubicBezTo>
                        <a:pt x="53" y="251"/>
                        <a:pt x="52" y="260"/>
                        <a:pt x="55" y="259"/>
                      </a:cubicBezTo>
                      <a:close/>
                      <a:moveTo>
                        <a:pt x="36" y="144"/>
                      </a:moveTo>
                      <a:cubicBezTo>
                        <a:pt x="41" y="150"/>
                        <a:pt x="40" y="142"/>
                        <a:pt x="40" y="142"/>
                      </a:cubicBezTo>
                      <a:cubicBezTo>
                        <a:pt x="40" y="142"/>
                        <a:pt x="31" y="139"/>
                        <a:pt x="36" y="144"/>
                      </a:cubicBezTo>
                      <a:close/>
                      <a:moveTo>
                        <a:pt x="56" y="163"/>
                      </a:moveTo>
                      <a:cubicBezTo>
                        <a:pt x="56" y="163"/>
                        <a:pt x="64" y="161"/>
                        <a:pt x="59" y="156"/>
                      </a:cubicBezTo>
                      <a:cubicBezTo>
                        <a:pt x="54" y="152"/>
                        <a:pt x="56" y="163"/>
                        <a:pt x="56" y="163"/>
                      </a:cubicBezTo>
                      <a:close/>
                      <a:moveTo>
                        <a:pt x="247" y="36"/>
                      </a:moveTo>
                      <a:cubicBezTo>
                        <a:pt x="242" y="39"/>
                        <a:pt x="242" y="39"/>
                        <a:pt x="242" y="39"/>
                      </a:cubicBezTo>
                      <a:cubicBezTo>
                        <a:pt x="246" y="42"/>
                        <a:pt x="246" y="42"/>
                        <a:pt x="246" y="42"/>
                      </a:cubicBezTo>
                      <a:lnTo>
                        <a:pt x="247" y="36"/>
                      </a:lnTo>
                      <a:close/>
                      <a:moveTo>
                        <a:pt x="872" y="188"/>
                      </a:moveTo>
                      <a:cubicBezTo>
                        <a:pt x="874" y="165"/>
                        <a:pt x="874" y="165"/>
                        <a:pt x="874" y="165"/>
                      </a:cubicBezTo>
                      <a:cubicBezTo>
                        <a:pt x="865" y="163"/>
                        <a:pt x="853" y="157"/>
                        <a:pt x="835" y="149"/>
                      </a:cubicBezTo>
                      <a:cubicBezTo>
                        <a:pt x="786" y="217"/>
                        <a:pt x="776" y="124"/>
                        <a:pt x="776" y="124"/>
                      </a:cubicBezTo>
                      <a:cubicBezTo>
                        <a:pt x="757" y="79"/>
                        <a:pt x="757" y="79"/>
                        <a:pt x="757" y="79"/>
                      </a:cubicBezTo>
                      <a:cubicBezTo>
                        <a:pt x="750" y="81"/>
                        <a:pt x="742" y="83"/>
                        <a:pt x="742" y="83"/>
                      </a:cubicBezTo>
                      <a:cubicBezTo>
                        <a:pt x="742" y="83"/>
                        <a:pt x="722" y="85"/>
                        <a:pt x="710" y="84"/>
                      </a:cubicBezTo>
                      <a:cubicBezTo>
                        <a:pt x="698" y="83"/>
                        <a:pt x="705" y="58"/>
                        <a:pt x="705" y="58"/>
                      </a:cubicBezTo>
                      <a:cubicBezTo>
                        <a:pt x="692" y="58"/>
                        <a:pt x="664" y="78"/>
                        <a:pt x="664" y="78"/>
                      </a:cubicBezTo>
                      <a:cubicBezTo>
                        <a:pt x="647" y="76"/>
                        <a:pt x="647" y="76"/>
                        <a:pt x="647" y="76"/>
                      </a:cubicBezTo>
                      <a:cubicBezTo>
                        <a:pt x="647" y="76"/>
                        <a:pt x="636" y="91"/>
                        <a:pt x="628" y="92"/>
                      </a:cubicBezTo>
                      <a:cubicBezTo>
                        <a:pt x="620" y="93"/>
                        <a:pt x="616" y="75"/>
                        <a:pt x="616" y="75"/>
                      </a:cubicBezTo>
                      <a:cubicBezTo>
                        <a:pt x="601" y="80"/>
                        <a:pt x="601" y="80"/>
                        <a:pt x="601" y="80"/>
                      </a:cubicBezTo>
                      <a:cubicBezTo>
                        <a:pt x="601" y="80"/>
                        <a:pt x="609" y="67"/>
                        <a:pt x="606" y="63"/>
                      </a:cubicBezTo>
                      <a:cubicBezTo>
                        <a:pt x="603" y="59"/>
                        <a:pt x="584" y="75"/>
                        <a:pt x="584" y="75"/>
                      </a:cubicBezTo>
                      <a:cubicBezTo>
                        <a:pt x="571" y="72"/>
                        <a:pt x="571" y="72"/>
                        <a:pt x="571" y="72"/>
                      </a:cubicBezTo>
                      <a:cubicBezTo>
                        <a:pt x="570" y="80"/>
                        <a:pt x="570" y="80"/>
                        <a:pt x="570" y="80"/>
                      </a:cubicBezTo>
                      <a:cubicBezTo>
                        <a:pt x="533" y="109"/>
                        <a:pt x="533" y="109"/>
                        <a:pt x="533" y="109"/>
                      </a:cubicBezTo>
                      <a:cubicBezTo>
                        <a:pt x="529" y="106"/>
                        <a:pt x="529" y="106"/>
                        <a:pt x="529" y="106"/>
                      </a:cubicBezTo>
                      <a:cubicBezTo>
                        <a:pt x="526" y="116"/>
                        <a:pt x="526" y="116"/>
                        <a:pt x="526" y="116"/>
                      </a:cubicBezTo>
                      <a:cubicBezTo>
                        <a:pt x="516" y="96"/>
                        <a:pt x="516" y="96"/>
                        <a:pt x="516" y="96"/>
                      </a:cubicBezTo>
                      <a:cubicBezTo>
                        <a:pt x="499" y="88"/>
                        <a:pt x="499" y="88"/>
                        <a:pt x="499" y="88"/>
                      </a:cubicBezTo>
                      <a:cubicBezTo>
                        <a:pt x="496" y="71"/>
                        <a:pt x="496" y="71"/>
                        <a:pt x="496" y="71"/>
                      </a:cubicBezTo>
                      <a:cubicBezTo>
                        <a:pt x="473" y="49"/>
                        <a:pt x="473" y="49"/>
                        <a:pt x="473" y="49"/>
                      </a:cubicBezTo>
                      <a:cubicBezTo>
                        <a:pt x="473" y="36"/>
                        <a:pt x="473" y="36"/>
                        <a:pt x="473" y="36"/>
                      </a:cubicBezTo>
                      <a:cubicBezTo>
                        <a:pt x="473" y="36"/>
                        <a:pt x="459" y="35"/>
                        <a:pt x="458" y="31"/>
                      </a:cubicBezTo>
                      <a:cubicBezTo>
                        <a:pt x="457" y="29"/>
                        <a:pt x="458" y="22"/>
                        <a:pt x="459" y="18"/>
                      </a:cubicBezTo>
                      <a:cubicBezTo>
                        <a:pt x="455" y="21"/>
                        <a:pt x="444" y="18"/>
                        <a:pt x="444" y="18"/>
                      </a:cubicBezTo>
                      <a:cubicBezTo>
                        <a:pt x="446" y="0"/>
                        <a:pt x="446" y="0"/>
                        <a:pt x="446" y="0"/>
                      </a:cubicBezTo>
                      <a:cubicBezTo>
                        <a:pt x="426" y="10"/>
                        <a:pt x="426" y="10"/>
                        <a:pt x="426" y="10"/>
                      </a:cubicBezTo>
                      <a:cubicBezTo>
                        <a:pt x="415" y="4"/>
                        <a:pt x="415" y="4"/>
                        <a:pt x="415" y="4"/>
                      </a:cubicBezTo>
                      <a:cubicBezTo>
                        <a:pt x="415" y="4"/>
                        <a:pt x="411" y="10"/>
                        <a:pt x="401" y="13"/>
                      </a:cubicBezTo>
                      <a:cubicBezTo>
                        <a:pt x="387" y="15"/>
                        <a:pt x="372" y="26"/>
                        <a:pt x="372" y="26"/>
                      </a:cubicBezTo>
                      <a:cubicBezTo>
                        <a:pt x="371" y="19"/>
                        <a:pt x="356" y="12"/>
                        <a:pt x="351" y="12"/>
                      </a:cubicBezTo>
                      <a:cubicBezTo>
                        <a:pt x="346" y="12"/>
                        <a:pt x="347" y="22"/>
                        <a:pt x="347" y="22"/>
                      </a:cubicBezTo>
                      <a:cubicBezTo>
                        <a:pt x="341" y="25"/>
                        <a:pt x="341" y="25"/>
                        <a:pt x="341" y="25"/>
                      </a:cubicBezTo>
                      <a:cubicBezTo>
                        <a:pt x="347" y="40"/>
                        <a:pt x="347" y="40"/>
                        <a:pt x="347" y="40"/>
                      </a:cubicBezTo>
                      <a:cubicBezTo>
                        <a:pt x="347" y="40"/>
                        <a:pt x="336" y="60"/>
                        <a:pt x="333" y="59"/>
                      </a:cubicBezTo>
                      <a:cubicBezTo>
                        <a:pt x="300" y="51"/>
                        <a:pt x="285" y="50"/>
                        <a:pt x="282" y="56"/>
                      </a:cubicBezTo>
                      <a:cubicBezTo>
                        <a:pt x="279" y="62"/>
                        <a:pt x="280" y="72"/>
                        <a:pt x="277" y="72"/>
                      </a:cubicBezTo>
                      <a:cubicBezTo>
                        <a:pt x="274" y="72"/>
                        <a:pt x="268" y="58"/>
                        <a:pt x="268" y="58"/>
                      </a:cubicBezTo>
                      <a:cubicBezTo>
                        <a:pt x="258" y="63"/>
                        <a:pt x="258" y="63"/>
                        <a:pt x="258" y="63"/>
                      </a:cubicBezTo>
                      <a:cubicBezTo>
                        <a:pt x="258" y="63"/>
                        <a:pt x="251" y="44"/>
                        <a:pt x="245" y="47"/>
                      </a:cubicBezTo>
                      <a:cubicBezTo>
                        <a:pt x="239" y="50"/>
                        <a:pt x="237" y="58"/>
                        <a:pt x="237" y="58"/>
                      </a:cubicBezTo>
                      <a:cubicBezTo>
                        <a:pt x="237" y="58"/>
                        <a:pt x="226" y="55"/>
                        <a:pt x="217" y="54"/>
                      </a:cubicBezTo>
                      <a:cubicBezTo>
                        <a:pt x="208" y="53"/>
                        <a:pt x="200" y="64"/>
                        <a:pt x="200" y="64"/>
                      </a:cubicBezTo>
                      <a:cubicBezTo>
                        <a:pt x="186" y="70"/>
                        <a:pt x="186" y="70"/>
                        <a:pt x="186" y="70"/>
                      </a:cubicBezTo>
                      <a:cubicBezTo>
                        <a:pt x="173" y="60"/>
                        <a:pt x="173" y="60"/>
                        <a:pt x="173" y="60"/>
                      </a:cubicBezTo>
                      <a:cubicBezTo>
                        <a:pt x="173" y="60"/>
                        <a:pt x="168" y="65"/>
                        <a:pt x="161" y="69"/>
                      </a:cubicBezTo>
                      <a:cubicBezTo>
                        <a:pt x="154" y="73"/>
                        <a:pt x="147" y="76"/>
                        <a:pt x="147" y="76"/>
                      </a:cubicBezTo>
                      <a:cubicBezTo>
                        <a:pt x="147" y="76"/>
                        <a:pt x="131" y="70"/>
                        <a:pt x="126" y="70"/>
                      </a:cubicBezTo>
                      <a:cubicBezTo>
                        <a:pt x="121" y="70"/>
                        <a:pt x="134" y="84"/>
                        <a:pt x="134" y="84"/>
                      </a:cubicBezTo>
                      <a:cubicBezTo>
                        <a:pt x="115" y="80"/>
                        <a:pt x="115" y="80"/>
                        <a:pt x="115" y="80"/>
                      </a:cubicBezTo>
                      <a:cubicBezTo>
                        <a:pt x="115" y="85"/>
                        <a:pt x="115" y="85"/>
                        <a:pt x="115" y="85"/>
                      </a:cubicBezTo>
                      <a:cubicBezTo>
                        <a:pt x="105" y="87"/>
                        <a:pt x="105" y="87"/>
                        <a:pt x="105" y="87"/>
                      </a:cubicBezTo>
                      <a:cubicBezTo>
                        <a:pt x="105" y="87"/>
                        <a:pt x="96" y="98"/>
                        <a:pt x="84" y="106"/>
                      </a:cubicBezTo>
                      <a:cubicBezTo>
                        <a:pt x="72" y="114"/>
                        <a:pt x="86" y="121"/>
                        <a:pt x="86" y="121"/>
                      </a:cubicBezTo>
                      <a:cubicBezTo>
                        <a:pt x="86" y="121"/>
                        <a:pt x="76" y="131"/>
                        <a:pt x="75" y="139"/>
                      </a:cubicBezTo>
                      <a:cubicBezTo>
                        <a:pt x="74" y="147"/>
                        <a:pt x="79" y="148"/>
                        <a:pt x="79" y="148"/>
                      </a:cubicBezTo>
                      <a:cubicBezTo>
                        <a:pt x="79" y="148"/>
                        <a:pt x="74" y="150"/>
                        <a:pt x="75" y="160"/>
                      </a:cubicBezTo>
                      <a:cubicBezTo>
                        <a:pt x="76" y="170"/>
                        <a:pt x="86" y="164"/>
                        <a:pt x="86" y="164"/>
                      </a:cubicBezTo>
                      <a:cubicBezTo>
                        <a:pt x="98" y="154"/>
                        <a:pt x="98" y="154"/>
                        <a:pt x="98" y="154"/>
                      </a:cubicBezTo>
                      <a:cubicBezTo>
                        <a:pt x="107" y="157"/>
                        <a:pt x="107" y="157"/>
                        <a:pt x="107" y="157"/>
                      </a:cubicBezTo>
                      <a:cubicBezTo>
                        <a:pt x="107" y="157"/>
                        <a:pt x="112" y="161"/>
                        <a:pt x="122" y="156"/>
                      </a:cubicBezTo>
                      <a:cubicBezTo>
                        <a:pt x="132" y="151"/>
                        <a:pt x="156" y="145"/>
                        <a:pt x="156" y="145"/>
                      </a:cubicBezTo>
                      <a:cubicBezTo>
                        <a:pt x="145" y="163"/>
                        <a:pt x="145" y="163"/>
                        <a:pt x="145" y="163"/>
                      </a:cubicBezTo>
                      <a:cubicBezTo>
                        <a:pt x="157" y="168"/>
                        <a:pt x="157" y="168"/>
                        <a:pt x="157" y="168"/>
                      </a:cubicBezTo>
                      <a:cubicBezTo>
                        <a:pt x="172" y="160"/>
                        <a:pt x="172" y="160"/>
                        <a:pt x="172" y="160"/>
                      </a:cubicBezTo>
                      <a:cubicBezTo>
                        <a:pt x="174" y="166"/>
                        <a:pt x="186" y="174"/>
                        <a:pt x="183" y="174"/>
                      </a:cubicBezTo>
                      <a:cubicBezTo>
                        <a:pt x="180" y="174"/>
                        <a:pt x="166" y="183"/>
                        <a:pt x="166" y="183"/>
                      </a:cubicBezTo>
                      <a:cubicBezTo>
                        <a:pt x="155" y="185"/>
                        <a:pt x="155" y="185"/>
                        <a:pt x="155" y="185"/>
                      </a:cubicBezTo>
                      <a:cubicBezTo>
                        <a:pt x="145" y="173"/>
                        <a:pt x="145" y="173"/>
                        <a:pt x="145" y="173"/>
                      </a:cubicBezTo>
                      <a:cubicBezTo>
                        <a:pt x="137" y="178"/>
                        <a:pt x="137" y="178"/>
                        <a:pt x="137" y="178"/>
                      </a:cubicBezTo>
                      <a:cubicBezTo>
                        <a:pt x="122" y="172"/>
                        <a:pt x="122" y="172"/>
                        <a:pt x="122" y="172"/>
                      </a:cubicBezTo>
                      <a:cubicBezTo>
                        <a:pt x="109" y="181"/>
                        <a:pt x="109" y="181"/>
                        <a:pt x="109" y="181"/>
                      </a:cubicBezTo>
                      <a:cubicBezTo>
                        <a:pt x="120" y="189"/>
                        <a:pt x="120" y="189"/>
                        <a:pt x="120" y="189"/>
                      </a:cubicBezTo>
                      <a:cubicBezTo>
                        <a:pt x="120" y="189"/>
                        <a:pt x="124" y="208"/>
                        <a:pt x="125" y="211"/>
                      </a:cubicBezTo>
                      <a:cubicBezTo>
                        <a:pt x="126" y="214"/>
                        <a:pt x="130" y="192"/>
                        <a:pt x="141" y="191"/>
                      </a:cubicBezTo>
                      <a:cubicBezTo>
                        <a:pt x="152" y="190"/>
                        <a:pt x="135" y="190"/>
                        <a:pt x="164" y="204"/>
                      </a:cubicBezTo>
                      <a:cubicBezTo>
                        <a:pt x="193" y="218"/>
                        <a:pt x="171" y="237"/>
                        <a:pt x="171" y="237"/>
                      </a:cubicBezTo>
                      <a:cubicBezTo>
                        <a:pt x="144" y="227"/>
                        <a:pt x="79" y="254"/>
                        <a:pt x="79" y="254"/>
                      </a:cubicBezTo>
                      <a:cubicBezTo>
                        <a:pt x="139" y="267"/>
                        <a:pt x="141" y="276"/>
                        <a:pt x="153" y="293"/>
                      </a:cubicBezTo>
                      <a:cubicBezTo>
                        <a:pt x="165" y="310"/>
                        <a:pt x="156" y="329"/>
                        <a:pt x="156" y="329"/>
                      </a:cubicBezTo>
                      <a:cubicBezTo>
                        <a:pt x="197" y="333"/>
                        <a:pt x="197" y="333"/>
                        <a:pt x="197" y="333"/>
                      </a:cubicBezTo>
                      <a:cubicBezTo>
                        <a:pt x="197" y="333"/>
                        <a:pt x="207" y="310"/>
                        <a:pt x="214" y="310"/>
                      </a:cubicBezTo>
                      <a:cubicBezTo>
                        <a:pt x="221" y="310"/>
                        <a:pt x="231" y="316"/>
                        <a:pt x="235" y="316"/>
                      </a:cubicBezTo>
                      <a:cubicBezTo>
                        <a:pt x="239" y="316"/>
                        <a:pt x="249" y="301"/>
                        <a:pt x="249" y="301"/>
                      </a:cubicBezTo>
                      <a:cubicBezTo>
                        <a:pt x="268" y="334"/>
                        <a:pt x="268" y="334"/>
                        <a:pt x="268" y="334"/>
                      </a:cubicBezTo>
                      <a:cubicBezTo>
                        <a:pt x="294" y="333"/>
                        <a:pt x="294" y="333"/>
                        <a:pt x="294" y="333"/>
                      </a:cubicBezTo>
                      <a:cubicBezTo>
                        <a:pt x="296" y="338"/>
                        <a:pt x="335" y="344"/>
                        <a:pt x="335" y="344"/>
                      </a:cubicBezTo>
                      <a:cubicBezTo>
                        <a:pt x="335" y="344"/>
                        <a:pt x="355" y="365"/>
                        <a:pt x="358" y="365"/>
                      </a:cubicBezTo>
                      <a:cubicBezTo>
                        <a:pt x="361" y="365"/>
                        <a:pt x="384" y="364"/>
                        <a:pt x="384" y="364"/>
                      </a:cubicBezTo>
                      <a:cubicBezTo>
                        <a:pt x="414" y="401"/>
                        <a:pt x="414" y="401"/>
                        <a:pt x="414" y="401"/>
                      </a:cubicBezTo>
                      <a:cubicBezTo>
                        <a:pt x="410" y="421"/>
                        <a:pt x="410" y="421"/>
                        <a:pt x="410" y="421"/>
                      </a:cubicBezTo>
                      <a:cubicBezTo>
                        <a:pt x="414" y="432"/>
                        <a:pt x="414" y="432"/>
                        <a:pt x="414" y="432"/>
                      </a:cubicBezTo>
                      <a:cubicBezTo>
                        <a:pt x="414" y="432"/>
                        <a:pt x="426" y="438"/>
                        <a:pt x="422" y="432"/>
                      </a:cubicBezTo>
                      <a:cubicBezTo>
                        <a:pt x="418" y="426"/>
                        <a:pt x="421" y="398"/>
                        <a:pt x="421" y="398"/>
                      </a:cubicBezTo>
                      <a:cubicBezTo>
                        <a:pt x="425" y="403"/>
                        <a:pt x="425" y="403"/>
                        <a:pt x="425" y="403"/>
                      </a:cubicBezTo>
                      <a:cubicBezTo>
                        <a:pt x="442" y="399"/>
                        <a:pt x="442" y="399"/>
                        <a:pt x="442" y="399"/>
                      </a:cubicBezTo>
                      <a:cubicBezTo>
                        <a:pt x="452" y="403"/>
                        <a:pt x="452" y="403"/>
                        <a:pt x="452" y="403"/>
                      </a:cubicBezTo>
                      <a:cubicBezTo>
                        <a:pt x="460" y="391"/>
                        <a:pt x="460" y="391"/>
                        <a:pt x="460" y="391"/>
                      </a:cubicBezTo>
                      <a:cubicBezTo>
                        <a:pt x="466" y="399"/>
                        <a:pt x="466" y="399"/>
                        <a:pt x="466" y="399"/>
                      </a:cubicBezTo>
                      <a:cubicBezTo>
                        <a:pt x="481" y="388"/>
                        <a:pt x="481" y="388"/>
                        <a:pt x="481" y="388"/>
                      </a:cubicBezTo>
                      <a:cubicBezTo>
                        <a:pt x="481" y="388"/>
                        <a:pt x="518" y="389"/>
                        <a:pt x="522" y="390"/>
                      </a:cubicBezTo>
                      <a:cubicBezTo>
                        <a:pt x="517" y="392"/>
                        <a:pt x="502" y="416"/>
                        <a:pt x="502" y="416"/>
                      </a:cubicBezTo>
                      <a:cubicBezTo>
                        <a:pt x="502" y="416"/>
                        <a:pt x="503" y="411"/>
                        <a:pt x="495" y="411"/>
                      </a:cubicBezTo>
                      <a:cubicBezTo>
                        <a:pt x="487" y="411"/>
                        <a:pt x="462" y="407"/>
                        <a:pt x="462" y="407"/>
                      </a:cubicBezTo>
                      <a:cubicBezTo>
                        <a:pt x="487" y="429"/>
                        <a:pt x="487" y="429"/>
                        <a:pt x="487" y="429"/>
                      </a:cubicBezTo>
                      <a:cubicBezTo>
                        <a:pt x="505" y="422"/>
                        <a:pt x="505" y="422"/>
                        <a:pt x="505" y="422"/>
                      </a:cubicBezTo>
                      <a:cubicBezTo>
                        <a:pt x="513" y="428"/>
                        <a:pt x="513" y="428"/>
                        <a:pt x="513" y="428"/>
                      </a:cubicBezTo>
                      <a:cubicBezTo>
                        <a:pt x="517" y="419"/>
                        <a:pt x="517" y="419"/>
                        <a:pt x="517" y="419"/>
                      </a:cubicBezTo>
                      <a:cubicBezTo>
                        <a:pt x="538" y="427"/>
                        <a:pt x="538" y="427"/>
                        <a:pt x="538" y="427"/>
                      </a:cubicBezTo>
                      <a:cubicBezTo>
                        <a:pt x="538" y="427"/>
                        <a:pt x="548" y="420"/>
                        <a:pt x="555" y="424"/>
                      </a:cubicBezTo>
                      <a:cubicBezTo>
                        <a:pt x="562" y="428"/>
                        <a:pt x="557" y="444"/>
                        <a:pt x="557" y="444"/>
                      </a:cubicBezTo>
                      <a:cubicBezTo>
                        <a:pt x="563" y="444"/>
                        <a:pt x="563" y="444"/>
                        <a:pt x="563" y="444"/>
                      </a:cubicBezTo>
                      <a:cubicBezTo>
                        <a:pt x="566" y="454"/>
                        <a:pt x="566" y="454"/>
                        <a:pt x="566" y="454"/>
                      </a:cubicBezTo>
                      <a:cubicBezTo>
                        <a:pt x="555" y="452"/>
                        <a:pt x="555" y="452"/>
                        <a:pt x="555" y="452"/>
                      </a:cubicBezTo>
                      <a:cubicBezTo>
                        <a:pt x="545" y="463"/>
                        <a:pt x="545" y="463"/>
                        <a:pt x="545" y="463"/>
                      </a:cubicBezTo>
                      <a:cubicBezTo>
                        <a:pt x="554" y="487"/>
                        <a:pt x="554" y="487"/>
                        <a:pt x="554" y="487"/>
                      </a:cubicBezTo>
                      <a:cubicBezTo>
                        <a:pt x="567" y="476"/>
                        <a:pt x="567" y="476"/>
                        <a:pt x="567" y="476"/>
                      </a:cubicBezTo>
                      <a:cubicBezTo>
                        <a:pt x="575" y="481"/>
                        <a:pt x="575" y="481"/>
                        <a:pt x="575" y="481"/>
                      </a:cubicBezTo>
                      <a:cubicBezTo>
                        <a:pt x="595" y="481"/>
                        <a:pt x="595" y="481"/>
                        <a:pt x="595" y="481"/>
                      </a:cubicBezTo>
                      <a:cubicBezTo>
                        <a:pt x="596" y="469"/>
                        <a:pt x="596" y="469"/>
                        <a:pt x="596" y="469"/>
                      </a:cubicBezTo>
                      <a:cubicBezTo>
                        <a:pt x="596" y="469"/>
                        <a:pt x="635" y="496"/>
                        <a:pt x="642" y="436"/>
                      </a:cubicBezTo>
                      <a:cubicBezTo>
                        <a:pt x="666" y="409"/>
                        <a:pt x="666" y="409"/>
                        <a:pt x="666" y="409"/>
                      </a:cubicBezTo>
                      <a:cubicBezTo>
                        <a:pt x="674" y="418"/>
                        <a:pt x="674" y="418"/>
                        <a:pt x="674" y="418"/>
                      </a:cubicBezTo>
                      <a:cubicBezTo>
                        <a:pt x="674" y="418"/>
                        <a:pt x="706" y="416"/>
                        <a:pt x="734" y="410"/>
                      </a:cubicBezTo>
                      <a:cubicBezTo>
                        <a:pt x="752" y="389"/>
                        <a:pt x="752" y="389"/>
                        <a:pt x="752" y="389"/>
                      </a:cubicBezTo>
                      <a:cubicBezTo>
                        <a:pt x="778" y="385"/>
                        <a:pt x="778" y="385"/>
                        <a:pt x="778" y="385"/>
                      </a:cubicBezTo>
                      <a:cubicBezTo>
                        <a:pt x="780" y="370"/>
                        <a:pt x="780" y="370"/>
                        <a:pt x="780" y="370"/>
                      </a:cubicBezTo>
                      <a:cubicBezTo>
                        <a:pt x="796" y="377"/>
                        <a:pt x="796" y="377"/>
                        <a:pt x="796" y="377"/>
                      </a:cubicBezTo>
                      <a:cubicBezTo>
                        <a:pt x="799" y="386"/>
                        <a:pt x="799" y="386"/>
                        <a:pt x="799" y="386"/>
                      </a:cubicBezTo>
                      <a:cubicBezTo>
                        <a:pt x="830" y="392"/>
                        <a:pt x="830" y="392"/>
                        <a:pt x="830" y="392"/>
                      </a:cubicBezTo>
                      <a:cubicBezTo>
                        <a:pt x="830" y="392"/>
                        <a:pt x="832" y="378"/>
                        <a:pt x="838" y="366"/>
                      </a:cubicBezTo>
                      <a:cubicBezTo>
                        <a:pt x="843" y="354"/>
                        <a:pt x="848" y="328"/>
                        <a:pt x="870" y="328"/>
                      </a:cubicBezTo>
                      <a:cubicBezTo>
                        <a:pt x="884" y="316"/>
                        <a:pt x="875" y="334"/>
                        <a:pt x="867" y="242"/>
                      </a:cubicBezTo>
                      <a:cubicBezTo>
                        <a:pt x="875" y="214"/>
                        <a:pt x="879" y="220"/>
                        <a:pt x="879" y="220"/>
                      </a:cubicBezTo>
                      <a:lnTo>
                        <a:pt x="872" y="188"/>
                      </a:ln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91" name="Pays-de-la-Loire" descr="© INSCALE GmbH, 05.05.2010&#10;http://www.presentationload.com/">
                  <a:extLst>
                    <a:ext uri="{FF2B5EF4-FFF2-40B4-BE49-F238E27FC236}">
                      <a16:creationId xmlns:a16="http://schemas.microsoft.com/office/drawing/2014/main" id="{3756DBE5-6F5E-4CC9-843D-1D750E1A1326}"/>
                    </a:ext>
                  </a:extLst>
                </p:cNvPr>
                <p:cNvSpPr>
                  <a:spLocks noEditPoints="1"/>
                </p:cNvSpPr>
                <p:nvPr/>
              </p:nvSpPr>
              <p:spPr bwMode="gray">
                <a:xfrm>
                  <a:off x="644" y="1006"/>
                  <a:ext cx="797" cy="790"/>
                </a:xfrm>
                <a:custGeom>
                  <a:avLst/>
                  <a:gdLst/>
                  <a:ahLst/>
                  <a:cxnLst>
                    <a:cxn ang="0">
                      <a:pos x="16" y="534"/>
                    </a:cxn>
                    <a:cxn ang="0">
                      <a:pos x="51" y="448"/>
                    </a:cxn>
                    <a:cxn ang="0">
                      <a:pos x="219" y="694"/>
                    </a:cxn>
                    <a:cxn ang="0">
                      <a:pos x="191" y="687"/>
                    </a:cxn>
                    <a:cxn ang="0">
                      <a:pos x="211" y="706"/>
                    </a:cxn>
                    <a:cxn ang="0">
                      <a:pos x="222" y="703"/>
                    </a:cxn>
                    <a:cxn ang="0">
                      <a:pos x="707" y="141"/>
                    </a:cxn>
                    <a:cxn ang="0">
                      <a:pos x="651" y="103"/>
                    </a:cxn>
                    <a:cxn ang="0">
                      <a:pos x="541" y="75"/>
                    </a:cxn>
                    <a:cxn ang="0">
                      <a:pos x="521" y="24"/>
                    </a:cxn>
                    <a:cxn ang="0">
                      <a:pos x="482" y="25"/>
                    </a:cxn>
                    <a:cxn ang="0">
                      <a:pos x="439" y="31"/>
                    </a:cxn>
                    <a:cxn ang="0">
                      <a:pos x="391" y="47"/>
                    </a:cxn>
                    <a:cxn ang="0">
                      <a:pos x="321" y="28"/>
                    </a:cxn>
                    <a:cxn ang="0">
                      <a:pos x="314" y="105"/>
                    </a:cxn>
                    <a:cxn ang="0">
                      <a:pos x="277" y="255"/>
                    </a:cxn>
                    <a:cxn ang="0">
                      <a:pos x="227" y="233"/>
                    </a:cxn>
                    <a:cxn ang="0">
                      <a:pos x="181" y="273"/>
                    </a:cxn>
                    <a:cxn ang="0">
                      <a:pos x="89" y="299"/>
                    </a:cxn>
                    <a:cxn ang="0">
                      <a:pos x="22" y="344"/>
                    </a:cxn>
                    <a:cxn ang="0">
                      <a:pos x="3" y="354"/>
                    </a:cxn>
                    <a:cxn ang="0">
                      <a:pos x="24" y="359"/>
                    </a:cxn>
                    <a:cxn ang="0">
                      <a:pos x="105" y="349"/>
                    </a:cxn>
                    <a:cxn ang="0">
                      <a:pos x="67" y="376"/>
                    </a:cxn>
                    <a:cxn ang="0">
                      <a:pos x="52" y="399"/>
                    </a:cxn>
                    <a:cxn ang="0">
                      <a:pos x="104" y="444"/>
                    </a:cxn>
                    <a:cxn ang="0">
                      <a:pos x="72" y="483"/>
                    </a:cxn>
                    <a:cxn ang="0">
                      <a:pos x="55" y="465"/>
                    </a:cxn>
                    <a:cxn ang="0">
                      <a:pos x="72" y="511"/>
                    </a:cxn>
                    <a:cxn ang="0">
                      <a:pos x="135" y="611"/>
                    </a:cxn>
                    <a:cxn ang="0">
                      <a:pos x="210" y="658"/>
                    </a:cxn>
                    <a:cxn ang="0">
                      <a:pos x="251" y="669"/>
                    </a:cxn>
                    <a:cxn ang="0">
                      <a:pos x="287" y="680"/>
                    </a:cxn>
                    <a:cxn ang="0">
                      <a:pos x="289" y="723"/>
                    </a:cxn>
                    <a:cxn ang="0">
                      <a:pos x="337" y="729"/>
                    </a:cxn>
                    <a:cxn ang="0">
                      <a:pos x="385" y="728"/>
                    </a:cxn>
                    <a:cxn ang="0">
                      <a:pos x="389" y="707"/>
                    </a:cxn>
                    <a:cxn ang="0">
                      <a:pos x="394" y="664"/>
                    </a:cxn>
                    <a:cxn ang="0">
                      <a:pos x="386" y="605"/>
                    </a:cxn>
                    <a:cxn ang="0">
                      <a:pos x="353" y="548"/>
                    </a:cxn>
                    <a:cxn ang="0">
                      <a:pos x="378" y="511"/>
                    </a:cxn>
                    <a:cxn ang="0">
                      <a:pos x="434" y="488"/>
                    </a:cxn>
                    <a:cxn ang="0">
                      <a:pos x="502" y="480"/>
                    </a:cxn>
                    <a:cxn ang="0">
                      <a:pos x="514" y="483"/>
                    </a:cxn>
                    <a:cxn ang="0">
                      <a:pos x="549" y="461"/>
                    </a:cxn>
                    <a:cxn ang="0">
                      <a:pos x="585" y="359"/>
                    </a:cxn>
                    <a:cxn ang="0">
                      <a:pos x="615" y="320"/>
                    </a:cxn>
                    <a:cxn ang="0">
                      <a:pos x="674" y="299"/>
                    </a:cxn>
                    <a:cxn ang="0">
                      <a:pos x="717" y="229"/>
                    </a:cxn>
                    <a:cxn ang="0">
                      <a:pos x="722" y="192"/>
                    </a:cxn>
                    <a:cxn ang="0">
                      <a:pos x="725" y="157"/>
                    </a:cxn>
                    <a:cxn ang="0">
                      <a:pos x="719" y="140"/>
                    </a:cxn>
                  </a:cxnLst>
                  <a:rect l="0" t="0" r="r" b="b"/>
                  <a:pathLst>
                    <a:path w="739" h="732">
                      <a:moveTo>
                        <a:pt x="16" y="534"/>
                      </a:moveTo>
                      <a:cubicBezTo>
                        <a:pt x="10" y="548"/>
                        <a:pt x="22" y="548"/>
                        <a:pt x="37" y="548"/>
                      </a:cubicBezTo>
                      <a:cubicBezTo>
                        <a:pt x="32" y="535"/>
                        <a:pt x="16" y="534"/>
                        <a:pt x="16" y="534"/>
                      </a:cubicBezTo>
                      <a:close/>
                      <a:moveTo>
                        <a:pt x="38" y="440"/>
                      </a:moveTo>
                      <a:cubicBezTo>
                        <a:pt x="36" y="461"/>
                        <a:pt x="44" y="460"/>
                        <a:pt x="47" y="462"/>
                      </a:cubicBezTo>
                      <a:cubicBezTo>
                        <a:pt x="50" y="464"/>
                        <a:pt x="51" y="458"/>
                        <a:pt x="51" y="448"/>
                      </a:cubicBezTo>
                      <a:cubicBezTo>
                        <a:pt x="51" y="438"/>
                        <a:pt x="38" y="440"/>
                        <a:pt x="38" y="440"/>
                      </a:cubicBezTo>
                      <a:close/>
                      <a:moveTo>
                        <a:pt x="222" y="703"/>
                      </a:moveTo>
                      <a:cubicBezTo>
                        <a:pt x="219" y="694"/>
                        <a:pt x="219" y="694"/>
                        <a:pt x="219" y="694"/>
                      </a:cubicBezTo>
                      <a:cubicBezTo>
                        <a:pt x="201" y="701"/>
                        <a:pt x="201" y="701"/>
                        <a:pt x="201" y="701"/>
                      </a:cubicBezTo>
                      <a:cubicBezTo>
                        <a:pt x="203" y="686"/>
                        <a:pt x="203" y="686"/>
                        <a:pt x="203" y="686"/>
                      </a:cubicBezTo>
                      <a:cubicBezTo>
                        <a:pt x="191" y="687"/>
                        <a:pt x="191" y="687"/>
                        <a:pt x="191" y="687"/>
                      </a:cubicBezTo>
                      <a:cubicBezTo>
                        <a:pt x="190" y="693"/>
                        <a:pt x="190" y="693"/>
                        <a:pt x="190" y="693"/>
                      </a:cubicBezTo>
                      <a:cubicBezTo>
                        <a:pt x="200" y="708"/>
                        <a:pt x="200" y="708"/>
                        <a:pt x="200" y="708"/>
                      </a:cubicBezTo>
                      <a:cubicBezTo>
                        <a:pt x="211" y="706"/>
                        <a:pt x="211" y="706"/>
                        <a:pt x="211" y="706"/>
                      </a:cubicBezTo>
                      <a:cubicBezTo>
                        <a:pt x="230" y="714"/>
                        <a:pt x="230" y="714"/>
                        <a:pt x="230" y="714"/>
                      </a:cubicBezTo>
                      <a:cubicBezTo>
                        <a:pt x="238" y="725"/>
                        <a:pt x="246" y="718"/>
                        <a:pt x="250" y="719"/>
                      </a:cubicBezTo>
                      <a:cubicBezTo>
                        <a:pt x="241" y="705"/>
                        <a:pt x="222" y="703"/>
                        <a:pt x="222" y="703"/>
                      </a:cubicBezTo>
                      <a:close/>
                      <a:moveTo>
                        <a:pt x="719" y="140"/>
                      </a:moveTo>
                      <a:cubicBezTo>
                        <a:pt x="719" y="139"/>
                        <a:pt x="719" y="139"/>
                        <a:pt x="719" y="139"/>
                      </a:cubicBezTo>
                      <a:cubicBezTo>
                        <a:pt x="707" y="141"/>
                        <a:pt x="707" y="141"/>
                        <a:pt x="707" y="141"/>
                      </a:cubicBezTo>
                      <a:cubicBezTo>
                        <a:pt x="683" y="117"/>
                        <a:pt x="683" y="117"/>
                        <a:pt x="683" y="117"/>
                      </a:cubicBezTo>
                      <a:cubicBezTo>
                        <a:pt x="658" y="123"/>
                        <a:pt x="658" y="123"/>
                        <a:pt x="658" y="123"/>
                      </a:cubicBezTo>
                      <a:cubicBezTo>
                        <a:pt x="651" y="103"/>
                        <a:pt x="651" y="103"/>
                        <a:pt x="651" y="103"/>
                      </a:cubicBezTo>
                      <a:cubicBezTo>
                        <a:pt x="651" y="103"/>
                        <a:pt x="638" y="96"/>
                        <a:pt x="631" y="91"/>
                      </a:cubicBezTo>
                      <a:cubicBezTo>
                        <a:pt x="623" y="0"/>
                        <a:pt x="561" y="75"/>
                        <a:pt x="561" y="75"/>
                      </a:cubicBezTo>
                      <a:cubicBezTo>
                        <a:pt x="541" y="75"/>
                        <a:pt x="541" y="75"/>
                        <a:pt x="541" y="75"/>
                      </a:cubicBezTo>
                      <a:cubicBezTo>
                        <a:pt x="537" y="48"/>
                        <a:pt x="537" y="48"/>
                        <a:pt x="537" y="48"/>
                      </a:cubicBezTo>
                      <a:cubicBezTo>
                        <a:pt x="537" y="48"/>
                        <a:pt x="531" y="49"/>
                        <a:pt x="519" y="49"/>
                      </a:cubicBezTo>
                      <a:cubicBezTo>
                        <a:pt x="507" y="49"/>
                        <a:pt x="521" y="24"/>
                        <a:pt x="521" y="24"/>
                      </a:cubicBezTo>
                      <a:cubicBezTo>
                        <a:pt x="521" y="24"/>
                        <a:pt x="498" y="15"/>
                        <a:pt x="494" y="15"/>
                      </a:cubicBezTo>
                      <a:cubicBezTo>
                        <a:pt x="490" y="15"/>
                        <a:pt x="498" y="20"/>
                        <a:pt x="494" y="28"/>
                      </a:cubicBezTo>
                      <a:cubicBezTo>
                        <a:pt x="490" y="36"/>
                        <a:pt x="482" y="25"/>
                        <a:pt x="482" y="25"/>
                      </a:cubicBezTo>
                      <a:cubicBezTo>
                        <a:pt x="467" y="37"/>
                        <a:pt x="467" y="37"/>
                        <a:pt x="467" y="37"/>
                      </a:cubicBezTo>
                      <a:cubicBezTo>
                        <a:pt x="461" y="32"/>
                        <a:pt x="461" y="32"/>
                        <a:pt x="461" y="32"/>
                      </a:cubicBezTo>
                      <a:cubicBezTo>
                        <a:pt x="461" y="32"/>
                        <a:pt x="446" y="31"/>
                        <a:pt x="439" y="31"/>
                      </a:cubicBezTo>
                      <a:cubicBezTo>
                        <a:pt x="434" y="45"/>
                        <a:pt x="411" y="45"/>
                        <a:pt x="411" y="45"/>
                      </a:cubicBezTo>
                      <a:cubicBezTo>
                        <a:pt x="407" y="36"/>
                        <a:pt x="407" y="36"/>
                        <a:pt x="407" y="36"/>
                      </a:cubicBezTo>
                      <a:cubicBezTo>
                        <a:pt x="407" y="36"/>
                        <a:pt x="391" y="37"/>
                        <a:pt x="391" y="47"/>
                      </a:cubicBezTo>
                      <a:cubicBezTo>
                        <a:pt x="391" y="56"/>
                        <a:pt x="366" y="32"/>
                        <a:pt x="366" y="32"/>
                      </a:cubicBezTo>
                      <a:cubicBezTo>
                        <a:pt x="366" y="32"/>
                        <a:pt x="353" y="28"/>
                        <a:pt x="343" y="23"/>
                      </a:cubicBezTo>
                      <a:cubicBezTo>
                        <a:pt x="338" y="30"/>
                        <a:pt x="331" y="31"/>
                        <a:pt x="321" y="28"/>
                      </a:cubicBezTo>
                      <a:cubicBezTo>
                        <a:pt x="319" y="51"/>
                        <a:pt x="319" y="51"/>
                        <a:pt x="319" y="51"/>
                      </a:cubicBezTo>
                      <a:cubicBezTo>
                        <a:pt x="326" y="83"/>
                        <a:pt x="326" y="83"/>
                        <a:pt x="326" y="83"/>
                      </a:cubicBezTo>
                      <a:cubicBezTo>
                        <a:pt x="326" y="83"/>
                        <a:pt x="322" y="77"/>
                        <a:pt x="314" y="105"/>
                      </a:cubicBezTo>
                      <a:cubicBezTo>
                        <a:pt x="322" y="197"/>
                        <a:pt x="331" y="179"/>
                        <a:pt x="317" y="191"/>
                      </a:cubicBezTo>
                      <a:cubicBezTo>
                        <a:pt x="295" y="191"/>
                        <a:pt x="290" y="217"/>
                        <a:pt x="285" y="229"/>
                      </a:cubicBezTo>
                      <a:cubicBezTo>
                        <a:pt x="279" y="241"/>
                        <a:pt x="277" y="255"/>
                        <a:pt x="277" y="255"/>
                      </a:cubicBezTo>
                      <a:cubicBezTo>
                        <a:pt x="246" y="249"/>
                        <a:pt x="246" y="249"/>
                        <a:pt x="246" y="249"/>
                      </a:cubicBezTo>
                      <a:cubicBezTo>
                        <a:pt x="243" y="240"/>
                        <a:pt x="243" y="240"/>
                        <a:pt x="243" y="240"/>
                      </a:cubicBezTo>
                      <a:cubicBezTo>
                        <a:pt x="227" y="233"/>
                        <a:pt x="227" y="233"/>
                        <a:pt x="227" y="233"/>
                      </a:cubicBezTo>
                      <a:cubicBezTo>
                        <a:pt x="225" y="248"/>
                        <a:pt x="225" y="248"/>
                        <a:pt x="225" y="248"/>
                      </a:cubicBezTo>
                      <a:cubicBezTo>
                        <a:pt x="199" y="252"/>
                        <a:pt x="199" y="252"/>
                        <a:pt x="199" y="252"/>
                      </a:cubicBezTo>
                      <a:cubicBezTo>
                        <a:pt x="199" y="252"/>
                        <a:pt x="199" y="252"/>
                        <a:pt x="181" y="273"/>
                      </a:cubicBezTo>
                      <a:cubicBezTo>
                        <a:pt x="153" y="279"/>
                        <a:pt x="121" y="281"/>
                        <a:pt x="121" y="281"/>
                      </a:cubicBezTo>
                      <a:cubicBezTo>
                        <a:pt x="113" y="272"/>
                        <a:pt x="113" y="272"/>
                        <a:pt x="113" y="272"/>
                      </a:cubicBezTo>
                      <a:cubicBezTo>
                        <a:pt x="113" y="272"/>
                        <a:pt x="113" y="272"/>
                        <a:pt x="89" y="299"/>
                      </a:cubicBezTo>
                      <a:cubicBezTo>
                        <a:pt x="82" y="359"/>
                        <a:pt x="43" y="332"/>
                        <a:pt x="43" y="332"/>
                      </a:cubicBezTo>
                      <a:cubicBezTo>
                        <a:pt x="42" y="344"/>
                        <a:pt x="42" y="344"/>
                        <a:pt x="42" y="344"/>
                      </a:cubicBezTo>
                      <a:cubicBezTo>
                        <a:pt x="22" y="344"/>
                        <a:pt x="22" y="344"/>
                        <a:pt x="22" y="344"/>
                      </a:cubicBezTo>
                      <a:cubicBezTo>
                        <a:pt x="14" y="339"/>
                        <a:pt x="14" y="339"/>
                        <a:pt x="14" y="339"/>
                      </a:cubicBezTo>
                      <a:cubicBezTo>
                        <a:pt x="1" y="350"/>
                        <a:pt x="1" y="350"/>
                        <a:pt x="1" y="350"/>
                      </a:cubicBezTo>
                      <a:cubicBezTo>
                        <a:pt x="3" y="354"/>
                        <a:pt x="3" y="354"/>
                        <a:pt x="3" y="354"/>
                      </a:cubicBezTo>
                      <a:cubicBezTo>
                        <a:pt x="0" y="355"/>
                        <a:pt x="0" y="355"/>
                        <a:pt x="0" y="355"/>
                      </a:cubicBezTo>
                      <a:cubicBezTo>
                        <a:pt x="2" y="357"/>
                        <a:pt x="4" y="360"/>
                        <a:pt x="7" y="364"/>
                      </a:cubicBezTo>
                      <a:cubicBezTo>
                        <a:pt x="14" y="363"/>
                        <a:pt x="24" y="359"/>
                        <a:pt x="24" y="359"/>
                      </a:cubicBezTo>
                      <a:cubicBezTo>
                        <a:pt x="24" y="359"/>
                        <a:pt x="39" y="374"/>
                        <a:pt x="45" y="374"/>
                      </a:cubicBezTo>
                      <a:cubicBezTo>
                        <a:pt x="51" y="374"/>
                        <a:pt x="70" y="351"/>
                        <a:pt x="70" y="351"/>
                      </a:cubicBezTo>
                      <a:cubicBezTo>
                        <a:pt x="70" y="351"/>
                        <a:pt x="103" y="344"/>
                        <a:pt x="105" y="349"/>
                      </a:cubicBezTo>
                      <a:cubicBezTo>
                        <a:pt x="107" y="354"/>
                        <a:pt x="96" y="361"/>
                        <a:pt x="96" y="361"/>
                      </a:cubicBezTo>
                      <a:cubicBezTo>
                        <a:pt x="72" y="363"/>
                        <a:pt x="72" y="363"/>
                        <a:pt x="72" y="363"/>
                      </a:cubicBezTo>
                      <a:cubicBezTo>
                        <a:pt x="67" y="376"/>
                        <a:pt x="67" y="376"/>
                        <a:pt x="67" y="376"/>
                      </a:cubicBezTo>
                      <a:cubicBezTo>
                        <a:pt x="71" y="385"/>
                        <a:pt x="71" y="385"/>
                        <a:pt x="71" y="385"/>
                      </a:cubicBezTo>
                      <a:cubicBezTo>
                        <a:pt x="65" y="399"/>
                        <a:pt x="65" y="399"/>
                        <a:pt x="65" y="399"/>
                      </a:cubicBezTo>
                      <a:cubicBezTo>
                        <a:pt x="52" y="399"/>
                        <a:pt x="52" y="399"/>
                        <a:pt x="52" y="399"/>
                      </a:cubicBezTo>
                      <a:cubicBezTo>
                        <a:pt x="52" y="408"/>
                        <a:pt x="52" y="408"/>
                        <a:pt x="52" y="408"/>
                      </a:cubicBezTo>
                      <a:cubicBezTo>
                        <a:pt x="91" y="415"/>
                        <a:pt x="91" y="415"/>
                        <a:pt x="91" y="415"/>
                      </a:cubicBezTo>
                      <a:cubicBezTo>
                        <a:pt x="104" y="444"/>
                        <a:pt x="104" y="444"/>
                        <a:pt x="104" y="444"/>
                      </a:cubicBezTo>
                      <a:cubicBezTo>
                        <a:pt x="95" y="445"/>
                        <a:pt x="95" y="445"/>
                        <a:pt x="95" y="445"/>
                      </a:cubicBezTo>
                      <a:cubicBezTo>
                        <a:pt x="92" y="462"/>
                        <a:pt x="92" y="462"/>
                        <a:pt x="92" y="462"/>
                      </a:cubicBezTo>
                      <a:cubicBezTo>
                        <a:pt x="72" y="483"/>
                        <a:pt x="72" y="483"/>
                        <a:pt x="72" y="483"/>
                      </a:cubicBezTo>
                      <a:cubicBezTo>
                        <a:pt x="69" y="468"/>
                        <a:pt x="69" y="468"/>
                        <a:pt x="69" y="468"/>
                      </a:cubicBezTo>
                      <a:cubicBezTo>
                        <a:pt x="55" y="458"/>
                        <a:pt x="55" y="458"/>
                        <a:pt x="55" y="458"/>
                      </a:cubicBezTo>
                      <a:cubicBezTo>
                        <a:pt x="55" y="465"/>
                        <a:pt x="55" y="465"/>
                        <a:pt x="55" y="465"/>
                      </a:cubicBezTo>
                      <a:cubicBezTo>
                        <a:pt x="55" y="465"/>
                        <a:pt x="62" y="463"/>
                        <a:pt x="63" y="469"/>
                      </a:cubicBezTo>
                      <a:cubicBezTo>
                        <a:pt x="64" y="475"/>
                        <a:pt x="68" y="489"/>
                        <a:pt x="68" y="489"/>
                      </a:cubicBezTo>
                      <a:cubicBezTo>
                        <a:pt x="68" y="489"/>
                        <a:pt x="73" y="508"/>
                        <a:pt x="72" y="511"/>
                      </a:cubicBezTo>
                      <a:cubicBezTo>
                        <a:pt x="91" y="521"/>
                        <a:pt x="103" y="549"/>
                        <a:pt x="103" y="549"/>
                      </a:cubicBezTo>
                      <a:cubicBezTo>
                        <a:pt x="111" y="549"/>
                        <a:pt x="111" y="549"/>
                        <a:pt x="111" y="549"/>
                      </a:cubicBezTo>
                      <a:cubicBezTo>
                        <a:pt x="126" y="569"/>
                        <a:pt x="135" y="611"/>
                        <a:pt x="135" y="611"/>
                      </a:cubicBezTo>
                      <a:cubicBezTo>
                        <a:pt x="135" y="611"/>
                        <a:pt x="135" y="603"/>
                        <a:pt x="149" y="617"/>
                      </a:cubicBezTo>
                      <a:cubicBezTo>
                        <a:pt x="163" y="631"/>
                        <a:pt x="200" y="642"/>
                        <a:pt x="200" y="642"/>
                      </a:cubicBezTo>
                      <a:cubicBezTo>
                        <a:pt x="210" y="658"/>
                        <a:pt x="210" y="658"/>
                        <a:pt x="210" y="658"/>
                      </a:cubicBezTo>
                      <a:cubicBezTo>
                        <a:pt x="210" y="658"/>
                        <a:pt x="229" y="658"/>
                        <a:pt x="235" y="660"/>
                      </a:cubicBezTo>
                      <a:cubicBezTo>
                        <a:pt x="241" y="662"/>
                        <a:pt x="248" y="678"/>
                        <a:pt x="248" y="678"/>
                      </a:cubicBezTo>
                      <a:cubicBezTo>
                        <a:pt x="251" y="669"/>
                        <a:pt x="251" y="669"/>
                        <a:pt x="251" y="669"/>
                      </a:cubicBezTo>
                      <a:cubicBezTo>
                        <a:pt x="265" y="682"/>
                        <a:pt x="265" y="682"/>
                        <a:pt x="265" y="682"/>
                      </a:cubicBezTo>
                      <a:cubicBezTo>
                        <a:pt x="274" y="666"/>
                        <a:pt x="274" y="666"/>
                        <a:pt x="274" y="666"/>
                      </a:cubicBezTo>
                      <a:cubicBezTo>
                        <a:pt x="274" y="666"/>
                        <a:pt x="284" y="675"/>
                        <a:pt x="287" y="680"/>
                      </a:cubicBezTo>
                      <a:cubicBezTo>
                        <a:pt x="290" y="685"/>
                        <a:pt x="262" y="717"/>
                        <a:pt x="262" y="717"/>
                      </a:cubicBezTo>
                      <a:cubicBezTo>
                        <a:pt x="267" y="720"/>
                        <a:pt x="271" y="724"/>
                        <a:pt x="275" y="728"/>
                      </a:cubicBezTo>
                      <a:cubicBezTo>
                        <a:pt x="289" y="723"/>
                        <a:pt x="289" y="723"/>
                        <a:pt x="289" y="723"/>
                      </a:cubicBezTo>
                      <a:cubicBezTo>
                        <a:pt x="322" y="712"/>
                        <a:pt x="322" y="712"/>
                        <a:pt x="322" y="712"/>
                      </a:cubicBezTo>
                      <a:cubicBezTo>
                        <a:pt x="322" y="728"/>
                        <a:pt x="322" y="728"/>
                        <a:pt x="322" y="728"/>
                      </a:cubicBezTo>
                      <a:cubicBezTo>
                        <a:pt x="337" y="729"/>
                        <a:pt x="337" y="729"/>
                        <a:pt x="337" y="729"/>
                      </a:cubicBezTo>
                      <a:cubicBezTo>
                        <a:pt x="346" y="723"/>
                        <a:pt x="346" y="723"/>
                        <a:pt x="346" y="723"/>
                      </a:cubicBezTo>
                      <a:cubicBezTo>
                        <a:pt x="361" y="732"/>
                        <a:pt x="361" y="732"/>
                        <a:pt x="361" y="732"/>
                      </a:cubicBezTo>
                      <a:cubicBezTo>
                        <a:pt x="361" y="732"/>
                        <a:pt x="378" y="728"/>
                        <a:pt x="385" y="728"/>
                      </a:cubicBezTo>
                      <a:cubicBezTo>
                        <a:pt x="391" y="728"/>
                        <a:pt x="391" y="717"/>
                        <a:pt x="391" y="717"/>
                      </a:cubicBezTo>
                      <a:cubicBezTo>
                        <a:pt x="391" y="717"/>
                        <a:pt x="421" y="719"/>
                        <a:pt x="398" y="699"/>
                      </a:cubicBezTo>
                      <a:cubicBezTo>
                        <a:pt x="389" y="707"/>
                        <a:pt x="389" y="707"/>
                        <a:pt x="389" y="707"/>
                      </a:cubicBezTo>
                      <a:cubicBezTo>
                        <a:pt x="393" y="684"/>
                        <a:pt x="393" y="684"/>
                        <a:pt x="393" y="684"/>
                      </a:cubicBezTo>
                      <a:cubicBezTo>
                        <a:pt x="383" y="664"/>
                        <a:pt x="383" y="664"/>
                        <a:pt x="383" y="664"/>
                      </a:cubicBezTo>
                      <a:cubicBezTo>
                        <a:pt x="394" y="664"/>
                        <a:pt x="394" y="664"/>
                        <a:pt x="394" y="664"/>
                      </a:cubicBezTo>
                      <a:cubicBezTo>
                        <a:pt x="394" y="627"/>
                        <a:pt x="394" y="627"/>
                        <a:pt x="394" y="627"/>
                      </a:cubicBezTo>
                      <a:cubicBezTo>
                        <a:pt x="383" y="627"/>
                        <a:pt x="383" y="627"/>
                        <a:pt x="383" y="627"/>
                      </a:cubicBezTo>
                      <a:cubicBezTo>
                        <a:pt x="386" y="605"/>
                        <a:pt x="386" y="605"/>
                        <a:pt x="386" y="605"/>
                      </a:cubicBezTo>
                      <a:cubicBezTo>
                        <a:pt x="371" y="585"/>
                        <a:pt x="371" y="585"/>
                        <a:pt x="371" y="585"/>
                      </a:cubicBezTo>
                      <a:cubicBezTo>
                        <a:pt x="378" y="573"/>
                        <a:pt x="378" y="573"/>
                        <a:pt x="378" y="573"/>
                      </a:cubicBezTo>
                      <a:cubicBezTo>
                        <a:pt x="353" y="548"/>
                        <a:pt x="353" y="548"/>
                        <a:pt x="353" y="548"/>
                      </a:cubicBezTo>
                      <a:cubicBezTo>
                        <a:pt x="357" y="537"/>
                        <a:pt x="357" y="537"/>
                        <a:pt x="357" y="537"/>
                      </a:cubicBezTo>
                      <a:cubicBezTo>
                        <a:pt x="357" y="537"/>
                        <a:pt x="337" y="532"/>
                        <a:pt x="339" y="523"/>
                      </a:cubicBezTo>
                      <a:cubicBezTo>
                        <a:pt x="342" y="513"/>
                        <a:pt x="371" y="503"/>
                        <a:pt x="378" y="511"/>
                      </a:cubicBezTo>
                      <a:cubicBezTo>
                        <a:pt x="385" y="519"/>
                        <a:pt x="413" y="501"/>
                        <a:pt x="413" y="501"/>
                      </a:cubicBezTo>
                      <a:cubicBezTo>
                        <a:pt x="415" y="485"/>
                        <a:pt x="415" y="485"/>
                        <a:pt x="415" y="485"/>
                      </a:cubicBezTo>
                      <a:cubicBezTo>
                        <a:pt x="434" y="488"/>
                        <a:pt x="434" y="488"/>
                        <a:pt x="434" y="488"/>
                      </a:cubicBezTo>
                      <a:cubicBezTo>
                        <a:pt x="433" y="496"/>
                        <a:pt x="433" y="496"/>
                        <a:pt x="433" y="496"/>
                      </a:cubicBezTo>
                      <a:cubicBezTo>
                        <a:pt x="459" y="481"/>
                        <a:pt x="459" y="481"/>
                        <a:pt x="459" y="481"/>
                      </a:cubicBezTo>
                      <a:cubicBezTo>
                        <a:pt x="502" y="480"/>
                        <a:pt x="502" y="480"/>
                        <a:pt x="502" y="480"/>
                      </a:cubicBezTo>
                      <a:cubicBezTo>
                        <a:pt x="499" y="492"/>
                        <a:pt x="499" y="492"/>
                        <a:pt x="499" y="492"/>
                      </a:cubicBezTo>
                      <a:cubicBezTo>
                        <a:pt x="509" y="492"/>
                        <a:pt x="509" y="492"/>
                        <a:pt x="509" y="492"/>
                      </a:cubicBezTo>
                      <a:cubicBezTo>
                        <a:pt x="514" y="483"/>
                        <a:pt x="514" y="483"/>
                        <a:pt x="514" y="483"/>
                      </a:cubicBezTo>
                      <a:cubicBezTo>
                        <a:pt x="519" y="484"/>
                        <a:pt x="519" y="484"/>
                        <a:pt x="519" y="484"/>
                      </a:cubicBezTo>
                      <a:cubicBezTo>
                        <a:pt x="519" y="484"/>
                        <a:pt x="518" y="464"/>
                        <a:pt x="549" y="464"/>
                      </a:cubicBezTo>
                      <a:cubicBezTo>
                        <a:pt x="549" y="463"/>
                        <a:pt x="549" y="462"/>
                        <a:pt x="549" y="461"/>
                      </a:cubicBezTo>
                      <a:cubicBezTo>
                        <a:pt x="546" y="433"/>
                        <a:pt x="575" y="399"/>
                        <a:pt x="575" y="399"/>
                      </a:cubicBezTo>
                      <a:cubicBezTo>
                        <a:pt x="569" y="387"/>
                        <a:pt x="569" y="387"/>
                        <a:pt x="569" y="387"/>
                      </a:cubicBezTo>
                      <a:cubicBezTo>
                        <a:pt x="569" y="387"/>
                        <a:pt x="581" y="369"/>
                        <a:pt x="585" y="359"/>
                      </a:cubicBezTo>
                      <a:cubicBezTo>
                        <a:pt x="578" y="351"/>
                        <a:pt x="589" y="323"/>
                        <a:pt x="589" y="323"/>
                      </a:cubicBezTo>
                      <a:cubicBezTo>
                        <a:pt x="626" y="335"/>
                        <a:pt x="626" y="335"/>
                        <a:pt x="626" y="335"/>
                      </a:cubicBezTo>
                      <a:cubicBezTo>
                        <a:pt x="615" y="320"/>
                        <a:pt x="615" y="320"/>
                        <a:pt x="615" y="320"/>
                      </a:cubicBezTo>
                      <a:cubicBezTo>
                        <a:pt x="615" y="320"/>
                        <a:pt x="626" y="313"/>
                        <a:pt x="625" y="311"/>
                      </a:cubicBezTo>
                      <a:cubicBezTo>
                        <a:pt x="642" y="329"/>
                        <a:pt x="641" y="307"/>
                        <a:pt x="641" y="307"/>
                      </a:cubicBezTo>
                      <a:cubicBezTo>
                        <a:pt x="641" y="307"/>
                        <a:pt x="670" y="300"/>
                        <a:pt x="674" y="299"/>
                      </a:cubicBezTo>
                      <a:cubicBezTo>
                        <a:pt x="658" y="293"/>
                        <a:pt x="690" y="272"/>
                        <a:pt x="690" y="272"/>
                      </a:cubicBezTo>
                      <a:cubicBezTo>
                        <a:pt x="690" y="272"/>
                        <a:pt x="703" y="252"/>
                        <a:pt x="707" y="248"/>
                      </a:cubicBezTo>
                      <a:cubicBezTo>
                        <a:pt x="707" y="233"/>
                        <a:pt x="717" y="229"/>
                        <a:pt x="717" y="229"/>
                      </a:cubicBezTo>
                      <a:cubicBezTo>
                        <a:pt x="725" y="219"/>
                        <a:pt x="725" y="219"/>
                        <a:pt x="725" y="219"/>
                      </a:cubicBezTo>
                      <a:cubicBezTo>
                        <a:pt x="718" y="205"/>
                        <a:pt x="718" y="205"/>
                        <a:pt x="718" y="205"/>
                      </a:cubicBezTo>
                      <a:cubicBezTo>
                        <a:pt x="722" y="192"/>
                        <a:pt x="722" y="192"/>
                        <a:pt x="722" y="192"/>
                      </a:cubicBezTo>
                      <a:cubicBezTo>
                        <a:pt x="714" y="180"/>
                        <a:pt x="714" y="180"/>
                        <a:pt x="714" y="180"/>
                      </a:cubicBezTo>
                      <a:cubicBezTo>
                        <a:pt x="725" y="175"/>
                        <a:pt x="725" y="175"/>
                        <a:pt x="725" y="175"/>
                      </a:cubicBezTo>
                      <a:cubicBezTo>
                        <a:pt x="725" y="157"/>
                        <a:pt x="725" y="157"/>
                        <a:pt x="725" y="157"/>
                      </a:cubicBezTo>
                      <a:cubicBezTo>
                        <a:pt x="739" y="156"/>
                        <a:pt x="739" y="156"/>
                        <a:pt x="739" y="156"/>
                      </a:cubicBezTo>
                      <a:cubicBezTo>
                        <a:pt x="739" y="147"/>
                        <a:pt x="739" y="147"/>
                        <a:pt x="739" y="147"/>
                      </a:cubicBezTo>
                      <a:lnTo>
                        <a:pt x="719" y="140"/>
                      </a:ln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92" name="POitou-Charentes" descr="© INSCALE GmbH, 05.05.2010&#10;http://www.presentationload.com/">
                  <a:extLst>
                    <a:ext uri="{FF2B5EF4-FFF2-40B4-BE49-F238E27FC236}">
                      <a16:creationId xmlns:a16="http://schemas.microsoft.com/office/drawing/2014/main" id="{9FC5B29E-FFA9-4189-94A8-AA4A865DA5FE}"/>
                    </a:ext>
                  </a:extLst>
                </p:cNvPr>
                <p:cNvSpPr>
                  <a:spLocks noEditPoints="1"/>
                </p:cNvSpPr>
                <p:nvPr/>
              </p:nvSpPr>
              <p:spPr bwMode="gray">
                <a:xfrm>
                  <a:off x="881" y="1507"/>
                  <a:ext cx="619" cy="717"/>
                </a:xfrm>
                <a:custGeom>
                  <a:avLst/>
                  <a:gdLst/>
                  <a:ahLst/>
                  <a:cxnLst>
                    <a:cxn ang="0">
                      <a:pos x="39" y="333"/>
                    </a:cxn>
                    <a:cxn ang="0">
                      <a:pos x="19" y="308"/>
                    </a:cxn>
                    <a:cxn ang="0">
                      <a:pos x="6" y="327"/>
                    </a:cxn>
                    <a:cxn ang="0">
                      <a:pos x="32" y="355"/>
                    </a:cxn>
                    <a:cxn ang="0">
                      <a:pos x="46" y="345"/>
                    </a:cxn>
                    <a:cxn ang="0">
                      <a:pos x="559" y="229"/>
                    </a:cxn>
                    <a:cxn ang="0">
                      <a:pos x="533" y="197"/>
                    </a:cxn>
                    <a:cxn ang="0">
                      <a:pos x="486" y="111"/>
                    </a:cxn>
                    <a:cxn ang="0">
                      <a:pos x="434" y="52"/>
                    </a:cxn>
                    <a:cxn ang="0">
                      <a:pos x="419" y="65"/>
                    </a:cxn>
                    <a:cxn ang="0">
                      <a:pos x="393" y="67"/>
                    </a:cxn>
                    <a:cxn ang="0">
                      <a:pos x="382" y="39"/>
                    </a:cxn>
                    <a:cxn ang="0">
                      <a:pos x="369" y="28"/>
                    </a:cxn>
                    <a:cxn ang="0">
                      <a:pos x="355" y="21"/>
                    </a:cxn>
                    <a:cxn ang="0">
                      <a:pos x="299" y="20"/>
                    </a:cxn>
                    <a:cxn ang="0">
                      <a:pos x="289" y="28"/>
                    </a:cxn>
                    <a:cxn ang="0">
                      <a:pos x="282" y="16"/>
                    </a:cxn>
                    <a:cxn ang="0">
                      <a:pos x="213" y="32"/>
                    </a:cxn>
                    <a:cxn ang="0">
                      <a:pos x="195" y="21"/>
                    </a:cxn>
                    <a:cxn ang="0">
                      <a:pos x="158" y="47"/>
                    </a:cxn>
                    <a:cxn ang="0">
                      <a:pos x="137" y="73"/>
                    </a:cxn>
                    <a:cxn ang="0">
                      <a:pos x="158" y="109"/>
                    </a:cxn>
                    <a:cxn ang="0">
                      <a:pos x="166" y="141"/>
                    </a:cxn>
                    <a:cxn ang="0">
                      <a:pos x="174" y="163"/>
                    </a:cxn>
                    <a:cxn ang="0">
                      <a:pos x="163" y="200"/>
                    </a:cxn>
                    <a:cxn ang="0">
                      <a:pos x="169" y="243"/>
                    </a:cxn>
                    <a:cxn ang="0">
                      <a:pos x="171" y="253"/>
                    </a:cxn>
                    <a:cxn ang="0">
                      <a:pos x="141" y="268"/>
                    </a:cxn>
                    <a:cxn ang="0">
                      <a:pos x="117" y="265"/>
                    </a:cxn>
                    <a:cxn ang="0">
                      <a:pos x="102" y="248"/>
                    </a:cxn>
                    <a:cxn ang="0">
                      <a:pos x="55" y="264"/>
                    </a:cxn>
                    <a:cxn ang="0">
                      <a:pos x="64" y="309"/>
                    </a:cxn>
                    <a:cxn ang="0">
                      <a:pos x="69" y="324"/>
                    </a:cxn>
                    <a:cxn ang="0">
                      <a:pos x="63" y="352"/>
                    </a:cxn>
                    <a:cxn ang="0">
                      <a:pos x="58" y="367"/>
                    </a:cxn>
                    <a:cxn ang="0">
                      <a:pos x="44" y="372"/>
                    </a:cxn>
                    <a:cxn ang="0">
                      <a:pos x="37" y="406"/>
                    </a:cxn>
                    <a:cxn ang="0">
                      <a:pos x="80" y="427"/>
                    </a:cxn>
                    <a:cxn ang="0">
                      <a:pos x="103" y="454"/>
                    </a:cxn>
                    <a:cxn ang="0">
                      <a:pos x="147" y="539"/>
                    </a:cxn>
                    <a:cxn ang="0">
                      <a:pos x="152" y="564"/>
                    </a:cxn>
                    <a:cxn ang="0">
                      <a:pos x="151" y="581"/>
                    </a:cxn>
                    <a:cxn ang="0">
                      <a:pos x="171" y="593"/>
                    </a:cxn>
                    <a:cxn ang="0">
                      <a:pos x="210" y="643"/>
                    </a:cxn>
                    <a:cxn ang="0">
                      <a:pos x="293" y="652"/>
                    </a:cxn>
                    <a:cxn ang="0">
                      <a:pos x="327" y="625"/>
                    </a:cxn>
                    <a:cxn ang="0">
                      <a:pos x="357" y="597"/>
                    </a:cxn>
                    <a:cxn ang="0">
                      <a:pos x="405" y="524"/>
                    </a:cxn>
                    <a:cxn ang="0">
                      <a:pos x="411" y="495"/>
                    </a:cxn>
                    <a:cxn ang="0">
                      <a:pos x="461" y="451"/>
                    </a:cxn>
                    <a:cxn ang="0">
                      <a:pos x="481" y="439"/>
                    </a:cxn>
                    <a:cxn ang="0">
                      <a:pos x="487" y="395"/>
                    </a:cxn>
                    <a:cxn ang="0">
                      <a:pos x="513" y="391"/>
                    </a:cxn>
                    <a:cxn ang="0">
                      <a:pos x="490" y="332"/>
                    </a:cxn>
                    <a:cxn ang="0">
                      <a:pos x="494" y="301"/>
                    </a:cxn>
                    <a:cxn ang="0">
                      <a:pos x="529" y="287"/>
                    </a:cxn>
                    <a:cxn ang="0">
                      <a:pos x="555" y="263"/>
                    </a:cxn>
                    <a:cxn ang="0">
                      <a:pos x="570" y="252"/>
                    </a:cxn>
                  </a:cxnLst>
                  <a:rect l="0" t="0" r="r" b="b"/>
                  <a:pathLst>
                    <a:path w="574" h="665">
                      <a:moveTo>
                        <a:pt x="46" y="345"/>
                      </a:moveTo>
                      <a:cubicBezTo>
                        <a:pt x="39" y="333"/>
                        <a:pt x="39" y="333"/>
                        <a:pt x="39" y="333"/>
                      </a:cubicBezTo>
                      <a:cubicBezTo>
                        <a:pt x="38" y="311"/>
                        <a:pt x="38" y="311"/>
                        <a:pt x="38" y="311"/>
                      </a:cubicBezTo>
                      <a:cubicBezTo>
                        <a:pt x="19" y="308"/>
                        <a:pt x="19" y="308"/>
                        <a:pt x="19" y="308"/>
                      </a:cubicBezTo>
                      <a:cubicBezTo>
                        <a:pt x="4" y="289"/>
                        <a:pt x="4" y="289"/>
                        <a:pt x="4" y="289"/>
                      </a:cubicBezTo>
                      <a:cubicBezTo>
                        <a:pt x="0" y="293"/>
                        <a:pt x="6" y="327"/>
                        <a:pt x="6" y="327"/>
                      </a:cubicBezTo>
                      <a:cubicBezTo>
                        <a:pt x="19" y="337"/>
                        <a:pt x="19" y="337"/>
                        <a:pt x="19" y="337"/>
                      </a:cubicBezTo>
                      <a:cubicBezTo>
                        <a:pt x="32" y="355"/>
                        <a:pt x="32" y="355"/>
                        <a:pt x="32" y="355"/>
                      </a:cubicBezTo>
                      <a:cubicBezTo>
                        <a:pt x="36" y="368"/>
                        <a:pt x="36" y="368"/>
                        <a:pt x="36" y="368"/>
                      </a:cubicBezTo>
                      <a:lnTo>
                        <a:pt x="46" y="345"/>
                      </a:lnTo>
                      <a:close/>
                      <a:moveTo>
                        <a:pt x="574" y="241"/>
                      </a:moveTo>
                      <a:cubicBezTo>
                        <a:pt x="574" y="241"/>
                        <a:pt x="563" y="236"/>
                        <a:pt x="559" y="229"/>
                      </a:cubicBezTo>
                      <a:cubicBezTo>
                        <a:pt x="553" y="187"/>
                        <a:pt x="534" y="208"/>
                        <a:pt x="534" y="208"/>
                      </a:cubicBezTo>
                      <a:cubicBezTo>
                        <a:pt x="534" y="208"/>
                        <a:pt x="537" y="199"/>
                        <a:pt x="533" y="197"/>
                      </a:cubicBezTo>
                      <a:cubicBezTo>
                        <a:pt x="505" y="196"/>
                        <a:pt x="510" y="167"/>
                        <a:pt x="511" y="153"/>
                      </a:cubicBezTo>
                      <a:cubicBezTo>
                        <a:pt x="479" y="120"/>
                        <a:pt x="503" y="127"/>
                        <a:pt x="486" y="111"/>
                      </a:cubicBezTo>
                      <a:cubicBezTo>
                        <a:pt x="469" y="95"/>
                        <a:pt x="466" y="63"/>
                        <a:pt x="466" y="63"/>
                      </a:cubicBezTo>
                      <a:cubicBezTo>
                        <a:pt x="434" y="52"/>
                        <a:pt x="434" y="52"/>
                        <a:pt x="434" y="52"/>
                      </a:cubicBezTo>
                      <a:cubicBezTo>
                        <a:pt x="442" y="65"/>
                        <a:pt x="442" y="65"/>
                        <a:pt x="442" y="65"/>
                      </a:cubicBezTo>
                      <a:cubicBezTo>
                        <a:pt x="419" y="65"/>
                        <a:pt x="419" y="65"/>
                        <a:pt x="419" y="65"/>
                      </a:cubicBezTo>
                      <a:cubicBezTo>
                        <a:pt x="405" y="73"/>
                        <a:pt x="405" y="73"/>
                        <a:pt x="405" y="73"/>
                      </a:cubicBezTo>
                      <a:cubicBezTo>
                        <a:pt x="393" y="67"/>
                        <a:pt x="393" y="67"/>
                        <a:pt x="393" y="67"/>
                      </a:cubicBezTo>
                      <a:cubicBezTo>
                        <a:pt x="393" y="67"/>
                        <a:pt x="394" y="73"/>
                        <a:pt x="382" y="69"/>
                      </a:cubicBezTo>
                      <a:cubicBezTo>
                        <a:pt x="370" y="65"/>
                        <a:pt x="382" y="39"/>
                        <a:pt x="382" y="39"/>
                      </a:cubicBezTo>
                      <a:cubicBezTo>
                        <a:pt x="373" y="35"/>
                        <a:pt x="373" y="35"/>
                        <a:pt x="373" y="35"/>
                      </a:cubicBezTo>
                      <a:cubicBezTo>
                        <a:pt x="369" y="28"/>
                        <a:pt x="369" y="28"/>
                        <a:pt x="369" y="28"/>
                      </a:cubicBezTo>
                      <a:cubicBezTo>
                        <a:pt x="355" y="35"/>
                        <a:pt x="355" y="35"/>
                        <a:pt x="355" y="35"/>
                      </a:cubicBezTo>
                      <a:cubicBezTo>
                        <a:pt x="355" y="21"/>
                        <a:pt x="355" y="21"/>
                        <a:pt x="355" y="21"/>
                      </a:cubicBezTo>
                      <a:cubicBezTo>
                        <a:pt x="355" y="21"/>
                        <a:pt x="333" y="25"/>
                        <a:pt x="329" y="0"/>
                      </a:cubicBezTo>
                      <a:cubicBezTo>
                        <a:pt x="298" y="0"/>
                        <a:pt x="299" y="20"/>
                        <a:pt x="299" y="20"/>
                      </a:cubicBezTo>
                      <a:cubicBezTo>
                        <a:pt x="294" y="19"/>
                        <a:pt x="294" y="19"/>
                        <a:pt x="294" y="19"/>
                      </a:cubicBezTo>
                      <a:cubicBezTo>
                        <a:pt x="289" y="28"/>
                        <a:pt x="289" y="28"/>
                        <a:pt x="289" y="28"/>
                      </a:cubicBezTo>
                      <a:cubicBezTo>
                        <a:pt x="279" y="28"/>
                        <a:pt x="279" y="28"/>
                        <a:pt x="279" y="28"/>
                      </a:cubicBezTo>
                      <a:cubicBezTo>
                        <a:pt x="282" y="16"/>
                        <a:pt x="282" y="16"/>
                        <a:pt x="282" y="16"/>
                      </a:cubicBezTo>
                      <a:cubicBezTo>
                        <a:pt x="239" y="17"/>
                        <a:pt x="239" y="17"/>
                        <a:pt x="239" y="17"/>
                      </a:cubicBezTo>
                      <a:cubicBezTo>
                        <a:pt x="213" y="32"/>
                        <a:pt x="213" y="32"/>
                        <a:pt x="213" y="32"/>
                      </a:cubicBezTo>
                      <a:cubicBezTo>
                        <a:pt x="214" y="24"/>
                        <a:pt x="214" y="24"/>
                        <a:pt x="214" y="24"/>
                      </a:cubicBezTo>
                      <a:cubicBezTo>
                        <a:pt x="195" y="21"/>
                        <a:pt x="195" y="21"/>
                        <a:pt x="195" y="21"/>
                      </a:cubicBezTo>
                      <a:cubicBezTo>
                        <a:pt x="193" y="37"/>
                        <a:pt x="193" y="37"/>
                        <a:pt x="193" y="37"/>
                      </a:cubicBezTo>
                      <a:cubicBezTo>
                        <a:pt x="193" y="37"/>
                        <a:pt x="165" y="55"/>
                        <a:pt x="158" y="47"/>
                      </a:cubicBezTo>
                      <a:cubicBezTo>
                        <a:pt x="151" y="39"/>
                        <a:pt x="122" y="49"/>
                        <a:pt x="119" y="59"/>
                      </a:cubicBezTo>
                      <a:cubicBezTo>
                        <a:pt x="117" y="68"/>
                        <a:pt x="137" y="73"/>
                        <a:pt x="137" y="73"/>
                      </a:cubicBezTo>
                      <a:cubicBezTo>
                        <a:pt x="133" y="84"/>
                        <a:pt x="133" y="84"/>
                        <a:pt x="133" y="84"/>
                      </a:cubicBezTo>
                      <a:cubicBezTo>
                        <a:pt x="158" y="109"/>
                        <a:pt x="158" y="109"/>
                        <a:pt x="158" y="109"/>
                      </a:cubicBezTo>
                      <a:cubicBezTo>
                        <a:pt x="151" y="121"/>
                        <a:pt x="151" y="121"/>
                        <a:pt x="151" y="121"/>
                      </a:cubicBezTo>
                      <a:cubicBezTo>
                        <a:pt x="166" y="141"/>
                        <a:pt x="166" y="141"/>
                        <a:pt x="166" y="141"/>
                      </a:cubicBezTo>
                      <a:cubicBezTo>
                        <a:pt x="163" y="163"/>
                        <a:pt x="163" y="163"/>
                        <a:pt x="163" y="163"/>
                      </a:cubicBezTo>
                      <a:cubicBezTo>
                        <a:pt x="174" y="163"/>
                        <a:pt x="174" y="163"/>
                        <a:pt x="174" y="163"/>
                      </a:cubicBezTo>
                      <a:cubicBezTo>
                        <a:pt x="174" y="200"/>
                        <a:pt x="174" y="200"/>
                        <a:pt x="174" y="200"/>
                      </a:cubicBezTo>
                      <a:cubicBezTo>
                        <a:pt x="163" y="200"/>
                        <a:pt x="163" y="200"/>
                        <a:pt x="163" y="200"/>
                      </a:cubicBezTo>
                      <a:cubicBezTo>
                        <a:pt x="173" y="220"/>
                        <a:pt x="173" y="220"/>
                        <a:pt x="173" y="220"/>
                      </a:cubicBezTo>
                      <a:cubicBezTo>
                        <a:pt x="169" y="243"/>
                        <a:pt x="169" y="243"/>
                        <a:pt x="169" y="243"/>
                      </a:cubicBezTo>
                      <a:cubicBezTo>
                        <a:pt x="178" y="235"/>
                        <a:pt x="178" y="235"/>
                        <a:pt x="178" y="235"/>
                      </a:cubicBezTo>
                      <a:cubicBezTo>
                        <a:pt x="201" y="255"/>
                        <a:pt x="171" y="253"/>
                        <a:pt x="171" y="253"/>
                      </a:cubicBezTo>
                      <a:cubicBezTo>
                        <a:pt x="171" y="253"/>
                        <a:pt x="171" y="264"/>
                        <a:pt x="165" y="264"/>
                      </a:cubicBezTo>
                      <a:cubicBezTo>
                        <a:pt x="158" y="264"/>
                        <a:pt x="141" y="268"/>
                        <a:pt x="141" y="268"/>
                      </a:cubicBezTo>
                      <a:cubicBezTo>
                        <a:pt x="126" y="259"/>
                        <a:pt x="126" y="259"/>
                        <a:pt x="126" y="259"/>
                      </a:cubicBezTo>
                      <a:cubicBezTo>
                        <a:pt x="117" y="265"/>
                        <a:pt x="117" y="265"/>
                        <a:pt x="117" y="265"/>
                      </a:cubicBezTo>
                      <a:cubicBezTo>
                        <a:pt x="102" y="264"/>
                        <a:pt x="102" y="264"/>
                        <a:pt x="102" y="264"/>
                      </a:cubicBezTo>
                      <a:cubicBezTo>
                        <a:pt x="102" y="248"/>
                        <a:pt x="102" y="248"/>
                        <a:pt x="102" y="248"/>
                      </a:cubicBezTo>
                      <a:cubicBezTo>
                        <a:pt x="69" y="259"/>
                        <a:pt x="69" y="259"/>
                        <a:pt x="69" y="259"/>
                      </a:cubicBezTo>
                      <a:cubicBezTo>
                        <a:pt x="55" y="264"/>
                        <a:pt x="55" y="264"/>
                        <a:pt x="55" y="264"/>
                      </a:cubicBezTo>
                      <a:cubicBezTo>
                        <a:pt x="71" y="282"/>
                        <a:pt x="78" y="307"/>
                        <a:pt x="78" y="307"/>
                      </a:cubicBezTo>
                      <a:cubicBezTo>
                        <a:pt x="64" y="309"/>
                        <a:pt x="64" y="309"/>
                        <a:pt x="64" y="309"/>
                      </a:cubicBezTo>
                      <a:cubicBezTo>
                        <a:pt x="69" y="320"/>
                        <a:pt x="69" y="320"/>
                        <a:pt x="69" y="320"/>
                      </a:cubicBezTo>
                      <a:cubicBezTo>
                        <a:pt x="69" y="324"/>
                        <a:pt x="69" y="324"/>
                        <a:pt x="69" y="324"/>
                      </a:cubicBezTo>
                      <a:cubicBezTo>
                        <a:pt x="71" y="335"/>
                        <a:pt x="71" y="335"/>
                        <a:pt x="71" y="335"/>
                      </a:cubicBezTo>
                      <a:cubicBezTo>
                        <a:pt x="63" y="352"/>
                        <a:pt x="63" y="352"/>
                        <a:pt x="63" y="352"/>
                      </a:cubicBezTo>
                      <a:cubicBezTo>
                        <a:pt x="52" y="352"/>
                        <a:pt x="52" y="352"/>
                        <a:pt x="52" y="352"/>
                      </a:cubicBezTo>
                      <a:cubicBezTo>
                        <a:pt x="58" y="367"/>
                        <a:pt x="58" y="367"/>
                        <a:pt x="58" y="367"/>
                      </a:cubicBezTo>
                      <a:cubicBezTo>
                        <a:pt x="67" y="382"/>
                        <a:pt x="67" y="382"/>
                        <a:pt x="67" y="382"/>
                      </a:cubicBezTo>
                      <a:cubicBezTo>
                        <a:pt x="67" y="382"/>
                        <a:pt x="51" y="372"/>
                        <a:pt x="44" y="372"/>
                      </a:cubicBezTo>
                      <a:cubicBezTo>
                        <a:pt x="37" y="372"/>
                        <a:pt x="35" y="378"/>
                        <a:pt x="33" y="389"/>
                      </a:cubicBezTo>
                      <a:cubicBezTo>
                        <a:pt x="31" y="400"/>
                        <a:pt x="37" y="406"/>
                        <a:pt x="37" y="406"/>
                      </a:cubicBezTo>
                      <a:cubicBezTo>
                        <a:pt x="70" y="427"/>
                        <a:pt x="70" y="427"/>
                        <a:pt x="70" y="427"/>
                      </a:cubicBezTo>
                      <a:cubicBezTo>
                        <a:pt x="80" y="427"/>
                        <a:pt x="80" y="427"/>
                        <a:pt x="80" y="427"/>
                      </a:cubicBezTo>
                      <a:cubicBezTo>
                        <a:pt x="93" y="454"/>
                        <a:pt x="93" y="454"/>
                        <a:pt x="93" y="454"/>
                      </a:cubicBezTo>
                      <a:cubicBezTo>
                        <a:pt x="103" y="454"/>
                        <a:pt x="103" y="454"/>
                        <a:pt x="103" y="454"/>
                      </a:cubicBezTo>
                      <a:cubicBezTo>
                        <a:pt x="103" y="454"/>
                        <a:pt x="104" y="457"/>
                        <a:pt x="114" y="462"/>
                      </a:cubicBezTo>
                      <a:cubicBezTo>
                        <a:pt x="124" y="467"/>
                        <a:pt x="147" y="539"/>
                        <a:pt x="147" y="539"/>
                      </a:cubicBezTo>
                      <a:cubicBezTo>
                        <a:pt x="145" y="553"/>
                        <a:pt x="145" y="553"/>
                        <a:pt x="145" y="553"/>
                      </a:cubicBezTo>
                      <a:cubicBezTo>
                        <a:pt x="152" y="564"/>
                        <a:pt x="152" y="564"/>
                        <a:pt x="152" y="564"/>
                      </a:cubicBezTo>
                      <a:cubicBezTo>
                        <a:pt x="148" y="576"/>
                        <a:pt x="148" y="576"/>
                        <a:pt x="148" y="576"/>
                      </a:cubicBezTo>
                      <a:cubicBezTo>
                        <a:pt x="148" y="576"/>
                        <a:pt x="149" y="578"/>
                        <a:pt x="151" y="581"/>
                      </a:cubicBezTo>
                      <a:cubicBezTo>
                        <a:pt x="165" y="580"/>
                        <a:pt x="165" y="580"/>
                        <a:pt x="165" y="580"/>
                      </a:cubicBezTo>
                      <a:cubicBezTo>
                        <a:pt x="171" y="593"/>
                        <a:pt x="171" y="593"/>
                        <a:pt x="171" y="593"/>
                      </a:cubicBezTo>
                      <a:cubicBezTo>
                        <a:pt x="171" y="593"/>
                        <a:pt x="211" y="604"/>
                        <a:pt x="205" y="619"/>
                      </a:cubicBezTo>
                      <a:cubicBezTo>
                        <a:pt x="210" y="637"/>
                        <a:pt x="210" y="643"/>
                        <a:pt x="210" y="643"/>
                      </a:cubicBezTo>
                      <a:cubicBezTo>
                        <a:pt x="210" y="643"/>
                        <a:pt x="218" y="628"/>
                        <a:pt x="235" y="645"/>
                      </a:cubicBezTo>
                      <a:cubicBezTo>
                        <a:pt x="253" y="663"/>
                        <a:pt x="286" y="665"/>
                        <a:pt x="293" y="652"/>
                      </a:cubicBezTo>
                      <a:cubicBezTo>
                        <a:pt x="299" y="639"/>
                        <a:pt x="315" y="616"/>
                        <a:pt x="315" y="616"/>
                      </a:cubicBezTo>
                      <a:cubicBezTo>
                        <a:pt x="315" y="616"/>
                        <a:pt x="323" y="625"/>
                        <a:pt x="327" y="625"/>
                      </a:cubicBezTo>
                      <a:cubicBezTo>
                        <a:pt x="331" y="625"/>
                        <a:pt x="350" y="597"/>
                        <a:pt x="350" y="597"/>
                      </a:cubicBezTo>
                      <a:cubicBezTo>
                        <a:pt x="357" y="597"/>
                        <a:pt x="357" y="597"/>
                        <a:pt x="357" y="597"/>
                      </a:cubicBezTo>
                      <a:cubicBezTo>
                        <a:pt x="357" y="597"/>
                        <a:pt x="345" y="544"/>
                        <a:pt x="397" y="537"/>
                      </a:cubicBezTo>
                      <a:cubicBezTo>
                        <a:pt x="401" y="523"/>
                        <a:pt x="405" y="524"/>
                        <a:pt x="405" y="524"/>
                      </a:cubicBezTo>
                      <a:cubicBezTo>
                        <a:pt x="417" y="523"/>
                        <a:pt x="417" y="523"/>
                        <a:pt x="417" y="523"/>
                      </a:cubicBezTo>
                      <a:cubicBezTo>
                        <a:pt x="417" y="523"/>
                        <a:pt x="407" y="495"/>
                        <a:pt x="411" y="495"/>
                      </a:cubicBezTo>
                      <a:cubicBezTo>
                        <a:pt x="415" y="495"/>
                        <a:pt x="426" y="493"/>
                        <a:pt x="426" y="493"/>
                      </a:cubicBezTo>
                      <a:cubicBezTo>
                        <a:pt x="461" y="451"/>
                        <a:pt x="461" y="451"/>
                        <a:pt x="461" y="451"/>
                      </a:cubicBezTo>
                      <a:cubicBezTo>
                        <a:pt x="461" y="443"/>
                        <a:pt x="461" y="443"/>
                        <a:pt x="461" y="443"/>
                      </a:cubicBezTo>
                      <a:cubicBezTo>
                        <a:pt x="481" y="439"/>
                        <a:pt x="481" y="439"/>
                        <a:pt x="481" y="439"/>
                      </a:cubicBezTo>
                      <a:cubicBezTo>
                        <a:pt x="489" y="413"/>
                        <a:pt x="489" y="413"/>
                        <a:pt x="489" y="413"/>
                      </a:cubicBezTo>
                      <a:cubicBezTo>
                        <a:pt x="489" y="413"/>
                        <a:pt x="483" y="393"/>
                        <a:pt x="487" y="395"/>
                      </a:cubicBezTo>
                      <a:cubicBezTo>
                        <a:pt x="491" y="396"/>
                        <a:pt x="501" y="399"/>
                        <a:pt x="501" y="399"/>
                      </a:cubicBezTo>
                      <a:cubicBezTo>
                        <a:pt x="513" y="391"/>
                        <a:pt x="513" y="391"/>
                        <a:pt x="513" y="391"/>
                      </a:cubicBezTo>
                      <a:cubicBezTo>
                        <a:pt x="506" y="371"/>
                        <a:pt x="506" y="371"/>
                        <a:pt x="506" y="371"/>
                      </a:cubicBezTo>
                      <a:cubicBezTo>
                        <a:pt x="506" y="371"/>
                        <a:pt x="478" y="372"/>
                        <a:pt x="490" y="332"/>
                      </a:cubicBezTo>
                      <a:cubicBezTo>
                        <a:pt x="482" y="311"/>
                        <a:pt x="482" y="311"/>
                        <a:pt x="482" y="311"/>
                      </a:cubicBezTo>
                      <a:cubicBezTo>
                        <a:pt x="494" y="301"/>
                        <a:pt x="494" y="301"/>
                        <a:pt x="494" y="301"/>
                      </a:cubicBezTo>
                      <a:cubicBezTo>
                        <a:pt x="510" y="285"/>
                        <a:pt x="510" y="285"/>
                        <a:pt x="510" y="285"/>
                      </a:cubicBezTo>
                      <a:cubicBezTo>
                        <a:pt x="529" y="287"/>
                        <a:pt x="529" y="287"/>
                        <a:pt x="529" y="287"/>
                      </a:cubicBezTo>
                      <a:cubicBezTo>
                        <a:pt x="541" y="261"/>
                        <a:pt x="541" y="261"/>
                        <a:pt x="541" y="261"/>
                      </a:cubicBezTo>
                      <a:cubicBezTo>
                        <a:pt x="555" y="263"/>
                        <a:pt x="555" y="263"/>
                        <a:pt x="555" y="263"/>
                      </a:cubicBezTo>
                      <a:cubicBezTo>
                        <a:pt x="573" y="256"/>
                        <a:pt x="573" y="256"/>
                        <a:pt x="573" y="256"/>
                      </a:cubicBezTo>
                      <a:cubicBezTo>
                        <a:pt x="570" y="252"/>
                        <a:pt x="570" y="252"/>
                        <a:pt x="570" y="252"/>
                      </a:cubicBezTo>
                      <a:lnTo>
                        <a:pt x="574" y="241"/>
                      </a:ln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93" name="Limousin" descr="© INSCALE GmbH, 05.05.2010&#10;http://www.presentationload.com/">
                  <a:extLst>
                    <a:ext uri="{FF2B5EF4-FFF2-40B4-BE49-F238E27FC236}">
                      <a16:creationId xmlns:a16="http://schemas.microsoft.com/office/drawing/2014/main" id="{D6F2757E-7BCD-4A80-B584-2469FE7D98F1}"/>
                    </a:ext>
                  </a:extLst>
                </p:cNvPr>
                <p:cNvSpPr>
                  <a:spLocks/>
                </p:cNvSpPr>
                <p:nvPr/>
              </p:nvSpPr>
              <p:spPr bwMode="gray">
                <a:xfrm>
                  <a:off x="1360" y="1756"/>
                  <a:ext cx="473" cy="536"/>
                </a:xfrm>
                <a:custGeom>
                  <a:avLst/>
                  <a:gdLst/>
                  <a:ahLst/>
                  <a:cxnLst>
                    <a:cxn ang="0">
                      <a:pos x="50" y="266"/>
                    </a:cxn>
                    <a:cxn ang="0">
                      <a:pos x="97" y="293"/>
                    </a:cxn>
                    <a:cxn ang="0">
                      <a:pos x="110" y="314"/>
                    </a:cxn>
                    <a:cxn ang="0">
                      <a:pos x="135" y="337"/>
                    </a:cxn>
                    <a:cxn ang="0">
                      <a:pos x="133" y="369"/>
                    </a:cxn>
                    <a:cxn ang="0">
                      <a:pos x="141" y="386"/>
                    </a:cxn>
                    <a:cxn ang="0">
                      <a:pos x="142" y="404"/>
                    </a:cxn>
                    <a:cxn ang="0">
                      <a:pos x="169" y="426"/>
                    </a:cxn>
                    <a:cxn ang="0">
                      <a:pos x="175" y="461"/>
                    </a:cxn>
                    <a:cxn ang="0">
                      <a:pos x="258" y="493"/>
                    </a:cxn>
                    <a:cxn ang="0">
                      <a:pos x="286" y="481"/>
                    </a:cxn>
                    <a:cxn ang="0">
                      <a:pos x="319" y="474"/>
                    </a:cxn>
                    <a:cxn ang="0">
                      <a:pos x="343" y="440"/>
                    </a:cxn>
                    <a:cxn ang="0">
                      <a:pos x="350" y="412"/>
                    </a:cxn>
                    <a:cxn ang="0">
                      <a:pos x="363" y="374"/>
                    </a:cxn>
                    <a:cxn ang="0">
                      <a:pos x="385" y="365"/>
                    </a:cxn>
                    <a:cxn ang="0">
                      <a:pos x="402" y="348"/>
                    </a:cxn>
                    <a:cxn ang="0">
                      <a:pos x="410" y="330"/>
                    </a:cxn>
                    <a:cxn ang="0">
                      <a:pos x="419" y="265"/>
                    </a:cxn>
                    <a:cxn ang="0">
                      <a:pos x="403" y="193"/>
                    </a:cxn>
                    <a:cxn ang="0">
                      <a:pos x="438" y="161"/>
                    </a:cxn>
                    <a:cxn ang="0">
                      <a:pos x="430" y="105"/>
                    </a:cxn>
                    <a:cxn ang="0">
                      <a:pos x="397" y="54"/>
                    </a:cxn>
                    <a:cxn ang="0">
                      <a:pos x="375" y="28"/>
                    </a:cxn>
                    <a:cxn ang="0">
                      <a:pos x="365" y="11"/>
                    </a:cxn>
                    <a:cxn ang="0">
                      <a:pos x="318" y="13"/>
                    </a:cxn>
                    <a:cxn ang="0">
                      <a:pos x="250" y="4"/>
                    </a:cxn>
                    <a:cxn ang="0">
                      <a:pos x="235" y="16"/>
                    </a:cxn>
                    <a:cxn ang="0">
                      <a:pos x="219" y="13"/>
                    </a:cxn>
                    <a:cxn ang="0">
                      <a:pos x="201" y="12"/>
                    </a:cxn>
                    <a:cxn ang="0">
                      <a:pos x="169" y="21"/>
                    </a:cxn>
                    <a:cxn ang="0">
                      <a:pos x="151" y="28"/>
                    </a:cxn>
                    <a:cxn ang="0">
                      <a:pos x="129" y="25"/>
                    </a:cxn>
                    <a:cxn ang="0">
                      <a:pos x="97" y="30"/>
                    </a:cxn>
                    <a:cxn ang="0">
                      <a:pos x="66" y="54"/>
                    </a:cxn>
                    <a:cxn ang="0">
                      <a:pos x="38" y="80"/>
                    </a:cxn>
                    <a:cxn ang="0">
                      <a:pos x="62" y="140"/>
                    </a:cxn>
                    <a:cxn ang="0">
                      <a:pos x="57" y="168"/>
                    </a:cxn>
                    <a:cxn ang="0">
                      <a:pos x="45" y="182"/>
                    </a:cxn>
                    <a:cxn ang="0">
                      <a:pos x="17" y="212"/>
                    </a:cxn>
                    <a:cxn ang="0">
                      <a:pos x="0" y="240"/>
                    </a:cxn>
                    <a:cxn ang="0">
                      <a:pos x="31" y="277"/>
                    </a:cxn>
                  </a:cxnLst>
                  <a:rect l="0" t="0" r="r" b="b"/>
                  <a:pathLst>
                    <a:path w="439" h="497">
                      <a:moveTo>
                        <a:pt x="31" y="277"/>
                      </a:moveTo>
                      <a:cubicBezTo>
                        <a:pt x="38" y="281"/>
                        <a:pt x="50" y="266"/>
                        <a:pt x="50" y="266"/>
                      </a:cubicBezTo>
                      <a:cubicBezTo>
                        <a:pt x="85" y="270"/>
                        <a:pt x="85" y="270"/>
                        <a:pt x="85" y="270"/>
                      </a:cubicBezTo>
                      <a:cubicBezTo>
                        <a:pt x="85" y="270"/>
                        <a:pt x="90" y="293"/>
                        <a:pt x="97" y="293"/>
                      </a:cubicBezTo>
                      <a:cubicBezTo>
                        <a:pt x="103" y="293"/>
                        <a:pt x="115" y="294"/>
                        <a:pt x="115" y="294"/>
                      </a:cubicBezTo>
                      <a:cubicBezTo>
                        <a:pt x="110" y="314"/>
                        <a:pt x="110" y="314"/>
                        <a:pt x="110" y="314"/>
                      </a:cubicBezTo>
                      <a:cubicBezTo>
                        <a:pt x="142" y="336"/>
                        <a:pt x="142" y="336"/>
                        <a:pt x="142" y="336"/>
                      </a:cubicBezTo>
                      <a:cubicBezTo>
                        <a:pt x="135" y="337"/>
                        <a:pt x="135" y="337"/>
                        <a:pt x="135" y="337"/>
                      </a:cubicBezTo>
                      <a:cubicBezTo>
                        <a:pt x="135" y="337"/>
                        <a:pt x="149" y="341"/>
                        <a:pt x="149" y="348"/>
                      </a:cubicBezTo>
                      <a:cubicBezTo>
                        <a:pt x="149" y="354"/>
                        <a:pt x="133" y="369"/>
                        <a:pt x="133" y="369"/>
                      </a:cubicBezTo>
                      <a:cubicBezTo>
                        <a:pt x="133" y="380"/>
                        <a:pt x="133" y="380"/>
                        <a:pt x="133" y="380"/>
                      </a:cubicBezTo>
                      <a:cubicBezTo>
                        <a:pt x="141" y="386"/>
                        <a:pt x="141" y="386"/>
                        <a:pt x="141" y="386"/>
                      </a:cubicBezTo>
                      <a:cubicBezTo>
                        <a:pt x="134" y="402"/>
                        <a:pt x="134" y="402"/>
                        <a:pt x="134" y="402"/>
                      </a:cubicBezTo>
                      <a:cubicBezTo>
                        <a:pt x="142" y="404"/>
                        <a:pt x="142" y="404"/>
                        <a:pt x="142" y="404"/>
                      </a:cubicBezTo>
                      <a:cubicBezTo>
                        <a:pt x="138" y="414"/>
                        <a:pt x="138" y="414"/>
                        <a:pt x="138" y="414"/>
                      </a:cubicBezTo>
                      <a:cubicBezTo>
                        <a:pt x="169" y="426"/>
                        <a:pt x="169" y="426"/>
                        <a:pt x="169" y="426"/>
                      </a:cubicBezTo>
                      <a:cubicBezTo>
                        <a:pt x="163" y="436"/>
                        <a:pt x="163" y="436"/>
                        <a:pt x="163" y="436"/>
                      </a:cubicBezTo>
                      <a:cubicBezTo>
                        <a:pt x="175" y="461"/>
                        <a:pt x="175" y="461"/>
                        <a:pt x="175" y="461"/>
                      </a:cubicBezTo>
                      <a:cubicBezTo>
                        <a:pt x="186" y="454"/>
                        <a:pt x="218" y="458"/>
                        <a:pt x="218" y="458"/>
                      </a:cubicBezTo>
                      <a:cubicBezTo>
                        <a:pt x="218" y="458"/>
                        <a:pt x="247" y="489"/>
                        <a:pt x="258" y="493"/>
                      </a:cubicBezTo>
                      <a:cubicBezTo>
                        <a:pt x="269" y="497"/>
                        <a:pt x="283" y="474"/>
                        <a:pt x="283" y="474"/>
                      </a:cubicBezTo>
                      <a:cubicBezTo>
                        <a:pt x="286" y="481"/>
                        <a:pt x="286" y="481"/>
                        <a:pt x="286" y="481"/>
                      </a:cubicBezTo>
                      <a:cubicBezTo>
                        <a:pt x="298" y="476"/>
                        <a:pt x="298" y="476"/>
                        <a:pt x="298" y="476"/>
                      </a:cubicBezTo>
                      <a:cubicBezTo>
                        <a:pt x="319" y="474"/>
                        <a:pt x="319" y="474"/>
                        <a:pt x="319" y="474"/>
                      </a:cubicBezTo>
                      <a:cubicBezTo>
                        <a:pt x="319" y="474"/>
                        <a:pt x="323" y="468"/>
                        <a:pt x="331" y="466"/>
                      </a:cubicBezTo>
                      <a:cubicBezTo>
                        <a:pt x="319" y="444"/>
                        <a:pt x="343" y="440"/>
                        <a:pt x="343" y="440"/>
                      </a:cubicBezTo>
                      <a:cubicBezTo>
                        <a:pt x="342" y="421"/>
                        <a:pt x="342" y="421"/>
                        <a:pt x="342" y="421"/>
                      </a:cubicBezTo>
                      <a:cubicBezTo>
                        <a:pt x="350" y="412"/>
                        <a:pt x="350" y="412"/>
                        <a:pt x="350" y="412"/>
                      </a:cubicBezTo>
                      <a:cubicBezTo>
                        <a:pt x="346" y="401"/>
                        <a:pt x="346" y="401"/>
                        <a:pt x="346" y="401"/>
                      </a:cubicBezTo>
                      <a:cubicBezTo>
                        <a:pt x="363" y="374"/>
                        <a:pt x="363" y="374"/>
                        <a:pt x="363" y="374"/>
                      </a:cubicBezTo>
                      <a:cubicBezTo>
                        <a:pt x="371" y="366"/>
                        <a:pt x="371" y="366"/>
                        <a:pt x="371" y="366"/>
                      </a:cubicBezTo>
                      <a:cubicBezTo>
                        <a:pt x="385" y="365"/>
                        <a:pt x="385" y="365"/>
                        <a:pt x="385" y="365"/>
                      </a:cubicBezTo>
                      <a:cubicBezTo>
                        <a:pt x="385" y="365"/>
                        <a:pt x="378" y="336"/>
                        <a:pt x="385" y="334"/>
                      </a:cubicBezTo>
                      <a:cubicBezTo>
                        <a:pt x="391" y="333"/>
                        <a:pt x="402" y="348"/>
                        <a:pt x="402" y="348"/>
                      </a:cubicBezTo>
                      <a:cubicBezTo>
                        <a:pt x="421" y="342"/>
                        <a:pt x="421" y="342"/>
                        <a:pt x="421" y="342"/>
                      </a:cubicBezTo>
                      <a:cubicBezTo>
                        <a:pt x="410" y="330"/>
                        <a:pt x="410" y="330"/>
                        <a:pt x="410" y="330"/>
                      </a:cubicBezTo>
                      <a:cubicBezTo>
                        <a:pt x="410" y="330"/>
                        <a:pt x="415" y="325"/>
                        <a:pt x="418" y="293"/>
                      </a:cubicBezTo>
                      <a:cubicBezTo>
                        <a:pt x="399" y="269"/>
                        <a:pt x="419" y="265"/>
                        <a:pt x="419" y="265"/>
                      </a:cubicBezTo>
                      <a:cubicBezTo>
                        <a:pt x="419" y="265"/>
                        <a:pt x="426" y="258"/>
                        <a:pt x="403" y="226"/>
                      </a:cubicBezTo>
                      <a:cubicBezTo>
                        <a:pt x="381" y="194"/>
                        <a:pt x="403" y="193"/>
                        <a:pt x="403" y="193"/>
                      </a:cubicBezTo>
                      <a:cubicBezTo>
                        <a:pt x="403" y="193"/>
                        <a:pt x="414" y="208"/>
                        <a:pt x="419" y="185"/>
                      </a:cubicBezTo>
                      <a:cubicBezTo>
                        <a:pt x="425" y="162"/>
                        <a:pt x="438" y="161"/>
                        <a:pt x="438" y="161"/>
                      </a:cubicBezTo>
                      <a:cubicBezTo>
                        <a:pt x="438" y="161"/>
                        <a:pt x="437" y="145"/>
                        <a:pt x="439" y="141"/>
                      </a:cubicBezTo>
                      <a:cubicBezTo>
                        <a:pt x="410" y="118"/>
                        <a:pt x="430" y="105"/>
                        <a:pt x="430" y="105"/>
                      </a:cubicBezTo>
                      <a:cubicBezTo>
                        <a:pt x="411" y="56"/>
                        <a:pt x="411" y="56"/>
                        <a:pt x="411" y="56"/>
                      </a:cubicBezTo>
                      <a:cubicBezTo>
                        <a:pt x="397" y="54"/>
                        <a:pt x="397" y="54"/>
                        <a:pt x="397" y="54"/>
                      </a:cubicBezTo>
                      <a:cubicBezTo>
                        <a:pt x="397" y="54"/>
                        <a:pt x="395" y="45"/>
                        <a:pt x="393" y="44"/>
                      </a:cubicBezTo>
                      <a:cubicBezTo>
                        <a:pt x="354" y="56"/>
                        <a:pt x="375" y="28"/>
                        <a:pt x="375" y="28"/>
                      </a:cubicBezTo>
                      <a:cubicBezTo>
                        <a:pt x="369" y="28"/>
                        <a:pt x="369" y="28"/>
                        <a:pt x="369" y="28"/>
                      </a:cubicBezTo>
                      <a:cubicBezTo>
                        <a:pt x="365" y="11"/>
                        <a:pt x="365" y="11"/>
                        <a:pt x="365" y="11"/>
                      </a:cubicBezTo>
                      <a:cubicBezTo>
                        <a:pt x="365" y="11"/>
                        <a:pt x="365" y="12"/>
                        <a:pt x="365" y="12"/>
                      </a:cubicBezTo>
                      <a:cubicBezTo>
                        <a:pt x="365" y="12"/>
                        <a:pt x="323" y="22"/>
                        <a:pt x="318" y="13"/>
                      </a:cubicBezTo>
                      <a:cubicBezTo>
                        <a:pt x="293" y="0"/>
                        <a:pt x="298" y="9"/>
                        <a:pt x="286" y="12"/>
                      </a:cubicBezTo>
                      <a:cubicBezTo>
                        <a:pt x="274" y="14"/>
                        <a:pt x="250" y="4"/>
                        <a:pt x="250" y="4"/>
                      </a:cubicBezTo>
                      <a:cubicBezTo>
                        <a:pt x="245" y="22"/>
                        <a:pt x="245" y="22"/>
                        <a:pt x="245" y="22"/>
                      </a:cubicBezTo>
                      <a:cubicBezTo>
                        <a:pt x="235" y="16"/>
                        <a:pt x="235" y="16"/>
                        <a:pt x="235" y="16"/>
                      </a:cubicBezTo>
                      <a:cubicBezTo>
                        <a:pt x="222" y="21"/>
                        <a:pt x="222" y="21"/>
                        <a:pt x="222" y="21"/>
                      </a:cubicBezTo>
                      <a:cubicBezTo>
                        <a:pt x="219" y="13"/>
                        <a:pt x="219" y="13"/>
                        <a:pt x="219" y="13"/>
                      </a:cubicBezTo>
                      <a:cubicBezTo>
                        <a:pt x="202" y="24"/>
                        <a:pt x="202" y="24"/>
                        <a:pt x="202" y="24"/>
                      </a:cubicBezTo>
                      <a:cubicBezTo>
                        <a:pt x="201" y="12"/>
                        <a:pt x="201" y="12"/>
                        <a:pt x="201" y="12"/>
                      </a:cubicBezTo>
                      <a:cubicBezTo>
                        <a:pt x="174" y="32"/>
                        <a:pt x="174" y="32"/>
                        <a:pt x="174" y="32"/>
                      </a:cubicBezTo>
                      <a:cubicBezTo>
                        <a:pt x="169" y="21"/>
                        <a:pt x="169" y="21"/>
                        <a:pt x="169" y="21"/>
                      </a:cubicBezTo>
                      <a:cubicBezTo>
                        <a:pt x="151" y="21"/>
                        <a:pt x="151" y="21"/>
                        <a:pt x="151" y="21"/>
                      </a:cubicBezTo>
                      <a:cubicBezTo>
                        <a:pt x="151" y="28"/>
                        <a:pt x="151" y="28"/>
                        <a:pt x="151" y="28"/>
                      </a:cubicBezTo>
                      <a:cubicBezTo>
                        <a:pt x="133" y="30"/>
                        <a:pt x="133" y="30"/>
                        <a:pt x="133" y="30"/>
                      </a:cubicBezTo>
                      <a:cubicBezTo>
                        <a:pt x="129" y="25"/>
                        <a:pt x="129" y="25"/>
                        <a:pt x="129" y="25"/>
                      </a:cubicBezTo>
                      <a:cubicBezTo>
                        <a:pt x="111" y="32"/>
                        <a:pt x="111" y="32"/>
                        <a:pt x="111" y="32"/>
                      </a:cubicBezTo>
                      <a:cubicBezTo>
                        <a:pt x="97" y="30"/>
                        <a:pt x="97" y="30"/>
                        <a:pt x="97" y="30"/>
                      </a:cubicBezTo>
                      <a:cubicBezTo>
                        <a:pt x="85" y="56"/>
                        <a:pt x="85" y="56"/>
                        <a:pt x="85" y="56"/>
                      </a:cubicBezTo>
                      <a:cubicBezTo>
                        <a:pt x="66" y="54"/>
                        <a:pt x="66" y="54"/>
                        <a:pt x="66" y="54"/>
                      </a:cubicBezTo>
                      <a:cubicBezTo>
                        <a:pt x="50" y="70"/>
                        <a:pt x="50" y="70"/>
                        <a:pt x="50" y="70"/>
                      </a:cubicBezTo>
                      <a:cubicBezTo>
                        <a:pt x="38" y="80"/>
                        <a:pt x="38" y="80"/>
                        <a:pt x="38" y="80"/>
                      </a:cubicBezTo>
                      <a:cubicBezTo>
                        <a:pt x="46" y="101"/>
                        <a:pt x="46" y="101"/>
                        <a:pt x="46" y="101"/>
                      </a:cubicBezTo>
                      <a:cubicBezTo>
                        <a:pt x="34" y="141"/>
                        <a:pt x="62" y="140"/>
                        <a:pt x="62" y="140"/>
                      </a:cubicBezTo>
                      <a:cubicBezTo>
                        <a:pt x="69" y="160"/>
                        <a:pt x="69" y="160"/>
                        <a:pt x="69" y="160"/>
                      </a:cubicBezTo>
                      <a:cubicBezTo>
                        <a:pt x="57" y="168"/>
                        <a:pt x="57" y="168"/>
                        <a:pt x="57" y="168"/>
                      </a:cubicBezTo>
                      <a:cubicBezTo>
                        <a:pt x="57" y="168"/>
                        <a:pt x="47" y="165"/>
                        <a:pt x="43" y="164"/>
                      </a:cubicBezTo>
                      <a:cubicBezTo>
                        <a:pt x="39" y="162"/>
                        <a:pt x="45" y="182"/>
                        <a:pt x="45" y="182"/>
                      </a:cubicBezTo>
                      <a:cubicBezTo>
                        <a:pt x="37" y="208"/>
                        <a:pt x="37" y="208"/>
                        <a:pt x="37" y="208"/>
                      </a:cubicBezTo>
                      <a:cubicBezTo>
                        <a:pt x="17" y="212"/>
                        <a:pt x="17" y="212"/>
                        <a:pt x="17" y="212"/>
                      </a:cubicBezTo>
                      <a:cubicBezTo>
                        <a:pt x="17" y="220"/>
                        <a:pt x="17" y="220"/>
                        <a:pt x="17" y="220"/>
                      </a:cubicBezTo>
                      <a:cubicBezTo>
                        <a:pt x="0" y="240"/>
                        <a:pt x="0" y="240"/>
                        <a:pt x="0" y="240"/>
                      </a:cubicBezTo>
                      <a:cubicBezTo>
                        <a:pt x="18" y="243"/>
                        <a:pt x="31" y="249"/>
                        <a:pt x="31" y="249"/>
                      </a:cubicBezTo>
                      <a:cubicBezTo>
                        <a:pt x="31" y="249"/>
                        <a:pt x="25" y="273"/>
                        <a:pt x="31" y="277"/>
                      </a:cubicBez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94" name="Auvergne" descr="© INSCALE GmbH, 05.05.2010&#10;http://www.presentationload.com/">
                  <a:extLst>
                    <a:ext uri="{FF2B5EF4-FFF2-40B4-BE49-F238E27FC236}">
                      <a16:creationId xmlns:a16="http://schemas.microsoft.com/office/drawing/2014/main" id="{789153CF-18A3-473F-AB79-23B37DEBB309}"/>
                    </a:ext>
                  </a:extLst>
                </p:cNvPr>
                <p:cNvSpPr>
                  <a:spLocks/>
                </p:cNvSpPr>
                <p:nvPr/>
              </p:nvSpPr>
              <p:spPr bwMode="gray">
                <a:xfrm>
                  <a:off x="1704" y="1640"/>
                  <a:ext cx="593" cy="753"/>
                </a:xfrm>
                <a:custGeom>
                  <a:avLst/>
                  <a:gdLst/>
                  <a:ahLst/>
                  <a:cxnLst>
                    <a:cxn ang="0">
                      <a:pos x="15" y="669"/>
                    </a:cxn>
                    <a:cxn ang="0">
                      <a:pos x="31" y="697"/>
                    </a:cxn>
                    <a:cxn ang="0">
                      <a:pos x="60" y="689"/>
                    </a:cxn>
                    <a:cxn ang="0">
                      <a:pos x="111" y="665"/>
                    </a:cxn>
                    <a:cxn ang="0">
                      <a:pos x="122" y="617"/>
                    </a:cxn>
                    <a:cxn ang="0">
                      <a:pos x="186" y="636"/>
                    </a:cxn>
                    <a:cxn ang="0">
                      <a:pos x="218" y="663"/>
                    </a:cxn>
                    <a:cxn ang="0">
                      <a:pos x="231" y="607"/>
                    </a:cxn>
                    <a:cxn ang="0">
                      <a:pos x="266" y="611"/>
                    </a:cxn>
                    <a:cxn ang="0">
                      <a:pos x="266" y="603"/>
                    </a:cxn>
                    <a:cxn ang="0">
                      <a:pos x="318" y="635"/>
                    </a:cxn>
                    <a:cxn ang="0">
                      <a:pos x="378" y="629"/>
                    </a:cxn>
                    <a:cxn ang="0">
                      <a:pos x="424" y="628"/>
                    </a:cxn>
                    <a:cxn ang="0">
                      <a:pos x="472" y="612"/>
                    </a:cxn>
                    <a:cxn ang="0">
                      <a:pos x="504" y="560"/>
                    </a:cxn>
                    <a:cxn ang="0">
                      <a:pos x="522" y="535"/>
                    </a:cxn>
                    <a:cxn ang="0">
                      <a:pos x="536" y="517"/>
                    </a:cxn>
                    <a:cxn ang="0">
                      <a:pos x="507" y="467"/>
                    </a:cxn>
                    <a:cxn ang="0">
                      <a:pos x="450" y="463"/>
                    </a:cxn>
                    <a:cxn ang="0">
                      <a:pos x="430" y="449"/>
                    </a:cxn>
                    <a:cxn ang="0">
                      <a:pos x="408" y="445"/>
                    </a:cxn>
                    <a:cxn ang="0">
                      <a:pos x="364" y="320"/>
                    </a:cxn>
                    <a:cxn ang="0">
                      <a:pos x="362" y="273"/>
                    </a:cxn>
                    <a:cxn ang="0">
                      <a:pos x="386" y="217"/>
                    </a:cxn>
                    <a:cxn ang="0">
                      <a:pos x="378" y="176"/>
                    </a:cxn>
                    <a:cxn ang="0">
                      <a:pos x="411" y="159"/>
                    </a:cxn>
                    <a:cxn ang="0">
                      <a:pos x="424" y="101"/>
                    </a:cxn>
                    <a:cxn ang="0">
                      <a:pos x="370" y="81"/>
                    </a:cxn>
                    <a:cxn ang="0">
                      <a:pos x="327" y="32"/>
                    </a:cxn>
                    <a:cxn ang="0">
                      <a:pos x="306" y="31"/>
                    </a:cxn>
                    <a:cxn ang="0">
                      <a:pos x="263" y="25"/>
                    </a:cxn>
                    <a:cxn ang="0">
                      <a:pos x="171" y="23"/>
                    </a:cxn>
                    <a:cxn ang="0">
                      <a:pos x="115" y="49"/>
                    </a:cxn>
                    <a:cxn ang="0">
                      <a:pos x="46" y="118"/>
                    </a:cxn>
                    <a:cxn ang="0">
                      <a:pos x="74" y="151"/>
                    </a:cxn>
                    <a:cxn ang="0">
                      <a:pos x="111" y="212"/>
                    </a:cxn>
                    <a:cxn ang="0">
                      <a:pos x="100" y="292"/>
                    </a:cxn>
                    <a:cxn ang="0">
                      <a:pos x="100" y="372"/>
                    </a:cxn>
                    <a:cxn ang="0">
                      <a:pos x="102" y="449"/>
                    </a:cxn>
                    <a:cxn ang="0">
                      <a:pos x="66" y="472"/>
                    </a:cxn>
                    <a:cxn ang="0">
                      <a:pos x="27" y="508"/>
                    </a:cxn>
                    <a:cxn ang="0">
                      <a:pos x="24" y="547"/>
                    </a:cxn>
                    <a:cxn ang="0">
                      <a:pos x="4" y="608"/>
                    </a:cxn>
                  </a:cxnLst>
                  <a:rect l="0" t="0" r="r" b="b"/>
                  <a:pathLst>
                    <a:path w="550" h="697">
                      <a:moveTo>
                        <a:pt x="4" y="608"/>
                      </a:moveTo>
                      <a:cubicBezTo>
                        <a:pt x="20" y="635"/>
                        <a:pt x="20" y="635"/>
                        <a:pt x="20" y="635"/>
                      </a:cubicBezTo>
                      <a:cubicBezTo>
                        <a:pt x="15" y="669"/>
                        <a:pt x="15" y="669"/>
                        <a:pt x="15" y="669"/>
                      </a:cubicBezTo>
                      <a:cubicBezTo>
                        <a:pt x="24" y="675"/>
                        <a:pt x="24" y="675"/>
                        <a:pt x="24" y="675"/>
                      </a:cubicBezTo>
                      <a:cubicBezTo>
                        <a:pt x="26" y="691"/>
                        <a:pt x="26" y="691"/>
                        <a:pt x="26" y="691"/>
                      </a:cubicBezTo>
                      <a:cubicBezTo>
                        <a:pt x="31" y="697"/>
                        <a:pt x="31" y="697"/>
                        <a:pt x="31" y="697"/>
                      </a:cubicBezTo>
                      <a:cubicBezTo>
                        <a:pt x="30" y="685"/>
                        <a:pt x="30" y="685"/>
                        <a:pt x="30" y="685"/>
                      </a:cubicBezTo>
                      <a:cubicBezTo>
                        <a:pt x="59" y="684"/>
                        <a:pt x="59" y="684"/>
                        <a:pt x="59" y="684"/>
                      </a:cubicBezTo>
                      <a:cubicBezTo>
                        <a:pt x="60" y="689"/>
                        <a:pt x="60" y="689"/>
                        <a:pt x="60" y="689"/>
                      </a:cubicBezTo>
                      <a:cubicBezTo>
                        <a:pt x="94" y="687"/>
                        <a:pt x="94" y="687"/>
                        <a:pt x="94" y="687"/>
                      </a:cubicBezTo>
                      <a:cubicBezTo>
                        <a:pt x="98" y="675"/>
                        <a:pt x="98" y="675"/>
                        <a:pt x="98" y="675"/>
                      </a:cubicBezTo>
                      <a:cubicBezTo>
                        <a:pt x="111" y="665"/>
                        <a:pt x="111" y="665"/>
                        <a:pt x="111" y="665"/>
                      </a:cubicBezTo>
                      <a:cubicBezTo>
                        <a:pt x="112" y="645"/>
                        <a:pt x="112" y="645"/>
                        <a:pt x="112" y="645"/>
                      </a:cubicBezTo>
                      <a:cubicBezTo>
                        <a:pt x="120" y="639"/>
                        <a:pt x="120" y="639"/>
                        <a:pt x="120" y="639"/>
                      </a:cubicBezTo>
                      <a:cubicBezTo>
                        <a:pt x="122" y="617"/>
                        <a:pt x="122" y="617"/>
                        <a:pt x="122" y="617"/>
                      </a:cubicBezTo>
                      <a:cubicBezTo>
                        <a:pt x="122" y="617"/>
                        <a:pt x="122" y="624"/>
                        <a:pt x="131" y="616"/>
                      </a:cubicBezTo>
                      <a:cubicBezTo>
                        <a:pt x="157" y="579"/>
                        <a:pt x="163" y="607"/>
                        <a:pt x="161" y="614"/>
                      </a:cubicBezTo>
                      <a:cubicBezTo>
                        <a:pt x="172" y="606"/>
                        <a:pt x="186" y="636"/>
                        <a:pt x="186" y="636"/>
                      </a:cubicBezTo>
                      <a:cubicBezTo>
                        <a:pt x="195" y="647"/>
                        <a:pt x="195" y="647"/>
                        <a:pt x="195" y="647"/>
                      </a:cubicBezTo>
                      <a:cubicBezTo>
                        <a:pt x="204" y="687"/>
                        <a:pt x="204" y="687"/>
                        <a:pt x="204" y="687"/>
                      </a:cubicBezTo>
                      <a:cubicBezTo>
                        <a:pt x="218" y="663"/>
                        <a:pt x="218" y="663"/>
                        <a:pt x="218" y="663"/>
                      </a:cubicBezTo>
                      <a:cubicBezTo>
                        <a:pt x="224" y="636"/>
                        <a:pt x="224" y="636"/>
                        <a:pt x="224" y="636"/>
                      </a:cubicBezTo>
                      <a:cubicBezTo>
                        <a:pt x="232" y="627"/>
                        <a:pt x="232" y="627"/>
                        <a:pt x="232" y="627"/>
                      </a:cubicBezTo>
                      <a:cubicBezTo>
                        <a:pt x="231" y="607"/>
                        <a:pt x="231" y="607"/>
                        <a:pt x="231" y="607"/>
                      </a:cubicBezTo>
                      <a:cubicBezTo>
                        <a:pt x="240" y="603"/>
                        <a:pt x="240" y="603"/>
                        <a:pt x="240" y="603"/>
                      </a:cubicBezTo>
                      <a:cubicBezTo>
                        <a:pt x="248" y="616"/>
                        <a:pt x="248" y="616"/>
                        <a:pt x="248" y="616"/>
                      </a:cubicBezTo>
                      <a:cubicBezTo>
                        <a:pt x="266" y="611"/>
                        <a:pt x="266" y="611"/>
                        <a:pt x="266" y="611"/>
                      </a:cubicBezTo>
                      <a:cubicBezTo>
                        <a:pt x="266" y="603"/>
                        <a:pt x="266" y="603"/>
                        <a:pt x="266" y="603"/>
                      </a:cubicBezTo>
                      <a:cubicBezTo>
                        <a:pt x="263" y="603"/>
                        <a:pt x="267" y="593"/>
                        <a:pt x="267" y="593"/>
                      </a:cubicBezTo>
                      <a:cubicBezTo>
                        <a:pt x="266" y="603"/>
                        <a:pt x="266" y="603"/>
                        <a:pt x="266" y="603"/>
                      </a:cubicBezTo>
                      <a:cubicBezTo>
                        <a:pt x="267" y="603"/>
                        <a:pt x="269" y="602"/>
                        <a:pt x="271" y="600"/>
                      </a:cubicBezTo>
                      <a:cubicBezTo>
                        <a:pt x="282" y="591"/>
                        <a:pt x="300" y="584"/>
                        <a:pt x="300" y="584"/>
                      </a:cubicBezTo>
                      <a:cubicBezTo>
                        <a:pt x="318" y="635"/>
                        <a:pt x="318" y="635"/>
                        <a:pt x="318" y="635"/>
                      </a:cubicBezTo>
                      <a:cubicBezTo>
                        <a:pt x="318" y="635"/>
                        <a:pt x="318" y="635"/>
                        <a:pt x="342" y="627"/>
                      </a:cubicBezTo>
                      <a:cubicBezTo>
                        <a:pt x="346" y="600"/>
                        <a:pt x="356" y="624"/>
                        <a:pt x="356" y="624"/>
                      </a:cubicBezTo>
                      <a:cubicBezTo>
                        <a:pt x="378" y="629"/>
                        <a:pt x="378" y="629"/>
                        <a:pt x="378" y="629"/>
                      </a:cubicBezTo>
                      <a:cubicBezTo>
                        <a:pt x="399" y="655"/>
                        <a:pt x="399" y="655"/>
                        <a:pt x="399" y="655"/>
                      </a:cubicBezTo>
                      <a:cubicBezTo>
                        <a:pt x="424" y="644"/>
                        <a:pt x="424" y="644"/>
                        <a:pt x="424" y="644"/>
                      </a:cubicBezTo>
                      <a:cubicBezTo>
                        <a:pt x="424" y="628"/>
                        <a:pt x="424" y="628"/>
                        <a:pt x="424" y="628"/>
                      </a:cubicBezTo>
                      <a:cubicBezTo>
                        <a:pt x="443" y="619"/>
                        <a:pt x="443" y="619"/>
                        <a:pt x="443" y="619"/>
                      </a:cubicBezTo>
                      <a:cubicBezTo>
                        <a:pt x="444" y="613"/>
                        <a:pt x="444" y="613"/>
                        <a:pt x="444" y="613"/>
                      </a:cubicBezTo>
                      <a:cubicBezTo>
                        <a:pt x="472" y="612"/>
                        <a:pt x="472" y="612"/>
                        <a:pt x="472" y="612"/>
                      </a:cubicBezTo>
                      <a:cubicBezTo>
                        <a:pt x="484" y="584"/>
                        <a:pt x="484" y="584"/>
                        <a:pt x="484" y="584"/>
                      </a:cubicBezTo>
                      <a:cubicBezTo>
                        <a:pt x="504" y="580"/>
                        <a:pt x="504" y="580"/>
                        <a:pt x="504" y="580"/>
                      </a:cubicBezTo>
                      <a:cubicBezTo>
                        <a:pt x="504" y="560"/>
                        <a:pt x="504" y="560"/>
                        <a:pt x="504" y="560"/>
                      </a:cubicBezTo>
                      <a:cubicBezTo>
                        <a:pt x="519" y="560"/>
                        <a:pt x="519" y="560"/>
                        <a:pt x="519" y="560"/>
                      </a:cubicBezTo>
                      <a:cubicBezTo>
                        <a:pt x="519" y="560"/>
                        <a:pt x="512" y="548"/>
                        <a:pt x="512" y="544"/>
                      </a:cubicBezTo>
                      <a:cubicBezTo>
                        <a:pt x="512" y="540"/>
                        <a:pt x="522" y="535"/>
                        <a:pt x="522" y="535"/>
                      </a:cubicBezTo>
                      <a:cubicBezTo>
                        <a:pt x="519" y="523"/>
                        <a:pt x="519" y="523"/>
                        <a:pt x="519" y="523"/>
                      </a:cubicBezTo>
                      <a:cubicBezTo>
                        <a:pt x="533" y="534"/>
                        <a:pt x="533" y="534"/>
                        <a:pt x="533" y="534"/>
                      </a:cubicBezTo>
                      <a:cubicBezTo>
                        <a:pt x="532" y="533"/>
                        <a:pt x="532" y="529"/>
                        <a:pt x="536" y="517"/>
                      </a:cubicBezTo>
                      <a:cubicBezTo>
                        <a:pt x="550" y="468"/>
                        <a:pt x="519" y="489"/>
                        <a:pt x="519" y="489"/>
                      </a:cubicBezTo>
                      <a:cubicBezTo>
                        <a:pt x="512" y="471"/>
                        <a:pt x="512" y="471"/>
                        <a:pt x="512" y="471"/>
                      </a:cubicBezTo>
                      <a:cubicBezTo>
                        <a:pt x="507" y="467"/>
                        <a:pt x="507" y="467"/>
                        <a:pt x="507" y="467"/>
                      </a:cubicBezTo>
                      <a:cubicBezTo>
                        <a:pt x="520" y="456"/>
                        <a:pt x="495" y="459"/>
                        <a:pt x="488" y="449"/>
                      </a:cubicBezTo>
                      <a:cubicBezTo>
                        <a:pt x="482" y="440"/>
                        <a:pt x="452" y="455"/>
                        <a:pt x="452" y="455"/>
                      </a:cubicBezTo>
                      <a:cubicBezTo>
                        <a:pt x="450" y="463"/>
                        <a:pt x="450" y="463"/>
                        <a:pt x="450" y="463"/>
                      </a:cubicBezTo>
                      <a:cubicBezTo>
                        <a:pt x="444" y="456"/>
                        <a:pt x="444" y="456"/>
                        <a:pt x="444" y="456"/>
                      </a:cubicBezTo>
                      <a:cubicBezTo>
                        <a:pt x="434" y="461"/>
                        <a:pt x="434" y="461"/>
                        <a:pt x="434" y="461"/>
                      </a:cubicBezTo>
                      <a:cubicBezTo>
                        <a:pt x="430" y="449"/>
                        <a:pt x="430" y="449"/>
                        <a:pt x="430" y="449"/>
                      </a:cubicBezTo>
                      <a:cubicBezTo>
                        <a:pt x="418" y="449"/>
                        <a:pt x="418" y="449"/>
                        <a:pt x="418" y="449"/>
                      </a:cubicBezTo>
                      <a:cubicBezTo>
                        <a:pt x="412" y="468"/>
                        <a:pt x="412" y="468"/>
                        <a:pt x="412" y="468"/>
                      </a:cubicBezTo>
                      <a:cubicBezTo>
                        <a:pt x="408" y="445"/>
                        <a:pt x="408" y="445"/>
                        <a:pt x="408" y="445"/>
                      </a:cubicBezTo>
                      <a:cubicBezTo>
                        <a:pt x="408" y="445"/>
                        <a:pt x="422" y="439"/>
                        <a:pt x="424" y="432"/>
                      </a:cubicBezTo>
                      <a:cubicBezTo>
                        <a:pt x="436" y="412"/>
                        <a:pt x="396" y="376"/>
                        <a:pt x="391" y="376"/>
                      </a:cubicBezTo>
                      <a:cubicBezTo>
                        <a:pt x="387" y="356"/>
                        <a:pt x="364" y="320"/>
                        <a:pt x="364" y="320"/>
                      </a:cubicBezTo>
                      <a:cubicBezTo>
                        <a:pt x="366" y="292"/>
                        <a:pt x="366" y="292"/>
                        <a:pt x="366" y="292"/>
                      </a:cubicBezTo>
                      <a:cubicBezTo>
                        <a:pt x="374" y="289"/>
                        <a:pt x="374" y="289"/>
                        <a:pt x="374" y="289"/>
                      </a:cubicBezTo>
                      <a:cubicBezTo>
                        <a:pt x="362" y="273"/>
                        <a:pt x="362" y="273"/>
                        <a:pt x="362" y="273"/>
                      </a:cubicBezTo>
                      <a:cubicBezTo>
                        <a:pt x="362" y="261"/>
                        <a:pt x="362" y="261"/>
                        <a:pt x="362" y="261"/>
                      </a:cubicBezTo>
                      <a:cubicBezTo>
                        <a:pt x="387" y="252"/>
                        <a:pt x="387" y="252"/>
                        <a:pt x="387" y="252"/>
                      </a:cubicBezTo>
                      <a:cubicBezTo>
                        <a:pt x="386" y="217"/>
                        <a:pt x="386" y="217"/>
                        <a:pt x="386" y="217"/>
                      </a:cubicBezTo>
                      <a:cubicBezTo>
                        <a:pt x="379" y="204"/>
                        <a:pt x="379" y="204"/>
                        <a:pt x="379" y="204"/>
                      </a:cubicBezTo>
                      <a:cubicBezTo>
                        <a:pt x="383" y="189"/>
                        <a:pt x="383" y="189"/>
                        <a:pt x="383" y="189"/>
                      </a:cubicBezTo>
                      <a:cubicBezTo>
                        <a:pt x="378" y="176"/>
                        <a:pt x="378" y="176"/>
                        <a:pt x="378" y="176"/>
                      </a:cubicBezTo>
                      <a:cubicBezTo>
                        <a:pt x="403" y="165"/>
                        <a:pt x="403" y="165"/>
                        <a:pt x="403" y="165"/>
                      </a:cubicBezTo>
                      <a:cubicBezTo>
                        <a:pt x="403" y="156"/>
                        <a:pt x="403" y="156"/>
                        <a:pt x="403" y="156"/>
                      </a:cubicBezTo>
                      <a:cubicBezTo>
                        <a:pt x="411" y="159"/>
                        <a:pt x="411" y="159"/>
                        <a:pt x="411" y="159"/>
                      </a:cubicBezTo>
                      <a:cubicBezTo>
                        <a:pt x="416" y="145"/>
                        <a:pt x="416" y="145"/>
                        <a:pt x="416" y="145"/>
                      </a:cubicBezTo>
                      <a:cubicBezTo>
                        <a:pt x="423" y="145"/>
                        <a:pt x="423" y="145"/>
                        <a:pt x="423" y="145"/>
                      </a:cubicBezTo>
                      <a:cubicBezTo>
                        <a:pt x="423" y="145"/>
                        <a:pt x="423" y="116"/>
                        <a:pt x="424" y="101"/>
                      </a:cubicBezTo>
                      <a:cubicBezTo>
                        <a:pt x="426" y="87"/>
                        <a:pt x="398" y="97"/>
                        <a:pt x="398" y="97"/>
                      </a:cubicBezTo>
                      <a:cubicBezTo>
                        <a:pt x="387" y="84"/>
                        <a:pt x="387" y="84"/>
                        <a:pt x="387" y="84"/>
                      </a:cubicBezTo>
                      <a:cubicBezTo>
                        <a:pt x="370" y="81"/>
                        <a:pt x="370" y="81"/>
                        <a:pt x="370" y="81"/>
                      </a:cubicBezTo>
                      <a:cubicBezTo>
                        <a:pt x="366" y="63"/>
                        <a:pt x="366" y="63"/>
                        <a:pt x="366" y="63"/>
                      </a:cubicBezTo>
                      <a:cubicBezTo>
                        <a:pt x="366" y="63"/>
                        <a:pt x="336" y="12"/>
                        <a:pt x="332" y="8"/>
                      </a:cubicBezTo>
                      <a:cubicBezTo>
                        <a:pt x="328" y="4"/>
                        <a:pt x="327" y="32"/>
                        <a:pt x="327" y="32"/>
                      </a:cubicBezTo>
                      <a:cubicBezTo>
                        <a:pt x="318" y="31"/>
                        <a:pt x="318" y="31"/>
                        <a:pt x="318" y="31"/>
                      </a:cubicBezTo>
                      <a:cubicBezTo>
                        <a:pt x="306" y="45"/>
                        <a:pt x="306" y="45"/>
                        <a:pt x="306" y="45"/>
                      </a:cubicBezTo>
                      <a:cubicBezTo>
                        <a:pt x="306" y="31"/>
                        <a:pt x="306" y="31"/>
                        <a:pt x="306" y="31"/>
                      </a:cubicBezTo>
                      <a:cubicBezTo>
                        <a:pt x="294" y="24"/>
                        <a:pt x="294" y="24"/>
                        <a:pt x="294" y="24"/>
                      </a:cubicBezTo>
                      <a:cubicBezTo>
                        <a:pt x="294" y="24"/>
                        <a:pt x="283" y="32"/>
                        <a:pt x="279" y="32"/>
                      </a:cubicBezTo>
                      <a:cubicBezTo>
                        <a:pt x="275" y="32"/>
                        <a:pt x="267" y="25"/>
                        <a:pt x="263" y="25"/>
                      </a:cubicBezTo>
                      <a:cubicBezTo>
                        <a:pt x="259" y="25"/>
                        <a:pt x="254" y="36"/>
                        <a:pt x="244" y="35"/>
                      </a:cubicBezTo>
                      <a:cubicBezTo>
                        <a:pt x="236" y="34"/>
                        <a:pt x="220" y="9"/>
                        <a:pt x="213" y="1"/>
                      </a:cubicBezTo>
                      <a:cubicBezTo>
                        <a:pt x="188" y="0"/>
                        <a:pt x="178" y="8"/>
                        <a:pt x="171" y="23"/>
                      </a:cubicBezTo>
                      <a:cubicBezTo>
                        <a:pt x="163" y="39"/>
                        <a:pt x="148" y="17"/>
                        <a:pt x="144" y="17"/>
                      </a:cubicBezTo>
                      <a:cubicBezTo>
                        <a:pt x="140" y="17"/>
                        <a:pt x="122" y="36"/>
                        <a:pt x="122" y="36"/>
                      </a:cubicBezTo>
                      <a:cubicBezTo>
                        <a:pt x="122" y="36"/>
                        <a:pt x="122" y="44"/>
                        <a:pt x="115" y="49"/>
                      </a:cubicBezTo>
                      <a:cubicBezTo>
                        <a:pt x="108" y="55"/>
                        <a:pt x="118" y="77"/>
                        <a:pt x="118" y="77"/>
                      </a:cubicBezTo>
                      <a:cubicBezTo>
                        <a:pt x="118" y="77"/>
                        <a:pt x="118" y="77"/>
                        <a:pt x="102" y="88"/>
                      </a:cubicBezTo>
                      <a:cubicBezTo>
                        <a:pt x="72" y="77"/>
                        <a:pt x="50" y="111"/>
                        <a:pt x="46" y="118"/>
                      </a:cubicBezTo>
                      <a:cubicBezTo>
                        <a:pt x="50" y="135"/>
                        <a:pt x="50" y="135"/>
                        <a:pt x="50" y="135"/>
                      </a:cubicBezTo>
                      <a:cubicBezTo>
                        <a:pt x="56" y="135"/>
                        <a:pt x="56" y="135"/>
                        <a:pt x="56" y="135"/>
                      </a:cubicBezTo>
                      <a:cubicBezTo>
                        <a:pt x="56" y="135"/>
                        <a:pt x="35" y="163"/>
                        <a:pt x="74" y="151"/>
                      </a:cubicBezTo>
                      <a:cubicBezTo>
                        <a:pt x="76" y="152"/>
                        <a:pt x="78" y="161"/>
                        <a:pt x="78" y="161"/>
                      </a:cubicBezTo>
                      <a:cubicBezTo>
                        <a:pt x="92" y="163"/>
                        <a:pt x="92" y="163"/>
                        <a:pt x="92" y="163"/>
                      </a:cubicBezTo>
                      <a:cubicBezTo>
                        <a:pt x="111" y="212"/>
                        <a:pt x="111" y="212"/>
                        <a:pt x="111" y="212"/>
                      </a:cubicBezTo>
                      <a:cubicBezTo>
                        <a:pt x="111" y="212"/>
                        <a:pt x="91" y="225"/>
                        <a:pt x="120" y="248"/>
                      </a:cubicBezTo>
                      <a:cubicBezTo>
                        <a:pt x="118" y="252"/>
                        <a:pt x="119" y="268"/>
                        <a:pt x="119" y="268"/>
                      </a:cubicBezTo>
                      <a:cubicBezTo>
                        <a:pt x="119" y="268"/>
                        <a:pt x="106" y="269"/>
                        <a:pt x="100" y="292"/>
                      </a:cubicBezTo>
                      <a:cubicBezTo>
                        <a:pt x="95" y="315"/>
                        <a:pt x="84" y="300"/>
                        <a:pt x="84" y="300"/>
                      </a:cubicBezTo>
                      <a:cubicBezTo>
                        <a:pt x="84" y="300"/>
                        <a:pt x="62" y="301"/>
                        <a:pt x="84" y="333"/>
                      </a:cubicBezTo>
                      <a:cubicBezTo>
                        <a:pt x="107" y="365"/>
                        <a:pt x="100" y="372"/>
                        <a:pt x="100" y="372"/>
                      </a:cubicBezTo>
                      <a:cubicBezTo>
                        <a:pt x="100" y="372"/>
                        <a:pt x="80" y="376"/>
                        <a:pt x="99" y="400"/>
                      </a:cubicBezTo>
                      <a:cubicBezTo>
                        <a:pt x="96" y="432"/>
                        <a:pt x="91" y="437"/>
                        <a:pt x="91" y="437"/>
                      </a:cubicBezTo>
                      <a:cubicBezTo>
                        <a:pt x="102" y="449"/>
                        <a:pt x="102" y="449"/>
                        <a:pt x="102" y="449"/>
                      </a:cubicBezTo>
                      <a:cubicBezTo>
                        <a:pt x="83" y="455"/>
                        <a:pt x="83" y="455"/>
                        <a:pt x="83" y="455"/>
                      </a:cubicBezTo>
                      <a:cubicBezTo>
                        <a:pt x="83" y="455"/>
                        <a:pt x="72" y="440"/>
                        <a:pt x="66" y="441"/>
                      </a:cubicBezTo>
                      <a:cubicBezTo>
                        <a:pt x="59" y="443"/>
                        <a:pt x="66" y="472"/>
                        <a:pt x="66" y="472"/>
                      </a:cubicBezTo>
                      <a:cubicBezTo>
                        <a:pt x="52" y="473"/>
                        <a:pt x="52" y="473"/>
                        <a:pt x="52" y="473"/>
                      </a:cubicBezTo>
                      <a:cubicBezTo>
                        <a:pt x="44" y="481"/>
                        <a:pt x="44" y="481"/>
                        <a:pt x="44" y="481"/>
                      </a:cubicBezTo>
                      <a:cubicBezTo>
                        <a:pt x="27" y="508"/>
                        <a:pt x="27" y="508"/>
                        <a:pt x="27" y="508"/>
                      </a:cubicBezTo>
                      <a:cubicBezTo>
                        <a:pt x="31" y="519"/>
                        <a:pt x="31" y="519"/>
                        <a:pt x="31" y="519"/>
                      </a:cubicBezTo>
                      <a:cubicBezTo>
                        <a:pt x="23" y="528"/>
                        <a:pt x="23" y="528"/>
                        <a:pt x="23" y="528"/>
                      </a:cubicBezTo>
                      <a:cubicBezTo>
                        <a:pt x="24" y="547"/>
                        <a:pt x="24" y="547"/>
                        <a:pt x="24" y="547"/>
                      </a:cubicBezTo>
                      <a:cubicBezTo>
                        <a:pt x="24" y="547"/>
                        <a:pt x="0" y="551"/>
                        <a:pt x="12" y="573"/>
                      </a:cubicBezTo>
                      <a:cubicBezTo>
                        <a:pt x="8" y="574"/>
                        <a:pt x="5" y="576"/>
                        <a:pt x="3" y="578"/>
                      </a:cubicBezTo>
                      <a:cubicBezTo>
                        <a:pt x="6" y="591"/>
                        <a:pt x="4" y="608"/>
                        <a:pt x="4" y="608"/>
                      </a:cubicBez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95" name="Provence" descr="© INSCALE GmbH, 05.05.2010&#10;http://www.presentationload.com/">
                  <a:extLst>
                    <a:ext uri="{FF2B5EF4-FFF2-40B4-BE49-F238E27FC236}">
                      <a16:creationId xmlns:a16="http://schemas.microsoft.com/office/drawing/2014/main" id="{E7708C19-BF5C-4D4A-97B6-2C53F4C7E609}"/>
                    </a:ext>
                  </a:extLst>
                </p:cNvPr>
                <p:cNvSpPr>
                  <a:spLocks/>
                </p:cNvSpPr>
                <p:nvPr/>
              </p:nvSpPr>
              <p:spPr bwMode="gray">
                <a:xfrm>
                  <a:off x="2233" y="2198"/>
                  <a:ext cx="838" cy="739"/>
                </a:xfrm>
                <a:custGeom>
                  <a:avLst/>
                  <a:gdLst/>
                  <a:ahLst/>
                  <a:cxnLst>
                    <a:cxn ang="0">
                      <a:pos x="68" y="539"/>
                    </a:cxn>
                    <a:cxn ang="0">
                      <a:pos x="78" y="572"/>
                    </a:cxn>
                    <a:cxn ang="0">
                      <a:pos x="129" y="586"/>
                    </a:cxn>
                    <a:cxn ang="0">
                      <a:pos x="134" y="565"/>
                    </a:cxn>
                    <a:cxn ang="0">
                      <a:pos x="161" y="554"/>
                    </a:cxn>
                    <a:cxn ang="0">
                      <a:pos x="214" y="585"/>
                    </a:cxn>
                    <a:cxn ang="0">
                      <a:pos x="251" y="596"/>
                    </a:cxn>
                    <a:cxn ang="0">
                      <a:pos x="255" y="612"/>
                    </a:cxn>
                    <a:cxn ang="0">
                      <a:pos x="295" y="632"/>
                    </a:cxn>
                    <a:cxn ang="0">
                      <a:pos x="332" y="649"/>
                    </a:cxn>
                    <a:cxn ang="0">
                      <a:pos x="364" y="684"/>
                    </a:cxn>
                    <a:cxn ang="0">
                      <a:pos x="407" y="679"/>
                    </a:cxn>
                    <a:cxn ang="0">
                      <a:pos x="426" y="679"/>
                    </a:cxn>
                    <a:cxn ang="0">
                      <a:pos x="465" y="665"/>
                    </a:cxn>
                    <a:cxn ang="0">
                      <a:pos x="526" y="641"/>
                    </a:cxn>
                    <a:cxn ang="0">
                      <a:pos x="549" y="634"/>
                    </a:cxn>
                    <a:cxn ang="0">
                      <a:pos x="532" y="604"/>
                    </a:cxn>
                    <a:cxn ang="0">
                      <a:pos x="569" y="558"/>
                    </a:cxn>
                    <a:cxn ang="0">
                      <a:pos x="631" y="523"/>
                    </a:cxn>
                    <a:cxn ang="0">
                      <a:pos x="667" y="477"/>
                    </a:cxn>
                    <a:cxn ang="0">
                      <a:pos x="691" y="466"/>
                    </a:cxn>
                    <a:cxn ang="0">
                      <a:pos x="715" y="460"/>
                    </a:cxn>
                    <a:cxn ang="0">
                      <a:pos x="723" y="445"/>
                    </a:cxn>
                    <a:cxn ang="0">
                      <a:pos x="727" y="410"/>
                    </a:cxn>
                    <a:cxn ang="0">
                      <a:pos x="749" y="384"/>
                    </a:cxn>
                    <a:cxn ang="0">
                      <a:pos x="764" y="325"/>
                    </a:cxn>
                    <a:cxn ang="0">
                      <a:pos x="758" y="308"/>
                    </a:cxn>
                    <a:cxn ang="0">
                      <a:pos x="725" y="323"/>
                    </a:cxn>
                    <a:cxn ang="0">
                      <a:pos x="630" y="285"/>
                    </a:cxn>
                    <a:cxn ang="0">
                      <a:pos x="612" y="282"/>
                    </a:cxn>
                    <a:cxn ang="0">
                      <a:pos x="589" y="238"/>
                    </a:cxn>
                    <a:cxn ang="0">
                      <a:pos x="579" y="182"/>
                    </a:cxn>
                    <a:cxn ang="0">
                      <a:pos x="609" y="133"/>
                    </a:cxn>
                    <a:cxn ang="0">
                      <a:pos x="614" y="82"/>
                    </a:cxn>
                    <a:cxn ang="0">
                      <a:pos x="548" y="49"/>
                    </a:cxn>
                    <a:cxn ang="0">
                      <a:pos x="534" y="16"/>
                    </a:cxn>
                    <a:cxn ang="0">
                      <a:pos x="528" y="2"/>
                    </a:cxn>
                    <a:cxn ang="0">
                      <a:pos x="501" y="14"/>
                    </a:cxn>
                    <a:cxn ang="0">
                      <a:pos x="476" y="0"/>
                    </a:cxn>
                    <a:cxn ang="0">
                      <a:pos x="449" y="11"/>
                    </a:cxn>
                    <a:cxn ang="0">
                      <a:pos x="468" y="40"/>
                    </a:cxn>
                    <a:cxn ang="0">
                      <a:pos x="413" y="94"/>
                    </a:cxn>
                    <a:cxn ang="0">
                      <a:pos x="361" y="116"/>
                    </a:cxn>
                    <a:cxn ang="0">
                      <a:pos x="321" y="162"/>
                    </a:cxn>
                    <a:cxn ang="0">
                      <a:pos x="325" y="198"/>
                    </a:cxn>
                    <a:cxn ang="0">
                      <a:pos x="281" y="206"/>
                    </a:cxn>
                    <a:cxn ang="0">
                      <a:pos x="286" y="230"/>
                    </a:cxn>
                    <a:cxn ang="0">
                      <a:pos x="286" y="256"/>
                    </a:cxn>
                    <a:cxn ang="0">
                      <a:pos x="334" y="278"/>
                    </a:cxn>
                    <a:cxn ang="0">
                      <a:pos x="322" y="311"/>
                    </a:cxn>
                    <a:cxn ang="0">
                      <a:pos x="288" y="326"/>
                    </a:cxn>
                    <a:cxn ang="0">
                      <a:pos x="265" y="314"/>
                    </a:cxn>
                    <a:cxn ang="0">
                      <a:pos x="237" y="295"/>
                    </a:cxn>
                    <a:cxn ang="0">
                      <a:pos x="213" y="294"/>
                    </a:cxn>
                    <a:cxn ang="0">
                      <a:pos x="201" y="276"/>
                    </a:cxn>
                    <a:cxn ang="0">
                      <a:pos x="136" y="296"/>
                    </a:cxn>
                    <a:cxn ang="0">
                      <a:pos x="100" y="283"/>
                    </a:cxn>
                    <a:cxn ang="0">
                      <a:pos x="104" y="303"/>
                    </a:cxn>
                    <a:cxn ang="0">
                      <a:pos x="114" y="343"/>
                    </a:cxn>
                    <a:cxn ang="0">
                      <a:pos x="145" y="371"/>
                    </a:cxn>
                    <a:cxn ang="0">
                      <a:pos x="94" y="472"/>
                    </a:cxn>
                    <a:cxn ang="0">
                      <a:pos x="54" y="490"/>
                    </a:cxn>
                    <a:cxn ang="0">
                      <a:pos x="0" y="540"/>
                    </a:cxn>
                  </a:cxnLst>
                  <a:rect l="0" t="0" r="r" b="b"/>
                  <a:pathLst>
                    <a:path w="778" h="684">
                      <a:moveTo>
                        <a:pt x="2" y="541"/>
                      </a:moveTo>
                      <a:cubicBezTo>
                        <a:pt x="3" y="544"/>
                        <a:pt x="54" y="539"/>
                        <a:pt x="68" y="539"/>
                      </a:cubicBezTo>
                      <a:cubicBezTo>
                        <a:pt x="82" y="539"/>
                        <a:pt x="80" y="555"/>
                        <a:pt x="80" y="555"/>
                      </a:cubicBezTo>
                      <a:cubicBezTo>
                        <a:pt x="57" y="564"/>
                        <a:pt x="80" y="563"/>
                        <a:pt x="78" y="572"/>
                      </a:cubicBezTo>
                      <a:cubicBezTo>
                        <a:pt x="76" y="581"/>
                        <a:pt x="119" y="577"/>
                        <a:pt x="119" y="577"/>
                      </a:cubicBezTo>
                      <a:cubicBezTo>
                        <a:pt x="119" y="577"/>
                        <a:pt x="127" y="583"/>
                        <a:pt x="129" y="586"/>
                      </a:cubicBezTo>
                      <a:cubicBezTo>
                        <a:pt x="131" y="589"/>
                        <a:pt x="138" y="577"/>
                        <a:pt x="144" y="575"/>
                      </a:cubicBezTo>
                      <a:cubicBezTo>
                        <a:pt x="150" y="573"/>
                        <a:pt x="138" y="576"/>
                        <a:pt x="134" y="565"/>
                      </a:cubicBezTo>
                      <a:cubicBezTo>
                        <a:pt x="130" y="554"/>
                        <a:pt x="139" y="558"/>
                        <a:pt x="139" y="554"/>
                      </a:cubicBezTo>
                      <a:cubicBezTo>
                        <a:pt x="139" y="550"/>
                        <a:pt x="151" y="554"/>
                        <a:pt x="161" y="554"/>
                      </a:cubicBezTo>
                      <a:cubicBezTo>
                        <a:pt x="171" y="554"/>
                        <a:pt x="177" y="583"/>
                        <a:pt x="177" y="583"/>
                      </a:cubicBezTo>
                      <a:cubicBezTo>
                        <a:pt x="214" y="585"/>
                        <a:pt x="214" y="585"/>
                        <a:pt x="214" y="585"/>
                      </a:cubicBezTo>
                      <a:cubicBezTo>
                        <a:pt x="214" y="585"/>
                        <a:pt x="233" y="578"/>
                        <a:pt x="240" y="569"/>
                      </a:cubicBezTo>
                      <a:cubicBezTo>
                        <a:pt x="247" y="560"/>
                        <a:pt x="251" y="596"/>
                        <a:pt x="251" y="596"/>
                      </a:cubicBezTo>
                      <a:cubicBezTo>
                        <a:pt x="251" y="596"/>
                        <a:pt x="248" y="600"/>
                        <a:pt x="245" y="600"/>
                      </a:cubicBezTo>
                      <a:cubicBezTo>
                        <a:pt x="242" y="600"/>
                        <a:pt x="252" y="608"/>
                        <a:pt x="255" y="612"/>
                      </a:cubicBezTo>
                      <a:cubicBezTo>
                        <a:pt x="258" y="616"/>
                        <a:pt x="248" y="623"/>
                        <a:pt x="248" y="623"/>
                      </a:cubicBezTo>
                      <a:cubicBezTo>
                        <a:pt x="248" y="623"/>
                        <a:pt x="291" y="631"/>
                        <a:pt x="295" y="632"/>
                      </a:cubicBezTo>
                      <a:cubicBezTo>
                        <a:pt x="305" y="651"/>
                        <a:pt x="316" y="636"/>
                        <a:pt x="322" y="637"/>
                      </a:cubicBezTo>
                      <a:cubicBezTo>
                        <a:pt x="328" y="638"/>
                        <a:pt x="320" y="648"/>
                        <a:pt x="332" y="649"/>
                      </a:cubicBezTo>
                      <a:cubicBezTo>
                        <a:pt x="344" y="650"/>
                        <a:pt x="354" y="671"/>
                        <a:pt x="348" y="676"/>
                      </a:cubicBezTo>
                      <a:cubicBezTo>
                        <a:pt x="342" y="681"/>
                        <a:pt x="356" y="680"/>
                        <a:pt x="364" y="684"/>
                      </a:cubicBezTo>
                      <a:cubicBezTo>
                        <a:pt x="372" y="671"/>
                        <a:pt x="393" y="669"/>
                        <a:pt x="399" y="666"/>
                      </a:cubicBezTo>
                      <a:cubicBezTo>
                        <a:pt x="405" y="663"/>
                        <a:pt x="404" y="681"/>
                        <a:pt x="407" y="679"/>
                      </a:cubicBezTo>
                      <a:cubicBezTo>
                        <a:pt x="410" y="677"/>
                        <a:pt x="418" y="669"/>
                        <a:pt x="424" y="674"/>
                      </a:cubicBezTo>
                      <a:cubicBezTo>
                        <a:pt x="426" y="676"/>
                        <a:pt x="426" y="678"/>
                        <a:pt x="426" y="679"/>
                      </a:cubicBezTo>
                      <a:cubicBezTo>
                        <a:pt x="427" y="679"/>
                        <a:pt x="437" y="672"/>
                        <a:pt x="443" y="663"/>
                      </a:cubicBezTo>
                      <a:cubicBezTo>
                        <a:pt x="449" y="654"/>
                        <a:pt x="443" y="663"/>
                        <a:pt x="465" y="665"/>
                      </a:cubicBezTo>
                      <a:cubicBezTo>
                        <a:pt x="472" y="679"/>
                        <a:pt x="481" y="671"/>
                        <a:pt x="481" y="671"/>
                      </a:cubicBezTo>
                      <a:cubicBezTo>
                        <a:pt x="469" y="660"/>
                        <a:pt x="520" y="642"/>
                        <a:pt x="526" y="641"/>
                      </a:cubicBezTo>
                      <a:cubicBezTo>
                        <a:pt x="532" y="640"/>
                        <a:pt x="538" y="646"/>
                        <a:pt x="538" y="646"/>
                      </a:cubicBezTo>
                      <a:cubicBezTo>
                        <a:pt x="538" y="646"/>
                        <a:pt x="547" y="639"/>
                        <a:pt x="549" y="634"/>
                      </a:cubicBezTo>
                      <a:cubicBezTo>
                        <a:pt x="551" y="629"/>
                        <a:pt x="551" y="618"/>
                        <a:pt x="548" y="610"/>
                      </a:cubicBezTo>
                      <a:cubicBezTo>
                        <a:pt x="518" y="622"/>
                        <a:pt x="535" y="604"/>
                        <a:pt x="532" y="604"/>
                      </a:cubicBezTo>
                      <a:cubicBezTo>
                        <a:pt x="529" y="604"/>
                        <a:pt x="552" y="584"/>
                        <a:pt x="560" y="578"/>
                      </a:cubicBezTo>
                      <a:cubicBezTo>
                        <a:pt x="559" y="561"/>
                        <a:pt x="569" y="558"/>
                        <a:pt x="569" y="558"/>
                      </a:cubicBezTo>
                      <a:cubicBezTo>
                        <a:pt x="581" y="586"/>
                        <a:pt x="609" y="532"/>
                        <a:pt x="609" y="532"/>
                      </a:cubicBezTo>
                      <a:cubicBezTo>
                        <a:pt x="603" y="509"/>
                        <a:pt x="629" y="516"/>
                        <a:pt x="631" y="523"/>
                      </a:cubicBezTo>
                      <a:cubicBezTo>
                        <a:pt x="630" y="511"/>
                        <a:pt x="644" y="515"/>
                        <a:pt x="648" y="508"/>
                      </a:cubicBezTo>
                      <a:cubicBezTo>
                        <a:pt x="647" y="480"/>
                        <a:pt x="667" y="477"/>
                        <a:pt x="667" y="477"/>
                      </a:cubicBezTo>
                      <a:cubicBezTo>
                        <a:pt x="675" y="465"/>
                        <a:pt x="675" y="465"/>
                        <a:pt x="675" y="465"/>
                      </a:cubicBezTo>
                      <a:cubicBezTo>
                        <a:pt x="691" y="466"/>
                        <a:pt x="691" y="466"/>
                        <a:pt x="691" y="466"/>
                      </a:cubicBezTo>
                      <a:cubicBezTo>
                        <a:pt x="696" y="456"/>
                        <a:pt x="696" y="456"/>
                        <a:pt x="696" y="456"/>
                      </a:cubicBezTo>
                      <a:cubicBezTo>
                        <a:pt x="715" y="460"/>
                        <a:pt x="715" y="460"/>
                        <a:pt x="715" y="460"/>
                      </a:cubicBezTo>
                      <a:cubicBezTo>
                        <a:pt x="713" y="442"/>
                        <a:pt x="713" y="442"/>
                        <a:pt x="713" y="442"/>
                      </a:cubicBezTo>
                      <a:cubicBezTo>
                        <a:pt x="723" y="445"/>
                        <a:pt x="723" y="445"/>
                        <a:pt x="723" y="445"/>
                      </a:cubicBezTo>
                      <a:cubicBezTo>
                        <a:pt x="736" y="435"/>
                        <a:pt x="736" y="435"/>
                        <a:pt x="736" y="435"/>
                      </a:cubicBezTo>
                      <a:cubicBezTo>
                        <a:pt x="727" y="410"/>
                        <a:pt x="727" y="410"/>
                        <a:pt x="727" y="410"/>
                      </a:cubicBezTo>
                      <a:cubicBezTo>
                        <a:pt x="746" y="398"/>
                        <a:pt x="746" y="398"/>
                        <a:pt x="746" y="398"/>
                      </a:cubicBezTo>
                      <a:cubicBezTo>
                        <a:pt x="749" y="384"/>
                        <a:pt x="749" y="384"/>
                        <a:pt x="749" y="384"/>
                      </a:cubicBezTo>
                      <a:cubicBezTo>
                        <a:pt x="763" y="390"/>
                        <a:pt x="778" y="338"/>
                        <a:pt x="778" y="338"/>
                      </a:cubicBezTo>
                      <a:cubicBezTo>
                        <a:pt x="764" y="325"/>
                        <a:pt x="764" y="325"/>
                        <a:pt x="764" y="325"/>
                      </a:cubicBezTo>
                      <a:cubicBezTo>
                        <a:pt x="768" y="311"/>
                        <a:pt x="768" y="311"/>
                        <a:pt x="768" y="311"/>
                      </a:cubicBezTo>
                      <a:cubicBezTo>
                        <a:pt x="758" y="308"/>
                        <a:pt x="758" y="308"/>
                        <a:pt x="758" y="308"/>
                      </a:cubicBezTo>
                      <a:cubicBezTo>
                        <a:pt x="751" y="316"/>
                        <a:pt x="751" y="316"/>
                        <a:pt x="751" y="316"/>
                      </a:cubicBezTo>
                      <a:cubicBezTo>
                        <a:pt x="751" y="316"/>
                        <a:pt x="730" y="316"/>
                        <a:pt x="725" y="323"/>
                      </a:cubicBezTo>
                      <a:cubicBezTo>
                        <a:pt x="717" y="339"/>
                        <a:pt x="690" y="316"/>
                        <a:pt x="690" y="316"/>
                      </a:cubicBezTo>
                      <a:cubicBezTo>
                        <a:pt x="630" y="285"/>
                        <a:pt x="630" y="285"/>
                        <a:pt x="630" y="285"/>
                      </a:cubicBezTo>
                      <a:cubicBezTo>
                        <a:pt x="623" y="288"/>
                        <a:pt x="623" y="288"/>
                        <a:pt x="623" y="288"/>
                      </a:cubicBezTo>
                      <a:cubicBezTo>
                        <a:pt x="612" y="282"/>
                        <a:pt x="612" y="282"/>
                        <a:pt x="612" y="282"/>
                      </a:cubicBezTo>
                      <a:cubicBezTo>
                        <a:pt x="613" y="271"/>
                        <a:pt x="613" y="271"/>
                        <a:pt x="613" y="271"/>
                      </a:cubicBezTo>
                      <a:cubicBezTo>
                        <a:pt x="589" y="238"/>
                        <a:pt x="589" y="238"/>
                        <a:pt x="589" y="238"/>
                      </a:cubicBezTo>
                      <a:cubicBezTo>
                        <a:pt x="598" y="219"/>
                        <a:pt x="598" y="219"/>
                        <a:pt x="598" y="219"/>
                      </a:cubicBezTo>
                      <a:cubicBezTo>
                        <a:pt x="579" y="182"/>
                        <a:pt x="579" y="182"/>
                        <a:pt x="579" y="182"/>
                      </a:cubicBezTo>
                      <a:cubicBezTo>
                        <a:pt x="579" y="182"/>
                        <a:pt x="601" y="155"/>
                        <a:pt x="604" y="152"/>
                      </a:cubicBezTo>
                      <a:cubicBezTo>
                        <a:pt x="598" y="134"/>
                        <a:pt x="611" y="136"/>
                        <a:pt x="609" y="133"/>
                      </a:cubicBezTo>
                      <a:cubicBezTo>
                        <a:pt x="622" y="140"/>
                        <a:pt x="620" y="121"/>
                        <a:pt x="624" y="123"/>
                      </a:cubicBezTo>
                      <a:cubicBezTo>
                        <a:pt x="611" y="113"/>
                        <a:pt x="614" y="82"/>
                        <a:pt x="614" y="82"/>
                      </a:cubicBezTo>
                      <a:cubicBezTo>
                        <a:pt x="577" y="74"/>
                        <a:pt x="577" y="74"/>
                        <a:pt x="577" y="74"/>
                      </a:cubicBezTo>
                      <a:cubicBezTo>
                        <a:pt x="548" y="49"/>
                        <a:pt x="548" y="49"/>
                        <a:pt x="548" y="49"/>
                      </a:cubicBezTo>
                      <a:cubicBezTo>
                        <a:pt x="550" y="19"/>
                        <a:pt x="550" y="19"/>
                        <a:pt x="550" y="19"/>
                      </a:cubicBezTo>
                      <a:cubicBezTo>
                        <a:pt x="534" y="16"/>
                        <a:pt x="534" y="16"/>
                        <a:pt x="534" y="16"/>
                      </a:cubicBezTo>
                      <a:cubicBezTo>
                        <a:pt x="532" y="7"/>
                        <a:pt x="532" y="7"/>
                        <a:pt x="532" y="7"/>
                      </a:cubicBezTo>
                      <a:cubicBezTo>
                        <a:pt x="530" y="6"/>
                        <a:pt x="529" y="4"/>
                        <a:pt x="528" y="2"/>
                      </a:cubicBezTo>
                      <a:cubicBezTo>
                        <a:pt x="504" y="6"/>
                        <a:pt x="504" y="6"/>
                        <a:pt x="504" y="6"/>
                      </a:cubicBezTo>
                      <a:cubicBezTo>
                        <a:pt x="501" y="14"/>
                        <a:pt x="501" y="14"/>
                        <a:pt x="501" y="14"/>
                      </a:cubicBezTo>
                      <a:cubicBezTo>
                        <a:pt x="477" y="14"/>
                        <a:pt x="477" y="14"/>
                        <a:pt x="477" y="14"/>
                      </a:cubicBezTo>
                      <a:cubicBezTo>
                        <a:pt x="476" y="0"/>
                        <a:pt x="476" y="0"/>
                        <a:pt x="476" y="0"/>
                      </a:cubicBezTo>
                      <a:cubicBezTo>
                        <a:pt x="446" y="3"/>
                        <a:pt x="446" y="3"/>
                        <a:pt x="446" y="3"/>
                      </a:cubicBezTo>
                      <a:cubicBezTo>
                        <a:pt x="449" y="11"/>
                        <a:pt x="449" y="11"/>
                        <a:pt x="449" y="11"/>
                      </a:cubicBezTo>
                      <a:cubicBezTo>
                        <a:pt x="449" y="11"/>
                        <a:pt x="444" y="24"/>
                        <a:pt x="444" y="35"/>
                      </a:cubicBezTo>
                      <a:cubicBezTo>
                        <a:pt x="444" y="46"/>
                        <a:pt x="468" y="40"/>
                        <a:pt x="468" y="40"/>
                      </a:cubicBezTo>
                      <a:cubicBezTo>
                        <a:pt x="468" y="40"/>
                        <a:pt x="469" y="59"/>
                        <a:pt x="476" y="82"/>
                      </a:cubicBezTo>
                      <a:cubicBezTo>
                        <a:pt x="410" y="80"/>
                        <a:pt x="420" y="100"/>
                        <a:pt x="413" y="94"/>
                      </a:cubicBezTo>
                      <a:cubicBezTo>
                        <a:pt x="406" y="87"/>
                        <a:pt x="397" y="110"/>
                        <a:pt x="397" y="110"/>
                      </a:cubicBezTo>
                      <a:cubicBezTo>
                        <a:pt x="397" y="110"/>
                        <a:pt x="373" y="116"/>
                        <a:pt x="361" y="116"/>
                      </a:cubicBezTo>
                      <a:cubicBezTo>
                        <a:pt x="349" y="116"/>
                        <a:pt x="354" y="128"/>
                        <a:pt x="358" y="138"/>
                      </a:cubicBezTo>
                      <a:cubicBezTo>
                        <a:pt x="362" y="147"/>
                        <a:pt x="321" y="162"/>
                        <a:pt x="321" y="162"/>
                      </a:cubicBezTo>
                      <a:cubicBezTo>
                        <a:pt x="308" y="188"/>
                        <a:pt x="308" y="188"/>
                        <a:pt x="308" y="188"/>
                      </a:cubicBezTo>
                      <a:cubicBezTo>
                        <a:pt x="325" y="198"/>
                        <a:pt x="325" y="198"/>
                        <a:pt x="325" y="198"/>
                      </a:cubicBezTo>
                      <a:cubicBezTo>
                        <a:pt x="310" y="210"/>
                        <a:pt x="310" y="210"/>
                        <a:pt x="310" y="210"/>
                      </a:cubicBezTo>
                      <a:cubicBezTo>
                        <a:pt x="281" y="206"/>
                        <a:pt x="281" y="206"/>
                        <a:pt x="281" y="206"/>
                      </a:cubicBezTo>
                      <a:cubicBezTo>
                        <a:pt x="278" y="218"/>
                        <a:pt x="278" y="218"/>
                        <a:pt x="278" y="218"/>
                      </a:cubicBezTo>
                      <a:cubicBezTo>
                        <a:pt x="286" y="230"/>
                        <a:pt x="286" y="230"/>
                        <a:pt x="286" y="230"/>
                      </a:cubicBezTo>
                      <a:cubicBezTo>
                        <a:pt x="270" y="231"/>
                        <a:pt x="270" y="231"/>
                        <a:pt x="270" y="231"/>
                      </a:cubicBezTo>
                      <a:cubicBezTo>
                        <a:pt x="286" y="256"/>
                        <a:pt x="286" y="256"/>
                        <a:pt x="286" y="256"/>
                      </a:cubicBezTo>
                      <a:cubicBezTo>
                        <a:pt x="317" y="258"/>
                        <a:pt x="317" y="258"/>
                        <a:pt x="317" y="258"/>
                      </a:cubicBezTo>
                      <a:cubicBezTo>
                        <a:pt x="334" y="278"/>
                        <a:pt x="334" y="278"/>
                        <a:pt x="334" y="278"/>
                      </a:cubicBezTo>
                      <a:cubicBezTo>
                        <a:pt x="334" y="300"/>
                        <a:pt x="334" y="300"/>
                        <a:pt x="334" y="300"/>
                      </a:cubicBezTo>
                      <a:cubicBezTo>
                        <a:pt x="334" y="300"/>
                        <a:pt x="320" y="314"/>
                        <a:pt x="322" y="311"/>
                      </a:cubicBezTo>
                      <a:cubicBezTo>
                        <a:pt x="298" y="303"/>
                        <a:pt x="308" y="314"/>
                        <a:pt x="308" y="314"/>
                      </a:cubicBezTo>
                      <a:cubicBezTo>
                        <a:pt x="288" y="326"/>
                        <a:pt x="288" y="326"/>
                        <a:pt x="288" y="326"/>
                      </a:cubicBezTo>
                      <a:cubicBezTo>
                        <a:pt x="278" y="319"/>
                        <a:pt x="278" y="319"/>
                        <a:pt x="278" y="319"/>
                      </a:cubicBezTo>
                      <a:cubicBezTo>
                        <a:pt x="278" y="319"/>
                        <a:pt x="265" y="323"/>
                        <a:pt x="265" y="314"/>
                      </a:cubicBezTo>
                      <a:cubicBezTo>
                        <a:pt x="265" y="304"/>
                        <a:pt x="258" y="300"/>
                        <a:pt x="258" y="300"/>
                      </a:cubicBezTo>
                      <a:cubicBezTo>
                        <a:pt x="237" y="295"/>
                        <a:pt x="237" y="295"/>
                        <a:pt x="237" y="295"/>
                      </a:cubicBezTo>
                      <a:cubicBezTo>
                        <a:pt x="238" y="302"/>
                        <a:pt x="238" y="302"/>
                        <a:pt x="238" y="302"/>
                      </a:cubicBezTo>
                      <a:cubicBezTo>
                        <a:pt x="213" y="294"/>
                        <a:pt x="213" y="294"/>
                        <a:pt x="213" y="294"/>
                      </a:cubicBezTo>
                      <a:cubicBezTo>
                        <a:pt x="213" y="270"/>
                        <a:pt x="213" y="270"/>
                        <a:pt x="213" y="270"/>
                      </a:cubicBezTo>
                      <a:cubicBezTo>
                        <a:pt x="201" y="276"/>
                        <a:pt x="201" y="276"/>
                        <a:pt x="201" y="276"/>
                      </a:cubicBezTo>
                      <a:cubicBezTo>
                        <a:pt x="190" y="272"/>
                        <a:pt x="190" y="272"/>
                        <a:pt x="190" y="272"/>
                      </a:cubicBezTo>
                      <a:cubicBezTo>
                        <a:pt x="136" y="296"/>
                        <a:pt x="136" y="296"/>
                        <a:pt x="136" y="296"/>
                      </a:cubicBezTo>
                      <a:cubicBezTo>
                        <a:pt x="134" y="260"/>
                        <a:pt x="100" y="268"/>
                        <a:pt x="100" y="268"/>
                      </a:cubicBezTo>
                      <a:cubicBezTo>
                        <a:pt x="100" y="283"/>
                        <a:pt x="100" y="283"/>
                        <a:pt x="100" y="283"/>
                      </a:cubicBezTo>
                      <a:cubicBezTo>
                        <a:pt x="95" y="281"/>
                        <a:pt x="95" y="281"/>
                        <a:pt x="95" y="281"/>
                      </a:cubicBezTo>
                      <a:cubicBezTo>
                        <a:pt x="104" y="303"/>
                        <a:pt x="104" y="303"/>
                        <a:pt x="104" y="303"/>
                      </a:cubicBezTo>
                      <a:cubicBezTo>
                        <a:pt x="114" y="304"/>
                        <a:pt x="114" y="304"/>
                        <a:pt x="114" y="304"/>
                      </a:cubicBezTo>
                      <a:cubicBezTo>
                        <a:pt x="114" y="343"/>
                        <a:pt x="114" y="343"/>
                        <a:pt x="114" y="343"/>
                      </a:cubicBezTo>
                      <a:cubicBezTo>
                        <a:pt x="125" y="339"/>
                        <a:pt x="125" y="339"/>
                        <a:pt x="125" y="339"/>
                      </a:cubicBezTo>
                      <a:cubicBezTo>
                        <a:pt x="145" y="371"/>
                        <a:pt x="145" y="371"/>
                        <a:pt x="145" y="371"/>
                      </a:cubicBezTo>
                      <a:cubicBezTo>
                        <a:pt x="102" y="415"/>
                        <a:pt x="102" y="415"/>
                        <a:pt x="102" y="415"/>
                      </a:cubicBezTo>
                      <a:cubicBezTo>
                        <a:pt x="94" y="472"/>
                        <a:pt x="94" y="472"/>
                        <a:pt x="94" y="472"/>
                      </a:cubicBezTo>
                      <a:cubicBezTo>
                        <a:pt x="69" y="466"/>
                        <a:pt x="69" y="466"/>
                        <a:pt x="69" y="466"/>
                      </a:cubicBezTo>
                      <a:cubicBezTo>
                        <a:pt x="54" y="490"/>
                        <a:pt x="54" y="490"/>
                        <a:pt x="54" y="490"/>
                      </a:cubicBezTo>
                      <a:cubicBezTo>
                        <a:pt x="58" y="500"/>
                        <a:pt x="58" y="500"/>
                        <a:pt x="58" y="500"/>
                      </a:cubicBezTo>
                      <a:cubicBezTo>
                        <a:pt x="0" y="540"/>
                        <a:pt x="0" y="540"/>
                        <a:pt x="0" y="540"/>
                      </a:cubicBezTo>
                      <a:cubicBezTo>
                        <a:pt x="1" y="541"/>
                        <a:pt x="2" y="541"/>
                        <a:pt x="2" y="541"/>
                      </a:cubicBez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96" name="Languedoc-Roussillon" descr="© INSCALE GmbH, 05.05.2010&#10;http://www.presentationload.com/">
                  <a:extLst>
                    <a:ext uri="{FF2B5EF4-FFF2-40B4-BE49-F238E27FC236}">
                      <a16:creationId xmlns:a16="http://schemas.microsoft.com/office/drawing/2014/main" id="{B8721DEA-F549-45D5-8C11-1409608F57D6}"/>
                    </a:ext>
                  </a:extLst>
                </p:cNvPr>
                <p:cNvSpPr>
                  <a:spLocks/>
                </p:cNvSpPr>
                <p:nvPr/>
              </p:nvSpPr>
              <p:spPr bwMode="gray">
                <a:xfrm>
                  <a:off x="1594" y="2270"/>
                  <a:ext cx="795" cy="930"/>
                </a:xfrm>
                <a:custGeom>
                  <a:avLst/>
                  <a:gdLst/>
                  <a:ahLst/>
                  <a:cxnLst>
                    <a:cxn ang="0">
                      <a:pos x="20" y="800"/>
                    </a:cxn>
                    <a:cxn ang="0">
                      <a:pos x="61" y="817"/>
                    </a:cxn>
                    <a:cxn ang="0">
                      <a:pos x="99" y="847"/>
                    </a:cxn>
                    <a:cxn ang="0">
                      <a:pos x="151" y="830"/>
                    </a:cxn>
                    <a:cxn ang="0">
                      <a:pos x="230" y="858"/>
                    </a:cxn>
                    <a:cxn ang="0">
                      <a:pos x="248" y="831"/>
                    </a:cxn>
                    <a:cxn ang="0">
                      <a:pos x="282" y="817"/>
                    </a:cxn>
                    <a:cxn ang="0">
                      <a:pos x="318" y="812"/>
                    </a:cxn>
                    <a:cxn ang="0">
                      <a:pos x="347" y="824"/>
                    </a:cxn>
                    <a:cxn ang="0">
                      <a:pos x="335" y="788"/>
                    </a:cxn>
                    <a:cxn ang="0">
                      <a:pos x="322" y="658"/>
                    </a:cxn>
                    <a:cxn ang="0">
                      <a:pos x="319" y="622"/>
                    </a:cxn>
                    <a:cxn ang="0">
                      <a:pos x="466" y="488"/>
                    </a:cxn>
                    <a:cxn ang="0">
                      <a:pos x="564" y="442"/>
                    </a:cxn>
                    <a:cxn ang="0">
                      <a:pos x="650" y="433"/>
                    </a:cxn>
                    <a:cxn ang="0">
                      <a:pos x="661" y="399"/>
                    </a:cxn>
                    <a:cxn ang="0">
                      <a:pos x="694" y="348"/>
                    </a:cxn>
                    <a:cxn ang="0">
                      <a:pos x="717" y="272"/>
                    </a:cxn>
                    <a:cxn ang="0">
                      <a:pos x="706" y="237"/>
                    </a:cxn>
                    <a:cxn ang="0">
                      <a:pos x="687" y="214"/>
                    </a:cxn>
                    <a:cxn ang="0">
                      <a:pos x="641" y="209"/>
                    </a:cxn>
                    <a:cxn ang="0">
                      <a:pos x="634" y="195"/>
                    </a:cxn>
                    <a:cxn ang="0">
                      <a:pos x="600" y="225"/>
                    </a:cxn>
                    <a:cxn ang="0">
                      <a:pos x="549" y="208"/>
                    </a:cxn>
                    <a:cxn ang="0">
                      <a:pos x="536" y="159"/>
                    </a:cxn>
                    <a:cxn ang="0">
                      <a:pos x="518" y="121"/>
                    </a:cxn>
                    <a:cxn ang="0">
                      <a:pos x="501" y="71"/>
                    </a:cxn>
                    <a:cxn ang="0">
                      <a:pos x="458" y="40"/>
                    </a:cxn>
                    <a:cxn ang="0">
                      <a:pos x="420" y="51"/>
                    </a:cxn>
                    <a:cxn ang="0">
                      <a:pos x="373" y="16"/>
                    </a:cxn>
                    <a:cxn ang="0">
                      <a:pos x="368" y="27"/>
                    </a:cxn>
                    <a:cxn ang="0">
                      <a:pos x="342" y="19"/>
                    </a:cxn>
                    <a:cxn ang="0">
                      <a:pos x="334" y="43"/>
                    </a:cxn>
                    <a:cxn ang="0">
                      <a:pos x="320" y="79"/>
                    </a:cxn>
                    <a:cxn ang="0">
                      <a:pos x="308" y="108"/>
                    </a:cxn>
                    <a:cxn ang="0">
                      <a:pos x="325" y="155"/>
                    </a:cxn>
                    <a:cxn ang="0">
                      <a:pos x="348" y="208"/>
                    </a:cxn>
                    <a:cxn ang="0">
                      <a:pos x="361" y="232"/>
                    </a:cxn>
                    <a:cxn ang="0">
                      <a:pos x="393" y="256"/>
                    </a:cxn>
                    <a:cxn ang="0">
                      <a:pos x="393" y="285"/>
                    </a:cxn>
                    <a:cxn ang="0">
                      <a:pos x="418" y="303"/>
                    </a:cxn>
                    <a:cxn ang="0">
                      <a:pos x="394" y="345"/>
                    </a:cxn>
                    <a:cxn ang="0">
                      <a:pos x="373" y="364"/>
                    </a:cxn>
                    <a:cxn ang="0">
                      <a:pos x="328" y="405"/>
                    </a:cxn>
                    <a:cxn ang="0">
                      <a:pos x="253" y="427"/>
                    </a:cxn>
                    <a:cxn ang="0">
                      <a:pos x="198" y="492"/>
                    </a:cxn>
                    <a:cxn ang="0">
                      <a:pos x="130" y="509"/>
                    </a:cxn>
                    <a:cxn ang="0">
                      <a:pos x="96" y="496"/>
                    </a:cxn>
                    <a:cxn ang="0">
                      <a:pos x="62" y="508"/>
                    </a:cxn>
                    <a:cxn ang="0">
                      <a:pos x="37" y="520"/>
                    </a:cxn>
                    <a:cxn ang="0">
                      <a:pos x="14" y="572"/>
                    </a:cxn>
                    <a:cxn ang="0">
                      <a:pos x="68" y="612"/>
                    </a:cxn>
                    <a:cxn ang="0">
                      <a:pos x="64" y="651"/>
                    </a:cxn>
                    <a:cxn ang="0">
                      <a:pos x="77" y="669"/>
                    </a:cxn>
                    <a:cxn ang="0">
                      <a:pos x="53" y="693"/>
                    </a:cxn>
                    <a:cxn ang="0">
                      <a:pos x="101" y="713"/>
                    </a:cxn>
                    <a:cxn ang="0">
                      <a:pos x="76" y="743"/>
                    </a:cxn>
                    <a:cxn ang="0">
                      <a:pos x="57" y="760"/>
                    </a:cxn>
                    <a:cxn ang="0">
                      <a:pos x="26" y="768"/>
                    </a:cxn>
                    <a:cxn ang="0">
                      <a:pos x="25" y="777"/>
                    </a:cxn>
                  </a:cxnLst>
                  <a:rect l="0" t="0" r="r" b="b"/>
                  <a:pathLst>
                    <a:path w="737" h="861">
                      <a:moveTo>
                        <a:pt x="25" y="777"/>
                      </a:moveTo>
                      <a:cubicBezTo>
                        <a:pt x="20" y="781"/>
                        <a:pt x="20" y="800"/>
                        <a:pt x="20" y="800"/>
                      </a:cubicBezTo>
                      <a:cubicBezTo>
                        <a:pt x="20" y="800"/>
                        <a:pt x="41" y="808"/>
                        <a:pt x="43" y="805"/>
                      </a:cubicBezTo>
                      <a:cubicBezTo>
                        <a:pt x="47" y="818"/>
                        <a:pt x="61" y="817"/>
                        <a:pt x="61" y="817"/>
                      </a:cubicBezTo>
                      <a:cubicBezTo>
                        <a:pt x="79" y="848"/>
                        <a:pt x="79" y="848"/>
                        <a:pt x="79" y="848"/>
                      </a:cubicBezTo>
                      <a:cubicBezTo>
                        <a:pt x="99" y="847"/>
                        <a:pt x="99" y="847"/>
                        <a:pt x="99" y="847"/>
                      </a:cubicBezTo>
                      <a:cubicBezTo>
                        <a:pt x="119" y="828"/>
                        <a:pt x="119" y="828"/>
                        <a:pt x="119" y="828"/>
                      </a:cubicBezTo>
                      <a:cubicBezTo>
                        <a:pt x="151" y="830"/>
                        <a:pt x="151" y="830"/>
                        <a:pt x="151" y="830"/>
                      </a:cubicBezTo>
                      <a:cubicBezTo>
                        <a:pt x="151" y="830"/>
                        <a:pt x="194" y="861"/>
                        <a:pt x="205" y="857"/>
                      </a:cubicBezTo>
                      <a:cubicBezTo>
                        <a:pt x="216" y="853"/>
                        <a:pt x="230" y="858"/>
                        <a:pt x="230" y="858"/>
                      </a:cubicBezTo>
                      <a:cubicBezTo>
                        <a:pt x="234" y="844"/>
                        <a:pt x="234" y="844"/>
                        <a:pt x="234" y="844"/>
                      </a:cubicBezTo>
                      <a:cubicBezTo>
                        <a:pt x="248" y="831"/>
                        <a:pt x="248" y="831"/>
                        <a:pt x="248" y="831"/>
                      </a:cubicBezTo>
                      <a:cubicBezTo>
                        <a:pt x="265" y="830"/>
                        <a:pt x="265" y="830"/>
                        <a:pt x="265" y="830"/>
                      </a:cubicBezTo>
                      <a:cubicBezTo>
                        <a:pt x="282" y="817"/>
                        <a:pt x="282" y="817"/>
                        <a:pt x="282" y="817"/>
                      </a:cubicBezTo>
                      <a:cubicBezTo>
                        <a:pt x="313" y="812"/>
                        <a:pt x="313" y="812"/>
                        <a:pt x="313" y="812"/>
                      </a:cubicBezTo>
                      <a:cubicBezTo>
                        <a:pt x="318" y="812"/>
                        <a:pt x="318" y="812"/>
                        <a:pt x="318" y="812"/>
                      </a:cubicBezTo>
                      <a:cubicBezTo>
                        <a:pt x="328" y="830"/>
                        <a:pt x="328" y="830"/>
                        <a:pt x="328" y="830"/>
                      </a:cubicBezTo>
                      <a:cubicBezTo>
                        <a:pt x="347" y="824"/>
                        <a:pt x="347" y="824"/>
                        <a:pt x="347" y="824"/>
                      </a:cubicBezTo>
                      <a:cubicBezTo>
                        <a:pt x="352" y="815"/>
                        <a:pt x="340" y="807"/>
                        <a:pt x="340" y="807"/>
                      </a:cubicBezTo>
                      <a:cubicBezTo>
                        <a:pt x="335" y="788"/>
                        <a:pt x="335" y="788"/>
                        <a:pt x="335" y="788"/>
                      </a:cubicBezTo>
                      <a:cubicBezTo>
                        <a:pt x="318" y="785"/>
                        <a:pt x="318" y="785"/>
                        <a:pt x="318" y="785"/>
                      </a:cubicBezTo>
                      <a:cubicBezTo>
                        <a:pt x="322" y="658"/>
                        <a:pt x="322" y="658"/>
                        <a:pt x="322" y="658"/>
                      </a:cubicBezTo>
                      <a:cubicBezTo>
                        <a:pt x="312" y="643"/>
                        <a:pt x="312" y="643"/>
                        <a:pt x="312" y="643"/>
                      </a:cubicBezTo>
                      <a:cubicBezTo>
                        <a:pt x="312" y="643"/>
                        <a:pt x="319" y="627"/>
                        <a:pt x="319" y="622"/>
                      </a:cubicBezTo>
                      <a:cubicBezTo>
                        <a:pt x="380" y="492"/>
                        <a:pt x="416" y="533"/>
                        <a:pt x="416" y="533"/>
                      </a:cubicBezTo>
                      <a:cubicBezTo>
                        <a:pt x="416" y="533"/>
                        <a:pt x="445" y="505"/>
                        <a:pt x="466" y="488"/>
                      </a:cubicBezTo>
                      <a:cubicBezTo>
                        <a:pt x="487" y="471"/>
                        <a:pt x="490" y="472"/>
                        <a:pt x="496" y="458"/>
                      </a:cubicBezTo>
                      <a:cubicBezTo>
                        <a:pt x="559" y="418"/>
                        <a:pt x="561" y="439"/>
                        <a:pt x="564" y="442"/>
                      </a:cubicBezTo>
                      <a:cubicBezTo>
                        <a:pt x="546" y="458"/>
                        <a:pt x="582" y="469"/>
                        <a:pt x="592" y="473"/>
                      </a:cubicBezTo>
                      <a:cubicBezTo>
                        <a:pt x="650" y="433"/>
                        <a:pt x="650" y="433"/>
                        <a:pt x="650" y="433"/>
                      </a:cubicBezTo>
                      <a:cubicBezTo>
                        <a:pt x="646" y="423"/>
                        <a:pt x="646" y="423"/>
                        <a:pt x="646" y="423"/>
                      </a:cubicBezTo>
                      <a:cubicBezTo>
                        <a:pt x="661" y="399"/>
                        <a:pt x="661" y="399"/>
                        <a:pt x="661" y="399"/>
                      </a:cubicBezTo>
                      <a:cubicBezTo>
                        <a:pt x="686" y="405"/>
                        <a:pt x="686" y="405"/>
                        <a:pt x="686" y="405"/>
                      </a:cubicBezTo>
                      <a:cubicBezTo>
                        <a:pt x="694" y="348"/>
                        <a:pt x="694" y="348"/>
                        <a:pt x="694" y="348"/>
                      </a:cubicBezTo>
                      <a:cubicBezTo>
                        <a:pt x="737" y="304"/>
                        <a:pt x="737" y="304"/>
                        <a:pt x="737" y="304"/>
                      </a:cubicBezTo>
                      <a:cubicBezTo>
                        <a:pt x="717" y="272"/>
                        <a:pt x="717" y="272"/>
                        <a:pt x="717" y="272"/>
                      </a:cubicBezTo>
                      <a:cubicBezTo>
                        <a:pt x="706" y="276"/>
                        <a:pt x="706" y="276"/>
                        <a:pt x="706" y="276"/>
                      </a:cubicBezTo>
                      <a:cubicBezTo>
                        <a:pt x="706" y="237"/>
                        <a:pt x="706" y="237"/>
                        <a:pt x="706" y="237"/>
                      </a:cubicBezTo>
                      <a:cubicBezTo>
                        <a:pt x="696" y="236"/>
                        <a:pt x="696" y="236"/>
                        <a:pt x="696" y="236"/>
                      </a:cubicBezTo>
                      <a:cubicBezTo>
                        <a:pt x="687" y="214"/>
                        <a:pt x="687" y="214"/>
                        <a:pt x="687" y="214"/>
                      </a:cubicBezTo>
                      <a:cubicBezTo>
                        <a:pt x="649" y="197"/>
                        <a:pt x="649" y="197"/>
                        <a:pt x="649" y="197"/>
                      </a:cubicBezTo>
                      <a:cubicBezTo>
                        <a:pt x="641" y="209"/>
                        <a:pt x="641" y="209"/>
                        <a:pt x="641" y="209"/>
                      </a:cubicBezTo>
                      <a:cubicBezTo>
                        <a:pt x="634" y="209"/>
                        <a:pt x="634" y="209"/>
                        <a:pt x="634" y="209"/>
                      </a:cubicBezTo>
                      <a:cubicBezTo>
                        <a:pt x="634" y="195"/>
                        <a:pt x="634" y="195"/>
                        <a:pt x="634" y="195"/>
                      </a:cubicBezTo>
                      <a:cubicBezTo>
                        <a:pt x="620" y="195"/>
                        <a:pt x="620" y="195"/>
                        <a:pt x="620" y="195"/>
                      </a:cubicBezTo>
                      <a:cubicBezTo>
                        <a:pt x="600" y="225"/>
                        <a:pt x="600" y="225"/>
                        <a:pt x="600" y="225"/>
                      </a:cubicBezTo>
                      <a:cubicBezTo>
                        <a:pt x="568" y="197"/>
                        <a:pt x="568" y="197"/>
                        <a:pt x="568" y="197"/>
                      </a:cubicBezTo>
                      <a:cubicBezTo>
                        <a:pt x="549" y="208"/>
                        <a:pt x="549" y="208"/>
                        <a:pt x="549" y="208"/>
                      </a:cubicBezTo>
                      <a:cubicBezTo>
                        <a:pt x="556" y="177"/>
                        <a:pt x="556" y="177"/>
                        <a:pt x="556" y="177"/>
                      </a:cubicBezTo>
                      <a:cubicBezTo>
                        <a:pt x="536" y="159"/>
                        <a:pt x="536" y="159"/>
                        <a:pt x="536" y="159"/>
                      </a:cubicBezTo>
                      <a:cubicBezTo>
                        <a:pt x="532" y="128"/>
                        <a:pt x="532" y="128"/>
                        <a:pt x="532" y="128"/>
                      </a:cubicBezTo>
                      <a:cubicBezTo>
                        <a:pt x="518" y="121"/>
                        <a:pt x="518" y="121"/>
                        <a:pt x="518" y="121"/>
                      </a:cubicBezTo>
                      <a:cubicBezTo>
                        <a:pt x="505" y="69"/>
                        <a:pt x="505" y="69"/>
                        <a:pt x="505" y="69"/>
                      </a:cubicBezTo>
                      <a:cubicBezTo>
                        <a:pt x="501" y="71"/>
                        <a:pt x="501" y="71"/>
                        <a:pt x="501" y="71"/>
                      </a:cubicBezTo>
                      <a:cubicBezTo>
                        <a:pt x="480" y="45"/>
                        <a:pt x="480" y="45"/>
                        <a:pt x="480" y="45"/>
                      </a:cubicBezTo>
                      <a:cubicBezTo>
                        <a:pt x="458" y="40"/>
                        <a:pt x="458" y="40"/>
                        <a:pt x="458" y="40"/>
                      </a:cubicBezTo>
                      <a:cubicBezTo>
                        <a:pt x="458" y="40"/>
                        <a:pt x="448" y="16"/>
                        <a:pt x="444" y="43"/>
                      </a:cubicBezTo>
                      <a:cubicBezTo>
                        <a:pt x="420" y="51"/>
                        <a:pt x="420" y="51"/>
                        <a:pt x="420" y="51"/>
                      </a:cubicBezTo>
                      <a:cubicBezTo>
                        <a:pt x="402" y="0"/>
                        <a:pt x="402" y="0"/>
                        <a:pt x="402" y="0"/>
                      </a:cubicBezTo>
                      <a:cubicBezTo>
                        <a:pt x="402" y="0"/>
                        <a:pt x="384" y="7"/>
                        <a:pt x="373" y="16"/>
                      </a:cubicBezTo>
                      <a:cubicBezTo>
                        <a:pt x="371" y="18"/>
                        <a:pt x="369" y="19"/>
                        <a:pt x="368" y="19"/>
                      </a:cubicBezTo>
                      <a:cubicBezTo>
                        <a:pt x="368" y="27"/>
                        <a:pt x="368" y="27"/>
                        <a:pt x="368" y="27"/>
                      </a:cubicBezTo>
                      <a:cubicBezTo>
                        <a:pt x="350" y="32"/>
                        <a:pt x="350" y="32"/>
                        <a:pt x="350" y="32"/>
                      </a:cubicBezTo>
                      <a:cubicBezTo>
                        <a:pt x="342" y="19"/>
                        <a:pt x="342" y="19"/>
                        <a:pt x="342" y="19"/>
                      </a:cubicBezTo>
                      <a:cubicBezTo>
                        <a:pt x="333" y="23"/>
                        <a:pt x="333" y="23"/>
                        <a:pt x="333" y="23"/>
                      </a:cubicBezTo>
                      <a:cubicBezTo>
                        <a:pt x="334" y="43"/>
                        <a:pt x="334" y="43"/>
                        <a:pt x="334" y="43"/>
                      </a:cubicBezTo>
                      <a:cubicBezTo>
                        <a:pt x="326" y="52"/>
                        <a:pt x="326" y="52"/>
                        <a:pt x="326" y="52"/>
                      </a:cubicBezTo>
                      <a:cubicBezTo>
                        <a:pt x="320" y="79"/>
                        <a:pt x="320" y="79"/>
                        <a:pt x="320" y="79"/>
                      </a:cubicBezTo>
                      <a:cubicBezTo>
                        <a:pt x="308" y="99"/>
                        <a:pt x="308" y="99"/>
                        <a:pt x="308" y="99"/>
                      </a:cubicBezTo>
                      <a:cubicBezTo>
                        <a:pt x="308" y="108"/>
                        <a:pt x="308" y="108"/>
                        <a:pt x="308" y="108"/>
                      </a:cubicBezTo>
                      <a:cubicBezTo>
                        <a:pt x="329" y="123"/>
                        <a:pt x="329" y="123"/>
                        <a:pt x="329" y="123"/>
                      </a:cubicBezTo>
                      <a:cubicBezTo>
                        <a:pt x="325" y="155"/>
                        <a:pt x="325" y="155"/>
                        <a:pt x="325" y="155"/>
                      </a:cubicBezTo>
                      <a:cubicBezTo>
                        <a:pt x="346" y="168"/>
                        <a:pt x="346" y="168"/>
                        <a:pt x="346" y="168"/>
                      </a:cubicBezTo>
                      <a:cubicBezTo>
                        <a:pt x="348" y="208"/>
                        <a:pt x="348" y="208"/>
                        <a:pt x="348" y="208"/>
                      </a:cubicBezTo>
                      <a:cubicBezTo>
                        <a:pt x="338" y="224"/>
                        <a:pt x="338" y="224"/>
                        <a:pt x="338" y="224"/>
                      </a:cubicBezTo>
                      <a:cubicBezTo>
                        <a:pt x="361" y="232"/>
                        <a:pt x="361" y="232"/>
                        <a:pt x="361" y="232"/>
                      </a:cubicBezTo>
                      <a:cubicBezTo>
                        <a:pt x="357" y="244"/>
                        <a:pt x="357" y="244"/>
                        <a:pt x="357" y="244"/>
                      </a:cubicBezTo>
                      <a:cubicBezTo>
                        <a:pt x="357" y="244"/>
                        <a:pt x="398" y="251"/>
                        <a:pt x="393" y="256"/>
                      </a:cubicBezTo>
                      <a:cubicBezTo>
                        <a:pt x="388" y="261"/>
                        <a:pt x="373" y="279"/>
                        <a:pt x="373" y="279"/>
                      </a:cubicBezTo>
                      <a:cubicBezTo>
                        <a:pt x="393" y="285"/>
                        <a:pt x="393" y="285"/>
                        <a:pt x="393" y="285"/>
                      </a:cubicBezTo>
                      <a:cubicBezTo>
                        <a:pt x="405" y="295"/>
                        <a:pt x="405" y="295"/>
                        <a:pt x="405" y="295"/>
                      </a:cubicBezTo>
                      <a:cubicBezTo>
                        <a:pt x="418" y="303"/>
                        <a:pt x="418" y="303"/>
                        <a:pt x="418" y="303"/>
                      </a:cubicBezTo>
                      <a:cubicBezTo>
                        <a:pt x="397" y="328"/>
                        <a:pt x="397" y="328"/>
                        <a:pt x="397" y="328"/>
                      </a:cubicBezTo>
                      <a:cubicBezTo>
                        <a:pt x="394" y="345"/>
                        <a:pt x="394" y="345"/>
                        <a:pt x="394" y="345"/>
                      </a:cubicBezTo>
                      <a:cubicBezTo>
                        <a:pt x="373" y="347"/>
                        <a:pt x="373" y="347"/>
                        <a:pt x="373" y="347"/>
                      </a:cubicBezTo>
                      <a:cubicBezTo>
                        <a:pt x="373" y="364"/>
                        <a:pt x="373" y="364"/>
                        <a:pt x="373" y="364"/>
                      </a:cubicBezTo>
                      <a:cubicBezTo>
                        <a:pt x="329" y="365"/>
                        <a:pt x="329" y="365"/>
                        <a:pt x="329" y="365"/>
                      </a:cubicBezTo>
                      <a:cubicBezTo>
                        <a:pt x="328" y="405"/>
                        <a:pt x="328" y="405"/>
                        <a:pt x="328" y="405"/>
                      </a:cubicBezTo>
                      <a:cubicBezTo>
                        <a:pt x="328" y="405"/>
                        <a:pt x="306" y="399"/>
                        <a:pt x="297" y="417"/>
                      </a:cubicBezTo>
                      <a:cubicBezTo>
                        <a:pt x="276" y="427"/>
                        <a:pt x="253" y="427"/>
                        <a:pt x="253" y="427"/>
                      </a:cubicBezTo>
                      <a:cubicBezTo>
                        <a:pt x="253" y="427"/>
                        <a:pt x="202" y="425"/>
                        <a:pt x="241" y="464"/>
                      </a:cubicBezTo>
                      <a:cubicBezTo>
                        <a:pt x="232" y="469"/>
                        <a:pt x="232" y="497"/>
                        <a:pt x="198" y="492"/>
                      </a:cubicBezTo>
                      <a:cubicBezTo>
                        <a:pt x="165" y="487"/>
                        <a:pt x="173" y="499"/>
                        <a:pt x="173" y="499"/>
                      </a:cubicBezTo>
                      <a:cubicBezTo>
                        <a:pt x="173" y="499"/>
                        <a:pt x="130" y="476"/>
                        <a:pt x="130" y="509"/>
                      </a:cubicBezTo>
                      <a:cubicBezTo>
                        <a:pt x="130" y="509"/>
                        <a:pt x="108" y="504"/>
                        <a:pt x="102" y="505"/>
                      </a:cubicBezTo>
                      <a:cubicBezTo>
                        <a:pt x="97" y="507"/>
                        <a:pt x="96" y="496"/>
                        <a:pt x="96" y="496"/>
                      </a:cubicBezTo>
                      <a:cubicBezTo>
                        <a:pt x="68" y="495"/>
                        <a:pt x="68" y="495"/>
                        <a:pt x="68" y="495"/>
                      </a:cubicBezTo>
                      <a:cubicBezTo>
                        <a:pt x="62" y="508"/>
                        <a:pt x="62" y="508"/>
                        <a:pt x="62" y="508"/>
                      </a:cubicBezTo>
                      <a:cubicBezTo>
                        <a:pt x="49" y="487"/>
                        <a:pt x="49" y="487"/>
                        <a:pt x="49" y="487"/>
                      </a:cubicBezTo>
                      <a:cubicBezTo>
                        <a:pt x="49" y="487"/>
                        <a:pt x="37" y="495"/>
                        <a:pt x="37" y="520"/>
                      </a:cubicBezTo>
                      <a:cubicBezTo>
                        <a:pt x="34" y="525"/>
                        <a:pt x="0" y="531"/>
                        <a:pt x="18" y="553"/>
                      </a:cubicBezTo>
                      <a:cubicBezTo>
                        <a:pt x="12" y="553"/>
                        <a:pt x="14" y="572"/>
                        <a:pt x="14" y="572"/>
                      </a:cubicBezTo>
                      <a:cubicBezTo>
                        <a:pt x="64" y="591"/>
                        <a:pt x="64" y="591"/>
                        <a:pt x="64" y="591"/>
                      </a:cubicBezTo>
                      <a:cubicBezTo>
                        <a:pt x="64" y="591"/>
                        <a:pt x="73" y="607"/>
                        <a:pt x="68" y="612"/>
                      </a:cubicBezTo>
                      <a:cubicBezTo>
                        <a:pt x="62" y="617"/>
                        <a:pt x="78" y="644"/>
                        <a:pt x="78" y="644"/>
                      </a:cubicBezTo>
                      <a:cubicBezTo>
                        <a:pt x="64" y="651"/>
                        <a:pt x="64" y="651"/>
                        <a:pt x="64" y="651"/>
                      </a:cubicBezTo>
                      <a:cubicBezTo>
                        <a:pt x="80" y="655"/>
                        <a:pt x="80" y="655"/>
                        <a:pt x="80" y="655"/>
                      </a:cubicBezTo>
                      <a:cubicBezTo>
                        <a:pt x="80" y="655"/>
                        <a:pt x="77" y="665"/>
                        <a:pt x="77" y="669"/>
                      </a:cubicBezTo>
                      <a:cubicBezTo>
                        <a:pt x="77" y="673"/>
                        <a:pt x="54" y="679"/>
                        <a:pt x="54" y="679"/>
                      </a:cubicBezTo>
                      <a:cubicBezTo>
                        <a:pt x="53" y="693"/>
                        <a:pt x="53" y="693"/>
                        <a:pt x="53" y="693"/>
                      </a:cubicBezTo>
                      <a:cubicBezTo>
                        <a:pt x="62" y="697"/>
                        <a:pt x="62" y="697"/>
                        <a:pt x="62" y="697"/>
                      </a:cubicBezTo>
                      <a:cubicBezTo>
                        <a:pt x="62" y="697"/>
                        <a:pt x="48" y="717"/>
                        <a:pt x="101" y="713"/>
                      </a:cubicBezTo>
                      <a:cubicBezTo>
                        <a:pt x="122" y="735"/>
                        <a:pt x="120" y="741"/>
                        <a:pt x="120" y="741"/>
                      </a:cubicBezTo>
                      <a:cubicBezTo>
                        <a:pt x="76" y="743"/>
                        <a:pt x="76" y="743"/>
                        <a:pt x="76" y="743"/>
                      </a:cubicBezTo>
                      <a:cubicBezTo>
                        <a:pt x="78" y="755"/>
                        <a:pt x="78" y="755"/>
                        <a:pt x="78" y="755"/>
                      </a:cubicBezTo>
                      <a:cubicBezTo>
                        <a:pt x="57" y="760"/>
                        <a:pt x="57" y="760"/>
                        <a:pt x="57" y="760"/>
                      </a:cubicBezTo>
                      <a:cubicBezTo>
                        <a:pt x="50" y="769"/>
                        <a:pt x="50" y="769"/>
                        <a:pt x="50" y="769"/>
                      </a:cubicBezTo>
                      <a:cubicBezTo>
                        <a:pt x="26" y="768"/>
                        <a:pt x="26" y="768"/>
                        <a:pt x="26" y="768"/>
                      </a:cubicBezTo>
                      <a:cubicBezTo>
                        <a:pt x="25" y="771"/>
                        <a:pt x="25" y="771"/>
                        <a:pt x="25" y="771"/>
                      </a:cubicBezTo>
                      <a:cubicBezTo>
                        <a:pt x="26" y="774"/>
                        <a:pt x="26" y="776"/>
                        <a:pt x="25" y="777"/>
                      </a:cubicBez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97" name="Midi-Pyrénnées" descr="© INSCALE GmbH, 05.05.2010&#10;http://www.presentationload.com/">
                  <a:extLst>
                    <a:ext uri="{FF2B5EF4-FFF2-40B4-BE49-F238E27FC236}">
                      <a16:creationId xmlns:a16="http://schemas.microsoft.com/office/drawing/2014/main" id="{BEAABDA5-50EE-43BB-9D97-67052969717C}"/>
                    </a:ext>
                  </a:extLst>
                </p:cNvPr>
                <p:cNvSpPr>
                  <a:spLocks/>
                </p:cNvSpPr>
                <p:nvPr/>
              </p:nvSpPr>
              <p:spPr bwMode="gray">
                <a:xfrm>
                  <a:off x="1092" y="2246"/>
                  <a:ext cx="953" cy="857"/>
                </a:xfrm>
                <a:custGeom>
                  <a:avLst/>
                  <a:gdLst/>
                  <a:ahLst/>
                  <a:cxnLst>
                    <a:cxn ang="0">
                      <a:pos x="839" y="302"/>
                    </a:cxn>
                    <a:cxn ang="0">
                      <a:pos x="827" y="255"/>
                    </a:cxn>
                    <a:cxn ang="0">
                      <a:pos x="812" y="191"/>
                    </a:cxn>
                    <a:cxn ang="0">
                      <a:pos x="774" y="131"/>
                    </a:cxn>
                    <a:cxn ang="0">
                      <a:pos x="763" y="86"/>
                    </a:cxn>
                    <a:cxn ang="0">
                      <a:pos x="727" y="55"/>
                    </a:cxn>
                    <a:cxn ang="0">
                      <a:pos x="690" y="56"/>
                    </a:cxn>
                    <a:cxn ang="0">
                      <a:pos x="679" y="104"/>
                    </a:cxn>
                    <a:cxn ang="0">
                      <a:pos x="628" y="128"/>
                    </a:cxn>
                    <a:cxn ang="0">
                      <a:pos x="599" y="136"/>
                    </a:cxn>
                    <a:cxn ang="0">
                      <a:pos x="583" y="108"/>
                    </a:cxn>
                    <a:cxn ang="0">
                      <a:pos x="571" y="17"/>
                    </a:cxn>
                    <a:cxn ang="0">
                      <a:pos x="535" y="27"/>
                    </a:cxn>
                    <a:cxn ang="0">
                      <a:pos x="467" y="4"/>
                    </a:cxn>
                    <a:cxn ang="0">
                      <a:pos x="420" y="8"/>
                    </a:cxn>
                    <a:cxn ang="0">
                      <a:pos x="424" y="54"/>
                    </a:cxn>
                    <a:cxn ang="0">
                      <a:pos x="390" y="75"/>
                    </a:cxn>
                    <a:cxn ang="0">
                      <a:pos x="363" y="118"/>
                    </a:cxn>
                    <a:cxn ang="0">
                      <a:pos x="327" y="190"/>
                    </a:cxn>
                    <a:cxn ang="0">
                      <a:pos x="291" y="234"/>
                    </a:cxn>
                    <a:cxn ang="0">
                      <a:pos x="296" y="287"/>
                    </a:cxn>
                    <a:cxn ang="0">
                      <a:pos x="227" y="306"/>
                    </a:cxn>
                    <a:cxn ang="0">
                      <a:pos x="140" y="319"/>
                    </a:cxn>
                    <a:cxn ang="0">
                      <a:pos x="104" y="343"/>
                    </a:cxn>
                    <a:cxn ang="0">
                      <a:pos x="83" y="335"/>
                    </a:cxn>
                    <a:cxn ang="0">
                      <a:pos x="42" y="390"/>
                    </a:cxn>
                    <a:cxn ang="0">
                      <a:pos x="30" y="423"/>
                    </a:cxn>
                    <a:cxn ang="0">
                      <a:pos x="34" y="458"/>
                    </a:cxn>
                    <a:cxn ang="0">
                      <a:pos x="72" y="498"/>
                    </a:cxn>
                    <a:cxn ang="0">
                      <a:pos x="90" y="538"/>
                    </a:cxn>
                    <a:cxn ang="0">
                      <a:pos x="67" y="578"/>
                    </a:cxn>
                    <a:cxn ang="0">
                      <a:pos x="38" y="614"/>
                    </a:cxn>
                    <a:cxn ang="0">
                      <a:pos x="0" y="699"/>
                    </a:cxn>
                    <a:cxn ang="0">
                      <a:pos x="53" y="712"/>
                    </a:cxn>
                    <a:cxn ang="0">
                      <a:pos x="129" y="735"/>
                    </a:cxn>
                    <a:cxn ang="0">
                      <a:pos x="245" y="753"/>
                    </a:cxn>
                    <a:cxn ang="0">
                      <a:pos x="321" y="721"/>
                    </a:cxn>
                    <a:cxn ang="0">
                      <a:pos x="467" y="782"/>
                    </a:cxn>
                    <a:cxn ang="0">
                      <a:pos x="492" y="791"/>
                    </a:cxn>
                    <a:cxn ang="0">
                      <a:pos x="544" y="778"/>
                    </a:cxn>
                    <a:cxn ang="0">
                      <a:pos x="567" y="736"/>
                    </a:cxn>
                    <a:cxn ang="0">
                      <a:pos x="520" y="702"/>
                    </a:cxn>
                    <a:cxn ang="0">
                      <a:pos x="530" y="674"/>
                    </a:cxn>
                    <a:cxn ang="0">
                      <a:pos x="530" y="614"/>
                    </a:cxn>
                    <a:cxn ang="0">
                      <a:pos x="503" y="543"/>
                    </a:cxn>
                    <a:cxn ang="0">
                      <a:pos x="534" y="518"/>
                    </a:cxn>
                    <a:cxn ang="0">
                      <a:pos x="596" y="532"/>
                    </a:cxn>
                    <a:cxn ang="0">
                      <a:pos x="707" y="487"/>
                    </a:cxn>
                    <a:cxn ang="0">
                      <a:pos x="794" y="428"/>
                    </a:cxn>
                    <a:cxn ang="0">
                      <a:pos x="839" y="370"/>
                    </a:cxn>
                    <a:cxn ang="0">
                      <a:pos x="884" y="326"/>
                    </a:cxn>
                  </a:cxnLst>
                  <a:rect l="0" t="0" r="r" b="b"/>
                  <a:pathLst>
                    <a:path w="884" h="794">
                      <a:moveTo>
                        <a:pt x="871" y="318"/>
                      </a:moveTo>
                      <a:cubicBezTo>
                        <a:pt x="859" y="308"/>
                        <a:pt x="859" y="308"/>
                        <a:pt x="859" y="308"/>
                      </a:cubicBezTo>
                      <a:cubicBezTo>
                        <a:pt x="839" y="302"/>
                        <a:pt x="839" y="302"/>
                        <a:pt x="839" y="302"/>
                      </a:cubicBezTo>
                      <a:cubicBezTo>
                        <a:pt x="839" y="302"/>
                        <a:pt x="854" y="284"/>
                        <a:pt x="859" y="279"/>
                      </a:cubicBezTo>
                      <a:cubicBezTo>
                        <a:pt x="864" y="274"/>
                        <a:pt x="823" y="267"/>
                        <a:pt x="823" y="267"/>
                      </a:cubicBezTo>
                      <a:cubicBezTo>
                        <a:pt x="827" y="255"/>
                        <a:pt x="827" y="255"/>
                        <a:pt x="827" y="255"/>
                      </a:cubicBezTo>
                      <a:cubicBezTo>
                        <a:pt x="804" y="247"/>
                        <a:pt x="804" y="247"/>
                        <a:pt x="804" y="247"/>
                      </a:cubicBezTo>
                      <a:cubicBezTo>
                        <a:pt x="814" y="231"/>
                        <a:pt x="814" y="231"/>
                        <a:pt x="814" y="231"/>
                      </a:cubicBezTo>
                      <a:cubicBezTo>
                        <a:pt x="812" y="191"/>
                        <a:pt x="812" y="191"/>
                        <a:pt x="812" y="191"/>
                      </a:cubicBezTo>
                      <a:cubicBezTo>
                        <a:pt x="791" y="178"/>
                        <a:pt x="791" y="178"/>
                        <a:pt x="791" y="178"/>
                      </a:cubicBezTo>
                      <a:cubicBezTo>
                        <a:pt x="795" y="146"/>
                        <a:pt x="795" y="146"/>
                        <a:pt x="795" y="146"/>
                      </a:cubicBezTo>
                      <a:cubicBezTo>
                        <a:pt x="774" y="131"/>
                        <a:pt x="774" y="131"/>
                        <a:pt x="774" y="131"/>
                      </a:cubicBezTo>
                      <a:cubicBezTo>
                        <a:pt x="774" y="122"/>
                        <a:pt x="774" y="122"/>
                        <a:pt x="774" y="122"/>
                      </a:cubicBezTo>
                      <a:cubicBezTo>
                        <a:pt x="772" y="126"/>
                        <a:pt x="772" y="126"/>
                        <a:pt x="772" y="126"/>
                      </a:cubicBezTo>
                      <a:cubicBezTo>
                        <a:pt x="763" y="86"/>
                        <a:pt x="763" y="86"/>
                        <a:pt x="763" y="86"/>
                      </a:cubicBezTo>
                      <a:cubicBezTo>
                        <a:pt x="754" y="75"/>
                        <a:pt x="754" y="75"/>
                        <a:pt x="754" y="75"/>
                      </a:cubicBezTo>
                      <a:cubicBezTo>
                        <a:pt x="754" y="75"/>
                        <a:pt x="740" y="45"/>
                        <a:pt x="729" y="53"/>
                      </a:cubicBezTo>
                      <a:cubicBezTo>
                        <a:pt x="729" y="55"/>
                        <a:pt x="728" y="56"/>
                        <a:pt x="727" y="55"/>
                      </a:cubicBezTo>
                      <a:cubicBezTo>
                        <a:pt x="728" y="54"/>
                        <a:pt x="728" y="54"/>
                        <a:pt x="729" y="53"/>
                      </a:cubicBezTo>
                      <a:cubicBezTo>
                        <a:pt x="731" y="46"/>
                        <a:pt x="725" y="18"/>
                        <a:pt x="699" y="55"/>
                      </a:cubicBezTo>
                      <a:cubicBezTo>
                        <a:pt x="690" y="63"/>
                        <a:pt x="690" y="56"/>
                        <a:pt x="690" y="56"/>
                      </a:cubicBezTo>
                      <a:cubicBezTo>
                        <a:pt x="688" y="78"/>
                        <a:pt x="688" y="78"/>
                        <a:pt x="688" y="78"/>
                      </a:cubicBezTo>
                      <a:cubicBezTo>
                        <a:pt x="680" y="84"/>
                        <a:pt x="680" y="84"/>
                        <a:pt x="680" y="84"/>
                      </a:cubicBezTo>
                      <a:cubicBezTo>
                        <a:pt x="679" y="104"/>
                        <a:pt x="679" y="104"/>
                        <a:pt x="679" y="104"/>
                      </a:cubicBezTo>
                      <a:cubicBezTo>
                        <a:pt x="666" y="114"/>
                        <a:pt x="666" y="114"/>
                        <a:pt x="666" y="114"/>
                      </a:cubicBezTo>
                      <a:cubicBezTo>
                        <a:pt x="662" y="126"/>
                        <a:pt x="662" y="126"/>
                        <a:pt x="662" y="126"/>
                      </a:cubicBezTo>
                      <a:cubicBezTo>
                        <a:pt x="628" y="128"/>
                        <a:pt x="628" y="128"/>
                        <a:pt x="628" y="128"/>
                      </a:cubicBezTo>
                      <a:cubicBezTo>
                        <a:pt x="627" y="123"/>
                        <a:pt x="627" y="123"/>
                        <a:pt x="627" y="123"/>
                      </a:cubicBezTo>
                      <a:cubicBezTo>
                        <a:pt x="598" y="124"/>
                        <a:pt x="598" y="124"/>
                        <a:pt x="598" y="124"/>
                      </a:cubicBezTo>
                      <a:cubicBezTo>
                        <a:pt x="599" y="136"/>
                        <a:pt x="599" y="136"/>
                        <a:pt x="599" y="136"/>
                      </a:cubicBezTo>
                      <a:cubicBezTo>
                        <a:pt x="594" y="130"/>
                        <a:pt x="594" y="130"/>
                        <a:pt x="594" y="130"/>
                      </a:cubicBezTo>
                      <a:cubicBezTo>
                        <a:pt x="592" y="114"/>
                        <a:pt x="592" y="114"/>
                        <a:pt x="592" y="114"/>
                      </a:cubicBezTo>
                      <a:cubicBezTo>
                        <a:pt x="583" y="108"/>
                        <a:pt x="583" y="108"/>
                        <a:pt x="583" y="108"/>
                      </a:cubicBezTo>
                      <a:cubicBezTo>
                        <a:pt x="588" y="74"/>
                        <a:pt x="588" y="74"/>
                        <a:pt x="588" y="74"/>
                      </a:cubicBezTo>
                      <a:cubicBezTo>
                        <a:pt x="572" y="47"/>
                        <a:pt x="572" y="47"/>
                        <a:pt x="572" y="47"/>
                      </a:cubicBezTo>
                      <a:cubicBezTo>
                        <a:pt x="572" y="47"/>
                        <a:pt x="574" y="30"/>
                        <a:pt x="571" y="17"/>
                      </a:cubicBezTo>
                      <a:cubicBezTo>
                        <a:pt x="569" y="19"/>
                        <a:pt x="568" y="20"/>
                        <a:pt x="568" y="20"/>
                      </a:cubicBezTo>
                      <a:cubicBezTo>
                        <a:pt x="547" y="22"/>
                        <a:pt x="547" y="22"/>
                        <a:pt x="547" y="22"/>
                      </a:cubicBezTo>
                      <a:cubicBezTo>
                        <a:pt x="535" y="27"/>
                        <a:pt x="535" y="27"/>
                        <a:pt x="535" y="27"/>
                      </a:cubicBezTo>
                      <a:cubicBezTo>
                        <a:pt x="532" y="20"/>
                        <a:pt x="532" y="20"/>
                        <a:pt x="532" y="20"/>
                      </a:cubicBezTo>
                      <a:cubicBezTo>
                        <a:pt x="532" y="20"/>
                        <a:pt x="518" y="43"/>
                        <a:pt x="507" y="39"/>
                      </a:cubicBezTo>
                      <a:cubicBezTo>
                        <a:pt x="496" y="35"/>
                        <a:pt x="467" y="4"/>
                        <a:pt x="467" y="4"/>
                      </a:cubicBezTo>
                      <a:cubicBezTo>
                        <a:pt x="467" y="4"/>
                        <a:pt x="435" y="0"/>
                        <a:pt x="424" y="7"/>
                      </a:cubicBezTo>
                      <a:cubicBezTo>
                        <a:pt x="423" y="4"/>
                        <a:pt x="423" y="4"/>
                        <a:pt x="423" y="4"/>
                      </a:cubicBezTo>
                      <a:cubicBezTo>
                        <a:pt x="420" y="8"/>
                        <a:pt x="420" y="8"/>
                        <a:pt x="420" y="8"/>
                      </a:cubicBezTo>
                      <a:cubicBezTo>
                        <a:pt x="426" y="39"/>
                        <a:pt x="426" y="39"/>
                        <a:pt x="426" y="39"/>
                      </a:cubicBezTo>
                      <a:cubicBezTo>
                        <a:pt x="419" y="44"/>
                        <a:pt x="419" y="44"/>
                        <a:pt x="419" y="44"/>
                      </a:cubicBezTo>
                      <a:cubicBezTo>
                        <a:pt x="424" y="54"/>
                        <a:pt x="424" y="54"/>
                        <a:pt x="424" y="54"/>
                      </a:cubicBezTo>
                      <a:cubicBezTo>
                        <a:pt x="407" y="60"/>
                        <a:pt x="407" y="60"/>
                        <a:pt x="407" y="60"/>
                      </a:cubicBezTo>
                      <a:cubicBezTo>
                        <a:pt x="406" y="74"/>
                        <a:pt x="406" y="74"/>
                        <a:pt x="406" y="74"/>
                      </a:cubicBezTo>
                      <a:cubicBezTo>
                        <a:pt x="390" y="75"/>
                        <a:pt x="390" y="75"/>
                        <a:pt x="390" y="75"/>
                      </a:cubicBezTo>
                      <a:cubicBezTo>
                        <a:pt x="398" y="92"/>
                        <a:pt x="398" y="92"/>
                        <a:pt x="398" y="92"/>
                      </a:cubicBezTo>
                      <a:cubicBezTo>
                        <a:pt x="384" y="112"/>
                        <a:pt x="384" y="112"/>
                        <a:pt x="384" y="112"/>
                      </a:cubicBezTo>
                      <a:cubicBezTo>
                        <a:pt x="363" y="118"/>
                        <a:pt x="363" y="118"/>
                        <a:pt x="363" y="118"/>
                      </a:cubicBezTo>
                      <a:cubicBezTo>
                        <a:pt x="344" y="147"/>
                        <a:pt x="344" y="147"/>
                        <a:pt x="344" y="147"/>
                      </a:cubicBezTo>
                      <a:cubicBezTo>
                        <a:pt x="316" y="156"/>
                        <a:pt x="316" y="156"/>
                        <a:pt x="316" y="156"/>
                      </a:cubicBezTo>
                      <a:cubicBezTo>
                        <a:pt x="316" y="156"/>
                        <a:pt x="327" y="186"/>
                        <a:pt x="327" y="190"/>
                      </a:cubicBezTo>
                      <a:cubicBezTo>
                        <a:pt x="327" y="194"/>
                        <a:pt x="334" y="198"/>
                        <a:pt x="334" y="198"/>
                      </a:cubicBezTo>
                      <a:cubicBezTo>
                        <a:pt x="334" y="198"/>
                        <a:pt x="331" y="223"/>
                        <a:pt x="312" y="216"/>
                      </a:cubicBezTo>
                      <a:cubicBezTo>
                        <a:pt x="294" y="210"/>
                        <a:pt x="291" y="234"/>
                        <a:pt x="291" y="234"/>
                      </a:cubicBezTo>
                      <a:cubicBezTo>
                        <a:pt x="308" y="246"/>
                        <a:pt x="308" y="246"/>
                        <a:pt x="308" y="246"/>
                      </a:cubicBezTo>
                      <a:cubicBezTo>
                        <a:pt x="291" y="270"/>
                        <a:pt x="291" y="270"/>
                        <a:pt x="291" y="270"/>
                      </a:cubicBezTo>
                      <a:cubicBezTo>
                        <a:pt x="296" y="287"/>
                        <a:pt x="296" y="287"/>
                        <a:pt x="296" y="287"/>
                      </a:cubicBezTo>
                      <a:cubicBezTo>
                        <a:pt x="274" y="286"/>
                        <a:pt x="274" y="286"/>
                        <a:pt x="274" y="286"/>
                      </a:cubicBezTo>
                      <a:cubicBezTo>
                        <a:pt x="274" y="286"/>
                        <a:pt x="262" y="322"/>
                        <a:pt x="247" y="322"/>
                      </a:cubicBezTo>
                      <a:cubicBezTo>
                        <a:pt x="232" y="322"/>
                        <a:pt x="227" y="306"/>
                        <a:pt x="227" y="306"/>
                      </a:cubicBezTo>
                      <a:cubicBezTo>
                        <a:pt x="214" y="311"/>
                        <a:pt x="214" y="311"/>
                        <a:pt x="214" y="311"/>
                      </a:cubicBezTo>
                      <a:cubicBezTo>
                        <a:pt x="214" y="311"/>
                        <a:pt x="183" y="326"/>
                        <a:pt x="168" y="327"/>
                      </a:cubicBezTo>
                      <a:cubicBezTo>
                        <a:pt x="154" y="328"/>
                        <a:pt x="140" y="319"/>
                        <a:pt x="140" y="319"/>
                      </a:cubicBezTo>
                      <a:cubicBezTo>
                        <a:pt x="127" y="328"/>
                        <a:pt x="127" y="328"/>
                        <a:pt x="127" y="328"/>
                      </a:cubicBezTo>
                      <a:cubicBezTo>
                        <a:pt x="118" y="326"/>
                        <a:pt x="118" y="326"/>
                        <a:pt x="118" y="326"/>
                      </a:cubicBezTo>
                      <a:cubicBezTo>
                        <a:pt x="118" y="326"/>
                        <a:pt x="103" y="338"/>
                        <a:pt x="104" y="343"/>
                      </a:cubicBezTo>
                      <a:cubicBezTo>
                        <a:pt x="106" y="348"/>
                        <a:pt x="112" y="362"/>
                        <a:pt x="104" y="359"/>
                      </a:cubicBezTo>
                      <a:cubicBezTo>
                        <a:pt x="96" y="356"/>
                        <a:pt x="91" y="348"/>
                        <a:pt x="88" y="342"/>
                      </a:cubicBezTo>
                      <a:cubicBezTo>
                        <a:pt x="86" y="335"/>
                        <a:pt x="83" y="335"/>
                        <a:pt x="83" y="335"/>
                      </a:cubicBezTo>
                      <a:cubicBezTo>
                        <a:pt x="83" y="335"/>
                        <a:pt x="74" y="344"/>
                        <a:pt x="67" y="344"/>
                      </a:cubicBezTo>
                      <a:cubicBezTo>
                        <a:pt x="60" y="344"/>
                        <a:pt x="38" y="358"/>
                        <a:pt x="38" y="358"/>
                      </a:cubicBezTo>
                      <a:cubicBezTo>
                        <a:pt x="42" y="390"/>
                        <a:pt x="42" y="390"/>
                        <a:pt x="42" y="390"/>
                      </a:cubicBezTo>
                      <a:cubicBezTo>
                        <a:pt x="38" y="387"/>
                        <a:pt x="38" y="387"/>
                        <a:pt x="38" y="387"/>
                      </a:cubicBezTo>
                      <a:cubicBezTo>
                        <a:pt x="43" y="408"/>
                        <a:pt x="43" y="408"/>
                        <a:pt x="43" y="408"/>
                      </a:cubicBezTo>
                      <a:cubicBezTo>
                        <a:pt x="30" y="423"/>
                        <a:pt x="30" y="423"/>
                        <a:pt x="30" y="423"/>
                      </a:cubicBezTo>
                      <a:cubicBezTo>
                        <a:pt x="31" y="442"/>
                        <a:pt x="31" y="442"/>
                        <a:pt x="31" y="442"/>
                      </a:cubicBezTo>
                      <a:cubicBezTo>
                        <a:pt x="22" y="446"/>
                        <a:pt x="22" y="446"/>
                        <a:pt x="22" y="446"/>
                      </a:cubicBezTo>
                      <a:cubicBezTo>
                        <a:pt x="34" y="458"/>
                        <a:pt x="34" y="458"/>
                        <a:pt x="34" y="458"/>
                      </a:cubicBezTo>
                      <a:cubicBezTo>
                        <a:pt x="34" y="458"/>
                        <a:pt x="72" y="471"/>
                        <a:pt x="76" y="480"/>
                      </a:cubicBezTo>
                      <a:cubicBezTo>
                        <a:pt x="80" y="490"/>
                        <a:pt x="83" y="494"/>
                        <a:pt x="83" y="494"/>
                      </a:cubicBezTo>
                      <a:cubicBezTo>
                        <a:pt x="72" y="498"/>
                        <a:pt x="72" y="498"/>
                        <a:pt x="72" y="498"/>
                      </a:cubicBezTo>
                      <a:cubicBezTo>
                        <a:pt x="72" y="514"/>
                        <a:pt x="72" y="514"/>
                        <a:pt x="72" y="514"/>
                      </a:cubicBezTo>
                      <a:cubicBezTo>
                        <a:pt x="88" y="508"/>
                        <a:pt x="88" y="508"/>
                        <a:pt x="88" y="508"/>
                      </a:cubicBezTo>
                      <a:cubicBezTo>
                        <a:pt x="90" y="538"/>
                        <a:pt x="90" y="538"/>
                        <a:pt x="90" y="538"/>
                      </a:cubicBezTo>
                      <a:cubicBezTo>
                        <a:pt x="78" y="543"/>
                        <a:pt x="78" y="543"/>
                        <a:pt x="78" y="543"/>
                      </a:cubicBezTo>
                      <a:cubicBezTo>
                        <a:pt x="78" y="543"/>
                        <a:pt x="72" y="555"/>
                        <a:pt x="79" y="563"/>
                      </a:cubicBezTo>
                      <a:cubicBezTo>
                        <a:pt x="79" y="568"/>
                        <a:pt x="67" y="578"/>
                        <a:pt x="67" y="578"/>
                      </a:cubicBezTo>
                      <a:cubicBezTo>
                        <a:pt x="67" y="588"/>
                        <a:pt x="67" y="588"/>
                        <a:pt x="67" y="588"/>
                      </a:cubicBezTo>
                      <a:cubicBezTo>
                        <a:pt x="58" y="588"/>
                        <a:pt x="58" y="588"/>
                        <a:pt x="58" y="588"/>
                      </a:cubicBezTo>
                      <a:cubicBezTo>
                        <a:pt x="38" y="614"/>
                        <a:pt x="38" y="614"/>
                        <a:pt x="38" y="614"/>
                      </a:cubicBezTo>
                      <a:cubicBezTo>
                        <a:pt x="38" y="632"/>
                        <a:pt x="38" y="632"/>
                        <a:pt x="38" y="632"/>
                      </a:cubicBezTo>
                      <a:cubicBezTo>
                        <a:pt x="22" y="634"/>
                        <a:pt x="22" y="634"/>
                        <a:pt x="22" y="634"/>
                      </a:cubicBezTo>
                      <a:cubicBezTo>
                        <a:pt x="0" y="699"/>
                        <a:pt x="0" y="699"/>
                        <a:pt x="0" y="699"/>
                      </a:cubicBezTo>
                      <a:cubicBezTo>
                        <a:pt x="0" y="699"/>
                        <a:pt x="1" y="701"/>
                        <a:pt x="1" y="705"/>
                      </a:cubicBezTo>
                      <a:cubicBezTo>
                        <a:pt x="24" y="689"/>
                        <a:pt x="48" y="712"/>
                        <a:pt x="48" y="712"/>
                      </a:cubicBezTo>
                      <a:cubicBezTo>
                        <a:pt x="53" y="712"/>
                        <a:pt x="53" y="712"/>
                        <a:pt x="53" y="712"/>
                      </a:cubicBezTo>
                      <a:cubicBezTo>
                        <a:pt x="79" y="748"/>
                        <a:pt x="79" y="748"/>
                        <a:pt x="79" y="748"/>
                      </a:cubicBezTo>
                      <a:cubicBezTo>
                        <a:pt x="119" y="746"/>
                        <a:pt x="119" y="746"/>
                        <a:pt x="119" y="746"/>
                      </a:cubicBezTo>
                      <a:cubicBezTo>
                        <a:pt x="129" y="735"/>
                        <a:pt x="129" y="735"/>
                        <a:pt x="129" y="735"/>
                      </a:cubicBezTo>
                      <a:cubicBezTo>
                        <a:pt x="129" y="735"/>
                        <a:pt x="153" y="752"/>
                        <a:pt x="162" y="757"/>
                      </a:cubicBezTo>
                      <a:cubicBezTo>
                        <a:pt x="170" y="733"/>
                        <a:pt x="192" y="748"/>
                        <a:pt x="192" y="748"/>
                      </a:cubicBezTo>
                      <a:cubicBezTo>
                        <a:pt x="192" y="748"/>
                        <a:pt x="239" y="752"/>
                        <a:pt x="245" y="753"/>
                      </a:cubicBezTo>
                      <a:cubicBezTo>
                        <a:pt x="251" y="754"/>
                        <a:pt x="245" y="741"/>
                        <a:pt x="245" y="741"/>
                      </a:cubicBezTo>
                      <a:cubicBezTo>
                        <a:pt x="234" y="718"/>
                        <a:pt x="253" y="691"/>
                        <a:pt x="253" y="691"/>
                      </a:cubicBezTo>
                      <a:cubicBezTo>
                        <a:pt x="253" y="691"/>
                        <a:pt x="302" y="721"/>
                        <a:pt x="321" y="721"/>
                      </a:cubicBezTo>
                      <a:cubicBezTo>
                        <a:pt x="340" y="721"/>
                        <a:pt x="364" y="744"/>
                        <a:pt x="364" y="744"/>
                      </a:cubicBezTo>
                      <a:cubicBezTo>
                        <a:pt x="398" y="728"/>
                        <a:pt x="420" y="779"/>
                        <a:pt x="421" y="782"/>
                      </a:cubicBezTo>
                      <a:cubicBezTo>
                        <a:pt x="442" y="756"/>
                        <a:pt x="467" y="782"/>
                        <a:pt x="467" y="782"/>
                      </a:cubicBezTo>
                      <a:cubicBezTo>
                        <a:pt x="479" y="774"/>
                        <a:pt x="479" y="774"/>
                        <a:pt x="479" y="774"/>
                      </a:cubicBezTo>
                      <a:cubicBezTo>
                        <a:pt x="479" y="774"/>
                        <a:pt x="488" y="786"/>
                        <a:pt x="491" y="794"/>
                      </a:cubicBezTo>
                      <a:cubicBezTo>
                        <a:pt x="492" y="791"/>
                        <a:pt x="492" y="791"/>
                        <a:pt x="492" y="791"/>
                      </a:cubicBezTo>
                      <a:cubicBezTo>
                        <a:pt x="516" y="792"/>
                        <a:pt x="516" y="792"/>
                        <a:pt x="516" y="792"/>
                      </a:cubicBezTo>
                      <a:cubicBezTo>
                        <a:pt x="523" y="783"/>
                        <a:pt x="523" y="783"/>
                        <a:pt x="523" y="783"/>
                      </a:cubicBezTo>
                      <a:cubicBezTo>
                        <a:pt x="544" y="778"/>
                        <a:pt x="544" y="778"/>
                        <a:pt x="544" y="778"/>
                      </a:cubicBezTo>
                      <a:cubicBezTo>
                        <a:pt x="542" y="766"/>
                        <a:pt x="542" y="766"/>
                        <a:pt x="542" y="766"/>
                      </a:cubicBezTo>
                      <a:cubicBezTo>
                        <a:pt x="586" y="764"/>
                        <a:pt x="586" y="764"/>
                        <a:pt x="586" y="764"/>
                      </a:cubicBezTo>
                      <a:cubicBezTo>
                        <a:pt x="586" y="764"/>
                        <a:pt x="588" y="758"/>
                        <a:pt x="567" y="736"/>
                      </a:cubicBezTo>
                      <a:cubicBezTo>
                        <a:pt x="514" y="740"/>
                        <a:pt x="528" y="720"/>
                        <a:pt x="528" y="720"/>
                      </a:cubicBezTo>
                      <a:cubicBezTo>
                        <a:pt x="519" y="716"/>
                        <a:pt x="519" y="716"/>
                        <a:pt x="519" y="716"/>
                      </a:cubicBezTo>
                      <a:cubicBezTo>
                        <a:pt x="520" y="702"/>
                        <a:pt x="520" y="702"/>
                        <a:pt x="520" y="702"/>
                      </a:cubicBezTo>
                      <a:cubicBezTo>
                        <a:pt x="520" y="702"/>
                        <a:pt x="543" y="696"/>
                        <a:pt x="543" y="692"/>
                      </a:cubicBezTo>
                      <a:cubicBezTo>
                        <a:pt x="543" y="688"/>
                        <a:pt x="546" y="678"/>
                        <a:pt x="546" y="678"/>
                      </a:cubicBezTo>
                      <a:cubicBezTo>
                        <a:pt x="530" y="674"/>
                        <a:pt x="530" y="674"/>
                        <a:pt x="530" y="674"/>
                      </a:cubicBezTo>
                      <a:cubicBezTo>
                        <a:pt x="544" y="667"/>
                        <a:pt x="544" y="667"/>
                        <a:pt x="544" y="667"/>
                      </a:cubicBezTo>
                      <a:cubicBezTo>
                        <a:pt x="544" y="667"/>
                        <a:pt x="528" y="640"/>
                        <a:pt x="534" y="635"/>
                      </a:cubicBezTo>
                      <a:cubicBezTo>
                        <a:pt x="539" y="630"/>
                        <a:pt x="530" y="614"/>
                        <a:pt x="530" y="614"/>
                      </a:cubicBezTo>
                      <a:cubicBezTo>
                        <a:pt x="480" y="595"/>
                        <a:pt x="480" y="595"/>
                        <a:pt x="480" y="595"/>
                      </a:cubicBezTo>
                      <a:cubicBezTo>
                        <a:pt x="480" y="595"/>
                        <a:pt x="478" y="576"/>
                        <a:pt x="484" y="576"/>
                      </a:cubicBezTo>
                      <a:cubicBezTo>
                        <a:pt x="466" y="554"/>
                        <a:pt x="500" y="548"/>
                        <a:pt x="503" y="543"/>
                      </a:cubicBezTo>
                      <a:cubicBezTo>
                        <a:pt x="503" y="518"/>
                        <a:pt x="515" y="510"/>
                        <a:pt x="515" y="510"/>
                      </a:cubicBezTo>
                      <a:cubicBezTo>
                        <a:pt x="528" y="531"/>
                        <a:pt x="528" y="531"/>
                        <a:pt x="528" y="531"/>
                      </a:cubicBezTo>
                      <a:cubicBezTo>
                        <a:pt x="534" y="518"/>
                        <a:pt x="534" y="518"/>
                        <a:pt x="534" y="518"/>
                      </a:cubicBezTo>
                      <a:cubicBezTo>
                        <a:pt x="562" y="519"/>
                        <a:pt x="562" y="519"/>
                        <a:pt x="562" y="519"/>
                      </a:cubicBezTo>
                      <a:cubicBezTo>
                        <a:pt x="562" y="519"/>
                        <a:pt x="563" y="530"/>
                        <a:pt x="568" y="528"/>
                      </a:cubicBezTo>
                      <a:cubicBezTo>
                        <a:pt x="574" y="527"/>
                        <a:pt x="596" y="532"/>
                        <a:pt x="596" y="532"/>
                      </a:cubicBezTo>
                      <a:cubicBezTo>
                        <a:pt x="596" y="499"/>
                        <a:pt x="639" y="522"/>
                        <a:pt x="639" y="522"/>
                      </a:cubicBezTo>
                      <a:cubicBezTo>
                        <a:pt x="639" y="522"/>
                        <a:pt x="631" y="510"/>
                        <a:pt x="664" y="515"/>
                      </a:cubicBezTo>
                      <a:cubicBezTo>
                        <a:pt x="698" y="520"/>
                        <a:pt x="698" y="492"/>
                        <a:pt x="707" y="487"/>
                      </a:cubicBezTo>
                      <a:cubicBezTo>
                        <a:pt x="668" y="448"/>
                        <a:pt x="719" y="450"/>
                        <a:pt x="719" y="450"/>
                      </a:cubicBezTo>
                      <a:cubicBezTo>
                        <a:pt x="719" y="450"/>
                        <a:pt x="742" y="450"/>
                        <a:pt x="763" y="440"/>
                      </a:cubicBezTo>
                      <a:cubicBezTo>
                        <a:pt x="772" y="422"/>
                        <a:pt x="794" y="428"/>
                        <a:pt x="794" y="428"/>
                      </a:cubicBezTo>
                      <a:cubicBezTo>
                        <a:pt x="795" y="388"/>
                        <a:pt x="795" y="388"/>
                        <a:pt x="795" y="388"/>
                      </a:cubicBezTo>
                      <a:cubicBezTo>
                        <a:pt x="839" y="387"/>
                        <a:pt x="839" y="387"/>
                        <a:pt x="839" y="387"/>
                      </a:cubicBezTo>
                      <a:cubicBezTo>
                        <a:pt x="839" y="370"/>
                        <a:pt x="839" y="370"/>
                        <a:pt x="839" y="370"/>
                      </a:cubicBezTo>
                      <a:cubicBezTo>
                        <a:pt x="860" y="368"/>
                        <a:pt x="860" y="368"/>
                        <a:pt x="860" y="368"/>
                      </a:cubicBezTo>
                      <a:cubicBezTo>
                        <a:pt x="863" y="351"/>
                        <a:pt x="863" y="351"/>
                        <a:pt x="863" y="351"/>
                      </a:cubicBezTo>
                      <a:cubicBezTo>
                        <a:pt x="884" y="326"/>
                        <a:pt x="884" y="326"/>
                        <a:pt x="884" y="326"/>
                      </a:cubicBezTo>
                      <a:lnTo>
                        <a:pt x="871" y="318"/>
                      </a:ln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98" name="Aquitaine" descr="© INSCALE GmbH, 05.05.2010&#10;http://www.presentationload.com/">
                  <a:extLst>
                    <a:ext uri="{FF2B5EF4-FFF2-40B4-BE49-F238E27FC236}">
                      <a16:creationId xmlns:a16="http://schemas.microsoft.com/office/drawing/2014/main" id="{7EEA6AA9-0E27-45C9-946A-DEA14C19077A}"/>
                    </a:ext>
                  </a:extLst>
                </p:cNvPr>
                <p:cNvSpPr>
                  <a:spLocks/>
                </p:cNvSpPr>
                <p:nvPr/>
              </p:nvSpPr>
              <p:spPr bwMode="gray">
                <a:xfrm>
                  <a:off x="758" y="1992"/>
                  <a:ext cx="793" cy="1021"/>
                </a:xfrm>
                <a:custGeom>
                  <a:avLst/>
                  <a:gdLst/>
                  <a:ahLst/>
                  <a:cxnLst>
                    <a:cxn ang="0">
                      <a:pos x="347" y="849"/>
                    </a:cxn>
                    <a:cxn ang="0">
                      <a:pos x="376" y="813"/>
                    </a:cxn>
                    <a:cxn ang="0">
                      <a:pos x="399" y="773"/>
                    </a:cxn>
                    <a:cxn ang="0">
                      <a:pos x="381" y="733"/>
                    </a:cxn>
                    <a:cxn ang="0">
                      <a:pos x="343" y="693"/>
                    </a:cxn>
                    <a:cxn ang="0">
                      <a:pos x="339" y="658"/>
                    </a:cxn>
                    <a:cxn ang="0">
                      <a:pos x="351" y="625"/>
                    </a:cxn>
                    <a:cxn ang="0">
                      <a:pos x="392" y="570"/>
                    </a:cxn>
                    <a:cxn ang="0">
                      <a:pos x="413" y="578"/>
                    </a:cxn>
                    <a:cxn ang="0">
                      <a:pos x="449" y="554"/>
                    </a:cxn>
                    <a:cxn ang="0">
                      <a:pos x="536" y="541"/>
                    </a:cxn>
                    <a:cxn ang="0">
                      <a:pos x="605" y="522"/>
                    </a:cxn>
                    <a:cxn ang="0">
                      <a:pos x="600" y="469"/>
                    </a:cxn>
                    <a:cxn ang="0">
                      <a:pos x="636" y="425"/>
                    </a:cxn>
                    <a:cxn ang="0">
                      <a:pos x="672" y="353"/>
                    </a:cxn>
                    <a:cxn ang="0">
                      <a:pos x="699" y="310"/>
                    </a:cxn>
                    <a:cxn ang="0">
                      <a:pos x="733" y="289"/>
                    </a:cxn>
                    <a:cxn ang="0">
                      <a:pos x="729" y="243"/>
                    </a:cxn>
                    <a:cxn ang="0">
                      <a:pos x="727" y="207"/>
                    </a:cxn>
                    <a:cxn ang="0">
                      <a:pos x="692" y="183"/>
                    </a:cxn>
                    <a:cxn ang="0">
                      <a:pos x="691" y="150"/>
                    </a:cxn>
                    <a:cxn ang="0">
                      <a:pos x="700" y="117"/>
                    </a:cxn>
                    <a:cxn ang="0">
                      <a:pos x="655" y="74"/>
                    </a:cxn>
                    <a:cxn ang="0">
                      <a:pos x="589" y="58"/>
                    </a:cxn>
                    <a:cxn ang="0">
                      <a:pos x="540" y="43"/>
                    </a:cxn>
                    <a:cxn ang="0">
                      <a:pos x="519" y="74"/>
                    </a:cxn>
                    <a:cxn ang="0">
                      <a:pos x="464" y="147"/>
                    </a:cxn>
                    <a:cxn ang="0">
                      <a:pos x="407" y="202"/>
                    </a:cxn>
                    <a:cxn ang="0">
                      <a:pos x="319" y="169"/>
                    </a:cxn>
                    <a:cxn ang="0">
                      <a:pos x="265" y="131"/>
                    </a:cxn>
                    <a:cxn ang="0">
                      <a:pos x="279" y="178"/>
                    </a:cxn>
                    <a:cxn ang="0">
                      <a:pos x="239" y="76"/>
                    </a:cxn>
                    <a:cxn ang="0">
                      <a:pos x="185" y="0"/>
                    </a:cxn>
                    <a:cxn ang="0">
                      <a:pos x="133" y="309"/>
                    </a:cxn>
                    <a:cxn ang="0">
                      <a:pos x="147" y="302"/>
                    </a:cxn>
                    <a:cxn ang="0">
                      <a:pos x="23" y="730"/>
                    </a:cxn>
                    <a:cxn ang="0">
                      <a:pos x="34" y="764"/>
                    </a:cxn>
                    <a:cxn ang="0">
                      <a:pos x="86" y="787"/>
                    </a:cxn>
                    <a:cxn ang="0">
                      <a:pos x="110" y="831"/>
                    </a:cxn>
                    <a:cxn ang="0">
                      <a:pos x="142" y="869"/>
                    </a:cxn>
                    <a:cxn ang="0">
                      <a:pos x="228" y="882"/>
                    </a:cxn>
                    <a:cxn ang="0">
                      <a:pos x="293" y="943"/>
                    </a:cxn>
                    <a:cxn ang="0">
                      <a:pos x="309" y="934"/>
                    </a:cxn>
                  </a:cxnLst>
                  <a:rect l="0" t="0" r="r" b="b"/>
                  <a:pathLst>
                    <a:path w="735" h="946">
                      <a:moveTo>
                        <a:pt x="331" y="869"/>
                      </a:moveTo>
                      <a:cubicBezTo>
                        <a:pt x="347" y="867"/>
                        <a:pt x="347" y="867"/>
                        <a:pt x="347" y="867"/>
                      </a:cubicBezTo>
                      <a:cubicBezTo>
                        <a:pt x="347" y="849"/>
                        <a:pt x="347" y="849"/>
                        <a:pt x="347" y="849"/>
                      </a:cubicBezTo>
                      <a:cubicBezTo>
                        <a:pt x="367" y="823"/>
                        <a:pt x="367" y="823"/>
                        <a:pt x="367" y="823"/>
                      </a:cubicBezTo>
                      <a:cubicBezTo>
                        <a:pt x="376" y="823"/>
                        <a:pt x="376" y="823"/>
                        <a:pt x="376" y="823"/>
                      </a:cubicBezTo>
                      <a:cubicBezTo>
                        <a:pt x="376" y="813"/>
                        <a:pt x="376" y="813"/>
                        <a:pt x="376" y="813"/>
                      </a:cubicBezTo>
                      <a:cubicBezTo>
                        <a:pt x="376" y="813"/>
                        <a:pt x="388" y="803"/>
                        <a:pt x="388" y="798"/>
                      </a:cubicBezTo>
                      <a:cubicBezTo>
                        <a:pt x="381" y="790"/>
                        <a:pt x="387" y="778"/>
                        <a:pt x="387" y="778"/>
                      </a:cubicBezTo>
                      <a:cubicBezTo>
                        <a:pt x="399" y="773"/>
                        <a:pt x="399" y="773"/>
                        <a:pt x="399" y="773"/>
                      </a:cubicBezTo>
                      <a:cubicBezTo>
                        <a:pt x="397" y="743"/>
                        <a:pt x="397" y="743"/>
                        <a:pt x="397" y="743"/>
                      </a:cubicBezTo>
                      <a:cubicBezTo>
                        <a:pt x="381" y="749"/>
                        <a:pt x="381" y="749"/>
                        <a:pt x="381" y="749"/>
                      </a:cubicBezTo>
                      <a:cubicBezTo>
                        <a:pt x="381" y="733"/>
                        <a:pt x="381" y="733"/>
                        <a:pt x="381" y="733"/>
                      </a:cubicBezTo>
                      <a:cubicBezTo>
                        <a:pt x="392" y="729"/>
                        <a:pt x="392" y="729"/>
                        <a:pt x="392" y="729"/>
                      </a:cubicBezTo>
                      <a:cubicBezTo>
                        <a:pt x="392" y="729"/>
                        <a:pt x="389" y="725"/>
                        <a:pt x="385" y="715"/>
                      </a:cubicBezTo>
                      <a:cubicBezTo>
                        <a:pt x="381" y="706"/>
                        <a:pt x="343" y="693"/>
                        <a:pt x="343" y="693"/>
                      </a:cubicBezTo>
                      <a:cubicBezTo>
                        <a:pt x="331" y="681"/>
                        <a:pt x="331" y="681"/>
                        <a:pt x="331" y="681"/>
                      </a:cubicBezTo>
                      <a:cubicBezTo>
                        <a:pt x="340" y="677"/>
                        <a:pt x="340" y="677"/>
                        <a:pt x="340" y="677"/>
                      </a:cubicBezTo>
                      <a:cubicBezTo>
                        <a:pt x="339" y="658"/>
                        <a:pt x="339" y="658"/>
                        <a:pt x="339" y="658"/>
                      </a:cubicBezTo>
                      <a:cubicBezTo>
                        <a:pt x="352" y="643"/>
                        <a:pt x="352" y="643"/>
                        <a:pt x="352" y="643"/>
                      </a:cubicBezTo>
                      <a:cubicBezTo>
                        <a:pt x="347" y="622"/>
                        <a:pt x="347" y="622"/>
                        <a:pt x="347" y="622"/>
                      </a:cubicBezTo>
                      <a:cubicBezTo>
                        <a:pt x="351" y="625"/>
                        <a:pt x="351" y="625"/>
                        <a:pt x="351" y="625"/>
                      </a:cubicBezTo>
                      <a:cubicBezTo>
                        <a:pt x="347" y="593"/>
                        <a:pt x="347" y="593"/>
                        <a:pt x="347" y="593"/>
                      </a:cubicBezTo>
                      <a:cubicBezTo>
                        <a:pt x="347" y="593"/>
                        <a:pt x="369" y="579"/>
                        <a:pt x="376" y="579"/>
                      </a:cubicBezTo>
                      <a:cubicBezTo>
                        <a:pt x="383" y="579"/>
                        <a:pt x="392" y="570"/>
                        <a:pt x="392" y="570"/>
                      </a:cubicBezTo>
                      <a:cubicBezTo>
                        <a:pt x="392" y="570"/>
                        <a:pt x="395" y="570"/>
                        <a:pt x="397" y="577"/>
                      </a:cubicBezTo>
                      <a:cubicBezTo>
                        <a:pt x="400" y="583"/>
                        <a:pt x="405" y="591"/>
                        <a:pt x="413" y="594"/>
                      </a:cubicBezTo>
                      <a:cubicBezTo>
                        <a:pt x="421" y="597"/>
                        <a:pt x="415" y="583"/>
                        <a:pt x="413" y="578"/>
                      </a:cubicBezTo>
                      <a:cubicBezTo>
                        <a:pt x="412" y="573"/>
                        <a:pt x="427" y="561"/>
                        <a:pt x="427" y="561"/>
                      </a:cubicBezTo>
                      <a:cubicBezTo>
                        <a:pt x="436" y="563"/>
                        <a:pt x="436" y="563"/>
                        <a:pt x="436" y="563"/>
                      </a:cubicBezTo>
                      <a:cubicBezTo>
                        <a:pt x="449" y="554"/>
                        <a:pt x="449" y="554"/>
                        <a:pt x="449" y="554"/>
                      </a:cubicBezTo>
                      <a:cubicBezTo>
                        <a:pt x="449" y="554"/>
                        <a:pt x="463" y="563"/>
                        <a:pt x="477" y="562"/>
                      </a:cubicBezTo>
                      <a:cubicBezTo>
                        <a:pt x="492" y="561"/>
                        <a:pt x="523" y="546"/>
                        <a:pt x="523" y="546"/>
                      </a:cubicBezTo>
                      <a:cubicBezTo>
                        <a:pt x="536" y="541"/>
                        <a:pt x="536" y="541"/>
                        <a:pt x="536" y="541"/>
                      </a:cubicBezTo>
                      <a:cubicBezTo>
                        <a:pt x="536" y="541"/>
                        <a:pt x="541" y="557"/>
                        <a:pt x="556" y="557"/>
                      </a:cubicBezTo>
                      <a:cubicBezTo>
                        <a:pt x="571" y="557"/>
                        <a:pt x="583" y="521"/>
                        <a:pt x="583" y="521"/>
                      </a:cubicBezTo>
                      <a:cubicBezTo>
                        <a:pt x="605" y="522"/>
                        <a:pt x="605" y="522"/>
                        <a:pt x="605" y="522"/>
                      </a:cubicBezTo>
                      <a:cubicBezTo>
                        <a:pt x="600" y="505"/>
                        <a:pt x="600" y="505"/>
                        <a:pt x="600" y="505"/>
                      </a:cubicBezTo>
                      <a:cubicBezTo>
                        <a:pt x="617" y="481"/>
                        <a:pt x="617" y="481"/>
                        <a:pt x="617" y="481"/>
                      </a:cubicBezTo>
                      <a:cubicBezTo>
                        <a:pt x="600" y="469"/>
                        <a:pt x="600" y="469"/>
                        <a:pt x="600" y="469"/>
                      </a:cubicBezTo>
                      <a:cubicBezTo>
                        <a:pt x="600" y="469"/>
                        <a:pt x="603" y="445"/>
                        <a:pt x="621" y="451"/>
                      </a:cubicBezTo>
                      <a:cubicBezTo>
                        <a:pt x="640" y="458"/>
                        <a:pt x="643" y="433"/>
                        <a:pt x="643" y="433"/>
                      </a:cubicBezTo>
                      <a:cubicBezTo>
                        <a:pt x="643" y="433"/>
                        <a:pt x="636" y="429"/>
                        <a:pt x="636" y="425"/>
                      </a:cubicBezTo>
                      <a:cubicBezTo>
                        <a:pt x="636" y="421"/>
                        <a:pt x="625" y="391"/>
                        <a:pt x="625" y="391"/>
                      </a:cubicBezTo>
                      <a:cubicBezTo>
                        <a:pt x="653" y="382"/>
                        <a:pt x="653" y="382"/>
                        <a:pt x="653" y="382"/>
                      </a:cubicBezTo>
                      <a:cubicBezTo>
                        <a:pt x="672" y="353"/>
                        <a:pt x="672" y="353"/>
                        <a:pt x="672" y="353"/>
                      </a:cubicBezTo>
                      <a:cubicBezTo>
                        <a:pt x="693" y="347"/>
                        <a:pt x="693" y="347"/>
                        <a:pt x="693" y="347"/>
                      </a:cubicBezTo>
                      <a:cubicBezTo>
                        <a:pt x="707" y="327"/>
                        <a:pt x="707" y="327"/>
                        <a:pt x="707" y="327"/>
                      </a:cubicBezTo>
                      <a:cubicBezTo>
                        <a:pt x="699" y="310"/>
                        <a:pt x="699" y="310"/>
                        <a:pt x="699" y="310"/>
                      </a:cubicBezTo>
                      <a:cubicBezTo>
                        <a:pt x="715" y="309"/>
                        <a:pt x="715" y="309"/>
                        <a:pt x="715" y="309"/>
                      </a:cubicBezTo>
                      <a:cubicBezTo>
                        <a:pt x="716" y="295"/>
                        <a:pt x="716" y="295"/>
                        <a:pt x="716" y="295"/>
                      </a:cubicBezTo>
                      <a:cubicBezTo>
                        <a:pt x="733" y="289"/>
                        <a:pt x="733" y="289"/>
                        <a:pt x="733" y="289"/>
                      </a:cubicBezTo>
                      <a:cubicBezTo>
                        <a:pt x="728" y="279"/>
                        <a:pt x="728" y="279"/>
                        <a:pt x="728" y="279"/>
                      </a:cubicBezTo>
                      <a:cubicBezTo>
                        <a:pt x="735" y="274"/>
                        <a:pt x="735" y="274"/>
                        <a:pt x="735" y="274"/>
                      </a:cubicBezTo>
                      <a:cubicBezTo>
                        <a:pt x="729" y="243"/>
                        <a:pt x="729" y="243"/>
                        <a:pt x="729" y="243"/>
                      </a:cubicBezTo>
                      <a:cubicBezTo>
                        <a:pt x="732" y="239"/>
                        <a:pt x="732" y="239"/>
                        <a:pt x="732" y="239"/>
                      </a:cubicBezTo>
                      <a:cubicBezTo>
                        <a:pt x="721" y="217"/>
                        <a:pt x="721" y="217"/>
                        <a:pt x="721" y="217"/>
                      </a:cubicBezTo>
                      <a:cubicBezTo>
                        <a:pt x="727" y="207"/>
                        <a:pt x="727" y="207"/>
                        <a:pt x="727" y="207"/>
                      </a:cubicBezTo>
                      <a:cubicBezTo>
                        <a:pt x="696" y="195"/>
                        <a:pt x="696" y="195"/>
                        <a:pt x="696" y="195"/>
                      </a:cubicBezTo>
                      <a:cubicBezTo>
                        <a:pt x="700" y="185"/>
                        <a:pt x="700" y="185"/>
                        <a:pt x="700" y="185"/>
                      </a:cubicBezTo>
                      <a:cubicBezTo>
                        <a:pt x="692" y="183"/>
                        <a:pt x="692" y="183"/>
                        <a:pt x="692" y="183"/>
                      </a:cubicBezTo>
                      <a:cubicBezTo>
                        <a:pt x="699" y="167"/>
                        <a:pt x="699" y="167"/>
                        <a:pt x="699" y="167"/>
                      </a:cubicBezTo>
                      <a:cubicBezTo>
                        <a:pt x="691" y="161"/>
                        <a:pt x="691" y="161"/>
                        <a:pt x="691" y="161"/>
                      </a:cubicBezTo>
                      <a:cubicBezTo>
                        <a:pt x="691" y="150"/>
                        <a:pt x="691" y="150"/>
                        <a:pt x="691" y="150"/>
                      </a:cubicBezTo>
                      <a:cubicBezTo>
                        <a:pt x="691" y="150"/>
                        <a:pt x="707" y="135"/>
                        <a:pt x="707" y="129"/>
                      </a:cubicBezTo>
                      <a:cubicBezTo>
                        <a:pt x="707" y="122"/>
                        <a:pt x="693" y="118"/>
                        <a:pt x="693" y="118"/>
                      </a:cubicBezTo>
                      <a:cubicBezTo>
                        <a:pt x="700" y="117"/>
                        <a:pt x="700" y="117"/>
                        <a:pt x="700" y="117"/>
                      </a:cubicBezTo>
                      <a:cubicBezTo>
                        <a:pt x="668" y="95"/>
                        <a:pt x="668" y="95"/>
                        <a:pt x="668" y="95"/>
                      </a:cubicBezTo>
                      <a:cubicBezTo>
                        <a:pt x="673" y="75"/>
                        <a:pt x="673" y="75"/>
                        <a:pt x="673" y="75"/>
                      </a:cubicBezTo>
                      <a:cubicBezTo>
                        <a:pt x="673" y="75"/>
                        <a:pt x="661" y="74"/>
                        <a:pt x="655" y="74"/>
                      </a:cubicBezTo>
                      <a:cubicBezTo>
                        <a:pt x="648" y="74"/>
                        <a:pt x="643" y="51"/>
                        <a:pt x="643" y="51"/>
                      </a:cubicBezTo>
                      <a:cubicBezTo>
                        <a:pt x="608" y="47"/>
                        <a:pt x="608" y="47"/>
                        <a:pt x="608" y="47"/>
                      </a:cubicBezTo>
                      <a:cubicBezTo>
                        <a:pt x="608" y="47"/>
                        <a:pt x="596" y="62"/>
                        <a:pt x="589" y="58"/>
                      </a:cubicBezTo>
                      <a:cubicBezTo>
                        <a:pt x="583" y="54"/>
                        <a:pt x="589" y="30"/>
                        <a:pt x="589" y="30"/>
                      </a:cubicBezTo>
                      <a:cubicBezTo>
                        <a:pt x="589" y="30"/>
                        <a:pt x="576" y="24"/>
                        <a:pt x="558" y="21"/>
                      </a:cubicBezTo>
                      <a:cubicBezTo>
                        <a:pt x="540" y="43"/>
                        <a:pt x="540" y="43"/>
                        <a:pt x="540" y="43"/>
                      </a:cubicBezTo>
                      <a:cubicBezTo>
                        <a:pt x="540" y="43"/>
                        <a:pt x="529" y="45"/>
                        <a:pt x="525" y="45"/>
                      </a:cubicBezTo>
                      <a:cubicBezTo>
                        <a:pt x="521" y="45"/>
                        <a:pt x="531" y="73"/>
                        <a:pt x="531" y="73"/>
                      </a:cubicBezTo>
                      <a:cubicBezTo>
                        <a:pt x="519" y="74"/>
                        <a:pt x="519" y="74"/>
                        <a:pt x="519" y="74"/>
                      </a:cubicBezTo>
                      <a:cubicBezTo>
                        <a:pt x="519" y="74"/>
                        <a:pt x="515" y="73"/>
                        <a:pt x="511" y="87"/>
                      </a:cubicBezTo>
                      <a:cubicBezTo>
                        <a:pt x="459" y="94"/>
                        <a:pt x="471" y="147"/>
                        <a:pt x="471" y="147"/>
                      </a:cubicBezTo>
                      <a:cubicBezTo>
                        <a:pt x="464" y="147"/>
                        <a:pt x="464" y="147"/>
                        <a:pt x="464" y="147"/>
                      </a:cubicBezTo>
                      <a:cubicBezTo>
                        <a:pt x="464" y="147"/>
                        <a:pt x="445" y="175"/>
                        <a:pt x="441" y="175"/>
                      </a:cubicBezTo>
                      <a:cubicBezTo>
                        <a:pt x="437" y="175"/>
                        <a:pt x="429" y="166"/>
                        <a:pt x="429" y="166"/>
                      </a:cubicBezTo>
                      <a:cubicBezTo>
                        <a:pt x="429" y="166"/>
                        <a:pt x="413" y="189"/>
                        <a:pt x="407" y="202"/>
                      </a:cubicBezTo>
                      <a:cubicBezTo>
                        <a:pt x="400" y="215"/>
                        <a:pt x="367" y="213"/>
                        <a:pt x="349" y="195"/>
                      </a:cubicBezTo>
                      <a:cubicBezTo>
                        <a:pt x="332" y="178"/>
                        <a:pt x="324" y="193"/>
                        <a:pt x="324" y="193"/>
                      </a:cubicBezTo>
                      <a:cubicBezTo>
                        <a:pt x="324" y="193"/>
                        <a:pt x="324" y="187"/>
                        <a:pt x="319" y="169"/>
                      </a:cubicBezTo>
                      <a:cubicBezTo>
                        <a:pt x="325" y="154"/>
                        <a:pt x="285" y="143"/>
                        <a:pt x="285" y="143"/>
                      </a:cubicBezTo>
                      <a:cubicBezTo>
                        <a:pt x="279" y="130"/>
                        <a:pt x="279" y="130"/>
                        <a:pt x="279" y="130"/>
                      </a:cubicBezTo>
                      <a:cubicBezTo>
                        <a:pt x="265" y="131"/>
                        <a:pt x="265" y="131"/>
                        <a:pt x="265" y="131"/>
                      </a:cubicBezTo>
                      <a:cubicBezTo>
                        <a:pt x="267" y="136"/>
                        <a:pt x="270" y="143"/>
                        <a:pt x="272" y="153"/>
                      </a:cubicBezTo>
                      <a:cubicBezTo>
                        <a:pt x="276" y="171"/>
                        <a:pt x="290" y="171"/>
                        <a:pt x="290" y="171"/>
                      </a:cubicBezTo>
                      <a:cubicBezTo>
                        <a:pt x="279" y="178"/>
                        <a:pt x="279" y="178"/>
                        <a:pt x="279" y="178"/>
                      </a:cubicBezTo>
                      <a:cubicBezTo>
                        <a:pt x="279" y="178"/>
                        <a:pt x="262" y="147"/>
                        <a:pt x="258" y="143"/>
                      </a:cubicBezTo>
                      <a:cubicBezTo>
                        <a:pt x="254" y="140"/>
                        <a:pt x="250" y="104"/>
                        <a:pt x="242" y="83"/>
                      </a:cubicBezTo>
                      <a:cubicBezTo>
                        <a:pt x="239" y="76"/>
                        <a:pt x="239" y="76"/>
                        <a:pt x="239" y="76"/>
                      </a:cubicBezTo>
                      <a:cubicBezTo>
                        <a:pt x="239" y="75"/>
                        <a:pt x="239" y="75"/>
                        <a:pt x="239" y="75"/>
                      </a:cubicBezTo>
                      <a:cubicBezTo>
                        <a:pt x="229" y="55"/>
                        <a:pt x="184" y="19"/>
                        <a:pt x="184" y="19"/>
                      </a:cubicBezTo>
                      <a:cubicBezTo>
                        <a:pt x="185" y="0"/>
                        <a:pt x="185" y="0"/>
                        <a:pt x="185" y="0"/>
                      </a:cubicBezTo>
                      <a:cubicBezTo>
                        <a:pt x="162" y="28"/>
                        <a:pt x="162" y="28"/>
                        <a:pt x="162" y="28"/>
                      </a:cubicBezTo>
                      <a:cubicBezTo>
                        <a:pt x="162" y="28"/>
                        <a:pt x="164" y="82"/>
                        <a:pt x="159" y="107"/>
                      </a:cubicBezTo>
                      <a:cubicBezTo>
                        <a:pt x="155" y="130"/>
                        <a:pt x="136" y="279"/>
                        <a:pt x="133" y="309"/>
                      </a:cubicBezTo>
                      <a:cubicBezTo>
                        <a:pt x="136" y="291"/>
                        <a:pt x="155" y="262"/>
                        <a:pt x="155" y="262"/>
                      </a:cubicBezTo>
                      <a:cubicBezTo>
                        <a:pt x="155" y="262"/>
                        <a:pt x="187" y="292"/>
                        <a:pt x="180" y="304"/>
                      </a:cubicBezTo>
                      <a:cubicBezTo>
                        <a:pt x="173" y="316"/>
                        <a:pt x="147" y="302"/>
                        <a:pt x="147" y="302"/>
                      </a:cubicBezTo>
                      <a:cubicBezTo>
                        <a:pt x="145" y="322"/>
                        <a:pt x="131" y="339"/>
                        <a:pt x="131" y="339"/>
                      </a:cubicBezTo>
                      <a:cubicBezTo>
                        <a:pt x="131" y="339"/>
                        <a:pt x="115" y="435"/>
                        <a:pt x="93" y="567"/>
                      </a:cubicBezTo>
                      <a:cubicBezTo>
                        <a:pt x="71" y="699"/>
                        <a:pt x="23" y="730"/>
                        <a:pt x="23" y="730"/>
                      </a:cubicBezTo>
                      <a:cubicBezTo>
                        <a:pt x="0" y="733"/>
                        <a:pt x="0" y="733"/>
                        <a:pt x="0" y="733"/>
                      </a:cubicBezTo>
                      <a:cubicBezTo>
                        <a:pt x="13" y="763"/>
                        <a:pt x="13" y="763"/>
                        <a:pt x="13" y="763"/>
                      </a:cubicBezTo>
                      <a:cubicBezTo>
                        <a:pt x="34" y="764"/>
                        <a:pt x="34" y="764"/>
                        <a:pt x="34" y="764"/>
                      </a:cubicBezTo>
                      <a:cubicBezTo>
                        <a:pt x="34" y="764"/>
                        <a:pt x="37" y="773"/>
                        <a:pt x="42" y="779"/>
                      </a:cubicBezTo>
                      <a:cubicBezTo>
                        <a:pt x="47" y="785"/>
                        <a:pt x="48" y="774"/>
                        <a:pt x="56" y="771"/>
                      </a:cubicBezTo>
                      <a:cubicBezTo>
                        <a:pt x="64" y="768"/>
                        <a:pt x="74" y="776"/>
                        <a:pt x="86" y="787"/>
                      </a:cubicBezTo>
                      <a:cubicBezTo>
                        <a:pt x="98" y="798"/>
                        <a:pt x="71" y="830"/>
                        <a:pt x="69" y="843"/>
                      </a:cubicBezTo>
                      <a:cubicBezTo>
                        <a:pt x="67" y="856"/>
                        <a:pt x="92" y="859"/>
                        <a:pt x="92" y="859"/>
                      </a:cubicBezTo>
                      <a:cubicBezTo>
                        <a:pt x="92" y="859"/>
                        <a:pt x="100" y="831"/>
                        <a:pt x="110" y="831"/>
                      </a:cubicBezTo>
                      <a:cubicBezTo>
                        <a:pt x="120" y="831"/>
                        <a:pt x="107" y="846"/>
                        <a:pt x="107" y="846"/>
                      </a:cubicBezTo>
                      <a:cubicBezTo>
                        <a:pt x="136" y="857"/>
                        <a:pt x="136" y="857"/>
                        <a:pt x="136" y="857"/>
                      </a:cubicBezTo>
                      <a:cubicBezTo>
                        <a:pt x="142" y="869"/>
                        <a:pt x="142" y="869"/>
                        <a:pt x="142" y="869"/>
                      </a:cubicBezTo>
                      <a:cubicBezTo>
                        <a:pt x="149" y="864"/>
                        <a:pt x="149" y="864"/>
                        <a:pt x="149" y="864"/>
                      </a:cubicBezTo>
                      <a:cubicBezTo>
                        <a:pt x="182" y="884"/>
                        <a:pt x="182" y="884"/>
                        <a:pt x="182" y="884"/>
                      </a:cubicBezTo>
                      <a:cubicBezTo>
                        <a:pt x="228" y="882"/>
                        <a:pt x="228" y="882"/>
                        <a:pt x="228" y="882"/>
                      </a:cubicBezTo>
                      <a:cubicBezTo>
                        <a:pt x="228" y="882"/>
                        <a:pt x="230" y="909"/>
                        <a:pt x="239" y="912"/>
                      </a:cubicBezTo>
                      <a:cubicBezTo>
                        <a:pt x="248" y="915"/>
                        <a:pt x="277" y="946"/>
                        <a:pt x="277" y="946"/>
                      </a:cubicBezTo>
                      <a:cubicBezTo>
                        <a:pt x="293" y="936"/>
                        <a:pt x="293" y="943"/>
                        <a:pt x="293" y="943"/>
                      </a:cubicBezTo>
                      <a:cubicBezTo>
                        <a:pt x="293" y="943"/>
                        <a:pt x="309" y="946"/>
                        <a:pt x="306" y="942"/>
                      </a:cubicBezTo>
                      <a:cubicBezTo>
                        <a:pt x="307" y="941"/>
                        <a:pt x="308" y="940"/>
                        <a:pt x="310" y="940"/>
                      </a:cubicBezTo>
                      <a:cubicBezTo>
                        <a:pt x="310" y="936"/>
                        <a:pt x="309" y="934"/>
                        <a:pt x="309" y="934"/>
                      </a:cubicBezTo>
                      <a:lnTo>
                        <a:pt x="331" y="869"/>
                      </a:lnTo>
                      <a:close/>
                    </a:path>
                  </a:pathLst>
                </a:custGeom>
                <a:grp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sp>
              <p:nvSpPr>
                <p:cNvPr id="199" name="Rhône-Alpes" descr="© INSCALE GmbH, 05.05.2010&#10;http://www.presentationload.com/">
                  <a:extLst>
                    <a:ext uri="{FF2B5EF4-FFF2-40B4-BE49-F238E27FC236}">
                      <a16:creationId xmlns:a16="http://schemas.microsoft.com/office/drawing/2014/main" id="{7EF925DC-16C9-48A8-A86B-36B8401FD07D}"/>
                    </a:ext>
                  </a:extLst>
                </p:cNvPr>
                <p:cNvSpPr>
                  <a:spLocks/>
                </p:cNvSpPr>
                <p:nvPr/>
              </p:nvSpPr>
              <p:spPr bwMode="gray">
                <a:xfrm>
                  <a:off x="2094" y="1710"/>
                  <a:ext cx="833" cy="840"/>
                </a:xfrm>
                <a:custGeom>
                  <a:avLst/>
                  <a:gdLst/>
                  <a:ahLst/>
                  <a:cxnLst>
                    <a:cxn ang="0">
                      <a:pos x="92" y="696"/>
                    </a:cxn>
                    <a:cxn ang="0">
                      <a:pos x="136" y="744"/>
                    </a:cxn>
                    <a:cxn ang="0">
                      <a:pos x="170" y="728"/>
                    </a:cxn>
                    <a:cxn ang="0">
                      <a:pos x="228" y="735"/>
                    </a:cxn>
                    <a:cxn ang="0">
                      <a:pos x="318" y="724"/>
                    </a:cxn>
                    <a:cxn ang="0">
                      <a:pos x="341" y="746"/>
                    </a:cxn>
                    <a:cxn ang="0">
                      <a:pos x="386" y="752"/>
                    </a:cxn>
                    <a:cxn ang="0">
                      <a:pos x="416" y="778"/>
                    </a:cxn>
                    <a:cxn ang="0">
                      <a:pos x="462" y="752"/>
                    </a:cxn>
                    <a:cxn ang="0">
                      <a:pos x="414" y="708"/>
                    </a:cxn>
                    <a:cxn ang="0">
                      <a:pos x="406" y="670"/>
                    </a:cxn>
                    <a:cxn ang="0">
                      <a:pos x="453" y="650"/>
                    </a:cxn>
                    <a:cxn ang="0">
                      <a:pos x="486" y="590"/>
                    </a:cxn>
                    <a:cxn ang="0">
                      <a:pos x="541" y="546"/>
                    </a:cxn>
                    <a:cxn ang="0">
                      <a:pos x="572" y="487"/>
                    </a:cxn>
                    <a:cxn ang="0">
                      <a:pos x="604" y="452"/>
                    </a:cxn>
                    <a:cxn ang="0">
                      <a:pos x="632" y="458"/>
                    </a:cxn>
                    <a:cxn ang="0">
                      <a:pos x="685" y="426"/>
                    </a:cxn>
                    <a:cxn ang="0">
                      <a:pos x="772" y="342"/>
                    </a:cxn>
                    <a:cxn ang="0">
                      <a:pos x="686" y="232"/>
                    </a:cxn>
                    <a:cxn ang="0">
                      <a:pos x="706" y="121"/>
                    </a:cxn>
                    <a:cxn ang="0">
                      <a:pos x="684" y="108"/>
                    </a:cxn>
                    <a:cxn ang="0">
                      <a:pos x="670" y="33"/>
                    </a:cxn>
                    <a:cxn ang="0">
                      <a:pos x="611" y="0"/>
                    </a:cxn>
                    <a:cxn ang="0">
                      <a:pos x="560" y="31"/>
                    </a:cxn>
                    <a:cxn ang="0">
                      <a:pos x="569" y="68"/>
                    </a:cxn>
                    <a:cxn ang="0">
                      <a:pos x="517" y="99"/>
                    </a:cxn>
                    <a:cxn ang="0">
                      <a:pos x="512" y="67"/>
                    </a:cxn>
                    <a:cxn ang="0">
                      <a:pos x="534" y="29"/>
                    </a:cxn>
                    <a:cxn ang="0">
                      <a:pos x="441" y="74"/>
                    </a:cxn>
                    <a:cxn ang="0">
                      <a:pos x="388" y="79"/>
                    </a:cxn>
                    <a:cxn ang="0">
                      <a:pos x="350" y="50"/>
                    </a:cxn>
                    <a:cxn ang="0">
                      <a:pos x="326" y="16"/>
                    </a:cxn>
                    <a:cxn ang="0">
                      <a:pos x="237" y="126"/>
                    </a:cxn>
                    <a:cxn ang="0">
                      <a:pos x="217" y="100"/>
                    </a:cxn>
                    <a:cxn ang="0">
                      <a:pos x="188" y="88"/>
                    </a:cxn>
                    <a:cxn ang="0">
                      <a:pos x="152" y="88"/>
                    </a:cxn>
                    <a:cxn ang="0">
                      <a:pos x="125" y="136"/>
                    </a:cxn>
                    <a:cxn ang="0">
                      <a:pos x="86" y="126"/>
                    </a:cxn>
                    <a:cxn ang="0">
                      <a:pos x="42" y="119"/>
                    </a:cxn>
                    <a:cxn ang="0">
                      <a:pos x="21" y="124"/>
                    </a:cxn>
                    <a:cxn ang="0">
                      <a:pos x="25" y="187"/>
                    </a:cxn>
                    <a:cxn ang="0">
                      <a:pos x="12" y="224"/>
                    </a:cxn>
                    <a:cxn ang="0">
                      <a:pos x="29" y="311"/>
                    </a:cxn>
                    <a:cxn ang="0">
                      <a:pos x="50" y="403"/>
                    </a:cxn>
                    <a:cxn ang="0">
                      <a:pos x="72" y="396"/>
                    </a:cxn>
                    <a:cxn ang="0">
                      <a:pos x="90" y="390"/>
                    </a:cxn>
                    <a:cxn ang="0">
                      <a:pos x="150" y="406"/>
                    </a:cxn>
                    <a:cxn ang="0">
                      <a:pos x="171" y="469"/>
                    </a:cxn>
                    <a:cxn ang="0">
                      <a:pos x="157" y="458"/>
                    </a:cxn>
                    <a:cxn ang="0">
                      <a:pos x="157" y="495"/>
                    </a:cxn>
                    <a:cxn ang="0">
                      <a:pos x="122" y="519"/>
                    </a:cxn>
                    <a:cxn ang="0">
                      <a:pos x="81" y="554"/>
                    </a:cxn>
                    <a:cxn ang="0">
                      <a:pos x="41" y="588"/>
                    </a:cxn>
                  </a:cxnLst>
                  <a:rect l="0" t="0" r="r" b="b"/>
                  <a:pathLst>
                    <a:path w="772" h="778">
                      <a:moveTo>
                        <a:pt x="68" y="647"/>
                      </a:moveTo>
                      <a:cubicBezTo>
                        <a:pt x="72" y="678"/>
                        <a:pt x="72" y="678"/>
                        <a:pt x="72" y="678"/>
                      </a:cubicBezTo>
                      <a:cubicBezTo>
                        <a:pt x="92" y="696"/>
                        <a:pt x="92" y="696"/>
                        <a:pt x="92" y="696"/>
                      </a:cubicBezTo>
                      <a:cubicBezTo>
                        <a:pt x="85" y="727"/>
                        <a:pt x="85" y="727"/>
                        <a:pt x="85" y="727"/>
                      </a:cubicBezTo>
                      <a:cubicBezTo>
                        <a:pt x="104" y="716"/>
                        <a:pt x="104" y="716"/>
                        <a:pt x="104" y="716"/>
                      </a:cubicBezTo>
                      <a:cubicBezTo>
                        <a:pt x="136" y="744"/>
                        <a:pt x="136" y="744"/>
                        <a:pt x="136" y="744"/>
                      </a:cubicBezTo>
                      <a:cubicBezTo>
                        <a:pt x="156" y="714"/>
                        <a:pt x="156" y="714"/>
                        <a:pt x="156" y="714"/>
                      </a:cubicBezTo>
                      <a:cubicBezTo>
                        <a:pt x="170" y="714"/>
                        <a:pt x="170" y="714"/>
                        <a:pt x="170" y="714"/>
                      </a:cubicBezTo>
                      <a:cubicBezTo>
                        <a:pt x="170" y="728"/>
                        <a:pt x="170" y="728"/>
                        <a:pt x="170" y="728"/>
                      </a:cubicBezTo>
                      <a:cubicBezTo>
                        <a:pt x="177" y="728"/>
                        <a:pt x="177" y="728"/>
                        <a:pt x="177" y="728"/>
                      </a:cubicBezTo>
                      <a:cubicBezTo>
                        <a:pt x="185" y="716"/>
                        <a:pt x="185" y="716"/>
                        <a:pt x="185" y="716"/>
                      </a:cubicBezTo>
                      <a:cubicBezTo>
                        <a:pt x="228" y="735"/>
                        <a:pt x="228" y="735"/>
                        <a:pt x="228" y="735"/>
                      </a:cubicBezTo>
                      <a:cubicBezTo>
                        <a:pt x="228" y="720"/>
                        <a:pt x="228" y="720"/>
                        <a:pt x="228" y="720"/>
                      </a:cubicBezTo>
                      <a:cubicBezTo>
                        <a:pt x="228" y="720"/>
                        <a:pt x="262" y="712"/>
                        <a:pt x="264" y="748"/>
                      </a:cubicBezTo>
                      <a:cubicBezTo>
                        <a:pt x="318" y="724"/>
                        <a:pt x="318" y="724"/>
                        <a:pt x="318" y="724"/>
                      </a:cubicBezTo>
                      <a:cubicBezTo>
                        <a:pt x="329" y="728"/>
                        <a:pt x="329" y="728"/>
                        <a:pt x="329" y="728"/>
                      </a:cubicBezTo>
                      <a:cubicBezTo>
                        <a:pt x="341" y="722"/>
                        <a:pt x="341" y="722"/>
                        <a:pt x="341" y="722"/>
                      </a:cubicBezTo>
                      <a:cubicBezTo>
                        <a:pt x="341" y="746"/>
                        <a:pt x="341" y="746"/>
                        <a:pt x="341" y="746"/>
                      </a:cubicBezTo>
                      <a:cubicBezTo>
                        <a:pt x="366" y="754"/>
                        <a:pt x="366" y="754"/>
                        <a:pt x="366" y="754"/>
                      </a:cubicBezTo>
                      <a:cubicBezTo>
                        <a:pt x="365" y="747"/>
                        <a:pt x="365" y="747"/>
                        <a:pt x="365" y="747"/>
                      </a:cubicBezTo>
                      <a:cubicBezTo>
                        <a:pt x="386" y="752"/>
                        <a:pt x="386" y="752"/>
                        <a:pt x="386" y="752"/>
                      </a:cubicBezTo>
                      <a:cubicBezTo>
                        <a:pt x="386" y="752"/>
                        <a:pt x="393" y="756"/>
                        <a:pt x="393" y="766"/>
                      </a:cubicBezTo>
                      <a:cubicBezTo>
                        <a:pt x="393" y="775"/>
                        <a:pt x="406" y="771"/>
                        <a:pt x="406" y="771"/>
                      </a:cubicBezTo>
                      <a:cubicBezTo>
                        <a:pt x="416" y="778"/>
                        <a:pt x="416" y="778"/>
                        <a:pt x="416" y="778"/>
                      </a:cubicBezTo>
                      <a:cubicBezTo>
                        <a:pt x="436" y="766"/>
                        <a:pt x="436" y="766"/>
                        <a:pt x="436" y="766"/>
                      </a:cubicBezTo>
                      <a:cubicBezTo>
                        <a:pt x="436" y="766"/>
                        <a:pt x="426" y="755"/>
                        <a:pt x="450" y="763"/>
                      </a:cubicBezTo>
                      <a:cubicBezTo>
                        <a:pt x="448" y="766"/>
                        <a:pt x="462" y="752"/>
                        <a:pt x="462" y="752"/>
                      </a:cubicBezTo>
                      <a:cubicBezTo>
                        <a:pt x="462" y="730"/>
                        <a:pt x="462" y="730"/>
                        <a:pt x="462" y="730"/>
                      </a:cubicBezTo>
                      <a:cubicBezTo>
                        <a:pt x="445" y="710"/>
                        <a:pt x="445" y="710"/>
                        <a:pt x="445" y="710"/>
                      </a:cubicBezTo>
                      <a:cubicBezTo>
                        <a:pt x="414" y="708"/>
                        <a:pt x="414" y="708"/>
                        <a:pt x="414" y="708"/>
                      </a:cubicBezTo>
                      <a:cubicBezTo>
                        <a:pt x="398" y="683"/>
                        <a:pt x="398" y="683"/>
                        <a:pt x="398" y="683"/>
                      </a:cubicBezTo>
                      <a:cubicBezTo>
                        <a:pt x="414" y="682"/>
                        <a:pt x="414" y="682"/>
                        <a:pt x="414" y="682"/>
                      </a:cubicBezTo>
                      <a:cubicBezTo>
                        <a:pt x="406" y="670"/>
                        <a:pt x="406" y="670"/>
                        <a:pt x="406" y="670"/>
                      </a:cubicBezTo>
                      <a:cubicBezTo>
                        <a:pt x="409" y="658"/>
                        <a:pt x="409" y="658"/>
                        <a:pt x="409" y="658"/>
                      </a:cubicBezTo>
                      <a:cubicBezTo>
                        <a:pt x="438" y="662"/>
                        <a:pt x="438" y="662"/>
                        <a:pt x="438" y="662"/>
                      </a:cubicBezTo>
                      <a:cubicBezTo>
                        <a:pt x="453" y="650"/>
                        <a:pt x="453" y="650"/>
                        <a:pt x="453" y="650"/>
                      </a:cubicBezTo>
                      <a:cubicBezTo>
                        <a:pt x="436" y="640"/>
                        <a:pt x="436" y="640"/>
                        <a:pt x="436" y="640"/>
                      </a:cubicBezTo>
                      <a:cubicBezTo>
                        <a:pt x="449" y="614"/>
                        <a:pt x="449" y="614"/>
                        <a:pt x="449" y="614"/>
                      </a:cubicBezTo>
                      <a:cubicBezTo>
                        <a:pt x="449" y="614"/>
                        <a:pt x="490" y="599"/>
                        <a:pt x="486" y="590"/>
                      </a:cubicBezTo>
                      <a:cubicBezTo>
                        <a:pt x="482" y="580"/>
                        <a:pt x="477" y="568"/>
                        <a:pt x="489" y="568"/>
                      </a:cubicBezTo>
                      <a:cubicBezTo>
                        <a:pt x="501" y="568"/>
                        <a:pt x="525" y="562"/>
                        <a:pt x="525" y="562"/>
                      </a:cubicBezTo>
                      <a:cubicBezTo>
                        <a:pt x="525" y="562"/>
                        <a:pt x="534" y="539"/>
                        <a:pt x="541" y="546"/>
                      </a:cubicBezTo>
                      <a:cubicBezTo>
                        <a:pt x="548" y="552"/>
                        <a:pt x="538" y="532"/>
                        <a:pt x="604" y="534"/>
                      </a:cubicBezTo>
                      <a:cubicBezTo>
                        <a:pt x="597" y="511"/>
                        <a:pt x="596" y="492"/>
                        <a:pt x="596" y="492"/>
                      </a:cubicBezTo>
                      <a:cubicBezTo>
                        <a:pt x="596" y="492"/>
                        <a:pt x="572" y="498"/>
                        <a:pt x="572" y="487"/>
                      </a:cubicBezTo>
                      <a:cubicBezTo>
                        <a:pt x="572" y="476"/>
                        <a:pt x="577" y="463"/>
                        <a:pt x="577" y="463"/>
                      </a:cubicBezTo>
                      <a:cubicBezTo>
                        <a:pt x="574" y="455"/>
                        <a:pt x="574" y="455"/>
                        <a:pt x="574" y="455"/>
                      </a:cubicBezTo>
                      <a:cubicBezTo>
                        <a:pt x="604" y="452"/>
                        <a:pt x="604" y="452"/>
                        <a:pt x="604" y="452"/>
                      </a:cubicBezTo>
                      <a:cubicBezTo>
                        <a:pt x="605" y="466"/>
                        <a:pt x="605" y="466"/>
                        <a:pt x="605" y="466"/>
                      </a:cubicBezTo>
                      <a:cubicBezTo>
                        <a:pt x="629" y="466"/>
                        <a:pt x="629" y="466"/>
                        <a:pt x="629" y="466"/>
                      </a:cubicBezTo>
                      <a:cubicBezTo>
                        <a:pt x="632" y="458"/>
                        <a:pt x="632" y="458"/>
                        <a:pt x="632" y="458"/>
                      </a:cubicBezTo>
                      <a:cubicBezTo>
                        <a:pt x="656" y="454"/>
                        <a:pt x="656" y="454"/>
                        <a:pt x="656" y="454"/>
                      </a:cubicBezTo>
                      <a:cubicBezTo>
                        <a:pt x="648" y="442"/>
                        <a:pt x="660" y="431"/>
                        <a:pt x="660" y="431"/>
                      </a:cubicBezTo>
                      <a:cubicBezTo>
                        <a:pt x="670" y="445"/>
                        <a:pt x="685" y="426"/>
                        <a:pt x="685" y="426"/>
                      </a:cubicBezTo>
                      <a:cubicBezTo>
                        <a:pt x="704" y="448"/>
                        <a:pt x="725" y="407"/>
                        <a:pt x="725" y="407"/>
                      </a:cubicBezTo>
                      <a:cubicBezTo>
                        <a:pt x="725" y="407"/>
                        <a:pt x="757" y="400"/>
                        <a:pt x="758" y="394"/>
                      </a:cubicBezTo>
                      <a:cubicBezTo>
                        <a:pt x="755" y="371"/>
                        <a:pt x="772" y="342"/>
                        <a:pt x="772" y="342"/>
                      </a:cubicBezTo>
                      <a:cubicBezTo>
                        <a:pt x="764" y="342"/>
                        <a:pt x="744" y="317"/>
                        <a:pt x="741" y="313"/>
                      </a:cubicBezTo>
                      <a:cubicBezTo>
                        <a:pt x="705" y="284"/>
                        <a:pt x="737" y="269"/>
                        <a:pt x="733" y="267"/>
                      </a:cubicBezTo>
                      <a:cubicBezTo>
                        <a:pt x="704" y="274"/>
                        <a:pt x="688" y="235"/>
                        <a:pt x="686" y="232"/>
                      </a:cubicBezTo>
                      <a:cubicBezTo>
                        <a:pt x="678" y="230"/>
                        <a:pt x="684" y="206"/>
                        <a:pt x="684" y="200"/>
                      </a:cubicBezTo>
                      <a:cubicBezTo>
                        <a:pt x="698" y="224"/>
                        <a:pt x="737" y="172"/>
                        <a:pt x="737" y="172"/>
                      </a:cubicBezTo>
                      <a:cubicBezTo>
                        <a:pt x="706" y="121"/>
                        <a:pt x="706" y="121"/>
                        <a:pt x="706" y="121"/>
                      </a:cubicBezTo>
                      <a:cubicBezTo>
                        <a:pt x="701" y="129"/>
                        <a:pt x="701" y="129"/>
                        <a:pt x="701" y="129"/>
                      </a:cubicBezTo>
                      <a:cubicBezTo>
                        <a:pt x="698" y="120"/>
                        <a:pt x="698" y="120"/>
                        <a:pt x="698" y="120"/>
                      </a:cubicBezTo>
                      <a:cubicBezTo>
                        <a:pt x="706" y="98"/>
                        <a:pt x="684" y="108"/>
                        <a:pt x="684" y="108"/>
                      </a:cubicBezTo>
                      <a:cubicBezTo>
                        <a:pt x="675" y="97"/>
                        <a:pt x="675" y="97"/>
                        <a:pt x="675" y="97"/>
                      </a:cubicBezTo>
                      <a:cubicBezTo>
                        <a:pt x="691" y="55"/>
                        <a:pt x="691" y="55"/>
                        <a:pt x="691" y="55"/>
                      </a:cubicBezTo>
                      <a:cubicBezTo>
                        <a:pt x="670" y="33"/>
                        <a:pt x="670" y="33"/>
                        <a:pt x="670" y="33"/>
                      </a:cubicBezTo>
                      <a:cubicBezTo>
                        <a:pt x="680" y="10"/>
                        <a:pt x="680" y="10"/>
                        <a:pt x="680" y="10"/>
                      </a:cubicBezTo>
                      <a:cubicBezTo>
                        <a:pt x="674" y="3"/>
                        <a:pt x="674" y="3"/>
                        <a:pt x="674" y="3"/>
                      </a:cubicBezTo>
                      <a:cubicBezTo>
                        <a:pt x="611" y="0"/>
                        <a:pt x="611" y="0"/>
                        <a:pt x="611" y="0"/>
                      </a:cubicBezTo>
                      <a:cubicBezTo>
                        <a:pt x="593" y="12"/>
                        <a:pt x="593" y="12"/>
                        <a:pt x="593" y="12"/>
                      </a:cubicBezTo>
                      <a:cubicBezTo>
                        <a:pt x="577" y="12"/>
                        <a:pt x="577" y="12"/>
                        <a:pt x="577" y="12"/>
                      </a:cubicBezTo>
                      <a:cubicBezTo>
                        <a:pt x="577" y="12"/>
                        <a:pt x="570" y="21"/>
                        <a:pt x="560" y="31"/>
                      </a:cubicBezTo>
                      <a:cubicBezTo>
                        <a:pt x="550" y="30"/>
                        <a:pt x="553" y="57"/>
                        <a:pt x="553" y="57"/>
                      </a:cubicBezTo>
                      <a:cubicBezTo>
                        <a:pt x="559" y="63"/>
                        <a:pt x="559" y="63"/>
                        <a:pt x="559" y="63"/>
                      </a:cubicBezTo>
                      <a:cubicBezTo>
                        <a:pt x="559" y="63"/>
                        <a:pt x="564" y="60"/>
                        <a:pt x="569" y="68"/>
                      </a:cubicBezTo>
                      <a:cubicBezTo>
                        <a:pt x="574" y="76"/>
                        <a:pt x="558" y="76"/>
                        <a:pt x="558" y="76"/>
                      </a:cubicBezTo>
                      <a:cubicBezTo>
                        <a:pt x="527" y="100"/>
                        <a:pt x="527" y="100"/>
                        <a:pt x="527" y="100"/>
                      </a:cubicBezTo>
                      <a:cubicBezTo>
                        <a:pt x="521" y="93"/>
                        <a:pt x="517" y="99"/>
                        <a:pt x="517" y="99"/>
                      </a:cubicBezTo>
                      <a:cubicBezTo>
                        <a:pt x="499" y="98"/>
                        <a:pt x="499" y="98"/>
                        <a:pt x="499" y="98"/>
                      </a:cubicBezTo>
                      <a:cubicBezTo>
                        <a:pt x="497" y="82"/>
                        <a:pt x="497" y="82"/>
                        <a:pt x="497" y="82"/>
                      </a:cubicBezTo>
                      <a:cubicBezTo>
                        <a:pt x="512" y="67"/>
                        <a:pt x="512" y="67"/>
                        <a:pt x="512" y="67"/>
                      </a:cubicBezTo>
                      <a:cubicBezTo>
                        <a:pt x="525" y="66"/>
                        <a:pt x="525" y="66"/>
                        <a:pt x="525" y="66"/>
                      </a:cubicBezTo>
                      <a:cubicBezTo>
                        <a:pt x="525" y="48"/>
                        <a:pt x="525" y="48"/>
                        <a:pt x="525" y="48"/>
                      </a:cubicBezTo>
                      <a:cubicBezTo>
                        <a:pt x="534" y="41"/>
                        <a:pt x="535" y="34"/>
                        <a:pt x="534" y="29"/>
                      </a:cubicBezTo>
                      <a:cubicBezTo>
                        <a:pt x="477" y="88"/>
                        <a:pt x="477" y="88"/>
                        <a:pt x="477" y="88"/>
                      </a:cubicBezTo>
                      <a:cubicBezTo>
                        <a:pt x="445" y="90"/>
                        <a:pt x="445" y="90"/>
                        <a:pt x="445" y="90"/>
                      </a:cubicBezTo>
                      <a:cubicBezTo>
                        <a:pt x="441" y="74"/>
                        <a:pt x="441" y="74"/>
                        <a:pt x="441" y="74"/>
                      </a:cubicBezTo>
                      <a:cubicBezTo>
                        <a:pt x="441" y="74"/>
                        <a:pt x="421" y="71"/>
                        <a:pt x="425" y="64"/>
                      </a:cubicBezTo>
                      <a:cubicBezTo>
                        <a:pt x="408" y="103"/>
                        <a:pt x="385" y="92"/>
                        <a:pt x="385" y="92"/>
                      </a:cubicBezTo>
                      <a:cubicBezTo>
                        <a:pt x="388" y="79"/>
                        <a:pt x="388" y="79"/>
                        <a:pt x="388" y="79"/>
                      </a:cubicBezTo>
                      <a:cubicBezTo>
                        <a:pt x="364" y="68"/>
                        <a:pt x="364" y="68"/>
                        <a:pt x="364" y="68"/>
                      </a:cubicBezTo>
                      <a:cubicBezTo>
                        <a:pt x="364" y="55"/>
                        <a:pt x="364" y="55"/>
                        <a:pt x="364" y="55"/>
                      </a:cubicBezTo>
                      <a:cubicBezTo>
                        <a:pt x="350" y="50"/>
                        <a:pt x="350" y="50"/>
                        <a:pt x="350" y="50"/>
                      </a:cubicBezTo>
                      <a:cubicBezTo>
                        <a:pt x="352" y="36"/>
                        <a:pt x="352" y="36"/>
                        <a:pt x="352" y="36"/>
                      </a:cubicBezTo>
                      <a:cubicBezTo>
                        <a:pt x="344" y="35"/>
                        <a:pt x="336" y="34"/>
                        <a:pt x="334" y="34"/>
                      </a:cubicBezTo>
                      <a:cubicBezTo>
                        <a:pt x="330" y="34"/>
                        <a:pt x="329" y="22"/>
                        <a:pt x="326" y="16"/>
                      </a:cubicBezTo>
                      <a:cubicBezTo>
                        <a:pt x="324" y="11"/>
                        <a:pt x="309" y="24"/>
                        <a:pt x="296" y="24"/>
                      </a:cubicBezTo>
                      <a:cubicBezTo>
                        <a:pt x="282" y="24"/>
                        <a:pt x="265" y="18"/>
                        <a:pt x="265" y="18"/>
                      </a:cubicBezTo>
                      <a:cubicBezTo>
                        <a:pt x="237" y="126"/>
                        <a:pt x="237" y="126"/>
                        <a:pt x="237" y="126"/>
                      </a:cubicBezTo>
                      <a:cubicBezTo>
                        <a:pt x="226" y="124"/>
                        <a:pt x="226" y="124"/>
                        <a:pt x="226" y="124"/>
                      </a:cubicBezTo>
                      <a:cubicBezTo>
                        <a:pt x="225" y="108"/>
                        <a:pt x="225" y="108"/>
                        <a:pt x="225" y="108"/>
                      </a:cubicBezTo>
                      <a:cubicBezTo>
                        <a:pt x="217" y="100"/>
                        <a:pt x="217" y="100"/>
                        <a:pt x="217" y="100"/>
                      </a:cubicBezTo>
                      <a:cubicBezTo>
                        <a:pt x="217" y="100"/>
                        <a:pt x="218" y="90"/>
                        <a:pt x="208" y="86"/>
                      </a:cubicBezTo>
                      <a:cubicBezTo>
                        <a:pt x="197" y="82"/>
                        <a:pt x="198" y="98"/>
                        <a:pt x="193" y="98"/>
                      </a:cubicBezTo>
                      <a:cubicBezTo>
                        <a:pt x="188" y="98"/>
                        <a:pt x="188" y="88"/>
                        <a:pt x="188" y="88"/>
                      </a:cubicBezTo>
                      <a:cubicBezTo>
                        <a:pt x="173" y="100"/>
                        <a:pt x="173" y="100"/>
                        <a:pt x="173" y="100"/>
                      </a:cubicBezTo>
                      <a:cubicBezTo>
                        <a:pt x="164" y="87"/>
                        <a:pt x="164" y="87"/>
                        <a:pt x="164" y="87"/>
                      </a:cubicBezTo>
                      <a:cubicBezTo>
                        <a:pt x="152" y="88"/>
                        <a:pt x="152" y="88"/>
                        <a:pt x="152" y="88"/>
                      </a:cubicBezTo>
                      <a:cubicBezTo>
                        <a:pt x="148" y="127"/>
                        <a:pt x="148" y="127"/>
                        <a:pt x="148" y="127"/>
                      </a:cubicBezTo>
                      <a:cubicBezTo>
                        <a:pt x="148" y="127"/>
                        <a:pt x="137" y="128"/>
                        <a:pt x="132" y="128"/>
                      </a:cubicBezTo>
                      <a:cubicBezTo>
                        <a:pt x="126" y="128"/>
                        <a:pt x="132" y="135"/>
                        <a:pt x="125" y="136"/>
                      </a:cubicBezTo>
                      <a:cubicBezTo>
                        <a:pt x="120" y="137"/>
                        <a:pt x="113" y="129"/>
                        <a:pt x="110" y="125"/>
                      </a:cubicBezTo>
                      <a:cubicBezTo>
                        <a:pt x="111" y="127"/>
                        <a:pt x="111" y="129"/>
                        <a:pt x="101" y="128"/>
                      </a:cubicBezTo>
                      <a:cubicBezTo>
                        <a:pt x="86" y="127"/>
                        <a:pt x="86" y="126"/>
                        <a:pt x="86" y="126"/>
                      </a:cubicBezTo>
                      <a:cubicBezTo>
                        <a:pt x="62" y="132"/>
                        <a:pt x="62" y="132"/>
                        <a:pt x="62" y="132"/>
                      </a:cubicBezTo>
                      <a:cubicBezTo>
                        <a:pt x="56" y="119"/>
                        <a:pt x="56" y="119"/>
                        <a:pt x="56" y="119"/>
                      </a:cubicBezTo>
                      <a:cubicBezTo>
                        <a:pt x="42" y="119"/>
                        <a:pt x="42" y="119"/>
                        <a:pt x="42" y="119"/>
                      </a:cubicBezTo>
                      <a:cubicBezTo>
                        <a:pt x="41" y="100"/>
                        <a:pt x="41" y="100"/>
                        <a:pt x="41" y="100"/>
                      </a:cubicBezTo>
                      <a:cubicBezTo>
                        <a:pt x="16" y="111"/>
                        <a:pt x="16" y="111"/>
                        <a:pt x="16" y="111"/>
                      </a:cubicBezTo>
                      <a:cubicBezTo>
                        <a:pt x="21" y="124"/>
                        <a:pt x="21" y="124"/>
                        <a:pt x="21" y="124"/>
                      </a:cubicBezTo>
                      <a:cubicBezTo>
                        <a:pt x="17" y="139"/>
                        <a:pt x="17" y="139"/>
                        <a:pt x="17" y="139"/>
                      </a:cubicBezTo>
                      <a:cubicBezTo>
                        <a:pt x="24" y="152"/>
                        <a:pt x="24" y="152"/>
                        <a:pt x="24" y="152"/>
                      </a:cubicBezTo>
                      <a:cubicBezTo>
                        <a:pt x="25" y="187"/>
                        <a:pt x="25" y="187"/>
                        <a:pt x="25" y="187"/>
                      </a:cubicBezTo>
                      <a:cubicBezTo>
                        <a:pt x="0" y="196"/>
                        <a:pt x="0" y="196"/>
                        <a:pt x="0" y="196"/>
                      </a:cubicBezTo>
                      <a:cubicBezTo>
                        <a:pt x="0" y="208"/>
                        <a:pt x="0" y="208"/>
                        <a:pt x="0" y="208"/>
                      </a:cubicBezTo>
                      <a:cubicBezTo>
                        <a:pt x="12" y="224"/>
                        <a:pt x="12" y="224"/>
                        <a:pt x="12" y="224"/>
                      </a:cubicBezTo>
                      <a:cubicBezTo>
                        <a:pt x="4" y="227"/>
                        <a:pt x="4" y="227"/>
                        <a:pt x="4" y="227"/>
                      </a:cubicBezTo>
                      <a:cubicBezTo>
                        <a:pt x="2" y="255"/>
                        <a:pt x="2" y="255"/>
                        <a:pt x="2" y="255"/>
                      </a:cubicBezTo>
                      <a:cubicBezTo>
                        <a:pt x="2" y="255"/>
                        <a:pt x="25" y="291"/>
                        <a:pt x="29" y="311"/>
                      </a:cubicBezTo>
                      <a:cubicBezTo>
                        <a:pt x="34" y="311"/>
                        <a:pt x="74" y="347"/>
                        <a:pt x="62" y="367"/>
                      </a:cubicBezTo>
                      <a:cubicBezTo>
                        <a:pt x="60" y="374"/>
                        <a:pt x="46" y="380"/>
                        <a:pt x="46" y="380"/>
                      </a:cubicBezTo>
                      <a:cubicBezTo>
                        <a:pt x="50" y="403"/>
                        <a:pt x="50" y="403"/>
                        <a:pt x="50" y="403"/>
                      </a:cubicBezTo>
                      <a:cubicBezTo>
                        <a:pt x="56" y="384"/>
                        <a:pt x="56" y="384"/>
                        <a:pt x="56" y="384"/>
                      </a:cubicBezTo>
                      <a:cubicBezTo>
                        <a:pt x="68" y="384"/>
                        <a:pt x="68" y="384"/>
                        <a:pt x="68" y="384"/>
                      </a:cubicBezTo>
                      <a:cubicBezTo>
                        <a:pt x="72" y="396"/>
                        <a:pt x="72" y="396"/>
                        <a:pt x="72" y="396"/>
                      </a:cubicBezTo>
                      <a:cubicBezTo>
                        <a:pt x="82" y="391"/>
                        <a:pt x="82" y="391"/>
                        <a:pt x="82" y="391"/>
                      </a:cubicBezTo>
                      <a:cubicBezTo>
                        <a:pt x="88" y="398"/>
                        <a:pt x="88" y="398"/>
                        <a:pt x="88" y="398"/>
                      </a:cubicBezTo>
                      <a:cubicBezTo>
                        <a:pt x="90" y="390"/>
                        <a:pt x="90" y="390"/>
                        <a:pt x="90" y="390"/>
                      </a:cubicBezTo>
                      <a:cubicBezTo>
                        <a:pt x="90" y="390"/>
                        <a:pt x="120" y="375"/>
                        <a:pt x="126" y="384"/>
                      </a:cubicBezTo>
                      <a:cubicBezTo>
                        <a:pt x="133" y="394"/>
                        <a:pt x="158" y="391"/>
                        <a:pt x="145" y="402"/>
                      </a:cubicBezTo>
                      <a:cubicBezTo>
                        <a:pt x="150" y="406"/>
                        <a:pt x="150" y="406"/>
                        <a:pt x="150" y="406"/>
                      </a:cubicBezTo>
                      <a:cubicBezTo>
                        <a:pt x="157" y="424"/>
                        <a:pt x="157" y="424"/>
                        <a:pt x="157" y="424"/>
                      </a:cubicBezTo>
                      <a:cubicBezTo>
                        <a:pt x="157" y="424"/>
                        <a:pt x="188" y="403"/>
                        <a:pt x="174" y="452"/>
                      </a:cubicBezTo>
                      <a:cubicBezTo>
                        <a:pt x="170" y="464"/>
                        <a:pt x="170" y="468"/>
                        <a:pt x="171" y="469"/>
                      </a:cubicBezTo>
                      <a:cubicBezTo>
                        <a:pt x="172" y="470"/>
                        <a:pt x="172" y="470"/>
                        <a:pt x="172" y="470"/>
                      </a:cubicBezTo>
                      <a:cubicBezTo>
                        <a:pt x="172" y="470"/>
                        <a:pt x="171" y="470"/>
                        <a:pt x="171" y="469"/>
                      </a:cubicBezTo>
                      <a:cubicBezTo>
                        <a:pt x="157" y="458"/>
                        <a:pt x="157" y="458"/>
                        <a:pt x="157" y="458"/>
                      </a:cubicBezTo>
                      <a:cubicBezTo>
                        <a:pt x="160" y="470"/>
                        <a:pt x="160" y="470"/>
                        <a:pt x="160" y="470"/>
                      </a:cubicBezTo>
                      <a:cubicBezTo>
                        <a:pt x="160" y="470"/>
                        <a:pt x="150" y="475"/>
                        <a:pt x="150" y="479"/>
                      </a:cubicBezTo>
                      <a:cubicBezTo>
                        <a:pt x="150" y="483"/>
                        <a:pt x="157" y="495"/>
                        <a:pt x="157" y="495"/>
                      </a:cubicBezTo>
                      <a:cubicBezTo>
                        <a:pt x="142" y="495"/>
                        <a:pt x="142" y="495"/>
                        <a:pt x="142" y="495"/>
                      </a:cubicBezTo>
                      <a:cubicBezTo>
                        <a:pt x="142" y="515"/>
                        <a:pt x="142" y="515"/>
                        <a:pt x="142" y="515"/>
                      </a:cubicBezTo>
                      <a:cubicBezTo>
                        <a:pt x="122" y="519"/>
                        <a:pt x="122" y="519"/>
                        <a:pt x="122" y="519"/>
                      </a:cubicBezTo>
                      <a:cubicBezTo>
                        <a:pt x="110" y="547"/>
                        <a:pt x="110" y="547"/>
                        <a:pt x="110" y="547"/>
                      </a:cubicBezTo>
                      <a:cubicBezTo>
                        <a:pt x="82" y="548"/>
                        <a:pt x="82" y="548"/>
                        <a:pt x="82" y="548"/>
                      </a:cubicBezTo>
                      <a:cubicBezTo>
                        <a:pt x="81" y="554"/>
                        <a:pt x="81" y="554"/>
                        <a:pt x="81" y="554"/>
                      </a:cubicBezTo>
                      <a:cubicBezTo>
                        <a:pt x="62" y="563"/>
                        <a:pt x="62" y="563"/>
                        <a:pt x="62" y="563"/>
                      </a:cubicBezTo>
                      <a:cubicBezTo>
                        <a:pt x="62" y="579"/>
                        <a:pt x="62" y="579"/>
                        <a:pt x="62" y="579"/>
                      </a:cubicBezTo>
                      <a:cubicBezTo>
                        <a:pt x="41" y="588"/>
                        <a:pt x="41" y="588"/>
                        <a:pt x="41" y="588"/>
                      </a:cubicBezTo>
                      <a:cubicBezTo>
                        <a:pt x="54" y="640"/>
                        <a:pt x="54" y="640"/>
                        <a:pt x="54" y="640"/>
                      </a:cubicBezTo>
                      <a:lnTo>
                        <a:pt x="68" y="647"/>
                      </a:lnTo>
                      <a:close/>
                    </a:path>
                  </a:pathLst>
                </a:custGeom>
                <a:solidFill>
                  <a:srgbClr val="F4F3F0"/>
                </a:solidFill>
                <a:ln w="3175" cap="flat" cmpd="sng">
                  <a:solidFill>
                    <a:schemeClr val="accent2"/>
                  </a:solidFill>
                  <a:prstDash val="solid"/>
                  <a:round/>
                  <a:headEnd type="none" w="med" len="med"/>
                  <a:tailEnd type="none" w="med" len="med"/>
                </a:ln>
                <a:effectLst/>
              </p:spPr>
              <p:txBody>
                <a:bodyPr/>
                <a:lstStyle/>
                <a:p>
                  <a:endParaRPr lang="fr-FR">
                    <a:solidFill>
                      <a:srgbClr val="5F5F5F"/>
                    </a:solidFill>
                    <a:latin typeface="Tahoma"/>
                  </a:endParaRPr>
                </a:p>
              </p:txBody>
            </p:sp>
          </p:grpSp>
          <p:pic>
            <p:nvPicPr>
              <p:cNvPr id="176" name="Location-White-Background">
                <a:extLst>
                  <a:ext uri="{FF2B5EF4-FFF2-40B4-BE49-F238E27FC236}">
                    <a16:creationId xmlns:a16="http://schemas.microsoft.com/office/drawing/2014/main" id="{CC5BB4AA-F599-4170-BF1B-412360A20689}"/>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8124795" y="4049659"/>
                <a:ext cx="161684" cy="161684"/>
              </a:xfrm>
              <a:prstGeom prst="rect">
                <a:avLst/>
              </a:prstGeom>
            </p:spPr>
          </p:pic>
        </p:grpSp>
        <p:pic>
          <p:nvPicPr>
            <p:cNvPr id="166" name="Location-White-Background">
              <a:extLst>
                <a:ext uri="{FF2B5EF4-FFF2-40B4-BE49-F238E27FC236}">
                  <a16:creationId xmlns:a16="http://schemas.microsoft.com/office/drawing/2014/main" id="{644395D3-111C-4208-8808-32EA11115FCE}"/>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4508784" y="1624280"/>
              <a:ext cx="186199" cy="182268"/>
            </a:xfrm>
            <a:prstGeom prst="rect">
              <a:avLst/>
            </a:prstGeom>
          </p:spPr>
        </p:pic>
        <p:sp>
          <p:nvSpPr>
            <p:cNvPr id="167" name="ZoneTexte 166">
              <a:extLst>
                <a:ext uri="{FF2B5EF4-FFF2-40B4-BE49-F238E27FC236}">
                  <a16:creationId xmlns:a16="http://schemas.microsoft.com/office/drawing/2014/main" id="{7FF8DDA1-DE46-4A70-ADDC-35B0BC21D19B}"/>
                </a:ext>
              </a:extLst>
            </p:cNvPr>
            <p:cNvSpPr txBox="1"/>
            <p:nvPr/>
          </p:nvSpPr>
          <p:spPr>
            <a:xfrm>
              <a:off x="4994026" y="2505108"/>
              <a:ext cx="1198495" cy="299219"/>
            </a:xfrm>
            <a:prstGeom prst="rect">
              <a:avLst/>
            </a:prstGeom>
            <a:noFill/>
          </p:spPr>
          <p:txBody>
            <a:bodyPr wrap="square" lIns="108000" rIns="108000" rtlCol="0">
              <a:spAutoFit/>
            </a:bodyPr>
            <a:lstStyle/>
            <a:p>
              <a:pPr algn="ctr"/>
              <a:r>
                <a:rPr lang="fr-FR" sz="700" b="1">
                  <a:solidFill>
                    <a:srgbClr val="503078"/>
                  </a:solidFill>
                  <a:latin typeface="Tahoma"/>
                </a:rPr>
                <a:t>Méditerranée</a:t>
              </a:r>
              <a:endParaRPr lang="fr-FR" sz="700">
                <a:solidFill>
                  <a:srgbClr val="5F5F5F"/>
                </a:solidFill>
                <a:latin typeface="Tahoma"/>
              </a:endParaRPr>
            </a:p>
          </p:txBody>
        </p:sp>
        <p:pic>
          <p:nvPicPr>
            <p:cNvPr id="168" name="Location-White-Background">
              <a:extLst>
                <a:ext uri="{FF2B5EF4-FFF2-40B4-BE49-F238E27FC236}">
                  <a16:creationId xmlns:a16="http://schemas.microsoft.com/office/drawing/2014/main" id="{074E458B-26AC-4876-9292-0716A96E4D35}"/>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4393239" y="2275584"/>
              <a:ext cx="186199" cy="182269"/>
            </a:xfrm>
            <a:prstGeom prst="rect">
              <a:avLst/>
            </a:prstGeom>
          </p:spPr>
        </p:pic>
        <p:pic>
          <p:nvPicPr>
            <p:cNvPr id="169" name="Location-White-Background">
              <a:extLst>
                <a:ext uri="{FF2B5EF4-FFF2-40B4-BE49-F238E27FC236}">
                  <a16:creationId xmlns:a16="http://schemas.microsoft.com/office/drawing/2014/main" id="{E7420621-4CC5-4E3F-B871-49E288B8A3CE}"/>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4885511" y="2068939"/>
              <a:ext cx="186199" cy="182269"/>
            </a:xfrm>
            <a:prstGeom prst="rect">
              <a:avLst/>
            </a:prstGeom>
          </p:spPr>
        </p:pic>
        <p:pic>
          <p:nvPicPr>
            <p:cNvPr id="170" name="Location-White-Background">
              <a:extLst>
                <a:ext uri="{FF2B5EF4-FFF2-40B4-BE49-F238E27FC236}">
                  <a16:creationId xmlns:a16="http://schemas.microsoft.com/office/drawing/2014/main" id="{86A1D248-331D-4A9F-85C1-01401FACDCB4}"/>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4447393" y="1874582"/>
              <a:ext cx="186199" cy="182268"/>
            </a:xfrm>
            <a:prstGeom prst="rect">
              <a:avLst/>
            </a:prstGeom>
          </p:spPr>
        </p:pic>
        <p:sp>
          <p:nvSpPr>
            <p:cNvPr id="171" name="ZoneTexte 170">
              <a:extLst>
                <a:ext uri="{FF2B5EF4-FFF2-40B4-BE49-F238E27FC236}">
                  <a16:creationId xmlns:a16="http://schemas.microsoft.com/office/drawing/2014/main" id="{BF9A3DAF-A6FB-41C6-8DD6-1810454F02DD}"/>
                </a:ext>
              </a:extLst>
            </p:cNvPr>
            <p:cNvSpPr txBox="1"/>
            <p:nvPr/>
          </p:nvSpPr>
          <p:spPr>
            <a:xfrm>
              <a:off x="3669077" y="2342436"/>
              <a:ext cx="1345134" cy="460337"/>
            </a:xfrm>
            <a:prstGeom prst="rect">
              <a:avLst/>
            </a:prstGeom>
            <a:noFill/>
          </p:spPr>
          <p:txBody>
            <a:bodyPr wrap="square" lIns="108000" rIns="108000" rtlCol="0">
              <a:spAutoFit/>
            </a:bodyPr>
            <a:lstStyle/>
            <a:p>
              <a:pPr algn="ctr"/>
              <a:r>
                <a:rPr lang="fr-FR" sz="700" b="1">
                  <a:solidFill>
                    <a:srgbClr val="503078"/>
                  </a:solidFill>
                  <a:latin typeface="Tahoma"/>
                </a:rPr>
                <a:t>Sud-Ouest / Atlantique</a:t>
              </a:r>
              <a:endParaRPr lang="fr-FR" sz="700">
                <a:solidFill>
                  <a:srgbClr val="5F5F5F"/>
                </a:solidFill>
                <a:latin typeface="Tahoma"/>
              </a:endParaRPr>
            </a:p>
          </p:txBody>
        </p:sp>
        <p:sp>
          <p:nvSpPr>
            <p:cNvPr id="172" name="ZoneTexte 171">
              <a:extLst>
                <a:ext uri="{FF2B5EF4-FFF2-40B4-BE49-F238E27FC236}">
                  <a16:creationId xmlns:a16="http://schemas.microsoft.com/office/drawing/2014/main" id="{930579A1-7B75-46E7-B704-0B78E08375DB}"/>
                </a:ext>
              </a:extLst>
            </p:cNvPr>
            <p:cNvSpPr txBox="1"/>
            <p:nvPr/>
          </p:nvSpPr>
          <p:spPr>
            <a:xfrm>
              <a:off x="4911672" y="2037374"/>
              <a:ext cx="974001" cy="299219"/>
            </a:xfrm>
            <a:prstGeom prst="rect">
              <a:avLst/>
            </a:prstGeom>
            <a:noFill/>
          </p:spPr>
          <p:txBody>
            <a:bodyPr wrap="square" lIns="108000" rIns="108000" rtlCol="0">
              <a:spAutoFit/>
            </a:bodyPr>
            <a:lstStyle/>
            <a:p>
              <a:pPr algn="ctr"/>
              <a:r>
                <a:rPr lang="fr-FR" sz="700" b="1">
                  <a:solidFill>
                    <a:srgbClr val="503078"/>
                  </a:solidFill>
                  <a:latin typeface="Tahoma"/>
                </a:rPr>
                <a:t>Auvergne</a:t>
              </a:r>
              <a:endParaRPr lang="fr-FR" sz="700">
                <a:solidFill>
                  <a:srgbClr val="5F5F5F"/>
                </a:solidFill>
                <a:latin typeface="Tahoma"/>
              </a:endParaRPr>
            </a:p>
          </p:txBody>
        </p:sp>
        <p:sp>
          <p:nvSpPr>
            <p:cNvPr id="173" name="ZoneTexte 172">
              <a:extLst>
                <a:ext uri="{FF2B5EF4-FFF2-40B4-BE49-F238E27FC236}">
                  <a16:creationId xmlns:a16="http://schemas.microsoft.com/office/drawing/2014/main" id="{85A49B5B-D64A-4EE6-B1AD-3E8FD062625C}"/>
                </a:ext>
              </a:extLst>
            </p:cNvPr>
            <p:cNvSpPr txBox="1"/>
            <p:nvPr/>
          </p:nvSpPr>
          <p:spPr>
            <a:xfrm>
              <a:off x="3427116" y="1406107"/>
              <a:ext cx="1891821" cy="299219"/>
            </a:xfrm>
            <a:prstGeom prst="rect">
              <a:avLst/>
            </a:prstGeom>
            <a:noFill/>
          </p:spPr>
          <p:txBody>
            <a:bodyPr wrap="square" lIns="108000" rIns="108000" rtlCol="0">
              <a:spAutoFit/>
            </a:bodyPr>
            <a:lstStyle/>
            <a:p>
              <a:pPr algn="ctr"/>
              <a:r>
                <a:rPr lang="fr-FR" sz="700" b="1">
                  <a:solidFill>
                    <a:srgbClr val="503078"/>
                  </a:solidFill>
                  <a:latin typeface="Tahoma"/>
                </a:rPr>
                <a:t>Bretagne / Normandie</a:t>
              </a:r>
              <a:endParaRPr lang="fr-FR" sz="700">
                <a:solidFill>
                  <a:srgbClr val="5F5F5F"/>
                </a:solidFill>
                <a:latin typeface="Tahoma"/>
              </a:endParaRPr>
            </a:p>
          </p:txBody>
        </p:sp>
        <p:sp>
          <p:nvSpPr>
            <p:cNvPr id="174" name="ZoneTexte 173">
              <a:extLst>
                <a:ext uri="{FF2B5EF4-FFF2-40B4-BE49-F238E27FC236}">
                  <a16:creationId xmlns:a16="http://schemas.microsoft.com/office/drawing/2014/main" id="{C7657DA6-7F90-47FF-998A-CA2FAF5ED04E}"/>
                </a:ext>
              </a:extLst>
            </p:cNvPr>
            <p:cNvSpPr txBox="1"/>
            <p:nvPr/>
          </p:nvSpPr>
          <p:spPr>
            <a:xfrm>
              <a:off x="3562134" y="1968083"/>
              <a:ext cx="1596098" cy="299219"/>
            </a:xfrm>
            <a:prstGeom prst="rect">
              <a:avLst/>
            </a:prstGeom>
            <a:noFill/>
          </p:spPr>
          <p:txBody>
            <a:bodyPr wrap="square" lIns="108000" rIns="108000" rtlCol="0">
              <a:spAutoFit/>
            </a:bodyPr>
            <a:lstStyle/>
            <a:p>
              <a:pPr algn="ctr"/>
              <a:r>
                <a:rPr lang="fr-FR" sz="700" b="1">
                  <a:solidFill>
                    <a:srgbClr val="503078"/>
                  </a:solidFill>
                  <a:latin typeface="Tahoma"/>
                </a:rPr>
                <a:t>Charente</a:t>
              </a:r>
              <a:endParaRPr lang="fr-FR" sz="700">
                <a:solidFill>
                  <a:srgbClr val="5F5F5F"/>
                </a:solidFill>
                <a:latin typeface="Tahoma"/>
              </a:endParaRPr>
            </a:p>
          </p:txBody>
        </p:sp>
      </p:grpSp>
      <p:sp>
        <p:nvSpPr>
          <p:cNvPr id="200" name="ZoneTexte 199">
            <a:extLst>
              <a:ext uri="{FF2B5EF4-FFF2-40B4-BE49-F238E27FC236}">
                <a16:creationId xmlns:a16="http://schemas.microsoft.com/office/drawing/2014/main" id="{9D2F707F-B137-4D67-8AF0-A94280C85E9E}"/>
              </a:ext>
            </a:extLst>
          </p:cNvPr>
          <p:cNvSpPr txBox="1"/>
          <p:nvPr/>
        </p:nvSpPr>
        <p:spPr>
          <a:xfrm>
            <a:off x="1187839" y="1847974"/>
            <a:ext cx="5982318" cy="307777"/>
          </a:xfrm>
          <a:prstGeom prst="rect">
            <a:avLst/>
          </a:prstGeom>
          <a:noFill/>
          <a:ln>
            <a:solidFill>
              <a:schemeClr val="bg1"/>
            </a:solidFill>
          </a:ln>
        </p:spPr>
        <p:txBody>
          <a:bodyPr wrap="square" lIns="108000" rIns="108000" rtlCol="0">
            <a:spAutoFit/>
          </a:bodyPr>
          <a:lstStyle/>
          <a:p>
            <a:r>
              <a:rPr lang="fr-FR" sz="1400" b="1">
                <a:solidFill>
                  <a:srgbClr val="503078"/>
                </a:solidFill>
                <a:latin typeface="Tahoma"/>
              </a:rPr>
              <a:t>Description</a:t>
            </a:r>
          </a:p>
        </p:txBody>
      </p:sp>
      <p:sp>
        <p:nvSpPr>
          <p:cNvPr id="201" name="ZoneTexte 200">
            <a:extLst>
              <a:ext uri="{FF2B5EF4-FFF2-40B4-BE49-F238E27FC236}">
                <a16:creationId xmlns:a16="http://schemas.microsoft.com/office/drawing/2014/main" id="{89A8527A-3C63-4EFF-8583-1E85A8B450C3}"/>
              </a:ext>
            </a:extLst>
          </p:cNvPr>
          <p:cNvSpPr txBox="1"/>
          <p:nvPr/>
        </p:nvSpPr>
        <p:spPr>
          <a:xfrm>
            <a:off x="1231327" y="2091066"/>
            <a:ext cx="9706664" cy="577081"/>
          </a:xfrm>
          <a:prstGeom prst="rect">
            <a:avLst/>
          </a:prstGeom>
          <a:noFill/>
        </p:spPr>
        <p:txBody>
          <a:bodyPr wrap="square">
            <a:spAutoFit/>
          </a:bodyPr>
          <a:lstStyle/>
          <a:p>
            <a:pPr algn="just"/>
            <a:r>
              <a:rPr lang="fr-FR" sz="1050">
                <a:solidFill>
                  <a:srgbClr val="5F5F5F"/>
                </a:solidFill>
                <a:latin typeface="Tahoma"/>
              </a:rPr>
              <a:t>L’association France Alzheimer propose chaque année de mai à octobre 16 séjours d’une durée de 7 à 11 jours dans des centres adaptés aux besoins des personnes malades : des séjours détente ou à thème à destination des personnes malades et de leurs aidants et des séjours « solo » proposés aux aidants seuls, confrontés à la perte récente de leur proche ou à son entrée en établissement. Chaque année, ces séjours accueillent environ 400 personnes.</a:t>
            </a:r>
          </a:p>
        </p:txBody>
      </p:sp>
      <p:sp>
        <p:nvSpPr>
          <p:cNvPr id="202" name="ZoneTexte 201">
            <a:extLst>
              <a:ext uri="{FF2B5EF4-FFF2-40B4-BE49-F238E27FC236}">
                <a16:creationId xmlns:a16="http://schemas.microsoft.com/office/drawing/2014/main" id="{86D9062D-5DAA-4187-A261-714CAB818DC0}"/>
              </a:ext>
            </a:extLst>
          </p:cNvPr>
          <p:cNvSpPr txBox="1"/>
          <p:nvPr/>
        </p:nvSpPr>
        <p:spPr>
          <a:xfrm>
            <a:off x="2624666" y="3252850"/>
            <a:ext cx="3376602" cy="592470"/>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204" name="ZoneTexte 203">
            <a:extLst>
              <a:ext uri="{FF2B5EF4-FFF2-40B4-BE49-F238E27FC236}">
                <a16:creationId xmlns:a16="http://schemas.microsoft.com/office/drawing/2014/main" id="{D68FE60B-BC0E-4C26-A344-18DE6F17651B}"/>
              </a:ext>
            </a:extLst>
          </p:cNvPr>
          <p:cNvSpPr txBox="1"/>
          <p:nvPr/>
        </p:nvSpPr>
        <p:spPr>
          <a:xfrm>
            <a:off x="2619766" y="3901690"/>
            <a:ext cx="3376602" cy="1481607"/>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205" name="Rectangle 204">
            <a:extLst>
              <a:ext uri="{FF2B5EF4-FFF2-40B4-BE49-F238E27FC236}">
                <a16:creationId xmlns:a16="http://schemas.microsoft.com/office/drawing/2014/main" id="{CF48149E-20A4-4107-8D3B-E9C08061E6D3}"/>
              </a:ext>
            </a:extLst>
          </p:cNvPr>
          <p:cNvSpPr/>
          <p:nvPr/>
        </p:nvSpPr>
        <p:spPr>
          <a:xfrm>
            <a:off x="1254008" y="2846616"/>
            <a:ext cx="4825165" cy="3722686"/>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206" name="ZoneTexte 205">
            <a:extLst>
              <a:ext uri="{FF2B5EF4-FFF2-40B4-BE49-F238E27FC236}">
                <a16:creationId xmlns:a16="http://schemas.microsoft.com/office/drawing/2014/main" id="{0EB21C34-11EC-46BC-A926-B83151B45BF2}"/>
              </a:ext>
            </a:extLst>
          </p:cNvPr>
          <p:cNvSpPr txBox="1"/>
          <p:nvPr/>
        </p:nvSpPr>
        <p:spPr>
          <a:xfrm>
            <a:off x="1253624" y="2846696"/>
            <a:ext cx="4815764" cy="307777"/>
          </a:xfrm>
          <a:prstGeom prst="rect">
            <a:avLst/>
          </a:prstGeom>
          <a:solidFill>
            <a:srgbClr val="B0ADCC"/>
          </a:solidFill>
          <a:ln>
            <a:noFill/>
          </a:ln>
        </p:spPr>
        <p:txBody>
          <a:bodyPr wrap="square" lIns="108000" rIns="108000" rtlCol="0">
            <a:spAutoFit/>
          </a:bodyPr>
          <a:lstStyle/>
          <a:p>
            <a:pPr algn="ctr"/>
            <a:r>
              <a:rPr lang="fr-FR" sz="1400" b="1">
                <a:solidFill>
                  <a:srgbClr val="FFFFFF"/>
                </a:solidFill>
                <a:latin typeface="Tahoma"/>
              </a:rPr>
              <a:t>Modèle opérationnel </a:t>
            </a:r>
          </a:p>
        </p:txBody>
      </p:sp>
      <p:sp>
        <p:nvSpPr>
          <p:cNvPr id="207" name="Rectangle 206">
            <a:extLst>
              <a:ext uri="{FF2B5EF4-FFF2-40B4-BE49-F238E27FC236}">
                <a16:creationId xmlns:a16="http://schemas.microsoft.com/office/drawing/2014/main" id="{EFF73BB4-C1D5-47DD-AFD1-E52F46A4D023}"/>
              </a:ext>
            </a:extLst>
          </p:cNvPr>
          <p:cNvSpPr/>
          <p:nvPr/>
        </p:nvSpPr>
        <p:spPr>
          <a:xfrm>
            <a:off x="6122613" y="2846616"/>
            <a:ext cx="4824000" cy="3722686"/>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208" name="ZoneTexte 207">
            <a:extLst>
              <a:ext uri="{FF2B5EF4-FFF2-40B4-BE49-F238E27FC236}">
                <a16:creationId xmlns:a16="http://schemas.microsoft.com/office/drawing/2014/main" id="{3C9830EC-03E9-4EB7-A0ED-B14D1AFB6145}"/>
              </a:ext>
            </a:extLst>
          </p:cNvPr>
          <p:cNvSpPr txBox="1"/>
          <p:nvPr/>
        </p:nvSpPr>
        <p:spPr>
          <a:xfrm>
            <a:off x="6124765" y="2855928"/>
            <a:ext cx="4824000" cy="307777"/>
          </a:xfrm>
          <a:prstGeom prst="rect">
            <a:avLst/>
          </a:prstGeom>
          <a:solidFill>
            <a:srgbClr val="B24669"/>
          </a:solidFill>
          <a:ln>
            <a:noFill/>
          </a:ln>
        </p:spPr>
        <p:txBody>
          <a:bodyPr wrap="square" lIns="108000" rIns="108000" rtlCol="0">
            <a:spAutoFit/>
          </a:bodyPr>
          <a:lstStyle/>
          <a:p>
            <a:pPr algn="ctr"/>
            <a:r>
              <a:rPr lang="fr-FR" sz="1400" b="1">
                <a:solidFill>
                  <a:srgbClr val="FFFFFF"/>
                </a:solidFill>
                <a:latin typeface="Tahoma"/>
              </a:rPr>
              <a:t>Modèle économique </a:t>
            </a:r>
          </a:p>
        </p:txBody>
      </p:sp>
      <p:sp>
        <p:nvSpPr>
          <p:cNvPr id="209" name="ZoneTexte 208">
            <a:extLst>
              <a:ext uri="{FF2B5EF4-FFF2-40B4-BE49-F238E27FC236}">
                <a16:creationId xmlns:a16="http://schemas.microsoft.com/office/drawing/2014/main" id="{316441E8-83CA-47EB-BD43-C7EF2982A1C6}"/>
              </a:ext>
            </a:extLst>
          </p:cNvPr>
          <p:cNvSpPr txBox="1"/>
          <p:nvPr/>
        </p:nvSpPr>
        <p:spPr>
          <a:xfrm>
            <a:off x="2627338" y="3236673"/>
            <a:ext cx="3380319" cy="592470"/>
          </a:xfrm>
          <a:prstGeom prst="rect">
            <a:avLst/>
          </a:prstGeom>
          <a:noFill/>
          <a:ln>
            <a:noFill/>
          </a:ln>
        </p:spPr>
        <p:txBody>
          <a:bodyPr wrap="square" lIns="108000" rIns="108000" rtlCol="0">
            <a:spAutoFit/>
          </a:bodyPr>
          <a:lstStyle/>
          <a:p>
            <a:pPr marL="171450" indent="-171450" algn="just">
              <a:spcAft>
                <a:spcPts val="300"/>
              </a:spcAft>
              <a:buClr>
                <a:srgbClr val="503078"/>
              </a:buClr>
              <a:buFont typeface="Tahoma" panose="020B0604030504040204" pitchFamily="34" charset="0"/>
              <a:buChar char="⁄"/>
              <a:defRPr/>
            </a:pPr>
            <a:r>
              <a:rPr lang="fr-FR" sz="1000">
                <a:solidFill>
                  <a:srgbClr val="5F5F5F"/>
                </a:solidFill>
                <a:latin typeface="Tahoma"/>
              </a:rPr>
              <a:t>Location de logements, sélectionnés en fonction de la configuration et du profil des groupes</a:t>
            </a:r>
          </a:p>
          <a:p>
            <a:pPr marL="171450" indent="-171450" algn="just">
              <a:spcAft>
                <a:spcPts val="300"/>
              </a:spcAft>
              <a:buClr>
                <a:srgbClr val="503078"/>
              </a:buClr>
              <a:buFont typeface="Tahoma" panose="020B0604030504040204" pitchFamily="34" charset="0"/>
              <a:buChar char="⁄"/>
              <a:defRPr/>
            </a:pPr>
            <a:r>
              <a:rPr lang="fr-FR" sz="1000">
                <a:solidFill>
                  <a:srgbClr val="5F5F5F"/>
                </a:solidFill>
                <a:latin typeface="Tahoma"/>
              </a:rPr>
              <a:t>Hébergements en chambre double</a:t>
            </a:r>
          </a:p>
        </p:txBody>
      </p:sp>
      <p:sp>
        <p:nvSpPr>
          <p:cNvPr id="211" name="ZoneTexte 210">
            <a:extLst>
              <a:ext uri="{FF2B5EF4-FFF2-40B4-BE49-F238E27FC236}">
                <a16:creationId xmlns:a16="http://schemas.microsoft.com/office/drawing/2014/main" id="{9D7F7D6B-4771-406F-9C8D-1BFE8F6BC331}"/>
              </a:ext>
            </a:extLst>
          </p:cNvPr>
          <p:cNvSpPr txBox="1"/>
          <p:nvPr/>
        </p:nvSpPr>
        <p:spPr>
          <a:xfrm>
            <a:off x="2627113" y="4004198"/>
            <a:ext cx="3405650" cy="1307089"/>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ncadrement par une équipe de bénévoles formés par les Conseils Départementaux et l’Association</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ossibilité de mise en relation avec des professionnels de santé </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Location d’équipements médicaux possible en supplément pour les familles (prise en charge par la sécurité sociale)</a:t>
            </a:r>
          </a:p>
        </p:txBody>
      </p:sp>
      <p:sp>
        <p:nvSpPr>
          <p:cNvPr id="212" name="ZoneTexte 211">
            <a:extLst>
              <a:ext uri="{FF2B5EF4-FFF2-40B4-BE49-F238E27FC236}">
                <a16:creationId xmlns:a16="http://schemas.microsoft.com/office/drawing/2014/main" id="{77BAAD98-2F46-477A-B040-2E10B00C6436}"/>
              </a:ext>
            </a:extLst>
          </p:cNvPr>
          <p:cNvSpPr txBox="1"/>
          <p:nvPr/>
        </p:nvSpPr>
        <p:spPr>
          <a:xfrm>
            <a:off x="6183557" y="3263483"/>
            <a:ext cx="3751654" cy="576739"/>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213" name="ZoneTexte 212">
            <a:extLst>
              <a:ext uri="{FF2B5EF4-FFF2-40B4-BE49-F238E27FC236}">
                <a16:creationId xmlns:a16="http://schemas.microsoft.com/office/drawing/2014/main" id="{0EDEEA36-40A6-4A14-8D14-A6CE1C28B99E}"/>
              </a:ext>
            </a:extLst>
          </p:cNvPr>
          <p:cNvSpPr txBox="1"/>
          <p:nvPr/>
        </p:nvSpPr>
        <p:spPr>
          <a:xfrm>
            <a:off x="6190462" y="3902214"/>
            <a:ext cx="3751654" cy="1481083"/>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pic>
        <p:nvPicPr>
          <p:cNvPr id="214" name="Graphique 213" descr="Logement avec un remplissage uni">
            <a:extLst>
              <a:ext uri="{FF2B5EF4-FFF2-40B4-BE49-F238E27FC236}">
                <a16:creationId xmlns:a16="http://schemas.microsoft.com/office/drawing/2014/main" id="{4BE3D3EE-71BB-468F-AC64-179923F366C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19350" y="3346455"/>
            <a:ext cx="447721" cy="447721"/>
          </a:xfrm>
          <a:prstGeom prst="rect">
            <a:avLst/>
          </a:prstGeom>
        </p:spPr>
      </p:pic>
      <p:sp>
        <p:nvSpPr>
          <p:cNvPr id="215" name="ZoneTexte 214">
            <a:extLst>
              <a:ext uri="{FF2B5EF4-FFF2-40B4-BE49-F238E27FC236}">
                <a16:creationId xmlns:a16="http://schemas.microsoft.com/office/drawing/2014/main" id="{3DE58BAA-B277-4C22-B833-81B0C5781A5B}"/>
              </a:ext>
            </a:extLst>
          </p:cNvPr>
          <p:cNvSpPr txBox="1"/>
          <p:nvPr/>
        </p:nvSpPr>
        <p:spPr>
          <a:xfrm>
            <a:off x="9833569" y="3178673"/>
            <a:ext cx="1207414" cy="446276"/>
          </a:xfrm>
          <a:prstGeom prst="rect">
            <a:avLst/>
          </a:prstGeom>
          <a:noFill/>
          <a:ln>
            <a:noFill/>
          </a:ln>
        </p:spPr>
        <p:txBody>
          <a:bodyPr wrap="square" lIns="108000" rIns="108000" rtlCol="0">
            <a:spAutoFit/>
          </a:bodyPr>
          <a:lstStyle/>
          <a:p>
            <a:pPr algn="ctr"/>
            <a:r>
              <a:rPr lang="fr-FR" sz="1100" b="1">
                <a:solidFill>
                  <a:srgbClr val="B24669"/>
                </a:solidFill>
                <a:latin typeface="Tahoma"/>
              </a:rPr>
              <a:t>Immobilier</a:t>
            </a:r>
          </a:p>
          <a:p>
            <a:pPr marL="171450" indent="-171450" algn="ctr">
              <a:buFontTx/>
              <a:buChar char="-"/>
            </a:pPr>
            <a:endParaRPr lang="fr-FR" sz="1200">
              <a:solidFill>
                <a:srgbClr val="B24669"/>
              </a:solidFill>
              <a:latin typeface="Tahoma"/>
            </a:endParaRPr>
          </a:p>
        </p:txBody>
      </p:sp>
      <p:sp>
        <p:nvSpPr>
          <p:cNvPr id="216" name="ZoneTexte 215">
            <a:extLst>
              <a:ext uri="{FF2B5EF4-FFF2-40B4-BE49-F238E27FC236}">
                <a16:creationId xmlns:a16="http://schemas.microsoft.com/office/drawing/2014/main" id="{8B10D3D2-A5CC-49A2-9701-DD036C529D2F}"/>
              </a:ext>
            </a:extLst>
          </p:cNvPr>
          <p:cNvSpPr txBox="1"/>
          <p:nvPr/>
        </p:nvSpPr>
        <p:spPr>
          <a:xfrm>
            <a:off x="6146428" y="3248403"/>
            <a:ext cx="3795688" cy="553998"/>
          </a:xfrm>
          <a:prstGeom prst="rect">
            <a:avLst/>
          </a:prstGeom>
          <a:noFill/>
          <a:ln>
            <a:noFill/>
          </a:ln>
        </p:spPr>
        <p:txBody>
          <a:bodyPr wrap="square" lIns="108000" rIns="108000" rtlCol="0">
            <a:spAutoFit/>
          </a:bodyPr>
          <a:lstStyle/>
          <a:p>
            <a:pPr marL="171450" indent="-171450" algn="just">
              <a:buClr>
                <a:srgbClr val="503078"/>
              </a:buClr>
              <a:buFont typeface="Tahoma" panose="020B0604030504040204" pitchFamily="34" charset="0"/>
              <a:buChar char="⁄"/>
              <a:defRPr/>
            </a:pPr>
            <a:r>
              <a:rPr lang="fr-FR" sz="1000">
                <a:solidFill>
                  <a:srgbClr val="5F5F5F"/>
                </a:solidFill>
                <a:latin typeface="Tahoma"/>
              </a:rPr>
              <a:t>Partenariats avec des centres de vacances pour des locations d’hébergement sur des périodes de séjours définies (entre mai et octobre) : pas d’investissement requis </a:t>
            </a:r>
          </a:p>
        </p:txBody>
      </p:sp>
      <p:sp>
        <p:nvSpPr>
          <p:cNvPr id="217" name="ZoneTexte 216">
            <a:extLst>
              <a:ext uri="{FF2B5EF4-FFF2-40B4-BE49-F238E27FC236}">
                <a16:creationId xmlns:a16="http://schemas.microsoft.com/office/drawing/2014/main" id="{25720BC1-4030-49A6-9E37-BE0BF3C39C29}"/>
              </a:ext>
            </a:extLst>
          </p:cNvPr>
          <p:cNvSpPr txBox="1"/>
          <p:nvPr/>
        </p:nvSpPr>
        <p:spPr>
          <a:xfrm>
            <a:off x="9973914" y="4051621"/>
            <a:ext cx="998185"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Frais de </a:t>
            </a:r>
            <a:r>
              <a:rPr lang="fr-FR" sz="1100" b="1" err="1">
                <a:solidFill>
                  <a:srgbClr val="B24669"/>
                </a:solidFill>
                <a:latin typeface="Tahoma"/>
              </a:rPr>
              <a:t>fonct</a:t>
            </a:r>
            <a:r>
              <a:rPr lang="fr-FR" sz="1100" b="1">
                <a:solidFill>
                  <a:srgbClr val="B24669"/>
                </a:solidFill>
                <a:latin typeface="Tahoma"/>
              </a:rPr>
              <a:t>.</a:t>
            </a:r>
          </a:p>
        </p:txBody>
      </p:sp>
      <p:sp>
        <p:nvSpPr>
          <p:cNvPr id="218" name="ZoneTexte 217">
            <a:extLst>
              <a:ext uri="{FF2B5EF4-FFF2-40B4-BE49-F238E27FC236}">
                <a16:creationId xmlns:a16="http://schemas.microsoft.com/office/drawing/2014/main" id="{90F55448-AC00-4F29-9940-043B4D110F3D}"/>
              </a:ext>
            </a:extLst>
          </p:cNvPr>
          <p:cNvSpPr txBox="1"/>
          <p:nvPr/>
        </p:nvSpPr>
        <p:spPr>
          <a:xfrm>
            <a:off x="6145480" y="4176564"/>
            <a:ext cx="3713108" cy="1015663"/>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defRPr/>
            </a:pPr>
            <a:r>
              <a:rPr lang="fr-FR" sz="1000">
                <a:solidFill>
                  <a:srgbClr val="5F5F5F"/>
                </a:solidFill>
                <a:latin typeface="Tahoma"/>
              </a:rPr>
              <a:t>Dons + mécénat</a:t>
            </a:r>
          </a:p>
          <a:p>
            <a:pPr marL="171450" indent="-171450" algn="just">
              <a:buClr>
                <a:srgbClr val="503078"/>
              </a:buClr>
              <a:buFont typeface="Tahoma" panose="020B0604030504040204" pitchFamily="34" charset="0"/>
              <a:buChar char="⁄"/>
              <a:defRPr/>
            </a:pPr>
            <a:r>
              <a:rPr lang="fr-FR" sz="1000">
                <a:solidFill>
                  <a:srgbClr val="5F5F5F"/>
                </a:solidFill>
                <a:latin typeface="Tahoma"/>
              </a:rPr>
              <a:t>Produits liés à l’encaissement des séjours de vacances</a:t>
            </a:r>
          </a:p>
          <a:p>
            <a:pPr marL="171450" indent="-171450" algn="just">
              <a:buClr>
                <a:srgbClr val="503078"/>
              </a:buClr>
              <a:buFont typeface="Tahoma" panose="020B0604030504040204" pitchFamily="34" charset="0"/>
              <a:buChar char="⁄"/>
              <a:defRPr/>
            </a:pPr>
            <a:r>
              <a:rPr lang="fr-FR" sz="1000">
                <a:solidFill>
                  <a:srgbClr val="5F5F5F"/>
                </a:solidFill>
                <a:latin typeface="Tahoma"/>
              </a:rPr>
              <a:t>Partenariats avec AG2R La Mondiale, Groupe B2V, CCAS, CNRACL, Fondation Roger de </a:t>
            </a:r>
            <a:r>
              <a:rPr lang="fr-FR" sz="1000" err="1">
                <a:solidFill>
                  <a:srgbClr val="5F5F5F"/>
                </a:solidFill>
                <a:latin typeface="Tahoma"/>
              </a:rPr>
              <a:t>Spoelberch</a:t>
            </a:r>
            <a:r>
              <a:rPr lang="fr-FR" sz="1000">
                <a:solidFill>
                  <a:srgbClr val="5F5F5F"/>
                </a:solidFill>
                <a:latin typeface="Tahoma"/>
              </a:rPr>
              <a:t>, </a:t>
            </a:r>
            <a:r>
              <a:rPr lang="fr-FR" sz="1000" err="1">
                <a:solidFill>
                  <a:srgbClr val="5F5F5F"/>
                </a:solidFill>
                <a:latin typeface="Tahoma"/>
              </a:rPr>
              <a:t>Fusalp</a:t>
            </a:r>
            <a:r>
              <a:rPr lang="fr-FR" sz="1000">
                <a:solidFill>
                  <a:srgbClr val="5F5F5F"/>
                </a:solidFill>
                <a:latin typeface="Tahoma"/>
              </a:rPr>
              <a:t>, KLESIA, Malakoff Humanis</a:t>
            </a:r>
          </a:p>
          <a:p>
            <a:pPr marL="171450" indent="-171450" algn="just">
              <a:buClr>
                <a:srgbClr val="503078"/>
              </a:buClr>
              <a:buFont typeface="Tahoma" panose="020B0604030504040204" pitchFamily="34" charset="0"/>
              <a:buChar char="⁄"/>
              <a:defRPr/>
            </a:pPr>
            <a:r>
              <a:rPr lang="fr-FR" sz="1000">
                <a:solidFill>
                  <a:srgbClr val="5F5F5F"/>
                </a:solidFill>
                <a:latin typeface="Tahoma"/>
              </a:rPr>
              <a:t>Encadrement assuré par une équipe de bénévoles</a:t>
            </a:r>
          </a:p>
        </p:txBody>
      </p:sp>
      <p:sp>
        <p:nvSpPr>
          <p:cNvPr id="219" name="ZoneTexte 218">
            <a:extLst>
              <a:ext uri="{FF2B5EF4-FFF2-40B4-BE49-F238E27FC236}">
                <a16:creationId xmlns:a16="http://schemas.microsoft.com/office/drawing/2014/main" id="{7352B2F4-81C7-4D94-A968-5BEC39E61470}"/>
              </a:ext>
            </a:extLst>
          </p:cNvPr>
          <p:cNvSpPr txBox="1"/>
          <p:nvPr/>
        </p:nvSpPr>
        <p:spPr>
          <a:xfrm>
            <a:off x="6187248" y="5429709"/>
            <a:ext cx="3768724" cy="1053842"/>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pic>
        <p:nvPicPr>
          <p:cNvPr id="221" name="Graphique 220" descr="Tirelire avec un remplissage uni">
            <a:extLst>
              <a:ext uri="{FF2B5EF4-FFF2-40B4-BE49-F238E27FC236}">
                <a16:creationId xmlns:a16="http://schemas.microsoft.com/office/drawing/2014/main" id="{A45E8122-D5CB-4F5F-BA90-FDCC7940533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11585" y="4436087"/>
            <a:ext cx="514426" cy="514426"/>
          </a:xfrm>
          <a:prstGeom prst="rect">
            <a:avLst/>
          </a:prstGeom>
        </p:spPr>
      </p:pic>
      <p:sp>
        <p:nvSpPr>
          <p:cNvPr id="222" name="ZoneTexte 221">
            <a:extLst>
              <a:ext uri="{FF2B5EF4-FFF2-40B4-BE49-F238E27FC236}">
                <a16:creationId xmlns:a16="http://schemas.microsoft.com/office/drawing/2014/main" id="{1384EA81-8F6A-478D-93F6-A8314A63369D}"/>
              </a:ext>
            </a:extLst>
          </p:cNvPr>
          <p:cNvSpPr txBox="1"/>
          <p:nvPr/>
        </p:nvSpPr>
        <p:spPr>
          <a:xfrm>
            <a:off x="6159505" y="5453247"/>
            <a:ext cx="3814408" cy="1015663"/>
          </a:xfrm>
          <a:prstGeom prst="rect">
            <a:avLst/>
          </a:prstGeom>
          <a:noFill/>
          <a:ln>
            <a:noFill/>
          </a:ln>
        </p:spPr>
        <p:txBody>
          <a:bodyPr wrap="square" lIns="108000" rIns="108000" rtlCol="0">
            <a:spAutoFit/>
          </a:bodyPr>
          <a:lstStyle/>
          <a:p>
            <a:pPr marL="171450" indent="-171450" algn="just">
              <a:buClr>
                <a:srgbClr val="503078"/>
              </a:buClr>
              <a:buFont typeface="Tahoma" panose="020B0604030504040204" pitchFamily="34" charset="0"/>
              <a:buChar char="⁄"/>
              <a:defRPr/>
            </a:pPr>
            <a:r>
              <a:rPr lang="fr-FR" sz="1000">
                <a:solidFill>
                  <a:srgbClr val="5F5F5F"/>
                </a:solidFill>
                <a:latin typeface="Tahoma"/>
              </a:rPr>
              <a:t>Tarif de 300 à 1500 € pour une semaine sur la base de 2 personnes, en fonction du QF</a:t>
            </a:r>
          </a:p>
          <a:p>
            <a:pPr marL="171450" indent="-171450" algn="just">
              <a:buClr>
                <a:srgbClr val="503078"/>
              </a:buClr>
              <a:buFont typeface="Tahoma" panose="020B0604030504040204" pitchFamily="34" charset="0"/>
              <a:buChar char="⁄"/>
              <a:defRPr/>
            </a:pPr>
            <a:r>
              <a:rPr lang="fr-FR" sz="1000">
                <a:solidFill>
                  <a:srgbClr val="5F5F5F"/>
                </a:solidFill>
                <a:latin typeface="Tahoma"/>
              </a:rPr>
              <a:t>Possibilité de mobiliser les aides départementales</a:t>
            </a:r>
          </a:p>
          <a:p>
            <a:pPr marL="171450" indent="-171450" algn="just">
              <a:buClr>
                <a:srgbClr val="503078"/>
              </a:buClr>
              <a:buFont typeface="Tahoma" panose="020B0604030504040204" pitchFamily="34" charset="0"/>
              <a:buChar char="⁄"/>
              <a:defRPr/>
            </a:pPr>
            <a:r>
              <a:rPr lang="fr-FR" sz="1000">
                <a:solidFill>
                  <a:srgbClr val="5F5F5F"/>
                </a:solidFill>
                <a:latin typeface="Tahoma"/>
              </a:rPr>
              <a:t>Aides disponibles auprès des groupes de protection sociale partenaires : AG2R La Mondiale, B2V, CNRACL, KLESIA, Malakoff Humanis</a:t>
            </a:r>
          </a:p>
        </p:txBody>
      </p:sp>
      <p:pic>
        <p:nvPicPr>
          <p:cNvPr id="224" name="Graphique 223" descr="Dormir avec un remplissage uni">
            <a:extLst>
              <a:ext uri="{FF2B5EF4-FFF2-40B4-BE49-F238E27FC236}">
                <a16:creationId xmlns:a16="http://schemas.microsoft.com/office/drawing/2014/main" id="{1152D55E-96AD-47AD-933E-0592DA24173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648461" y="3370986"/>
            <a:ext cx="565198" cy="565198"/>
          </a:xfrm>
          <a:prstGeom prst="rect">
            <a:avLst/>
          </a:prstGeom>
        </p:spPr>
      </p:pic>
      <p:pic>
        <p:nvPicPr>
          <p:cNvPr id="225" name="Graphique 224" descr="Trousse de premiers secours avec un remplissage uni">
            <a:extLst>
              <a:ext uri="{FF2B5EF4-FFF2-40B4-BE49-F238E27FC236}">
                <a16:creationId xmlns:a16="http://schemas.microsoft.com/office/drawing/2014/main" id="{5F342799-C5D6-43CD-9884-F3E909A4035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654596" y="4600837"/>
            <a:ext cx="557136" cy="557136"/>
          </a:xfrm>
          <a:prstGeom prst="rect">
            <a:avLst/>
          </a:prstGeom>
        </p:spPr>
      </p:pic>
      <p:sp>
        <p:nvSpPr>
          <p:cNvPr id="227" name="ZoneTexte 226">
            <a:extLst>
              <a:ext uri="{FF2B5EF4-FFF2-40B4-BE49-F238E27FC236}">
                <a16:creationId xmlns:a16="http://schemas.microsoft.com/office/drawing/2014/main" id="{8E44F66E-0BC8-4601-842E-CACB1B4F08A7}"/>
              </a:ext>
            </a:extLst>
          </p:cNvPr>
          <p:cNvSpPr txBox="1"/>
          <p:nvPr/>
        </p:nvSpPr>
        <p:spPr>
          <a:xfrm>
            <a:off x="1254006" y="3293042"/>
            <a:ext cx="1376242" cy="446276"/>
          </a:xfrm>
          <a:prstGeom prst="rect">
            <a:avLst/>
          </a:prstGeom>
          <a:noFill/>
          <a:ln>
            <a:noFill/>
          </a:ln>
        </p:spPr>
        <p:txBody>
          <a:bodyPr wrap="square" lIns="108000" rIns="108000" rtlCol="0">
            <a:spAutoFit/>
          </a:bodyPr>
          <a:lstStyle/>
          <a:p>
            <a:pPr algn="ctr"/>
            <a:r>
              <a:rPr lang="fr-FR" sz="1100" b="1">
                <a:solidFill>
                  <a:srgbClr val="B0ADCC"/>
                </a:solidFill>
                <a:latin typeface="Tahoma"/>
              </a:rPr>
              <a:t>Hébergement</a:t>
            </a:r>
          </a:p>
          <a:p>
            <a:pPr marL="171450" indent="-171450" algn="ctr">
              <a:buFontTx/>
              <a:buChar char="-"/>
            </a:pPr>
            <a:endParaRPr lang="fr-FR" sz="1200">
              <a:solidFill>
                <a:srgbClr val="B0ADCC"/>
              </a:solidFill>
              <a:latin typeface="Tahoma"/>
            </a:endParaRPr>
          </a:p>
        </p:txBody>
      </p:sp>
      <p:sp>
        <p:nvSpPr>
          <p:cNvPr id="229" name="ZoneTexte 228">
            <a:extLst>
              <a:ext uri="{FF2B5EF4-FFF2-40B4-BE49-F238E27FC236}">
                <a16:creationId xmlns:a16="http://schemas.microsoft.com/office/drawing/2014/main" id="{1FD1468C-52A0-40DE-9DC4-74726F8C2183}"/>
              </a:ext>
            </a:extLst>
          </p:cNvPr>
          <p:cNvSpPr txBox="1"/>
          <p:nvPr/>
        </p:nvSpPr>
        <p:spPr>
          <a:xfrm>
            <a:off x="1083652" y="4155413"/>
            <a:ext cx="1743708" cy="615553"/>
          </a:xfrm>
          <a:prstGeom prst="rect">
            <a:avLst/>
          </a:prstGeom>
          <a:noFill/>
          <a:ln>
            <a:noFill/>
          </a:ln>
        </p:spPr>
        <p:txBody>
          <a:bodyPr wrap="square" lIns="108000" rIns="108000" rtlCol="0">
            <a:spAutoFit/>
          </a:bodyPr>
          <a:lstStyle/>
          <a:p>
            <a:pPr algn="ctr"/>
            <a:r>
              <a:rPr lang="fr-FR" sz="1100" b="1">
                <a:solidFill>
                  <a:srgbClr val="B0ADCC"/>
                </a:solidFill>
                <a:latin typeface="Tahoma"/>
              </a:rPr>
              <a:t>Accompagnement médico-social</a:t>
            </a:r>
          </a:p>
          <a:p>
            <a:pPr marL="171450" indent="-171450" algn="ctr">
              <a:buFontTx/>
              <a:buChar char="-"/>
            </a:pPr>
            <a:endParaRPr lang="fr-FR" sz="1200">
              <a:solidFill>
                <a:srgbClr val="B0ADCC"/>
              </a:solidFill>
              <a:latin typeface="Tahoma"/>
            </a:endParaRPr>
          </a:p>
        </p:txBody>
      </p:sp>
      <p:sp>
        <p:nvSpPr>
          <p:cNvPr id="230" name="Rectangle 229">
            <a:extLst>
              <a:ext uri="{FF2B5EF4-FFF2-40B4-BE49-F238E27FC236}">
                <a16:creationId xmlns:a16="http://schemas.microsoft.com/office/drawing/2014/main" id="{5AAA3BDB-E136-4262-AE20-510043CAE2D5}"/>
              </a:ext>
            </a:extLst>
          </p:cNvPr>
          <p:cNvSpPr/>
          <p:nvPr/>
        </p:nvSpPr>
        <p:spPr>
          <a:xfrm>
            <a:off x="1254009" y="1895182"/>
            <a:ext cx="9705530" cy="862770"/>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5" name="ZoneTexte 4">
            <a:extLst>
              <a:ext uri="{FF2B5EF4-FFF2-40B4-BE49-F238E27FC236}">
                <a16:creationId xmlns:a16="http://schemas.microsoft.com/office/drawing/2014/main" id="{2A826455-0F2A-4372-B218-8C6B30E20B9A}"/>
              </a:ext>
            </a:extLst>
          </p:cNvPr>
          <p:cNvSpPr txBox="1"/>
          <p:nvPr/>
        </p:nvSpPr>
        <p:spPr>
          <a:xfrm>
            <a:off x="1194140" y="6599263"/>
            <a:ext cx="9894848" cy="200055"/>
          </a:xfrm>
          <a:prstGeom prst="rect">
            <a:avLst/>
          </a:prstGeom>
          <a:noFill/>
        </p:spPr>
        <p:txBody>
          <a:bodyPr wrap="square" lIns="108000" rIns="108000" rtlCol="0">
            <a:spAutoFit/>
          </a:bodyPr>
          <a:lstStyle/>
          <a:p>
            <a:pPr>
              <a:spcAft>
                <a:spcPts val="300"/>
              </a:spcAft>
              <a:buClr>
                <a:srgbClr val="503078"/>
              </a:buClr>
              <a:defRPr/>
            </a:pPr>
            <a:r>
              <a:rPr lang="fr-FR" sz="700">
                <a:solidFill>
                  <a:srgbClr val="5F5F5F">
                    <a:lumMod val="60000"/>
                    <a:lumOff val="40000"/>
                  </a:srgbClr>
                </a:solidFill>
                <a:latin typeface="Tahoma"/>
              </a:rPr>
              <a:t>1. </a:t>
            </a:r>
            <a:r>
              <a:rPr lang="fr-FR" sz="700">
                <a:solidFill>
                  <a:srgbClr val="5F5F5F">
                    <a:lumMod val="60000"/>
                    <a:lumOff val="40000"/>
                  </a:srgbClr>
                </a:solidFill>
                <a:latin typeface="Tahoma"/>
                <a:hlinkClick r:id="rId18">
                  <a:extLst>
                    <a:ext uri="{A12FA001-AC4F-418D-AE19-62706E023703}">
                      <ahyp:hlinkClr xmlns:ahyp="http://schemas.microsoft.com/office/drawing/2018/hyperlinkcolor" val="tx"/>
                    </a:ext>
                  </a:extLst>
                </a:hlinkClick>
              </a:rPr>
              <a:t>Brochure de France Alzheimer sur les séjours de vacances 2022</a:t>
            </a:r>
            <a:endParaRPr lang="fr-FR" sz="700">
              <a:solidFill>
                <a:srgbClr val="5F5F5F">
                  <a:lumMod val="60000"/>
                  <a:lumOff val="40000"/>
                </a:srgbClr>
              </a:solidFill>
              <a:latin typeface="Tahoma"/>
              <a:hlinkClick r:id="rId19">
                <a:extLst>
                  <a:ext uri="{A12FA001-AC4F-418D-AE19-62706E023703}">
                    <ahyp:hlinkClr xmlns:ahyp="http://schemas.microsoft.com/office/drawing/2018/hyperlinkcolor" val="tx"/>
                  </a:ext>
                </a:extLst>
              </a:hlinkClick>
            </a:endParaRPr>
          </a:p>
        </p:txBody>
      </p:sp>
      <p:sp>
        <p:nvSpPr>
          <p:cNvPr id="231" name="ZoneTexte 230">
            <a:extLst>
              <a:ext uri="{FF2B5EF4-FFF2-40B4-BE49-F238E27FC236}">
                <a16:creationId xmlns:a16="http://schemas.microsoft.com/office/drawing/2014/main" id="{8668BE60-8730-4A80-A61E-2C1146D884B3}"/>
              </a:ext>
            </a:extLst>
          </p:cNvPr>
          <p:cNvSpPr txBox="1"/>
          <p:nvPr/>
        </p:nvSpPr>
        <p:spPr>
          <a:xfrm>
            <a:off x="9897915" y="5541591"/>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rifs / reste à charge</a:t>
            </a:r>
          </a:p>
        </p:txBody>
      </p:sp>
      <p:pic>
        <p:nvPicPr>
          <p:cNvPr id="232" name="Graphique 231" descr="Pièces avec un remplissage uni">
            <a:extLst>
              <a:ext uri="{FF2B5EF4-FFF2-40B4-BE49-F238E27FC236}">
                <a16:creationId xmlns:a16="http://schemas.microsoft.com/office/drawing/2014/main" id="{6B7D9B83-7E88-4F16-B72A-30AFE82369A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232611" y="5962460"/>
            <a:ext cx="457966" cy="457966"/>
          </a:xfrm>
          <a:prstGeom prst="rect">
            <a:avLst/>
          </a:prstGeom>
        </p:spPr>
      </p:pic>
      <p:pic>
        <p:nvPicPr>
          <p:cNvPr id="81" name="Picture 2">
            <a:extLst>
              <a:ext uri="{FF2B5EF4-FFF2-40B4-BE49-F238E27FC236}">
                <a16:creationId xmlns:a16="http://schemas.microsoft.com/office/drawing/2014/main" id="{4F6A34EC-F887-4901-A34F-730817577F49}"/>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417207" y="204833"/>
            <a:ext cx="1542333" cy="514754"/>
          </a:xfrm>
          <a:prstGeom prst="rect">
            <a:avLst/>
          </a:prstGeom>
          <a:noFill/>
          <a:extLst>
            <a:ext uri="{909E8E84-426E-40DD-AFC4-6F175D3DCCD1}">
              <a14:hiddenFill xmlns:a14="http://schemas.microsoft.com/office/drawing/2010/main">
                <a:solidFill>
                  <a:srgbClr val="FFFFFF"/>
                </a:solidFill>
              </a14:hiddenFill>
            </a:ext>
          </a:extLst>
        </p:spPr>
      </p:pic>
      <p:pic>
        <p:nvPicPr>
          <p:cNvPr id="83" name="Location-White-Background">
            <a:extLst>
              <a:ext uri="{FF2B5EF4-FFF2-40B4-BE49-F238E27FC236}">
                <a16:creationId xmlns:a16="http://schemas.microsoft.com/office/drawing/2014/main" id="{E92516AC-BCE3-4DEF-B8D6-A7EF1E326C4B}"/>
              </a:ext>
            </a:extLst>
          </p:cNvPr>
          <p:cNvPicPr>
            <a:picLocks noChangeAspect="1"/>
          </p:cNvPicPr>
          <p:nvPr/>
        </p:nvPicPr>
        <p:blipFill>
          <a:blip r:embed="rId8" cstate="print">
            <a:extLst>
              <a:ext uri="{BEBA8EAE-BF5A-486C-A8C5-ECC9F3942E4B}">
                <a14:imgProps xmlns:a14="http://schemas.microsoft.com/office/drawing/2010/main">
                  <a14:imgLayer r:embed="rId9">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2425305" y="1058433"/>
            <a:ext cx="128559" cy="121863"/>
          </a:xfrm>
          <a:prstGeom prst="rect">
            <a:avLst/>
          </a:prstGeom>
        </p:spPr>
      </p:pic>
      <p:sp>
        <p:nvSpPr>
          <p:cNvPr id="85" name="ZoneTexte 84">
            <a:extLst>
              <a:ext uri="{FF2B5EF4-FFF2-40B4-BE49-F238E27FC236}">
                <a16:creationId xmlns:a16="http://schemas.microsoft.com/office/drawing/2014/main" id="{D5FC6767-499B-4BB2-BE8B-DD62A4579A6C}"/>
              </a:ext>
            </a:extLst>
          </p:cNvPr>
          <p:cNvSpPr txBox="1"/>
          <p:nvPr/>
        </p:nvSpPr>
        <p:spPr>
          <a:xfrm>
            <a:off x="2174411" y="860394"/>
            <a:ext cx="672488" cy="200055"/>
          </a:xfrm>
          <a:prstGeom prst="rect">
            <a:avLst/>
          </a:prstGeom>
          <a:noFill/>
        </p:spPr>
        <p:txBody>
          <a:bodyPr wrap="square" lIns="108000" rIns="108000" rtlCol="0">
            <a:spAutoFit/>
          </a:bodyPr>
          <a:lstStyle/>
          <a:p>
            <a:pPr algn="ctr"/>
            <a:r>
              <a:rPr lang="fr-FR" sz="700" b="1">
                <a:solidFill>
                  <a:srgbClr val="503078"/>
                </a:solidFill>
                <a:latin typeface="Tahoma"/>
              </a:rPr>
              <a:t>Alsace</a:t>
            </a:r>
            <a:endParaRPr lang="fr-FR" sz="700">
              <a:solidFill>
                <a:srgbClr val="5F5F5F"/>
              </a:solidFill>
              <a:latin typeface="Tahoma"/>
            </a:endParaRPr>
          </a:p>
        </p:txBody>
      </p:sp>
      <p:sp>
        <p:nvSpPr>
          <p:cNvPr id="86" name="ZoneTexte 85">
            <a:extLst>
              <a:ext uri="{FF2B5EF4-FFF2-40B4-BE49-F238E27FC236}">
                <a16:creationId xmlns:a16="http://schemas.microsoft.com/office/drawing/2014/main" id="{909C9F40-FF67-432C-90ED-57CA235950C1}"/>
              </a:ext>
            </a:extLst>
          </p:cNvPr>
          <p:cNvSpPr txBox="1"/>
          <p:nvPr/>
        </p:nvSpPr>
        <p:spPr>
          <a:xfrm>
            <a:off x="2625564" y="5439665"/>
            <a:ext cx="3376602" cy="1043886"/>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87" name="ZoneTexte 86">
            <a:extLst>
              <a:ext uri="{FF2B5EF4-FFF2-40B4-BE49-F238E27FC236}">
                <a16:creationId xmlns:a16="http://schemas.microsoft.com/office/drawing/2014/main" id="{C1189436-721A-4926-86EA-BFF9719A215E}"/>
              </a:ext>
            </a:extLst>
          </p:cNvPr>
          <p:cNvSpPr txBox="1"/>
          <p:nvPr/>
        </p:nvSpPr>
        <p:spPr>
          <a:xfrm>
            <a:off x="2632912" y="5492669"/>
            <a:ext cx="3363456" cy="939296"/>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Offre de restauration du lieu d’accueil, en pension complète</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ropositions d’activités pour les personnes aidées et leurs aidants, encadrées par une équipe de bénévoles </a:t>
            </a:r>
          </a:p>
        </p:txBody>
      </p:sp>
      <p:pic>
        <p:nvPicPr>
          <p:cNvPr id="88" name="Graphique 87" descr="Assiette couverte avec un remplissage uni">
            <a:extLst>
              <a:ext uri="{FF2B5EF4-FFF2-40B4-BE49-F238E27FC236}">
                <a16:creationId xmlns:a16="http://schemas.microsoft.com/office/drawing/2014/main" id="{D87E6100-C5EA-475F-B7D7-F3BB56352A17}"/>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656370" y="5812154"/>
            <a:ext cx="565199" cy="565199"/>
          </a:xfrm>
          <a:prstGeom prst="rect">
            <a:avLst/>
          </a:prstGeom>
        </p:spPr>
      </p:pic>
      <p:sp>
        <p:nvSpPr>
          <p:cNvPr id="89" name="ZoneTexte 88">
            <a:extLst>
              <a:ext uri="{FF2B5EF4-FFF2-40B4-BE49-F238E27FC236}">
                <a16:creationId xmlns:a16="http://schemas.microsoft.com/office/drawing/2014/main" id="{9E9206D6-CA91-44C1-9AB2-B1CE6B4886DD}"/>
              </a:ext>
            </a:extLst>
          </p:cNvPr>
          <p:cNvSpPr txBox="1"/>
          <p:nvPr/>
        </p:nvSpPr>
        <p:spPr>
          <a:xfrm>
            <a:off x="1465363" y="5463912"/>
            <a:ext cx="965590" cy="430887"/>
          </a:xfrm>
          <a:prstGeom prst="rect">
            <a:avLst/>
          </a:prstGeom>
          <a:noFill/>
          <a:ln>
            <a:noFill/>
          </a:ln>
        </p:spPr>
        <p:txBody>
          <a:bodyPr wrap="square" lIns="108000" rIns="108000" rtlCol="0">
            <a:spAutoFit/>
          </a:bodyPr>
          <a:lstStyle/>
          <a:p>
            <a:pPr algn="ctr"/>
            <a:r>
              <a:rPr lang="fr-FR" sz="1100" b="1">
                <a:solidFill>
                  <a:srgbClr val="B0ADCC"/>
                </a:solidFill>
                <a:latin typeface="Tahoma"/>
              </a:rPr>
              <a:t>Services </a:t>
            </a:r>
          </a:p>
          <a:p>
            <a:pPr algn="ctr"/>
            <a:r>
              <a:rPr lang="fr-FR" sz="1100" b="1">
                <a:solidFill>
                  <a:srgbClr val="B0ADCC"/>
                </a:solidFill>
                <a:latin typeface="Tahoma"/>
              </a:rPr>
              <a:t>hôteliers </a:t>
            </a:r>
          </a:p>
        </p:txBody>
      </p:sp>
    </p:spTree>
    <p:extLst>
      <p:ext uri="{BB962C8B-B14F-4D97-AF65-F5344CB8AC3E}">
        <p14:creationId xmlns:p14="http://schemas.microsoft.com/office/powerpoint/2010/main" val="298448534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DDB96D-5870-433E-8224-8BA70AB31D5A}"/>
              </a:ext>
            </a:extLst>
          </p:cNvPr>
          <p:cNvSpPr>
            <a:spLocks noGrp="1"/>
          </p:cNvSpPr>
          <p:nvPr>
            <p:ph type="title"/>
          </p:nvPr>
        </p:nvSpPr>
        <p:spPr/>
        <p:txBody>
          <a:bodyPr/>
          <a:lstStyle/>
          <a:p>
            <a:r>
              <a:rPr lang="fr-FR"/>
              <a:t>Association INT’ACT</a:t>
            </a:r>
          </a:p>
        </p:txBody>
      </p:sp>
      <p:sp>
        <p:nvSpPr>
          <p:cNvPr id="3" name="Espace réservé du texte 2">
            <a:extLst>
              <a:ext uri="{FF2B5EF4-FFF2-40B4-BE49-F238E27FC236}">
                <a16:creationId xmlns:a16="http://schemas.microsoft.com/office/drawing/2014/main" id="{9C630387-01A6-4667-A171-E57EE95EAA8D}"/>
              </a:ext>
            </a:extLst>
          </p:cNvPr>
          <p:cNvSpPr>
            <a:spLocks noGrp="1"/>
          </p:cNvSpPr>
          <p:nvPr>
            <p:ph type="body" sz="quarter" idx="13"/>
          </p:nvPr>
        </p:nvSpPr>
        <p:spPr/>
        <p:txBody>
          <a:bodyPr/>
          <a:lstStyle/>
          <a:p>
            <a:r>
              <a:rPr lang="fr-FR"/>
              <a:t>fiches initiatives</a:t>
            </a:r>
          </a:p>
        </p:txBody>
      </p:sp>
      <p:pic>
        <p:nvPicPr>
          <p:cNvPr id="59" name="Graphique 58" descr="Utilisateur">
            <a:extLst>
              <a:ext uri="{FF2B5EF4-FFF2-40B4-BE49-F238E27FC236}">
                <a16:creationId xmlns:a16="http://schemas.microsoft.com/office/drawing/2014/main" id="{BCF539CA-033C-4E53-AA11-C9F1D57FD99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62600" y="773902"/>
            <a:ext cx="343642" cy="343642"/>
          </a:xfrm>
          <a:prstGeom prst="rect">
            <a:avLst/>
          </a:prstGeom>
        </p:spPr>
      </p:pic>
      <p:pic>
        <p:nvPicPr>
          <p:cNvPr id="61" name="Graphique 60" descr="Hôpital">
            <a:extLst>
              <a:ext uri="{FF2B5EF4-FFF2-40B4-BE49-F238E27FC236}">
                <a16:creationId xmlns:a16="http://schemas.microsoft.com/office/drawing/2014/main" id="{5A6293E0-A850-432A-AEC2-55244F91F50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01315" y="753939"/>
            <a:ext cx="377667" cy="377667"/>
          </a:xfrm>
          <a:prstGeom prst="rect">
            <a:avLst/>
          </a:prstGeom>
        </p:spPr>
      </p:pic>
      <p:sp>
        <p:nvSpPr>
          <p:cNvPr id="71" name="ZoneTexte 70">
            <a:extLst>
              <a:ext uri="{FF2B5EF4-FFF2-40B4-BE49-F238E27FC236}">
                <a16:creationId xmlns:a16="http://schemas.microsoft.com/office/drawing/2014/main" id="{95275340-2C5E-4AB7-8968-428537133200}"/>
              </a:ext>
            </a:extLst>
          </p:cNvPr>
          <p:cNvSpPr txBox="1"/>
          <p:nvPr/>
        </p:nvSpPr>
        <p:spPr>
          <a:xfrm>
            <a:off x="3506076" y="814892"/>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ublic cible</a:t>
            </a:r>
          </a:p>
          <a:p>
            <a:pPr marL="171450" indent="-171450">
              <a:buFontTx/>
              <a:buChar char="-"/>
            </a:pPr>
            <a:endParaRPr lang="fr-FR" sz="1200">
              <a:solidFill>
                <a:srgbClr val="5F5F5F"/>
              </a:solidFill>
              <a:latin typeface="Tahoma"/>
            </a:endParaRPr>
          </a:p>
        </p:txBody>
      </p:sp>
      <p:sp>
        <p:nvSpPr>
          <p:cNvPr id="72" name="Rectangle 71">
            <a:extLst>
              <a:ext uri="{FF2B5EF4-FFF2-40B4-BE49-F238E27FC236}">
                <a16:creationId xmlns:a16="http://schemas.microsoft.com/office/drawing/2014/main" id="{CF33C1E5-DDE1-4156-A8BA-4E287E034C81}"/>
              </a:ext>
            </a:extLst>
          </p:cNvPr>
          <p:cNvSpPr/>
          <p:nvPr/>
        </p:nvSpPr>
        <p:spPr>
          <a:xfrm>
            <a:off x="3041222" y="775859"/>
            <a:ext cx="2566378"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3" name="Rectangle 72">
            <a:extLst>
              <a:ext uri="{FF2B5EF4-FFF2-40B4-BE49-F238E27FC236}">
                <a16:creationId xmlns:a16="http://schemas.microsoft.com/office/drawing/2014/main" id="{E85DFD2B-8AE0-4AEF-971A-2B7DB41E3803}"/>
              </a:ext>
            </a:extLst>
          </p:cNvPr>
          <p:cNvSpPr/>
          <p:nvPr/>
        </p:nvSpPr>
        <p:spPr>
          <a:xfrm>
            <a:off x="8329059" y="773903"/>
            <a:ext cx="2630482" cy="1028237"/>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4" name="ZoneTexte 73">
            <a:extLst>
              <a:ext uri="{FF2B5EF4-FFF2-40B4-BE49-F238E27FC236}">
                <a16:creationId xmlns:a16="http://schemas.microsoft.com/office/drawing/2014/main" id="{77576367-5766-4A85-8CC6-3A325240D7B8}"/>
              </a:ext>
            </a:extLst>
          </p:cNvPr>
          <p:cNvSpPr txBox="1"/>
          <p:nvPr/>
        </p:nvSpPr>
        <p:spPr>
          <a:xfrm>
            <a:off x="8699428" y="819073"/>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ortage / gestion du projet </a:t>
            </a:r>
          </a:p>
          <a:p>
            <a:pPr marL="171450" indent="-171450">
              <a:buFontTx/>
              <a:buChar char="-"/>
            </a:pPr>
            <a:endParaRPr lang="fr-FR" sz="1200">
              <a:solidFill>
                <a:srgbClr val="5F5F5F"/>
              </a:solidFill>
              <a:latin typeface="Tahoma"/>
            </a:endParaRPr>
          </a:p>
        </p:txBody>
      </p:sp>
      <p:sp>
        <p:nvSpPr>
          <p:cNvPr id="76" name="Rectangle 75">
            <a:extLst>
              <a:ext uri="{FF2B5EF4-FFF2-40B4-BE49-F238E27FC236}">
                <a16:creationId xmlns:a16="http://schemas.microsoft.com/office/drawing/2014/main" id="{DEA056E4-366B-4B6E-AD2A-2A7DACC2777B}"/>
              </a:ext>
            </a:extLst>
          </p:cNvPr>
          <p:cNvSpPr/>
          <p:nvPr/>
        </p:nvSpPr>
        <p:spPr>
          <a:xfrm>
            <a:off x="5657842" y="775858"/>
            <a:ext cx="2630482" cy="1026282"/>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7" name="ZoneTexte 76">
            <a:extLst>
              <a:ext uri="{FF2B5EF4-FFF2-40B4-BE49-F238E27FC236}">
                <a16:creationId xmlns:a16="http://schemas.microsoft.com/office/drawing/2014/main" id="{9B3B4E4E-968C-4AC1-A916-2CB2CBC81062}"/>
              </a:ext>
            </a:extLst>
          </p:cNvPr>
          <p:cNvSpPr txBox="1"/>
          <p:nvPr/>
        </p:nvSpPr>
        <p:spPr>
          <a:xfrm>
            <a:off x="6045885" y="842739"/>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Typologie de structure</a:t>
            </a:r>
          </a:p>
          <a:p>
            <a:pPr marL="171450" indent="-171450">
              <a:buFontTx/>
              <a:buChar char="-"/>
            </a:pPr>
            <a:endParaRPr lang="fr-FR" sz="1200">
              <a:solidFill>
                <a:srgbClr val="5F5F5F"/>
              </a:solidFill>
              <a:latin typeface="Tahoma"/>
            </a:endParaRPr>
          </a:p>
        </p:txBody>
      </p:sp>
      <p:sp>
        <p:nvSpPr>
          <p:cNvPr id="78" name="ZoneTexte 77">
            <a:extLst>
              <a:ext uri="{FF2B5EF4-FFF2-40B4-BE49-F238E27FC236}">
                <a16:creationId xmlns:a16="http://schemas.microsoft.com/office/drawing/2014/main" id="{96B574C6-E211-4064-9944-5448EE32BE54}"/>
              </a:ext>
            </a:extLst>
          </p:cNvPr>
          <p:cNvSpPr txBox="1"/>
          <p:nvPr/>
        </p:nvSpPr>
        <p:spPr>
          <a:xfrm>
            <a:off x="2992778" y="1084785"/>
            <a:ext cx="2660644" cy="577081"/>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pPr>
            <a:r>
              <a:rPr lang="fr-FR" sz="1050">
                <a:solidFill>
                  <a:srgbClr val="5F5F5F"/>
                </a:solidFill>
                <a:latin typeface="Tahoma"/>
              </a:rPr>
              <a:t>Personnes âgées en perte d’autonomie et leurs proches aidants</a:t>
            </a:r>
          </a:p>
          <a:p>
            <a:pPr marL="171450" indent="-171450">
              <a:buClr>
                <a:srgbClr val="503078"/>
              </a:buClr>
              <a:buFont typeface="Tahoma" panose="020B0604030504040204" pitchFamily="34" charset="0"/>
              <a:buChar char="⁄"/>
            </a:pPr>
            <a:r>
              <a:rPr lang="fr-FR" sz="1050">
                <a:solidFill>
                  <a:srgbClr val="5F5F5F"/>
                </a:solidFill>
                <a:latin typeface="Tahoma"/>
              </a:rPr>
              <a:t>Professionnels</a:t>
            </a:r>
          </a:p>
        </p:txBody>
      </p:sp>
      <p:sp>
        <p:nvSpPr>
          <p:cNvPr id="79" name="ZoneTexte 78">
            <a:extLst>
              <a:ext uri="{FF2B5EF4-FFF2-40B4-BE49-F238E27FC236}">
                <a16:creationId xmlns:a16="http://schemas.microsoft.com/office/drawing/2014/main" id="{201EC015-8921-47D5-8EEB-4F8E037742E5}"/>
              </a:ext>
            </a:extLst>
          </p:cNvPr>
          <p:cNvSpPr txBox="1"/>
          <p:nvPr/>
        </p:nvSpPr>
        <p:spPr>
          <a:xfrm>
            <a:off x="5633852" y="1083854"/>
            <a:ext cx="2734774" cy="249620"/>
          </a:xfrm>
          <a:prstGeom prst="rect">
            <a:avLst/>
          </a:prstGeom>
          <a:noFill/>
          <a:ln>
            <a:noFill/>
          </a:ln>
        </p:spPr>
        <p:txBody>
          <a:bodyPr wrap="square" lIns="108000" rIns="108000" rtlCol="0">
            <a:spAutoFit/>
          </a:bodyPr>
          <a:lstStyle/>
          <a:p>
            <a:pPr marL="171450" indent="-171450">
              <a:lnSpc>
                <a:spcPct val="107000"/>
              </a:lnSpc>
              <a:spcAft>
                <a:spcPts val="800"/>
              </a:spcAft>
              <a:buClr>
                <a:srgbClr val="503078"/>
              </a:buClr>
              <a:buFont typeface="Tahoma" panose="020B0604030504040204" pitchFamily="34" charset="0"/>
              <a:buChar char="⁄"/>
            </a:pPr>
            <a:r>
              <a:rPr lang="fr-FR" sz="1050">
                <a:solidFill>
                  <a:srgbClr val="5F5F5F"/>
                </a:solidFill>
                <a:latin typeface="Tahoma"/>
              </a:rPr>
              <a:t>Association</a:t>
            </a:r>
            <a:endParaRPr lang="fr-FR" sz="1050" b="1">
              <a:solidFill>
                <a:srgbClr val="5F5F5F"/>
              </a:solidFill>
              <a:latin typeface="Tahoma"/>
            </a:endParaRPr>
          </a:p>
        </p:txBody>
      </p:sp>
      <p:sp>
        <p:nvSpPr>
          <p:cNvPr id="80" name="ZoneTexte 79">
            <a:extLst>
              <a:ext uri="{FF2B5EF4-FFF2-40B4-BE49-F238E27FC236}">
                <a16:creationId xmlns:a16="http://schemas.microsoft.com/office/drawing/2014/main" id="{D486C829-4B6E-4981-9B49-72041AC2853F}"/>
              </a:ext>
            </a:extLst>
          </p:cNvPr>
          <p:cNvSpPr txBox="1"/>
          <p:nvPr/>
        </p:nvSpPr>
        <p:spPr>
          <a:xfrm>
            <a:off x="8270852" y="1088777"/>
            <a:ext cx="2770132" cy="738664"/>
          </a:xfrm>
          <a:prstGeom prst="rect">
            <a:avLst/>
          </a:prstGeom>
          <a:noFill/>
          <a:ln>
            <a:noFill/>
          </a:ln>
        </p:spPr>
        <p:txBody>
          <a:bodyPr wrap="square" lIns="108000" rIns="108000" rtlCol="0">
            <a:spAutoFit/>
          </a:bodyPr>
          <a:lstStyle/>
          <a:p>
            <a:pPr>
              <a:defRPr/>
            </a:pPr>
            <a:r>
              <a:rPr lang="fr-FR" sz="1050">
                <a:solidFill>
                  <a:srgbClr val="5F5F5F"/>
                </a:solidFill>
                <a:latin typeface="Tahoma"/>
              </a:rPr>
              <a:t>Association </a:t>
            </a:r>
            <a:r>
              <a:rPr lang="fr-FR" sz="1050" err="1">
                <a:solidFill>
                  <a:srgbClr val="5F5F5F"/>
                </a:solidFill>
                <a:latin typeface="Tahoma"/>
              </a:rPr>
              <a:t>Int’Act</a:t>
            </a:r>
            <a:r>
              <a:rPr lang="fr-FR" sz="1050">
                <a:solidFill>
                  <a:srgbClr val="5F5F5F"/>
                </a:solidFill>
                <a:latin typeface="Tahoma"/>
              </a:rPr>
              <a:t>, en partenariat avec les Petits Frères des Pauvres, l’ANCV (programme Seniors en Vacances), </a:t>
            </a:r>
            <a:r>
              <a:rPr lang="fr-FR" sz="1050" err="1">
                <a:solidFill>
                  <a:srgbClr val="5F5F5F"/>
                </a:solidFill>
                <a:latin typeface="Tahoma"/>
              </a:rPr>
              <a:t>Tilia</a:t>
            </a:r>
            <a:r>
              <a:rPr lang="fr-FR" sz="1050">
                <a:solidFill>
                  <a:srgbClr val="5F5F5F"/>
                </a:solidFill>
                <a:latin typeface="Tahoma"/>
              </a:rPr>
              <a:t>, Adapta, Le lien Psy</a:t>
            </a:r>
          </a:p>
        </p:txBody>
      </p:sp>
      <p:sp>
        <p:nvSpPr>
          <p:cNvPr id="139" name="Rectangle 138">
            <a:extLst>
              <a:ext uri="{FF2B5EF4-FFF2-40B4-BE49-F238E27FC236}">
                <a16:creationId xmlns:a16="http://schemas.microsoft.com/office/drawing/2014/main" id="{23DA1D13-F6FC-42CC-8CBC-A6643FFAA543}"/>
              </a:ext>
            </a:extLst>
          </p:cNvPr>
          <p:cNvSpPr/>
          <p:nvPr/>
        </p:nvSpPr>
        <p:spPr>
          <a:xfrm>
            <a:off x="1254009" y="779190"/>
            <a:ext cx="1728514"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200" name="ZoneTexte 199">
            <a:extLst>
              <a:ext uri="{FF2B5EF4-FFF2-40B4-BE49-F238E27FC236}">
                <a16:creationId xmlns:a16="http://schemas.microsoft.com/office/drawing/2014/main" id="{9D2F707F-B137-4D67-8AF0-A94280C85E9E}"/>
              </a:ext>
            </a:extLst>
          </p:cNvPr>
          <p:cNvSpPr txBox="1"/>
          <p:nvPr/>
        </p:nvSpPr>
        <p:spPr>
          <a:xfrm>
            <a:off x="1187839" y="1813684"/>
            <a:ext cx="5982318" cy="307777"/>
          </a:xfrm>
          <a:prstGeom prst="rect">
            <a:avLst/>
          </a:prstGeom>
          <a:noFill/>
          <a:ln>
            <a:solidFill>
              <a:schemeClr val="bg1"/>
            </a:solidFill>
          </a:ln>
        </p:spPr>
        <p:txBody>
          <a:bodyPr wrap="square" lIns="108000" rIns="108000" rtlCol="0">
            <a:spAutoFit/>
          </a:bodyPr>
          <a:lstStyle/>
          <a:p>
            <a:r>
              <a:rPr lang="fr-FR" sz="1400" b="1">
                <a:solidFill>
                  <a:srgbClr val="503078"/>
                </a:solidFill>
                <a:latin typeface="Tahoma"/>
              </a:rPr>
              <a:t>Description</a:t>
            </a:r>
          </a:p>
        </p:txBody>
      </p:sp>
      <p:sp>
        <p:nvSpPr>
          <p:cNvPr id="201" name="ZoneTexte 200">
            <a:extLst>
              <a:ext uri="{FF2B5EF4-FFF2-40B4-BE49-F238E27FC236}">
                <a16:creationId xmlns:a16="http://schemas.microsoft.com/office/drawing/2014/main" id="{89A8527A-3C63-4EFF-8583-1E85A8B450C3}"/>
              </a:ext>
            </a:extLst>
          </p:cNvPr>
          <p:cNvSpPr txBox="1"/>
          <p:nvPr/>
        </p:nvSpPr>
        <p:spPr>
          <a:xfrm>
            <a:off x="1231327" y="2033915"/>
            <a:ext cx="9706664" cy="738664"/>
          </a:xfrm>
          <a:prstGeom prst="rect">
            <a:avLst/>
          </a:prstGeom>
          <a:noFill/>
        </p:spPr>
        <p:txBody>
          <a:bodyPr wrap="square">
            <a:spAutoFit/>
          </a:bodyPr>
          <a:lstStyle/>
          <a:p>
            <a:pPr algn="just"/>
            <a:r>
              <a:rPr lang="fr-FR" sz="1050">
                <a:solidFill>
                  <a:srgbClr val="5F5F5F"/>
                </a:solidFill>
                <a:latin typeface="Tahoma"/>
              </a:rPr>
              <a:t>Créée en 2006, l’Association </a:t>
            </a:r>
            <a:r>
              <a:rPr lang="fr-FR" sz="1050" err="1">
                <a:solidFill>
                  <a:srgbClr val="5F5F5F"/>
                </a:solidFill>
                <a:latin typeface="Tahoma"/>
              </a:rPr>
              <a:t>Int’act</a:t>
            </a:r>
            <a:r>
              <a:rPr lang="fr-FR" sz="1050">
                <a:solidFill>
                  <a:srgbClr val="5F5F5F"/>
                </a:solidFill>
                <a:latin typeface="Tahoma"/>
              </a:rPr>
              <a:t> est spécialisée dans l’organisation de vacances adaptées pour les personnes âgées en perte d’autonomie et d’actions de prévention. </a:t>
            </a:r>
            <a:r>
              <a:rPr lang="fr-FR" sz="1050" err="1">
                <a:solidFill>
                  <a:srgbClr val="5F5F5F"/>
                </a:solidFill>
                <a:latin typeface="Tahoma"/>
              </a:rPr>
              <a:t>Int’act</a:t>
            </a:r>
            <a:r>
              <a:rPr lang="fr-FR" sz="1050">
                <a:solidFill>
                  <a:srgbClr val="5F5F5F"/>
                </a:solidFill>
                <a:latin typeface="Tahoma"/>
              </a:rPr>
              <a:t> s’investit également dans la recherche de </a:t>
            </a:r>
            <a:r>
              <a:rPr lang="fr-FR" sz="1050" err="1">
                <a:solidFill>
                  <a:srgbClr val="5F5F5F"/>
                </a:solidFill>
                <a:latin typeface="Tahoma"/>
              </a:rPr>
              <a:t>co</a:t>
            </a:r>
            <a:r>
              <a:rPr lang="fr-FR" sz="1050">
                <a:solidFill>
                  <a:srgbClr val="5F5F5F"/>
                </a:solidFill>
                <a:latin typeface="Tahoma"/>
              </a:rPr>
              <a:t>-financeurs afin de réduire le reste à charge pour les particuliers. INT’ACT organise des séjours de répit soit en propre, via des partenariats avec des village-vacances (notamment MSA) soit avec d’autres porteurs de projets (Agence Nationale pour la Garantie des Droits des Mineurs, PFR, …). </a:t>
            </a:r>
            <a:r>
              <a:rPr lang="fr-FR" sz="1050" err="1">
                <a:solidFill>
                  <a:srgbClr val="5F5F5F"/>
                </a:solidFill>
                <a:latin typeface="Tahoma"/>
              </a:rPr>
              <a:t>Int’act</a:t>
            </a:r>
            <a:r>
              <a:rPr lang="fr-FR" sz="1050">
                <a:solidFill>
                  <a:srgbClr val="5F5F5F"/>
                </a:solidFill>
                <a:latin typeface="Tahoma"/>
              </a:rPr>
              <a:t> propose également une offre de construction de séjours clés en main destinée à des professionnels.</a:t>
            </a:r>
          </a:p>
        </p:txBody>
      </p:sp>
      <p:sp>
        <p:nvSpPr>
          <p:cNvPr id="202" name="ZoneTexte 201">
            <a:extLst>
              <a:ext uri="{FF2B5EF4-FFF2-40B4-BE49-F238E27FC236}">
                <a16:creationId xmlns:a16="http://schemas.microsoft.com/office/drawing/2014/main" id="{86D9062D-5DAA-4187-A261-714CAB818DC0}"/>
              </a:ext>
            </a:extLst>
          </p:cNvPr>
          <p:cNvSpPr txBox="1"/>
          <p:nvPr/>
        </p:nvSpPr>
        <p:spPr>
          <a:xfrm>
            <a:off x="2624666" y="3252850"/>
            <a:ext cx="3376602" cy="592470"/>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204" name="ZoneTexte 203">
            <a:extLst>
              <a:ext uri="{FF2B5EF4-FFF2-40B4-BE49-F238E27FC236}">
                <a16:creationId xmlns:a16="http://schemas.microsoft.com/office/drawing/2014/main" id="{D68FE60B-BC0E-4C26-A344-18DE6F17651B}"/>
              </a:ext>
            </a:extLst>
          </p:cNvPr>
          <p:cNvSpPr txBox="1"/>
          <p:nvPr/>
        </p:nvSpPr>
        <p:spPr>
          <a:xfrm>
            <a:off x="2619766" y="3902214"/>
            <a:ext cx="3376602" cy="1481083"/>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205" name="Rectangle 204">
            <a:extLst>
              <a:ext uri="{FF2B5EF4-FFF2-40B4-BE49-F238E27FC236}">
                <a16:creationId xmlns:a16="http://schemas.microsoft.com/office/drawing/2014/main" id="{CF48149E-20A4-4107-8D3B-E9C08061E6D3}"/>
              </a:ext>
            </a:extLst>
          </p:cNvPr>
          <p:cNvSpPr/>
          <p:nvPr/>
        </p:nvSpPr>
        <p:spPr>
          <a:xfrm>
            <a:off x="1254008" y="2846616"/>
            <a:ext cx="4825165" cy="3722686"/>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206" name="ZoneTexte 205">
            <a:extLst>
              <a:ext uri="{FF2B5EF4-FFF2-40B4-BE49-F238E27FC236}">
                <a16:creationId xmlns:a16="http://schemas.microsoft.com/office/drawing/2014/main" id="{0EB21C34-11EC-46BC-A926-B83151B45BF2}"/>
              </a:ext>
            </a:extLst>
          </p:cNvPr>
          <p:cNvSpPr txBox="1"/>
          <p:nvPr/>
        </p:nvSpPr>
        <p:spPr>
          <a:xfrm>
            <a:off x="1253624" y="2846696"/>
            <a:ext cx="4815764" cy="307777"/>
          </a:xfrm>
          <a:prstGeom prst="rect">
            <a:avLst/>
          </a:prstGeom>
          <a:solidFill>
            <a:srgbClr val="B0ADCC"/>
          </a:solidFill>
          <a:ln>
            <a:noFill/>
          </a:ln>
        </p:spPr>
        <p:txBody>
          <a:bodyPr wrap="square" lIns="108000" rIns="108000" rtlCol="0">
            <a:spAutoFit/>
          </a:bodyPr>
          <a:lstStyle/>
          <a:p>
            <a:pPr algn="ctr"/>
            <a:r>
              <a:rPr lang="fr-FR" sz="1400" b="1">
                <a:solidFill>
                  <a:srgbClr val="FFFFFF"/>
                </a:solidFill>
                <a:latin typeface="Tahoma"/>
              </a:rPr>
              <a:t>Modèle opérationnel </a:t>
            </a:r>
          </a:p>
        </p:txBody>
      </p:sp>
      <p:sp>
        <p:nvSpPr>
          <p:cNvPr id="207" name="Rectangle 206">
            <a:extLst>
              <a:ext uri="{FF2B5EF4-FFF2-40B4-BE49-F238E27FC236}">
                <a16:creationId xmlns:a16="http://schemas.microsoft.com/office/drawing/2014/main" id="{EFF73BB4-C1D5-47DD-AFD1-E52F46A4D023}"/>
              </a:ext>
            </a:extLst>
          </p:cNvPr>
          <p:cNvSpPr/>
          <p:nvPr/>
        </p:nvSpPr>
        <p:spPr>
          <a:xfrm>
            <a:off x="6122613" y="2846616"/>
            <a:ext cx="4824000" cy="3722686"/>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208" name="ZoneTexte 207">
            <a:extLst>
              <a:ext uri="{FF2B5EF4-FFF2-40B4-BE49-F238E27FC236}">
                <a16:creationId xmlns:a16="http://schemas.microsoft.com/office/drawing/2014/main" id="{3C9830EC-03E9-4EB7-A0ED-B14D1AFB6145}"/>
              </a:ext>
            </a:extLst>
          </p:cNvPr>
          <p:cNvSpPr txBox="1"/>
          <p:nvPr/>
        </p:nvSpPr>
        <p:spPr>
          <a:xfrm>
            <a:off x="6124765" y="2855928"/>
            <a:ext cx="4824000" cy="307777"/>
          </a:xfrm>
          <a:prstGeom prst="rect">
            <a:avLst/>
          </a:prstGeom>
          <a:solidFill>
            <a:srgbClr val="B24669"/>
          </a:solidFill>
          <a:ln>
            <a:noFill/>
          </a:ln>
        </p:spPr>
        <p:txBody>
          <a:bodyPr wrap="square" lIns="108000" rIns="108000" rtlCol="0">
            <a:spAutoFit/>
          </a:bodyPr>
          <a:lstStyle/>
          <a:p>
            <a:pPr algn="ctr"/>
            <a:r>
              <a:rPr lang="fr-FR" sz="1400" b="1">
                <a:solidFill>
                  <a:srgbClr val="FFFFFF"/>
                </a:solidFill>
                <a:latin typeface="Tahoma"/>
              </a:rPr>
              <a:t>Modèle économique </a:t>
            </a:r>
          </a:p>
        </p:txBody>
      </p:sp>
      <p:sp>
        <p:nvSpPr>
          <p:cNvPr id="209" name="ZoneTexte 208">
            <a:extLst>
              <a:ext uri="{FF2B5EF4-FFF2-40B4-BE49-F238E27FC236}">
                <a16:creationId xmlns:a16="http://schemas.microsoft.com/office/drawing/2014/main" id="{316441E8-83CA-47EB-BD43-C7EF2982A1C6}"/>
              </a:ext>
            </a:extLst>
          </p:cNvPr>
          <p:cNvSpPr txBox="1"/>
          <p:nvPr/>
        </p:nvSpPr>
        <p:spPr>
          <a:xfrm>
            <a:off x="2627338" y="3236674"/>
            <a:ext cx="3380319" cy="246221"/>
          </a:xfrm>
          <a:prstGeom prst="rect">
            <a:avLst/>
          </a:prstGeom>
          <a:noFill/>
          <a:ln>
            <a:noFill/>
          </a:ln>
        </p:spPr>
        <p:txBody>
          <a:bodyPr wrap="square" lIns="108000" rIns="108000" rtlCol="0">
            <a:spAutoFit/>
          </a:bodyPr>
          <a:lstStyle/>
          <a:p>
            <a:pPr marL="171450" indent="-171450">
              <a:spcAft>
                <a:spcPts val="300"/>
              </a:spcAft>
              <a:buClr>
                <a:srgbClr val="503078"/>
              </a:buClr>
              <a:buFont typeface="Tahoma" panose="020B0604030504040204" pitchFamily="34" charset="0"/>
              <a:buChar char="⁄"/>
              <a:defRPr/>
            </a:pPr>
            <a:r>
              <a:rPr lang="fr-FR" sz="1000">
                <a:solidFill>
                  <a:srgbClr val="5F5F5F"/>
                </a:solidFill>
                <a:latin typeface="Tahoma"/>
              </a:rPr>
              <a:t>Location d’hébergements par intact.</a:t>
            </a:r>
          </a:p>
        </p:txBody>
      </p:sp>
      <p:sp>
        <p:nvSpPr>
          <p:cNvPr id="211" name="ZoneTexte 210">
            <a:extLst>
              <a:ext uri="{FF2B5EF4-FFF2-40B4-BE49-F238E27FC236}">
                <a16:creationId xmlns:a16="http://schemas.microsoft.com/office/drawing/2014/main" id="{9D7F7D6B-4771-406F-9C8D-1BFE8F6BC331}"/>
              </a:ext>
            </a:extLst>
          </p:cNvPr>
          <p:cNvSpPr txBox="1"/>
          <p:nvPr/>
        </p:nvSpPr>
        <p:spPr>
          <a:xfrm>
            <a:off x="2627113" y="3994959"/>
            <a:ext cx="3405650" cy="1268617"/>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quipe paramédicale composée d’infirmiers et d’</a:t>
            </a:r>
            <a:r>
              <a:rPr lang="fr-FR" sz="1000" err="1">
                <a:solidFill>
                  <a:srgbClr val="5F5F5F"/>
                </a:solidFill>
                <a:latin typeface="Tahoma"/>
              </a:rPr>
              <a:t>aide-soignants</a:t>
            </a:r>
            <a:endParaRPr lang="fr-FR" sz="1000">
              <a:solidFill>
                <a:srgbClr val="5F5F5F"/>
              </a:solidFill>
              <a:latin typeface="Tahoma"/>
            </a:endParaRP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Partenariat en 2021 avec 3 PFR Parisiennes pour organiser des mini-séjours de 4J/3N, financés à 6634€ par la Conférence des Financeurs de Paris (13 bénéficiaires). Suite à la réussite de ce dispositif, INT’ACT souhaite pérenniser les courts-séjours. </a:t>
            </a:r>
          </a:p>
        </p:txBody>
      </p:sp>
      <p:sp>
        <p:nvSpPr>
          <p:cNvPr id="212" name="ZoneTexte 211">
            <a:extLst>
              <a:ext uri="{FF2B5EF4-FFF2-40B4-BE49-F238E27FC236}">
                <a16:creationId xmlns:a16="http://schemas.microsoft.com/office/drawing/2014/main" id="{77BAAD98-2F46-477A-B040-2E10B00C6436}"/>
              </a:ext>
            </a:extLst>
          </p:cNvPr>
          <p:cNvSpPr txBox="1"/>
          <p:nvPr/>
        </p:nvSpPr>
        <p:spPr>
          <a:xfrm>
            <a:off x="6183557" y="3263483"/>
            <a:ext cx="3751654" cy="563492"/>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p:txBody>
      </p:sp>
      <p:sp>
        <p:nvSpPr>
          <p:cNvPr id="213" name="ZoneTexte 212">
            <a:extLst>
              <a:ext uri="{FF2B5EF4-FFF2-40B4-BE49-F238E27FC236}">
                <a16:creationId xmlns:a16="http://schemas.microsoft.com/office/drawing/2014/main" id="{0EDEEA36-40A6-4A14-8D14-A6CE1C28B99E}"/>
              </a:ext>
            </a:extLst>
          </p:cNvPr>
          <p:cNvSpPr txBox="1"/>
          <p:nvPr/>
        </p:nvSpPr>
        <p:spPr>
          <a:xfrm>
            <a:off x="6190462" y="3911785"/>
            <a:ext cx="3751654" cy="1517879"/>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pic>
        <p:nvPicPr>
          <p:cNvPr id="214" name="Graphique 213" descr="Logement avec un remplissage uni">
            <a:extLst>
              <a:ext uri="{FF2B5EF4-FFF2-40B4-BE49-F238E27FC236}">
                <a16:creationId xmlns:a16="http://schemas.microsoft.com/office/drawing/2014/main" id="{4BE3D3EE-71BB-468F-AC64-179923F366C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19350" y="3346455"/>
            <a:ext cx="447721" cy="447721"/>
          </a:xfrm>
          <a:prstGeom prst="rect">
            <a:avLst/>
          </a:prstGeom>
        </p:spPr>
      </p:pic>
      <p:sp>
        <p:nvSpPr>
          <p:cNvPr id="215" name="ZoneTexte 214">
            <a:extLst>
              <a:ext uri="{FF2B5EF4-FFF2-40B4-BE49-F238E27FC236}">
                <a16:creationId xmlns:a16="http://schemas.microsoft.com/office/drawing/2014/main" id="{3DE58BAA-B277-4C22-B833-81B0C5781A5B}"/>
              </a:ext>
            </a:extLst>
          </p:cNvPr>
          <p:cNvSpPr txBox="1"/>
          <p:nvPr/>
        </p:nvSpPr>
        <p:spPr>
          <a:xfrm>
            <a:off x="9833569" y="3178673"/>
            <a:ext cx="1207414" cy="446276"/>
          </a:xfrm>
          <a:prstGeom prst="rect">
            <a:avLst/>
          </a:prstGeom>
          <a:noFill/>
          <a:ln>
            <a:noFill/>
          </a:ln>
        </p:spPr>
        <p:txBody>
          <a:bodyPr wrap="square" lIns="108000" rIns="108000" rtlCol="0">
            <a:spAutoFit/>
          </a:bodyPr>
          <a:lstStyle/>
          <a:p>
            <a:pPr algn="ctr"/>
            <a:r>
              <a:rPr lang="fr-FR" sz="1100" b="1">
                <a:solidFill>
                  <a:srgbClr val="B24669"/>
                </a:solidFill>
                <a:latin typeface="Tahoma"/>
              </a:rPr>
              <a:t>Immobilier</a:t>
            </a:r>
          </a:p>
          <a:p>
            <a:pPr marL="171450" indent="-171450" algn="ctr">
              <a:buFontTx/>
              <a:buChar char="-"/>
            </a:pPr>
            <a:endParaRPr lang="fr-FR" sz="1200">
              <a:solidFill>
                <a:srgbClr val="B24669"/>
              </a:solidFill>
              <a:latin typeface="Tahoma"/>
            </a:endParaRPr>
          </a:p>
        </p:txBody>
      </p:sp>
      <p:sp>
        <p:nvSpPr>
          <p:cNvPr id="216" name="ZoneTexte 215">
            <a:extLst>
              <a:ext uri="{FF2B5EF4-FFF2-40B4-BE49-F238E27FC236}">
                <a16:creationId xmlns:a16="http://schemas.microsoft.com/office/drawing/2014/main" id="{8B10D3D2-A5CC-49A2-9701-DD036C529D2F}"/>
              </a:ext>
            </a:extLst>
          </p:cNvPr>
          <p:cNvSpPr txBox="1"/>
          <p:nvPr/>
        </p:nvSpPr>
        <p:spPr>
          <a:xfrm>
            <a:off x="6146428" y="3248403"/>
            <a:ext cx="3779990" cy="553998"/>
          </a:xfrm>
          <a:prstGeom prst="rect">
            <a:avLst/>
          </a:prstGeom>
          <a:noFill/>
          <a:ln>
            <a:noFill/>
          </a:ln>
        </p:spPr>
        <p:txBody>
          <a:bodyPr wrap="square" lIns="108000" rIns="108000" rtlCol="0">
            <a:spAutoFit/>
          </a:bodyPr>
          <a:lstStyle/>
          <a:p>
            <a:pPr marL="171450" indent="-171450" algn="just">
              <a:buClr>
                <a:srgbClr val="503078"/>
              </a:buClr>
              <a:buFont typeface="Tahoma" panose="020B0604030504040204" pitchFamily="34" charset="0"/>
              <a:buChar char="⁄"/>
              <a:defRPr/>
            </a:pPr>
            <a:r>
              <a:rPr lang="fr-FR" sz="1000">
                <a:solidFill>
                  <a:srgbClr val="5F5F5F"/>
                </a:solidFill>
                <a:latin typeface="Tahoma"/>
              </a:rPr>
              <a:t>Partenariat avec la MSA, les Petits Frères des pauvres, et des village-vacances pour la location de lieux de vacances adaptés </a:t>
            </a:r>
          </a:p>
        </p:txBody>
      </p:sp>
      <p:sp>
        <p:nvSpPr>
          <p:cNvPr id="217" name="ZoneTexte 216">
            <a:extLst>
              <a:ext uri="{FF2B5EF4-FFF2-40B4-BE49-F238E27FC236}">
                <a16:creationId xmlns:a16="http://schemas.microsoft.com/office/drawing/2014/main" id="{25720BC1-4030-49A6-9E37-BE0BF3C39C29}"/>
              </a:ext>
            </a:extLst>
          </p:cNvPr>
          <p:cNvSpPr txBox="1"/>
          <p:nvPr/>
        </p:nvSpPr>
        <p:spPr>
          <a:xfrm>
            <a:off x="9973914" y="4051621"/>
            <a:ext cx="998185"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Frais de </a:t>
            </a:r>
            <a:r>
              <a:rPr lang="fr-FR" sz="1100" b="1" err="1">
                <a:solidFill>
                  <a:srgbClr val="B24669"/>
                </a:solidFill>
                <a:latin typeface="Tahoma"/>
              </a:rPr>
              <a:t>fonct</a:t>
            </a:r>
            <a:r>
              <a:rPr lang="fr-FR" sz="1100" b="1">
                <a:solidFill>
                  <a:srgbClr val="B24669"/>
                </a:solidFill>
                <a:latin typeface="Tahoma"/>
              </a:rPr>
              <a:t>.</a:t>
            </a:r>
          </a:p>
        </p:txBody>
      </p:sp>
      <p:sp>
        <p:nvSpPr>
          <p:cNvPr id="218" name="ZoneTexte 217">
            <a:extLst>
              <a:ext uri="{FF2B5EF4-FFF2-40B4-BE49-F238E27FC236}">
                <a16:creationId xmlns:a16="http://schemas.microsoft.com/office/drawing/2014/main" id="{90F55448-AC00-4F29-9940-043B4D110F3D}"/>
              </a:ext>
            </a:extLst>
          </p:cNvPr>
          <p:cNvSpPr txBox="1"/>
          <p:nvPr/>
        </p:nvSpPr>
        <p:spPr>
          <a:xfrm>
            <a:off x="6167971" y="4045545"/>
            <a:ext cx="3796636" cy="1246495"/>
          </a:xfrm>
          <a:prstGeom prst="rect">
            <a:avLst/>
          </a:prstGeom>
          <a:noFill/>
          <a:ln>
            <a:noFill/>
          </a:ln>
        </p:spPr>
        <p:txBody>
          <a:bodyPr wrap="square" lIns="108000" rIns="108000" rtlCol="0">
            <a:spAutoFit/>
          </a:bodyPr>
          <a:lstStyle/>
          <a:p>
            <a:pPr marL="171450" indent="-171450" algn="just">
              <a:spcAft>
                <a:spcPts val="300"/>
              </a:spcAft>
              <a:buClr>
                <a:srgbClr val="503078"/>
              </a:buClr>
              <a:buFont typeface="Tahoma" panose="020B0604030504040204" pitchFamily="34" charset="0"/>
              <a:buChar char="⁄"/>
              <a:defRPr/>
            </a:pPr>
            <a:r>
              <a:rPr lang="fr-FR" sz="1000">
                <a:solidFill>
                  <a:srgbClr val="5F5F5F"/>
                </a:solidFill>
                <a:latin typeface="Tahoma"/>
              </a:rPr>
              <a:t>Financement sur les recettes des séjours et les dons </a:t>
            </a:r>
          </a:p>
          <a:p>
            <a:pPr marL="171450" indent="-171450" algn="just">
              <a:spcAft>
                <a:spcPts val="300"/>
              </a:spcAft>
              <a:buClr>
                <a:srgbClr val="503078"/>
              </a:buClr>
              <a:buFont typeface="Tahoma" panose="020B0604030504040204" pitchFamily="34" charset="0"/>
              <a:buChar char="⁄"/>
              <a:defRPr/>
            </a:pPr>
            <a:r>
              <a:rPr lang="fr-FR" sz="1000">
                <a:solidFill>
                  <a:srgbClr val="5F5F5F"/>
                </a:solidFill>
                <a:latin typeface="Tahoma"/>
              </a:rPr>
              <a:t>En 2021, 25 accompagnateurs de séjours (soit 75 CDD) entre avril et décembre – 40 vacanciers en 2021 pour des séjours de répit / 18 accompagnateurs</a:t>
            </a:r>
          </a:p>
          <a:p>
            <a:pPr marL="171450" indent="-171450" algn="just">
              <a:spcAft>
                <a:spcPts val="300"/>
              </a:spcAft>
              <a:buClr>
                <a:srgbClr val="503078"/>
              </a:buClr>
              <a:buFont typeface="Tahoma" panose="020B0604030504040204" pitchFamily="34" charset="0"/>
              <a:buChar char="⁄"/>
              <a:defRPr/>
            </a:pPr>
            <a:r>
              <a:rPr lang="fr-FR" sz="1000">
                <a:solidFill>
                  <a:srgbClr val="5F5F5F"/>
                </a:solidFill>
                <a:latin typeface="Tahoma"/>
              </a:rPr>
              <a:t>Résultat d’exercice 2021 négatif (-38K) lié à la gestion salariale lors de la crise sanitaire et des recrutements intervenus pour la reprise d’activité</a:t>
            </a:r>
          </a:p>
        </p:txBody>
      </p:sp>
      <p:sp>
        <p:nvSpPr>
          <p:cNvPr id="219" name="ZoneTexte 218">
            <a:extLst>
              <a:ext uri="{FF2B5EF4-FFF2-40B4-BE49-F238E27FC236}">
                <a16:creationId xmlns:a16="http://schemas.microsoft.com/office/drawing/2014/main" id="{7352B2F4-81C7-4D94-A968-5BEC39E61470}"/>
              </a:ext>
            </a:extLst>
          </p:cNvPr>
          <p:cNvSpPr txBox="1"/>
          <p:nvPr/>
        </p:nvSpPr>
        <p:spPr>
          <a:xfrm>
            <a:off x="6187248" y="5492919"/>
            <a:ext cx="3768724" cy="990632"/>
          </a:xfrm>
          <a:prstGeom prst="rect">
            <a:avLst/>
          </a:prstGeom>
          <a:solidFill>
            <a:srgbClr val="EDD3DC"/>
          </a:solidFill>
        </p:spPr>
        <p:txBody>
          <a:bodyPr wrap="square" lIns="108000" rIns="108000" rtlCol="0">
            <a:noAutofit/>
          </a:bodyPr>
          <a:lstStyle/>
          <a:p>
            <a:endParaRPr lang="fr-FR" sz="1400">
              <a:solidFill>
                <a:srgbClr val="5F5F5F"/>
              </a:solidFill>
              <a:latin typeface="Tahoma"/>
            </a:endParaRPr>
          </a:p>
          <a:p>
            <a:endParaRPr lang="fr-FR" sz="1400">
              <a:solidFill>
                <a:srgbClr val="5F5F5F"/>
              </a:solidFill>
              <a:latin typeface="Tahoma"/>
            </a:endParaRPr>
          </a:p>
        </p:txBody>
      </p:sp>
      <p:pic>
        <p:nvPicPr>
          <p:cNvPr id="221" name="Graphique 220" descr="Tirelire avec un remplissage uni">
            <a:extLst>
              <a:ext uri="{FF2B5EF4-FFF2-40B4-BE49-F238E27FC236}">
                <a16:creationId xmlns:a16="http://schemas.microsoft.com/office/drawing/2014/main" id="{A45E8122-D5CB-4F5F-BA90-FDCC7940533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11585" y="4436087"/>
            <a:ext cx="514426" cy="514426"/>
          </a:xfrm>
          <a:prstGeom prst="rect">
            <a:avLst/>
          </a:prstGeom>
        </p:spPr>
      </p:pic>
      <p:sp>
        <p:nvSpPr>
          <p:cNvPr id="222" name="ZoneTexte 221">
            <a:extLst>
              <a:ext uri="{FF2B5EF4-FFF2-40B4-BE49-F238E27FC236}">
                <a16:creationId xmlns:a16="http://schemas.microsoft.com/office/drawing/2014/main" id="{1384EA81-8F6A-478D-93F6-A8314A63369D}"/>
              </a:ext>
            </a:extLst>
          </p:cNvPr>
          <p:cNvSpPr txBox="1"/>
          <p:nvPr/>
        </p:nvSpPr>
        <p:spPr>
          <a:xfrm>
            <a:off x="6190462" y="5550901"/>
            <a:ext cx="3814408" cy="938719"/>
          </a:xfrm>
          <a:prstGeom prst="rect">
            <a:avLst/>
          </a:prstGeom>
          <a:noFill/>
          <a:ln>
            <a:noFill/>
          </a:ln>
        </p:spPr>
        <p:txBody>
          <a:bodyPr wrap="square" lIns="108000" rIns="108000" rtlCol="0">
            <a:spAutoFit/>
          </a:bodyPr>
          <a:lstStyle/>
          <a:p>
            <a:pPr marL="171450" indent="-171450" algn="just">
              <a:spcAft>
                <a:spcPts val="300"/>
              </a:spcAft>
              <a:buClr>
                <a:srgbClr val="503078"/>
              </a:buClr>
              <a:buFont typeface="Tahoma" panose="020B0604030504040204" pitchFamily="34" charset="0"/>
              <a:buChar char="⁄"/>
              <a:defRPr/>
            </a:pPr>
            <a:r>
              <a:rPr lang="fr-FR" sz="1000">
                <a:solidFill>
                  <a:srgbClr val="5F5F5F"/>
                </a:solidFill>
                <a:latin typeface="Tahoma"/>
              </a:rPr>
              <a:t>Pour les séjours INT’ACT, le tarif est de 3500€ pour 8J/7N pour un aidant et un aidé </a:t>
            </a:r>
          </a:p>
          <a:p>
            <a:pPr marL="171450" indent="-171450" algn="just">
              <a:spcAft>
                <a:spcPts val="300"/>
              </a:spcAft>
              <a:buClr>
                <a:srgbClr val="503078"/>
              </a:buClr>
              <a:buFont typeface="Tahoma" panose="020B0604030504040204" pitchFamily="34" charset="0"/>
              <a:buChar char="⁄"/>
              <a:defRPr/>
            </a:pPr>
            <a:r>
              <a:rPr lang="fr-FR" sz="1000">
                <a:solidFill>
                  <a:srgbClr val="5F5F5F"/>
                </a:solidFill>
                <a:latin typeface="Tahoma"/>
              </a:rPr>
              <a:t>Participation à des AAP pour réduire le reste à charge</a:t>
            </a:r>
          </a:p>
          <a:p>
            <a:pPr marL="171450" indent="-171450" algn="just">
              <a:spcAft>
                <a:spcPts val="300"/>
              </a:spcAft>
              <a:buClr>
                <a:srgbClr val="503078"/>
              </a:buClr>
              <a:buFont typeface="Tahoma" panose="020B0604030504040204" pitchFamily="34" charset="0"/>
              <a:buChar char="⁄"/>
              <a:defRPr/>
            </a:pPr>
            <a:r>
              <a:rPr lang="fr-FR" sz="1000">
                <a:solidFill>
                  <a:srgbClr val="5F5F5F"/>
                </a:solidFill>
                <a:latin typeface="Tahoma"/>
              </a:rPr>
              <a:t>Lancement d’une expérimentation en 2022 pour accompagner les particuliers à la recherche de financements </a:t>
            </a:r>
          </a:p>
        </p:txBody>
      </p:sp>
      <p:pic>
        <p:nvPicPr>
          <p:cNvPr id="224" name="Graphique 223" descr="Dormir avec un remplissage uni">
            <a:extLst>
              <a:ext uri="{FF2B5EF4-FFF2-40B4-BE49-F238E27FC236}">
                <a16:creationId xmlns:a16="http://schemas.microsoft.com/office/drawing/2014/main" id="{1152D55E-96AD-47AD-933E-0592DA24173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648461" y="3370986"/>
            <a:ext cx="565198" cy="565198"/>
          </a:xfrm>
          <a:prstGeom prst="rect">
            <a:avLst/>
          </a:prstGeom>
        </p:spPr>
      </p:pic>
      <p:pic>
        <p:nvPicPr>
          <p:cNvPr id="225" name="Graphique 224" descr="Trousse de premiers secours avec un remplissage uni">
            <a:extLst>
              <a:ext uri="{FF2B5EF4-FFF2-40B4-BE49-F238E27FC236}">
                <a16:creationId xmlns:a16="http://schemas.microsoft.com/office/drawing/2014/main" id="{5F342799-C5D6-43CD-9884-F3E909A4035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654596" y="4600837"/>
            <a:ext cx="557136" cy="557136"/>
          </a:xfrm>
          <a:prstGeom prst="rect">
            <a:avLst/>
          </a:prstGeom>
        </p:spPr>
      </p:pic>
      <p:sp>
        <p:nvSpPr>
          <p:cNvPr id="227" name="ZoneTexte 226">
            <a:extLst>
              <a:ext uri="{FF2B5EF4-FFF2-40B4-BE49-F238E27FC236}">
                <a16:creationId xmlns:a16="http://schemas.microsoft.com/office/drawing/2014/main" id="{8E44F66E-0BC8-4601-842E-CACB1B4F08A7}"/>
              </a:ext>
            </a:extLst>
          </p:cNvPr>
          <p:cNvSpPr txBox="1"/>
          <p:nvPr/>
        </p:nvSpPr>
        <p:spPr>
          <a:xfrm>
            <a:off x="1254006" y="3293042"/>
            <a:ext cx="1376242" cy="446276"/>
          </a:xfrm>
          <a:prstGeom prst="rect">
            <a:avLst/>
          </a:prstGeom>
          <a:noFill/>
          <a:ln>
            <a:noFill/>
          </a:ln>
        </p:spPr>
        <p:txBody>
          <a:bodyPr wrap="square" lIns="108000" rIns="108000" rtlCol="0">
            <a:spAutoFit/>
          </a:bodyPr>
          <a:lstStyle/>
          <a:p>
            <a:pPr algn="ctr"/>
            <a:r>
              <a:rPr lang="fr-FR" sz="1100" b="1">
                <a:solidFill>
                  <a:srgbClr val="B0ADCC"/>
                </a:solidFill>
                <a:latin typeface="Tahoma"/>
              </a:rPr>
              <a:t>Hébergement</a:t>
            </a:r>
          </a:p>
          <a:p>
            <a:pPr marL="171450" indent="-171450" algn="ctr">
              <a:buFontTx/>
              <a:buChar char="-"/>
            </a:pPr>
            <a:endParaRPr lang="fr-FR" sz="1200">
              <a:solidFill>
                <a:srgbClr val="B0ADCC"/>
              </a:solidFill>
              <a:latin typeface="Tahoma"/>
            </a:endParaRPr>
          </a:p>
        </p:txBody>
      </p:sp>
      <p:sp>
        <p:nvSpPr>
          <p:cNvPr id="229" name="ZoneTexte 228">
            <a:extLst>
              <a:ext uri="{FF2B5EF4-FFF2-40B4-BE49-F238E27FC236}">
                <a16:creationId xmlns:a16="http://schemas.microsoft.com/office/drawing/2014/main" id="{1FD1468C-52A0-40DE-9DC4-74726F8C2183}"/>
              </a:ext>
            </a:extLst>
          </p:cNvPr>
          <p:cNvSpPr txBox="1"/>
          <p:nvPr/>
        </p:nvSpPr>
        <p:spPr>
          <a:xfrm>
            <a:off x="1083652" y="4155413"/>
            <a:ext cx="1743708" cy="615553"/>
          </a:xfrm>
          <a:prstGeom prst="rect">
            <a:avLst/>
          </a:prstGeom>
          <a:noFill/>
          <a:ln>
            <a:noFill/>
          </a:ln>
        </p:spPr>
        <p:txBody>
          <a:bodyPr wrap="square" lIns="108000" rIns="108000" rtlCol="0">
            <a:spAutoFit/>
          </a:bodyPr>
          <a:lstStyle/>
          <a:p>
            <a:pPr algn="ctr"/>
            <a:r>
              <a:rPr lang="fr-FR" sz="1100" b="1">
                <a:solidFill>
                  <a:srgbClr val="B0ADCC"/>
                </a:solidFill>
                <a:latin typeface="Tahoma"/>
              </a:rPr>
              <a:t>Accompagnement médico-social</a:t>
            </a:r>
          </a:p>
          <a:p>
            <a:pPr marL="171450" indent="-171450" algn="ctr">
              <a:buFontTx/>
              <a:buChar char="-"/>
            </a:pPr>
            <a:endParaRPr lang="fr-FR" sz="1200">
              <a:solidFill>
                <a:srgbClr val="B0ADCC"/>
              </a:solidFill>
              <a:latin typeface="Tahoma"/>
            </a:endParaRPr>
          </a:p>
        </p:txBody>
      </p:sp>
      <p:sp>
        <p:nvSpPr>
          <p:cNvPr id="230" name="Rectangle 229">
            <a:extLst>
              <a:ext uri="{FF2B5EF4-FFF2-40B4-BE49-F238E27FC236}">
                <a16:creationId xmlns:a16="http://schemas.microsoft.com/office/drawing/2014/main" id="{5AAA3BDB-E136-4262-AE20-510043CAE2D5}"/>
              </a:ext>
            </a:extLst>
          </p:cNvPr>
          <p:cNvSpPr/>
          <p:nvPr/>
        </p:nvSpPr>
        <p:spPr>
          <a:xfrm>
            <a:off x="1254009" y="1872322"/>
            <a:ext cx="9705530" cy="862770"/>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5" name="ZoneTexte 4">
            <a:extLst>
              <a:ext uri="{FF2B5EF4-FFF2-40B4-BE49-F238E27FC236}">
                <a16:creationId xmlns:a16="http://schemas.microsoft.com/office/drawing/2014/main" id="{2A826455-0F2A-4372-B218-8C6B30E20B9A}"/>
              </a:ext>
            </a:extLst>
          </p:cNvPr>
          <p:cNvSpPr txBox="1"/>
          <p:nvPr/>
        </p:nvSpPr>
        <p:spPr>
          <a:xfrm>
            <a:off x="1194140" y="6599263"/>
            <a:ext cx="9894848" cy="200055"/>
          </a:xfrm>
          <a:prstGeom prst="rect">
            <a:avLst/>
          </a:prstGeom>
          <a:noFill/>
        </p:spPr>
        <p:txBody>
          <a:bodyPr wrap="square" lIns="108000" rIns="108000" rtlCol="0">
            <a:spAutoFit/>
          </a:bodyPr>
          <a:lstStyle/>
          <a:p>
            <a:pPr>
              <a:spcAft>
                <a:spcPts val="300"/>
              </a:spcAft>
              <a:buClr>
                <a:srgbClr val="503078"/>
              </a:buClr>
              <a:defRPr/>
            </a:pPr>
            <a:r>
              <a:rPr lang="fr-FR" sz="700">
                <a:solidFill>
                  <a:srgbClr val="5F5F5F">
                    <a:lumMod val="60000"/>
                    <a:lumOff val="40000"/>
                  </a:srgbClr>
                </a:solidFill>
                <a:latin typeface="Tahoma"/>
              </a:rPr>
              <a:t>1. </a:t>
            </a:r>
            <a:r>
              <a:rPr lang="fr-FR" sz="700">
                <a:solidFill>
                  <a:srgbClr val="5F5F5F">
                    <a:lumMod val="60000"/>
                    <a:lumOff val="40000"/>
                  </a:srgbClr>
                </a:solidFill>
                <a:latin typeface="Tahoma"/>
                <a:hlinkClick r:id="rId14">
                  <a:extLst>
                    <a:ext uri="{A12FA001-AC4F-418D-AE19-62706E023703}">
                      <ahyp:hlinkClr xmlns:ahyp="http://schemas.microsoft.com/office/drawing/2018/hyperlinkcolor" val="tx"/>
                    </a:ext>
                  </a:extLst>
                </a:hlinkClick>
              </a:rPr>
              <a:t>Rapport d'activité INT'ACT 2021</a:t>
            </a:r>
            <a:endParaRPr lang="fr-FR" sz="700">
              <a:solidFill>
                <a:srgbClr val="5F5F5F">
                  <a:lumMod val="60000"/>
                  <a:lumOff val="40000"/>
                </a:srgbClr>
              </a:solidFill>
              <a:latin typeface="Tahoma"/>
              <a:hlinkClick r:id="rId15">
                <a:extLst>
                  <a:ext uri="{A12FA001-AC4F-418D-AE19-62706E023703}">
                    <ahyp:hlinkClr xmlns:ahyp="http://schemas.microsoft.com/office/drawing/2018/hyperlinkcolor" val="tx"/>
                  </a:ext>
                </a:extLst>
              </a:hlinkClick>
            </a:endParaRPr>
          </a:p>
        </p:txBody>
      </p:sp>
      <p:sp>
        <p:nvSpPr>
          <p:cNvPr id="231" name="ZoneTexte 230">
            <a:extLst>
              <a:ext uri="{FF2B5EF4-FFF2-40B4-BE49-F238E27FC236}">
                <a16:creationId xmlns:a16="http://schemas.microsoft.com/office/drawing/2014/main" id="{8668BE60-8730-4A80-A61E-2C1146D884B3}"/>
              </a:ext>
            </a:extLst>
          </p:cNvPr>
          <p:cNvSpPr txBox="1"/>
          <p:nvPr/>
        </p:nvSpPr>
        <p:spPr>
          <a:xfrm>
            <a:off x="9897915" y="5541591"/>
            <a:ext cx="1141769" cy="430887"/>
          </a:xfrm>
          <a:prstGeom prst="rect">
            <a:avLst/>
          </a:prstGeom>
          <a:noFill/>
          <a:ln>
            <a:noFill/>
          </a:ln>
        </p:spPr>
        <p:txBody>
          <a:bodyPr wrap="square" lIns="108000" rIns="108000" rtlCol="0">
            <a:spAutoFit/>
          </a:bodyPr>
          <a:lstStyle/>
          <a:p>
            <a:pPr algn="ctr"/>
            <a:r>
              <a:rPr lang="fr-FR" sz="1100" b="1">
                <a:solidFill>
                  <a:srgbClr val="B24669"/>
                </a:solidFill>
                <a:latin typeface="Tahoma"/>
              </a:rPr>
              <a:t>Tarifs / reste à charge</a:t>
            </a:r>
          </a:p>
        </p:txBody>
      </p:sp>
      <p:pic>
        <p:nvPicPr>
          <p:cNvPr id="232" name="Graphique 231" descr="Pièces avec un remplissage uni">
            <a:extLst>
              <a:ext uri="{FF2B5EF4-FFF2-40B4-BE49-F238E27FC236}">
                <a16:creationId xmlns:a16="http://schemas.microsoft.com/office/drawing/2014/main" id="{6B7D9B83-7E88-4F16-B72A-30AFE82369A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232611" y="5962460"/>
            <a:ext cx="457966" cy="457966"/>
          </a:xfrm>
          <a:prstGeom prst="rect">
            <a:avLst/>
          </a:prstGeom>
        </p:spPr>
      </p:pic>
      <p:sp>
        <p:nvSpPr>
          <p:cNvPr id="86" name="ZoneTexte 85">
            <a:extLst>
              <a:ext uri="{FF2B5EF4-FFF2-40B4-BE49-F238E27FC236}">
                <a16:creationId xmlns:a16="http://schemas.microsoft.com/office/drawing/2014/main" id="{909C9F40-FF67-432C-90ED-57CA235950C1}"/>
              </a:ext>
            </a:extLst>
          </p:cNvPr>
          <p:cNvSpPr txBox="1"/>
          <p:nvPr/>
        </p:nvSpPr>
        <p:spPr>
          <a:xfrm>
            <a:off x="2625564" y="5429709"/>
            <a:ext cx="3376602" cy="990718"/>
          </a:xfrm>
          <a:prstGeom prst="rect">
            <a:avLst/>
          </a:prstGeom>
          <a:solidFill>
            <a:srgbClr val="E1E0EC"/>
          </a:solidFill>
        </p:spPr>
        <p:txBody>
          <a:bodyPr wrap="square" lIns="108000" rIns="108000" rtlCol="0">
            <a:noAutofit/>
          </a:bodyPr>
          <a:lstStyle/>
          <a:p>
            <a:endParaRPr lang="fr-FR" sz="1400">
              <a:solidFill>
                <a:srgbClr val="5F5F5F"/>
              </a:solidFill>
              <a:latin typeface="Tahoma"/>
            </a:endParaRPr>
          </a:p>
        </p:txBody>
      </p:sp>
      <p:sp>
        <p:nvSpPr>
          <p:cNvPr id="87" name="ZoneTexte 86">
            <a:extLst>
              <a:ext uri="{FF2B5EF4-FFF2-40B4-BE49-F238E27FC236}">
                <a16:creationId xmlns:a16="http://schemas.microsoft.com/office/drawing/2014/main" id="{C1189436-721A-4926-86EA-BFF9719A215E}"/>
              </a:ext>
            </a:extLst>
          </p:cNvPr>
          <p:cNvSpPr txBox="1"/>
          <p:nvPr/>
        </p:nvSpPr>
        <p:spPr>
          <a:xfrm>
            <a:off x="2632911" y="5430091"/>
            <a:ext cx="3405650" cy="939296"/>
          </a:xfrm>
          <a:prstGeom prst="rect">
            <a:avLst/>
          </a:prstGeom>
          <a:noFill/>
          <a:ln>
            <a:noFill/>
          </a:ln>
        </p:spPr>
        <p:txBody>
          <a:bodyPr wrap="square" lIns="108000" rIns="108000" rtlCol="0">
            <a:spAutoFit/>
          </a:bodyPr>
          <a:lstStyle/>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Organisation de l’intégralité du séjour par INT’ACT, intégrant le transport aller-retour des vacanciers de leur domicile au lieu de vacances</a:t>
            </a:r>
          </a:p>
          <a:p>
            <a:pPr marL="171450" indent="-171450" algn="just">
              <a:lnSpc>
                <a:spcPct val="107000"/>
              </a:lnSpc>
              <a:spcAft>
                <a:spcPts val="300"/>
              </a:spcAft>
              <a:buClr>
                <a:srgbClr val="503078"/>
              </a:buClr>
              <a:buFont typeface="Tahoma" panose="020B0604030504040204" pitchFamily="34" charset="0"/>
              <a:buChar char="⁄"/>
            </a:pPr>
            <a:r>
              <a:rPr lang="fr-FR" sz="1000">
                <a:solidFill>
                  <a:srgbClr val="5F5F5F"/>
                </a:solidFill>
                <a:latin typeface="Tahoma"/>
              </a:rPr>
              <a:t>Equipe d’animation et d’enseignement sportif en activité physique adaptée</a:t>
            </a:r>
          </a:p>
        </p:txBody>
      </p:sp>
      <p:pic>
        <p:nvPicPr>
          <p:cNvPr id="88" name="Graphique 87" descr="Assiette couverte avec un remplissage uni">
            <a:extLst>
              <a:ext uri="{FF2B5EF4-FFF2-40B4-BE49-F238E27FC236}">
                <a16:creationId xmlns:a16="http://schemas.microsoft.com/office/drawing/2014/main" id="{D87E6100-C5EA-475F-B7D7-F3BB56352A1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656370" y="5812154"/>
            <a:ext cx="565199" cy="565199"/>
          </a:xfrm>
          <a:prstGeom prst="rect">
            <a:avLst/>
          </a:prstGeom>
        </p:spPr>
      </p:pic>
      <p:sp>
        <p:nvSpPr>
          <p:cNvPr id="89" name="ZoneTexte 88">
            <a:extLst>
              <a:ext uri="{FF2B5EF4-FFF2-40B4-BE49-F238E27FC236}">
                <a16:creationId xmlns:a16="http://schemas.microsoft.com/office/drawing/2014/main" id="{9E9206D6-CA91-44C1-9AB2-B1CE6B4886DD}"/>
              </a:ext>
            </a:extLst>
          </p:cNvPr>
          <p:cNvSpPr txBox="1"/>
          <p:nvPr/>
        </p:nvSpPr>
        <p:spPr>
          <a:xfrm>
            <a:off x="1465363" y="5463912"/>
            <a:ext cx="965590" cy="430887"/>
          </a:xfrm>
          <a:prstGeom prst="rect">
            <a:avLst/>
          </a:prstGeom>
          <a:noFill/>
          <a:ln>
            <a:noFill/>
          </a:ln>
        </p:spPr>
        <p:txBody>
          <a:bodyPr wrap="square" lIns="108000" rIns="108000" rtlCol="0">
            <a:spAutoFit/>
          </a:bodyPr>
          <a:lstStyle/>
          <a:p>
            <a:pPr algn="ctr"/>
            <a:r>
              <a:rPr lang="fr-FR" sz="1100" b="1">
                <a:solidFill>
                  <a:srgbClr val="B0ADCC"/>
                </a:solidFill>
                <a:latin typeface="Tahoma"/>
              </a:rPr>
              <a:t>Services </a:t>
            </a:r>
          </a:p>
          <a:p>
            <a:pPr algn="ctr"/>
            <a:r>
              <a:rPr lang="fr-FR" sz="1100" b="1">
                <a:solidFill>
                  <a:srgbClr val="B0ADCC"/>
                </a:solidFill>
                <a:latin typeface="Tahoma"/>
              </a:rPr>
              <a:t>hôteliers </a:t>
            </a:r>
          </a:p>
        </p:txBody>
      </p:sp>
      <p:grpSp>
        <p:nvGrpSpPr>
          <p:cNvPr id="127" name="Groupe 126">
            <a:extLst>
              <a:ext uri="{FF2B5EF4-FFF2-40B4-BE49-F238E27FC236}">
                <a16:creationId xmlns:a16="http://schemas.microsoft.com/office/drawing/2014/main" id="{F59AECA6-7EA9-4315-9DD6-E7781F0E323A}"/>
              </a:ext>
            </a:extLst>
          </p:cNvPr>
          <p:cNvGrpSpPr/>
          <p:nvPr/>
        </p:nvGrpSpPr>
        <p:grpSpPr>
          <a:xfrm>
            <a:off x="1083652" y="682576"/>
            <a:ext cx="2077060" cy="1225573"/>
            <a:chOff x="3189731" y="1081936"/>
            <a:chExt cx="3281634" cy="1984706"/>
          </a:xfrm>
        </p:grpSpPr>
        <p:grpSp>
          <p:nvGrpSpPr>
            <p:cNvPr id="128" name="Groupe 127">
              <a:extLst>
                <a:ext uri="{FF2B5EF4-FFF2-40B4-BE49-F238E27FC236}">
                  <a16:creationId xmlns:a16="http://schemas.microsoft.com/office/drawing/2014/main" id="{E0FF92EB-4629-4ECE-9DFC-F4E7891953DD}"/>
                </a:ext>
              </a:extLst>
            </p:cNvPr>
            <p:cNvGrpSpPr/>
            <p:nvPr/>
          </p:nvGrpSpPr>
          <p:grpSpPr>
            <a:xfrm>
              <a:off x="4107705" y="1332772"/>
              <a:ext cx="1898671" cy="1733870"/>
              <a:chOff x="7058875" y="3087071"/>
              <a:chExt cx="1648692" cy="1538056"/>
            </a:xfrm>
          </p:grpSpPr>
          <p:grpSp>
            <p:nvGrpSpPr>
              <p:cNvPr id="137" name="France 21 Regions Outline">
                <a:extLst>
                  <a:ext uri="{FF2B5EF4-FFF2-40B4-BE49-F238E27FC236}">
                    <a16:creationId xmlns:a16="http://schemas.microsoft.com/office/drawing/2014/main" id="{B9C161A5-FCDA-4D32-BDE4-21F56E0633EE}"/>
                  </a:ext>
                </a:extLst>
              </p:cNvPr>
              <p:cNvGrpSpPr>
                <a:grpSpLocks noChangeAspect="1"/>
              </p:cNvGrpSpPr>
              <p:nvPr/>
            </p:nvGrpSpPr>
            <p:grpSpPr bwMode="gray">
              <a:xfrm>
                <a:off x="7058875" y="3087071"/>
                <a:ext cx="1435248" cy="1411777"/>
                <a:chOff x="4175307" y="413546"/>
                <a:chExt cx="4738411" cy="4660921"/>
              </a:xfrm>
              <a:solidFill>
                <a:schemeClr val="tx2"/>
              </a:solidFill>
              <a:effectLst/>
            </p:grpSpPr>
            <p:sp>
              <p:nvSpPr>
                <p:cNvPr id="142" name="Corse">
                  <a:extLst>
                    <a:ext uri="{FF2B5EF4-FFF2-40B4-BE49-F238E27FC236}">
                      <a16:creationId xmlns:a16="http://schemas.microsoft.com/office/drawing/2014/main" id="{808B04DE-DC60-43BC-B9FB-6EEBBA7F2B16}"/>
                    </a:ext>
                  </a:extLst>
                </p:cNvPr>
                <p:cNvSpPr>
                  <a:spLocks/>
                </p:cNvSpPr>
                <p:nvPr/>
              </p:nvSpPr>
              <p:spPr bwMode="gray">
                <a:xfrm>
                  <a:off x="8575259" y="4209355"/>
                  <a:ext cx="338459" cy="865112"/>
                </a:xfrm>
                <a:custGeom>
                  <a:avLst/>
                  <a:gdLst>
                    <a:gd name="T0" fmla="*/ 94 w 98"/>
                    <a:gd name="T1" fmla="*/ 81 h 251"/>
                    <a:gd name="T2" fmla="*/ 85 w 98"/>
                    <a:gd name="T3" fmla="*/ 45 h 251"/>
                    <a:gd name="T4" fmla="*/ 84 w 98"/>
                    <a:gd name="T5" fmla="*/ 4 h 251"/>
                    <a:gd name="T6" fmla="*/ 72 w 98"/>
                    <a:gd name="T7" fmla="*/ 5 h 251"/>
                    <a:gd name="T8" fmla="*/ 71 w 98"/>
                    <a:gd name="T9" fmla="*/ 20 h 251"/>
                    <a:gd name="T10" fmla="*/ 70 w 98"/>
                    <a:gd name="T11" fmla="*/ 48 h 251"/>
                    <a:gd name="T12" fmla="*/ 51 w 98"/>
                    <a:gd name="T13" fmla="*/ 42 h 251"/>
                    <a:gd name="T14" fmla="*/ 40 w 98"/>
                    <a:gd name="T15" fmla="*/ 55 h 251"/>
                    <a:gd name="T16" fmla="*/ 29 w 98"/>
                    <a:gd name="T17" fmla="*/ 60 h 251"/>
                    <a:gd name="T18" fmla="*/ 21 w 98"/>
                    <a:gd name="T19" fmla="*/ 68 h 251"/>
                    <a:gd name="T20" fmla="*/ 14 w 98"/>
                    <a:gd name="T21" fmla="*/ 70 h 251"/>
                    <a:gd name="T22" fmla="*/ 11 w 98"/>
                    <a:gd name="T23" fmla="*/ 80 h 251"/>
                    <a:gd name="T24" fmla="*/ 10 w 98"/>
                    <a:gd name="T25" fmla="*/ 88 h 251"/>
                    <a:gd name="T26" fmla="*/ 0 w 98"/>
                    <a:gd name="T27" fmla="*/ 93 h 251"/>
                    <a:gd name="T28" fmla="*/ 5 w 98"/>
                    <a:gd name="T29" fmla="*/ 99 h 251"/>
                    <a:gd name="T30" fmla="*/ 14 w 98"/>
                    <a:gd name="T31" fmla="*/ 110 h 251"/>
                    <a:gd name="T32" fmla="*/ 3 w 98"/>
                    <a:gd name="T33" fmla="*/ 129 h 251"/>
                    <a:gd name="T34" fmla="*/ 10 w 98"/>
                    <a:gd name="T35" fmla="*/ 134 h 251"/>
                    <a:gd name="T36" fmla="*/ 16 w 98"/>
                    <a:gd name="T37" fmla="*/ 136 h 251"/>
                    <a:gd name="T38" fmla="*/ 17 w 98"/>
                    <a:gd name="T39" fmla="*/ 147 h 251"/>
                    <a:gd name="T40" fmla="*/ 8 w 98"/>
                    <a:gd name="T41" fmla="*/ 157 h 251"/>
                    <a:gd name="T42" fmla="*/ 19 w 98"/>
                    <a:gd name="T43" fmla="*/ 165 h 251"/>
                    <a:gd name="T44" fmla="*/ 29 w 98"/>
                    <a:gd name="T45" fmla="*/ 167 h 251"/>
                    <a:gd name="T46" fmla="*/ 24 w 98"/>
                    <a:gd name="T47" fmla="*/ 175 h 251"/>
                    <a:gd name="T48" fmla="*/ 20 w 98"/>
                    <a:gd name="T49" fmla="*/ 183 h 251"/>
                    <a:gd name="T50" fmla="*/ 14 w 98"/>
                    <a:gd name="T51" fmla="*/ 189 h 251"/>
                    <a:gd name="T52" fmla="*/ 25 w 98"/>
                    <a:gd name="T53" fmla="*/ 191 h 251"/>
                    <a:gd name="T54" fmla="*/ 37 w 98"/>
                    <a:gd name="T55" fmla="*/ 202 h 251"/>
                    <a:gd name="T56" fmla="*/ 29 w 98"/>
                    <a:gd name="T57" fmla="*/ 220 h 251"/>
                    <a:gd name="T58" fmla="*/ 39 w 98"/>
                    <a:gd name="T59" fmla="*/ 231 h 251"/>
                    <a:gd name="T60" fmla="*/ 52 w 98"/>
                    <a:gd name="T61" fmla="*/ 236 h 251"/>
                    <a:gd name="T62" fmla="*/ 56 w 98"/>
                    <a:gd name="T63" fmla="*/ 237 h 251"/>
                    <a:gd name="T64" fmla="*/ 57 w 98"/>
                    <a:gd name="T65" fmla="*/ 243 h 251"/>
                    <a:gd name="T66" fmla="*/ 70 w 98"/>
                    <a:gd name="T67" fmla="*/ 251 h 251"/>
                    <a:gd name="T68" fmla="*/ 72 w 98"/>
                    <a:gd name="T69" fmla="*/ 239 h 251"/>
                    <a:gd name="T70" fmla="*/ 76 w 98"/>
                    <a:gd name="T71" fmla="*/ 224 h 251"/>
                    <a:gd name="T72" fmla="*/ 83 w 98"/>
                    <a:gd name="T73" fmla="*/ 213 h 251"/>
                    <a:gd name="T74" fmla="*/ 78 w 98"/>
                    <a:gd name="T75" fmla="*/ 210 h 251"/>
                    <a:gd name="T76" fmla="*/ 88 w 98"/>
                    <a:gd name="T77" fmla="*/ 195 h 251"/>
                    <a:gd name="T78" fmla="*/ 98 w 98"/>
                    <a:gd name="T79" fmla="*/ 134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8" h="251">
                      <a:moveTo>
                        <a:pt x="98" y="134"/>
                      </a:moveTo>
                      <a:cubicBezTo>
                        <a:pt x="98" y="134"/>
                        <a:pt x="92" y="82"/>
                        <a:pt x="94" y="81"/>
                      </a:cubicBezTo>
                      <a:cubicBezTo>
                        <a:pt x="95" y="79"/>
                        <a:pt x="94" y="72"/>
                        <a:pt x="94" y="69"/>
                      </a:cubicBezTo>
                      <a:cubicBezTo>
                        <a:pt x="84" y="61"/>
                        <a:pt x="87" y="46"/>
                        <a:pt x="85" y="45"/>
                      </a:cubicBezTo>
                      <a:cubicBezTo>
                        <a:pt x="88" y="40"/>
                        <a:pt x="87" y="17"/>
                        <a:pt x="84" y="12"/>
                      </a:cubicBezTo>
                      <a:cubicBezTo>
                        <a:pt x="82" y="7"/>
                        <a:pt x="84" y="4"/>
                        <a:pt x="84" y="4"/>
                      </a:cubicBezTo>
                      <a:cubicBezTo>
                        <a:pt x="79" y="0"/>
                        <a:pt x="79" y="0"/>
                        <a:pt x="79" y="0"/>
                      </a:cubicBezTo>
                      <a:cubicBezTo>
                        <a:pt x="79" y="0"/>
                        <a:pt x="74" y="2"/>
                        <a:pt x="72" y="5"/>
                      </a:cubicBezTo>
                      <a:cubicBezTo>
                        <a:pt x="70" y="8"/>
                        <a:pt x="71" y="8"/>
                        <a:pt x="73" y="11"/>
                      </a:cubicBezTo>
                      <a:cubicBezTo>
                        <a:pt x="75" y="15"/>
                        <a:pt x="70" y="16"/>
                        <a:pt x="71" y="20"/>
                      </a:cubicBezTo>
                      <a:cubicBezTo>
                        <a:pt x="71" y="23"/>
                        <a:pt x="71" y="28"/>
                        <a:pt x="71" y="28"/>
                      </a:cubicBezTo>
                      <a:cubicBezTo>
                        <a:pt x="75" y="34"/>
                        <a:pt x="70" y="48"/>
                        <a:pt x="70" y="48"/>
                      </a:cubicBezTo>
                      <a:cubicBezTo>
                        <a:pt x="62" y="43"/>
                        <a:pt x="62" y="43"/>
                        <a:pt x="62" y="43"/>
                      </a:cubicBezTo>
                      <a:cubicBezTo>
                        <a:pt x="51" y="42"/>
                        <a:pt x="51" y="42"/>
                        <a:pt x="51" y="42"/>
                      </a:cubicBezTo>
                      <a:cubicBezTo>
                        <a:pt x="46" y="51"/>
                        <a:pt x="46" y="51"/>
                        <a:pt x="46" y="51"/>
                      </a:cubicBezTo>
                      <a:cubicBezTo>
                        <a:pt x="40" y="55"/>
                        <a:pt x="40" y="55"/>
                        <a:pt x="40" y="55"/>
                      </a:cubicBezTo>
                      <a:cubicBezTo>
                        <a:pt x="33" y="55"/>
                        <a:pt x="33" y="55"/>
                        <a:pt x="33" y="55"/>
                      </a:cubicBezTo>
                      <a:cubicBezTo>
                        <a:pt x="29" y="60"/>
                        <a:pt x="29" y="60"/>
                        <a:pt x="29" y="60"/>
                      </a:cubicBezTo>
                      <a:cubicBezTo>
                        <a:pt x="23" y="60"/>
                        <a:pt x="23" y="60"/>
                        <a:pt x="23" y="60"/>
                      </a:cubicBezTo>
                      <a:cubicBezTo>
                        <a:pt x="21" y="68"/>
                        <a:pt x="21" y="68"/>
                        <a:pt x="21" y="68"/>
                      </a:cubicBezTo>
                      <a:cubicBezTo>
                        <a:pt x="15" y="64"/>
                        <a:pt x="15" y="64"/>
                        <a:pt x="15" y="64"/>
                      </a:cubicBezTo>
                      <a:cubicBezTo>
                        <a:pt x="14" y="70"/>
                        <a:pt x="14" y="70"/>
                        <a:pt x="14" y="70"/>
                      </a:cubicBezTo>
                      <a:cubicBezTo>
                        <a:pt x="8" y="79"/>
                        <a:pt x="8" y="79"/>
                        <a:pt x="8" y="79"/>
                      </a:cubicBezTo>
                      <a:cubicBezTo>
                        <a:pt x="8" y="79"/>
                        <a:pt x="9" y="78"/>
                        <a:pt x="11" y="80"/>
                      </a:cubicBezTo>
                      <a:cubicBezTo>
                        <a:pt x="14" y="82"/>
                        <a:pt x="10" y="83"/>
                        <a:pt x="10" y="83"/>
                      </a:cubicBezTo>
                      <a:cubicBezTo>
                        <a:pt x="10" y="88"/>
                        <a:pt x="10" y="88"/>
                        <a:pt x="10" y="88"/>
                      </a:cubicBezTo>
                      <a:cubicBezTo>
                        <a:pt x="5" y="89"/>
                        <a:pt x="5" y="89"/>
                        <a:pt x="5" y="89"/>
                      </a:cubicBezTo>
                      <a:cubicBezTo>
                        <a:pt x="5" y="92"/>
                        <a:pt x="0" y="93"/>
                        <a:pt x="0" y="93"/>
                      </a:cubicBezTo>
                      <a:cubicBezTo>
                        <a:pt x="0" y="100"/>
                        <a:pt x="0" y="100"/>
                        <a:pt x="0" y="100"/>
                      </a:cubicBezTo>
                      <a:cubicBezTo>
                        <a:pt x="0" y="100"/>
                        <a:pt x="3" y="99"/>
                        <a:pt x="5" y="99"/>
                      </a:cubicBezTo>
                      <a:cubicBezTo>
                        <a:pt x="8" y="99"/>
                        <a:pt x="6" y="104"/>
                        <a:pt x="7" y="104"/>
                      </a:cubicBezTo>
                      <a:cubicBezTo>
                        <a:pt x="8" y="104"/>
                        <a:pt x="14" y="110"/>
                        <a:pt x="14" y="110"/>
                      </a:cubicBezTo>
                      <a:cubicBezTo>
                        <a:pt x="6" y="111"/>
                        <a:pt x="3" y="116"/>
                        <a:pt x="3" y="116"/>
                      </a:cubicBezTo>
                      <a:cubicBezTo>
                        <a:pt x="3" y="129"/>
                        <a:pt x="3" y="129"/>
                        <a:pt x="3" y="129"/>
                      </a:cubicBezTo>
                      <a:cubicBezTo>
                        <a:pt x="5" y="132"/>
                        <a:pt x="5" y="132"/>
                        <a:pt x="5" y="132"/>
                      </a:cubicBezTo>
                      <a:cubicBezTo>
                        <a:pt x="10" y="134"/>
                        <a:pt x="10" y="134"/>
                        <a:pt x="10" y="134"/>
                      </a:cubicBezTo>
                      <a:cubicBezTo>
                        <a:pt x="10" y="134"/>
                        <a:pt x="11" y="135"/>
                        <a:pt x="13" y="137"/>
                      </a:cubicBezTo>
                      <a:cubicBezTo>
                        <a:pt x="14" y="134"/>
                        <a:pt x="15" y="137"/>
                        <a:pt x="16" y="136"/>
                      </a:cubicBezTo>
                      <a:cubicBezTo>
                        <a:pt x="16" y="141"/>
                        <a:pt x="21" y="143"/>
                        <a:pt x="21" y="143"/>
                      </a:cubicBezTo>
                      <a:cubicBezTo>
                        <a:pt x="17" y="147"/>
                        <a:pt x="17" y="147"/>
                        <a:pt x="17" y="147"/>
                      </a:cubicBezTo>
                      <a:cubicBezTo>
                        <a:pt x="12" y="148"/>
                        <a:pt x="13" y="156"/>
                        <a:pt x="13" y="156"/>
                      </a:cubicBezTo>
                      <a:cubicBezTo>
                        <a:pt x="8" y="157"/>
                        <a:pt x="8" y="157"/>
                        <a:pt x="8" y="157"/>
                      </a:cubicBezTo>
                      <a:cubicBezTo>
                        <a:pt x="9" y="166"/>
                        <a:pt x="9" y="166"/>
                        <a:pt x="9" y="166"/>
                      </a:cubicBezTo>
                      <a:cubicBezTo>
                        <a:pt x="19" y="165"/>
                        <a:pt x="19" y="165"/>
                        <a:pt x="19" y="165"/>
                      </a:cubicBezTo>
                      <a:cubicBezTo>
                        <a:pt x="23" y="163"/>
                        <a:pt x="23" y="163"/>
                        <a:pt x="23" y="163"/>
                      </a:cubicBezTo>
                      <a:cubicBezTo>
                        <a:pt x="29" y="167"/>
                        <a:pt x="29" y="167"/>
                        <a:pt x="29" y="167"/>
                      </a:cubicBezTo>
                      <a:cubicBezTo>
                        <a:pt x="27" y="169"/>
                        <a:pt x="27" y="169"/>
                        <a:pt x="27" y="169"/>
                      </a:cubicBezTo>
                      <a:cubicBezTo>
                        <a:pt x="24" y="175"/>
                        <a:pt x="24" y="175"/>
                        <a:pt x="24" y="175"/>
                      </a:cubicBezTo>
                      <a:cubicBezTo>
                        <a:pt x="24" y="179"/>
                        <a:pt x="24" y="179"/>
                        <a:pt x="24" y="179"/>
                      </a:cubicBezTo>
                      <a:cubicBezTo>
                        <a:pt x="20" y="183"/>
                        <a:pt x="20" y="183"/>
                        <a:pt x="20" y="183"/>
                      </a:cubicBezTo>
                      <a:cubicBezTo>
                        <a:pt x="21" y="186"/>
                        <a:pt x="21" y="186"/>
                        <a:pt x="21" y="186"/>
                      </a:cubicBezTo>
                      <a:cubicBezTo>
                        <a:pt x="14" y="189"/>
                        <a:pt x="14" y="189"/>
                        <a:pt x="14" y="189"/>
                      </a:cubicBezTo>
                      <a:cubicBezTo>
                        <a:pt x="20" y="194"/>
                        <a:pt x="20" y="194"/>
                        <a:pt x="20" y="194"/>
                      </a:cubicBezTo>
                      <a:cubicBezTo>
                        <a:pt x="25" y="191"/>
                        <a:pt x="25" y="191"/>
                        <a:pt x="25" y="191"/>
                      </a:cubicBezTo>
                      <a:cubicBezTo>
                        <a:pt x="27" y="196"/>
                        <a:pt x="27" y="196"/>
                        <a:pt x="27" y="196"/>
                      </a:cubicBezTo>
                      <a:cubicBezTo>
                        <a:pt x="27" y="196"/>
                        <a:pt x="37" y="199"/>
                        <a:pt x="37" y="202"/>
                      </a:cubicBezTo>
                      <a:cubicBezTo>
                        <a:pt x="37" y="204"/>
                        <a:pt x="29" y="208"/>
                        <a:pt x="29" y="208"/>
                      </a:cubicBezTo>
                      <a:cubicBezTo>
                        <a:pt x="29" y="208"/>
                        <a:pt x="29" y="218"/>
                        <a:pt x="29" y="220"/>
                      </a:cubicBezTo>
                      <a:cubicBezTo>
                        <a:pt x="29" y="221"/>
                        <a:pt x="33" y="227"/>
                        <a:pt x="35" y="226"/>
                      </a:cubicBezTo>
                      <a:cubicBezTo>
                        <a:pt x="37" y="223"/>
                        <a:pt x="39" y="231"/>
                        <a:pt x="39" y="231"/>
                      </a:cubicBezTo>
                      <a:cubicBezTo>
                        <a:pt x="47" y="231"/>
                        <a:pt x="47" y="231"/>
                        <a:pt x="47" y="231"/>
                      </a:cubicBezTo>
                      <a:cubicBezTo>
                        <a:pt x="52" y="236"/>
                        <a:pt x="52" y="236"/>
                        <a:pt x="52" y="236"/>
                      </a:cubicBezTo>
                      <a:cubicBezTo>
                        <a:pt x="56" y="232"/>
                        <a:pt x="56" y="232"/>
                        <a:pt x="56" y="232"/>
                      </a:cubicBezTo>
                      <a:cubicBezTo>
                        <a:pt x="56" y="237"/>
                        <a:pt x="56" y="237"/>
                        <a:pt x="56" y="237"/>
                      </a:cubicBezTo>
                      <a:cubicBezTo>
                        <a:pt x="61" y="238"/>
                        <a:pt x="61" y="238"/>
                        <a:pt x="61" y="238"/>
                      </a:cubicBezTo>
                      <a:cubicBezTo>
                        <a:pt x="57" y="243"/>
                        <a:pt x="57" y="243"/>
                        <a:pt x="57" y="243"/>
                      </a:cubicBezTo>
                      <a:cubicBezTo>
                        <a:pt x="57" y="243"/>
                        <a:pt x="60" y="249"/>
                        <a:pt x="60" y="246"/>
                      </a:cubicBezTo>
                      <a:cubicBezTo>
                        <a:pt x="60" y="243"/>
                        <a:pt x="70" y="251"/>
                        <a:pt x="70" y="251"/>
                      </a:cubicBezTo>
                      <a:cubicBezTo>
                        <a:pt x="74" y="242"/>
                        <a:pt x="74" y="242"/>
                        <a:pt x="74" y="242"/>
                      </a:cubicBezTo>
                      <a:cubicBezTo>
                        <a:pt x="74" y="242"/>
                        <a:pt x="71" y="239"/>
                        <a:pt x="72" y="239"/>
                      </a:cubicBezTo>
                      <a:cubicBezTo>
                        <a:pt x="74" y="239"/>
                        <a:pt x="77" y="232"/>
                        <a:pt x="77" y="232"/>
                      </a:cubicBezTo>
                      <a:cubicBezTo>
                        <a:pt x="76" y="224"/>
                        <a:pt x="76" y="224"/>
                        <a:pt x="76" y="224"/>
                      </a:cubicBezTo>
                      <a:cubicBezTo>
                        <a:pt x="76" y="224"/>
                        <a:pt x="78" y="223"/>
                        <a:pt x="82" y="221"/>
                      </a:cubicBezTo>
                      <a:cubicBezTo>
                        <a:pt x="86" y="219"/>
                        <a:pt x="84" y="215"/>
                        <a:pt x="83" y="213"/>
                      </a:cubicBezTo>
                      <a:cubicBezTo>
                        <a:pt x="81" y="212"/>
                        <a:pt x="77" y="216"/>
                        <a:pt x="76" y="217"/>
                      </a:cubicBezTo>
                      <a:cubicBezTo>
                        <a:pt x="75" y="217"/>
                        <a:pt x="78" y="210"/>
                        <a:pt x="78" y="210"/>
                      </a:cubicBezTo>
                      <a:cubicBezTo>
                        <a:pt x="78" y="210"/>
                        <a:pt x="85" y="210"/>
                        <a:pt x="85" y="206"/>
                      </a:cubicBezTo>
                      <a:cubicBezTo>
                        <a:pt x="85" y="203"/>
                        <a:pt x="88" y="195"/>
                        <a:pt x="88" y="195"/>
                      </a:cubicBezTo>
                      <a:cubicBezTo>
                        <a:pt x="88" y="195"/>
                        <a:pt x="87" y="161"/>
                        <a:pt x="86" y="160"/>
                      </a:cubicBezTo>
                      <a:cubicBezTo>
                        <a:pt x="92" y="155"/>
                        <a:pt x="98" y="134"/>
                        <a:pt x="98" y="134"/>
                      </a:cubicBezTo>
                      <a:close/>
                    </a:path>
                  </a:pathLst>
                </a:custGeom>
                <a:grpFill/>
                <a:ln w="3175" cap="flat" cmpd="sng">
                  <a:solidFill>
                    <a:schemeClr val="accent2"/>
                  </a:solidFill>
                  <a:prstDash val="solid"/>
                  <a:round/>
                  <a:headEnd type="none" w="med" len="med"/>
                  <a:tailEnd type="none" w="med" len="med"/>
                </a:ln>
                <a:effectLst>
                  <a:outerShdw blurRad="127000" dist="50800" dir="2700000" algn="tl" rotWithShape="0">
                    <a:prstClr val="black">
                      <a:alpha val="40000"/>
                    </a:prstClr>
                  </a:outerShdw>
                </a:effectLst>
              </p:spPr>
              <p:txBody>
                <a:bodyPr/>
                <a:lstStyle/>
                <a:p>
                  <a:endParaRPr lang="fr-FR" sz="1600">
                    <a:solidFill>
                      <a:srgbClr val="5F5F5F"/>
                    </a:solidFill>
                    <a:latin typeface="Tahoma"/>
                  </a:endParaRPr>
                </a:p>
              </p:txBody>
            </p:sp>
            <p:grpSp>
              <p:nvGrpSpPr>
                <p:cNvPr id="143" name="Group 219">
                  <a:extLst>
                    <a:ext uri="{FF2B5EF4-FFF2-40B4-BE49-F238E27FC236}">
                      <a16:creationId xmlns:a16="http://schemas.microsoft.com/office/drawing/2014/main" id="{34476C4F-DC66-48CF-969D-EDB9403D96FC}"/>
                    </a:ext>
                  </a:extLst>
                </p:cNvPr>
                <p:cNvGrpSpPr>
                  <a:grpSpLocks/>
                </p:cNvGrpSpPr>
                <p:nvPr/>
              </p:nvGrpSpPr>
              <p:grpSpPr bwMode="gray">
                <a:xfrm>
                  <a:off x="4175307" y="413546"/>
                  <a:ext cx="4169286" cy="4108312"/>
                  <a:chOff x="48" y="168"/>
                  <a:chExt cx="3077" cy="3032"/>
                </a:xfrm>
                <a:grpFill/>
                <a:effectLst>
                  <a:outerShdw blurRad="127000" dist="50800" dir="2700000" algn="ctr" rotWithShape="0">
                    <a:schemeClr val="tx1">
                      <a:alpha val="40000"/>
                    </a:schemeClr>
                  </a:outerShdw>
                </a:effectLst>
              </p:grpSpPr>
              <p:sp>
                <p:nvSpPr>
                  <p:cNvPr id="144" name="Nord-Pas-de-Calais" descr="© INSCALE GmbH, 05.05.2010&#10;http://www.presentationload.com/">
                    <a:extLst>
                      <a:ext uri="{FF2B5EF4-FFF2-40B4-BE49-F238E27FC236}">
                        <a16:creationId xmlns:a16="http://schemas.microsoft.com/office/drawing/2014/main" id="{3B85B4A2-A005-45E3-9964-0AC01BA97A99}"/>
                      </a:ext>
                    </a:extLst>
                  </p:cNvPr>
                  <p:cNvSpPr>
                    <a:spLocks/>
                  </p:cNvSpPr>
                  <p:nvPr/>
                </p:nvSpPr>
                <p:spPr bwMode="gray">
                  <a:xfrm>
                    <a:off x="1600" y="168"/>
                    <a:ext cx="608" cy="383"/>
                  </a:xfrm>
                  <a:custGeom>
                    <a:avLst/>
                    <a:gdLst/>
                    <a:ahLst/>
                    <a:cxnLst>
                      <a:cxn ang="0">
                        <a:pos x="77" y="236"/>
                      </a:cxn>
                      <a:cxn ang="0">
                        <a:pos x="101" y="257"/>
                      </a:cxn>
                      <a:cxn ang="0">
                        <a:pos x="117" y="279"/>
                      </a:cxn>
                      <a:cxn ang="0">
                        <a:pos x="159" y="269"/>
                      </a:cxn>
                      <a:cxn ang="0">
                        <a:pos x="187" y="273"/>
                      </a:cxn>
                      <a:cxn ang="0">
                        <a:pos x="173" y="309"/>
                      </a:cxn>
                      <a:cxn ang="0">
                        <a:pos x="208" y="304"/>
                      </a:cxn>
                      <a:cxn ang="0">
                        <a:pos x="232" y="300"/>
                      </a:cxn>
                      <a:cxn ang="0">
                        <a:pos x="244" y="323"/>
                      </a:cxn>
                      <a:cxn ang="0">
                        <a:pos x="272" y="324"/>
                      </a:cxn>
                      <a:cxn ang="0">
                        <a:pos x="279" y="321"/>
                      </a:cxn>
                      <a:cxn ang="0">
                        <a:pos x="343" y="329"/>
                      </a:cxn>
                      <a:cxn ang="0">
                        <a:pos x="364" y="327"/>
                      </a:cxn>
                      <a:cxn ang="0">
                        <a:pos x="440" y="317"/>
                      </a:cxn>
                      <a:cxn ang="0">
                        <a:pos x="473" y="333"/>
                      </a:cxn>
                      <a:cxn ang="0">
                        <a:pos x="492" y="335"/>
                      </a:cxn>
                      <a:cxn ang="0">
                        <a:pos x="548" y="320"/>
                      </a:cxn>
                      <a:cxn ang="0">
                        <a:pos x="556" y="283"/>
                      </a:cxn>
                      <a:cxn ang="0">
                        <a:pos x="545" y="269"/>
                      </a:cxn>
                      <a:cxn ang="0">
                        <a:pos x="559" y="243"/>
                      </a:cxn>
                      <a:cxn ang="0">
                        <a:pos x="543" y="243"/>
                      </a:cxn>
                      <a:cxn ang="0">
                        <a:pos x="517" y="215"/>
                      </a:cxn>
                      <a:cxn ang="0">
                        <a:pos x="500" y="219"/>
                      </a:cxn>
                      <a:cxn ang="0">
                        <a:pos x="486" y="217"/>
                      </a:cxn>
                      <a:cxn ang="0">
                        <a:pos x="452" y="228"/>
                      </a:cxn>
                      <a:cxn ang="0">
                        <a:pos x="442" y="201"/>
                      </a:cxn>
                      <a:cxn ang="0">
                        <a:pos x="436" y="174"/>
                      </a:cxn>
                      <a:cxn ang="0">
                        <a:pos x="409" y="165"/>
                      </a:cxn>
                      <a:cxn ang="0">
                        <a:pos x="362" y="157"/>
                      </a:cxn>
                      <a:cxn ang="0">
                        <a:pos x="353" y="124"/>
                      </a:cxn>
                      <a:cxn ang="0">
                        <a:pos x="350" y="110"/>
                      </a:cxn>
                      <a:cxn ang="0">
                        <a:pos x="325" y="90"/>
                      </a:cxn>
                      <a:cxn ang="0">
                        <a:pos x="283" y="114"/>
                      </a:cxn>
                      <a:cxn ang="0">
                        <a:pos x="262" y="106"/>
                      </a:cxn>
                      <a:cxn ang="0">
                        <a:pos x="245" y="76"/>
                      </a:cxn>
                      <a:cxn ang="0">
                        <a:pos x="221" y="67"/>
                      </a:cxn>
                      <a:cxn ang="0">
                        <a:pos x="224" y="42"/>
                      </a:cxn>
                      <a:cxn ang="0">
                        <a:pos x="212" y="9"/>
                      </a:cxn>
                      <a:cxn ang="0">
                        <a:pos x="157" y="7"/>
                      </a:cxn>
                      <a:cxn ang="0">
                        <a:pos x="54" y="31"/>
                      </a:cxn>
                      <a:cxn ang="0">
                        <a:pos x="7" y="57"/>
                      </a:cxn>
                      <a:cxn ang="0">
                        <a:pos x="5" y="106"/>
                      </a:cxn>
                      <a:cxn ang="0">
                        <a:pos x="4" y="192"/>
                      </a:cxn>
                      <a:cxn ang="0">
                        <a:pos x="1" y="228"/>
                      </a:cxn>
                      <a:cxn ang="0">
                        <a:pos x="12" y="235"/>
                      </a:cxn>
                      <a:cxn ang="0">
                        <a:pos x="65" y="237"/>
                      </a:cxn>
                    </a:cxnLst>
                    <a:rect l="0" t="0" r="r" b="b"/>
                    <a:pathLst>
                      <a:path w="564" h="355">
                        <a:moveTo>
                          <a:pt x="65" y="237"/>
                        </a:moveTo>
                        <a:cubicBezTo>
                          <a:pt x="77" y="236"/>
                          <a:pt x="77" y="236"/>
                          <a:pt x="77" y="236"/>
                        </a:cubicBezTo>
                        <a:cubicBezTo>
                          <a:pt x="79" y="247"/>
                          <a:pt x="79" y="247"/>
                          <a:pt x="79" y="247"/>
                        </a:cubicBezTo>
                        <a:cubicBezTo>
                          <a:pt x="101" y="257"/>
                          <a:pt x="101" y="257"/>
                          <a:pt x="101" y="257"/>
                        </a:cubicBezTo>
                        <a:cubicBezTo>
                          <a:pt x="109" y="275"/>
                          <a:pt x="109" y="275"/>
                          <a:pt x="109" y="275"/>
                        </a:cubicBezTo>
                        <a:cubicBezTo>
                          <a:pt x="117" y="279"/>
                          <a:pt x="117" y="279"/>
                          <a:pt x="117" y="279"/>
                        </a:cubicBezTo>
                        <a:cubicBezTo>
                          <a:pt x="143" y="265"/>
                          <a:pt x="143" y="265"/>
                          <a:pt x="143" y="265"/>
                        </a:cubicBezTo>
                        <a:cubicBezTo>
                          <a:pt x="159" y="269"/>
                          <a:pt x="159" y="269"/>
                          <a:pt x="159" y="269"/>
                        </a:cubicBezTo>
                        <a:cubicBezTo>
                          <a:pt x="180" y="263"/>
                          <a:pt x="180" y="263"/>
                          <a:pt x="180" y="263"/>
                        </a:cubicBezTo>
                        <a:cubicBezTo>
                          <a:pt x="187" y="273"/>
                          <a:pt x="187" y="273"/>
                          <a:pt x="187" y="273"/>
                        </a:cubicBezTo>
                        <a:cubicBezTo>
                          <a:pt x="187" y="273"/>
                          <a:pt x="163" y="293"/>
                          <a:pt x="163" y="304"/>
                        </a:cubicBezTo>
                        <a:cubicBezTo>
                          <a:pt x="163" y="315"/>
                          <a:pt x="173" y="309"/>
                          <a:pt x="173" y="309"/>
                        </a:cubicBezTo>
                        <a:cubicBezTo>
                          <a:pt x="173" y="309"/>
                          <a:pt x="193" y="289"/>
                          <a:pt x="193" y="300"/>
                        </a:cubicBezTo>
                        <a:cubicBezTo>
                          <a:pt x="193" y="300"/>
                          <a:pt x="208" y="297"/>
                          <a:pt x="208" y="304"/>
                        </a:cubicBezTo>
                        <a:cubicBezTo>
                          <a:pt x="208" y="311"/>
                          <a:pt x="227" y="313"/>
                          <a:pt x="227" y="313"/>
                        </a:cubicBezTo>
                        <a:cubicBezTo>
                          <a:pt x="232" y="300"/>
                          <a:pt x="232" y="300"/>
                          <a:pt x="232" y="300"/>
                        </a:cubicBezTo>
                        <a:cubicBezTo>
                          <a:pt x="248" y="303"/>
                          <a:pt x="248" y="303"/>
                          <a:pt x="248" y="303"/>
                        </a:cubicBezTo>
                        <a:cubicBezTo>
                          <a:pt x="244" y="323"/>
                          <a:pt x="244" y="323"/>
                          <a:pt x="244" y="323"/>
                        </a:cubicBezTo>
                        <a:cubicBezTo>
                          <a:pt x="263" y="313"/>
                          <a:pt x="263" y="313"/>
                          <a:pt x="263" y="313"/>
                        </a:cubicBezTo>
                        <a:cubicBezTo>
                          <a:pt x="272" y="324"/>
                          <a:pt x="272" y="324"/>
                          <a:pt x="272" y="324"/>
                        </a:cubicBezTo>
                        <a:cubicBezTo>
                          <a:pt x="265" y="332"/>
                          <a:pt x="265" y="332"/>
                          <a:pt x="265" y="332"/>
                        </a:cubicBezTo>
                        <a:cubicBezTo>
                          <a:pt x="279" y="321"/>
                          <a:pt x="279" y="321"/>
                          <a:pt x="279" y="321"/>
                        </a:cubicBezTo>
                        <a:cubicBezTo>
                          <a:pt x="313" y="321"/>
                          <a:pt x="313" y="321"/>
                          <a:pt x="313" y="321"/>
                        </a:cubicBezTo>
                        <a:cubicBezTo>
                          <a:pt x="313" y="321"/>
                          <a:pt x="320" y="341"/>
                          <a:pt x="343" y="329"/>
                        </a:cubicBezTo>
                        <a:cubicBezTo>
                          <a:pt x="348" y="331"/>
                          <a:pt x="348" y="335"/>
                          <a:pt x="348" y="335"/>
                        </a:cubicBezTo>
                        <a:cubicBezTo>
                          <a:pt x="348" y="335"/>
                          <a:pt x="359" y="339"/>
                          <a:pt x="364" y="327"/>
                        </a:cubicBezTo>
                        <a:cubicBezTo>
                          <a:pt x="364" y="327"/>
                          <a:pt x="400" y="337"/>
                          <a:pt x="404" y="319"/>
                        </a:cubicBezTo>
                        <a:cubicBezTo>
                          <a:pt x="403" y="323"/>
                          <a:pt x="413" y="339"/>
                          <a:pt x="440" y="317"/>
                        </a:cubicBezTo>
                        <a:cubicBezTo>
                          <a:pt x="473" y="327"/>
                          <a:pt x="473" y="327"/>
                          <a:pt x="473" y="327"/>
                        </a:cubicBezTo>
                        <a:cubicBezTo>
                          <a:pt x="473" y="333"/>
                          <a:pt x="473" y="333"/>
                          <a:pt x="473" y="333"/>
                        </a:cubicBezTo>
                        <a:cubicBezTo>
                          <a:pt x="492" y="321"/>
                          <a:pt x="492" y="321"/>
                          <a:pt x="492" y="321"/>
                        </a:cubicBezTo>
                        <a:cubicBezTo>
                          <a:pt x="492" y="335"/>
                          <a:pt x="492" y="335"/>
                          <a:pt x="492" y="335"/>
                        </a:cubicBezTo>
                        <a:cubicBezTo>
                          <a:pt x="492" y="335"/>
                          <a:pt x="522" y="355"/>
                          <a:pt x="554" y="333"/>
                        </a:cubicBezTo>
                        <a:cubicBezTo>
                          <a:pt x="551" y="330"/>
                          <a:pt x="549" y="325"/>
                          <a:pt x="548" y="320"/>
                        </a:cubicBezTo>
                        <a:cubicBezTo>
                          <a:pt x="547" y="313"/>
                          <a:pt x="558" y="305"/>
                          <a:pt x="561" y="303"/>
                        </a:cubicBezTo>
                        <a:cubicBezTo>
                          <a:pt x="564" y="301"/>
                          <a:pt x="556" y="283"/>
                          <a:pt x="556" y="283"/>
                        </a:cubicBezTo>
                        <a:cubicBezTo>
                          <a:pt x="556" y="283"/>
                          <a:pt x="553" y="283"/>
                          <a:pt x="547" y="283"/>
                        </a:cubicBezTo>
                        <a:cubicBezTo>
                          <a:pt x="541" y="283"/>
                          <a:pt x="545" y="269"/>
                          <a:pt x="545" y="269"/>
                        </a:cubicBezTo>
                        <a:cubicBezTo>
                          <a:pt x="547" y="260"/>
                          <a:pt x="547" y="260"/>
                          <a:pt x="547" y="260"/>
                        </a:cubicBezTo>
                        <a:cubicBezTo>
                          <a:pt x="547" y="260"/>
                          <a:pt x="558" y="246"/>
                          <a:pt x="559" y="243"/>
                        </a:cubicBezTo>
                        <a:cubicBezTo>
                          <a:pt x="560" y="240"/>
                          <a:pt x="554" y="236"/>
                          <a:pt x="554" y="236"/>
                        </a:cubicBezTo>
                        <a:cubicBezTo>
                          <a:pt x="543" y="243"/>
                          <a:pt x="543" y="243"/>
                          <a:pt x="543" y="243"/>
                        </a:cubicBezTo>
                        <a:cubicBezTo>
                          <a:pt x="542" y="233"/>
                          <a:pt x="542" y="233"/>
                          <a:pt x="542" y="233"/>
                        </a:cubicBezTo>
                        <a:cubicBezTo>
                          <a:pt x="517" y="215"/>
                          <a:pt x="517" y="215"/>
                          <a:pt x="517" y="215"/>
                        </a:cubicBezTo>
                        <a:cubicBezTo>
                          <a:pt x="514" y="219"/>
                          <a:pt x="514" y="219"/>
                          <a:pt x="514" y="219"/>
                        </a:cubicBezTo>
                        <a:cubicBezTo>
                          <a:pt x="500" y="219"/>
                          <a:pt x="500" y="219"/>
                          <a:pt x="500" y="219"/>
                        </a:cubicBezTo>
                        <a:cubicBezTo>
                          <a:pt x="493" y="225"/>
                          <a:pt x="493" y="225"/>
                          <a:pt x="493" y="225"/>
                        </a:cubicBezTo>
                        <a:cubicBezTo>
                          <a:pt x="486" y="217"/>
                          <a:pt x="486" y="217"/>
                          <a:pt x="486" y="217"/>
                        </a:cubicBezTo>
                        <a:cubicBezTo>
                          <a:pt x="460" y="216"/>
                          <a:pt x="460" y="216"/>
                          <a:pt x="460" y="216"/>
                        </a:cubicBezTo>
                        <a:cubicBezTo>
                          <a:pt x="452" y="228"/>
                          <a:pt x="452" y="228"/>
                          <a:pt x="452" y="228"/>
                        </a:cubicBezTo>
                        <a:cubicBezTo>
                          <a:pt x="443" y="216"/>
                          <a:pt x="443" y="216"/>
                          <a:pt x="443" y="216"/>
                        </a:cubicBezTo>
                        <a:cubicBezTo>
                          <a:pt x="442" y="201"/>
                          <a:pt x="442" y="201"/>
                          <a:pt x="442" y="201"/>
                        </a:cubicBezTo>
                        <a:cubicBezTo>
                          <a:pt x="449" y="195"/>
                          <a:pt x="449" y="195"/>
                          <a:pt x="449" y="195"/>
                        </a:cubicBezTo>
                        <a:cubicBezTo>
                          <a:pt x="436" y="174"/>
                          <a:pt x="436" y="174"/>
                          <a:pt x="436" y="174"/>
                        </a:cubicBezTo>
                        <a:cubicBezTo>
                          <a:pt x="410" y="172"/>
                          <a:pt x="410" y="172"/>
                          <a:pt x="410" y="172"/>
                        </a:cubicBezTo>
                        <a:cubicBezTo>
                          <a:pt x="409" y="165"/>
                          <a:pt x="409" y="165"/>
                          <a:pt x="409" y="165"/>
                        </a:cubicBezTo>
                        <a:cubicBezTo>
                          <a:pt x="409" y="165"/>
                          <a:pt x="390" y="174"/>
                          <a:pt x="383" y="174"/>
                        </a:cubicBezTo>
                        <a:cubicBezTo>
                          <a:pt x="376" y="174"/>
                          <a:pt x="362" y="157"/>
                          <a:pt x="362" y="157"/>
                        </a:cubicBezTo>
                        <a:cubicBezTo>
                          <a:pt x="362" y="141"/>
                          <a:pt x="362" y="141"/>
                          <a:pt x="362" y="141"/>
                        </a:cubicBezTo>
                        <a:cubicBezTo>
                          <a:pt x="353" y="124"/>
                          <a:pt x="353" y="124"/>
                          <a:pt x="353" y="124"/>
                        </a:cubicBezTo>
                        <a:cubicBezTo>
                          <a:pt x="353" y="124"/>
                          <a:pt x="360" y="119"/>
                          <a:pt x="359" y="116"/>
                        </a:cubicBezTo>
                        <a:cubicBezTo>
                          <a:pt x="358" y="113"/>
                          <a:pt x="350" y="110"/>
                          <a:pt x="350" y="110"/>
                        </a:cubicBezTo>
                        <a:cubicBezTo>
                          <a:pt x="335" y="85"/>
                          <a:pt x="335" y="85"/>
                          <a:pt x="335" y="85"/>
                        </a:cubicBezTo>
                        <a:cubicBezTo>
                          <a:pt x="325" y="90"/>
                          <a:pt x="325" y="90"/>
                          <a:pt x="325" y="90"/>
                        </a:cubicBezTo>
                        <a:cubicBezTo>
                          <a:pt x="325" y="90"/>
                          <a:pt x="291" y="99"/>
                          <a:pt x="291" y="106"/>
                        </a:cubicBezTo>
                        <a:cubicBezTo>
                          <a:pt x="291" y="113"/>
                          <a:pt x="283" y="114"/>
                          <a:pt x="283" y="114"/>
                        </a:cubicBezTo>
                        <a:cubicBezTo>
                          <a:pt x="273" y="106"/>
                          <a:pt x="273" y="106"/>
                          <a:pt x="273" y="106"/>
                        </a:cubicBezTo>
                        <a:cubicBezTo>
                          <a:pt x="262" y="106"/>
                          <a:pt x="262" y="106"/>
                          <a:pt x="262" y="106"/>
                        </a:cubicBezTo>
                        <a:cubicBezTo>
                          <a:pt x="262" y="106"/>
                          <a:pt x="253" y="99"/>
                          <a:pt x="253" y="95"/>
                        </a:cubicBezTo>
                        <a:cubicBezTo>
                          <a:pt x="253" y="91"/>
                          <a:pt x="245" y="76"/>
                          <a:pt x="245" y="76"/>
                        </a:cubicBezTo>
                        <a:cubicBezTo>
                          <a:pt x="231" y="77"/>
                          <a:pt x="231" y="77"/>
                          <a:pt x="231" y="77"/>
                        </a:cubicBezTo>
                        <a:cubicBezTo>
                          <a:pt x="221" y="67"/>
                          <a:pt x="221" y="67"/>
                          <a:pt x="221" y="67"/>
                        </a:cubicBezTo>
                        <a:cubicBezTo>
                          <a:pt x="223" y="56"/>
                          <a:pt x="223" y="56"/>
                          <a:pt x="223" y="56"/>
                        </a:cubicBezTo>
                        <a:cubicBezTo>
                          <a:pt x="223" y="56"/>
                          <a:pt x="221" y="42"/>
                          <a:pt x="224" y="42"/>
                        </a:cubicBezTo>
                        <a:cubicBezTo>
                          <a:pt x="227" y="42"/>
                          <a:pt x="221" y="27"/>
                          <a:pt x="221" y="27"/>
                        </a:cubicBezTo>
                        <a:cubicBezTo>
                          <a:pt x="221" y="27"/>
                          <a:pt x="212" y="15"/>
                          <a:pt x="212" y="9"/>
                        </a:cubicBezTo>
                        <a:cubicBezTo>
                          <a:pt x="212" y="3"/>
                          <a:pt x="207" y="0"/>
                          <a:pt x="207" y="0"/>
                        </a:cubicBezTo>
                        <a:cubicBezTo>
                          <a:pt x="207" y="0"/>
                          <a:pt x="174" y="6"/>
                          <a:pt x="157" y="7"/>
                        </a:cubicBezTo>
                        <a:cubicBezTo>
                          <a:pt x="140" y="8"/>
                          <a:pt x="143" y="8"/>
                          <a:pt x="115" y="17"/>
                        </a:cubicBezTo>
                        <a:cubicBezTo>
                          <a:pt x="87" y="26"/>
                          <a:pt x="75" y="27"/>
                          <a:pt x="54" y="31"/>
                        </a:cubicBezTo>
                        <a:cubicBezTo>
                          <a:pt x="33" y="35"/>
                          <a:pt x="26" y="54"/>
                          <a:pt x="26" y="54"/>
                        </a:cubicBezTo>
                        <a:cubicBezTo>
                          <a:pt x="7" y="57"/>
                          <a:pt x="7" y="57"/>
                          <a:pt x="7" y="57"/>
                        </a:cubicBezTo>
                        <a:cubicBezTo>
                          <a:pt x="7" y="57"/>
                          <a:pt x="16" y="74"/>
                          <a:pt x="15" y="87"/>
                        </a:cubicBezTo>
                        <a:cubicBezTo>
                          <a:pt x="14" y="100"/>
                          <a:pt x="5" y="100"/>
                          <a:pt x="5" y="106"/>
                        </a:cubicBezTo>
                        <a:cubicBezTo>
                          <a:pt x="5" y="112"/>
                          <a:pt x="14" y="157"/>
                          <a:pt x="14" y="157"/>
                        </a:cubicBezTo>
                        <a:cubicBezTo>
                          <a:pt x="4" y="192"/>
                          <a:pt x="4" y="192"/>
                          <a:pt x="4" y="192"/>
                        </a:cubicBezTo>
                        <a:cubicBezTo>
                          <a:pt x="4" y="192"/>
                          <a:pt x="7" y="201"/>
                          <a:pt x="12" y="203"/>
                        </a:cubicBezTo>
                        <a:cubicBezTo>
                          <a:pt x="4" y="203"/>
                          <a:pt x="0" y="217"/>
                          <a:pt x="1" y="228"/>
                        </a:cubicBezTo>
                        <a:cubicBezTo>
                          <a:pt x="2" y="239"/>
                          <a:pt x="9" y="232"/>
                          <a:pt x="9" y="232"/>
                        </a:cubicBezTo>
                        <a:cubicBezTo>
                          <a:pt x="9" y="232"/>
                          <a:pt x="10" y="233"/>
                          <a:pt x="12" y="235"/>
                        </a:cubicBezTo>
                        <a:cubicBezTo>
                          <a:pt x="21" y="231"/>
                          <a:pt x="35" y="224"/>
                          <a:pt x="39" y="224"/>
                        </a:cubicBezTo>
                        <a:cubicBezTo>
                          <a:pt x="44" y="224"/>
                          <a:pt x="65" y="237"/>
                          <a:pt x="65" y="237"/>
                        </a:cubicBez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45" name="Picardie" descr="© INSCALE GmbH, 05.05.2010&#10;http://www.presentationload.com/">
                    <a:extLst>
                      <a:ext uri="{FF2B5EF4-FFF2-40B4-BE49-F238E27FC236}">
                        <a16:creationId xmlns:a16="http://schemas.microsoft.com/office/drawing/2014/main" id="{1CCF510E-D430-44C2-88D7-A9528EC4AC06}"/>
                      </a:ext>
                    </a:extLst>
                  </p:cNvPr>
                  <p:cNvSpPr>
                    <a:spLocks/>
                  </p:cNvSpPr>
                  <p:nvPr/>
                </p:nvSpPr>
                <p:spPr bwMode="gray">
                  <a:xfrm>
                    <a:off x="1552" y="410"/>
                    <a:ext cx="644" cy="519"/>
                  </a:xfrm>
                  <a:custGeom>
                    <a:avLst/>
                    <a:gdLst/>
                    <a:ahLst/>
                    <a:cxnLst>
                      <a:cxn ang="0">
                        <a:pos x="17" y="99"/>
                      </a:cxn>
                      <a:cxn ang="0">
                        <a:pos x="85" y="189"/>
                      </a:cxn>
                      <a:cxn ang="0">
                        <a:pos x="79" y="213"/>
                      </a:cxn>
                      <a:cxn ang="0">
                        <a:pos x="79" y="264"/>
                      </a:cxn>
                      <a:cxn ang="0">
                        <a:pos x="83" y="275"/>
                      </a:cxn>
                      <a:cxn ang="0">
                        <a:pos x="84" y="355"/>
                      </a:cxn>
                      <a:cxn ang="0">
                        <a:pos x="76" y="379"/>
                      </a:cxn>
                      <a:cxn ang="0">
                        <a:pos x="144" y="371"/>
                      </a:cxn>
                      <a:cxn ang="0">
                        <a:pos x="160" y="373"/>
                      </a:cxn>
                      <a:cxn ang="0">
                        <a:pos x="173" y="376"/>
                      </a:cxn>
                      <a:cxn ang="0">
                        <a:pos x="196" y="375"/>
                      </a:cxn>
                      <a:cxn ang="0">
                        <a:pos x="196" y="375"/>
                      </a:cxn>
                      <a:cxn ang="0">
                        <a:pos x="232" y="403"/>
                      </a:cxn>
                      <a:cxn ang="0">
                        <a:pos x="251" y="409"/>
                      </a:cxn>
                      <a:cxn ang="0">
                        <a:pos x="280" y="412"/>
                      </a:cxn>
                      <a:cxn ang="0">
                        <a:pos x="311" y="413"/>
                      </a:cxn>
                      <a:cxn ang="0">
                        <a:pos x="356" y="397"/>
                      </a:cxn>
                      <a:cxn ang="0">
                        <a:pos x="392" y="451"/>
                      </a:cxn>
                      <a:cxn ang="0">
                        <a:pos x="407" y="457"/>
                      </a:cxn>
                      <a:cxn ang="0">
                        <a:pos x="421" y="476"/>
                      </a:cxn>
                      <a:cxn ang="0">
                        <a:pos x="451" y="461"/>
                      </a:cxn>
                      <a:cxn ang="0">
                        <a:pos x="480" y="424"/>
                      </a:cxn>
                      <a:cxn ang="0">
                        <a:pos x="463" y="415"/>
                      </a:cxn>
                      <a:cxn ang="0">
                        <a:pos x="465" y="391"/>
                      </a:cxn>
                      <a:cxn ang="0">
                        <a:pos x="473" y="364"/>
                      </a:cxn>
                      <a:cxn ang="0">
                        <a:pos x="473" y="333"/>
                      </a:cxn>
                      <a:cxn ang="0">
                        <a:pos x="517" y="309"/>
                      </a:cxn>
                      <a:cxn ang="0">
                        <a:pos x="552" y="316"/>
                      </a:cxn>
                      <a:cxn ang="0">
                        <a:pos x="560" y="260"/>
                      </a:cxn>
                      <a:cxn ang="0">
                        <a:pos x="564" y="229"/>
                      </a:cxn>
                      <a:cxn ang="0">
                        <a:pos x="593" y="187"/>
                      </a:cxn>
                      <a:cxn ang="0">
                        <a:pos x="592" y="143"/>
                      </a:cxn>
                      <a:cxn ang="0">
                        <a:pos x="536" y="111"/>
                      </a:cxn>
                      <a:cxn ang="0">
                        <a:pos x="517" y="109"/>
                      </a:cxn>
                      <a:cxn ang="0">
                        <a:pos x="484" y="93"/>
                      </a:cxn>
                      <a:cxn ang="0">
                        <a:pos x="408" y="103"/>
                      </a:cxn>
                      <a:cxn ang="0">
                        <a:pos x="387" y="105"/>
                      </a:cxn>
                      <a:cxn ang="0">
                        <a:pos x="323" y="97"/>
                      </a:cxn>
                      <a:cxn ang="0">
                        <a:pos x="316" y="100"/>
                      </a:cxn>
                      <a:cxn ang="0">
                        <a:pos x="288" y="99"/>
                      </a:cxn>
                      <a:cxn ang="0">
                        <a:pos x="276" y="76"/>
                      </a:cxn>
                      <a:cxn ang="0">
                        <a:pos x="252" y="80"/>
                      </a:cxn>
                      <a:cxn ang="0">
                        <a:pos x="217" y="85"/>
                      </a:cxn>
                      <a:cxn ang="0">
                        <a:pos x="231" y="49"/>
                      </a:cxn>
                      <a:cxn ang="0">
                        <a:pos x="203" y="45"/>
                      </a:cxn>
                      <a:cxn ang="0">
                        <a:pos x="161" y="55"/>
                      </a:cxn>
                      <a:cxn ang="0">
                        <a:pos x="145" y="33"/>
                      </a:cxn>
                      <a:cxn ang="0">
                        <a:pos x="121" y="12"/>
                      </a:cxn>
                      <a:cxn ang="0">
                        <a:pos x="83" y="0"/>
                      </a:cxn>
                      <a:cxn ang="0">
                        <a:pos x="63" y="30"/>
                      </a:cxn>
                      <a:cxn ang="0">
                        <a:pos x="25" y="60"/>
                      </a:cxn>
                      <a:cxn ang="0">
                        <a:pos x="5" y="92"/>
                      </a:cxn>
                    </a:cxnLst>
                    <a:rect l="0" t="0" r="r" b="b"/>
                    <a:pathLst>
                      <a:path w="597" h="481">
                        <a:moveTo>
                          <a:pt x="17" y="95"/>
                        </a:moveTo>
                        <a:cubicBezTo>
                          <a:pt x="17" y="99"/>
                          <a:pt x="17" y="99"/>
                          <a:pt x="17" y="99"/>
                        </a:cubicBezTo>
                        <a:cubicBezTo>
                          <a:pt x="17" y="99"/>
                          <a:pt x="43" y="136"/>
                          <a:pt x="61" y="139"/>
                        </a:cubicBezTo>
                        <a:cubicBezTo>
                          <a:pt x="85" y="189"/>
                          <a:pt x="85" y="189"/>
                          <a:pt x="85" y="189"/>
                        </a:cubicBezTo>
                        <a:cubicBezTo>
                          <a:pt x="85" y="189"/>
                          <a:pt x="64" y="211"/>
                          <a:pt x="68" y="212"/>
                        </a:cubicBezTo>
                        <a:cubicBezTo>
                          <a:pt x="72" y="213"/>
                          <a:pt x="79" y="213"/>
                          <a:pt x="79" y="213"/>
                        </a:cubicBezTo>
                        <a:cubicBezTo>
                          <a:pt x="69" y="244"/>
                          <a:pt x="69" y="244"/>
                          <a:pt x="69" y="244"/>
                        </a:cubicBezTo>
                        <a:cubicBezTo>
                          <a:pt x="79" y="264"/>
                          <a:pt x="79" y="264"/>
                          <a:pt x="79" y="264"/>
                        </a:cubicBezTo>
                        <a:cubicBezTo>
                          <a:pt x="73" y="276"/>
                          <a:pt x="73" y="276"/>
                          <a:pt x="73" y="276"/>
                        </a:cubicBezTo>
                        <a:cubicBezTo>
                          <a:pt x="83" y="275"/>
                          <a:pt x="83" y="275"/>
                          <a:pt x="83" y="275"/>
                        </a:cubicBezTo>
                        <a:cubicBezTo>
                          <a:pt x="73" y="303"/>
                          <a:pt x="73" y="303"/>
                          <a:pt x="73" y="303"/>
                        </a:cubicBezTo>
                        <a:cubicBezTo>
                          <a:pt x="73" y="303"/>
                          <a:pt x="85" y="340"/>
                          <a:pt x="84" y="355"/>
                        </a:cubicBezTo>
                        <a:cubicBezTo>
                          <a:pt x="65" y="349"/>
                          <a:pt x="65" y="349"/>
                          <a:pt x="65" y="349"/>
                        </a:cubicBezTo>
                        <a:cubicBezTo>
                          <a:pt x="76" y="379"/>
                          <a:pt x="76" y="379"/>
                          <a:pt x="76" y="379"/>
                        </a:cubicBezTo>
                        <a:cubicBezTo>
                          <a:pt x="128" y="375"/>
                          <a:pt x="128" y="375"/>
                          <a:pt x="128" y="375"/>
                        </a:cubicBezTo>
                        <a:cubicBezTo>
                          <a:pt x="144" y="371"/>
                          <a:pt x="144" y="371"/>
                          <a:pt x="144" y="371"/>
                        </a:cubicBezTo>
                        <a:cubicBezTo>
                          <a:pt x="151" y="376"/>
                          <a:pt x="151" y="376"/>
                          <a:pt x="151" y="376"/>
                        </a:cubicBezTo>
                        <a:cubicBezTo>
                          <a:pt x="160" y="373"/>
                          <a:pt x="160" y="373"/>
                          <a:pt x="160" y="373"/>
                        </a:cubicBezTo>
                        <a:cubicBezTo>
                          <a:pt x="169" y="383"/>
                          <a:pt x="169" y="383"/>
                          <a:pt x="169" y="383"/>
                        </a:cubicBezTo>
                        <a:cubicBezTo>
                          <a:pt x="173" y="376"/>
                          <a:pt x="173" y="376"/>
                          <a:pt x="173" y="376"/>
                        </a:cubicBezTo>
                        <a:cubicBezTo>
                          <a:pt x="177" y="384"/>
                          <a:pt x="177" y="384"/>
                          <a:pt x="177" y="384"/>
                        </a:cubicBezTo>
                        <a:cubicBezTo>
                          <a:pt x="196" y="375"/>
                          <a:pt x="196" y="375"/>
                          <a:pt x="196" y="375"/>
                        </a:cubicBezTo>
                        <a:cubicBezTo>
                          <a:pt x="197" y="375"/>
                          <a:pt x="197" y="375"/>
                          <a:pt x="197" y="375"/>
                        </a:cubicBezTo>
                        <a:cubicBezTo>
                          <a:pt x="196" y="375"/>
                          <a:pt x="196" y="375"/>
                          <a:pt x="196" y="375"/>
                        </a:cubicBezTo>
                        <a:cubicBezTo>
                          <a:pt x="194" y="376"/>
                          <a:pt x="190" y="380"/>
                          <a:pt x="203" y="383"/>
                        </a:cubicBezTo>
                        <a:cubicBezTo>
                          <a:pt x="219" y="387"/>
                          <a:pt x="237" y="399"/>
                          <a:pt x="232" y="403"/>
                        </a:cubicBezTo>
                        <a:cubicBezTo>
                          <a:pt x="227" y="407"/>
                          <a:pt x="245" y="399"/>
                          <a:pt x="245" y="399"/>
                        </a:cubicBezTo>
                        <a:cubicBezTo>
                          <a:pt x="251" y="409"/>
                          <a:pt x="251" y="409"/>
                          <a:pt x="251" y="409"/>
                        </a:cubicBezTo>
                        <a:cubicBezTo>
                          <a:pt x="251" y="409"/>
                          <a:pt x="253" y="397"/>
                          <a:pt x="260" y="401"/>
                        </a:cubicBezTo>
                        <a:cubicBezTo>
                          <a:pt x="267" y="405"/>
                          <a:pt x="272" y="409"/>
                          <a:pt x="280" y="412"/>
                        </a:cubicBezTo>
                        <a:cubicBezTo>
                          <a:pt x="288" y="415"/>
                          <a:pt x="297" y="405"/>
                          <a:pt x="297" y="405"/>
                        </a:cubicBezTo>
                        <a:cubicBezTo>
                          <a:pt x="311" y="413"/>
                          <a:pt x="311" y="413"/>
                          <a:pt x="311" y="413"/>
                        </a:cubicBezTo>
                        <a:cubicBezTo>
                          <a:pt x="349" y="403"/>
                          <a:pt x="349" y="403"/>
                          <a:pt x="349" y="403"/>
                        </a:cubicBezTo>
                        <a:cubicBezTo>
                          <a:pt x="356" y="397"/>
                          <a:pt x="356" y="397"/>
                          <a:pt x="356" y="397"/>
                        </a:cubicBezTo>
                        <a:cubicBezTo>
                          <a:pt x="356" y="397"/>
                          <a:pt x="380" y="399"/>
                          <a:pt x="376" y="431"/>
                        </a:cubicBezTo>
                        <a:cubicBezTo>
                          <a:pt x="377" y="436"/>
                          <a:pt x="393" y="443"/>
                          <a:pt x="392" y="451"/>
                        </a:cubicBezTo>
                        <a:cubicBezTo>
                          <a:pt x="391" y="459"/>
                          <a:pt x="404" y="449"/>
                          <a:pt x="404" y="449"/>
                        </a:cubicBezTo>
                        <a:cubicBezTo>
                          <a:pt x="407" y="457"/>
                          <a:pt x="407" y="457"/>
                          <a:pt x="407" y="457"/>
                        </a:cubicBezTo>
                        <a:cubicBezTo>
                          <a:pt x="417" y="457"/>
                          <a:pt x="417" y="457"/>
                          <a:pt x="417" y="457"/>
                        </a:cubicBezTo>
                        <a:cubicBezTo>
                          <a:pt x="417" y="457"/>
                          <a:pt x="417" y="476"/>
                          <a:pt x="421" y="476"/>
                        </a:cubicBezTo>
                        <a:cubicBezTo>
                          <a:pt x="425" y="476"/>
                          <a:pt x="441" y="481"/>
                          <a:pt x="441" y="481"/>
                        </a:cubicBezTo>
                        <a:cubicBezTo>
                          <a:pt x="451" y="461"/>
                          <a:pt x="451" y="461"/>
                          <a:pt x="451" y="461"/>
                        </a:cubicBezTo>
                        <a:cubicBezTo>
                          <a:pt x="457" y="459"/>
                          <a:pt x="457" y="459"/>
                          <a:pt x="457" y="459"/>
                        </a:cubicBezTo>
                        <a:cubicBezTo>
                          <a:pt x="457" y="459"/>
                          <a:pt x="487" y="429"/>
                          <a:pt x="480" y="424"/>
                        </a:cubicBezTo>
                        <a:cubicBezTo>
                          <a:pt x="473" y="419"/>
                          <a:pt x="461" y="420"/>
                          <a:pt x="461" y="420"/>
                        </a:cubicBezTo>
                        <a:cubicBezTo>
                          <a:pt x="463" y="415"/>
                          <a:pt x="463" y="415"/>
                          <a:pt x="463" y="415"/>
                        </a:cubicBezTo>
                        <a:cubicBezTo>
                          <a:pt x="471" y="408"/>
                          <a:pt x="471" y="408"/>
                          <a:pt x="471" y="408"/>
                        </a:cubicBezTo>
                        <a:cubicBezTo>
                          <a:pt x="471" y="408"/>
                          <a:pt x="463" y="396"/>
                          <a:pt x="465" y="391"/>
                        </a:cubicBezTo>
                        <a:cubicBezTo>
                          <a:pt x="468" y="385"/>
                          <a:pt x="492" y="380"/>
                          <a:pt x="492" y="380"/>
                        </a:cubicBezTo>
                        <a:cubicBezTo>
                          <a:pt x="473" y="364"/>
                          <a:pt x="473" y="364"/>
                          <a:pt x="473" y="364"/>
                        </a:cubicBezTo>
                        <a:cubicBezTo>
                          <a:pt x="479" y="353"/>
                          <a:pt x="479" y="353"/>
                          <a:pt x="479" y="353"/>
                        </a:cubicBezTo>
                        <a:cubicBezTo>
                          <a:pt x="473" y="333"/>
                          <a:pt x="473" y="333"/>
                          <a:pt x="473" y="333"/>
                        </a:cubicBezTo>
                        <a:cubicBezTo>
                          <a:pt x="473" y="333"/>
                          <a:pt x="495" y="315"/>
                          <a:pt x="512" y="320"/>
                        </a:cubicBezTo>
                        <a:cubicBezTo>
                          <a:pt x="516" y="319"/>
                          <a:pt x="517" y="309"/>
                          <a:pt x="517" y="309"/>
                        </a:cubicBezTo>
                        <a:cubicBezTo>
                          <a:pt x="528" y="303"/>
                          <a:pt x="528" y="303"/>
                          <a:pt x="528" y="303"/>
                        </a:cubicBezTo>
                        <a:cubicBezTo>
                          <a:pt x="528" y="303"/>
                          <a:pt x="547" y="316"/>
                          <a:pt x="552" y="316"/>
                        </a:cubicBezTo>
                        <a:cubicBezTo>
                          <a:pt x="557" y="316"/>
                          <a:pt x="552" y="267"/>
                          <a:pt x="552" y="267"/>
                        </a:cubicBezTo>
                        <a:cubicBezTo>
                          <a:pt x="560" y="260"/>
                          <a:pt x="560" y="260"/>
                          <a:pt x="560" y="260"/>
                        </a:cubicBezTo>
                        <a:cubicBezTo>
                          <a:pt x="548" y="231"/>
                          <a:pt x="548" y="231"/>
                          <a:pt x="548" y="231"/>
                        </a:cubicBezTo>
                        <a:cubicBezTo>
                          <a:pt x="564" y="229"/>
                          <a:pt x="564" y="229"/>
                          <a:pt x="564" y="229"/>
                        </a:cubicBezTo>
                        <a:cubicBezTo>
                          <a:pt x="571" y="215"/>
                          <a:pt x="571" y="215"/>
                          <a:pt x="571" y="215"/>
                        </a:cubicBezTo>
                        <a:cubicBezTo>
                          <a:pt x="593" y="187"/>
                          <a:pt x="593" y="187"/>
                          <a:pt x="593" y="187"/>
                        </a:cubicBezTo>
                        <a:cubicBezTo>
                          <a:pt x="587" y="180"/>
                          <a:pt x="587" y="180"/>
                          <a:pt x="587" y="180"/>
                        </a:cubicBezTo>
                        <a:cubicBezTo>
                          <a:pt x="592" y="143"/>
                          <a:pt x="592" y="143"/>
                          <a:pt x="592" y="143"/>
                        </a:cubicBezTo>
                        <a:cubicBezTo>
                          <a:pt x="592" y="143"/>
                          <a:pt x="583" y="130"/>
                          <a:pt x="597" y="110"/>
                        </a:cubicBezTo>
                        <a:cubicBezTo>
                          <a:pt x="566" y="131"/>
                          <a:pt x="536" y="111"/>
                          <a:pt x="536" y="111"/>
                        </a:cubicBezTo>
                        <a:cubicBezTo>
                          <a:pt x="536" y="97"/>
                          <a:pt x="536" y="97"/>
                          <a:pt x="536" y="97"/>
                        </a:cubicBezTo>
                        <a:cubicBezTo>
                          <a:pt x="517" y="109"/>
                          <a:pt x="517" y="109"/>
                          <a:pt x="517" y="109"/>
                        </a:cubicBezTo>
                        <a:cubicBezTo>
                          <a:pt x="517" y="103"/>
                          <a:pt x="517" y="103"/>
                          <a:pt x="517" y="103"/>
                        </a:cubicBezTo>
                        <a:cubicBezTo>
                          <a:pt x="484" y="93"/>
                          <a:pt x="484" y="93"/>
                          <a:pt x="484" y="93"/>
                        </a:cubicBezTo>
                        <a:cubicBezTo>
                          <a:pt x="457" y="115"/>
                          <a:pt x="447" y="99"/>
                          <a:pt x="448" y="95"/>
                        </a:cubicBezTo>
                        <a:cubicBezTo>
                          <a:pt x="444" y="113"/>
                          <a:pt x="408" y="103"/>
                          <a:pt x="408" y="103"/>
                        </a:cubicBezTo>
                        <a:cubicBezTo>
                          <a:pt x="403" y="115"/>
                          <a:pt x="392" y="111"/>
                          <a:pt x="392" y="111"/>
                        </a:cubicBezTo>
                        <a:cubicBezTo>
                          <a:pt x="392" y="111"/>
                          <a:pt x="392" y="107"/>
                          <a:pt x="387" y="105"/>
                        </a:cubicBezTo>
                        <a:cubicBezTo>
                          <a:pt x="364" y="117"/>
                          <a:pt x="357" y="97"/>
                          <a:pt x="357" y="97"/>
                        </a:cubicBezTo>
                        <a:cubicBezTo>
                          <a:pt x="323" y="97"/>
                          <a:pt x="323" y="97"/>
                          <a:pt x="323" y="97"/>
                        </a:cubicBezTo>
                        <a:cubicBezTo>
                          <a:pt x="309" y="108"/>
                          <a:pt x="309" y="108"/>
                          <a:pt x="309" y="108"/>
                        </a:cubicBezTo>
                        <a:cubicBezTo>
                          <a:pt x="316" y="100"/>
                          <a:pt x="316" y="100"/>
                          <a:pt x="316" y="100"/>
                        </a:cubicBezTo>
                        <a:cubicBezTo>
                          <a:pt x="307" y="89"/>
                          <a:pt x="307" y="89"/>
                          <a:pt x="307" y="89"/>
                        </a:cubicBezTo>
                        <a:cubicBezTo>
                          <a:pt x="288" y="99"/>
                          <a:pt x="288" y="99"/>
                          <a:pt x="288" y="99"/>
                        </a:cubicBezTo>
                        <a:cubicBezTo>
                          <a:pt x="292" y="79"/>
                          <a:pt x="292" y="79"/>
                          <a:pt x="292" y="79"/>
                        </a:cubicBezTo>
                        <a:cubicBezTo>
                          <a:pt x="276" y="76"/>
                          <a:pt x="276" y="76"/>
                          <a:pt x="276" y="76"/>
                        </a:cubicBezTo>
                        <a:cubicBezTo>
                          <a:pt x="271" y="89"/>
                          <a:pt x="271" y="89"/>
                          <a:pt x="271" y="89"/>
                        </a:cubicBezTo>
                        <a:cubicBezTo>
                          <a:pt x="271" y="89"/>
                          <a:pt x="252" y="87"/>
                          <a:pt x="252" y="80"/>
                        </a:cubicBezTo>
                        <a:cubicBezTo>
                          <a:pt x="252" y="73"/>
                          <a:pt x="237" y="76"/>
                          <a:pt x="237" y="76"/>
                        </a:cubicBezTo>
                        <a:cubicBezTo>
                          <a:pt x="237" y="65"/>
                          <a:pt x="217" y="85"/>
                          <a:pt x="217" y="85"/>
                        </a:cubicBezTo>
                        <a:cubicBezTo>
                          <a:pt x="217" y="85"/>
                          <a:pt x="207" y="91"/>
                          <a:pt x="207" y="80"/>
                        </a:cubicBezTo>
                        <a:cubicBezTo>
                          <a:pt x="207" y="69"/>
                          <a:pt x="231" y="49"/>
                          <a:pt x="231" y="49"/>
                        </a:cubicBezTo>
                        <a:cubicBezTo>
                          <a:pt x="224" y="39"/>
                          <a:pt x="224" y="39"/>
                          <a:pt x="224" y="39"/>
                        </a:cubicBezTo>
                        <a:cubicBezTo>
                          <a:pt x="203" y="45"/>
                          <a:pt x="203" y="45"/>
                          <a:pt x="203" y="45"/>
                        </a:cubicBezTo>
                        <a:cubicBezTo>
                          <a:pt x="187" y="41"/>
                          <a:pt x="187" y="41"/>
                          <a:pt x="187" y="41"/>
                        </a:cubicBezTo>
                        <a:cubicBezTo>
                          <a:pt x="161" y="55"/>
                          <a:pt x="161" y="55"/>
                          <a:pt x="161" y="55"/>
                        </a:cubicBezTo>
                        <a:cubicBezTo>
                          <a:pt x="153" y="51"/>
                          <a:pt x="153" y="51"/>
                          <a:pt x="153" y="51"/>
                        </a:cubicBezTo>
                        <a:cubicBezTo>
                          <a:pt x="145" y="33"/>
                          <a:pt x="145" y="33"/>
                          <a:pt x="145" y="33"/>
                        </a:cubicBezTo>
                        <a:cubicBezTo>
                          <a:pt x="123" y="23"/>
                          <a:pt x="123" y="23"/>
                          <a:pt x="123" y="23"/>
                        </a:cubicBezTo>
                        <a:cubicBezTo>
                          <a:pt x="121" y="12"/>
                          <a:pt x="121" y="12"/>
                          <a:pt x="121" y="12"/>
                        </a:cubicBezTo>
                        <a:cubicBezTo>
                          <a:pt x="109" y="13"/>
                          <a:pt x="109" y="13"/>
                          <a:pt x="109" y="13"/>
                        </a:cubicBezTo>
                        <a:cubicBezTo>
                          <a:pt x="109" y="13"/>
                          <a:pt x="88" y="0"/>
                          <a:pt x="83" y="0"/>
                        </a:cubicBezTo>
                        <a:cubicBezTo>
                          <a:pt x="79" y="0"/>
                          <a:pt x="65" y="7"/>
                          <a:pt x="56" y="11"/>
                        </a:cubicBezTo>
                        <a:cubicBezTo>
                          <a:pt x="60" y="16"/>
                          <a:pt x="69" y="27"/>
                          <a:pt x="63" y="30"/>
                        </a:cubicBezTo>
                        <a:cubicBezTo>
                          <a:pt x="55" y="34"/>
                          <a:pt x="45" y="21"/>
                          <a:pt x="45" y="21"/>
                        </a:cubicBezTo>
                        <a:cubicBezTo>
                          <a:pt x="35" y="27"/>
                          <a:pt x="25" y="60"/>
                          <a:pt x="25" y="60"/>
                        </a:cubicBezTo>
                        <a:cubicBezTo>
                          <a:pt x="25" y="60"/>
                          <a:pt x="14" y="68"/>
                          <a:pt x="0" y="77"/>
                        </a:cubicBezTo>
                        <a:cubicBezTo>
                          <a:pt x="5" y="92"/>
                          <a:pt x="5" y="92"/>
                          <a:pt x="5" y="92"/>
                        </a:cubicBezTo>
                        <a:lnTo>
                          <a:pt x="17" y="95"/>
                        </a:ln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46" name="Haute Normandie" descr="© INSCALE GmbH, 05.05.2010&#10;http://www.presentationload.com/">
                    <a:extLst>
                      <a:ext uri="{FF2B5EF4-FFF2-40B4-BE49-F238E27FC236}">
                        <a16:creationId xmlns:a16="http://schemas.microsoft.com/office/drawing/2014/main" id="{10C99160-543C-4BAD-98F6-65431A87168E}"/>
                      </a:ext>
                    </a:extLst>
                  </p:cNvPr>
                  <p:cNvSpPr>
                    <a:spLocks/>
                  </p:cNvSpPr>
                  <p:nvPr/>
                </p:nvSpPr>
                <p:spPr bwMode="gray">
                  <a:xfrm>
                    <a:off x="1259" y="493"/>
                    <a:ext cx="385" cy="503"/>
                  </a:xfrm>
                  <a:custGeom>
                    <a:avLst/>
                    <a:gdLst/>
                    <a:ahLst/>
                    <a:cxnLst>
                      <a:cxn ang="0">
                        <a:pos x="355" y="198"/>
                      </a:cxn>
                      <a:cxn ang="0">
                        <a:pos x="345" y="199"/>
                      </a:cxn>
                      <a:cxn ang="0">
                        <a:pos x="351" y="187"/>
                      </a:cxn>
                      <a:cxn ang="0">
                        <a:pos x="341" y="167"/>
                      </a:cxn>
                      <a:cxn ang="0">
                        <a:pos x="351" y="136"/>
                      </a:cxn>
                      <a:cxn ang="0">
                        <a:pos x="340" y="135"/>
                      </a:cxn>
                      <a:cxn ang="0">
                        <a:pos x="357" y="112"/>
                      </a:cxn>
                      <a:cxn ang="0">
                        <a:pos x="333" y="62"/>
                      </a:cxn>
                      <a:cxn ang="0">
                        <a:pos x="289" y="22"/>
                      </a:cxn>
                      <a:cxn ang="0">
                        <a:pos x="289" y="18"/>
                      </a:cxn>
                      <a:cxn ang="0">
                        <a:pos x="277" y="15"/>
                      </a:cxn>
                      <a:cxn ang="0">
                        <a:pos x="272" y="0"/>
                      </a:cxn>
                      <a:cxn ang="0">
                        <a:pos x="220" y="29"/>
                      </a:cxn>
                      <a:cxn ang="0">
                        <a:pos x="155" y="47"/>
                      </a:cxn>
                      <a:cxn ang="0">
                        <a:pos x="108" y="50"/>
                      </a:cxn>
                      <a:cxn ang="0">
                        <a:pos x="30" y="93"/>
                      </a:cxn>
                      <a:cxn ang="0">
                        <a:pos x="0" y="150"/>
                      </a:cxn>
                      <a:cxn ang="0">
                        <a:pos x="10" y="167"/>
                      </a:cxn>
                      <a:cxn ang="0">
                        <a:pos x="39" y="178"/>
                      </a:cxn>
                      <a:cxn ang="0">
                        <a:pos x="52" y="263"/>
                      </a:cxn>
                      <a:cxn ang="0">
                        <a:pos x="53" y="271"/>
                      </a:cxn>
                      <a:cxn ang="0">
                        <a:pos x="67" y="288"/>
                      </a:cxn>
                      <a:cxn ang="0">
                        <a:pos x="67" y="303"/>
                      </a:cxn>
                      <a:cxn ang="0">
                        <a:pos x="72" y="311"/>
                      </a:cxn>
                      <a:cxn ang="0">
                        <a:pos x="71" y="331"/>
                      </a:cxn>
                      <a:cxn ang="0">
                        <a:pos x="63" y="332"/>
                      </a:cxn>
                      <a:cxn ang="0">
                        <a:pos x="72" y="344"/>
                      </a:cxn>
                      <a:cxn ang="0">
                        <a:pos x="65" y="379"/>
                      </a:cxn>
                      <a:cxn ang="0">
                        <a:pos x="72" y="388"/>
                      </a:cxn>
                      <a:cxn ang="0">
                        <a:pos x="105" y="390"/>
                      </a:cxn>
                      <a:cxn ang="0">
                        <a:pos x="112" y="410"/>
                      </a:cxn>
                      <a:cxn ang="0">
                        <a:pos x="136" y="448"/>
                      </a:cxn>
                      <a:cxn ang="0">
                        <a:pos x="139" y="459"/>
                      </a:cxn>
                      <a:cxn ang="0">
                        <a:pos x="167" y="444"/>
                      </a:cxn>
                      <a:cxn ang="0">
                        <a:pos x="201" y="434"/>
                      </a:cxn>
                      <a:cxn ang="0">
                        <a:pos x="211" y="438"/>
                      </a:cxn>
                      <a:cxn ang="0">
                        <a:pos x="212" y="427"/>
                      </a:cxn>
                      <a:cxn ang="0">
                        <a:pos x="263" y="431"/>
                      </a:cxn>
                      <a:cxn ang="0">
                        <a:pos x="268" y="408"/>
                      </a:cxn>
                      <a:cxn ang="0">
                        <a:pos x="288" y="395"/>
                      </a:cxn>
                      <a:cxn ang="0">
                        <a:pos x="288" y="383"/>
                      </a:cxn>
                      <a:cxn ang="0">
                        <a:pos x="297" y="379"/>
                      </a:cxn>
                      <a:cxn ang="0">
                        <a:pos x="284" y="343"/>
                      </a:cxn>
                      <a:cxn ang="0">
                        <a:pos x="297" y="338"/>
                      </a:cxn>
                      <a:cxn ang="0">
                        <a:pos x="295" y="331"/>
                      </a:cxn>
                      <a:cxn ang="0">
                        <a:pos x="323" y="328"/>
                      </a:cxn>
                      <a:cxn ang="0">
                        <a:pos x="340" y="281"/>
                      </a:cxn>
                      <a:cxn ang="0">
                        <a:pos x="337" y="272"/>
                      </a:cxn>
                      <a:cxn ang="0">
                        <a:pos x="354" y="277"/>
                      </a:cxn>
                      <a:cxn ang="0">
                        <a:pos x="356" y="278"/>
                      </a:cxn>
                      <a:cxn ang="0">
                        <a:pos x="356" y="277"/>
                      </a:cxn>
                      <a:cxn ang="0">
                        <a:pos x="345" y="226"/>
                      </a:cxn>
                      <a:cxn ang="0">
                        <a:pos x="355" y="198"/>
                      </a:cxn>
                    </a:cxnLst>
                    <a:rect l="0" t="0" r="r" b="b"/>
                    <a:pathLst>
                      <a:path w="357" h="466">
                        <a:moveTo>
                          <a:pt x="355" y="198"/>
                        </a:moveTo>
                        <a:cubicBezTo>
                          <a:pt x="345" y="199"/>
                          <a:pt x="345" y="199"/>
                          <a:pt x="345" y="199"/>
                        </a:cubicBezTo>
                        <a:cubicBezTo>
                          <a:pt x="351" y="187"/>
                          <a:pt x="351" y="187"/>
                          <a:pt x="351" y="187"/>
                        </a:cubicBezTo>
                        <a:cubicBezTo>
                          <a:pt x="341" y="167"/>
                          <a:pt x="341" y="167"/>
                          <a:pt x="341" y="167"/>
                        </a:cubicBezTo>
                        <a:cubicBezTo>
                          <a:pt x="351" y="136"/>
                          <a:pt x="351" y="136"/>
                          <a:pt x="351" y="136"/>
                        </a:cubicBezTo>
                        <a:cubicBezTo>
                          <a:pt x="351" y="136"/>
                          <a:pt x="344" y="136"/>
                          <a:pt x="340" y="135"/>
                        </a:cubicBezTo>
                        <a:cubicBezTo>
                          <a:pt x="336" y="134"/>
                          <a:pt x="357" y="112"/>
                          <a:pt x="357" y="112"/>
                        </a:cubicBezTo>
                        <a:cubicBezTo>
                          <a:pt x="333" y="62"/>
                          <a:pt x="333" y="62"/>
                          <a:pt x="333" y="62"/>
                        </a:cubicBezTo>
                        <a:cubicBezTo>
                          <a:pt x="315" y="59"/>
                          <a:pt x="289" y="22"/>
                          <a:pt x="289" y="22"/>
                        </a:cubicBezTo>
                        <a:cubicBezTo>
                          <a:pt x="289" y="18"/>
                          <a:pt x="289" y="18"/>
                          <a:pt x="289" y="18"/>
                        </a:cubicBezTo>
                        <a:cubicBezTo>
                          <a:pt x="277" y="15"/>
                          <a:pt x="277" y="15"/>
                          <a:pt x="277" y="15"/>
                        </a:cubicBezTo>
                        <a:cubicBezTo>
                          <a:pt x="272" y="0"/>
                          <a:pt x="272" y="0"/>
                          <a:pt x="272" y="0"/>
                        </a:cubicBezTo>
                        <a:cubicBezTo>
                          <a:pt x="255" y="11"/>
                          <a:pt x="233" y="25"/>
                          <a:pt x="220" y="29"/>
                        </a:cubicBezTo>
                        <a:cubicBezTo>
                          <a:pt x="196" y="38"/>
                          <a:pt x="155" y="47"/>
                          <a:pt x="155" y="47"/>
                        </a:cubicBezTo>
                        <a:cubicBezTo>
                          <a:pt x="155" y="47"/>
                          <a:pt x="110" y="54"/>
                          <a:pt x="108" y="50"/>
                        </a:cubicBezTo>
                        <a:cubicBezTo>
                          <a:pt x="81" y="78"/>
                          <a:pt x="30" y="93"/>
                          <a:pt x="30" y="93"/>
                        </a:cubicBezTo>
                        <a:cubicBezTo>
                          <a:pt x="0" y="150"/>
                          <a:pt x="0" y="150"/>
                          <a:pt x="0" y="150"/>
                        </a:cubicBezTo>
                        <a:cubicBezTo>
                          <a:pt x="10" y="167"/>
                          <a:pt x="10" y="167"/>
                          <a:pt x="10" y="167"/>
                        </a:cubicBezTo>
                        <a:cubicBezTo>
                          <a:pt x="10" y="167"/>
                          <a:pt x="44" y="176"/>
                          <a:pt x="39" y="178"/>
                        </a:cubicBezTo>
                        <a:cubicBezTo>
                          <a:pt x="52" y="263"/>
                          <a:pt x="52" y="263"/>
                          <a:pt x="52" y="263"/>
                        </a:cubicBezTo>
                        <a:cubicBezTo>
                          <a:pt x="52" y="263"/>
                          <a:pt x="84" y="260"/>
                          <a:pt x="53" y="271"/>
                        </a:cubicBezTo>
                        <a:cubicBezTo>
                          <a:pt x="51" y="278"/>
                          <a:pt x="67" y="288"/>
                          <a:pt x="67" y="288"/>
                        </a:cubicBezTo>
                        <a:cubicBezTo>
                          <a:pt x="67" y="303"/>
                          <a:pt x="67" y="303"/>
                          <a:pt x="67" y="303"/>
                        </a:cubicBezTo>
                        <a:cubicBezTo>
                          <a:pt x="72" y="311"/>
                          <a:pt x="72" y="311"/>
                          <a:pt x="72" y="311"/>
                        </a:cubicBezTo>
                        <a:cubicBezTo>
                          <a:pt x="71" y="331"/>
                          <a:pt x="71" y="331"/>
                          <a:pt x="71" y="331"/>
                        </a:cubicBezTo>
                        <a:cubicBezTo>
                          <a:pt x="63" y="332"/>
                          <a:pt x="63" y="332"/>
                          <a:pt x="63" y="332"/>
                        </a:cubicBezTo>
                        <a:cubicBezTo>
                          <a:pt x="72" y="344"/>
                          <a:pt x="72" y="344"/>
                          <a:pt x="72" y="344"/>
                        </a:cubicBezTo>
                        <a:cubicBezTo>
                          <a:pt x="72" y="344"/>
                          <a:pt x="72" y="374"/>
                          <a:pt x="65" y="379"/>
                        </a:cubicBezTo>
                        <a:cubicBezTo>
                          <a:pt x="59" y="384"/>
                          <a:pt x="72" y="388"/>
                          <a:pt x="72" y="388"/>
                        </a:cubicBezTo>
                        <a:cubicBezTo>
                          <a:pt x="105" y="390"/>
                          <a:pt x="105" y="390"/>
                          <a:pt x="105" y="390"/>
                        </a:cubicBezTo>
                        <a:cubicBezTo>
                          <a:pt x="112" y="410"/>
                          <a:pt x="112" y="410"/>
                          <a:pt x="112" y="410"/>
                        </a:cubicBezTo>
                        <a:cubicBezTo>
                          <a:pt x="112" y="410"/>
                          <a:pt x="157" y="434"/>
                          <a:pt x="136" y="448"/>
                        </a:cubicBezTo>
                        <a:cubicBezTo>
                          <a:pt x="132" y="448"/>
                          <a:pt x="139" y="459"/>
                          <a:pt x="139" y="459"/>
                        </a:cubicBezTo>
                        <a:cubicBezTo>
                          <a:pt x="139" y="459"/>
                          <a:pt x="159" y="466"/>
                          <a:pt x="167" y="444"/>
                        </a:cubicBezTo>
                        <a:cubicBezTo>
                          <a:pt x="171" y="444"/>
                          <a:pt x="179" y="456"/>
                          <a:pt x="201" y="434"/>
                        </a:cubicBezTo>
                        <a:cubicBezTo>
                          <a:pt x="203" y="438"/>
                          <a:pt x="211" y="438"/>
                          <a:pt x="211" y="438"/>
                        </a:cubicBezTo>
                        <a:cubicBezTo>
                          <a:pt x="212" y="427"/>
                          <a:pt x="212" y="427"/>
                          <a:pt x="212" y="427"/>
                        </a:cubicBezTo>
                        <a:cubicBezTo>
                          <a:pt x="212" y="427"/>
                          <a:pt x="256" y="442"/>
                          <a:pt x="263" y="431"/>
                        </a:cubicBezTo>
                        <a:cubicBezTo>
                          <a:pt x="269" y="420"/>
                          <a:pt x="268" y="408"/>
                          <a:pt x="268" y="408"/>
                        </a:cubicBezTo>
                        <a:cubicBezTo>
                          <a:pt x="268" y="408"/>
                          <a:pt x="287" y="400"/>
                          <a:pt x="288" y="395"/>
                        </a:cubicBezTo>
                        <a:cubicBezTo>
                          <a:pt x="289" y="390"/>
                          <a:pt x="288" y="383"/>
                          <a:pt x="288" y="383"/>
                        </a:cubicBezTo>
                        <a:cubicBezTo>
                          <a:pt x="297" y="379"/>
                          <a:pt x="297" y="379"/>
                          <a:pt x="297" y="379"/>
                        </a:cubicBezTo>
                        <a:cubicBezTo>
                          <a:pt x="284" y="343"/>
                          <a:pt x="284" y="343"/>
                          <a:pt x="284" y="343"/>
                        </a:cubicBezTo>
                        <a:cubicBezTo>
                          <a:pt x="284" y="343"/>
                          <a:pt x="301" y="338"/>
                          <a:pt x="297" y="338"/>
                        </a:cubicBezTo>
                        <a:cubicBezTo>
                          <a:pt x="293" y="338"/>
                          <a:pt x="295" y="331"/>
                          <a:pt x="295" y="331"/>
                        </a:cubicBezTo>
                        <a:cubicBezTo>
                          <a:pt x="323" y="328"/>
                          <a:pt x="323" y="328"/>
                          <a:pt x="323" y="328"/>
                        </a:cubicBezTo>
                        <a:cubicBezTo>
                          <a:pt x="340" y="281"/>
                          <a:pt x="340" y="281"/>
                          <a:pt x="340" y="281"/>
                        </a:cubicBezTo>
                        <a:cubicBezTo>
                          <a:pt x="337" y="272"/>
                          <a:pt x="337" y="272"/>
                          <a:pt x="337" y="272"/>
                        </a:cubicBezTo>
                        <a:cubicBezTo>
                          <a:pt x="354" y="277"/>
                          <a:pt x="354" y="277"/>
                          <a:pt x="354" y="277"/>
                        </a:cubicBezTo>
                        <a:cubicBezTo>
                          <a:pt x="356" y="278"/>
                          <a:pt x="356" y="278"/>
                          <a:pt x="356" y="278"/>
                        </a:cubicBezTo>
                        <a:cubicBezTo>
                          <a:pt x="356" y="278"/>
                          <a:pt x="356" y="277"/>
                          <a:pt x="356" y="277"/>
                        </a:cubicBezTo>
                        <a:cubicBezTo>
                          <a:pt x="357" y="262"/>
                          <a:pt x="345" y="226"/>
                          <a:pt x="345" y="226"/>
                        </a:cubicBezTo>
                        <a:lnTo>
                          <a:pt x="355" y="198"/>
                        </a:ln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47" name="Ile-de-France" descr="© INSCALE GmbH, 05.05.2010&#10;http://www.presentationload.com/">
                    <a:extLst>
                      <a:ext uri="{FF2B5EF4-FFF2-40B4-BE49-F238E27FC236}">
                        <a16:creationId xmlns:a16="http://schemas.microsoft.com/office/drawing/2014/main" id="{604B925B-8AB2-46DE-83BC-F94CB37A8AEA}"/>
                      </a:ext>
                    </a:extLst>
                  </p:cNvPr>
                  <p:cNvSpPr>
                    <a:spLocks/>
                  </p:cNvSpPr>
                  <p:nvPr/>
                </p:nvSpPr>
                <p:spPr bwMode="gray">
                  <a:xfrm>
                    <a:off x="1565" y="796"/>
                    <a:ext cx="483" cy="386"/>
                  </a:xfrm>
                  <a:custGeom>
                    <a:avLst/>
                    <a:gdLst/>
                    <a:ahLst/>
                    <a:cxnLst>
                      <a:cxn ang="0">
                        <a:pos x="31" y="127"/>
                      </a:cxn>
                      <a:cxn ang="0">
                        <a:pos x="36" y="158"/>
                      </a:cxn>
                      <a:cxn ang="0">
                        <a:pos x="35" y="177"/>
                      </a:cxn>
                      <a:cxn ang="0">
                        <a:pos x="48" y="199"/>
                      </a:cxn>
                      <a:cxn ang="0">
                        <a:pos x="56" y="214"/>
                      </a:cxn>
                      <a:cxn ang="0">
                        <a:pos x="71" y="246"/>
                      </a:cxn>
                      <a:cxn ang="0">
                        <a:pos x="103" y="267"/>
                      </a:cxn>
                      <a:cxn ang="0">
                        <a:pos x="111" y="303"/>
                      </a:cxn>
                      <a:cxn ang="0">
                        <a:pos x="153" y="301"/>
                      </a:cxn>
                      <a:cxn ang="0">
                        <a:pos x="167" y="290"/>
                      </a:cxn>
                      <a:cxn ang="0">
                        <a:pos x="183" y="293"/>
                      </a:cxn>
                      <a:cxn ang="0">
                        <a:pos x="201" y="297"/>
                      </a:cxn>
                      <a:cxn ang="0">
                        <a:pos x="229" y="338"/>
                      </a:cxn>
                      <a:cxn ang="0">
                        <a:pos x="273" y="354"/>
                      </a:cxn>
                      <a:cxn ang="0">
                        <a:pos x="285" y="346"/>
                      </a:cxn>
                      <a:cxn ang="0">
                        <a:pos x="316" y="345"/>
                      </a:cxn>
                      <a:cxn ang="0">
                        <a:pos x="333" y="297"/>
                      </a:cxn>
                      <a:cxn ang="0">
                        <a:pos x="400" y="277"/>
                      </a:cxn>
                      <a:cxn ang="0">
                        <a:pos x="411" y="243"/>
                      </a:cxn>
                      <a:cxn ang="0">
                        <a:pos x="413" y="225"/>
                      </a:cxn>
                      <a:cxn ang="0">
                        <a:pos x="424" y="210"/>
                      </a:cxn>
                      <a:cxn ang="0">
                        <a:pos x="437" y="199"/>
                      </a:cxn>
                      <a:cxn ang="0">
                        <a:pos x="440" y="191"/>
                      </a:cxn>
                      <a:cxn ang="0">
                        <a:pos x="425" y="158"/>
                      </a:cxn>
                      <a:cxn ang="0">
                        <a:pos x="411" y="147"/>
                      </a:cxn>
                      <a:cxn ang="0">
                        <a:pos x="412" y="137"/>
                      </a:cxn>
                      <a:cxn ang="0">
                        <a:pos x="428" y="123"/>
                      </a:cxn>
                      <a:cxn ang="0">
                        <a:pos x="405" y="99"/>
                      </a:cxn>
                      <a:cxn ang="0">
                        <a:pos x="392" y="91"/>
                      </a:cxn>
                      <a:cxn ang="0">
                        <a:pos x="364" y="73"/>
                      </a:cxn>
                      <a:cxn ang="0">
                        <a:pos x="337" y="45"/>
                      </a:cxn>
                      <a:cxn ang="0">
                        <a:pos x="285" y="47"/>
                      </a:cxn>
                      <a:cxn ang="0">
                        <a:pos x="248" y="43"/>
                      </a:cxn>
                      <a:cxn ang="0">
                        <a:pos x="233" y="41"/>
                      </a:cxn>
                      <a:cxn ang="0">
                        <a:pos x="191" y="25"/>
                      </a:cxn>
                      <a:cxn ang="0">
                        <a:pos x="165" y="26"/>
                      </a:cxn>
                      <a:cxn ang="0">
                        <a:pos x="157" y="25"/>
                      </a:cxn>
                      <a:cxn ang="0">
                        <a:pos x="139" y="18"/>
                      </a:cxn>
                      <a:cxn ang="0">
                        <a:pos x="116" y="17"/>
                      </a:cxn>
                      <a:cxn ang="0">
                        <a:pos x="56" y="0"/>
                      </a:cxn>
                      <a:cxn ang="0">
                        <a:pos x="11" y="50"/>
                      </a:cxn>
                      <a:cxn ang="0">
                        <a:pos x="0" y="62"/>
                      </a:cxn>
                      <a:cxn ang="0">
                        <a:pos x="12" y="99"/>
                      </a:cxn>
                      <a:cxn ang="0">
                        <a:pos x="23" y="122"/>
                      </a:cxn>
                    </a:cxnLst>
                    <a:rect l="0" t="0" r="r" b="b"/>
                    <a:pathLst>
                      <a:path w="448" h="357">
                        <a:moveTo>
                          <a:pt x="23" y="122"/>
                        </a:moveTo>
                        <a:cubicBezTo>
                          <a:pt x="31" y="127"/>
                          <a:pt x="31" y="127"/>
                          <a:pt x="31" y="127"/>
                        </a:cubicBezTo>
                        <a:cubicBezTo>
                          <a:pt x="29" y="151"/>
                          <a:pt x="29" y="151"/>
                          <a:pt x="29" y="151"/>
                        </a:cubicBezTo>
                        <a:cubicBezTo>
                          <a:pt x="36" y="158"/>
                          <a:pt x="36" y="158"/>
                          <a:pt x="36" y="158"/>
                        </a:cubicBezTo>
                        <a:cubicBezTo>
                          <a:pt x="25" y="173"/>
                          <a:pt x="25" y="173"/>
                          <a:pt x="25" y="173"/>
                        </a:cubicBezTo>
                        <a:cubicBezTo>
                          <a:pt x="35" y="177"/>
                          <a:pt x="35" y="177"/>
                          <a:pt x="35" y="177"/>
                        </a:cubicBezTo>
                        <a:cubicBezTo>
                          <a:pt x="33" y="187"/>
                          <a:pt x="33" y="187"/>
                          <a:pt x="33" y="187"/>
                        </a:cubicBezTo>
                        <a:cubicBezTo>
                          <a:pt x="48" y="199"/>
                          <a:pt x="48" y="199"/>
                          <a:pt x="48" y="199"/>
                        </a:cubicBezTo>
                        <a:cubicBezTo>
                          <a:pt x="57" y="202"/>
                          <a:pt x="57" y="202"/>
                          <a:pt x="57" y="202"/>
                        </a:cubicBezTo>
                        <a:cubicBezTo>
                          <a:pt x="56" y="214"/>
                          <a:pt x="56" y="214"/>
                          <a:pt x="56" y="214"/>
                        </a:cubicBezTo>
                        <a:cubicBezTo>
                          <a:pt x="69" y="221"/>
                          <a:pt x="69" y="221"/>
                          <a:pt x="69" y="221"/>
                        </a:cubicBezTo>
                        <a:cubicBezTo>
                          <a:pt x="71" y="246"/>
                          <a:pt x="71" y="246"/>
                          <a:pt x="71" y="246"/>
                        </a:cubicBezTo>
                        <a:cubicBezTo>
                          <a:pt x="71" y="246"/>
                          <a:pt x="95" y="261"/>
                          <a:pt x="97" y="253"/>
                        </a:cubicBezTo>
                        <a:cubicBezTo>
                          <a:pt x="101" y="254"/>
                          <a:pt x="103" y="267"/>
                          <a:pt x="103" y="267"/>
                        </a:cubicBezTo>
                        <a:cubicBezTo>
                          <a:pt x="113" y="269"/>
                          <a:pt x="113" y="269"/>
                          <a:pt x="113" y="269"/>
                        </a:cubicBezTo>
                        <a:cubicBezTo>
                          <a:pt x="113" y="269"/>
                          <a:pt x="101" y="295"/>
                          <a:pt x="111" y="303"/>
                        </a:cubicBezTo>
                        <a:cubicBezTo>
                          <a:pt x="120" y="311"/>
                          <a:pt x="127" y="301"/>
                          <a:pt x="135" y="301"/>
                        </a:cubicBezTo>
                        <a:cubicBezTo>
                          <a:pt x="143" y="301"/>
                          <a:pt x="153" y="301"/>
                          <a:pt x="153" y="301"/>
                        </a:cubicBezTo>
                        <a:cubicBezTo>
                          <a:pt x="160" y="287"/>
                          <a:pt x="160" y="287"/>
                          <a:pt x="160" y="287"/>
                        </a:cubicBezTo>
                        <a:cubicBezTo>
                          <a:pt x="167" y="290"/>
                          <a:pt x="167" y="290"/>
                          <a:pt x="167" y="290"/>
                        </a:cubicBezTo>
                        <a:cubicBezTo>
                          <a:pt x="169" y="301"/>
                          <a:pt x="169" y="301"/>
                          <a:pt x="169" y="301"/>
                        </a:cubicBezTo>
                        <a:cubicBezTo>
                          <a:pt x="183" y="293"/>
                          <a:pt x="183" y="293"/>
                          <a:pt x="183" y="293"/>
                        </a:cubicBezTo>
                        <a:cubicBezTo>
                          <a:pt x="199" y="298"/>
                          <a:pt x="199" y="298"/>
                          <a:pt x="199" y="298"/>
                        </a:cubicBezTo>
                        <a:cubicBezTo>
                          <a:pt x="201" y="297"/>
                          <a:pt x="201" y="297"/>
                          <a:pt x="201" y="297"/>
                        </a:cubicBezTo>
                        <a:cubicBezTo>
                          <a:pt x="205" y="313"/>
                          <a:pt x="205" y="313"/>
                          <a:pt x="205" y="313"/>
                        </a:cubicBezTo>
                        <a:cubicBezTo>
                          <a:pt x="205" y="313"/>
                          <a:pt x="232" y="319"/>
                          <a:pt x="229" y="338"/>
                        </a:cubicBezTo>
                        <a:cubicBezTo>
                          <a:pt x="228" y="349"/>
                          <a:pt x="222" y="352"/>
                          <a:pt x="218" y="353"/>
                        </a:cubicBezTo>
                        <a:cubicBezTo>
                          <a:pt x="273" y="354"/>
                          <a:pt x="273" y="354"/>
                          <a:pt x="273" y="354"/>
                        </a:cubicBezTo>
                        <a:cubicBezTo>
                          <a:pt x="273" y="346"/>
                          <a:pt x="273" y="346"/>
                          <a:pt x="273" y="346"/>
                        </a:cubicBezTo>
                        <a:cubicBezTo>
                          <a:pt x="285" y="346"/>
                          <a:pt x="285" y="346"/>
                          <a:pt x="285" y="346"/>
                        </a:cubicBezTo>
                        <a:cubicBezTo>
                          <a:pt x="285" y="357"/>
                          <a:pt x="285" y="357"/>
                          <a:pt x="285" y="357"/>
                        </a:cubicBezTo>
                        <a:cubicBezTo>
                          <a:pt x="285" y="357"/>
                          <a:pt x="308" y="353"/>
                          <a:pt x="316" y="345"/>
                        </a:cubicBezTo>
                        <a:cubicBezTo>
                          <a:pt x="324" y="337"/>
                          <a:pt x="339" y="313"/>
                          <a:pt x="339" y="313"/>
                        </a:cubicBezTo>
                        <a:cubicBezTo>
                          <a:pt x="333" y="297"/>
                          <a:pt x="333" y="297"/>
                          <a:pt x="333" y="297"/>
                        </a:cubicBezTo>
                        <a:cubicBezTo>
                          <a:pt x="341" y="277"/>
                          <a:pt x="341" y="277"/>
                          <a:pt x="341" y="277"/>
                        </a:cubicBezTo>
                        <a:cubicBezTo>
                          <a:pt x="400" y="277"/>
                          <a:pt x="400" y="277"/>
                          <a:pt x="400" y="277"/>
                        </a:cubicBezTo>
                        <a:cubicBezTo>
                          <a:pt x="415" y="269"/>
                          <a:pt x="415" y="269"/>
                          <a:pt x="415" y="269"/>
                        </a:cubicBezTo>
                        <a:cubicBezTo>
                          <a:pt x="411" y="243"/>
                          <a:pt x="411" y="243"/>
                          <a:pt x="411" y="243"/>
                        </a:cubicBezTo>
                        <a:cubicBezTo>
                          <a:pt x="420" y="234"/>
                          <a:pt x="420" y="234"/>
                          <a:pt x="420" y="234"/>
                        </a:cubicBezTo>
                        <a:cubicBezTo>
                          <a:pt x="413" y="225"/>
                          <a:pt x="413" y="225"/>
                          <a:pt x="413" y="225"/>
                        </a:cubicBezTo>
                        <a:cubicBezTo>
                          <a:pt x="428" y="222"/>
                          <a:pt x="428" y="222"/>
                          <a:pt x="428" y="222"/>
                        </a:cubicBezTo>
                        <a:cubicBezTo>
                          <a:pt x="424" y="210"/>
                          <a:pt x="424" y="210"/>
                          <a:pt x="424" y="210"/>
                        </a:cubicBezTo>
                        <a:cubicBezTo>
                          <a:pt x="436" y="210"/>
                          <a:pt x="436" y="210"/>
                          <a:pt x="436" y="210"/>
                        </a:cubicBezTo>
                        <a:cubicBezTo>
                          <a:pt x="437" y="199"/>
                          <a:pt x="437" y="199"/>
                          <a:pt x="437" y="199"/>
                        </a:cubicBezTo>
                        <a:cubicBezTo>
                          <a:pt x="448" y="201"/>
                          <a:pt x="448" y="201"/>
                          <a:pt x="448" y="201"/>
                        </a:cubicBezTo>
                        <a:cubicBezTo>
                          <a:pt x="440" y="191"/>
                          <a:pt x="440" y="191"/>
                          <a:pt x="440" y="191"/>
                        </a:cubicBezTo>
                        <a:cubicBezTo>
                          <a:pt x="424" y="190"/>
                          <a:pt x="424" y="190"/>
                          <a:pt x="424" y="190"/>
                        </a:cubicBezTo>
                        <a:cubicBezTo>
                          <a:pt x="425" y="158"/>
                          <a:pt x="425" y="158"/>
                          <a:pt x="425" y="158"/>
                        </a:cubicBezTo>
                        <a:cubicBezTo>
                          <a:pt x="411" y="157"/>
                          <a:pt x="411" y="157"/>
                          <a:pt x="411" y="157"/>
                        </a:cubicBezTo>
                        <a:cubicBezTo>
                          <a:pt x="411" y="147"/>
                          <a:pt x="411" y="147"/>
                          <a:pt x="411" y="147"/>
                        </a:cubicBezTo>
                        <a:cubicBezTo>
                          <a:pt x="419" y="146"/>
                          <a:pt x="419" y="146"/>
                          <a:pt x="419" y="146"/>
                        </a:cubicBezTo>
                        <a:cubicBezTo>
                          <a:pt x="412" y="137"/>
                          <a:pt x="412" y="137"/>
                          <a:pt x="412" y="137"/>
                        </a:cubicBezTo>
                        <a:cubicBezTo>
                          <a:pt x="428" y="130"/>
                          <a:pt x="428" y="130"/>
                          <a:pt x="428" y="130"/>
                        </a:cubicBezTo>
                        <a:cubicBezTo>
                          <a:pt x="428" y="123"/>
                          <a:pt x="428" y="123"/>
                          <a:pt x="428" y="123"/>
                        </a:cubicBezTo>
                        <a:cubicBezTo>
                          <a:pt x="424" y="122"/>
                          <a:pt x="413" y="118"/>
                          <a:pt x="409" y="118"/>
                        </a:cubicBezTo>
                        <a:cubicBezTo>
                          <a:pt x="405" y="118"/>
                          <a:pt x="405" y="99"/>
                          <a:pt x="405" y="99"/>
                        </a:cubicBezTo>
                        <a:cubicBezTo>
                          <a:pt x="395" y="99"/>
                          <a:pt x="395" y="99"/>
                          <a:pt x="395" y="99"/>
                        </a:cubicBezTo>
                        <a:cubicBezTo>
                          <a:pt x="392" y="91"/>
                          <a:pt x="392" y="91"/>
                          <a:pt x="392" y="91"/>
                        </a:cubicBezTo>
                        <a:cubicBezTo>
                          <a:pt x="392" y="91"/>
                          <a:pt x="379" y="101"/>
                          <a:pt x="380" y="93"/>
                        </a:cubicBezTo>
                        <a:cubicBezTo>
                          <a:pt x="381" y="85"/>
                          <a:pt x="365" y="78"/>
                          <a:pt x="364" y="73"/>
                        </a:cubicBezTo>
                        <a:cubicBezTo>
                          <a:pt x="368" y="41"/>
                          <a:pt x="344" y="39"/>
                          <a:pt x="344" y="39"/>
                        </a:cubicBezTo>
                        <a:cubicBezTo>
                          <a:pt x="337" y="45"/>
                          <a:pt x="337" y="45"/>
                          <a:pt x="337" y="45"/>
                        </a:cubicBezTo>
                        <a:cubicBezTo>
                          <a:pt x="299" y="55"/>
                          <a:pt x="299" y="55"/>
                          <a:pt x="299" y="55"/>
                        </a:cubicBezTo>
                        <a:cubicBezTo>
                          <a:pt x="285" y="47"/>
                          <a:pt x="285" y="47"/>
                          <a:pt x="285" y="47"/>
                        </a:cubicBezTo>
                        <a:cubicBezTo>
                          <a:pt x="285" y="47"/>
                          <a:pt x="276" y="57"/>
                          <a:pt x="268" y="54"/>
                        </a:cubicBezTo>
                        <a:cubicBezTo>
                          <a:pt x="260" y="51"/>
                          <a:pt x="255" y="47"/>
                          <a:pt x="248" y="43"/>
                        </a:cubicBezTo>
                        <a:cubicBezTo>
                          <a:pt x="241" y="39"/>
                          <a:pt x="239" y="51"/>
                          <a:pt x="239" y="51"/>
                        </a:cubicBezTo>
                        <a:cubicBezTo>
                          <a:pt x="233" y="41"/>
                          <a:pt x="233" y="41"/>
                          <a:pt x="233" y="41"/>
                        </a:cubicBezTo>
                        <a:cubicBezTo>
                          <a:pt x="233" y="41"/>
                          <a:pt x="215" y="49"/>
                          <a:pt x="220" y="45"/>
                        </a:cubicBezTo>
                        <a:cubicBezTo>
                          <a:pt x="225" y="41"/>
                          <a:pt x="207" y="29"/>
                          <a:pt x="191" y="25"/>
                        </a:cubicBezTo>
                        <a:cubicBezTo>
                          <a:pt x="178" y="22"/>
                          <a:pt x="182" y="18"/>
                          <a:pt x="184" y="17"/>
                        </a:cubicBezTo>
                        <a:cubicBezTo>
                          <a:pt x="165" y="26"/>
                          <a:pt x="165" y="26"/>
                          <a:pt x="165" y="26"/>
                        </a:cubicBezTo>
                        <a:cubicBezTo>
                          <a:pt x="161" y="18"/>
                          <a:pt x="161" y="18"/>
                          <a:pt x="161" y="18"/>
                        </a:cubicBezTo>
                        <a:cubicBezTo>
                          <a:pt x="157" y="25"/>
                          <a:pt x="157" y="25"/>
                          <a:pt x="157" y="25"/>
                        </a:cubicBezTo>
                        <a:cubicBezTo>
                          <a:pt x="148" y="15"/>
                          <a:pt x="148" y="15"/>
                          <a:pt x="148" y="15"/>
                        </a:cubicBezTo>
                        <a:cubicBezTo>
                          <a:pt x="139" y="18"/>
                          <a:pt x="139" y="18"/>
                          <a:pt x="139" y="18"/>
                        </a:cubicBezTo>
                        <a:cubicBezTo>
                          <a:pt x="132" y="13"/>
                          <a:pt x="132" y="13"/>
                          <a:pt x="132" y="13"/>
                        </a:cubicBezTo>
                        <a:cubicBezTo>
                          <a:pt x="116" y="17"/>
                          <a:pt x="116" y="17"/>
                          <a:pt x="116" y="17"/>
                        </a:cubicBezTo>
                        <a:cubicBezTo>
                          <a:pt x="64" y="21"/>
                          <a:pt x="64" y="21"/>
                          <a:pt x="64" y="21"/>
                        </a:cubicBezTo>
                        <a:cubicBezTo>
                          <a:pt x="56" y="0"/>
                          <a:pt x="56" y="0"/>
                          <a:pt x="56" y="0"/>
                        </a:cubicBezTo>
                        <a:cubicBezTo>
                          <a:pt x="39" y="47"/>
                          <a:pt x="39" y="47"/>
                          <a:pt x="39" y="47"/>
                        </a:cubicBezTo>
                        <a:cubicBezTo>
                          <a:pt x="11" y="50"/>
                          <a:pt x="11" y="50"/>
                          <a:pt x="11" y="50"/>
                        </a:cubicBezTo>
                        <a:cubicBezTo>
                          <a:pt x="11" y="50"/>
                          <a:pt x="9" y="57"/>
                          <a:pt x="13" y="57"/>
                        </a:cubicBezTo>
                        <a:cubicBezTo>
                          <a:pt x="17" y="57"/>
                          <a:pt x="0" y="62"/>
                          <a:pt x="0" y="62"/>
                        </a:cubicBezTo>
                        <a:cubicBezTo>
                          <a:pt x="13" y="98"/>
                          <a:pt x="13" y="98"/>
                          <a:pt x="13" y="98"/>
                        </a:cubicBezTo>
                        <a:cubicBezTo>
                          <a:pt x="12" y="99"/>
                          <a:pt x="12" y="99"/>
                          <a:pt x="12" y="99"/>
                        </a:cubicBezTo>
                        <a:cubicBezTo>
                          <a:pt x="27" y="113"/>
                          <a:pt x="27" y="113"/>
                          <a:pt x="27" y="113"/>
                        </a:cubicBezTo>
                        <a:lnTo>
                          <a:pt x="23" y="122"/>
                        </a:ln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48" name="Champagne-Ardenne" descr="© INSCALE GmbH, 05.05.2010&#10;http://www.presentationload.com/">
                    <a:extLst>
                      <a:ext uri="{FF2B5EF4-FFF2-40B4-BE49-F238E27FC236}">
                        <a16:creationId xmlns:a16="http://schemas.microsoft.com/office/drawing/2014/main" id="{050C0D4E-93FD-4952-B5CA-9C6D9BF8CFB8}"/>
                      </a:ext>
                    </a:extLst>
                  </p:cNvPr>
                  <p:cNvSpPr>
                    <a:spLocks/>
                  </p:cNvSpPr>
                  <p:nvPr/>
                </p:nvSpPr>
                <p:spPr bwMode="gray">
                  <a:xfrm>
                    <a:off x="2008" y="466"/>
                    <a:ext cx="578" cy="893"/>
                  </a:xfrm>
                  <a:custGeom>
                    <a:avLst/>
                    <a:gdLst/>
                    <a:ahLst/>
                    <a:cxnLst>
                      <a:cxn ang="0">
                        <a:pos x="514" y="699"/>
                      </a:cxn>
                      <a:cxn ang="0">
                        <a:pos x="493" y="668"/>
                      </a:cxn>
                      <a:cxn ang="0">
                        <a:pos x="497" y="623"/>
                      </a:cxn>
                      <a:cxn ang="0">
                        <a:pos x="465" y="599"/>
                      </a:cxn>
                      <a:cxn ang="0">
                        <a:pos x="432" y="580"/>
                      </a:cxn>
                      <a:cxn ang="0">
                        <a:pos x="429" y="563"/>
                      </a:cxn>
                      <a:cxn ang="0">
                        <a:pos x="381" y="521"/>
                      </a:cxn>
                      <a:cxn ang="0">
                        <a:pos x="341" y="497"/>
                      </a:cxn>
                      <a:cxn ang="0">
                        <a:pos x="322" y="425"/>
                      </a:cxn>
                      <a:cxn ang="0">
                        <a:pos x="333" y="363"/>
                      </a:cxn>
                      <a:cxn ang="0">
                        <a:pos x="324" y="299"/>
                      </a:cxn>
                      <a:cxn ang="0">
                        <a:pos x="354" y="240"/>
                      </a:cxn>
                      <a:cxn ang="0">
                        <a:pos x="365" y="192"/>
                      </a:cxn>
                      <a:cxn ang="0">
                        <a:pos x="394" y="184"/>
                      </a:cxn>
                      <a:cxn ang="0">
                        <a:pos x="416" y="161"/>
                      </a:cxn>
                      <a:cxn ang="0">
                        <a:pos x="351" y="115"/>
                      </a:cxn>
                      <a:cxn ang="0">
                        <a:pos x="321" y="99"/>
                      </a:cxn>
                      <a:cxn ang="0">
                        <a:pos x="301" y="55"/>
                      </a:cxn>
                      <a:cxn ang="0">
                        <a:pos x="320" y="8"/>
                      </a:cxn>
                      <a:cxn ang="0">
                        <a:pos x="282" y="21"/>
                      </a:cxn>
                      <a:cxn ang="0">
                        <a:pos x="230" y="63"/>
                      </a:cxn>
                      <a:cxn ang="0">
                        <a:pos x="175" y="57"/>
                      </a:cxn>
                      <a:cxn ang="0">
                        <a:pos x="164" y="128"/>
                      </a:cxn>
                      <a:cxn ang="0">
                        <a:pos x="141" y="177"/>
                      </a:cxn>
                      <a:cxn ang="0">
                        <a:pos x="129" y="215"/>
                      </a:cxn>
                      <a:cxn ang="0">
                        <a:pos x="94" y="257"/>
                      </a:cxn>
                      <a:cxn ang="0">
                        <a:pos x="56" y="301"/>
                      </a:cxn>
                      <a:cxn ang="0">
                        <a:pos x="42" y="339"/>
                      </a:cxn>
                      <a:cxn ang="0">
                        <a:pos x="38" y="368"/>
                      </a:cxn>
                      <a:cxn ang="0">
                        <a:pos x="28" y="409"/>
                      </a:cxn>
                      <a:cxn ang="0">
                        <a:pos x="17" y="436"/>
                      </a:cxn>
                      <a:cxn ang="0">
                        <a:pos x="0" y="453"/>
                      </a:cxn>
                      <a:cxn ang="0">
                        <a:pos x="13" y="496"/>
                      </a:cxn>
                      <a:cxn ang="0">
                        <a:pos x="26" y="505"/>
                      </a:cxn>
                      <a:cxn ang="0">
                        <a:pos x="17" y="528"/>
                      </a:cxn>
                      <a:cxn ang="0">
                        <a:pos x="0" y="549"/>
                      </a:cxn>
                      <a:cxn ang="0">
                        <a:pos x="14" y="583"/>
                      </a:cxn>
                      <a:cxn ang="0">
                        <a:pos x="44" y="644"/>
                      </a:cxn>
                      <a:cxn ang="0">
                        <a:pos x="68" y="653"/>
                      </a:cxn>
                      <a:cxn ang="0">
                        <a:pos x="76" y="656"/>
                      </a:cxn>
                      <a:cxn ang="0">
                        <a:pos x="108" y="720"/>
                      </a:cxn>
                      <a:cxn ang="0">
                        <a:pos x="156" y="723"/>
                      </a:cxn>
                      <a:cxn ang="0">
                        <a:pos x="173" y="707"/>
                      </a:cxn>
                      <a:cxn ang="0">
                        <a:pos x="197" y="723"/>
                      </a:cxn>
                      <a:cxn ang="0">
                        <a:pos x="301" y="691"/>
                      </a:cxn>
                      <a:cxn ang="0">
                        <a:pos x="318" y="713"/>
                      </a:cxn>
                      <a:cxn ang="0">
                        <a:pos x="325" y="719"/>
                      </a:cxn>
                      <a:cxn ang="0">
                        <a:pos x="332" y="767"/>
                      </a:cxn>
                      <a:cxn ang="0">
                        <a:pos x="353" y="787"/>
                      </a:cxn>
                      <a:cxn ang="0">
                        <a:pos x="388" y="807"/>
                      </a:cxn>
                      <a:cxn ang="0">
                        <a:pos x="421" y="816"/>
                      </a:cxn>
                      <a:cxn ang="0">
                        <a:pos x="468" y="792"/>
                      </a:cxn>
                      <a:cxn ang="0">
                        <a:pos x="500" y="788"/>
                      </a:cxn>
                      <a:cxn ang="0">
                        <a:pos x="497" y="747"/>
                      </a:cxn>
                      <a:cxn ang="0">
                        <a:pos x="525" y="735"/>
                      </a:cxn>
                      <a:cxn ang="0">
                        <a:pos x="530" y="697"/>
                      </a:cxn>
                    </a:cxnLst>
                    <a:rect l="0" t="0" r="r" b="b"/>
                    <a:pathLst>
                      <a:path w="536" h="828">
                        <a:moveTo>
                          <a:pt x="530" y="697"/>
                        </a:moveTo>
                        <a:cubicBezTo>
                          <a:pt x="517" y="701"/>
                          <a:pt x="517" y="701"/>
                          <a:pt x="517" y="701"/>
                        </a:cubicBezTo>
                        <a:cubicBezTo>
                          <a:pt x="514" y="699"/>
                          <a:pt x="514" y="699"/>
                          <a:pt x="514" y="699"/>
                        </a:cubicBezTo>
                        <a:cubicBezTo>
                          <a:pt x="514" y="701"/>
                          <a:pt x="514" y="701"/>
                          <a:pt x="514" y="701"/>
                        </a:cubicBezTo>
                        <a:cubicBezTo>
                          <a:pt x="513" y="681"/>
                          <a:pt x="513" y="681"/>
                          <a:pt x="513" y="681"/>
                        </a:cubicBezTo>
                        <a:cubicBezTo>
                          <a:pt x="493" y="668"/>
                          <a:pt x="493" y="668"/>
                          <a:pt x="493" y="668"/>
                        </a:cubicBezTo>
                        <a:cubicBezTo>
                          <a:pt x="476" y="664"/>
                          <a:pt x="476" y="664"/>
                          <a:pt x="476" y="664"/>
                        </a:cubicBezTo>
                        <a:cubicBezTo>
                          <a:pt x="486" y="652"/>
                          <a:pt x="486" y="652"/>
                          <a:pt x="486" y="652"/>
                        </a:cubicBezTo>
                        <a:cubicBezTo>
                          <a:pt x="486" y="652"/>
                          <a:pt x="486" y="628"/>
                          <a:pt x="497" y="623"/>
                        </a:cubicBezTo>
                        <a:cubicBezTo>
                          <a:pt x="490" y="612"/>
                          <a:pt x="490" y="612"/>
                          <a:pt x="490" y="612"/>
                        </a:cubicBezTo>
                        <a:cubicBezTo>
                          <a:pt x="481" y="611"/>
                          <a:pt x="481" y="611"/>
                          <a:pt x="481" y="611"/>
                        </a:cubicBezTo>
                        <a:cubicBezTo>
                          <a:pt x="481" y="611"/>
                          <a:pt x="481" y="588"/>
                          <a:pt x="465" y="599"/>
                        </a:cubicBezTo>
                        <a:cubicBezTo>
                          <a:pt x="452" y="576"/>
                          <a:pt x="452" y="576"/>
                          <a:pt x="452" y="576"/>
                        </a:cubicBezTo>
                        <a:cubicBezTo>
                          <a:pt x="452" y="576"/>
                          <a:pt x="442" y="573"/>
                          <a:pt x="436" y="577"/>
                        </a:cubicBezTo>
                        <a:cubicBezTo>
                          <a:pt x="435" y="579"/>
                          <a:pt x="434" y="581"/>
                          <a:pt x="432" y="580"/>
                        </a:cubicBezTo>
                        <a:cubicBezTo>
                          <a:pt x="433" y="579"/>
                          <a:pt x="434" y="578"/>
                          <a:pt x="436" y="577"/>
                        </a:cubicBezTo>
                        <a:cubicBezTo>
                          <a:pt x="436" y="574"/>
                          <a:pt x="434" y="571"/>
                          <a:pt x="434" y="571"/>
                        </a:cubicBezTo>
                        <a:cubicBezTo>
                          <a:pt x="429" y="563"/>
                          <a:pt x="429" y="563"/>
                          <a:pt x="429" y="563"/>
                        </a:cubicBezTo>
                        <a:cubicBezTo>
                          <a:pt x="441" y="557"/>
                          <a:pt x="441" y="557"/>
                          <a:pt x="441" y="557"/>
                        </a:cubicBezTo>
                        <a:cubicBezTo>
                          <a:pt x="441" y="557"/>
                          <a:pt x="400" y="521"/>
                          <a:pt x="383" y="521"/>
                        </a:cubicBezTo>
                        <a:cubicBezTo>
                          <a:pt x="383" y="522"/>
                          <a:pt x="382" y="522"/>
                          <a:pt x="381" y="521"/>
                        </a:cubicBezTo>
                        <a:cubicBezTo>
                          <a:pt x="382" y="521"/>
                          <a:pt x="382" y="521"/>
                          <a:pt x="383" y="521"/>
                        </a:cubicBezTo>
                        <a:cubicBezTo>
                          <a:pt x="384" y="518"/>
                          <a:pt x="349" y="491"/>
                          <a:pt x="349" y="491"/>
                        </a:cubicBezTo>
                        <a:cubicBezTo>
                          <a:pt x="341" y="497"/>
                          <a:pt x="341" y="497"/>
                          <a:pt x="341" y="497"/>
                        </a:cubicBezTo>
                        <a:cubicBezTo>
                          <a:pt x="342" y="457"/>
                          <a:pt x="342" y="457"/>
                          <a:pt x="342" y="457"/>
                        </a:cubicBezTo>
                        <a:cubicBezTo>
                          <a:pt x="316" y="439"/>
                          <a:pt x="316" y="439"/>
                          <a:pt x="316" y="439"/>
                        </a:cubicBezTo>
                        <a:cubicBezTo>
                          <a:pt x="322" y="425"/>
                          <a:pt x="322" y="425"/>
                          <a:pt x="322" y="425"/>
                        </a:cubicBezTo>
                        <a:cubicBezTo>
                          <a:pt x="320" y="404"/>
                          <a:pt x="320" y="404"/>
                          <a:pt x="320" y="404"/>
                        </a:cubicBezTo>
                        <a:cubicBezTo>
                          <a:pt x="320" y="404"/>
                          <a:pt x="344" y="395"/>
                          <a:pt x="342" y="385"/>
                        </a:cubicBezTo>
                        <a:cubicBezTo>
                          <a:pt x="341" y="376"/>
                          <a:pt x="344" y="357"/>
                          <a:pt x="333" y="363"/>
                        </a:cubicBezTo>
                        <a:cubicBezTo>
                          <a:pt x="336" y="359"/>
                          <a:pt x="320" y="313"/>
                          <a:pt x="320" y="313"/>
                        </a:cubicBezTo>
                        <a:cubicBezTo>
                          <a:pt x="330" y="305"/>
                          <a:pt x="330" y="305"/>
                          <a:pt x="330" y="305"/>
                        </a:cubicBezTo>
                        <a:cubicBezTo>
                          <a:pt x="324" y="299"/>
                          <a:pt x="324" y="299"/>
                          <a:pt x="324" y="299"/>
                        </a:cubicBezTo>
                        <a:cubicBezTo>
                          <a:pt x="341" y="287"/>
                          <a:pt x="341" y="287"/>
                          <a:pt x="341" y="287"/>
                        </a:cubicBezTo>
                        <a:cubicBezTo>
                          <a:pt x="341" y="287"/>
                          <a:pt x="333" y="275"/>
                          <a:pt x="337" y="269"/>
                        </a:cubicBezTo>
                        <a:cubicBezTo>
                          <a:pt x="341" y="264"/>
                          <a:pt x="354" y="240"/>
                          <a:pt x="354" y="240"/>
                        </a:cubicBezTo>
                        <a:cubicBezTo>
                          <a:pt x="354" y="240"/>
                          <a:pt x="354" y="225"/>
                          <a:pt x="342" y="211"/>
                        </a:cubicBezTo>
                        <a:cubicBezTo>
                          <a:pt x="346" y="213"/>
                          <a:pt x="348" y="187"/>
                          <a:pt x="348" y="187"/>
                        </a:cubicBezTo>
                        <a:cubicBezTo>
                          <a:pt x="365" y="192"/>
                          <a:pt x="365" y="192"/>
                          <a:pt x="365" y="192"/>
                        </a:cubicBezTo>
                        <a:cubicBezTo>
                          <a:pt x="374" y="192"/>
                          <a:pt x="374" y="192"/>
                          <a:pt x="374" y="192"/>
                        </a:cubicBezTo>
                        <a:cubicBezTo>
                          <a:pt x="386" y="199"/>
                          <a:pt x="386" y="199"/>
                          <a:pt x="386" y="199"/>
                        </a:cubicBezTo>
                        <a:cubicBezTo>
                          <a:pt x="394" y="184"/>
                          <a:pt x="394" y="184"/>
                          <a:pt x="394" y="184"/>
                        </a:cubicBezTo>
                        <a:cubicBezTo>
                          <a:pt x="408" y="183"/>
                          <a:pt x="408" y="183"/>
                          <a:pt x="408" y="183"/>
                        </a:cubicBezTo>
                        <a:cubicBezTo>
                          <a:pt x="420" y="162"/>
                          <a:pt x="420" y="162"/>
                          <a:pt x="420" y="162"/>
                        </a:cubicBezTo>
                        <a:cubicBezTo>
                          <a:pt x="417" y="162"/>
                          <a:pt x="416" y="161"/>
                          <a:pt x="416" y="161"/>
                        </a:cubicBezTo>
                        <a:cubicBezTo>
                          <a:pt x="420" y="146"/>
                          <a:pt x="412" y="145"/>
                          <a:pt x="412" y="145"/>
                        </a:cubicBezTo>
                        <a:cubicBezTo>
                          <a:pt x="412" y="145"/>
                          <a:pt x="402" y="139"/>
                          <a:pt x="385" y="140"/>
                        </a:cubicBezTo>
                        <a:cubicBezTo>
                          <a:pt x="369" y="118"/>
                          <a:pt x="358" y="115"/>
                          <a:pt x="351" y="115"/>
                        </a:cubicBezTo>
                        <a:cubicBezTo>
                          <a:pt x="346" y="106"/>
                          <a:pt x="344" y="108"/>
                          <a:pt x="334" y="109"/>
                        </a:cubicBezTo>
                        <a:cubicBezTo>
                          <a:pt x="325" y="118"/>
                          <a:pt x="316" y="104"/>
                          <a:pt x="316" y="104"/>
                        </a:cubicBezTo>
                        <a:cubicBezTo>
                          <a:pt x="321" y="99"/>
                          <a:pt x="321" y="99"/>
                          <a:pt x="321" y="99"/>
                        </a:cubicBezTo>
                        <a:cubicBezTo>
                          <a:pt x="321" y="99"/>
                          <a:pt x="319" y="96"/>
                          <a:pt x="315" y="89"/>
                        </a:cubicBezTo>
                        <a:cubicBezTo>
                          <a:pt x="322" y="83"/>
                          <a:pt x="321" y="72"/>
                          <a:pt x="321" y="72"/>
                        </a:cubicBezTo>
                        <a:cubicBezTo>
                          <a:pt x="321" y="72"/>
                          <a:pt x="296" y="57"/>
                          <a:pt x="301" y="55"/>
                        </a:cubicBezTo>
                        <a:cubicBezTo>
                          <a:pt x="306" y="53"/>
                          <a:pt x="311" y="35"/>
                          <a:pt x="311" y="35"/>
                        </a:cubicBezTo>
                        <a:cubicBezTo>
                          <a:pt x="308" y="25"/>
                          <a:pt x="308" y="25"/>
                          <a:pt x="308" y="25"/>
                        </a:cubicBezTo>
                        <a:cubicBezTo>
                          <a:pt x="308" y="25"/>
                          <a:pt x="319" y="13"/>
                          <a:pt x="320" y="8"/>
                        </a:cubicBezTo>
                        <a:cubicBezTo>
                          <a:pt x="321" y="3"/>
                          <a:pt x="311" y="0"/>
                          <a:pt x="303" y="0"/>
                        </a:cubicBezTo>
                        <a:cubicBezTo>
                          <a:pt x="295" y="0"/>
                          <a:pt x="289" y="17"/>
                          <a:pt x="289" y="17"/>
                        </a:cubicBezTo>
                        <a:cubicBezTo>
                          <a:pt x="289" y="17"/>
                          <a:pt x="286" y="17"/>
                          <a:pt x="282" y="21"/>
                        </a:cubicBezTo>
                        <a:cubicBezTo>
                          <a:pt x="278" y="25"/>
                          <a:pt x="280" y="45"/>
                          <a:pt x="279" y="49"/>
                        </a:cubicBezTo>
                        <a:cubicBezTo>
                          <a:pt x="278" y="53"/>
                          <a:pt x="263" y="50"/>
                          <a:pt x="254" y="49"/>
                        </a:cubicBezTo>
                        <a:cubicBezTo>
                          <a:pt x="249" y="63"/>
                          <a:pt x="236" y="63"/>
                          <a:pt x="230" y="63"/>
                        </a:cubicBezTo>
                        <a:cubicBezTo>
                          <a:pt x="224" y="63"/>
                          <a:pt x="207" y="56"/>
                          <a:pt x="199" y="55"/>
                        </a:cubicBezTo>
                        <a:cubicBezTo>
                          <a:pt x="191" y="54"/>
                          <a:pt x="187" y="59"/>
                          <a:pt x="181" y="60"/>
                        </a:cubicBezTo>
                        <a:cubicBezTo>
                          <a:pt x="179" y="61"/>
                          <a:pt x="176" y="59"/>
                          <a:pt x="175" y="57"/>
                        </a:cubicBezTo>
                        <a:cubicBezTo>
                          <a:pt x="174" y="57"/>
                          <a:pt x="174" y="58"/>
                          <a:pt x="174" y="58"/>
                        </a:cubicBezTo>
                        <a:cubicBezTo>
                          <a:pt x="160" y="78"/>
                          <a:pt x="169" y="91"/>
                          <a:pt x="169" y="91"/>
                        </a:cubicBezTo>
                        <a:cubicBezTo>
                          <a:pt x="164" y="128"/>
                          <a:pt x="164" y="128"/>
                          <a:pt x="164" y="128"/>
                        </a:cubicBezTo>
                        <a:cubicBezTo>
                          <a:pt x="170" y="135"/>
                          <a:pt x="170" y="135"/>
                          <a:pt x="170" y="135"/>
                        </a:cubicBezTo>
                        <a:cubicBezTo>
                          <a:pt x="148" y="163"/>
                          <a:pt x="148" y="163"/>
                          <a:pt x="148" y="163"/>
                        </a:cubicBezTo>
                        <a:cubicBezTo>
                          <a:pt x="141" y="177"/>
                          <a:pt x="141" y="177"/>
                          <a:pt x="141" y="177"/>
                        </a:cubicBezTo>
                        <a:cubicBezTo>
                          <a:pt x="125" y="179"/>
                          <a:pt x="125" y="179"/>
                          <a:pt x="125" y="179"/>
                        </a:cubicBezTo>
                        <a:cubicBezTo>
                          <a:pt x="137" y="208"/>
                          <a:pt x="137" y="208"/>
                          <a:pt x="137" y="208"/>
                        </a:cubicBezTo>
                        <a:cubicBezTo>
                          <a:pt x="129" y="215"/>
                          <a:pt x="129" y="215"/>
                          <a:pt x="129" y="215"/>
                        </a:cubicBezTo>
                        <a:cubicBezTo>
                          <a:pt x="129" y="215"/>
                          <a:pt x="134" y="264"/>
                          <a:pt x="129" y="264"/>
                        </a:cubicBezTo>
                        <a:cubicBezTo>
                          <a:pt x="124" y="264"/>
                          <a:pt x="105" y="251"/>
                          <a:pt x="105" y="251"/>
                        </a:cubicBezTo>
                        <a:cubicBezTo>
                          <a:pt x="94" y="257"/>
                          <a:pt x="94" y="257"/>
                          <a:pt x="94" y="257"/>
                        </a:cubicBezTo>
                        <a:cubicBezTo>
                          <a:pt x="94" y="257"/>
                          <a:pt x="93" y="267"/>
                          <a:pt x="89" y="268"/>
                        </a:cubicBezTo>
                        <a:cubicBezTo>
                          <a:pt x="72" y="263"/>
                          <a:pt x="50" y="281"/>
                          <a:pt x="50" y="281"/>
                        </a:cubicBezTo>
                        <a:cubicBezTo>
                          <a:pt x="56" y="301"/>
                          <a:pt x="56" y="301"/>
                          <a:pt x="56" y="301"/>
                        </a:cubicBezTo>
                        <a:cubicBezTo>
                          <a:pt x="50" y="312"/>
                          <a:pt x="50" y="312"/>
                          <a:pt x="50" y="312"/>
                        </a:cubicBezTo>
                        <a:cubicBezTo>
                          <a:pt x="69" y="328"/>
                          <a:pt x="69" y="328"/>
                          <a:pt x="69" y="328"/>
                        </a:cubicBezTo>
                        <a:cubicBezTo>
                          <a:pt x="69" y="328"/>
                          <a:pt x="45" y="333"/>
                          <a:pt x="42" y="339"/>
                        </a:cubicBezTo>
                        <a:cubicBezTo>
                          <a:pt x="40" y="344"/>
                          <a:pt x="48" y="356"/>
                          <a:pt x="48" y="356"/>
                        </a:cubicBezTo>
                        <a:cubicBezTo>
                          <a:pt x="40" y="363"/>
                          <a:pt x="40" y="363"/>
                          <a:pt x="40" y="363"/>
                        </a:cubicBezTo>
                        <a:cubicBezTo>
                          <a:pt x="38" y="368"/>
                          <a:pt x="38" y="368"/>
                          <a:pt x="38" y="368"/>
                        </a:cubicBezTo>
                        <a:cubicBezTo>
                          <a:pt x="38" y="368"/>
                          <a:pt x="50" y="367"/>
                          <a:pt x="57" y="372"/>
                        </a:cubicBezTo>
                        <a:cubicBezTo>
                          <a:pt x="64" y="377"/>
                          <a:pt x="34" y="407"/>
                          <a:pt x="34" y="407"/>
                        </a:cubicBezTo>
                        <a:cubicBezTo>
                          <a:pt x="28" y="409"/>
                          <a:pt x="28" y="409"/>
                          <a:pt x="28" y="409"/>
                        </a:cubicBezTo>
                        <a:cubicBezTo>
                          <a:pt x="18" y="429"/>
                          <a:pt x="18" y="429"/>
                          <a:pt x="18" y="429"/>
                        </a:cubicBezTo>
                        <a:cubicBezTo>
                          <a:pt x="18" y="429"/>
                          <a:pt x="18" y="429"/>
                          <a:pt x="17" y="429"/>
                        </a:cubicBezTo>
                        <a:cubicBezTo>
                          <a:pt x="17" y="436"/>
                          <a:pt x="17" y="436"/>
                          <a:pt x="17" y="436"/>
                        </a:cubicBezTo>
                        <a:cubicBezTo>
                          <a:pt x="1" y="443"/>
                          <a:pt x="1" y="443"/>
                          <a:pt x="1" y="443"/>
                        </a:cubicBezTo>
                        <a:cubicBezTo>
                          <a:pt x="8" y="452"/>
                          <a:pt x="8" y="452"/>
                          <a:pt x="8" y="452"/>
                        </a:cubicBezTo>
                        <a:cubicBezTo>
                          <a:pt x="0" y="453"/>
                          <a:pt x="0" y="453"/>
                          <a:pt x="0" y="453"/>
                        </a:cubicBezTo>
                        <a:cubicBezTo>
                          <a:pt x="0" y="463"/>
                          <a:pt x="0" y="463"/>
                          <a:pt x="0" y="463"/>
                        </a:cubicBezTo>
                        <a:cubicBezTo>
                          <a:pt x="14" y="464"/>
                          <a:pt x="14" y="464"/>
                          <a:pt x="14" y="464"/>
                        </a:cubicBezTo>
                        <a:cubicBezTo>
                          <a:pt x="13" y="496"/>
                          <a:pt x="13" y="496"/>
                          <a:pt x="13" y="496"/>
                        </a:cubicBezTo>
                        <a:cubicBezTo>
                          <a:pt x="29" y="497"/>
                          <a:pt x="29" y="497"/>
                          <a:pt x="29" y="497"/>
                        </a:cubicBezTo>
                        <a:cubicBezTo>
                          <a:pt x="37" y="507"/>
                          <a:pt x="37" y="507"/>
                          <a:pt x="37" y="507"/>
                        </a:cubicBezTo>
                        <a:cubicBezTo>
                          <a:pt x="26" y="505"/>
                          <a:pt x="26" y="505"/>
                          <a:pt x="26" y="505"/>
                        </a:cubicBezTo>
                        <a:cubicBezTo>
                          <a:pt x="25" y="516"/>
                          <a:pt x="25" y="516"/>
                          <a:pt x="25" y="516"/>
                        </a:cubicBezTo>
                        <a:cubicBezTo>
                          <a:pt x="13" y="516"/>
                          <a:pt x="13" y="516"/>
                          <a:pt x="13" y="516"/>
                        </a:cubicBezTo>
                        <a:cubicBezTo>
                          <a:pt x="17" y="528"/>
                          <a:pt x="17" y="528"/>
                          <a:pt x="17" y="528"/>
                        </a:cubicBezTo>
                        <a:cubicBezTo>
                          <a:pt x="2" y="531"/>
                          <a:pt x="2" y="531"/>
                          <a:pt x="2" y="531"/>
                        </a:cubicBezTo>
                        <a:cubicBezTo>
                          <a:pt x="9" y="540"/>
                          <a:pt x="9" y="540"/>
                          <a:pt x="9" y="540"/>
                        </a:cubicBezTo>
                        <a:cubicBezTo>
                          <a:pt x="0" y="549"/>
                          <a:pt x="0" y="549"/>
                          <a:pt x="0" y="549"/>
                        </a:cubicBezTo>
                        <a:cubicBezTo>
                          <a:pt x="4" y="575"/>
                          <a:pt x="4" y="575"/>
                          <a:pt x="4" y="575"/>
                        </a:cubicBezTo>
                        <a:cubicBezTo>
                          <a:pt x="8" y="585"/>
                          <a:pt x="8" y="585"/>
                          <a:pt x="8" y="585"/>
                        </a:cubicBezTo>
                        <a:cubicBezTo>
                          <a:pt x="14" y="583"/>
                          <a:pt x="14" y="583"/>
                          <a:pt x="14" y="583"/>
                        </a:cubicBezTo>
                        <a:cubicBezTo>
                          <a:pt x="14" y="583"/>
                          <a:pt x="41" y="593"/>
                          <a:pt x="41" y="608"/>
                        </a:cubicBezTo>
                        <a:cubicBezTo>
                          <a:pt x="45" y="613"/>
                          <a:pt x="45" y="613"/>
                          <a:pt x="45" y="613"/>
                        </a:cubicBezTo>
                        <a:cubicBezTo>
                          <a:pt x="45" y="613"/>
                          <a:pt x="53" y="635"/>
                          <a:pt x="44" y="644"/>
                        </a:cubicBezTo>
                        <a:cubicBezTo>
                          <a:pt x="53" y="641"/>
                          <a:pt x="53" y="641"/>
                          <a:pt x="53" y="641"/>
                        </a:cubicBezTo>
                        <a:cubicBezTo>
                          <a:pt x="62" y="656"/>
                          <a:pt x="62" y="656"/>
                          <a:pt x="62" y="656"/>
                        </a:cubicBezTo>
                        <a:cubicBezTo>
                          <a:pt x="68" y="653"/>
                          <a:pt x="68" y="653"/>
                          <a:pt x="68" y="653"/>
                        </a:cubicBezTo>
                        <a:cubicBezTo>
                          <a:pt x="68" y="644"/>
                          <a:pt x="68" y="644"/>
                          <a:pt x="68" y="644"/>
                        </a:cubicBezTo>
                        <a:cubicBezTo>
                          <a:pt x="76" y="645"/>
                          <a:pt x="76" y="645"/>
                          <a:pt x="76" y="645"/>
                        </a:cubicBezTo>
                        <a:cubicBezTo>
                          <a:pt x="76" y="656"/>
                          <a:pt x="76" y="656"/>
                          <a:pt x="76" y="656"/>
                        </a:cubicBezTo>
                        <a:cubicBezTo>
                          <a:pt x="76" y="656"/>
                          <a:pt x="85" y="664"/>
                          <a:pt x="94" y="684"/>
                        </a:cubicBezTo>
                        <a:cubicBezTo>
                          <a:pt x="104" y="704"/>
                          <a:pt x="102" y="708"/>
                          <a:pt x="112" y="700"/>
                        </a:cubicBezTo>
                        <a:cubicBezTo>
                          <a:pt x="112" y="703"/>
                          <a:pt x="108" y="720"/>
                          <a:pt x="108" y="720"/>
                        </a:cubicBezTo>
                        <a:cubicBezTo>
                          <a:pt x="142" y="721"/>
                          <a:pt x="142" y="721"/>
                          <a:pt x="142" y="721"/>
                        </a:cubicBezTo>
                        <a:cubicBezTo>
                          <a:pt x="144" y="716"/>
                          <a:pt x="144" y="716"/>
                          <a:pt x="144" y="716"/>
                        </a:cubicBezTo>
                        <a:cubicBezTo>
                          <a:pt x="156" y="723"/>
                          <a:pt x="156" y="723"/>
                          <a:pt x="156" y="723"/>
                        </a:cubicBezTo>
                        <a:cubicBezTo>
                          <a:pt x="169" y="712"/>
                          <a:pt x="169" y="712"/>
                          <a:pt x="169" y="712"/>
                        </a:cubicBezTo>
                        <a:cubicBezTo>
                          <a:pt x="176" y="716"/>
                          <a:pt x="176" y="716"/>
                          <a:pt x="176" y="716"/>
                        </a:cubicBezTo>
                        <a:cubicBezTo>
                          <a:pt x="173" y="707"/>
                          <a:pt x="173" y="707"/>
                          <a:pt x="173" y="707"/>
                        </a:cubicBezTo>
                        <a:cubicBezTo>
                          <a:pt x="182" y="707"/>
                          <a:pt x="182" y="707"/>
                          <a:pt x="182" y="707"/>
                        </a:cubicBezTo>
                        <a:cubicBezTo>
                          <a:pt x="188" y="720"/>
                          <a:pt x="188" y="720"/>
                          <a:pt x="188" y="720"/>
                        </a:cubicBezTo>
                        <a:cubicBezTo>
                          <a:pt x="197" y="723"/>
                          <a:pt x="197" y="723"/>
                          <a:pt x="197" y="723"/>
                        </a:cubicBezTo>
                        <a:cubicBezTo>
                          <a:pt x="197" y="711"/>
                          <a:pt x="197" y="711"/>
                          <a:pt x="197" y="711"/>
                        </a:cubicBezTo>
                        <a:cubicBezTo>
                          <a:pt x="252" y="709"/>
                          <a:pt x="252" y="709"/>
                          <a:pt x="252" y="709"/>
                        </a:cubicBezTo>
                        <a:cubicBezTo>
                          <a:pt x="252" y="709"/>
                          <a:pt x="220" y="675"/>
                          <a:pt x="301" y="691"/>
                        </a:cubicBezTo>
                        <a:cubicBezTo>
                          <a:pt x="300" y="708"/>
                          <a:pt x="300" y="708"/>
                          <a:pt x="300" y="708"/>
                        </a:cubicBezTo>
                        <a:cubicBezTo>
                          <a:pt x="313" y="708"/>
                          <a:pt x="313" y="708"/>
                          <a:pt x="313" y="708"/>
                        </a:cubicBezTo>
                        <a:cubicBezTo>
                          <a:pt x="318" y="713"/>
                          <a:pt x="318" y="713"/>
                          <a:pt x="318" y="713"/>
                        </a:cubicBezTo>
                        <a:cubicBezTo>
                          <a:pt x="312" y="721"/>
                          <a:pt x="312" y="721"/>
                          <a:pt x="312" y="721"/>
                        </a:cubicBezTo>
                        <a:cubicBezTo>
                          <a:pt x="318" y="725"/>
                          <a:pt x="318" y="725"/>
                          <a:pt x="318" y="725"/>
                        </a:cubicBezTo>
                        <a:cubicBezTo>
                          <a:pt x="325" y="719"/>
                          <a:pt x="325" y="719"/>
                          <a:pt x="325" y="719"/>
                        </a:cubicBezTo>
                        <a:cubicBezTo>
                          <a:pt x="325" y="719"/>
                          <a:pt x="336" y="740"/>
                          <a:pt x="342" y="748"/>
                        </a:cubicBezTo>
                        <a:cubicBezTo>
                          <a:pt x="332" y="766"/>
                          <a:pt x="332" y="766"/>
                          <a:pt x="332" y="766"/>
                        </a:cubicBezTo>
                        <a:cubicBezTo>
                          <a:pt x="332" y="767"/>
                          <a:pt x="332" y="767"/>
                          <a:pt x="332" y="767"/>
                        </a:cubicBezTo>
                        <a:cubicBezTo>
                          <a:pt x="341" y="769"/>
                          <a:pt x="341" y="769"/>
                          <a:pt x="341" y="769"/>
                        </a:cubicBezTo>
                        <a:cubicBezTo>
                          <a:pt x="341" y="792"/>
                          <a:pt x="341" y="792"/>
                          <a:pt x="341" y="792"/>
                        </a:cubicBezTo>
                        <a:cubicBezTo>
                          <a:pt x="353" y="787"/>
                          <a:pt x="353" y="787"/>
                          <a:pt x="353" y="787"/>
                        </a:cubicBezTo>
                        <a:cubicBezTo>
                          <a:pt x="353" y="787"/>
                          <a:pt x="365" y="801"/>
                          <a:pt x="374" y="801"/>
                        </a:cubicBezTo>
                        <a:cubicBezTo>
                          <a:pt x="384" y="801"/>
                          <a:pt x="388" y="797"/>
                          <a:pt x="388" y="797"/>
                        </a:cubicBezTo>
                        <a:cubicBezTo>
                          <a:pt x="388" y="807"/>
                          <a:pt x="388" y="807"/>
                          <a:pt x="388" y="807"/>
                        </a:cubicBezTo>
                        <a:cubicBezTo>
                          <a:pt x="404" y="815"/>
                          <a:pt x="404" y="815"/>
                          <a:pt x="404" y="815"/>
                        </a:cubicBezTo>
                        <a:cubicBezTo>
                          <a:pt x="404" y="828"/>
                          <a:pt x="404" y="828"/>
                          <a:pt x="404" y="828"/>
                        </a:cubicBezTo>
                        <a:cubicBezTo>
                          <a:pt x="421" y="816"/>
                          <a:pt x="421" y="816"/>
                          <a:pt x="421" y="816"/>
                        </a:cubicBezTo>
                        <a:cubicBezTo>
                          <a:pt x="421" y="816"/>
                          <a:pt x="426" y="819"/>
                          <a:pt x="430" y="819"/>
                        </a:cubicBezTo>
                        <a:cubicBezTo>
                          <a:pt x="434" y="819"/>
                          <a:pt x="438" y="791"/>
                          <a:pt x="438" y="791"/>
                        </a:cubicBezTo>
                        <a:cubicBezTo>
                          <a:pt x="468" y="792"/>
                          <a:pt x="468" y="792"/>
                          <a:pt x="468" y="792"/>
                        </a:cubicBezTo>
                        <a:cubicBezTo>
                          <a:pt x="469" y="785"/>
                          <a:pt x="469" y="785"/>
                          <a:pt x="469" y="785"/>
                        </a:cubicBezTo>
                        <a:cubicBezTo>
                          <a:pt x="481" y="793"/>
                          <a:pt x="481" y="793"/>
                          <a:pt x="481" y="793"/>
                        </a:cubicBezTo>
                        <a:cubicBezTo>
                          <a:pt x="500" y="788"/>
                          <a:pt x="500" y="788"/>
                          <a:pt x="500" y="788"/>
                        </a:cubicBezTo>
                        <a:cubicBezTo>
                          <a:pt x="502" y="757"/>
                          <a:pt x="502" y="757"/>
                          <a:pt x="502" y="757"/>
                        </a:cubicBezTo>
                        <a:cubicBezTo>
                          <a:pt x="492" y="757"/>
                          <a:pt x="492" y="757"/>
                          <a:pt x="492" y="757"/>
                        </a:cubicBezTo>
                        <a:cubicBezTo>
                          <a:pt x="497" y="747"/>
                          <a:pt x="497" y="747"/>
                          <a:pt x="497" y="747"/>
                        </a:cubicBezTo>
                        <a:cubicBezTo>
                          <a:pt x="505" y="748"/>
                          <a:pt x="505" y="748"/>
                          <a:pt x="505" y="748"/>
                        </a:cubicBezTo>
                        <a:cubicBezTo>
                          <a:pt x="512" y="733"/>
                          <a:pt x="512" y="733"/>
                          <a:pt x="512" y="733"/>
                        </a:cubicBezTo>
                        <a:cubicBezTo>
                          <a:pt x="525" y="735"/>
                          <a:pt x="525" y="735"/>
                          <a:pt x="525" y="735"/>
                        </a:cubicBezTo>
                        <a:cubicBezTo>
                          <a:pt x="528" y="720"/>
                          <a:pt x="528" y="720"/>
                          <a:pt x="528" y="720"/>
                        </a:cubicBezTo>
                        <a:cubicBezTo>
                          <a:pt x="536" y="715"/>
                          <a:pt x="536" y="715"/>
                          <a:pt x="536" y="715"/>
                        </a:cubicBezTo>
                        <a:lnTo>
                          <a:pt x="530" y="697"/>
                        </a:ln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49" name="Lorraine" descr="© INSCALE GmbH, 05.05.2010&#10;http://www.presentationload.com/">
                    <a:extLst>
                      <a:ext uri="{FF2B5EF4-FFF2-40B4-BE49-F238E27FC236}">
                        <a16:creationId xmlns:a16="http://schemas.microsoft.com/office/drawing/2014/main" id="{3462DDA8-7956-489D-BDE5-E1342FAAD60D}"/>
                      </a:ext>
                    </a:extLst>
                  </p:cNvPr>
                  <p:cNvSpPr>
                    <a:spLocks/>
                  </p:cNvSpPr>
                  <p:nvPr/>
                </p:nvSpPr>
                <p:spPr bwMode="gray">
                  <a:xfrm>
                    <a:off x="2349" y="641"/>
                    <a:ext cx="619" cy="618"/>
                  </a:xfrm>
                  <a:custGeom>
                    <a:avLst/>
                    <a:gdLst/>
                    <a:ahLst/>
                    <a:cxnLst>
                      <a:cxn ang="0">
                        <a:pos x="552" y="140"/>
                      </a:cxn>
                      <a:cxn ang="0">
                        <a:pos x="524" y="152"/>
                      </a:cxn>
                      <a:cxn ang="0">
                        <a:pos x="482" y="143"/>
                      </a:cxn>
                      <a:cxn ang="0">
                        <a:pos x="464" y="142"/>
                      </a:cxn>
                      <a:cxn ang="0">
                        <a:pos x="429" y="124"/>
                      </a:cxn>
                      <a:cxn ang="0">
                        <a:pos x="423" y="143"/>
                      </a:cxn>
                      <a:cxn ang="0">
                        <a:pos x="395" y="131"/>
                      </a:cxn>
                      <a:cxn ang="0">
                        <a:pos x="388" y="114"/>
                      </a:cxn>
                      <a:cxn ang="0">
                        <a:pos x="365" y="84"/>
                      </a:cxn>
                      <a:cxn ang="0">
                        <a:pos x="368" y="71"/>
                      </a:cxn>
                      <a:cxn ang="0">
                        <a:pos x="333" y="43"/>
                      </a:cxn>
                      <a:cxn ang="0">
                        <a:pos x="281" y="38"/>
                      </a:cxn>
                      <a:cxn ang="0">
                        <a:pos x="233" y="36"/>
                      </a:cxn>
                      <a:cxn ang="0">
                        <a:pos x="191" y="20"/>
                      </a:cxn>
                      <a:cxn ang="0">
                        <a:pos x="165" y="33"/>
                      </a:cxn>
                      <a:cxn ang="0">
                        <a:pos x="128" y="21"/>
                      </a:cxn>
                      <a:cxn ang="0">
                        <a:pos x="92" y="21"/>
                      </a:cxn>
                      <a:cxn ang="0">
                        <a:pos x="70" y="37"/>
                      </a:cxn>
                      <a:cxn ang="0">
                        <a:pos x="49" y="30"/>
                      </a:cxn>
                      <a:cxn ang="0">
                        <a:pos x="26" y="49"/>
                      </a:cxn>
                      <a:cxn ang="0">
                        <a:pos x="21" y="107"/>
                      </a:cxn>
                      <a:cxn ang="0">
                        <a:pos x="8" y="137"/>
                      </a:cxn>
                      <a:cxn ang="0">
                        <a:pos x="4" y="151"/>
                      </a:cxn>
                      <a:cxn ang="0">
                        <a:pos x="26" y="223"/>
                      </a:cxn>
                      <a:cxn ang="0">
                        <a:pos x="6" y="263"/>
                      </a:cxn>
                      <a:cxn ang="0">
                        <a:pos x="26" y="295"/>
                      </a:cxn>
                      <a:cxn ang="0">
                        <a:pos x="33" y="329"/>
                      </a:cxn>
                      <a:cxn ang="0">
                        <a:pos x="125" y="395"/>
                      </a:cxn>
                      <a:cxn ang="0">
                        <a:pos x="118" y="409"/>
                      </a:cxn>
                      <a:cxn ang="0">
                        <a:pos x="136" y="414"/>
                      </a:cxn>
                      <a:cxn ang="0">
                        <a:pos x="165" y="449"/>
                      </a:cxn>
                      <a:cxn ang="0">
                        <a:pos x="181" y="461"/>
                      </a:cxn>
                      <a:cxn ang="0">
                        <a:pos x="160" y="502"/>
                      </a:cxn>
                      <a:cxn ang="0">
                        <a:pos x="197" y="519"/>
                      </a:cxn>
                      <a:cxn ang="0">
                        <a:pos x="201" y="539"/>
                      </a:cxn>
                      <a:cxn ang="0">
                        <a:pos x="217" y="544"/>
                      </a:cxn>
                      <a:cxn ang="0">
                        <a:pos x="234" y="534"/>
                      </a:cxn>
                      <a:cxn ang="0">
                        <a:pos x="244" y="537"/>
                      </a:cxn>
                      <a:cxn ang="0">
                        <a:pos x="274" y="517"/>
                      </a:cxn>
                      <a:cxn ang="0">
                        <a:pos x="286" y="534"/>
                      </a:cxn>
                      <a:cxn ang="0">
                        <a:pos x="337" y="537"/>
                      </a:cxn>
                      <a:cxn ang="0">
                        <a:pos x="372" y="537"/>
                      </a:cxn>
                      <a:cxn ang="0">
                        <a:pos x="414" y="562"/>
                      </a:cxn>
                      <a:cxn ang="0">
                        <a:pos x="442" y="559"/>
                      </a:cxn>
                      <a:cxn ang="0">
                        <a:pos x="441" y="545"/>
                      </a:cxn>
                      <a:cxn ang="0">
                        <a:pos x="472" y="470"/>
                      </a:cxn>
                      <a:cxn ang="0">
                        <a:pos x="490" y="411"/>
                      </a:cxn>
                      <a:cxn ang="0">
                        <a:pos x="469" y="399"/>
                      </a:cxn>
                      <a:cxn ang="0">
                        <a:pos x="458" y="343"/>
                      </a:cxn>
                      <a:cxn ang="0">
                        <a:pos x="508" y="299"/>
                      </a:cxn>
                      <a:cxn ang="0">
                        <a:pos x="477" y="242"/>
                      </a:cxn>
                      <a:cxn ang="0">
                        <a:pos x="449" y="243"/>
                      </a:cxn>
                      <a:cxn ang="0">
                        <a:pos x="429" y="223"/>
                      </a:cxn>
                      <a:cxn ang="0">
                        <a:pos x="450" y="166"/>
                      </a:cxn>
                      <a:cxn ang="0">
                        <a:pos x="465" y="189"/>
                      </a:cxn>
                      <a:cxn ang="0">
                        <a:pos x="533" y="197"/>
                      </a:cxn>
                      <a:cxn ang="0">
                        <a:pos x="563" y="150"/>
                      </a:cxn>
                    </a:cxnLst>
                    <a:rect l="0" t="0" r="r" b="b"/>
                    <a:pathLst>
                      <a:path w="574" h="573">
                        <a:moveTo>
                          <a:pt x="563" y="150"/>
                        </a:moveTo>
                        <a:cubicBezTo>
                          <a:pt x="569" y="145"/>
                          <a:pt x="561" y="142"/>
                          <a:pt x="552" y="140"/>
                        </a:cubicBezTo>
                        <a:cubicBezTo>
                          <a:pt x="542" y="130"/>
                          <a:pt x="536" y="147"/>
                          <a:pt x="536" y="147"/>
                        </a:cubicBezTo>
                        <a:cubicBezTo>
                          <a:pt x="524" y="152"/>
                          <a:pt x="524" y="152"/>
                          <a:pt x="524" y="152"/>
                        </a:cubicBezTo>
                        <a:cubicBezTo>
                          <a:pt x="489" y="154"/>
                          <a:pt x="489" y="154"/>
                          <a:pt x="489" y="154"/>
                        </a:cubicBezTo>
                        <a:cubicBezTo>
                          <a:pt x="482" y="143"/>
                          <a:pt x="482" y="143"/>
                          <a:pt x="482" y="143"/>
                        </a:cubicBezTo>
                        <a:cubicBezTo>
                          <a:pt x="471" y="154"/>
                          <a:pt x="471" y="154"/>
                          <a:pt x="471" y="154"/>
                        </a:cubicBezTo>
                        <a:cubicBezTo>
                          <a:pt x="464" y="142"/>
                          <a:pt x="464" y="142"/>
                          <a:pt x="464" y="142"/>
                        </a:cubicBezTo>
                        <a:cubicBezTo>
                          <a:pt x="464" y="122"/>
                          <a:pt x="438" y="126"/>
                          <a:pt x="438" y="126"/>
                        </a:cubicBezTo>
                        <a:cubicBezTo>
                          <a:pt x="429" y="124"/>
                          <a:pt x="429" y="124"/>
                          <a:pt x="429" y="124"/>
                        </a:cubicBezTo>
                        <a:cubicBezTo>
                          <a:pt x="431" y="135"/>
                          <a:pt x="431" y="135"/>
                          <a:pt x="431" y="135"/>
                        </a:cubicBezTo>
                        <a:cubicBezTo>
                          <a:pt x="423" y="143"/>
                          <a:pt x="423" y="143"/>
                          <a:pt x="423" y="143"/>
                        </a:cubicBezTo>
                        <a:cubicBezTo>
                          <a:pt x="419" y="140"/>
                          <a:pt x="419" y="140"/>
                          <a:pt x="419" y="140"/>
                        </a:cubicBezTo>
                        <a:cubicBezTo>
                          <a:pt x="397" y="145"/>
                          <a:pt x="395" y="131"/>
                          <a:pt x="395" y="131"/>
                        </a:cubicBezTo>
                        <a:cubicBezTo>
                          <a:pt x="403" y="125"/>
                          <a:pt x="397" y="121"/>
                          <a:pt x="397" y="121"/>
                        </a:cubicBezTo>
                        <a:cubicBezTo>
                          <a:pt x="392" y="126"/>
                          <a:pt x="388" y="114"/>
                          <a:pt x="388" y="114"/>
                        </a:cubicBezTo>
                        <a:cubicBezTo>
                          <a:pt x="389" y="107"/>
                          <a:pt x="377" y="99"/>
                          <a:pt x="370" y="96"/>
                        </a:cubicBezTo>
                        <a:cubicBezTo>
                          <a:pt x="370" y="88"/>
                          <a:pt x="365" y="84"/>
                          <a:pt x="365" y="84"/>
                        </a:cubicBezTo>
                        <a:cubicBezTo>
                          <a:pt x="371" y="79"/>
                          <a:pt x="371" y="79"/>
                          <a:pt x="371" y="79"/>
                        </a:cubicBezTo>
                        <a:cubicBezTo>
                          <a:pt x="368" y="71"/>
                          <a:pt x="368" y="71"/>
                          <a:pt x="368" y="71"/>
                        </a:cubicBezTo>
                        <a:cubicBezTo>
                          <a:pt x="361" y="71"/>
                          <a:pt x="358" y="59"/>
                          <a:pt x="358" y="59"/>
                        </a:cubicBezTo>
                        <a:cubicBezTo>
                          <a:pt x="333" y="43"/>
                          <a:pt x="333" y="43"/>
                          <a:pt x="333" y="43"/>
                        </a:cubicBezTo>
                        <a:cubicBezTo>
                          <a:pt x="317" y="61"/>
                          <a:pt x="297" y="38"/>
                          <a:pt x="297" y="38"/>
                        </a:cubicBezTo>
                        <a:cubicBezTo>
                          <a:pt x="297" y="38"/>
                          <a:pt x="297" y="38"/>
                          <a:pt x="281" y="38"/>
                        </a:cubicBezTo>
                        <a:cubicBezTo>
                          <a:pt x="272" y="54"/>
                          <a:pt x="245" y="52"/>
                          <a:pt x="243" y="48"/>
                        </a:cubicBezTo>
                        <a:cubicBezTo>
                          <a:pt x="241" y="44"/>
                          <a:pt x="233" y="36"/>
                          <a:pt x="233" y="36"/>
                        </a:cubicBezTo>
                        <a:cubicBezTo>
                          <a:pt x="233" y="36"/>
                          <a:pt x="223" y="33"/>
                          <a:pt x="212" y="31"/>
                        </a:cubicBezTo>
                        <a:cubicBezTo>
                          <a:pt x="206" y="20"/>
                          <a:pt x="191" y="20"/>
                          <a:pt x="191" y="20"/>
                        </a:cubicBezTo>
                        <a:cubicBezTo>
                          <a:pt x="175" y="19"/>
                          <a:pt x="175" y="19"/>
                          <a:pt x="175" y="19"/>
                        </a:cubicBezTo>
                        <a:cubicBezTo>
                          <a:pt x="165" y="33"/>
                          <a:pt x="165" y="33"/>
                          <a:pt x="165" y="33"/>
                        </a:cubicBezTo>
                        <a:cubicBezTo>
                          <a:pt x="165" y="33"/>
                          <a:pt x="162" y="29"/>
                          <a:pt x="145" y="30"/>
                        </a:cubicBezTo>
                        <a:cubicBezTo>
                          <a:pt x="126" y="45"/>
                          <a:pt x="129" y="24"/>
                          <a:pt x="128" y="21"/>
                        </a:cubicBezTo>
                        <a:cubicBezTo>
                          <a:pt x="128" y="5"/>
                          <a:pt x="111" y="1"/>
                          <a:pt x="104" y="0"/>
                        </a:cubicBezTo>
                        <a:cubicBezTo>
                          <a:pt x="92" y="21"/>
                          <a:pt x="92" y="21"/>
                          <a:pt x="92" y="21"/>
                        </a:cubicBezTo>
                        <a:cubicBezTo>
                          <a:pt x="78" y="22"/>
                          <a:pt x="78" y="22"/>
                          <a:pt x="78" y="22"/>
                        </a:cubicBezTo>
                        <a:cubicBezTo>
                          <a:pt x="70" y="37"/>
                          <a:pt x="70" y="37"/>
                          <a:pt x="70" y="37"/>
                        </a:cubicBezTo>
                        <a:cubicBezTo>
                          <a:pt x="58" y="30"/>
                          <a:pt x="58" y="30"/>
                          <a:pt x="58" y="30"/>
                        </a:cubicBezTo>
                        <a:cubicBezTo>
                          <a:pt x="49" y="30"/>
                          <a:pt x="49" y="30"/>
                          <a:pt x="49" y="30"/>
                        </a:cubicBezTo>
                        <a:cubicBezTo>
                          <a:pt x="32" y="25"/>
                          <a:pt x="32" y="25"/>
                          <a:pt x="32" y="25"/>
                        </a:cubicBezTo>
                        <a:cubicBezTo>
                          <a:pt x="32" y="25"/>
                          <a:pt x="30" y="51"/>
                          <a:pt x="26" y="49"/>
                        </a:cubicBezTo>
                        <a:cubicBezTo>
                          <a:pt x="38" y="63"/>
                          <a:pt x="38" y="78"/>
                          <a:pt x="38" y="78"/>
                        </a:cubicBezTo>
                        <a:cubicBezTo>
                          <a:pt x="38" y="78"/>
                          <a:pt x="25" y="102"/>
                          <a:pt x="21" y="107"/>
                        </a:cubicBezTo>
                        <a:cubicBezTo>
                          <a:pt x="17" y="113"/>
                          <a:pt x="25" y="125"/>
                          <a:pt x="25" y="125"/>
                        </a:cubicBezTo>
                        <a:cubicBezTo>
                          <a:pt x="8" y="137"/>
                          <a:pt x="8" y="137"/>
                          <a:pt x="8" y="137"/>
                        </a:cubicBezTo>
                        <a:cubicBezTo>
                          <a:pt x="14" y="143"/>
                          <a:pt x="14" y="143"/>
                          <a:pt x="14" y="143"/>
                        </a:cubicBezTo>
                        <a:cubicBezTo>
                          <a:pt x="4" y="151"/>
                          <a:pt x="4" y="151"/>
                          <a:pt x="4" y="151"/>
                        </a:cubicBezTo>
                        <a:cubicBezTo>
                          <a:pt x="4" y="151"/>
                          <a:pt x="20" y="197"/>
                          <a:pt x="17" y="201"/>
                        </a:cubicBezTo>
                        <a:cubicBezTo>
                          <a:pt x="28" y="195"/>
                          <a:pt x="25" y="214"/>
                          <a:pt x="26" y="223"/>
                        </a:cubicBezTo>
                        <a:cubicBezTo>
                          <a:pt x="28" y="233"/>
                          <a:pt x="4" y="242"/>
                          <a:pt x="4" y="242"/>
                        </a:cubicBezTo>
                        <a:cubicBezTo>
                          <a:pt x="6" y="263"/>
                          <a:pt x="6" y="263"/>
                          <a:pt x="6" y="263"/>
                        </a:cubicBezTo>
                        <a:cubicBezTo>
                          <a:pt x="0" y="277"/>
                          <a:pt x="0" y="277"/>
                          <a:pt x="0" y="277"/>
                        </a:cubicBezTo>
                        <a:cubicBezTo>
                          <a:pt x="26" y="295"/>
                          <a:pt x="26" y="295"/>
                          <a:pt x="26" y="295"/>
                        </a:cubicBezTo>
                        <a:cubicBezTo>
                          <a:pt x="25" y="335"/>
                          <a:pt x="25" y="335"/>
                          <a:pt x="25" y="335"/>
                        </a:cubicBezTo>
                        <a:cubicBezTo>
                          <a:pt x="33" y="329"/>
                          <a:pt x="33" y="329"/>
                          <a:pt x="33" y="329"/>
                        </a:cubicBezTo>
                        <a:cubicBezTo>
                          <a:pt x="33" y="329"/>
                          <a:pt x="68" y="356"/>
                          <a:pt x="67" y="359"/>
                        </a:cubicBezTo>
                        <a:cubicBezTo>
                          <a:pt x="84" y="359"/>
                          <a:pt x="125" y="395"/>
                          <a:pt x="125" y="395"/>
                        </a:cubicBezTo>
                        <a:cubicBezTo>
                          <a:pt x="113" y="401"/>
                          <a:pt x="113" y="401"/>
                          <a:pt x="113" y="401"/>
                        </a:cubicBezTo>
                        <a:cubicBezTo>
                          <a:pt x="118" y="409"/>
                          <a:pt x="118" y="409"/>
                          <a:pt x="118" y="409"/>
                        </a:cubicBezTo>
                        <a:cubicBezTo>
                          <a:pt x="118" y="409"/>
                          <a:pt x="120" y="412"/>
                          <a:pt x="120" y="415"/>
                        </a:cubicBezTo>
                        <a:cubicBezTo>
                          <a:pt x="126" y="411"/>
                          <a:pt x="136" y="414"/>
                          <a:pt x="136" y="414"/>
                        </a:cubicBezTo>
                        <a:cubicBezTo>
                          <a:pt x="149" y="437"/>
                          <a:pt x="149" y="437"/>
                          <a:pt x="149" y="437"/>
                        </a:cubicBezTo>
                        <a:cubicBezTo>
                          <a:pt x="165" y="426"/>
                          <a:pt x="165" y="449"/>
                          <a:pt x="165" y="449"/>
                        </a:cubicBezTo>
                        <a:cubicBezTo>
                          <a:pt x="174" y="450"/>
                          <a:pt x="174" y="450"/>
                          <a:pt x="174" y="450"/>
                        </a:cubicBezTo>
                        <a:cubicBezTo>
                          <a:pt x="181" y="461"/>
                          <a:pt x="181" y="461"/>
                          <a:pt x="181" y="461"/>
                        </a:cubicBezTo>
                        <a:cubicBezTo>
                          <a:pt x="170" y="466"/>
                          <a:pt x="170" y="490"/>
                          <a:pt x="170" y="490"/>
                        </a:cubicBezTo>
                        <a:cubicBezTo>
                          <a:pt x="160" y="502"/>
                          <a:pt x="160" y="502"/>
                          <a:pt x="160" y="502"/>
                        </a:cubicBezTo>
                        <a:cubicBezTo>
                          <a:pt x="177" y="506"/>
                          <a:pt x="177" y="506"/>
                          <a:pt x="177" y="506"/>
                        </a:cubicBezTo>
                        <a:cubicBezTo>
                          <a:pt x="197" y="519"/>
                          <a:pt x="197" y="519"/>
                          <a:pt x="197" y="519"/>
                        </a:cubicBezTo>
                        <a:cubicBezTo>
                          <a:pt x="198" y="537"/>
                          <a:pt x="198" y="537"/>
                          <a:pt x="198" y="537"/>
                        </a:cubicBezTo>
                        <a:cubicBezTo>
                          <a:pt x="201" y="539"/>
                          <a:pt x="201" y="539"/>
                          <a:pt x="201" y="539"/>
                        </a:cubicBezTo>
                        <a:cubicBezTo>
                          <a:pt x="214" y="547"/>
                          <a:pt x="214" y="547"/>
                          <a:pt x="214" y="547"/>
                        </a:cubicBezTo>
                        <a:cubicBezTo>
                          <a:pt x="217" y="544"/>
                          <a:pt x="217" y="544"/>
                          <a:pt x="217" y="544"/>
                        </a:cubicBezTo>
                        <a:cubicBezTo>
                          <a:pt x="224" y="533"/>
                          <a:pt x="224" y="533"/>
                          <a:pt x="224" y="533"/>
                        </a:cubicBezTo>
                        <a:cubicBezTo>
                          <a:pt x="234" y="534"/>
                          <a:pt x="234" y="534"/>
                          <a:pt x="234" y="534"/>
                        </a:cubicBezTo>
                        <a:cubicBezTo>
                          <a:pt x="230" y="543"/>
                          <a:pt x="230" y="543"/>
                          <a:pt x="230" y="543"/>
                        </a:cubicBezTo>
                        <a:cubicBezTo>
                          <a:pt x="244" y="537"/>
                          <a:pt x="244" y="537"/>
                          <a:pt x="244" y="537"/>
                        </a:cubicBezTo>
                        <a:cubicBezTo>
                          <a:pt x="249" y="523"/>
                          <a:pt x="249" y="523"/>
                          <a:pt x="249" y="523"/>
                        </a:cubicBezTo>
                        <a:cubicBezTo>
                          <a:pt x="274" y="517"/>
                          <a:pt x="274" y="517"/>
                          <a:pt x="274" y="517"/>
                        </a:cubicBezTo>
                        <a:cubicBezTo>
                          <a:pt x="273" y="533"/>
                          <a:pt x="273" y="533"/>
                          <a:pt x="273" y="533"/>
                        </a:cubicBezTo>
                        <a:cubicBezTo>
                          <a:pt x="286" y="534"/>
                          <a:pt x="286" y="534"/>
                          <a:pt x="286" y="534"/>
                        </a:cubicBezTo>
                        <a:cubicBezTo>
                          <a:pt x="285" y="543"/>
                          <a:pt x="285" y="543"/>
                          <a:pt x="285" y="543"/>
                        </a:cubicBezTo>
                        <a:cubicBezTo>
                          <a:pt x="285" y="543"/>
                          <a:pt x="333" y="526"/>
                          <a:pt x="337" y="537"/>
                        </a:cubicBezTo>
                        <a:cubicBezTo>
                          <a:pt x="341" y="547"/>
                          <a:pt x="346" y="554"/>
                          <a:pt x="346" y="554"/>
                        </a:cubicBezTo>
                        <a:cubicBezTo>
                          <a:pt x="372" y="537"/>
                          <a:pt x="372" y="537"/>
                          <a:pt x="372" y="537"/>
                        </a:cubicBezTo>
                        <a:cubicBezTo>
                          <a:pt x="381" y="549"/>
                          <a:pt x="381" y="549"/>
                          <a:pt x="381" y="549"/>
                        </a:cubicBezTo>
                        <a:cubicBezTo>
                          <a:pt x="414" y="562"/>
                          <a:pt x="414" y="562"/>
                          <a:pt x="414" y="562"/>
                        </a:cubicBezTo>
                        <a:cubicBezTo>
                          <a:pt x="414" y="562"/>
                          <a:pt x="422" y="573"/>
                          <a:pt x="428" y="570"/>
                        </a:cubicBezTo>
                        <a:cubicBezTo>
                          <a:pt x="433" y="567"/>
                          <a:pt x="442" y="559"/>
                          <a:pt x="442" y="559"/>
                        </a:cubicBezTo>
                        <a:cubicBezTo>
                          <a:pt x="437" y="550"/>
                          <a:pt x="437" y="550"/>
                          <a:pt x="437" y="550"/>
                        </a:cubicBezTo>
                        <a:cubicBezTo>
                          <a:pt x="441" y="545"/>
                          <a:pt x="441" y="545"/>
                          <a:pt x="441" y="545"/>
                        </a:cubicBezTo>
                        <a:cubicBezTo>
                          <a:pt x="442" y="514"/>
                          <a:pt x="442" y="514"/>
                          <a:pt x="442" y="514"/>
                        </a:cubicBezTo>
                        <a:cubicBezTo>
                          <a:pt x="442" y="514"/>
                          <a:pt x="460" y="511"/>
                          <a:pt x="472" y="470"/>
                        </a:cubicBezTo>
                        <a:cubicBezTo>
                          <a:pt x="476" y="470"/>
                          <a:pt x="469" y="466"/>
                          <a:pt x="469" y="466"/>
                        </a:cubicBezTo>
                        <a:cubicBezTo>
                          <a:pt x="490" y="411"/>
                          <a:pt x="490" y="411"/>
                          <a:pt x="490" y="411"/>
                        </a:cubicBezTo>
                        <a:cubicBezTo>
                          <a:pt x="489" y="402"/>
                          <a:pt x="489" y="402"/>
                          <a:pt x="489" y="402"/>
                        </a:cubicBezTo>
                        <a:cubicBezTo>
                          <a:pt x="489" y="402"/>
                          <a:pt x="469" y="411"/>
                          <a:pt x="469" y="399"/>
                        </a:cubicBezTo>
                        <a:cubicBezTo>
                          <a:pt x="469" y="387"/>
                          <a:pt x="472" y="349"/>
                          <a:pt x="472" y="349"/>
                        </a:cubicBezTo>
                        <a:cubicBezTo>
                          <a:pt x="458" y="343"/>
                          <a:pt x="458" y="343"/>
                          <a:pt x="458" y="343"/>
                        </a:cubicBezTo>
                        <a:cubicBezTo>
                          <a:pt x="480" y="338"/>
                          <a:pt x="480" y="338"/>
                          <a:pt x="480" y="338"/>
                        </a:cubicBezTo>
                        <a:cubicBezTo>
                          <a:pt x="480" y="338"/>
                          <a:pt x="505" y="337"/>
                          <a:pt x="508" y="299"/>
                        </a:cubicBezTo>
                        <a:cubicBezTo>
                          <a:pt x="506" y="304"/>
                          <a:pt x="487" y="294"/>
                          <a:pt x="505" y="262"/>
                        </a:cubicBezTo>
                        <a:cubicBezTo>
                          <a:pt x="502" y="260"/>
                          <a:pt x="483" y="244"/>
                          <a:pt x="477" y="242"/>
                        </a:cubicBezTo>
                        <a:cubicBezTo>
                          <a:pt x="470" y="239"/>
                          <a:pt x="457" y="258"/>
                          <a:pt x="457" y="258"/>
                        </a:cubicBezTo>
                        <a:cubicBezTo>
                          <a:pt x="449" y="243"/>
                          <a:pt x="449" y="243"/>
                          <a:pt x="449" y="243"/>
                        </a:cubicBezTo>
                        <a:cubicBezTo>
                          <a:pt x="457" y="233"/>
                          <a:pt x="457" y="233"/>
                          <a:pt x="457" y="233"/>
                        </a:cubicBezTo>
                        <a:cubicBezTo>
                          <a:pt x="429" y="223"/>
                          <a:pt x="429" y="223"/>
                          <a:pt x="429" y="223"/>
                        </a:cubicBezTo>
                        <a:cubicBezTo>
                          <a:pt x="429" y="223"/>
                          <a:pt x="434" y="203"/>
                          <a:pt x="444" y="205"/>
                        </a:cubicBezTo>
                        <a:cubicBezTo>
                          <a:pt x="450" y="166"/>
                          <a:pt x="450" y="166"/>
                          <a:pt x="450" y="166"/>
                        </a:cubicBezTo>
                        <a:cubicBezTo>
                          <a:pt x="456" y="167"/>
                          <a:pt x="456" y="167"/>
                          <a:pt x="456" y="167"/>
                        </a:cubicBezTo>
                        <a:cubicBezTo>
                          <a:pt x="465" y="189"/>
                          <a:pt x="465" y="189"/>
                          <a:pt x="465" y="189"/>
                        </a:cubicBezTo>
                        <a:cubicBezTo>
                          <a:pt x="493" y="193"/>
                          <a:pt x="493" y="193"/>
                          <a:pt x="493" y="193"/>
                        </a:cubicBezTo>
                        <a:cubicBezTo>
                          <a:pt x="493" y="193"/>
                          <a:pt x="498" y="217"/>
                          <a:pt x="533" y="197"/>
                        </a:cubicBezTo>
                        <a:cubicBezTo>
                          <a:pt x="533" y="197"/>
                          <a:pt x="553" y="229"/>
                          <a:pt x="574" y="164"/>
                        </a:cubicBezTo>
                        <a:lnTo>
                          <a:pt x="563" y="150"/>
                        </a:ln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50" name="Alsace" descr="© INSCALE GmbH, 05.05.2010&#10;http://www.presentationload.com/">
                    <a:extLst>
                      <a:ext uri="{FF2B5EF4-FFF2-40B4-BE49-F238E27FC236}">
                        <a16:creationId xmlns:a16="http://schemas.microsoft.com/office/drawing/2014/main" id="{384F491D-623B-41F2-BBC1-57FC82B55737}"/>
                      </a:ext>
                    </a:extLst>
                  </p:cNvPr>
                  <p:cNvSpPr>
                    <a:spLocks/>
                  </p:cNvSpPr>
                  <p:nvPr/>
                </p:nvSpPr>
                <p:spPr bwMode="gray">
                  <a:xfrm>
                    <a:off x="2808" y="818"/>
                    <a:ext cx="317" cy="567"/>
                  </a:xfrm>
                  <a:custGeom>
                    <a:avLst/>
                    <a:gdLst/>
                    <a:ahLst/>
                    <a:cxnLst>
                      <a:cxn ang="0">
                        <a:pos x="271" y="35"/>
                      </a:cxn>
                      <a:cxn ang="0">
                        <a:pos x="250" y="20"/>
                      </a:cxn>
                      <a:cxn ang="0">
                        <a:pos x="242" y="22"/>
                      </a:cxn>
                      <a:cxn ang="0">
                        <a:pos x="225" y="13"/>
                      </a:cxn>
                      <a:cxn ang="0">
                        <a:pos x="206" y="12"/>
                      </a:cxn>
                      <a:cxn ang="0">
                        <a:pos x="172" y="14"/>
                      </a:cxn>
                      <a:cxn ang="0">
                        <a:pos x="164" y="2"/>
                      </a:cxn>
                      <a:cxn ang="0">
                        <a:pos x="152" y="4"/>
                      </a:cxn>
                      <a:cxn ang="0">
                        <a:pos x="148" y="0"/>
                      </a:cxn>
                      <a:cxn ang="0">
                        <a:pos x="107" y="33"/>
                      </a:cxn>
                      <a:cxn ang="0">
                        <a:pos x="67" y="29"/>
                      </a:cxn>
                      <a:cxn ang="0">
                        <a:pos x="39" y="25"/>
                      </a:cxn>
                      <a:cxn ang="0">
                        <a:pos x="30" y="3"/>
                      </a:cxn>
                      <a:cxn ang="0">
                        <a:pos x="24" y="2"/>
                      </a:cxn>
                      <a:cxn ang="0">
                        <a:pos x="18" y="41"/>
                      </a:cxn>
                      <a:cxn ang="0">
                        <a:pos x="3" y="59"/>
                      </a:cxn>
                      <a:cxn ang="0">
                        <a:pos x="31" y="69"/>
                      </a:cxn>
                      <a:cxn ang="0">
                        <a:pos x="23" y="79"/>
                      </a:cxn>
                      <a:cxn ang="0">
                        <a:pos x="31" y="94"/>
                      </a:cxn>
                      <a:cxn ang="0">
                        <a:pos x="51" y="78"/>
                      </a:cxn>
                      <a:cxn ang="0">
                        <a:pos x="79" y="98"/>
                      </a:cxn>
                      <a:cxn ang="0">
                        <a:pos x="82" y="135"/>
                      </a:cxn>
                      <a:cxn ang="0">
                        <a:pos x="54" y="174"/>
                      </a:cxn>
                      <a:cxn ang="0">
                        <a:pos x="32" y="179"/>
                      </a:cxn>
                      <a:cxn ang="0">
                        <a:pos x="46" y="185"/>
                      </a:cxn>
                      <a:cxn ang="0">
                        <a:pos x="43" y="235"/>
                      </a:cxn>
                      <a:cxn ang="0">
                        <a:pos x="63" y="238"/>
                      </a:cxn>
                      <a:cxn ang="0">
                        <a:pos x="64" y="247"/>
                      </a:cxn>
                      <a:cxn ang="0">
                        <a:pos x="43" y="302"/>
                      </a:cxn>
                      <a:cxn ang="0">
                        <a:pos x="46" y="306"/>
                      </a:cxn>
                      <a:cxn ang="0">
                        <a:pos x="16" y="350"/>
                      </a:cxn>
                      <a:cxn ang="0">
                        <a:pos x="15" y="381"/>
                      </a:cxn>
                      <a:cxn ang="0">
                        <a:pos x="11" y="386"/>
                      </a:cxn>
                      <a:cxn ang="0">
                        <a:pos x="16" y="395"/>
                      </a:cxn>
                      <a:cxn ang="0">
                        <a:pos x="2" y="406"/>
                      </a:cxn>
                      <a:cxn ang="0">
                        <a:pos x="0" y="406"/>
                      </a:cxn>
                      <a:cxn ang="0">
                        <a:pos x="4" y="417"/>
                      </a:cxn>
                      <a:cxn ang="0">
                        <a:pos x="43" y="471"/>
                      </a:cxn>
                      <a:cxn ang="0">
                        <a:pos x="66" y="496"/>
                      </a:cxn>
                      <a:cxn ang="0">
                        <a:pos x="90" y="499"/>
                      </a:cxn>
                      <a:cxn ang="0">
                        <a:pos x="113" y="510"/>
                      </a:cxn>
                      <a:cxn ang="0">
                        <a:pos x="143" y="491"/>
                      </a:cxn>
                      <a:cxn ang="0">
                        <a:pos x="152" y="503"/>
                      </a:cxn>
                      <a:cxn ang="0">
                        <a:pos x="161" y="493"/>
                      </a:cxn>
                      <a:cxn ang="0">
                        <a:pos x="174" y="463"/>
                      </a:cxn>
                      <a:cxn ang="0">
                        <a:pos x="165" y="419"/>
                      </a:cxn>
                      <a:cxn ang="0">
                        <a:pos x="167" y="386"/>
                      </a:cxn>
                      <a:cxn ang="0">
                        <a:pos x="176" y="349"/>
                      </a:cxn>
                      <a:cxn ang="0">
                        <a:pos x="176" y="336"/>
                      </a:cxn>
                      <a:cxn ang="0">
                        <a:pos x="185" y="262"/>
                      </a:cxn>
                      <a:cxn ang="0">
                        <a:pos x="199" y="229"/>
                      </a:cxn>
                      <a:cxn ang="0">
                        <a:pos x="209" y="177"/>
                      </a:cxn>
                      <a:cxn ang="0">
                        <a:pos x="218" y="138"/>
                      </a:cxn>
                      <a:cxn ang="0">
                        <a:pos x="245" y="104"/>
                      </a:cxn>
                      <a:cxn ang="0">
                        <a:pos x="261" y="93"/>
                      </a:cxn>
                      <a:cxn ang="0">
                        <a:pos x="279" y="58"/>
                      </a:cxn>
                      <a:cxn ang="0">
                        <a:pos x="294" y="35"/>
                      </a:cxn>
                      <a:cxn ang="0">
                        <a:pos x="271" y="35"/>
                      </a:cxn>
                    </a:cxnLst>
                    <a:rect l="0" t="0" r="r" b="b"/>
                    <a:pathLst>
                      <a:path w="294" h="526">
                        <a:moveTo>
                          <a:pt x="271" y="35"/>
                        </a:moveTo>
                        <a:cubicBezTo>
                          <a:pt x="250" y="20"/>
                          <a:pt x="250" y="20"/>
                          <a:pt x="250" y="20"/>
                        </a:cubicBezTo>
                        <a:cubicBezTo>
                          <a:pt x="242" y="22"/>
                          <a:pt x="242" y="22"/>
                          <a:pt x="242" y="22"/>
                        </a:cubicBezTo>
                        <a:cubicBezTo>
                          <a:pt x="233" y="7"/>
                          <a:pt x="232" y="15"/>
                          <a:pt x="225" y="13"/>
                        </a:cubicBezTo>
                        <a:cubicBezTo>
                          <a:pt x="215" y="25"/>
                          <a:pt x="206" y="12"/>
                          <a:pt x="206" y="12"/>
                        </a:cubicBezTo>
                        <a:cubicBezTo>
                          <a:pt x="172" y="14"/>
                          <a:pt x="172" y="14"/>
                          <a:pt x="172" y="14"/>
                        </a:cubicBezTo>
                        <a:cubicBezTo>
                          <a:pt x="164" y="2"/>
                          <a:pt x="164" y="2"/>
                          <a:pt x="164" y="2"/>
                        </a:cubicBezTo>
                        <a:cubicBezTo>
                          <a:pt x="152" y="4"/>
                          <a:pt x="152" y="4"/>
                          <a:pt x="152" y="4"/>
                        </a:cubicBezTo>
                        <a:cubicBezTo>
                          <a:pt x="148" y="0"/>
                          <a:pt x="148" y="0"/>
                          <a:pt x="148" y="0"/>
                        </a:cubicBezTo>
                        <a:cubicBezTo>
                          <a:pt x="127" y="65"/>
                          <a:pt x="107" y="33"/>
                          <a:pt x="107" y="33"/>
                        </a:cubicBezTo>
                        <a:cubicBezTo>
                          <a:pt x="72" y="53"/>
                          <a:pt x="67" y="29"/>
                          <a:pt x="67" y="29"/>
                        </a:cubicBezTo>
                        <a:cubicBezTo>
                          <a:pt x="39" y="25"/>
                          <a:pt x="39" y="25"/>
                          <a:pt x="39" y="25"/>
                        </a:cubicBezTo>
                        <a:cubicBezTo>
                          <a:pt x="30" y="3"/>
                          <a:pt x="30" y="3"/>
                          <a:pt x="30" y="3"/>
                        </a:cubicBezTo>
                        <a:cubicBezTo>
                          <a:pt x="24" y="2"/>
                          <a:pt x="24" y="2"/>
                          <a:pt x="24" y="2"/>
                        </a:cubicBezTo>
                        <a:cubicBezTo>
                          <a:pt x="18" y="41"/>
                          <a:pt x="18" y="41"/>
                          <a:pt x="18" y="41"/>
                        </a:cubicBezTo>
                        <a:cubicBezTo>
                          <a:pt x="8" y="39"/>
                          <a:pt x="3" y="59"/>
                          <a:pt x="3" y="59"/>
                        </a:cubicBezTo>
                        <a:cubicBezTo>
                          <a:pt x="31" y="69"/>
                          <a:pt x="31" y="69"/>
                          <a:pt x="31" y="69"/>
                        </a:cubicBezTo>
                        <a:cubicBezTo>
                          <a:pt x="23" y="79"/>
                          <a:pt x="23" y="79"/>
                          <a:pt x="23" y="79"/>
                        </a:cubicBezTo>
                        <a:cubicBezTo>
                          <a:pt x="31" y="94"/>
                          <a:pt x="31" y="94"/>
                          <a:pt x="31" y="94"/>
                        </a:cubicBezTo>
                        <a:cubicBezTo>
                          <a:pt x="31" y="94"/>
                          <a:pt x="44" y="75"/>
                          <a:pt x="51" y="78"/>
                        </a:cubicBezTo>
                        <a:cubicBezTo>
                          <a:pt x="57" y="80"/>
                          <a:pt x="76" y="96"/>
                          <a:pt x="79" y="98"/>
                        </a:cubicBezTo>
                        <a:cubicBezTo>
                          <a:pt x="61" y="130"/>
                          <a:pt x="80" y="140"/>
                          <a:pt x="82" y="135"/>
                        </a:cubicBezTo>
                        <a:cubicBezTo>
                          <a:pt x="79" y="173"/>
                          <a:pt x="54" y="174"/>
                          <a:pt x="54" y="174"/>
                        </a:cubicBezTo>
                        <a:cubicBezTo>
                          <a:pt x="32" y="179"/>
                          <a:pt x="32" y="179"/>
                          <a:pt x="32" y="179"/>
                        </a:cubicBezTo>
                        <a:cubicBezTo>
                          <a:pt x="46" y="185"/>
                          <a:pt x="46" y="185"/>
                          <a:pt x="46" y="185"/>
                        </a:cubicBezTo>
                        <a:cubicBezTo>
                          <a:pt x="46" y="185"/>
                          <a:pt x="43" y="223"/>
                          <a:pt x="43" y="235"/>
                        </a:cubicBezTo>
                        <a:cubicBezTo>
                          <a:pt x="43" y="247"/>
                          <a:pt x="63" y="238"/>
                          <a:pt x="63" y="238"/>
                        </a:cubicBezTo>
                        <a:cubicBezTo>
                          <a:pt x="64" y="247"/>
                          <a:pt x="64" y="247"/>
                          <a:pt x="64" y="247"/>
                        </a:cubicBezTo>
                        <a:cubicBezTo>
                          <a:pt x="43" y="302"/>
                          <a:pt x="43" y="302"/>
                          <a:pt x="43" y="302"/>
                        </a:cubicBezTo>
                        <a:cubicBezTo>
                          <a:pt x="43" y="302"/>
                          <a:pt x="50" y="306"/>
                          <a:pt x="46" y="306"/>
                        </a:cubicBezTo>
                        <a:cubicBezTo>
                          <a:pt x="34" y="347"/>
                          <a:pt x="16" y="350"/>
                          <a:pt x="16" y="350"/>
                        </a:cubicBezTo>
                        <a:cubicBezTo>
                          <a:pt x="15" y="381"/>
                          <a:pt x="15" y="381"/>
                          <a:pt x="15" y="381"/>
                        </a:cubicBezTo>
                        <a:cubicBezTo>
                          <a:pt x="11" y="386"/>
                          <a:pt x="11" y="386"/>
                          <a:pt x="11" y="386"/>
                        </a:cubicBezTo>
                        <a:cubicBezTo>
                          <a:pt x="16" y="395"/>
                          <a:pt x="16" y="395"/>
                          <a:pt x="16" y="395"/>
                        </a:cubicBezTo>
                        <a:cubicBezTo>
                          <a:pt x="16" y="395"/>
                          <a:pt x="7" y="403"/>
                          <a:pt x="2" y="406"/>
                        </a:cubicBezTo>
                        <a:cubicBezTo>
                          <a:pt x="1" y="406"/>
                          <a:pt x="1" y="406"/>
                          <a:pt x="0" y="406"/>
                        </a:cubicBezTo>
                        <a:cubicBezTo>
                          <a:pt x="4" y="417"/>
                          <a:pt x="4" y="417"/>
                          <a:pt x="4" y="417"/>
                        </a:cubicBezTo>
                        <a:cubicBezTo>
                          <a:pt x="4" y="417"/>
                          <a:pt x="52" y="414"/>
                          <a:pt x="43" y="471"/>
                        </a:cubicBezTo>
                        <a:cubicBezTo>
                          <a:pt x="45" y="477"/>
                          <a:pt x="61" y="476"/>
                          <a:pt x="66" y="496"/>
                        </a:cubicBezTo>
                        <a:cubicBezTo>
                          <a:pt x="76" y="498"/>
                          <a:pt x="87" y="500"/>
                          <a:pt x="90" y="499"/>
                        </a:cubicBezTo>
                        <a:cubicBezTo>
                          <a:pt x="92" y="526"/>
                          <a:pt x="116" y="512"/>
                          <a:pt x="113" y="510"/>
                        </a:cubicBezTo>
                        <a:cubicBezTo>
                          <a:pt x="153" y="521"/>
                          <a:pt x="143" y="491"/>
                          <a:pt x="143" y="491"/>
                        </a:cubicBezTo>
                        <a:cubicBezTo>
                          <a:pt x="152" y="503"/>
                          <a:pt x="152" y="503"/>
                          <a:pt x="152" y="503"/>
                        </a:cubicBezTo>
                        <a:cubicBezTo>
                          <a:pt x="152" y="503"/>
                          <a:pt x="152" y="503"/>
                          <a:pt x="161" y="493"/>
                        </a:cubicBezTo>
                        <a:cubicBezTo>
                          <a:pt x="158" y="468"/>
                          <a:pt x="174" y="468"/>
                          <a:pt x="174" y="463"/>
                        </a:cubicBezTo>
                        <a:cubicBezTo>
                          <a:pt x="154" y="435"/>
                          <a:pt x="165" y="419"/>
                          <a:pt x="165" y="419"/>
                        </a:cubicBezTo>
                        <a:cubicBezTo>
                          <a:pt x="165" y="419"/>
                          <a:pt x="159" y="406"/>
                          <a:pt x="167" y="386"/>
                        </a:cubicBezTo>
                        <a:cubicBezTo>
                          <a:pt x="166" y="363"/>
                          <a:pt x="176" y="349"/>
                          <a:pt x="176" y="349"/>
                        </a:cubicBezTo>
                        <a:cubicBezTo>
                          <a:pt x="176" y="336"/>
                          <a:pt x="176" y="336"/>
                          <a:pt x="176" y="336"/>
                        </a:cubicBezTo>
                        <a:cubicBezTo>
                          <a:pt x="144" y="322"/>
                          <a:pt x="179" y="281"/>
                          <a:pt x="185" y="262"/>
                        </a:cubicBezTo>
                        <a:cubicBezTo>
                          <a:pt x="180" y="238"/>
                          <a:pt x="199" y="232"/>
                          <a:pt x="199" y="229"/>
                        </a:cubicBezTo>
                        <a:cubicBezTo>
                          <a:pt x="191" y="200"/>
                          <a:pt x="207" y="183"/>
                          <a:pt x="209" y="177"/>
                        </a:cubicBezTo>
                        <a:cubicBezTo>
                          <a:pt x="200" y="156"/>
                          <a:pt x="215" y="141"/>
                          <a:pt x="218" y="138"/>
                        </a:cubicBezTo>
                        <a:cubicBezTo>
                          <a:pt x="247" y="113"/>
                          <a:pt x="245" y="104"/>
                          <a:pt x="245" y="104"/>
                        </a:cubicBezTo>
                        <a:cubicBezTo>
                          <a:pt x="251" y="104"/>
                          <a:pt x="261" y="93"/>
                          <a:pt x="261" y="93"/>
                        </a:cubicBezTo>
                        <a:cubicBezTo>
                          <a:pt x="270" y="94"/>
                          <a:pt x="279" y="58"/>
                          <a:pt x="279" y="58"/>
                        </a:cubicBezTo>
                        <a:cubicBezTo>
                          <a:pt x="294" y="35"/>
                          <a:pt x="294" y="35"/>
                          <a:pt x="294" y="35"/>
                        </a:cubicBezTo>
                        <a:lnTo>
                          <a:pt x="271" y="35"/>
                        </a:ln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51" name="Franche-Comté" descr="© INSCALE GmbH, 05.05.2010&#10;http://www.presentationload.com/">
                    <a:extLst>
                      <a:ext uri="{FF2B5EF4-FFF2-40B4-BE49-F238E27FC236}">
                        <a16:creationId xmlns:a16="http://schemas.microsoft.com/office/drawing/2014/main" id="{26ABE23D-2225-4A1A-AEAE-3509328F4535}"/>
                      </a:ext>
                    </a:extLst>
                  </p:cNvPr>
                  <p:cNvSpPr>
                    <a:spLocks/>
                  </p:cNvSpPr>
                  <p:nvPr/>
                </p:nvSpPr>
                <p:spPr bwMode="gray">
                  <a:xfrm>
                    <a:off x="2452" y="1199"/>
                    <a:ext cx="435" cy="623"/>
                  </a:xfrm>
                  <a:custGeom>
                    <a:avLst/>
                    <a:gdLst/>
                    <a:ahLst/>
                    <a:cxnLst>
                      <a:cxn ang="0">
                        <a:pos x="40" y="136"/>
                      </a:cxn>
                      <a:cxn ang="0">
                        <a:pos x="17" y="186"/>
                      </a:cxn>
                      <a:cxn ang="0">
                        <a:pos x="30" y="212"/>
                      </a:cxn>
                      <a:cxn ang="0">
                        <a:pos x="46" y="228"/>
                      </a:cxn>
                      <a:cxn ang="0">
                        <a:pos x="13" y="312"/>
                      </a:cxn>
                      <a:cxn ang="0">
                        <a:pos x="12" y="326"/>
                      </a:cxn>
                      <a:cxn ang="0">
                        <a:pos x="14" y="353"/>
                      </a:cxn>
                      <a:cxn ang="0">
                        <a:pos x="46" y="380"/>
                      </a:cxn>
                      <a:cxn ang="0">
                        <a:pos x="25" y="402"/>
                      </a:cxn>
                      <a:cxn ang="0">
                        <a:pos x="36" y="418"/>
                      </a:cxn>
                      <a:cxn ang="0">
                        <a:pos x="37" y="465"/>
                      </a:cxn>
                      <a:cxn ang="0">
                        <a:pos x="40" y="498"/>
                      </a:cxn>
                      <a:cxn ang="0">
                        <a:pos x="18" y="524"/>
                      </a:cxn>
                      <a:cxn ang="0">
                        <a:pos x="32" y="542"/>
                      </a:cxn>
                      <a:cxn ang="0">
                        <a:pos x="53" y="566"/>
                      </a:cxn>
                      <a:cxn ang="0">
                        <a:pos x="109" y="548"/>
                      </a:cxn>
                      <a:cxn ang="0">
                        <a:pos x="145" y="562"/>
                      </a:cxn>
                      <a:cxn ang="0">
                        <a:pos x="200" y="497"/>
                      </a:cxn>
                      <a:cxn ang="0">
                        <a:pos x="201" y="425"/>
                      </a:cxn>
                      <a:cxn ang="0">
                        <a:pos x="257" y="358"/>
                      </a:cxn>
                      <a:cxn ang="0">
                        <a:pos x="272" y="305"/>
                      </a:cxn>
                      <a:cxn ang="0">
                        <a:pos x="312" y="288"/>
                      </a:cxn>
                      <a:cxn ang="0">
                        <a:pos x="370" y="218"/>
                      </a:cxn>
                      <a:cxn ang="0">
                        <a:pos x="373" y="202"/>
                      </a:cxn>
                      <a:cxn ang="0">
                        <a:pos x="386" y="180"/>
                      </a:cxn>
                      <a:cxn ang="0">
                        <a:pos x="364" y="161"/>
                      </a:cxn>
                      <a:cxn ang="0">
                        <a:pos x="378" y="139"/>
                      </a:cxn>
                      <a:cxn ang="0">
                        <a:pos x="373" y="118"/>
                      </a:cxn>
                      <a:cxn ang="0">
                        <a:pos x="330" y="53"/>
                      </a:cxn>
                      <a:cxn ang="0">
                        <a:pos x="285" y="32"/>
                      </a:cxn>
                      <a:cxn ang="0">
                        <a:pos x="250" y="37"/>
                      </a:cxn>
                      <a:cxn ang="0">
                        <a:pos x="189" y="26"/>
                      </a:cxn>
                      <a:cxn ang="0">
                        <a:pos x="177" y="16"/>
                      </a:cxn>
                      <a:cxn ang="0">
                        <a:pos x="153" y="6"/>
                      </a:cxn>
                      <a:cxn ang="0">
                        <a:pos x="134" y="26"/>
                      </a:cxn>
                      <a:cxn ang="0">
                        <a:pos x="128" y="16"/>
                      </a:cxn>
                      <a:cxn ang="0">
                        <a:pos x="124" y="36"/>
                      </a:cxn>
                      <a:cxn ang="0">
                        <a:pos x="113" y="56"/>
                      </a:cxn>
                      <a:cxn ang="0">
                        <a:pos x="93" y="69"/>
                      </a:cxn>
                      <a:cxn ang="0">
                        <a:pos x="80" y="78"/>
                      </a:cxn>
                      <a:cxn ang="0">
                        <a:pos x="88" y="109"/>
                      </a:cxn>
                      <a:cxn ang="0">
                        <a:pos x="57" y="106"/>
                      </a:cxn>
                      <a:cxn ang="0">
                        <a:pos x="26" y="112"/>
                      </a:cxn>
                      <a:cxn ang="0">
                        <a:pos x="24" y="140"/>
                      </a:cxn>
                    </a:cxnLst>
                    <a:rect l="0" t="0" r="r" b="b"/>
                    <a:pathLst>
                      <a:path w="403" h="577">
                        <a:moveTo>
                          <a:pt x="32" y="132"/>
                        </a:moveTo>
                        <a:cubicBezTo>
                          <a:pt x="40" y="136"/>
                          <a:pt x="40" y="136"/>
                          <a:pt x="40" y="136"/>
                        </a:cubicBezTo>
                        <a:cubicBezTo>
                          <a:pt x="40" y="136"/>
                          <a:pt x="45" y="176"/>
                          <a:pt x="29" y="176"/>
                        </a:cubicBezTo>
                        <a:cubicBezTo>
                          <a:pt x="13" y="176"/>
                          <a:pt x="25" y="186"/>
                          <a:pt x="17" y="186"/>
                        </a:cubicBezTo>
                        <a:cubicBezTo>
                          <a:pt x="9" y="186"/>
                          <a:pt x="30" y="190"/>
                          <a:pt x="30" y="190"/>
                        </a:cubicBezTo>
                        <a:cubicBezTo>
                          <a:pt x="30" y="212"/>
                          <a:pt x="30" y="212"/>
                          <a:pt x="30" y="212"/>
                        </a:cubicBezTo>
                        <a:cubicBezTo>
                          <a:pt x="49" y="208"/>
                          <a:pt x="49" y="208"/>
                          <a:pt x="49" y="208"/>
                        </a:cubicBezTo>
                        <a:cubicBezTo>
                          <a:pt x="46" y="228"/>
                          <a:pt x="46" y="228"/>
                          <a:pt x="46" y="228"/>
                        </a:cubicBezTo>
                        <a:cubicBezTo>
                          <a:pt x="54" y="236"/>
                          <a:pt x="54" y="236"/>
                          <a:pt x="54" y="236"/>
                        </a:cubicBezTo>
                        <a:cubicBezTo>
                          <a:pt x="54" y="236"/>
                          <a:pt x="34" y="301"/>
                          <a:pt x="13" y="312"/>
                        </a:cubicBezTo>
                        <a:cubicBezTo>
                          <a:pt x="10" y="316"/>
                          <a:pt x="5" y="325"/>
                          <a:pt x="5" y="325"/>
                        </a:cubicBezTo>
                        <a:cubicBezTo>
                          <a:pt x="12" y="326"/>
                          <a:pt x="12" y="326"/>
                          <a:pt x="12" y="326"/>
                        </a:cubicBezTo>
                        <a:cubicBezTo>
                          <a:pt x="12" y="326"/>
                          <a:pt x="0" y="340"/>
                          <a:pt x="0" y="352"/>
                        </a:cubicBezTo>
                        <a:cubicBezTo>
                          <a:pt x="14" y="353"/>
                          <a:pt x="14" y="353"/>
                          <a:pt x="14" y="353"/>
                        </a:cubicBezTo>
                        <a:cubicBezTo>
                          <a:pt x="18" y="364"/>
                          <a:pt x="18" y="364"/>
                          <a:pt x="18" y="364"/>
                        </a:cubicBezTo>
                        <a:cubicBezTo>
                          <a:pt x="18" y="364"/>
                          <a:pt x="30" y="368"/>
                          <a:pt x="46" y="380"/>
                        </a:cubicBezTo>
                        <a:cubicBezTo>
                          <a:pt x="13" y="392"/>
                          <a:pt x="13" y="392"/>
                          <a:pt x="13" y="392"/>
                        </a:cubicBezTo>
                        <a:cubicBezTo>
                          <a:pt x="25" y="402"/>
                          <a:pt x="25" y="402"/>
                          <a:pt x="25" y="402"/>
                        </a:cubicBezTo>
                        <a:cubicBezTo>
                          <a:pt x="25" y="422"/>
                          <a:pt x="25" y="422"/>
                          <a:pt x="25" y="422"/>
                        </a:cubicBezTo>
                        <a:cubicBezTo>
                          <a:pt x="36" y="418"/>
                          <a:pt x="36" y="418"/>
                          <a:pt x="36" y="418"/>
                        </a:cubicBezTo>
                        <a:cubicBezTo>
                          <a:pt x="36" y="418"/>
                          <a:pt x="28" y="436"/>
                          <a:pt x="45" y="445"/>
                        </a:cubicBezTo>
                        <a:cubicBezTo>
                          <a:pt x="40" y="445"/>
                          <a:pt x="37" y="465"/>
                          <a:pt x="37" y="465"/>
                        </a:cubicBezTo>
                        <a:cubicBezTo>
                          <a:pt x="37" y="465"/>
                          <a:pt x="16" y="484"/>
                          <a:pt x="41" y="490"/>
                        </a:cubicBezTo>
                        <a:cubicBezTo>
                          <a:pt x="44" y="492"/>
                          <a:pt x="40" y="498"/>
                          <a:pt x="40" y="498"/>
                        </a:cubicBezTo>
                        <a:cubicBezTo>
                          <a:pt x="21" y="504"/>
                          <a:pt x="21" y="504"/>
                          <a:pt x="21" y="504"/>
                        </a:cubicBezTo>
                        <a:cubicBezTo>
                          <a:pt x="18" y="524"/>
                          <a:pt x="18" y="524"/>
                          <a:pt x="18" y="524"/>
                        </a:cubicBezTo>
                        <a:cubicBezTo>
                          <a:pt x="32" y="529"/>
                          <a:pt x="32" y="529"/>
                          <a:pt x="32" y="529"/>
                        </a:cubicBezTo>
                        <a:cubicBezTo>
                          <a:pt x="32" y="542"/>
                          <a:pt x="32" y="542"/>
                          <a:pt x="32" y="542"/>
                        </a:cubicBezTo>
                        <a:cubicBezTo>
                          <a:pt x="56" y="553"/>
                          <a:pt x="56" y="553"/>
                          <a:pt x="56" y="553"/>
                        </a:cubicBezTo>
                        <a:cubicBezTo>
                          <a:pt x="53" y="566"/>
                          <a:pt x="53" y="566"/>
                          <a:pt x="53" y="566"/>
                        </a:cubicBezTo>
                        <a:cubicBezTo>
                          <a:pt x="53" y="566"/>
                          <a:pt x="76" y="577"/>
                          <a:pt x="93" y="538"/>
                        </a:cubicBezTo>
                        <a:cubicBezTo>
                          <a:pt x="89" y="545"/>
                          <a:pt x="109" y="548"/>
                          <a:pt x="109" y="548"/>
                        </a:cubicBezTo>
                        <a:cubicBezTo>
                          <a:pt x="113" y="564"/>
                          <a:pt x="113" y="564"/>
                          <a:pt x="113" y="564"/>
                        </a:cubicBezTo>
                        <a:cubicBezTo>
                          <a:pt x="145" y="562"/>
                          <a:pt x="145" y="562"/>
                          <a:pt x="145" y="562"/>
                        </a:cubicBezTo>
                        <a:cubicBezTo>
                          <a:pt x="202" y="503"/>
                          <a:pt x="202" y="503"/>
                          <a:pt x="202" y="503"/>
                        </a:cubicBezTo>
                        <a:cubicBezTo>
                          <a:pt x="201" y="500"/>
                          <a:pt x="200" y="497"/>
                          <a:pt x="200" y="497"/>
                        </a:cubicBezTo>
                        <a:cubicBezTo>
                          <a:pt x="166" y="487"/>
                          <a:pt x="201" y="445"/>
                          <a:pt x="201" y="445"/>
                        </a:cubicBezTo>
                        <a:cubicBezTo>
                          <a:pt x="188" y="434"/>
                          <a:pt x="201" y="425"/>
                          <a:pt x="201" y="425"/>
                        </a:cubicBezTo>
                        <a:cubicBezTo>
                          <a:pt x="201" y="425"/>
                          <a:pt x="253" y="379"/>
                          <a:pt x="253" y="376"/>
                        </a:cubicBezTo>
                        <a:cubicBezTo>
                          <a:pt x="261" y="375"/>
                          <a:pt x="271" y="367"/>
                          <a:pt x="257" y="358"/>
                        </a:cubicBezTo>
                        <a:cubicBezTo>
                          <a:pt x="276" y="339"/>
                          <a:pt x="259" y="323"/>
                          <a:pt x="259" y="323"/>
                        </a:cubicBezTo>
                        <a:cubicBezTo>
                          <a:pt x="272" y="305"/>
                          <a:pt x="272" y="305"/>
                          <a:pt x="272" y="305"/>
                        </a:cubicBezTo>
                        <a:cubicBezTo>
                          <a:pt x="302" y="298"/>
                          <a:pt x="302" y="298"/>
                          <a:pt x="302" y="298"/>
                        </a:cubicBezTo>
                        <a:cubicBezTo>
                          <a:pt x="312" y="288"/>
                          <a:pt x="312" y="288"/>
                          <a:pt x="312" y="288"/>
                        </a:cubicBezTo>
                        <a:cubicBezTo>
                          <a:pt x="315" y="277"/>
                          <a:pt x="315" y="277"/>
                          <a:pt x="315" y="277"/>
                        </a:cubicBezTo>
                        <a:cubicBezTo>
                          <a:pt x="315" y="277"/>
                          <a:pt x="368" y="222"/>
                          <a:pt x="370" y="218"/>
                        </a:cubicBezTo>
                        <a:cubicBezTo>
                          <a:pt x="365" y="210"/>
                          <a:pt x="376" y="203"/>
                          <a:pt x="375" y="202"/>
                        </a:cubicBezTo>
                        <a:cubicBezTo>
                          <a:pt x="374" y="202"/>
                          <a:pt x="374" y="202"/>
                          <a:pt x="373" y="202"/>
                        </a:cubicBezTo>
                        <a:cubicBezTo>
                          <a:pt x="374" y="202"/>
                          <a:pt x="374" y="202"/>
                          <a:pt x="375" y="202"/>
                        </a:cubicBezTo>
                        <a:cubicBezTo>
                          <a:pt x="403" y="203"/>
                          <a:pt x="386" y="180"/>
                          <a:pt x="386" y="180"/>
                        </a:cubicBezTo>
                        <a:cubicBezTo>
                          <a:pt x="354" y="184"/>
                          <a:pt x="354" y="184"/>
                          <a:pt x="354" y="184"/>
                        </a:cubicBezTo>
                        <a:cubicBezTo>
                          <a:pt x="364" y="161"/>
                          <a:pt x="364" y="161"/>
                          <a:pt x="364" y="161"/>
                        </a:cubicBezTo>
                        <a:cubicBezTo>
                          <a:pt x="380" y="152"/>
                          <a:pt x="380" y="152"/>
                          <a:pt x="380" y="152"/>
                        </a:cubicBezTo>
                        <a:cubicBezTo>
                          <a:pt x="378" y="139"/>
                          <a:pt x="378" y="139"/>
                          <a:pt x="378" y="139"/>
                        </a:cubicBezTo>
                        <a:cubicBezTo>
                          <a:pt x="378" y="139"/>
                          <a:pt x="387" y="141"/>
                          <a:pt x="396" y="143"/>
                        </a:cubicBezTo>
                        <a:cubicBezTo>
                          <a:pt x="391" y="123"/>
                          <a:pt x="375" y="124"/>
                          <a:pt x="373" y="118"/>
                        </a:cubicBezTo>
                        <a:cubicBezTo>
                          <a:pt x="382" y="61"/>
                          <a:pt x="334" y="64"/>
                          <a:pt x="334" y="64"/>
                        </a:cubicBezTo>
                        <a:cubicBezTo>
                          <a:pt x="330" y="53"/>
                          <a:pt x="330" y="53"/>
                          <a:pt x="330" y="53"/>
                        </a:cubicBezTo>
                        <a:cubicBezTo>
                          <a:pt x="325" y="54"/>
                          <a:pt x="318" y="45"/>
                          <a:pt x="318" y="45"/>
                        </a:cubicBezTo>
                        <a:cubicBezTo>
                          <a:pt x="285" y="32"/>
                          <a:pt x="285" y="32"/>
                          <a:pt x="285" y="32"/>
                        </a:cubicBezTo>
                        <a:cubicBezTo>
                          <a:pt x="276" y="20"/>
                          <a:pt x="276" y="20"/>
                          <a:pt x="276" y="20"/>
                        </a:cubicBezTo>
                        <a:cubicBezTo>
                          <a:pt x="250" y="37"/>
                          <a:pt x="250" y="37"/>
                          <a:pt x="250" y="37"/>
                        </a:cubicBezTo>
                        <a:cubicBezTo>
                          <a:pt x="250" y="37"/>
                          <a:pt x="245" y="30"/>
                          <a:pt x="241" y="20"/>
                        </a:cubicBezTo>
                        <a:cubicBezTo>
                          <a:pt x="237" y="9"/>
                          <a:pt x="189" y="26"/>
                          <a:pt x="189" y="26"/>
                        </a:cubicBezTo>
                        <a:cubicBezTo>
                          <a:pt x="190" y="17"/>
                          <a:pt x="190" y="17"/>
                          <a:pt x="190" y="17"/>
                        </a:cubicBezTo>
                        <a:cubicBezTo>
                          <a:pt x="177" y="16"/>
                          <a:pt x="177" y="16"/>
                          <a:pt x="177" y="16"/>
                        </a:cubicBezTo>
                        <a:cubicBezTo>
                          <a:pt x="178" y="0"/>
                          <a:pt x="178" y="0"/>
                          <a:pt x="178" y="0"/>
                        </a:cubicBezTo>
                        <a:cubicBezTo>
                          <a:pt x="153" y="6"/>
                          <a:pt x="153" y="6"/>
                          <a:pt x="153" y="6"/>
                        </a:cubicBezTo>
                        <a:cubicBezTo>
                          <a:pt x="148" y="20"/>
                          <a:pt x="148" y="20"/>
                          <a:pt x="148" y="20"/>
                        </a:cubicBezTo>
                        <a:cubicBezTo>
                          <a:pt x="134" y="26"/>
                          <a:pt x="134" y="26"/>
                          <a:pt x="134" y="26"/>
                        </a:cubicBezTo>
                        <a:cubicBezTo>
                          <a:pt x="138" y="17"/>
                          <a:pt x="138" y="17"/>
                          <a:pt x="138" y="17"/>
                        </a:cubicBezTo>
                        <a:cubicBezTo>
                          <a:pt x="128" y="16"/>
                          <a:pt x="128" y="16"/>
                          <a:pt x="128" y="16"/>
                        </a:cubicBezTo>
                        <a:cubicBezTo>
                          <a:pt x="121" y="27"/>
                          <a:pt x="121" y="27"/>
                          <a:pt x="121" y="27"/>
                        </a:cubicBezTo>
                        <a:cubicBezTo>
                          <a:pt x="124" y="36"/>
                          <a:pt x="124" y="36"/>
                          <a:pt x="124" y="36"/>
                        </a:cubicBezTo>
                        <a:cubicBezTo>
                          <a:pt x="116" y="41"/>
                          <a:pt x="116" y="41"/>
                          <a:pt x="116" y="41"/>
                        </a:cubicBezTo>
                        <a:cubicBezTo>
                          <a:pt x="113" y="56"/>
                          <a:pt x="113" y="56"/>
                          <a:pt x="113" y="56"/>
                        </a:cubicBezTo>
                        <a:cubicBezTo>
                          <a:pt x="100" y="54"/>
                          <a:pt x="100" y="54"/>
                          <a:pt x="100" y="54"/>
                        </a:cubicBezTo>
                        <a:cubicBezTo>
                          <a:pt x="93" y="69"/>
                          <a:pt x="93" y="69"/>
                          <a:pt x="93" y="69"/>
                        </a:cubicBezTo>
                        <a:cubicBezTo>
                          <a:pt x="85" y="68"/>
                          <a:pt x="85" y="68"/>
                          <a:pt x="85" y="68"/>
                        </a:cubicBezTo>
                        <a:cubicBezTo>
                          <a:pt x="80" y="78"/>
                          <a:pt x="80" y="78"/>
                          <a:pt x="80" y="78"/>
                        </a:cubicBezTo>
                        <a:cubicBezTo>
                          <a:pt x="90" y="78"/>
                          <a:pt x="90" y="78"/>
                          <a:pt x="90" y="78"/>
                        </a:cubicBezTo>
                        <a:cubicBezTo>
                          <a:pt x="88" y="109"/>
                          <a:pt x="88" y="109"/>
                          <a:pt x="88" y="109"/>
                        </a:cubicBezTo>
                        <a:cubicBezTo>
                          <a:pt x="69" y="114"/>
                          <a:pt x="69" y="114"/>
                          <a:pt x="69" y="114"/>
                        </a:cubicBezTo>
                        <a:cubicBezTo>
                          <a:pt x="57" y="106"/>
                          <a:pt x="57" y="106"/>
                          <a:pt x="57" y="106"/>
                        </a:cubicBezTo>
                        <a:cubicBezTo>
                          <a:pt x="56" y="113"/>
                          <a:pt x="56" y="113"/>
                          <a:pt x="56" y="113"/>
                        </a:cubicBezTo>
                        <a:cubicBezTo>
                          <a:pt x="26" y="112"/>
                          <a:pt x="26" y="112"/>
                          <a:pt x="26" y="112"/>
                        </a:cubicBezTo>
                        <a:cubicBezTo>
                          <a:pt x="26" y="112"/>
                          <a:pt x="24" y="129"/>
                          <a:pt x="21" y="136"/>
                        </a:cubicBezTo>
                        <a:cubicBezTo>
                          <a:pt x="24" y="140"/>
                          <a:pt x="24" y="140"/>
                          <a:pt x="24" y="140"/>
                        </a:cubicBezTo>
                        <a:lnTo>
                          <a:pt x="32" y="132"/>
                        </a:ln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52" name="Bourgogne" descr="© INSCALE GmbH, 05.05.2010&#10;http://www.presentationload.com/">
                    <a:extLst>
                      <a:ext uri="{FF2B5EF4-FFF2-40B4-BE49-F238E27FC236}">
                        <a16:creationId xmlns:a16="http://schemas.microsoft.com/office/drawing/2014/main" id="{03C14776-7B40-4044-84F7-793051278E0D}"/>
                      </a:ext>
                    </a:extLst>
                  </p:cNvPr>
                  <p:cNvSpPr>
                    <a:spLocks/>
                  </p:cNvSpPr>
                  <p:nvPr/>
                </p:nvSpPr>
                <p:spPr bwMode="gray">
                  <a:xfrm>
                    <a:off x="1885" y="1086"/>
                    <a:ext cx="625" cy="772"/>
                  </a:xfrm>
                  <a:custGeom>
                    <a:avLst/>
                    <a:gdLst/>
                    <a:ahLst/>
                    <a:cxnLst>
                      <a:cxn ang="0">
                        <a:pos x="43" y="156"/>
                      </a:cxn>
                      <a:cxn ang="0">
                        <a:pos x="36" y="170"/>
                      </a:cxn>
                      <a:cxn ang="0">
                        <a:pos x="0" y="220"/>
                      </a:cxn>
                      <a:cxn ang="0">
                        <a:pos x="19" y="253"/>
                      </a:cxn>
                      <a:cxn ang="0">
                        <a:pos x="20" y="309"/>
                      </a:cxn>
                      <a:cxn ang="0">
                        <a:pos x="40" y="429"/>
                      </a:cxn>
                      <a:cxn ang="0">
                        <a:pos x="43" y="512"/>
                      </a:cxn>
                      <a:cxn ang="0">
                        <a:pos x="111" y="545"/>
                      </a:cxn>
                      <a:cxn ang="0">
                        <a:pos x="138" y="558"/>
                      </a:cxn>
                      <a:cxn ang="0">
                        <a:pos x="164" y="521"/>
                      </a:cxn>
                      <a:cxn ang="0">
                        <a:pos x="219" y="597"/>
                      </a:cxn>
                      <a:cxn ang="0">
                        <a:pos x="255" y="658"/>
                      </a:cxn>
                      <a:cxn ang="0">
                        <a:pos x="235" y="669"/>
                      </a:cxn>
                      <a:cxn ang="0">
                        <a:pos x="256" y="710"/>
                      </a:cxn>
                      <a:cxn ang="0">
                        <a:pos x="304" y="703"/>
                      </a:cxn>
                      <a:cxn ang="0">
                        <a:pos x="319" y="714"/>
                      </a:cxn>
                      <a:cxn ang="0">
                        <a:pos x="346" y="666"/>
                      </a:cxn>
                      <a:cxn ang="0">
                        <a:pos x="382" y="666"/>
                      </a:cxn>
                      <a:cxn ang="0">
                        <a:pos x="411" y="678"/>
                      </a:cxn>
                      <a:cxn ang="0">
                        <a:pos x="431" y="704"/>
                      </a:cxn>
                      <a:cxn ang="0">
                        <a:pos x="520" y="594"/>
                      </a:cxn>
                      <a:cxn ang="0">
                        <a:pos x="547" y="608"/>
                      </a:cxn>
                      <a:cxn ang="0">
                        <a:pos x="563" y="569"/>
                      </a:cxn>
                      <a:cxn ang="0">
                        <a:pos x="551" y="526"/>
                      </a:cxn>
                      <a:cxn ang="0">
                        <a:pos x="572" y="484"/>
                      </a:cxn>
                      <a:cxn ang="0">
                        <a:pos x="526" y="456"/>
                      </a:cxn>
                      <a:cxn ang="0">
                        <a:pos x="539" y="416"/>
                      </a:cxn>
                      <a:cxn ang="0">
                        <a:pos x="575" y="312"/>
                      </a:cxn>
                      <a:cxn ang="0">
                        <a:pos x="543" y="290"/>
                      </a:cxn>
                      <a:cxn ang="0">
                        <a:pos x="558" y="236"/>
                      </a:cxn>
                      <a:cxn ang="0">
                        <a:pos x="544" y="244"/>
                      </a:cxn>
                      <a:cxn ang="0">
                        <a:pos x="518" y="240"/>
                      </a:cxn>
                      <a:cxn ang="0">
                        <a:pos x="488" y="226"/>
                      </a:cxn>
                      <a:cxn ang="0">
                        <a:pos x="455" y="194"/>
                      </a:cxn>
                      <a:cxn ang="0">
                        <a:pos x="456" y="173"/>
                      </a:cxn>
                      <a:cxn ang="0">
                        <a:pos x="426" y="146"/>
                      </a:cxn>
                      <a:cxn ang="0">
                        <a:pos x="414" y="133"/>
                      </a:cxn>
                      <a:cxn ang="0">
                        <a:pos x="311" y="136"/>
                      </a:cxn>
                      <a:cxn ang="0">
                        <a:pos x="296" y="132"/>
                      </a:cxn>
                      <a:cxn ang="0">
                        <a:pos x="283" y="137"/>
                      </a:cxn>
                      <a:cxn ang="0">
                        <a:pos x="256" y="146"/>
                      </a:cxn>
                      <a:cxn ang="0">
                        <a:pos x="208" y="109"/>
                      </a:cxn>
                      <a:cxn ang="0">
                        <a:pos x="182" y="69"/>
                      </a:cxn>
                      <a:cxn ang="0">
                        <a:pos x="167" y="66"/>
                      </a:cxn>
                      <a:cxn ang="0">
                        <a:pos x="155" y="33"/>
                      </a:cxn>
                      <a:cxn ang="0">
                        <a:pos x="118" y="0"/>
                      </a:cxn>
                      <a:cxn ang="0">
                        <a:pos x="36" y="28"/>
                      </a:cxn>
                      <a:cxn ang="0">
                        <a:pos x="39" y="84"/>
                      </a:cxn>
                    </a:cxnLst>
                    <a:rect l="0" t="0" r="r" b="b"/>
                    <a:pathLst>
                      <a:path w="580" h="715">
                        <a:moveTo>
                          <a:pt x="58" y="114"/>
                        </a:moveTo>
                        <a:cubicBezTo>
                          <a:pt x="59" y="133"/>
                          <a:pt x="59" y="133"/>
                          <a:pt x="59" y="133"/>
                        </a:cubicBezTo>
                        <a:cubicBezTo>
                          <a:pt x="43" y="156"/>
                          <a:pt x="43" y="156"/>
                          <a:pt x="43" y="156"/>
                        </a:cubicBezTo>
                        <a:cubicBezTo>
                          <a:pt x="34" y="157"/>
                          <a:pt x="34" y="157"/>
                          <a:pt x="34" y="157"/>
                        </a:cubicBezTo>
                        <a:cubicBezTo>
                          <a:pt x="31" y="170"/>
                          <a:pt x="31" y="170"/>
                          <a:pt x="31" y="170"/>
                        </a:cubicBezTo>
                        <a:cubicBezTo>
                          <a:pt x="36" y="170"/>
                          <a:pt x="36" y="170"/>
                          <a:pt x="36" y="170"/>
                        </a:cubicBezTo>
                        <a:cubicBezTo>
                          <a:pt x="36" y="194"/>
                          <a:pt x="36" y="194"/>
                          <a:pt x="36" y="194"/>
                        </a:cubicBezTo>
                        <a:cubicBezTo>
                          <a:pt x="2" y="204"/>
                          <a:pt x="2" y="204"/>
                          <a:pt x="2" y="204"/>
                        </a:cubicBezTo>
                        <a:cubicBezTo>
                          <a:pt x="0" y="220"/>
                          <a:pt x="0" y="220"/>
                          <a:pt x="0" y="220"/>
                        </a:cubicBezTo>
                        <a:cubicBezTo>
                          <a:pt x="10" y="218"/>
                          <a:pt x="10" y="218"/>
                          <a:pt x="10" y="218"/>
                        </a:cubicBezTo>
                        <a:cubicBezTo>
                          <a:pt x="23" y="240"/>
                          <a:pt x="23" y="240"/>
                          <a:pt x="23" y="240"/>
                        </a:cubicBezTo>
                        <a:cubicBezTo>
                          <a:pt x="19" y="253"/>
                          <a:pt x="19" y="253"/>
                          <a:pt x="19" y="253"/>
                        </a:cubicBezTo>
                        <a:cubicBezTo>
                          <a:pt x="27" y="265"/>
                          <a:pt x="27" y="265"/>
                          <a:pt x="27" y="265"/>
                        </a:cubicBezTo>
                        <a:cubicBezTo>
                          <a:pt x="4" y="270"/>
                          <a:pt x="4" y="270"/>
                          <a:pt x="4" y="270"/>
                        </a:cubicBezTo>
                        <a:cubicBezTo>
                          <a:pt x="20" y="309"/>
                          <a:pt x="20" y="309"/>
                          <a:pt x="20" y="309"/>
                        </a:cubicBezTo>
                        <a:cubicBezTo>
                          <a:pt x="6" y="344"/>
                          <a:pt x="6" y="344"/>
                          <a:pt x="6" y="344"/>
                        </a:cubicBezTo>
                        <a:cubicBezTo>
                          <a:pt x="31" y="365"/>
                          <a:pt x="31" y="365"/>
                          <a:pt x="31" y="365"/>
                        </a:cubicBezTo>
                        <a:cubicBezTo>
                          <a:pt x="31" y="365"/>
                          <a:pt x="40" y="385"/>
                          <a:pt x="40" y="429"/>
                        </a:cubicBezTo>
                        <a:cubicBezTo>
                          <a:pt x="50" y="437"/>
                          <a:pt x="50" y="437"/>
                          <a:pt x="50" y="437"/>
                        </a:cubicBezTo>
                        <a:cubicBezTo>
                          <a:pt x="50" y="437"/>
                          <a:pt x="51" y="469"/>
                          <a:pt x="46" y="474"/>
                        </a:cubicBezTo>
                        <a:cubicBezTo>
                          <a:pt x="40" y="480"/>
                          <a:pt x="56" y="497"/>
                          <a:pt x="43" y="512"/>
                        </a:cubicBezTo>
                        <a:cubicBezTo>
                          <a:pt x="47" y="514"/>
                          <a:pt x="67" y="546"/>
                          <a:pt x="76" y="548"/>
                        </a:cubicBezTo>
                        <a:cubicBezTo>
                          <a:pt x="86" y="549"/>
                          <a:pt x="91" y="538"/>
                          <a:pt x="95" y="538"/>
                        </a:cubicBezTo>
                        <a:cubicBezTo>
                          <a:pt x="99" y="538"/>
                          <a:pt x="107" y="545"/>
                          <a:pt x="111" y="545"/>
                        </a:cubicBezTo>
                        <a:cubicBezTo>
                          <a:pt x="115" y="545"/>
                          <a:pt x="126" y="537"/>
                          <a:pt x="126" y="537"/>
                        </a:cubicBezTo>
                        <a:cubicBezTo>
                          <a:pt x="138" y="544"/>
                          <a:pt x="138" y="544"/>
                          <a:pt x="138" y="544"/>
                        </a:cubicBezTo>
                        <a:cubicBezTo>
                          <a:pt x="138" y="558"/>
                          <a:pt x="138" y="558"/>
                          <a:pt x="138" y="558"/>
                        </a:cubicBezTo>
                        <a:cubicBezTo>
                          <a:pt x="150" y="544"/>
                          <a:pt x="150" y="544"/>
                          <a:pt x="150" y="544"/>
                        </a:cubicBezTo>
                        <a:cubicBezTo>
                          <a:pt x="159" y="545"/>
                          <a:pt x="159" y="545"/>
                          <a:pt x="159" y="545"/>
                        </a:cubicBezTo>
                        <a:cubicBezTo>
                          <a:pt x="159" y="545"/>
                          <a:pt x="160" y="517"/>
                          <a:pt x="164" y="521"/>
                        </a:cubicBezTo>
                        <a:cubicBezTo>
                          <a:pt x="168" y="525"/>
                          <a:pt x="198" y="576"/>
                          <a:pt x="198" y="576"/>
                        </a:cubicBezTo>
                        <a:cubicBezTo>
                          <a:pt x="202" y="594"/>
                          <a:pt x="202" y="594"/>
                          <a:pt x="202" y="594"/>
                        </a:cubicBezTo>
                        <a:cubicBezTo>
                          <a:pt x="219" y="597"/>
                          <a:pt x="219" y="597"/>
                          <a:pt x="219" y="597"/>
                        </a:cubicBezTo>
                        <a:cubicBezTo>
                          <a:pt x="230" y="610"/>
                          <a:pt x="230" y="610"/>
                          <a:pt x="230" y="610"/>
                        </a:cubicBezTo>
                        <a:cubicBezTo>
                          <a:pt x="230" y="610"/>
                          <a:pt x="258" y="600"/>
                          <a:pt x="256" y="614"/>
                        </a:cubicBezTo>
                        <a:cubicBezTo>
                          <a:pt x="255" y="629"/>
                          <a:pt x="255" y="658"/>
                          <a:pt x="255" y="658"/>
                        </a:cubicBezTo>
                        <a:cubicBezTo>
                          <a:pt x="248" y="658"/>
                          <a:pt x="248" y="658"/>
                          <a:pt x="248" y="658"/>
                        </a:cubicBezTo>
                        <a:cubicBezTo>
                          <a:pt x="243" y="672"/>
                          <a:pt x="243" y="672"/>
                          <a:pt x="243" y="672"/>
                        </a:cubicBezTo>
                        <a:cubicBezTo>
                          <a:pt x="235" y="669"/>
                          <a:pt x="235" y="669"/>
                          <a:pt x="235" y="669"/>
                        </a:cubicBezTo>
                        <a:cubicBezTo>
                          <a:pt x="236" y="697"/>
                          <a:pt x="236" y="697"/>
                          <a:pt x="236" y="697"/>
                        </a:cubicBezTo>
                        <a:cubicBezTo>
                          <a:pt x="250" y="697"/>
                          <a:pt x="250" y="697"/>
                          <a:pt x="250" y="697"/>
                        </a:cubicBezTo>
                        <a:cubicBezTo>
                          <a:pt x="256" y="710"/>
                          <a:pt x="256" y="710"/>
                          <a:pt x="256" y="710"/>
                        </a:cubicBezTo>
                        <a:cubicBezTo>
                          <a:pt x="280" y="704"/>
                          <a:pt x="280" y="704"/>
                          <a:pt x="280" y="704"/>
                        </a:cubicBezTo>
                        <a:cubicBezTo>
                          <a:pt x="280" y="704"/>
                          <a:pt x="280" y="705"/>
                          <a:pt x="295" y="706"/>
                        </a:cubicBezTo>
                        <a:cubicBezTo>
                          <a:pt x="305" y="707"/>
                          <a:pt x="305" y="705"/>
                          <a:pt x="304" y="703"/>
                        </a:cubicBezTo>
                        <a:cubicBezTo>
                          <a:pt x="303" y="702"/>
                          <a:pt x="303" y="701"/>
                          <a:pt x="303" y="701"/>
                        </a:cubicBezTo>
                        <a:cubicBezTo>
                          <a:pt x="303" y="701"/>
                          <a:pt x="304" y="702"/>
                          <a:pt x="304" y="703"/>
                        </a:cubicBezTo>
                        <a:cubicBezTo>
                          <a:pt x="307" y="707"/>
                          <a:pt x="314" y="715"/>
                          <a:pt x="319" y="714"/>
                        </a:cubicBezTo>
                        <a:cubicBezTo>
                          <a:pt x="326" y="713"/>
                          <a:pt x="320" y="706"/>
                          <a:pt x="326" y="706"/>
                        </a:cubicBezTo>
                        <a:cubicBezTo>
                          <a:pt x="331" y="706"/>
                          <a:pt x="342" y="705"/>
                          <a:pt x="342" y="705"/>
                        </a:cubicBezTo>
                        <a:cubicBezTo>
                          <a:pt x="346" y="666"/>
                          <a:pt x="346" y="666"/>
                          <a:pt x="346" y="666"/>
                        </a:cubicBezTo>
                        <a:cubicBezTo>
                          <a:pt x="358" y="665"/>
                          <a:pt x="358" y="665"/>
                          <a:pt x="358" y="665"/>
                        </a:cubicBezTo>
                        <a:cubicBezTo>
                          <a:pt x="367" y="678"/>
                          <a:pt x="367" y="678"/>
                          <a:pt x="367" y="678"/>
                        </a:cubicBezTo>
                        <a:cubicBezTo>
                          <a:pt x="382" y="666"/>
                          <a:pt x="382" y="666"/>
                          <a:pt x="382" y="666"/>
                        </a:cubicBezTo>
                        <a:cubicBezTo>
                          <a:pt x="382" y="666"/>
                          <a:pt x="382" y="676"/>
                          <a:pt x="387" y="676"/>
                        </a:cubicBezTo>
                        <a:cubicBezTo>
                          <a:pt x="392" y="676"/>
                          <a:pt x="391" y="660"/>
                          <a:pt x="402" y="664"/>
                        </a:cubicBezTo>
                        <a:cubicBezTo>
                          <a:pt x="412" y="668"/>
                          <a:pt x="411" y="678"/>
                          <a:pt x="411" y="678"/>
                        </a:cubicBezTo>
                        <a:cubicBezTo>
                          <a:pt x="419" y="686"/>
                          <a:pt x="419" y="686"/>
                          <a:pt x="419" y="686"/>
                        </a:cubicBezTo>
                        <a:cubicBezTo>
                          <a:pt x="420" y="702"/>
                          <a:pt x="420" y="702"/>
                          <a:pt x="420" y="702"/>
                        </a:cubicBezTo>
                        <a:cubicBezTo>
                          <a:pt x="431" y="704"/>
                          <a:pt x="431" y="704"/>
                          <a:pt x="431" y="704"/>
                        </a:cubicBezTo>
                        <a:cubicBezTo>
                          <a:pt x="459" y="596"/>
                          <a:pt x="459" y="596"/>
                          <a:pt x="459" y="596"/>
                        </a:cubicBezTo>
                        <a:cubicBezTo>
                          <a:pt x="459" y="596"/>
                          <a:pt x="476" y="602"/>
                          <a:pt x="490" y="602"/>
                        </a:cubicBezTo>
                        <a:cubicBezTo>
                          <a:pt x="503" y="602"/>
                          <a:pt x="518" y="589"/>
                          <a:pt x="520" y="594"/>
                        </a:cubicBezTo>
                        <a:cubicBezTo>
                          <a:pt x="523" y="600"/>
                          <a:pt x="524" y="612"/>
                          <a:pt x="528" y="612"/>
                        </a:cubicBezTo>
                        <a:cubicBezTo>
                          <a:pt x="530" y="612"/>
                          <a:pt x="538" y="613"/>
                          <a:pt x="546" y="614"/>
                        </a:cubicBezTo>
                        <a:cubicBezTo>
                          <a:pt x="547" y="608"/>
                          <a:pt x="547" y="608"/>
                          <a:pt x="547" y="608"/>
                        </a:cubicBezTo>
                        <a:cubicBezTo>
                          <a:pt x="566" y="602"/>
                          <a:pt x="566" y="602"/>
                          <a:pt x="566" y="602"/>
                        </a:cubicBezTo>
                        <a:cubicBezTo>
                          <a:pt x="566" y="602"/>
                          <a:pt x="570" y="596"/>
                          <a:pt x="567" y="594"/>
                        </a:cubicBezTo>
                        <a:cubicBezTo>
                          <a:pt x="542" y="588"/>
                          <a:pt x="563" y="569"/>
                          <a:pt x="563" y="569"/>
                        </a:cubicBezTo>
                        <a:cubicBezTo>
                          <a:pt x="563" y="569"/>
                          <a:pt x="566" y="549"/>
                          <a:pt x="571" y="549"/>
                        </a:cubicBezTo>
                        <a:cubicBezTo>
                          <a:pt x="554" y="540"/>
                          <a:pt x="562" y="522"/>
                          <a:pt x="562" y="522"/>
                        </a:cubicBezTo>
                        <a:cubicBezTo>
                          <a:pt x="551" y="526"/>
                          <a:pt x="551" y="526"/>
                          <a:pt x="551" y="526"/>
                        </a:cubicBezTo>
                        <a:cubicBezTo>
                          <a:pt x="551" y="506"/>
                          <a:pt x="551" y="506"/>
                          <a:pt x="551" y="506"/>
                        </a:cubicBezTo>
                        <a:cubicBezTo>
                          <a:pt x="539" y="496"/>
                          <a:pt x="539" y="496"/>
                          <a:pt x="539" y="496"/>
                        </a:cubicBezTo>
                        <a:cubicBezTo>
                          <a:pt x="572" y="484"/>
                          <a:pt x="572" y="484"/>
                          <a:pt x="572" y="484"/>
                        </a:cubicBezTo>
                        <a:cubicBezTo>
                          <a:pt x="556" y="472"/>
                          <a:pt x="544" y="468"/>
                          <a:pt x="544" y="468"/>
                        </a:cubicBezTo>
                        <a:cubicBezTo>
                          <a:pt x="540" y="457"/>
                          <a:pt x="540" y="457"/>
                          <a:pt x="540" y="457"/>
                        </a:cubicBezTo>
                        <a:cubicBezTo>
                          <a:pt x="526" y="456"/>
                          <a:pt x="526" y="456"/>
                          <a:pt x="526" y="456"/>
                        </a:cubicBezTo>
                        <a:cubicBezTo>
                          <a:pt x="526" y="444"/>
                          <a:pt x="538" y="430"/>
                          <a:pt x="538" y="430"/>
                        </a:cubicBezTo>
                        <a:cubicBezTo>
                          <a:pt x="531" y="429"/>
                          <a:pt x="531" y="429"/>
                          <a:pt x="531" y="429"/>
                        </a:cubicBezTo>
                        <a:cubicBezTo>
                          <a:pt x="531" y="429"/>
                          <a:pt x="536" y="420"/>
                          <a:pt x="539" y="416"/>
                        </a:cubicBezTo>
                        <a:cubicBezTo>
                          <a:pt x="560" y="405"/>
                          <a:pt x="580" y="340"/>
                          <a:pt x="580" y="340"/>
                        </a:cubicBezTo>
                        <a:cubicBezTo>
                          <a:pt x="572" y="332"/>
                          <a:pt x="572" y="332"/>
                          <a:pt x="572" y="332"/>
                        </a:cubicBezTo>
                        <a:cubicBezTo>
                          <a:pt x="575" y="312"/>
                          <a:pt x="575" y="312"/>
                          <a:pt x="575" y="312"/>
                        </a:cubicBezTo>
                        <a:cubicBezTo>
                          <a:pt x="556" y="316"/>
                          <a:pt x="556" y="316"/>
                          <a:pt x="556" y="316"/>
                        </a:cubicBezTo>
                        <a:cubicBezTo>
                          <a:pt x="556" y="294"/>
                          <a:pt x="556" y="294"/>
                          <a:pt x="556" y="294"/>
                        </a:cubicBezTo>
                        <a:cubicBezTo>
                          <a:pt x="556" y="294"/>
                          <a:pt x="535" y="290"/>
                          <a:pt x="543" y="290"/>
                        </a:cubicBezTo>
                        <a:cubicBezTo>
                          <a:pt x="551" y="290"/>
                          <a:pt x="539" y="280"/>
                          <a:pt x="555" y="280"/>
                        </a:cubicBezTo>
                        <a:cubicBezTo>
                          <a:pt x="571" y="280"/>
                          <a:pt x="566" y="240"/>
                          <a:pt x="566" y="240"/>
                        </a:cubicBezTo>
                        <a:cubicBezTo>
                          <a:pt x="558" y="236"/>
                          <a:pt x="558" y="236"/>
                          <a:pt x="558" y="236"/>
                        </a:cubicBezTo>
                        <a:cubicBezTo>
                          <a:pt x="550" y="244"/>
                          <a:pt x="550" y="244"/>
                          <a:pt x="550" y="244"/>
                        </a:cubicBezTo>
                        <a:cubicBezTo>
                          <a:pt x="547" y="240"/>
                          <a:pt x="547" y="240"/>
                          <a:pt x="547" y="240"/>
                        </a:cubicBezTo>
                        <a:cubicBezTo>
                          <a:pt x="546" y="242"/>
                          <a:pt x="545" y="244"/>
                          <a:pt x="544" y="244"/>
                        </a:cubicBezTo>
                        <a:cubicBezTo>
                          <a:pt x="540" y="244"/>
                          <a:pt x="535" y="241"/>
                          <a:pt x="535" y="241"/>
                        </a:cubicBezTo>
                        <a:cubicBezTo>
                          <a:pt x="518" y="253"/>
                          <a:pt x="518" y="253"/>
                          <a:pt x="518" y="253"/>
                        </a:cubicBezTo>
                        <a:cubicBezTo>
                          <a:pt x="518" y="240"/>
                          <a:pt x="518" y="240"/>
                          <a:pt x="518" y="240"/>
                        </a:cubicBezTo>
                        <a:cubicBezTo>
                          <a:pt x="502" y="232"/>
                          <a:pt x="502" y="232"/>
                          <a:pt x="502" y="232"/>
                        </a:cubicBezTo>
                        <a:cubicBezTo>
                          <a:pt x="502" y="222"/>
                          <a:pt x="502" y="222"/>
                          <a:pt x="502" y="222"/>
                        </a:cubicBezTo>
                        <a:cubicBezTo>
                          <a:pt x="502" y="222"/>
                          <a:pt x="498" y="226"/>
                          <a:pt x="488" y="226"/>
                        </a:cubicBezTo>
                        <a:cubicBezTo>
                          <a:pt x="479" y="226"/>
                          <a:pt x="467" y="212"/>
                          <a:pt x="467" y="212"/>
                        </a:cubicBezTo>
                        <a:cubicBezTo>
                          <a:pt x="455" y="217"/>
                          <a:pt x="455" y="217"/>
                          <a:pt x="455" y="217"/>
                        </a:cubicBezTo>
                        <a:cubicBezTo>
                          <a:pt x="455" y="194"/>
                          <a:pt x="455" y="194"/>
                          <a:pt x="455" y="194"/>
                        </a:cubicBezTo>
                        <a:cubicBezTo>
                          <a:pt x="446" y="192"/>
                          <a:pt x="446" y="192"/>
                          <a:pt x="446" y="192"/>
                        </a:cubicBezTo>
                        <a:cubicBezTo>
                          <a:pt x="446" y="191"/>
                          <a:pt x="446" y="191"/>
                          <a:pt x="446" y="191"/>
                        </a:cubicBezTo>
                        <a:cubicBezTo>
                          <a:pt x="456" y="173"/>
                          <a:pt x="456" y="173"/>
                          <a:pt x="456" y="173"/>
                        </a:cubicBezTo>
                        <a:cubicBezTo>
                          <a:pt x="450" y="165"/>
                          <a:pt x="439" y="144"/>
                          <a:pt x="439" y="144"/>
                        </a:cubicBezTo>
                        <a:cubicBezTo>
                          <a:pt x="432" y="150"/>
                          <a:pt x="432" y="150"/>
                          <a:pt x="432" y="150"/>
                        </a:cubicBezTo>
                        <a:cubicBezTo>
                          <a:pt x="426" y="146"/>
                          <a:pt x="426" y="146"/>
                          <a:pt x="426" y="146"/>
                        </a:cubicBezTo>
                        <a:cubicBezTo>
                          <a:pt x="432" y="138"/>
                          <a:pt x="432" y="138"/>
                          <a:pt x="432" y="138"/>
                        </a:cubicBezTo>
                        <a:cubicBezTo>
                          <a:pt x="427" y="133"/>
                          <a:pt x="427" y="133"/>
                          <a:pt x="427" y="133"/>
                        </a:cubicBezTo>
                        <a:cubicBezTo>
                          <a:pt x="414" y="133"/>
                          <a:pt x="414" y="133"/>
                          <a:pt x="414" y="133"/>
                        </a:cubicBezTo>
                        <a:cubicBezTo>
                          <a:pt x="414" y="133"/>
                          <a:pt x="414" y="133"/>
                          <a:pt x="415" y="116"/>
                        </a:cubicBezTo>
                        <a:cubicBezTo>
                          <a:pt x="334" y="100"/>
                          <a:pt x="366" y="134"/>
                          <a:pt x="366" y="134"/>
                        </a:cubicBezTo>
                        <a:cubicBezTo>
                          <a:pt x="311" y="136"/>
                          <a:pt x="311" y="136"/>
                          <a:pt x="311" y="136"/>
                        </a:cubicBezTo>
                        <a:cubicBezTo>
                          <a:pt x="311" y="148"/>
                          <a:pt x="311" y="148"/>
                          <a:pt x="311" y="148"/>
                        </a:cubicBezTo>
                        <a:cubicBezTo>
                          <a:pt x="302" y="145"/>
                          <a:pt x="302" y="145"/>
                          <a:pt x="302" y="145"/>
                        </a:cubicBezTo>
                        <a:cubicBezTo>
                          <a:pt x="296" y="132"/>
                          <a:pt x="296" y="132"/>
                          <a:pt x="296" y="132"/>
                        </a:cubicBezTo>
                        <a:cubicBezTo>
                          <a:pt x="287" y="132"/>
                          <a:pt x="287" y="132"/>
                          <a:pt x="287" y="132"/>
                        </a:cubicBezTo>
                        <a:cubicBezTo>
                          <a:pt x="290" y="141"/>
                          <a:pt x="290" y="141"/>
                          <a:pt x="290" y="141"/>
                        </a:cubicBezTo>
                        <a:cubicBezTo>
                          <a:pt x="283" y="137"/>
                          <a:pt x="283" y="137"/>
                          <a:pt x="283" y="137"/>
                        </a:cubicBezTo>
                        <a:cubicBezTo>
                          <a:pt x="270" y="148"/>
                          <a:pt x="270" y="148"/>
                          <a:pt x="270" y="148"/>
                        </a:cubicBezTo>
                        <a:cubicBezTo>
                          <a:pt x="258" y="141"/>
                          <a:pt x="258" y="141"/>
                          <a:pt x="258" y="141"/>
                        </a:cubicBezTo>
                        <a:cubicBezTo>
                          <a:pt x="256" y="146"/>
                          <a:pt x="256" y="146"/>
                          <a:pt x="256" y="146"/>
                        </a:cubicBezTo>
                        <a:cubicBezTo>
                          <a:pt x="222" y="145"/>
                          <a:pt x="222" y="145"/>
                          <a:pt x="222" y="145"/>
                        </a:cubicBezTo>
                        <a:cubicBezTo>
                          <a:pt x="222" y="145"/>
                          <a:pt x="226" y="128"/>
                          <a:pt x="226" y="125"/>
                        </a:cubicBezTo>
                        <a:cubicBezTo>
                          <a:pt x="216" y="133"/>
                          <a:pt x="218" y="129"/>
                          <a:pt x="208" y="109"/>
                        </a:cubicBezTo>
                        <a:cubicBezTo>
                          <a:pt x="199" y="89"/>
                          <a:pt x="190" y="81"/>
                          <a:pt x="190" y="81"/>
                        </a:cubicBezTo>
                        <a:cubicBezTo>
                          <a:pt x="190" y="70"/>
                          <a:pt x="190" y="70"/>
                          <a:pt x="190" y="70"/>
                        </a:cubicBezTo>
                        <a:cubicBezTo>
                          <a:pt x="182" y="69"/>
                          <a:pt x="182" y="69"/>
                          <a:pt x="182" y="69"/>
                        </a:cubicBezTo>
                        <a:cubicBezTo>
                          <a:pt x="182" y="78"/>
                          <a:pt x="182" y="78"/>
                          <a:pt x="182" y="78"/>
                        </a:cubicBezTo>
                        <a:cubicBezTo>
                          <a:pt x="176" y="81"/>
                          <a:pt x="176" y="81"/>
                          <a:pt x="176" y="81"/>
                        </a:cubicBezTo>
                        <a:cubicBezTo>
                          <a:pt x="167" y="66"/>
                          <a:pt x="167" y="66"/>
                          <a:pt x="167" y="66"/>
                        </a:cubicBezTo>
                        <a:cubicBezTo>
                          <a:pt x="158" y="69"/>
                          <a:pt x="158" y="69"/>
                          <a:pt x="158" y="69"/>
                        </a:cubicBezTo>
                        <a:cubicBezTo>
                          <a:pt x="167" y="60"/>
                          <a:pt x="159" y="38"/>
                          <a:pt x="159" y="38"/>
                        </a:cubicBezTo>
                        <a:cubicBezTo>
                          <a:pt x="155" y="33"/>
                          <a:pt x="155" y="33"/>
                          <a:pt x="155" y="33"/>
                        </a:cubicBezTo>
                        <a:cubicBezTo>
                          <a:pt x="155" y="18"/>
                          <a:pt x="128" y="8"/>
                          <a:pt x="128" y="8"/>
                        </a:cubicBezTo>
                        <a:cubicBezTo>
                          <a:pt x="122" y="10"/>
                          <a:pt x="122" y="10"/>
                          <a:pt x="122" y="10"/>
                        </a:cubicBezTo>
                        <a:cubicBezTo>
                          <a:pt x="118" y="0"/>
                          <a:pt x="118" y="0"/>
                          <a:pt x="118" y="0"/>
                        </a:cubicBezTo>
                        <a:cubicBezTo>
                          <a:pt x="103" y="8"/>
                          <a:pt x="103" y="8"/>
                          <a:pt x="103" y="8"/>
                        </a:cubicBezTo>
                        <a:cubicBezTo>
                          <a:pt x="44" y="8"/>
                          <a:pt x="44" y="8"/>
                          <a:pt x="44" y="8"/>
                        </a:cubicBezTo>
                        <a:cubicBezTo>
                          <a:pt x="36" y="28"/>
                          <a:pt x="36" y="28"/>
                          <a:pt x="36" y="28"/>
                        </a:cubicBezTo>
                        <a:cubicBezTo>
                          <a:pt x="42" y="44"/>
                          <a:pt x="42" y="44"/>
                          <a:pt x="42" y="44"/>
                        </a:cubicBezTo>
                        <a:cubicBezTo>
                          <a:pt x="42" y="44"/>
                          <a:pt x="28" y="66"/>
                          <a:pt x="20" y="75"/>
                        </a:cubicBezTo>
                        <a:cubicBezTo>
                          <a:pt x="39" y="84"/>
                          <a:pt x="39" y="84"/>
                          <a:pt x="39" y="84"/>
                        </a:cubicBezTo>
                        <a:cubicBezTo>
                          <a:pt x="39" y="84"/>
                          <a:pt x="28" y="104"/>
                          <a:pt x="58" y="114"/>
                        </a:cubicBez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53" name="Centre" descr="© INSCALE GmbH, 05.05.2010&#10;http://www.presentationload.com/">
                    <a:extLst>
                      <a:ext uri="{FF2B5EF4-FFF2-40B4-BE49-F238E27FC236}">
                        <a16:creationId xmlns:a16="http://schemas.microsoft.com/office/drawing/2014/main" id="{4E1B62B9-1BF6-4EFA-A3DC-8456D38C36AE}"/>
                      </a:ext>
                    </a:extLst>
                  </p:cNvPr>
                  <p:cNvSpPr>
                    <a:spLocks/>
                  </p:cNvSpPr>
                  <p:nvPr/>
                </p:nvSpPr>
                <p:spPr bwMode="gray">
                  <a:xfrm>
                    <a:off x="1233" y="903"/>
                    <a:ext cx="716" cy="887"/>
                  </a:xfrm>
                  <a:custGeom>
                    <a:avLst/>
                    <a:gdLst/>
                    <a:ahLst/>
                    <a:cxnLst>
                      <a:cxn ang="0">
                        <a:pos x="209" y="158"/>
                      </a:cxn>
                      <a:cxn ang="0">
                        <a:pos x="173" y="227"/>
                      </a:cxn>
                      <a:cxn ang="0">
                        <a:pos x="193" y="251"/>
                      </a:cxn>
                      <a:cxn ang="0">
                        <a:pos x="168" y="275"/>
                      </a:cxn>
                      <a:cxn ang="0">
                        <a:pos x="179" y="314"/>
                      </a:cxn>
                      <a:cxn ang="0">
                        <a:pos x="144" y="367"/>
                      </a:cxn>
                      <a:cxn ang="0">
                        <a:pos x="79" y="406"/>
                      </a:cxn>
                      <a:cxn ang="0">
                        <a:pos x="43" y="418"/>
                      </a:cxn>
                      <a:cxn ang="0">
                        <a:pos x="29" y="494"/>
                      </a:cxn>
                      <a:cxn ang="0">
                        <a:pos x="29" y="594"/>
                      </a:cxn>
                      <a:cxn ang="0">
                        <a:pos x="56" y="598"/>
                      </a:cxn>
                      <a:cxn ang="0">
                        <a:pos x="79" y="632"/>
                      </a:cxn>
                      <a:cxn ang="0">
                        <a:pos x="108" y="611"/>
                      </a:cxn>
                      <a:cxn ang="0">
                        <a:pos x="185" y="712"/>
                      </a:cxn>
                      <a:cxn ang="0">
                        <a:pos x="233" y="788"/>
                      </a:cxn>
                      <a:cxn ang="0">
                        <a:pos x="251" y="820"/>
                      </a:cxn>
                      <a:cxn ang="0">
                        <a:pos x="287" y="811"/>
                      </a:cxn>
                      <a:cxn ang="0">
                        <a:pos x="320" y="814"/>
                      </a:cxn>
                      <a:cxn ang="0">
                        <a:pos x="353" y="806"/>
                      </a:cxn>
                      <a:cxn ang="0">
                        <a:pos x="404" y="802"/>
                      </a:cxn>
                      <a:cxn ang="0">
                        <a:pos x="539" y="771"/>
                      </a:cxn>
                      <a:cxn ang="0">
                        <a:pos x="559" y="719"/>
                      </a:cxn>
                      <a:cxn ang="0">
                        <a:pos x="650" y="684"/>
                      </a:cxn>
                      <a:cxn ang="0">
                        <a:pos x="655" y="607"/>
                      </a:cxn>
                      <a:cxn ang="0">
                        <a:pos x="611" y="514"/>
                      </a:cxn>
                      <a:cxn ang="0">
                        <a:pos x="632" y="435"/>
                      </a:cxn>
                      <a:cxn ang="0">
                        <a:pos x="615" y="388"/>
                      </a:cxn>
                      <a:cxn ang="0">
                        <a:pos x="641" y="364"/>
                      </a:cxn>
                      <a:cxn ang="0">
                        <a:pos x="639" y="327"/>
                      </a:cxn>
                      <a:cxn ang="0">
                        <a:pos x="663" y="284"/>
                      </a:cxn>
                      <a:cxn ang="0">
                        <a:pos x="624" y="246"/>
                      </a:cxn>
                      <a:cxn ang="0">
                        <a:pos x="581" y="247"/>
                      </a:cxn>
                      <a:cxn ang="0">
                        <a:pos x="520" y="254"/>
                      </a:cxn>
                      <a:cxn ang="0">
                        <a:pos x="513" y="214"/>
                      </a:cxn>
                      <a:cxn ang="0">
                        <a:pos x="491" y="194"/>
                      </a:cxn>
                      <a:cxn ang="0">
                        <a:pos x="468" y="188"/>
                      </a:cxn>
                      <a:cxn ang="0">
                        <a:pos x="419" y="204"/>
                      </a:cxn>
                      <a:cxn ang="0">
                        <a:pos x="405" y="154"/>
                      </a:cxn>
                      <a:cxn ang="0">
                        <a:pos x="364" y="115"/>
                      </a:cxn>
                      <a:cxn ang="0">
                        <a:pos x="341" y="88"/>
                      </a:cxn>
                      <a:cxn ang="0">
                        <a:pos x="344" y="59"/>
                      </a:cxn>
                      <a:cxn ang="0">
                        <a:pos x="331" y="23"/>
                      </a:cxn>
                      <a:cxn ang="0">
                        <a:pos x="312" y="3"/>
                      </a:cxn>
                      <a:cxn ang="0">
                        <a:pos x="287" y="51"/>
                      </a:cxn>
                      <a:cxn ang="0">
                        <a:pos x="225" y="54"/>
                      </a:cxn>
                      <a:cxn ang="0">
                        <a:pos x="177" y="98"/>
                      </a:cxn>
                    </a:cxnLst>
                    <a:rect l="0" t="0" r="r" b="b"/>
                    <a:pathLst>
                      <a:path w="664" h="822">
                        <a:moveTo>
                          <a:pt x="205" y="131"/>
                        </a:moveTo>
                        <a:cubicBezTo>
                          <a:pt x="205" y="136"/>
                          <a:pt x="201" y="144"/>
                          <a:pt x="201" y="144"/>
                        </a:cubicBezTo>
                        <a:cubicBezTo>
                          <a:pt x="209" y="158"/>
                          <a:pt x="209" y="158"/>
                          <a:pt x="209" y="158"/>
                        </a:cubicBezTo>
                        <a:cubicBezTo>
                          <a:pt x="197" y="172"/>
                          <a:pt x="197" y="172"/>
                          <a:pt x="197" y="172"/>
                        </a:cubicBezTo>
                        <a:cubicBezTo>
                          <a:pt x="197" y="172"/>
                          <a:pt x="171" y="179"/>
                          <a:pt x="168" y="190"/>
                        </a:cubicBezTo>
                        <a:cubicBezTo>
                          <a:pt x="165" y="200"/>
                          <a:pt x="173" y="227"/>
                          <a:pt x="173" y="227"/>
                        </a:cubicBezTo>
                        <a:cubicBezTo>
                          <a:pt x="173" y="235"/>
                          <a:pt x="173" y="235"/>
                          <a:pt x="173" y="235"/>
                        </a:cubicBezTo>
                        <a:cubicBezTo>
                          <a:pt x="193" y="242"/>
                          <a:pt x="193" y="242"/>
                          <a:pt x="193" y="242"/>
                        </a:cubicBezTo>
                        <a:cubicBezTo>
                          <a:pt x="193" y="251"/>
                          <a:pt x="193" y="251"/>
                          <a:pt x="193" y="251"/>
                        </a:cubicBezTo>
                        <a:cubicBezTo>
                          <a:pt x="179" y="252"/>
                          <a:pt x="179" y="252"/>
                          <a:pt x="179" y="252"/>
                        </a:cubicBezTo>
                        <a:cubicBezTo>
                          <a:pt x="179" y="270"/>
                          <a:pt x="179" y="270"/>
                          <a:pt x="179" y="270"/>
                        </a:cubicBezTo>
                        <a:cubicBezTo>
                          <a:pt x="168" y="275"/>
                          <a:pt x="168" y="275"/>
                          <a:pt x="168" y="275"/>
                        </a:cubicBezTo>
                        <a:cubicBezTo>
                          <a:pt x="176" y="287"/>
                          <a:pt x="176" y="287"/>
                          <a:pt x="176" y="287"/>
                        </a:cubicBezTo>
                        <a:cubicBezTo>
                          <a:pt x="172" y="300"/>
                          <a:pt x="172" y="300"/>
                          <a:pt x="172" y="300"/>
                        </a:cubicBezTo>
                        <a:cubicBezTo>
                          <a:pt x="179" y="314"/>
                          <a:pt x="179" y="314"/>
                          <a:pt x="179" y="314"/>
                        </a:cubicBezTo>
                        <a:cubicBezTo>
                          <a:pt x="171" y="324"/>
                          <a:pt x="171" y="324"/>
                          <a:pt x="171" y="324"/>
                        </a:cubicBezTo>
                        <a:cubicBezTo>
                          <a:pt x="171" y="324"/>
                          <a:pt x="161" y="328"/>
                          <a:pt x="161" y="343"/>
                        </a:cubicBezTo>
                        <a:cubicBezTo>
                          <a:pt x="157" y="347"/>
                          <a:pt x="144" y="367"/>
                          <a:pt x="144" y="367"/>
                        </a:cubicBezTo>
                        <a:cubicBezTo>
                          <a:pt x="144" y="367"/>
                          <a:pt x="112" y="388"/>
                          <a:pt x="128" y="394"/>
                        </a:cubicBezTo>
                        <a:cubicBezTo>
                          <a:pt x="124" y="395"/>
                          <a:pt x="95" y="402"/>
                          <a:pt x="95" y="402"/>
                        </a:cubicBezTo>
                        <a:cubicBezTo>
                          <a:pt x="95" y="402"/>
                          <a:pt x="96" y="424"/>
                          <a:pt x="79" y="406"/>
                        </a:cubicBezTo>
                        <a:cubicBezTo>
                          <a:pt x="80" y="408"/>
                          <a:pt x="69" y="415"/>
                          <a:pt x="69" y="415"/>
                        </a:cubicBezTo>
                        <a:cubicBezTo>
                          <a:pt x="80" y="430"/>
                          <a:pt x="80" y="430"/>
                          <a:pt x="80" y="430"/>
                        </a:cubicBezTo>
                        <a:cubicBezTo>
                          <a:pt x="43" y="418"/>
                          <a:pt x="43" y="418"/>
                          <a:pt x="43" y="418"/>
                        </a:cubicBezTo>
                        <a:cubicBezTo>
                          <a:pt x="43" y="418"/>
                          <a:pt x="32" y="446"/>
                          <a:pt x="39" y="454"/>
                        </a:cubicBezTo>
                        <a:cubicBezTo>
                          <a:pt x="35" y="464"/>
                          <a:pt x="23" y="482"/>
                          <a:pt x="23" y="482"/>
                        </a:cubicBezTo>
                        <a:cubicBezTo>
                          <a:pt x="29" y="494"/>
                          <a:pt x="29" y="494"/>
                          <a:pt x="29" y="494"/>
                        </a:cubicBezTo>
                        <a:cubicBezTo>
                          <a:pt x="29" y="494"/>
                          <a:pt x="0" y="528"/>
                          <a:pt x="3" y="556"/>
                        </a:cubicBezTo>
                        <a:cubicBezTo>
                          <a:pt x="5" y="584"/>
                          <a:pt x="29" y="580"/>
                          <a:pt x="29" y="580"/>
                        </a:cubicBezTo>
                        <a:cubicBezTo>
                          <a:pt x="29" y="594"/>
                          <a:pt x="29" y="594"/>
                          <a:pt x="29" y="594"/>
                        </a:cubicBezTo>
                        <a:cubicBezTo>
                          <a:pt x="43" y="587"/>
                          <a:pt x="43" y="587"/>
                          <a:pt x="43" y="587"/>
                        </a:cubicBezTo>
                        <a:cubicBezTo>
                          <a:pt x="47" y="594"/>
                          <a:pt x="47" y="594"/>
                          <a:pt x="47" y="594"/>
                        </a:cubicBezTo>
                        <a:cubicBezTo>
                          <a:pt x="56" y="598"/>
                          <a:pt x="56" y="598"/>
                          <a:pt x="56" y="598"/>
                        </a:cubicBezTo>
                        <a:cubicBezTo>
                          <a:pt x="56" y="598"/>
                          <a:pt x="44" y="624"/>
                          <a:pt x="56" y="628"/>
                        </a:cubicBezTo>
                        <a:cubicBezTo>
                          <a:pt x="68" y="632"/>
                          <a:pt x="67" y="626"/>
                          <a:pt x="67" y="626"/>
                        </a:cubicBezTo>
                        <a:cubicBezTo>
                          <a:pt x="79" y="632"/>
                          <a:pt x="79" y="632"/>
                          <a:pt x="79" y="632"/>
                        </a:cubicBezTo>
                        <a:cubicBezTo>
                          <a:pt x="93" y="624"/>
                          <a:pt x="93" y="624"/>
                          <a:pt x="93" y="624"/>
                        </a:cubicBezTo>
                        <a:cubicBezTo>
                          <a:pt x="116" y="624"/>
                          <a:pt x="116" y="624"/>
                          <a:pt x="116" y="624"/>
                        </a:cubicBezTo>
                        <a:cubicBezTo>
                          <a:pt x="108" y="611"/>
                          <a:pt x="108" y="611"/>
                          <a:pt x="108" y="611"/>
                        </a:cubicBezTo>
                        <a:cubicBezTo>
                          <a:pt x="140" y="622"/>
                          <a:pt x="140" y="622"/>
                          <a:pt x="140" y="622"/>
                        </a:cubicBezTo>
                        <a:cubicBezTo>
                          <a:pt x="140" y="622"/>
                          <a:pt x="143" y="654"/>
                          <a:pt x="160" y="670"/>
                        </a:cubicBezTo>
                        <a:cubicBezTo>
                          <a:pt x="177" y="686"/>
                          <a:pt x="153" y="679"/>
                          <a:pt x="185" y="712"/>
                        </a:cubicBezTo>
                        <a:cubicBezTo>
                          <a:pt x="184" y="726"/>
                          <a:pt x="179" y="755"/>
                          <a:pt x="207" y="756"/>
                        </a:cubicBezTo>
                        <a:cubicBezTo>
                          <a:pt x="211" y="758"/>
                          <a:pt x="208" y="767"/>
                          <a:pt x="208" y="767"/>
                        </a:cubicBezTo>
                        <a:cubicBezTo>
                          <a:pt x="208" y="767"/>
                          <a:pt x="227" y="746"/>
                          <a:pt x="233" y="788"/>
                        </a:cubicBezTo>
                        <a:cubicBezTo>
                          <a:pt x="237" y="795"/>
                          <a:pt x="248" y="800"/>
                          <a:pt x="248" y="800"/>
                        </a:cubicBezTo>
                        <a:cubicBezTo>
                          <a:pt x="244" y="811"/>
                          <a:pt x="244" y="811"/>
                          <a:pt x="244" y="811"/>
                        </a:cubicBezTo>
                        <a:cubicBezTo>
                          <a:pt x="251" y="820"/>
                          <a:pt x="251" y="820"/>
                          <a:pt x="251" y="820"/>
                        </a:cubicBezTo>
                        <a:cubicBezTo>
                          <a:pt x="269" y="818"/>
                          <a:pt x="269" y="818"/>
                          <a:pt x="269" y="818"/>
                        </a:cubicBezTo>
                        <a:cubicBezTo>
                          <a:pt x="269" y="811"/>
                          <a:pt x="269" y="811"/>
                          <a:pt x="269" y="811"/>
                        </a:cubicBezTo>
                        <a:cubicBezTo>
                          <a:pt x="287" y="811"/>
                          <a:pt x="287" y="811"/>
                          <a:pt x="287" y="811"/>
                        </a:cubicBezTo>
                        <a:cubicBezTo>
                          <a:pt x="292" y="822"/>
                          <a:pt x="292" y="822"/>
                          <a:pt x="292" y="822"/>
                        </a:cubicBezTo>
                        <a:cubicBezTo>
                          <a:pt x="319" y="802"/>
                          <a:pt x="319" y="802"/>
                          <a:pt x="319" y="802"/>
                        </a:cubicBezTo>
                        <a:cubicBezTo>
                          <a:pt x="320" y="814"/>
                          <a:pt x="320" y="814"/>
                          <a:pt x="320" y="814"/>
                        </a:cubicBezTo>
                        <a:cubicBezTo>
                          <a:pt x="337" y="803"/>
                          <a:pt x="337" y="803"/>
                          <a:pt x="337" y="803"/>
                        </a:cubicBezTo>
                        <a:cubicBezTo>
                          <a:pt x="340" y="811"/>
                          <a:pt x="340" y="811"/>
                          <a:pt x="340" y="811"/>
                        </a:cubicBezTo>
                        <a:cubicBezTo>
                          <a:pt x="353" y="806"/>
                          <a:pt x="353" y="806"/>
                          <a:pt x="353" y="806"/>
                        </a:cubicBezTo>
                        <a:cubicBezTo>
                          <a:pt x="363" y="812"/>
                          <a:pt x="363" y="812"/>
                          <a:pt x="363" y="812"/>
                        </a:cubicBezTo>
                        <a:cubicBezTo>
                          <a:pt x="368" y="794"/>
                          <a:pt x="368" y="794"/>
                          <a:pt x="368" y="794"/>
                        </a:cubicBezTo>
                        <a:cubicBezTo>
                          <a:pt x="368" y="794"/>
                          <a:pt x="392" y="804"/>
                          <a:pt x="404" y="802"/>
                        </a:cubicBezTo>
                        <a:cubicBezTo>
                          <a:pt x="416" y="799"/>
                          <a:pt x="411" y="790"/>
                          <a:pt x="436" y="803"/>
                        </a:cubicBezTo>
                        <a:cubicBezTo>
                          <a:pt x="441" y="812"/>
                          <a:pt x="483" y="802"/>
                          <a:pt x="483" y="802"/>
                        </a:cubicBezTo>
                        <a:cubicBezTo>
                          <a:pt x="483" y="802"/>
                          <a:pt x="505" y="759"/>
                          <a:pt x="539" y="771"/>
                        </a:cubicBezTo>
                        <a:cubicBezTo>
                          <a:pt x="555" y="760"/>
                          <a:pt x="555" y="760"/>
                          <a:pt x="555" y="760"/>
                        </a:cubicBezTo>
                        <a:cubicBezTo>
                          <a:pt x="555" y="760"/>
                          <a:pt x="545" y="738"/>
                          <a:pt x="552" y="732"/>
                        </a:cubicBezTo>
                        <a:cubicBezTo>
                          <a:pt x="559" y="727"/>
                          <a:pt x="559" y="719"/>
                          <a:pt x="559" y="719"/>
                        </a:cubicBezTo>
                        <a:cubicBezTo>
                          <a:pt x="559" y="719"/>
                          <a:pt x="577" y="700"/>
                          <a:pt x="581" y="700"/>
                        </a:cubicBezTo>
                        <a:cubicBezTo>
                          <a:pt x="585" y="700"/>
                          <a:pt x="600" y="722"/>
                          <a:pt x="608" y="706"/>
                        </a:cubicBezTo>
                        <a:cubicBezTo>
                          <a:pt x="615" y="691"/>
                          <a:pt x="625" y="683"/>
                          <a:pt x="650" y="684"/>
                        </a:cubicBezTo>
                        <a:cubicBezTo>
                          <a:pt x="649" y="683"/>
                          <a:pt x="649" y="682"/>
                          <a:pt x="648" y="682"/>
                        </a:cubicBezTo>
                        <a:cubicBezTo>
                          <a:pt x="661" y="667"/>
                          <a:pt x="645" y="650"/>
                          <a:pt x="651" y="644"/>
                        </a:cubicBezTo>
                        <a:cubicBezTo>
                          <a:pt x="656" y="639"/>
                          <a:pt x="655" y="607"/>
                          <a:pt x="655" y="607"/>
                        </a:cubicBezTo>
                        <a:cubicBezTo>
                          <a:pt x="645" y="599"/>
                          <a:pt x="645" y="599"/>
                          <a:pt x="645" y="599"/>
                        </a:cubicBezTo>
                        <a:cubicBezTo>
                          <a:pt x="645" y="555"/>
                          <a:pt x="636" y="535"/>
                          <a:pt x="636" y="535"/>
                        </a:cubicBezTo>
                        <a:cubicBezTo>
                          <a:pt x="611" y="514"/>
                          <a:pt x="611" y="514"/>
                          <a:pt x="611" y="514"/>
                        </a:cubicBezTo>
                        <a:cubicBezTo>
                          <a:pt x="625" y="479"/>
                          <a:pt x="625" y="479"/>
                          <a:pt x="625" y="479"/>
                        </a:cubicBezTo>
                        <a:cubicBezTo>
                          <a:pt x="609" y="440"/>
                          <a:pt x="609" y="440"/>
                          <a:pt x="609" y="440"/>
                        </a:cubicBezTo>
                        <a:cubicBezTo>
                          <a:pt x="632" y="435"/>
                          <a:pt x="632" y="435"/>
                          <a:pt x="632" y="435"/>
                        </a:cubicBezTo>
                        <a:cubicBezTo>
                          <a:pt x="624" y="423"/>
                          <a:pt x="624" y="423"/>
                          <a:pt x="624" y="423"/>
                        </a:cubicBezTo>
                        <a:cubicBezTo>
                          <a:pt x="628" y="410"/>
                          <a:pt x="628" y="410"/>
                          <a:pt x="628" y="410"/>
                        </a:cubicBezTo>
                        <a:cubicBezTo>
                          <a:pt x="615" y="388"/>
                          <a:pt x="615" y="388"/>
                          <a:pt x="615" y="388"/>
                        </a:cubicBezTo>
                        <a:cubicBezTo>
                          <a:pt x="605" y="390"/>
                          <a:pt x="605" y="390"/>
                          <a:pt x="605" y="390"/>
                        </a:cubicBezTo>
                        <a:cubicBezTo>
                          <a:pt x="607" y="374"/>
                          <a:pt x="607" y="374"/>
                          <a:pt x="607" y="374"/>
                        </a:cubicBezTo>
                        <a:cubicBezTo>
                          <a:pt x="641" y="364"/>
                          <a:pt x="641" y="364"/>
                          <a:pt x="641" y="364"/>
                        </a:cubicBezTo>
                        <a:cubicBezTo>
                          <a:pt x="641" y="340"/>
                          <a:pt x="641" y="340"/>
                          <a:pt x="641" y="340"/>
                        </a:cubicBezTo>
                        <a:cubicBezTo>
                          <a:pt x="636" y="340"/>
                          <a:pt x="636" y="340"/>
                          <a:pt x="636" y="340"/>
                        </a:cubicBezTo>
                        <a:cubicBezTo>
                          <a:pt x="639" y="327"/>
                          <a:pt x="639" y="327"/>
                          <a:pt x="639" y="327"/>
                        </a:cubicBezTo>
                        <a:cubicBezTo>
                          <a:pt x="648" y="326"/>
                          <a:pt x="648" y="326"/>
                          <a:pt x="648" y="326"/>
                        </a:cubicBezTo>
                        <a:cubicBezTo>
                          <a:pt x="664" y="303"/>
                          <a:pt x="664" y="303"/>
                          <a:pt x="664" y="303"/>
                        </a:cubicBezTo>
                        <a:cubicBezTo>
                          <a:pt x="663" y="284"/>
                          <a:pt x="663" y="284"/>
                          <a:pt x="663" y="284"/>
                        </a:cubicBezTo>
                        <a:cubicBezTo>
                          <a:pt x="633" y="274"/>
                          <a:pt x="644" y="254"/>
                          <a:pt x="644" y="254"/>
                        </a:cubicBezTo>
                        <a:cubicBezTo>
                          <a:pt x="625" y="245"/>
                          <a:pt x="625" y="245"/>
                          <a:pt x="625" y="245"/>
                        </a:cubicBezTo>
                        <a:cubicBezTo>
                          <a:pt x="625" y="245"/>
                          <a:pt x="624" y="246"/>
                          <a:pt x="624" y="246"/>
                        </a:cubicBezTo>
                        <a:cubicBezTo>
                          <a:pt x="616" y="254"/>
                          <a:pt x="593" y="258"/>
                          <a:pt x="593" y="258"/>
                        </a:cubicBezTo>
                        <a:cubicBezTo>
                          <a:pt x="593" y="247"/>
                          <a:pt x="593" y="247"/>
                          <a:pt x="593" y="247"/>
                        </a:cubicBezTo>
                        <a:cubicBezTo>
                          <a:pt x="581" y="247"/>
                          <a:pt x="581" y="247"/>
                          <a:pt x="581" y="247"/>
                        </a:cubicBezTo>
                        <a:cubicBezTo>
                          <a:pt x="581" y="255"/>
                          <a:pt x="581" y="255"/>
                          <a:pt x="581" y="255"/>
                        </a:cubicBezTo>
                        <a:cubicBezTo>
                          <a:pt x="526" y="254"/>
                          <a:pt x="526" y="254"/>
                          <a:pt x="526" y="254"/>
                        </a:cubicBezTo>
                        <a:cubicBezTo>
                          <a:pt x="523" y="254"/>
                          <a:pt x="520" y="254"/>
                          <a:pt x="520" y="254"/>
                        </a:cubicBezTo>
                        <a:cubicBezTo>
                          <a:pt x="526" y="254"/>
                          <a:pt x="526" y="254"/>
                          <a:pt x="526" y="254"/>
                        </a:cubicBezTo>
                        <a:cubicBezTo>
                          <a:pt x="530" y="253"/>
                          <a:pt x="536" y="250"/>
                          <a:pt x="537" y="239"/>
                        </a:cubicBezTo>
                        <a:cubicBezTo>
                          <a:pt x="540" y="220"/>
                          <a:pt x="513" y="214"/>
                          <a:pt x="513" y="214"/>
                        </a:cubicBezTo>
                        <a:cubicBezTo>
                          <a:pt x="509" y="198"/>
                          <a:pt x="509" y="198"/>
                          <a:pt x="509" y="198"/>
                        </a:cubicBezTo>
                        <a:cubicBezTo>
                          <a:pt x="507" y="199"/>
                          <a:pt x="507" y="199"/>
                          <a:pt x="507" y="199"/>
                        </a:cubicBezTo>
                        <a:cubicBezTo>
                          <a:pt x="491" y="194"/>
                          <a:pt x="491" y="194"/>
                          <a:pt x="491" y="194"/>
                        </a:cubicBezTo>
                        <a:cubicBezTo>
                          <a:pt x="477" y="202"/>
                          <a:pt x="477" y="202"/>
                          <a:pt x="477" y="202"/>
                        </a:cubicBezTo>
                        <a:cubicBezTo>
                          <a:pt x="475" y="191"/>
                          <a:pt x="475" y="191"/>
                          <a:pt x="475" y="191"/>
                        </a:cubicBezTo>
                        <a:cubicBezTo>
                          <a:pt x="468" y="188"/>
                          <a:pt x="468" y="188"/>
                          <a:pt x="468" y="188"/>
                        </a:cubicBezTo>
                        <a:cubicBezTo>
                          <a:pt x="461" y="202"/>
                          <a:pt x="461" y="202"/>
                          <a:pt x="461" y="202"/>
                        </a:cubicBezTo>
                        <a:cubicBezTo>
                          <a:pt x="461" y="202"/>
                          <a:pt x="451" y="202"/>
                          <a:pt x="443" y="202"/>
                        </a:cubicBezTo>
                        <a:cubicBezTo>
                          <a:pt x="435" y="202"/>
                          <a:pt x="428" y="212"/>
                          <a:pt x="419" y="204"/>
                        </a:cubicBezTo>
                        <a:cubicBezTo>
                          <a:pt x="409" y="196"/>
                          <a:pt x="421" y="170"/>
                          <a:pt x="421" y="170"/>
                        </a:cubicBezTo>
                        <a:cubicBezTo>
                          <a:pt x="411" y="168"/>
                          <a:pt x="411" y="168"/>
                          <a:pt x="411" y="168"/>
                        </a:cubicBezTo>
                        <a:cubicBezTo>
                          <a:pt x="411" y="168"/>
                          <a:pt x="409" y="155"/>
                          <a:pt x="405" y="154"/>
                        </a:cubicBezTo>
                        <a:cubicBezTo>
                          <a:pt x="403" y="162"/>
                          <a:pt x="379" y="147"/>
                          <a:pt x="379" y="147"/>
                        </a:cubicBezTo>
                        <a:cubicBezTo>
                          <a:pt x="377" y="122"/>
                          <a:pt x="377" y="122"/>
                          <a:pt x="377" y="122"/>
                        </a:cubicBezTo>
                        <a:cubicBezTo>
                          <a:pt x="364" y="115"/>
                          <a:pt x="364" y="115"/>
                          <a:pt x="364" y="115"/>
                        </a:cubicBezTo>
                        <a:cubicBezTo>
                          <a:pt x="365" y="103"/>
                          <a:pt x="365" y="103"/>
                          <a:pt x="365" y="103"/>
                        </a:cubicBezTo>
                        <a:cubicBezTo>
                          <a:pt x="356" y="100"/>
                          <a:pt x="356" y="100"/>
                          <a:pt x="356" y="100"/>
                        </a:cubicBezTo>
                        <a:cubicBezTo>
                          <a:pt x="341" y="88"/>
                          <a:pt x="341" y="88"/>
                          <a:pt x="341" y="88"/>
                        </a:cubicBezTo>
                        <a:cubicBezTo>
                          <a:pt x="343" y="78"/>
                          <a:pt x="343" y="78"/>
                          <a:pt x="343" y="78"/>
                        </a:cubicBezTo>
                        <a:cubicBezTo>
                          <a:pt x="333" y="74"/>
                          <a:pt x="333" y="74"/>
                          <a:pt x="333" y="74"/>
                        </a:cubicBezTo>
                        <a:cubicBezTo>
                          <a:pt x="344" y="59"/>
                          <a:pt x="344" y="59"/>
                          <a:pt x="344" y="59"/>
                        </a:cubicBezTo>
                        <a:cubicBezTo>
                          <a:pt x="337" y="52"/>
                          <a:pt x="337" y="52"/>
                          <a:pt x="337" y="52"/>
                        </a:cubicBezTo>
                        <a:cubicBezTo>
                          <a:pt x="339" y="28"/>
                          <a:pt x="339" y="28"/>
                          <a:pt x="339" y="28"/>
                        </a:cubicBezTo>
                        <a:cubicBezTo>
                          <a:pt x="331" y="23"/>
                          <a:pt x="331" y="23"/>
                          <a:pt x="331" y="23"/>
                        </a:cubicBezTo>
                        <a:cubicBezTo>
                          <a:pt x="335" y="14"/>
                          <a:pt x="335" y="14"/>
                          <a:pt x="335" y="14"/>
                        </a:cubicBezTo>
                        <a:cubicBezTo>
                          <a:pt x="320" y="0"/>
                          <a:pt x="320" y="0"/>
                          <a:pt x="320" y="0"/>
                        </a:cubicBezTo>
                        <a:cubicBezTo>
                          <a:pt x="312" y="3"/>
                          <a:pt x="312" y="3"/>
                          <a:pt x="312" y="3"/>
                        </a:cubicBezTo>
                        <a:cubicBezTo>
                          <a:pt x="312" y="3"/>
                          <a:pt x="313" y="10"/>
                          <a:pt x="312" y="15"/>
                        </a:cubicBezTo>
                        <a:cubicBezTo>
                          <a:pt x="311" y="20"/>
                          <a:pt x="292" y="28"/>
                          <a:pt x="292" y="28"/>
                        </a:cubicBezTo>
                        <a:cubicBezTo>
                          <a:pt x="292" y="28"/>
                          <a:pt x="293" y="40"/>
                          <a:pt x="287" y="51"/>
                        </a:cubicBezTo>
                        <a:cubicBezTo>
                          <a:pt x="280" y="62"/>
                          <a:pt x="236" y="47"/>
                          <a:pt x="236" y="47"/>
                        </a:cubicBezTo>
                        <a:cubicBezTo>
                          <a:pt x="235" y="58"/>
                          <a:pt x="235" y="58"/>
                          <a:pt x="235" y="58"/>
                        </a:cubicBezTo>
                        <a:cubicBezTo>
                          <a:pt x="235" y="58"/>
                          <a:pt x="227" y="58"/>
                          <a:pt x="225" y="54"/>
                        </a:cubicBezTo>
                        <a:cubicBezTo>
                          <a:pt x="203" y="76"/>
                          <a:pt x="195" y="64"/>
                          <a:pt x="191" y="64"/>
                        </a:cubicBezTo>
                        <a:cubicBezTo>
                          <a:pt x="187" y="74"/>
                          <a:pt x="182" y="78"/>
                          <a:pt x="176" y="79"/>
                        </a:cubicBezTo>
                        <a:cubicBezTo>
                          <a:pt x="177" y="98"/>
                          <a:pt x="177" y="98"/>
                          <a:pt x="177" y="98"/>
                        </a:cubicBezTo>
                        <a:cubicBezTo>
                          <a:pt x="177" y="98"/>
                          <a:pt x="205" y="126"/>
                          <a:pt x="205" y="131"/>
                        </a:cubicBez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54" name="Basse Normandie" descr="© INSCALE GmbH, 05.05.2010&#10;http://www.presentationload.com/">
                    <a:extLst>
                      <a:ext uri="{FF2B5EF4-FFF2-40B4-BE49-F238E27FC236}">
                        <a16:creationId xmlns:a16="http://schemas.microsoft.com/office/drawing/2014/main" id="{0A4CBA2E-BAF3-446E-A88B-6A8D00EEC15B}"/>
                      </a:ext>
                    </a:extLst>
                  </p:cNvPr>
                  <p:cNvSpPr>
                    <a:spLocks/>
                  </p:cNvSpPr>
                  <p:nvPr/>
                </p:nvSpPr>
                <p:spPr bwMode="gray">
                  <a:xfrm>
                    <a:off x="801" y="585"/>
                    <a:ext cx="657" cy="573"/>
                  </a:xfrm>
                  <a:custGeom>
                    <a:avLst/>
                    <a:gdLst/>
                    <a:ahLst/>
                    <a:cxnLst>
                      <a:cxn ang="0">
                        <a:pos x="197" y="413"/>
                      </a:cxn>
                      <a:cxn ang="0">
                        <a:pos x="245" y="437"/>
                      </a:cxn>
                      <a:cxn ang="0">
                        <a:pos x="265" y="435"/>
                      </a:cxn>
                      <a:cxn ang="0">
                        <a:pos x="315" y="422"/>
                      </a:cxn>
                      <a:cxn ang="0">
                        <a:pos x="336" y="415"/>
                      </a:cxn>
                      <a:cxn ang="0">
                        <a:pos x="348" y="405"/>
                      </a:cxn>
                      <a:cxn ang="0">
                        <a:pos x="373" y="439"/>
                      </a:cxn>
                      <a:cxn ang="0">
                        <a:pos x="395" y="465"/>
                      </a:cxn>
                      <a:cxn ang="0">
                        <a:pos x="485" y="481"/>
                      </a:cxn>
                      <a:cxn ang="0">
                        <a:pos x="512" y="513"/>
                      </a:cxn>
                      <a:cxn ang="0">
                        <a:pos x="561" y="531"/>
                      </a:cxn>
                      <a:cxn ang="0">
                        <a:pos x="573" y="522"/>
                      </a:cxn>
                      <a:cxn ang="0">
                        <a:pos x="597" y="467"/>
                      </a:cxn>
                      <a:cxn ang="0">
                        <a:pos x="601" y="439"/>
                      </a:cxn>
                      <a:cxn ang="0">
                        <a:pos x="577" y="393"/>
                      </a:cxn>
                      <a:cxn ang="0">
                        <a:pos x="563" y="374"/>
                      </a:cxn>
                      <a:cxn ang="0">
                        <a:pos x="536" y="325"/>
                      </a:cxn>
                      <a:cxn ang="0">
                        <a:pos x="496" y="303"/>
                      </a:cxn>
                      <a:cxn ang="0">
                        <a:pos x="496" y="259"/>
                      </a:cxn>
                      <a:cxn ang="0">
                        <a:pos x="495" y="246"/>
                      </a:cxn>
                      <a:cxn ang="0">
                        <a:pos x="491" y="218"/>
                      </a:cxn>
                      <a:cxn ang="0">
                        <a:pos x="477" y="186"/>
                      </a:cxn>
                      <a:cxn ang="0">
                        <a:pos x="463" y="93"/>
                      </a:cxn>
                      <a:cxn ang="0">
                        <a:pos x="357" y="137"/>
                      </a:cxn>
                      <a:cxn ang="0">
                        <a:pos x="239" y="114"/>
                      </a:cxn>
                      <a:cxn ang="0">
                        <a:pos x="168" y="123"/>
                      </a:cxn>
                      <a:cxn ang="0">
                        <a:pos x="157" y="102"/>
                      </a:cxn>
                      <a:cxn ang="0">
                        <a:pos x="130" y="51"/>
                      </a:cxn>
                      <a:cxn ang="0">
                        <a:pos x="140" y="11"/>
                      </a:cxn>
                      <a:cxn ang="0">
                        <a:pos x="91" y="21"/>
                      </a:cxn>
                      <a:cxn ang="0">
                        <a:pos x="1" y="0"/>
                      </a:cxn>
                      <a:cxn ang="0">
                        <a:pos x="16" y="23"/>
                      </a:cxn>
                      <a:cxn ang="0">
                        <a:pos x="22" y="85"/>
                      </a:cxn>
                      <a:cxn ang="0">
                        <a:pos x="66" y="158"/>
                      </a:cxn>
                      <a:cxn ang="0">
                        <a:pos x="73" y="216"/>
                      </a:cxn>
                      <a:cxn ang="0">
                        <a:pos x="78" y="239"/>
                      </a:cxn>
                      <a:cxn ang="0">
                        <a:pos x="69" y="294"/>
                      </a:cxn>
                      <a:cxn ang="0">
                        <a:pos x="83" y="331"/>
                      </a:cxn>
                      <a:cxn ang="0">
                        <a:pos x="58" y="332"/>
                      </a:cxn>
                      <a:cxn ang="0">
                        <a:pos x="136" y="402"/>
                      </a:cxn>
                    </a:cxnLst>
                    <a:rect l="0" t="0" r="r" b="b"/>
                    <a:pathLst>
                      <a:path w="609" h="531">
                        <a:moveTo>
                          <a:pt x="136" y="402"/>
                        </a:moveTo>
                        <a:cubicBezTo>
                          <a:pt x="173" y="418"/>
                          <a:pt x="187" y="426"/>
                          <a:pt x="197" y="413"/>
                        </a:cubicBezTo>
                        <a:cubicBezTo>
                          <a:pt x="207" y="418"/>
                          <a:pt x="220" y="422"/>
                          <a:pt x="220" y="422"/>
                        </a:cubicBezTo>
                        <a:cubicBezTo>
                          <a:pt x="220" y="422"/>
                          <a:pt x="245" y="446"/>
                          <a:pt x="245" y="437"/>
                        </a:cubicBezTo>
                        <a:cubicBezTo>
                          <a:pt x="245" y="427"/>
                          <a:pt x="261" y="426"/>
                          <a:pt x="261" y="426"/>
                        </a:cubicBezTo>
                        <a:cubicBezTo>
                          <a:pt x="265" y="435"/>
                          <a:pt x="265" y="435"/>
                          <a:pt x="265" y="435"/>
                        </a:cubicBezTo>
                        <a:cubicBezTo>
                          <a:pt x="265" y="435"/>
                          <a:pt x="288" y="435"/>
                          <a:pt x="293" y="421"/>
                        </a:cubicBezTo>
                        <a:cubicBezTo>
                          <a:pt x="300" y="421"/>
                          <a:pt x="315" y="422"/>
                          <a:pt x="315" y="422"/>
                        </a:cubicBezTo>
                        <a:cubicBezTo>
                          <a:pt x="321" y="427"/>
                          <a:pt x="321" y="427"/>
                          <a:pt x="321" y="427"/>
                        </a:cubicBezTo>
                        <a:cubicBezTo>
                          <a:pt x="336" y="415"/>
                          <a:pt x="336" y="415"/>
                          <a:pt x="336" y="415"/>
                        </a:cubicBezTo>
                        <a:cubicBezTo>
                          <a:pt x="336" y="415"/>
                          <a:pt x="344" y="426"/>
                          <a:pt x="348" y="418"/>
                        </a:cubicBezTo>
                        <a:cubicBezTo>
                          <a:pt x="352" y="410"/>
                          <a:pt x="344" y="405"/>
                          <a:pt x="348" y="405"/>
                        </a:cubicBezTo>
                        <a:cubicBezTo>
                          <a:pt x="352" y="405"/>
                          <a:pt x="375" y="414"/>
                          <a:pt x="375" y="414"/>
                        </a:cubicBezTo>
                        <a:cubicBezTo>
                          <a:pt x="375" y="414"/>
                          <a:pt x="361" y="439"/>
                          <a:pt x="373" y="439"/>
                        </a:cubicBezTo>
                        <a:cubicBezTo>
                          <a:pt x="385" y="439"/>
                          <a:pt x="391" y="438"/>
                          <a:pt x="391" y="438"/>
                        </a:cubicBezTo>
                        <a:cubicBezTo>
                          <a:pt x="395" y="465"/>
                          <a:pt x="395" y="465"/>
                          <a:pt x="395" y="465"/>
                        </a:cubicBezTo>
                        <a:cubicBezTo>
                          <a:pt x="415" y="465"/>
                          <a:pt x="415" y="465"/>
                          <a:pt x="415" y="465"/>
                        </a:cubicBezTo>
                        <a:cubicBezTo>
                          <a:pt x="415" y="465"/>
                          <a:pt x="477" y="390"/>
                          <a:pt x="485" y="481"/>
                        </a:cubicBezTo>
                        <a:cubicBezTo>
                          <a:pt x="492" y="486"/>
                          <a:pt x="505" y="493"/>
                          <a:pt x="505" y="493"/>
                        </a:cubicBezTo>
                        <a:cubicBezTo>
                          <a:pt x="512" y="513"/>
                          <a:pt x="512" y="513"/>
                          <a:pt x="512" y="513"/>
                        </a:cubicBezTo>
                        <a:cubicBezTo>
                          <a:pt x="537" y="507"/>
                          <a:pt x="537" y="507"/>
                          <a:pt x="537" y="507"/>
                        </a:cubicBezTo>
                        <a:cubicBezTo>
                          <a:pt x="561" y="531"/>
                          <a:pt x="561" y="531"/>
                          <a:pt x="561" y="531"/>
                        </a:cubicBezTo>
                        <a:cubicBezTo>
                          <a:pt x="573" y="529"/>
                          <a:pt x="573" y="529"/>
                          <a:pt x="573" y="529"/>
                        </a:cubicBezTo>
                        <a:cubicBezTo>
                          <a:pt x="573" y="522"/>
                          <a:pt x="573" y="522"/>
                          <a:pt x="573" y="522"/>
                        </a:cubicBezTo>
                        <a:cubicBezTo>
                          <a:pt x="573" y="522"/>
                          <a:pt x="565" y="495"/>
                          <a:pt x="568" y="485"/>
                        </a:cubicBezTo>
                        <a:cubicBezTo>
                          <a:pt x="571" y="474"/>
                          <a:pt x="597" y="467"/>
                          <a:pt x="597" y="467"/>
                        </a:cubicBezTo>
                        <a:cubicBezTo>
                          <a:pt x="609" y="453"/>
                          <a:pt x="609" y="453"/>
                          <a:pt x="609" y="453"/>
                        </a:cubicBezTo>
                        <a:cubicBezTo>
                          <a:pt x="601" y="439"/>
                          <a:pt x="601" y="439"/>
                          <a:pt x="601" y="439"/>
                        </a:cubicBezTo>
                        <a:cubicBezTo>
                          <a:pt x="601" y="439"/>
                          <a:pt x="605" y="431"/>
                          <a:pt x="605" y="426"/>
                        </a:cubicBezTo>
                        <a:cubicBezTo>
                          <a:pt x="605" y="421"/>
                          <a:pt x="577" y="393"/>
                          <a:pt x="577" y="393"/>
                        </a:cubicBezTo>
                        <a:cubicBezTo>
                          <a:pt x="576" y="374"/>
                          <a:pt x="576" y="374"/>
                          <a:pt x="576" y="374"/>
                        </a:cubicBezTo>
                        <a:cubicBezTo>
                          <a:pt x="569" y="376"/>
                          <a:pt x="563" y="374"/>
                          <a:pt x="563" y="374"/>
                        </a:cubicBezTo>
                        <a:cubicBezTo>
                          <a:pt x="563" y="374"/>
                          <a:pt x="556" y="363"/>
                          <a:pt x="560" y="363"/>
                        </a:cubicBezTo>
                        <a:cubicBezTo>
                          <a:pt x="581" y="349"/>
                          <a:pt x="536" y="325"/>
                          <a:pt x="536" y="325"/>
                        </a:cubicBezTo>
                        <a:cubicBezTo>
                          <a:pt x="529" y="305"/>
                          <a:pt x="529" y="305"/>
                          <a:pt x="529" y="305"/>
                        </a:cubicBezTo>
                        <a:cubicBezTo>
                          <a:pt x="496" y="303"/>
                          <a:pt x="496" y="303"/>
                          <a:pt x="496" y="303"/>
                        </a:cubicBezTo>
                        <a:cubicBezTo>
                          <a:pt x="496" y="303"/>
                          <a:pt x="483" y="299"/>
                          <a:pt x="489" y="294"/>
                        </a:cubicBezTo>
                        <a:cubicBezTo>
                          <a:pt x="496" y="289"/>
                          <a:pt x="496" y="259"/>
                          <a:pt x="496" y="259"/>
                        </a:cubicBezTo>
                        <a:cubicBezTo>
                          <a:pt x="487" y="247"/>
                          <a:pt x="487" y="247"/>
                          <a:pt x="487" y="247"/>
                        </a:cubicBezTo>
                        <a:cubicBezTo>
                          <a:pt x="495" y="246"/>
                          <a:pt x="495" y="246"/>
                          <a:pt x="495" y="246"/>
                        </a:cubicBezTo>
                        <a:cubicBezTo>
                          <a:pt x="496" y="226"/>
                          <a:pt x="496" y="226"/>
                          <a:pt x="496" y="226"/>
                        </a:cubicBezTo>
                        <a:cubicBezTo>
                          <a:pt x="491" y="218"/>
                          <a:pt x="491" y="218"/>
                          <a:pt x="491" y="218"/>
                        </a:cubicBezTo>
                        <a:cubicBezTo>
                          <a:pt x="491" y="203"/>
                          <a:pt x="491" y="203"/>
                          <a:pt x="491" y="203"/>
                        </a:cubicBezTo>
                        <a:cubicBezTo>
                          <a:pt x="491" y="203"/>
                          <a:pt x="475" y="193"/>
                          <a:pt x="477" y="186"/>
                        </a:cubicBezTo>
                        <a:cubicBezTo>
                          <a:pt x="508" y="175"/>
                          <a:pt x="476" y="178"/>
                          <a:pt x="476" y="178"/>
                        </a:cubicBezTo>
                        <a:cubicBezTo>
                          <a:pt x="463" y="93"/>
                          <a:pt x="463" y="93"/>
                          <a:pt x="463" y="93"/>
                        </a:cubicBezTo>
                        <a:cubicBezTo>
                          <a:pt x="458" y="95"/>
                          <a:pt x="436" y="105"/>
                          <a:pt x="435" y="102"/>
                        </a:cubicBezTo>
                        <a:cubicBezTo>
                          <a:pt x="418" y="138"/>
                          <a:pt x="357" y="137"/>
                          <a:pt x="357" y="137"/>
                        </a:cubicBezTo>
                        <a:cubicBezTo>
                          <a:pt x="325" y="122"/>
                          <a:pt x="325" y="122"/>
                          <a:pt x="325" y="122"/>
                        </a:cubicBezTo>
                        <a:cubicBezTo>
                          <a:pt x="325" y="122"/>
                          <a:pt x="286" y="117"/>
                          <a:pt x="239" y="114"/>
                        </a:cubicBezTo>
                        <a:cubicBezTo>
                          <a:pt x="194" y="93"/>
                          <a:pt x="170" y="107"/>
                          <a:pt x="170" y="107"/>
                        </a:cubicBezTo>
                        <a:cubicBezTo>
                          <a:pt x="168" y="123"/>
                          <a:pt x="168" y="123"/>
                          <a:pt x="168" y="123"/>
                        </a:cubicBezTo>
                        <a:cubicBezTo>
                          <a:pt x="160" y="116"/>
                          <a:pt x="160" y="116"/>
                          <a:pt x="160" y="116"/>
                        </a:cubicBezTo>
                        <a:cubicBezTo>
                          <a:pt x="160" y="116"/>
                          <a:pt x="150" y="108"/>
                          <a:pt x="157" y="102"/>
                        </a:cubicBezTo>
                        <a:cubicBezTo>
                          <a:pt x="164" y="96"/>
                          <a:pt x="152" y="88"/>
                          <a:pt x="152" y="88"/>
                        </a:cubicBezTo>
                        <a:cubicBezTo>
                          <a:pt x="130" y="51"/>
                          <a:pt x="130" y="51"/>
                          <a:pt x="130" y="51"/>
                        </a:cubicBezTo>
                        <a:cubicBezTo>
                          <a:pt x="150" y="35"/>
                          <a:pt x="150" y="35"/>
                          <a:pt x="150" y="35"/>
                        </a:cubicBezTo>
                        <a:cubicBezTo>
                          <a:pt x="140" y="11"/>
                          <a:pt x="140" y="11"/>
                          <a:pt x="140" y="11"/>
                        </a:cubicBezTo>
                        <a:cubicBezTo>
                          <a:pt x="104" y="7"/>
                          <a:pt x="104" y="7"/>
                          <a:pt x="104" y="7"/>
                        </a:cubicBezTo>
                        <a:cubicBezTo>
                          <a:pt x="91" y="21"/>
                          <a:pt x="91" y="21"/>
                          <a:pt x="91" y="21"/>
                        </a:cubicBezTo>
                        <a:cubicBezTo>
                          <a:pt x="91" y="21"/>
                          <a:pt x="82" y="30"/>
                          <a:pt x="59" y="24"/>
                        </a:cubicBezTo>
                        <a:cubicBezTo>
                          <a:pt x="36" y="18"/>
                          <a:pt x="1" y="0"/>
                          <a:pt x="1" y="0"/>
                        </a:cubicBezTo>
                        <a:cubicBezTo>
                          <a:pt x="0" y="16"/>
                          <a:pt x="0" y="16"/>
                          <a:pt x="0" y="16"/>
                        </a:cubicBezTo>
                        <a:cubicBezTo>
                          <a:pt x="0" y="16"/>
                          <a:pt x="4" y="16"/>
                          <a:pt x="16" y="23"/>
                        </a:cubicBezTo>
                        <a:cubicBezTo>
                          <a:pt x="28" y="30"/>
                          <a:pt x="12" y="63"/>
                          <a:pt x="12" y="63"/>
                        </a:cubicBezTo>
                        <a:cubicBezTo>
                          <a:pt x="12" y="63"/>
                          <a:pt x="21" y="81"/>
                          <a:pt x="22" y="85"/>
                        </a:cubicBezTo>
                        <a:cubicBezTo>
                          <a:pt x="22" y="112"/>
                          <a:pt x="34" y="108"/>
                          <a:pt x="34" y="108"/>
                        </a:cubicBezTo>
                        <a:cubicBezTo>
                          <a:pt x="66" y="158"/>
                          <a:pt x="66" y="158"/>
                          <a:pt x="66" y="158"/>
                        </a:cubicBezTo>
                        <a:cubicBezTo>
                          <a:pt x="65" y="214"/>
                          <a:pt x="65" y="214"/>
                          <a:pt x="65" y="214"/>
                        </a:cubicBezTo>
                        <a:cubicBezTo>
                          <a:pt x="73" y="216"/>
                          <a:pt x="73" y="216"/>
                          <a:pt x="73" y="216"/>
                        </a:cubicBezTo>
                        <a:cubicBezTo>
                          <a:pt x="69" y="232"/>
                          <a:pt x="69" y="232"/>
                          <a:pt x="69" y="232"/>
                        </a:cubicBezTo>
                        <a:cubicBezTo>
                          <a:pt x="78" y="239"/>
                          <a:pt x="78" y="239"/>
                          <a:pt x="78" y="239"/>
                        </a:cubicBezTo>
                        <a:cubicBezTo>
                          <a:pt x="70" y="245"/>
                          <a:pt x="70" y="245"/>
                          <a:pt x="70" y="245"/>
                        </a:cubicBezTo>
                        <a:cubicBezTo>
                          <a:pt x="70" y="245"/>
                          <a:pt x="66" y="280"/>
                          <a:pt x="69" y="294"/>
                        </a:cubicBezTo>
                        <a:cubicBezTo>
                          <a:pt x="71" y="315"/>
                          <a:pt x="108" y="326"/>
                          <a:pt x="108" y="326"/>
                        </a:cubicBezTo>
                        <a:cubicBezTo>
                          <a:pt x="83" y="331"/>
                          <a:pt x="83" y="331"/>
                          <a:pt x="83" y="331"/>
                        </a:cubicBezTo>
                        <a:cubicBezTo>
                          <a:pt x="83" y="331"/>
                          <a:pt x="75" y="328"/>
                          <a:pt x="68" y="329"/>
                        </a:cubicBezTo>
                        <a:cubicBezTo>
                          <a:pt x="66" y="330"/>
                          <a:pt x="62" y="331"/>
                          <a:pt x="58" y="332"/>
                        </a:cubicBezTo>
                        <a:cubicBezTo>
                          <a:pt x="77" y="377"/>
                          <a:pt x="77" y="377"/>
                          <a:pt x="77" y="377"/>
                        </a:cubicBezTo>
                        <a:cubicBezTo>
                          <a:pt x="77" y="377"/>
                          <a:pt x="87" y="470"/>
                          <a:pt x="136" y="402"/>
                        </a:cubicBez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55" name="Bretagne" descr="© INSCALE GmbH, 05.05.2010&#10;http://www.presentationload.com/">
                    <a:extLst>
                      <a:ext uri="{FF2B5EF4-FFF2-40B4-BE49-F238E27FC236}">
                        <a16:creationId xmlns:a16="http://schemas.microsoft.com/office/drawing/2014/main" id="{1F790DA4-9145-4DAC-8C0C-2F06293E2899}"/>
                      </a:ext>
                    </a:extLst>
                  </p:cNvPr>
                  <p:cNvSpPr>
                    <a:spLocks noEditPoints="1"/>
                  </p:cNvSpPr>
                  <p:nvPr/>
                </p:nvSpPr>
                <p:spPr bwMode="gray">
                  <a:xfrm>
                    <a:off x="48" y="857"/>
                    <a:ext cx="953" cy="536"/>
                  </a:xfrm>
                  <a:custGeom>
                    <a:avLst/>
                    <a:gdLst/>
                    <a:ahLst/>
                    <a:cxnLst>
                      <a:cxn ang="0">
                        <a:pos x="459" y="18"/>
                      </a:cxn>
                      <a:cxn ang="0">
                        <a:pos x="5" y="133"/>
                      </a:cxn>
                      <a:cxn ang="0">
                        <a:pos x="355" y="388"/>
                      </a:cxn>
                      <a:cxn ang="0">
                        <a:pos x="355" y="388"/>
                      </a:cxn>
                      <a:cxn ang="0">
                        <a:pos x="394" y="465"/>
                      </a:cxn>
                      <a:cxn ang="0">
                        <a:pos x="422" y="494"/>
                      </a:cxn>
                      <a:cxn ang="0">
                        <a:pos x="413" y="479"/>
                      </a:cxn>
                      <a:cxn ang="0">
                        <a:pos x="448" y="462"/>
                      </a:cxn>
                      <a:cxn ang="0">
                        <a:pos x="467" y="479"/>
                      </a:cxn>
                      <a:cxn ang="0">
                        <a:pos x="55" y="259"/>
                      </a:cxn>
                      <a:cxn ang="0">
                        <a:pos x="36" y="144"/>
                      </a:cxn>
                      <a:cxn ang="0">
                        <a:pos x="56" y="163"/>
                      </a:cxn>
                      <a:cxn ang="0">
                        <a:pos x="246" y="42"/>
                      </a:cxn>
                      <a:cxn ang="0">
                        <a:pos x="874" y="165"/>
                      </a:cxn>
                      <a:cxn ang="0">
                        <a:pos x="757" y="79"/>
                      </a:cxn>
                      <a:cxn ang="0">
                        <a:pos x="705" y="58"/>
                      </a:cxn>
                      <a:cxn ang="0">
                        <a:pos x="628" y="92"/>
                      </a:cxn>
                      <a:cxn ang="0">
                        <a:pos x="606" y="63"/>
                      </a:cxn>
                      <a:cxn ang="0">
                        <a:pos x="570" y="80"/>
                      </a:cxn>
                      <a:cxn ang="0">
                        <a:pos x="526" y="116"/>
                      </a:cxn>
                      <a:cxn ang="0">
                        <a:pos x="496" y="71"/>
                      </a:cxn>
                      <a:cxn ang="0">
                        <a:pos x="458" y="31"/>
                      </a:cxn>
                      <a:cxn ang="0">
                        <a:pos x="446" y="0"/>
                      </a:cxn>
                      <a:cxn ang="0">
                        <a:pos x="401" y="13"/>
                      </a:cxn>
                      <a:cxn ang="0">
                        <a:pos x="347" y="22"/>
                      </a:cxn>
                      <a:cxn ang="0">
                        <a:pos x="333" y="59"/>
                      </a:cxn>
                      <a:cxn ang="0">
                        <a:pos x="268" y="58"/>
                      </a:cxn>
                      <a:cxn ang="0">
                        <a:pos x="237" y="58"/>
                      </a:cxn>
                      <a:cxn ang="0">
                        <a:pos x="186" y="70"/>
                      </a:cxn>
                      <a:cxn ang="0">
                        <a:pos x="147" y="76"/>
                      </a:cxn>
                      <a:cxn ang="0">
                        <a:pos x="115" y="80"/>
                      </a:cxn>
                      <a:cxn ang="0">
                        <a:pos x="84" y="106"/>
                      </a:cxn>
                      <a:cxn ang="0">
                        <a:pos x="79" y="148"/>
                      </a:cxn>
                      <a:cxn ang="0">
                        <a:pos x="98" y="154"/>
                      </a:cxn>
                      <a:cxn ang="0">
                        <a:pos x="156" y="145"/>
                      </a:cxn>
                      <a:cxn ang="0">
                        <a:pos x="172" y="160"/>
                      </a:cxn>
                      <a:cxn ang="0">
                        <a:pos x="155" y="185"/>
                      </a:cxn>
                      <a:cxn ang="0">
                        <a:pos x="122" y="172"/>
                      </a:cxn>
                      <a:cxn ang="0">
                        <a:pos x="125" y="211"/>
                      </a:cxn>
                      <a:cxn ang="0">
                        <a:pos x="171" y="237"/>
                      </a:cxn>
                      <a:cxn ang="0">
                        <a:pos x="156" y="329"/>
                      </a:cxn>
                      <a:cxn ang="0">
                        <a:pos x="235" y="316"/>
                      </a:cxn>
                      <a:cxn ang="0">
                        <a:pos x="294" y="333"/>
                      </a:cxn>
                      <a:cxn ang="0">
                        <a:pos x="384" y="364"/>
                      </a:cxn>
                      <a:cxn ang="0">
                        <a:pos x="414" y="432"/>
                      </a:cxn>
                      <a:cxn ang="0">
                        <a:pos x="425" y="403"/>
                      </a:cxn>
                      <a:cxn ang="0">
                        <a:pos x="460" y="391"/>
                      </a:cxn>
                      <a:cxn ang="0">
                        <a:pos x="522" y="390"/>
                      </a:cxn>
                      <a:cxn ang="0">
                        <a:pos x="462" y="407"/>
                      </a:cxn>
                      <a:cxn ang="0">
                        <a:pos x="513" y="428"/>
                      </a:cxn>
                      <a:cxn ang="0">
                        <a:pos x="555" y="424"/>
                      </a:cxn>
                      <a:cxn ang="0">
                        <a:pos x="566" y="454"/>
                      </a:cxn>
                      <a:cxn ang="0">
                        <a:pos x="554" y="487"/>
                      </a:cxn>
                      <a:cxn ang="0">
                        <a:pos x="595" y="481"/>
                      </a:cxn>
                      <a:cxn ang="0">
                        <a:pos x="666" y="409"/>
                      </a:cxn>
                      <a:cxn ang="0">
                        <a:pos x="752" y="389"/>
                      </a:cxn>
                      <a:cxn ang="0">
                        <a:pos x="796" y="377"/>
                      </a:cxn>
                      <a:cxn ang="0">
                        <a:pos x="838" y="366"/>
                      </a:cxn>
                      <a:cxn ang="0">
                        <a:pos x="879" y="220"/>
                      </a:cxn>
                    </a:cxnLst>
                    <a:rect l="0" t="0" r="r" b="b"/>
                    <a:pathLst>
                      <a:path w="884" h="496">
                        <a:moveTo>
                          <a:pt x="459" y="18"/>
                        </a:moveTo>
                        <a:cubicBezTo>
                          <a:pt x="460" y="17"/>
                          <a:pt x="460" y="17"/>
                          <a:pt x="460" y="15"/>
                        </a:cubicBezTo>
                        <a:cubicBezTo>
                          <a:pt x="460" y="12"/>
                          <a:pt x="459" y="14"/>
                          <a:pt x="459" y="18"/>
                        </a:cubicBezTo>
                        <a:close/>
                        <a:moveTo>
                          <a:pt x="17" y="117"/>
                        </a:moveTo>
                        <a:cubicBezTo>
                          <a:pt x="11" y="117"/>
                          <a:pt x="0" y="125"/>
                          <a:pt x="0" y="125"/>
                        </a:cubicBezTo>
                        <a:cubicBezTo>
                          <a:pt x="5" y="133"/>
                          <a:pt x="5" y="133"/>
                          <a:pt x="5" y="133"/>
                        </a:cubicBezTo>
                        <a:cubicBezTo>
                          <a:pt x="21" y="123"/>
                          <a:pt x="21" y="123"/>
                          <a:pt x="21" y="123"/>
                        </a:cubicBezTo>
                        <a:cubicBezTo>
                          <a:pt x="21" y="123"/>
                          <a:pt x="23" y="117"/>
                          <a:pt x="17" y="117"/>
                        </a:cubicBezTo>
                        <a:close/>
                        <a:moveTo>
                          <a:pt x="355" y="388"/>
                        </a:moveTo>
                        <a:cubicBezTo>
                          <a:pt x="346" y="382"/>
                          <a:pt x="339" y="378"/>
                          <a:pt x="339" y="378"/>
                        </a:cubicBezTo>
                        <a:cubicBezTo>
                          <a:pt x="339" y="378"/>
                          <a:pt x="333" y="390"/>
                          <a:pt x="344" y="389"/>
                        </a:cubicBezTo>
                        <a:cubicBezTo>
                          <a:pt x="355" y="388"/>
                          <a:pt x="364" y="394"/>
                          <a:pt x="355" y="388"/>
                        </a:cubicBezTo>
                        <a:close/>
                        <a:moveTo>
                          <a:pt x="413" y="479"/>
                        </a:moveTo>
                        <a:cubicBezTo>
                          <a:pt x="409" y="469"/>
                          <a:pt x="409" y="469"/>
                          <a:pt x="409" y="469"/>
                        </a:cubicBezTo>
                        <a:cubicBezTo>
                          <a:pt x="394" y="465"/>
                          <a:pt x="394" y="465"/>
                          <a:pt x="394" y="465"/>
                        </a:cubicBezTo>
                        <a:cubicBezTo>
                          <a:pt x="384" y="466"/>
                          <a:pt x="393" y="490"/>
                          <a:pt x="393" y="490"/>
                        </a:cubicBezTo>
                        <a:cubicBezTo>
                          <a:pt x="413" y="490"/>
                          <a:pt x="413" y="490"/>
                          <a:pt x="413" y="490"/>
                        </a:cubicBezTo>
                        <a:cubicBezTo>
                          <a:pt x="422" y="494"/>
                          <a:pt x="422" y="494"/>
                          <a:pt x="422" y="494"/>
                        </a:cubicBezTo>
                        <a:cubicBezTo>
                          <a:pt x="427" y="485"/>
                          <a:pt x="427" y="485"/>
                          <a:pt x="427" y="485"/>
                        </a:cubicBezTo>
                        <a:cubicBezTo>
                          <a:pt x="425" y="480"/>
                          <a:pt x="425" y="480"/>
                          <a:pt x="425" y="480"/>
                        </a:cubicBezTo>
                        <a:lnTo>
                          <a:pt x="413" y="479"/>
                        </a:lnTo>
                        <a:close/>
                        <a:moveTo>
                          <a:pt x="448" y="462"/>
                        </a:moveTo>
                        <a:cubicBezTo>
                          <a:pt x="448" y="462"/>
                          <a:pt x="454" y="467"/>
                          <a:pt x="454" y="465"/>
                        </a:cubicBezTo>
                        <a:cubicBezTo>
                          <a:pt x="454" y="462"/>
                          <a:pt x="454" y="462"/>
                          <a:pt x="448" y="462"/>
                        </a:cubicBezTo>
                        <a:close/>
                        <a:moveTo>
                          <a:pt x="467" y="479"/>
                        </a:moveTo>
                        <a:cubicBezTo>
                          <a:pt x="467" y="479"/>
                          <a:pt x="473" y="479"/>
                          <a:pt x="473" y="476"/>
                        </a:cubicBezTo>
                        <a:cubicBezTo>
                          <a:pt x="473" y="473"/>
                          <a:pt x="467" y="479"/>
                          <a:pt x="467" y="479"/>
                        </a:cubicBezTo>
                        <a:close/>
                        <a:moveTo>
                          <a:pt x="55" y="259"/>
                        </a:moveTo>
                        <a:cubicBezTo>
                          <a:pt x="58" y="258"/>
                          <a:pt x="53" y="251"/>
                          <a:pt x="53" y="251"/>
                        </a:cubicBezTo>
                        <a:cubicBezTo>
                          <a:pt x="53" y="251"/>
                          <a:pt x="52" y="260"/>
                          <a:pt x="55" y="259"/>
                        </a:cubicBezTo>
                        <a:close/>
                        <a:moveTo>
                          <a:pt x="36" y="144"/>
                        </a:moveTo>
                        <a:cubicBezTo>
                          <a:pt x="41" y="150"/>
                          <a:pt x="40" y="142"/>
                          <a:pt x="40" y="142"/>
                        </a:cubicBezTo>
                        <a:cubicBezTo>
                          <a:pt x="40" y="142"/>
                          <a:pt x="31" y="139"/>
                          <a:pt x="36" y="144"/>
                        </a:cubicBezTo>
                        <a:close/>
                        <a:moveTo>
                          <a:pt x="56" y="163"/>
                        </a:moveTo>
                        <a:cubicBezTo>
                          <a:pt x="56" y="163"/>
                          <a:pt x="64" y="161"/>
                          <a:pt x="59" y="156"/>
                        </a:cubicBezTo>
                        <a:cubicBezTo>
                          <a:pt x="54" y="152"/>
                          <a:pt x="56" y="163"/>
                          <a:pt x="56" y="163"/>
                        </a:cubicBezTo>
                        <a:close/>
                        <a:moveTo>
                          <a:pt x="247" y="36"/>
                        </a:moveTo>
                        <a:cubicBezTo>
                          <a:pt x="242" y="39"/>
                          <a:pt x="242" y="39"/>
                          <a:pt x="242" y="39"/>
                        </a:cubicBezTo>
                        <a:cubicBezTo>
                          <a:pt x="246" y="42"/>
                          <a:pt x="246" y="42"/>
                          <a:pt x="246" y="42"/>
                        </a:cubicBezTo>
                        <a:lnTo>
                          <a:pt x="247" y="36"/>
                        </a:lnTo>
                        <a:close/>
                        <a:moveTo>
                          <a:pt x="872" y="188"/>
                        </a:moveTo>
                        <a:cubicBezTo>
                          <a:pt x="874" y="165"/>
                          <a:pt x="874" y="165"/>
                          <a:pt x="874" y="165"/>
                        </a:cubicBezTo>
                        <a:cubicBezTo>
                          <a:pt x="865" y="163"/>
                          <a:pt x="853" y="157"/>
                          <a:pt x="835" y="149"/>
                        </a:cubicBezTo>
                        <a:cubicBezTo>
                          <a:pt x="786" y="217"/>
                          <a:pt x="776" y="124"/>
                          <a:pt x="776" y="124"/>
                        </a:cubicBezTo>
                        <a:cubicBezTo>
                          <a:pt x="757" y="79"/>
                          <a:pt x="757" y="79"/>
                          <a:pt x="757" y="79"/>
                        </a:cubicBezTo>
                        <a:cubicBezTo>
                          <a:pt x="750" y="81"/>
                          <a:pt x="742" y="83"/>
                          <a:pt x="742" y="83"/>
                        </a:cubicBezTo>
                        <a:cubicBezTo>
                          <a:pt x="742" y="83"/>
                          <a:pt x="722" y="85"/>
                          <a:pt x="710" y="84"/>
                        </a:cubicBezTo>
                        <a:cubicBezTo>
                          <a:pt x="698" y="83"/>
                          <a:pt x="705" y="58"/>
                          <a:pt x="705" y="58"/>
                        </a:cubicBezTo>
                        <a:cubicBezTo>
                          <a:pt x="692" y="58"/>
                          <a:pt x="664" y="78"/>
                          <a:pt x="664" y="78"/>
                        </a:cubicBezTo>
                        <a:cubicBezTo>
                          <a:pt x="647" y="76"/>
                          <a:pt x="647" y="76"/>
                          <a:pt x="647" y="76"/>
                        </a:cubicBezTo>
                        <a:cubicBezTo>
                          <a:pt x="647" y="76"/>
                          <a:pt x="636" y="91"/>
                          <a:pt x="628" y="92"/>
                        </a:cubicBezTo>
                        <a:cubicBezTo>
                          <a:pt x="620" y="93"/>
                          <a:pt x="616" y="75"/>
                          <a:pt x="616" y="75"/>
                        </a:cubicBezTo>
                        <a:cubicBezTo>
                          <a:pt x="601" y="80"/>
                          <a:pt x="601" y="80"/>
                          <a:pt x="601" y="80"/>
                        </a:cubicBezTo>
                        <a:cubicBezTo>
                          <a:pt x="601" y="80"/>
                          <a:pt x="609" y="67"/>
                          <a:pt x="606" y="63"/>
                        </a:cubicBezTo>
                        <a:cubicBezTo>
                          <a:pt x="603" y="59"/>
                          <a:pt x="584" y="75"/>
                          <a:pt x="584" y="75"/>
                        </a:cubicBezTo>
                        <a:cubicBezTo>
                          <a:pt x="571" y="72"/>
                          <a:pt x="571" y="72"/>
                          <a:pt x="571" y="72"/>
                        </a:cubicBezTo>
                        <a:cubicBezTo>
                          <a:pt x="570" y="80"/>
                          <a:pt x="570" y="80"/>
                          <a:pt x="570" y="80"/>
                        </a:cubicBezTo>
                        <a:cubicBezTo>
                          <a:pt x="533" y="109"/>
                          <a:pt x="533" y="109"/>
                          <a:pt x="533" y="109"/>
                        </a:cubicBezTo>
                        <a:cubicBezTo>
                          <a:pt x="529" y="106"/>
                          <a:pt x="529" y="106"/>
                          <a:pt x="529" y="106"/>
                        </a:cubicBezTo>
                        <a:cubicBezTo>
                          <a:pt x="526" y="116"/>
                          <a:pt x="526" y="116"/>
                          <a:pt x="526" y="116"/>
                        </a:cubicBezTo>
                        <a:cubicBezTo>
                          <a:pt x="516" y="96"/>
                          <a:pt x="516" y="96"/>
                          <a:pt x="516" y="96"/>
                        </a:cubicBezTo>
                        <a:cubicBezTo>
                          <a:pt x="499" y="88"/>
                          <a:pt x="499" y="88"/>
                          <a:pt x="499" y="88"/>
                        </a:cubicBezTo>
                        <a:cubicBezTo>
                          <a:pt x="496" y="71"/>
                          <a:pt x="496" y="71"/>
                          <a:pt x="496" y="71"/>
                        </a:cubicBezTo>
                        <a:cubicBezTo>
                          <a:pt x="473" y="49"/>
                          <a:pt x="473" y="49"/>
                          <a:pt x="473" y="49"/>
                        </a:cubicBezTo>
                        <a:cubicBezTo>
                          <a:pt x="473" y="36"/>
                          <a:pt x="473" y="36"/>
                          <a:pt x="473" y="36"/>
                        </a:cubicBezTo>
                        <a:cubicBezTo>
                          <a:pt x="473" y="36"/>
                          <a:pt x="459" y="35"/>
                          <a:pt x="458" y="31"/>
                        </a:cubicBezTo>
                        <a:cubicBezTo>
                          <a:pt x="457" y="29"/>
                          <a:pt x="458" y="22"/>
                          <a:pt x="459" y="18"/>
                        </a:cubicBezTo>
                        <a:cubicBezTo>
                          <a:pt x="455" y="21"/>
                          <a:pt x="444" y="18"/>
                          <a:pt x="444" y="18"/>
                        </a:cubicBezTo>
                        <a:cubicBezTo>
                          <a:pt x="446" y="0"/>
                          <a:pt x="446" y="0"/>
                          <a:pt x="446" y="0"/>
                        </a:cubicBezTo>
                        <a:cubicBezTo>
                          <a:pt x="426" y="10"/>
                          <a:pt x="426" y="10"/>
                          <a:pt x="426" y="10"/>
                        </a:cubicBezTo>
                        <a:cubicBezTo>
                          <a:pt x="415" y="4"/>
                          <a:pt x="415" y="4"/>
                          <a:pt x="415" y="4"/>
                        </a:cubicBezTo>
                        <a:cubicBezTo>
                          <a:pt x="415" y="4"/>
                          <a:pt x="411" y="10"/>
                          <a:pt x="401" y="13"/>
                        </a:cubicBezTo>
                        <a:cubicBezTo>
                          <a:pt x="387" y="15"/>
                          <a:pt x="372" y="26"/>
                          <a:pt x="372" y="26"/>
                        </a:cubicBezTo>
                        <a:cubicBezTo>
                          <a:pt x="371" y="19"/>
                          <a:pt x="356" y="12"/>
                          <a:pt x="351" y="12"/>
                        </a:cubicBezTo>
                        <a:cubicBezTo>
                          <a:pt x="346" y="12"/>
                          <a:pt x="347" y="22"/>
                          <a:pt x="347" y="22"/>
                        </a:cubicBezTo>
                        <a:cubicBezTo>
                          <a:pt x="341" y="25"/>
                          <a:pt x="341" y="25"/>
                          <a:pt x="341" y="25"/>
                        </a:cubicBezTo>
                        <a:cubicBezTo>
                          <a:pt x="347" y="40"/>
                          <a:pt x="347" y="40"/>
                          <a:pt x="347" y="40"/>
                        </a:cubicBezTo>
                        <a:cubicBezTo>
                          <a:pt x="347" y="40"/>
                          <a:pt x="336" y="60"/>
                          <a:pt x="333" y="59"/>
                        </a:cubicBezTo>
                        <a:cubicBezTo>
                          <a:pt x="300" y="51"/>
                          <a:pt x="285" y="50"/>
                          <a:pt x="282" y="56"/>
                        </a:cubicBezTo>
                        <a:cubicBezTo>
                          <a:pt x="279" y="62"/>
                          <a:pt x="280" y="72"/>
                          <a:pt x="277" y="72"/>
                        </a:cubicBezTo>
                        <a:cubicBezTo>
                          <a:pt x="274" y="72"/>
                          <a:pt x="268" y="58"/>
                          <a:pt x="268" y="58"/>
                        </a:cubicBezTo>
                        <a:cubicBezTo>
                          <a:pt x="258" y="63"/>
                          <a:pt x="258" y="63"/>
                          <a:pt x="258" y="63"/>
                        </a:cubicBezTo>
                        <a:cubicBezTo>
                          <a:pt x="258" y="63"/>
                          <a:pt x="251" y="44"/>
                          <a:pt x="245" y="47"/>
                        </a:cubicBezTo>
                        <a:cubicBezTo>
                          <a:pt x="239" y="50"/>
                          <a:pt x="237" y="58"/>
                          <a:pt x="237" y="58"/>
                        </a:cubicBezTo>
                        <a:cubicBezTo>
                          <a:pt x="237" y="58"/>
                          <a:pt x="226" y="55"/>
                          <a:pt x="217" y="54"/>
                        </a:cubicBezTo>
                        <a:cubicBezTo>
                          <a:pt x="208" y="53"/>
                          <a:pt x="200" y="64"/>
                          <a:pt x="200" y="64"/>
                        </a:cubicBezTo>
                        <a:cubicBezTo>
                          <a:pt x="186" y="70"/>
                          <a:pt x="186" y="70"/>
                          <a:pt x="186" y="70"/>
                        </a:cubicBezTo>
                        <a:cubicBezTo>
                          <a:pt x="173" y="60"/>
                          <a:pt x="173" y="60"/>
                          <a:pt x="173" y="60"/>
                        </a:cubicBezTo>
                        <a:cubicBezTo>
                          <a:pt x="173" y="60"/>
                          <a:pt x="168" y="65"/>
                          <a:pt x="161" y="69"/>
                        </a:cubicBezTo>
                        <a:cubicBezTo>
                          <a:pt x="154" y="73"/>
                          <a:pt x="147" y="76"/>
                          <a:pt x="147" y="76"/>
                        </a:cubicBezTo>
                        <a:cubicBezTo>
                          <a:pt x="147" y="76"/>
                          <a:pt x="131" y="70"/>
                          <a:pt x="126" y="70"/>
                        </a:cubicBezTo>
                        <a:cubicBezTo>
                          <a:pt x="121" y="70"/>
                          <a:pt x="134" y="84"/>
                          <a:pt x="134" y="84"/>
                        </a:cubicBezTo>
                        <a:cubicBezTo>
                          <a:pt x="115" y="80"/>
                          <a:pt x="115" y="80"/>
                          <a:pt x="115" y="80"/>
                        </a:cubicBezTo>
                        <a:cubicBezTo>
                          <a:pt x="115" y="85"/>
                          <a:pt x="115" y="85"/>
                          <a:pt x="115" y="85"/>
                        </a:cubicBezTo>
                        <a:cubicBezTo>
                          <a:pt x="105" y="87"/>
                          <a:pt x="105" y="87"/>
                          <a:pt x="105" y="87"/>
                        </a:cubicBezTo>
                        <a:cubicBezTo>
                          <a:pt x="105" y="87"/>
                          <a:pt x="96" y="98"/>
                          <a:pt x="84" y="106"/>
                        </a:cubicBezTo>
                        <a:cubicBezTo>
                          <a:pt x="72" y="114"/>
                          <a:pt x="86" y="121"/>
                          <a:pt x="86" y="121"/>
                        </a:cubicBezTo>
                        <a:cubicBezTo>
                          <a:pt x="86" y="121"/>
                          <a:pt x="76" y="131"/>
                          <a:pt x="75" y="139"/>
                        </a:cubicBezTo>
                        <a:cubicBezTo>
                          <a:pt x="74" y="147"/>
                          <a:pt x="79" y="148"/>
                          <a:pt x="79" y="148"/>
                        </a:cubicBezTo>
                        <a:cubicBezTo>
                          <a:pt x="79" y="148"/>
                          <a:pt x="74" y="150"/>
                          <a:pt x="75" y="160"/>
                        </a:cubicBezTo>
                        <a:cubicBezTo>
                          <a:pt x="76" y="170"/>
                          <a:pt x="86" y="164"/>
                          <a:pt x="86" y="164"/>
                        </a:cubicBezTo>
                        <a:cubicBezTo>
                          <a:pt x="98" y="154"/>
                          <a:pt x="98" y="154"/>
                          <a:pt x="98" y="154"/>
                        </a:cubicBezTo>
                        <a:cubicBezTo>
                          <a:pt x="107" y="157"/>
                          <a:pt x="107" y="157"/>
                          <a:pt x="107" y="157"/>
                        </a:cubicBezTo>
                        <a:cubicBezTo>
                          <a:pt x="107" y="157"/>
                          <a:pt x="112" y="161"/>
                          <a:pt x="122" y="156"/>
                        </a:cubicBezTo>
                        <a:cubicBezTo>
                          <a:pt x="132" y="151"/>
                          <a:pt x="156" y="145"/>
                          <a:pt x="156" y="145"/>
                        </a:cubicBezTo>
                        <a:cubicBezTo>
                          <a:pt x="145" y="163"/>
                          <a:pt x="145" y="163"/>
                          <a:pt x="145" y="163"/>
                        </a:cubicBezTo>
                        <a:cubicBezTo>
                          <a:pt x="157" y="168"/>
                          <a:pt x="157" y="168"/>
                          <a:pt x="157" y="168"/>
                        </a:cubicBezTo>
                        <a:cubicBezTo>
                          <a:pt x="172" y="160"/>
                          <a:pt x="172" y="160"/>
                          <a:pt x="172" y="160"/>
                        </a:cubicBezTo>
                        <a:cubicBezTo>
                          <a:pt x="174" y="166"/>
                          <a:pt x="186" y="174"/>
                          <a:pt x="183" y="174"/>
                        </a:cubicBezTo>
                        <a:cubicBezTo>
                          <a:pt x="180" y="174"/>
                          <a:pt x="166" y="183"/>
                          <a:pt x="166" y="183"/>
                        </a:cubicBezTo>
                        <a:cubicBezTo>
                          <a:pt x="155" y="185"/>
                          <a:pt x="155" y="185"/>
                          <a:pt x="155" y="185"/>
                        </a:cubicBezTo>
                        <a:cubicBezTo>
                          <a:pt x="145" y="173"/>
                          <a:pt x="145" y="173"/>
                          <a:pt x="145" y="173"/>
                        </a:cubicBezTo>
                        <a:cubicBezTo>
                          <a:pt x="137" y="178"/>
                          <a:pt x="137" y="178"/>
                          <a:pt x="137" y="178"/>
                        </a:cubicBezTo>
                        <a:cubicBezTo>
                          <a:pt x="122" y="172"/>
                          <a:pt x="122" y="172"/>
                          <a:pt x="122" y="172"/>
                        </a:cubicBezTo>
                        <a:cubicBezTo>
                          <a:pt x="109" y="181"/>
                          <a:pt x="109" y="181"/>
                          <a:pt x="109" y="181"/>
                        </a:cubicBezTo>
                        <a:cubicBezTo>
                          <a:pt x="120" y="189"/>
                          <a:pt x="120" y="189"/>
                          <a:pt x="120" y="189"/>
                        </a:cubicBezTo>
                        <a:cubicBezTo>
                          <a:pt x="120" y="189"/>
                          <a:pt x="124" y="208"/>
                          <a:pt x="125" y="211"/>
                        </a:cubicBezTo>
                        <a:cubicBezTo>
                          <a:pt x="126" y="214"/>
                          <a:pt x="130" y="192"/>
                          <a:pt x="141" y="191"/>
                        </a:cubicBezTo>
                        <a:cubicBezTo>
                          <a:pt x="152" y="190"/>
                          <a:pt x="135" y="190"/>
                          <a:pt x="164" y="204"/>
                        </a:cubicBezTo>
                        <a:cubicBezTo>
                          <a:pt x="193" y="218"/>
                          <a:pt x="171" y="237"/>
                          <a:pt x="171" y="237"/>
                        </a:cubicBezTo>
                        <a:cubicBezTo>
                          <a:pt x="144" y="227"/>
                          <a:pt x="79" y="254"/>
                          <a:pt x="79" y="254"/>
                        </a:cubicBezTo>
                        <a:cubicBezTo>
                          <a:pt x="139" y="267"/>
                          <a:pt x="141" y="276"/>
                          <a:pt x="153" y="293"/>
                        </a:cubicBezTo>
                        <a:cubicBezTo>
                          <a:pt x="165" y="310"/>
                          <a:pt x="156" y="329"/>
                          <a:pt x="156" y="329"/>
                        </a:cubicBezTo>
                        <a:cubicBezTo>
                          <a:pt x="197" y="333"/>
                          <a:pt x="197" y="333"/>
                          <a:pt x="197" y="333"/>
                        </a:cubicBezTo>
                        <a:cubicBezTo>
                          <a:pt x="197" y="333"/>
                          <a:pt x="207" y="310"/>
                          <a:pt x="214" y="310"/>
                        </a:cubicBezTo>
                        <a:cubicBezTo>
                          <a:pt x="221" y="310"/>
                          <a:pt x="231" y="316"/>
                          <a:pt x="235" y="316"/>
                        </a:cubicBezTo>
                        <a:cubicBezTo>
                          <a:pt x="239" y="316"/>
                          <a:pt x="249" y="301"/>
                          <a:pt x="249" y="301"/>
                        </a:cubicBezTo>
                        <a:cubicBezTo>
                          <a:pt x="268" y="334"/>
                          <a:pt x="268" y="334"/>
                          <a:pt x="268" y="334"/>
                        </a:cubicBezTo>
                        <a:cubicBezTo>
                          <a:pt x="294" y="333"/>
                          <a:pt x="294" y="333"/>
                          <a:pt x="294" y="333"/>
                        </a:cubicBezTo>
                        <a:cubicBezTo>
                          <a:pt x="296" y="338"/>
                          <a:pt x="335" y="344"/>
                          <a:pt x="335" y="344"/>
                        </a:cubicBezTo>
                        <a:cubicBezTo>
                          <a:pt x="335" y="344"/>
                          <a:pt x="355" y="365"/>
                          <a:pt x="358" y="365"/>
                        </a:cubicBezTo>
                        <a:cubicBezTo>
                          <a:pt x="361" y="365"/>
                          <a:pt x="384" y="364"/>
                          <a:pt x="384" y="364"/>
                        </a:cubicBezTo>
                        <a:cubicBezTo>
                          <a:pt x="414" y="401"/>
                          <a:pt x="414" y="401"/>
                          <a:pt x="414" y="401"/>
                        </a:cubicBezTo>
                        <a:cubicBezTo>
                          <a:pt x="410" y="421"/>
                          <a:pt x="410" y="421"/>
                          <a:pt x="410" y="421"/>
                        </a:cubicBezTo>
                        <a:cubicBezTo>
                          <a:pt x="414" y="432"/>
                          <a:pt x="414" y="432"/>
                          <a:pt x="414" y="432"/>
                        </a:cubicBezTo>
                        <a:cubicBezTo>
                          <a:pt x="414" y="432"/>
                          <a:pt x="426" y="438"/>
                          <a:pt x="422" y="432"/>
                        </a:cubicBezTo>
                        <a:cubicBezTo>
                          <a:pt x="418" y="426"/>
                          <a:pt x="421" y="398"/>
                          <a:pt x="421" y="398"/>
                        </a:cubicBezTo>
                        <a:cubicBezTo>
                          <a:pt x="425" y="403"/>
                          <a:pt x="425" y="403"/>
                          <a:pt x="425" y="403"/>
                        </a:cubicBezTo>
                        <a:cubicBezTo>
                          <a:pt x="442" y="399"/>
                          <a:pt x="442" y="399"/>
                          <a:pt x="442" y="399"/>
                        </a:cubicBezTo>
                        <a:cubicBezTo>
                          <a:pt x="452" y="403"/>
                          <a:pt x="452" y="403"/>
                          <a:pt x="452" y="403"/>
                        </a:cubicBezTo>
                        <a:cubicBezTo>
                          <a:pt x="460" y="391"/>
                          <a:pt x="460" y="391"/>
                          <a:pt x="460" y="391"/>
                        </a:cubicBezTo>
                        <a:cubicBezTo>
                          <a:pt x="466" y="399"/>
                          <a:pt x="466" y="399"/>
                          <a:pt x="466" y="399"/>
                        </a:cubicBezTo>
                        <a:cubicBezTo>
                          <a:pt x="481" y="388"/>
                          <a:pt x="481" y="388"/>
                          <a:pt x="481" y="388"/>
                        </a:cubicBezTo>
                        <a:cubicBezTo>
                          <a:pt x="481" y="388"/>
                          <a:pt x="518" y="389"/>
                          <a:pt x="522" y="390"/>
                        </a:cubicBezTo>
                        <a:cubicBezTo>
                          <a:pt x="517" y="392"/>
                          <a:pt x="502" y="416"/>
                          <a:pt x="502" y="416"/>
                        </a:cubicBezTo>
                        <a:cubicBezTo>
                          <a:pt x="502" y="416"/>
                          <a:pt x="503" y="411"/>
                          <a:pt x="495" y="411"/>
                        </a:cubicBezTo>
                        <a:cubicBezTo>
                          <a:pt x="487" y="411"/>
                          <a:pt x="462" y="407"/>
                          <a:pt x="462" y="407"/>
                        </a:cubicBezTo>
                        <a:cubicBezTo>
                          <a:pt x="487" y="429"/>
                          <a:pt x="487" y="429"/>
                          <a:pt x="487" y="429"/>
                        </a:cubicBezTo>
                        <a:cubicBezTo>
                          <a:pt x="505" y="422"/>
                          <a:pt x="505" y="422"/>
                          <a:pt x="505" y="422"/>
                        </a:cubicBezTo>
                        <a:cubicBezTo>
                          <a:pt x="513" y="428"/>
                          <a:pt x="513" y="428"/>
                          <a:pt x="513" y="428"/>
                        </a:cubicBezTo>
                        <a:cubicBezTo>
                          <a:pt x="517" y="419"/>
                          <a:pt x="517" y="419"/>
                          <a:pt x="517" y="419"/>
                        </a:cubicBezTo>
                        <a:cubicBezTo>
                          <a:pt x="538" y="427"/>
                          <a:pt x="538" y="427"/>
                          <a:pt x="538" y="427"/>
                        </a:cubicBezTo>
                        <a:cubicBezTo>
                          <a:pt x="538" y="427"/>
                          <a:pt x="548" y="420"/>
                          <a:pt x="555" y="424"/>
                        </a:cubicBezTo>
                        <a:cubicBezTo>
                          <a:pt x="562" y="428"/>
                          <a:pt x="557" y="444"/>
                          <a:pt x="557" y="444"/>
                        </a:cubicBezTo>
                        <a:cubicBezTo>
                          <a:pt x="563" y="444"/>
                          <a:pt x="563" y="444"/>
                          <a:pt x="563" y="444"/>
                        </a:cubicBezTo>
                        <a:cubicBezTo>
                          <a:pt x="566" y="454"/>
                          <a:pt x="566" y="454"/>
                          <a:pt x="566" y="454"/>
                        </a:cubicBezTo>
                        <a:cubicBezTo>
                          <a:pt x="555" y="452"/>
                          <a:pt x="555" y="452"/>
                          <a:pt x="555" y="452"/>
                        </a:cubicBezTo>
                        <a:cubicBezTo>
                          <a:pt x="545" y="463"/>
                          <a:pt x="545" y="463"/>
                          <a:pt x="545" y="463"/>
                        </a:cubicBezTo>
                        <a:cubicBezTo>
                          <a:pt x="554" y="487"/>
                          <a:pt x="554" y="487"/>
                          <a:pt x="554" y="487"/>
                        </a:cubicBezTo>
                        <a:cubicBezTo>
                          <a:pt x="567" y="476"/>
                          <a:pt x="567" y="476"/>
                          <a:pt x="567" y="476"/>
                        </a:cubicBezTo>
                        <a:cubicBezTo>
                          <a:pt x="575" y="481"/>
                          <a:pt x="575" y="481"/>
                          <a:pt x="575" y="481"/>
                        </a:cubicBezTo>
                        <a:cubicBezTo>
                          <a:pt x="595" y="481"/>
                          <a:pt x="595" y="481"/>
                          <a:pt x="595" y="481"/>
                        </a:cubicBezTo>
                        <a:cubicBezTo>
                          <a:pt x="596" y="469"/>
                          <a:pt x="596" y="469"/>
                          <a:pt x="596" y="469"/>
                        </a:cubicBezTo>
                        <a:cubicBezTo>
                          <a:pt x="596" y="469"/>
                          <a:pt x="635" y="496"/>
                          <a:pt x="642" y="436"/>
                        </a:cubicBezTo>
                        <a:cubicBezTo>
                          <a:pt x="666" y="409"/>
                          <a:pt x="666" y="409"/>
                          <a:pt x="666" y="409"/>
                        </a:cubicBezTo>
                        <a:cubicBezTo>
                          <a:pt x="674" y="418"/>
                          <a:pt x="674" y="418"/>
                          <a:pt x="674" y="418"/>
                        </a:cubicBezTo>
                        <a:cubicBezTo>
                          <a:pt x="674" y="418"/>
                          <a:pt x="706" y="416"/>
                          <a:pt x="734" y="410"/>
                        </a:cubicBezTo>
                        <a:cubicBezTo>
                          <a:pt x="752" y="389"/>
                          <a:pt x="752" y="389"/>
                          <a:pt x="752" y="389"/>
                        </a:cubicBezTo>
                        <a:cubicBezTo>
                          <a:pt x="778" y="385"/>
                          <a:pt x="778" y="385"/>
                          <a:pt x="778" y="385"/>
                        </a:cubicBezTo>
                        <a:cubicBezTo>
                          <a:pt x="780" y="370"/>
                          <a:pt x="780" y="370"/>
                          <a:pt x="780" y="370"/>
                        </a:cubicBezTo>
                        <a:cubicBezTo>
                          <a:pt x="796" y="377"/>
                          <a:pt x="796" y="377"/>
                          <a:pt x="796" y="377"/>
                        </a:cubicBezTo>
                        <a:cubicBezTo>
                          <a:pt x="799" y="386"/>
                          <a:pt x="799" y="386"/>
                          <a:pt x="799" y="386"/>
                        </a:cubicBezTo>
                        <a:cubicBezTo>
                          <a:pt x="830" y="392"/>
                          <a:pt x="830" y="392"/>
                          <a:pt x="830" y="392"/>
                        </a:cubicBezTo>
                        <a:cubicBezTo>
                          <a:pt x="830" y="392"/>
                          <a:pt x="832" y="378"/>
                          <a:pt x="838" y="366"/>
                        </a:cubicBezTo>
                        <a:cubicBezTo>
                          <a:pt x="843" y="354"/>
                          <a:pt x="848" y="328"/>
                          <a:pt x="870" y="328"/>
                        </a:cubicBezTo>
                        <a:cubicBezTo>
                          <a:pt x="884" y="316"/>
                          <a:pt x="875" y="334"/>
                          <a:pt x="867" y="242"/>
                        </a:cubicBezTo>
                        <a:cubicBezTo>
                          <a:pt x="875" y="214"/>
                          <a:pt x="879" y="220"/>
                          <a:pt x="879" y="220"/>
                        </a:cubicBezTo>
                        <a:lnTo>
                          <a:pt x="872" y="188"/>
                        </a:ln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56" name="Pays-de-la-Loire" descr="© INSCALE GmbH, 05.05.2010&#10;http://www.presentationload.com/">
                    <a:extLst>
                      <a:ext uri="{FF2B5EF4-FFF2-40B4-BE49-F238E27FC236}">
                        <a16:creationId xmlns:a16="http://schemas.microsoft.com/office/drawing/2014/main" id="{BD7C2E29-7CFB-4A95-A855-2B62F86DC1C7}"/>
                      </a:ext>
                    </a:extLst>
                  </p:cNvPr>
                  <p:cNvSpPr>
                    <a:spLocks noEditPoints="1"/>
                  </p:cNvSpPr>
                  <p:nvPr/>
                </p:nvSpPr>
                <p:spPr bwMode="gray">
                  <a:xfrm>
                    <a:off x="644" y="1006"/>
                    <a:ext cx="797" cy="790"/>
                  </a:xfrm>
                  <a:custGeom>
                    <a:avLst/>
                    <a:gdLst/>
                    <a:ahLst/>
                    <a:cxnLst>
                      <a:cxn ang="0">
                        <a:pos x="16" y="534"/>
                      </a:cxn>
                      <a:cxn ang="0">
                        <a:pos x="51" y="448"/>
                      </a:cxn>
                      <a:cxn ang="0">
                        <a:pos x="219" y="694"/>
                      </a:cxn>
                      <a:cxn ang="0">
                        <a:pos x="191" y="687"/>
                      </a:cxn>
                      <a:cxn ang="0">
                        <a:pos x="211" y="706"/>
                      </a:cxn>
                      <a:cxn ang="0">
                        <a:pos x="222" y="703"/>
                      </a:cxn>
                      <a:cxn ang="0">
                        <a:pos x="707" y="141"/>
                      </a:cxn>
                      <a:cxn ang="0">
                        <a:pos x="651" y="103"/>
                      </a:cxn>
                      <a:cxn ang="0">
                        <a:pos x="541" y="75"/>
                      </a:cxn>
                      <a:cxn ang="0">
                        <a:pos x="521" y="24"/>
                      </a:cxn>
                      <a:cxn ang="0">
                        <a:pos x="482" y="25"/>
                      </a:cxn>
                      <a:cxn ang="0">
                        <a:pos x="439" y="31"/>
                      </a:cxn>
                      <a:cxn ang="0">
                        <a:pos x="391" y="47"/>
                      </a:cxn>
                      <a:cxn ang="0">
                        <a:pos x="321" y="28"/>
                      </a:cxn>
                      <a:cxn ang="0">
                        <a:pos x="314" y="105"/>
                      </a:cxn>
                      <a:cxn ang="0">
                        <a:pos x="277" y="255"/>
                      </a:cxn>
                      <a:cxn ang="0">
                        <a:pos x="227" y="233"/>
                      </a:cxn>
                      <a:cxn ang="0">
                        <a:pos x="181" y="273"/>
                      </a:cxn>
                      <a:cxn ang="0">
                        <a:pos x="89" y="299"/>
                      </a:cxn>
                      <a:cxn ang="0">
                        <a:pos x="22" y="344"/>
                      </a:cxn>
                      <a:cxn ang="0">
                        <a:pos x="3" y="354"/>
                      </a:cxn>
                      <a:cxn ang="0">
                        <a:pos x="24" y="359"/>
                      </a:cxn>
                      <a:cxn ang="0">
                        <a:pos x="105" y="349"/>
                      </a:cxn>
                      <a:cxn ang="0">
                        <a:pos x="67" y="376"/>
                      </a:cxn>
                      <a:cxn ang="0">
                        <a:pos x="52" y="399"/>
                      </a:cxn>
                      <a:cxn ang="0">
                        <a:pos x="104" y="444"/>
                      </a:cxn>
                      <a:cxn ang="0">
                        <a:pos x="72" y="483"/>
                      </a:cxn>
                      <a:cxn ang="0">
                        <a:pos x="55" y="465"/>
                      </a:cxn>
                      <a:cxn ang="0">
                        <a:pos x="72" y="511"/>
                      </a:cxn>
                      <a:cxn ang="0">
                        <a:pos x="135" y="611"/>
                      </a:cxn>
                      <a:cxn ang="0">
                        <a:pos x="210" y="658"/>
                      </a:cxn>
                      <a:cxn ang="0">
                        <a:pos x="251" y="669"/>
                      </a:cxn>
                      <a:cxn ang="0">
                        <a:pos x="287" y="680"/>
                      </a:cxn>
                      <a:cxn ang="0">
                        <a:pos x="289" y="723"/>
                      </a:cxn>
                      <a:cxn ang="0">
                        <a:pos x="337" y="729"/>
                      </a:cxn>
                      <a:cxn ang="0">
                        <a:pos x="385" y="728"/>
                      </a:cxn>
                      <a:cxn ang="0">
                        <a:pos x="389" y="707"/>
                      </a:cxn>
                      <a:cxn ang="0">
                        <a:pos x="394" y="664"/>
                      </a:cxn>
                      <a:cxn ang="0">
                        <a:pos x="386" y="605"/>
                      </a:cxn>
                      <a:cxn ang="0">
                        <a:pos x="353" y="548"/>
                      </a:cxn>
                      <a:cxn ang="0">
                        <a:pos x="378" y="511"/>
                      </a:cxn>
                      <a:cxn ang="0">
                        <a:pos x="434" y="488"/>
                      </a:cxn>
                      <a:cxn ang="0">
                        <a:pos x="502" y="480"/>
                      </a:cxn>
                      <a:cxn ang="0">
                        <a:pos x="514" y="483"/>
                      </a:cxn>
                      <a:cxn ang="0">
                        <a:pos x="549" y="461"/>
                      </a:cxn>
                      <a:cxn ang="0">
                        <a:pos x="585" y="359"/>
                      </a:cxn>
                      <a:cxn ang="0">
                        <a:pos x="615" y="320"/>
                      </a:cxn>
                      <a:cxn ang="0">
                        <a:pos x="674" y="299"/>
                      </a:cxn>
                      <a:cxn ang="0">
                        <a:pos x="717" y="229"/>
                      </a:cxn>
                      <a:cxn ang="0">
                        <a:pos x="722" y="192"/>
                      </a:cxn>
                      <a:cxn ang="0">
                        <a:pos x="725" y="157"/>
                      </a:cxn>
                      <a:cxn ang="0">
                        <a:pos x="719" y="140"/>
                      </a:cxn>
                    </a:cxnLst>
                    <a:rect l="0" t="0" r="r" b="b"/>
                    <a:pathLst>
                      <a:path w="739" h="732">
                        <a:moveTo>
                          <a:pt x="16" y="534"/>
                        </a:moveTo>
                        <a:cubicBezTo>
                          <a:pt x="10" y="548"/>
                          <a:pt x="22" y="548"/>
                          <a:pt x="37" y="548"/>
                        </a:cubicBezTo>
                        <a:cubicBezTo>
                          <a:pt x="32" y="535"/>
                          <a:pt x="16" y="534"/>
                          <a:pt x="16" y="534"/>
                        </a:cubicBezTo>
                        <a:close/>
                        <a:moveTo>
                          <a:pt x="38" y="440"/>
                        </a:moveTo>
                        <a:cubicBezTo>
                          <a:pt x="36" y="461"/>
                          <a:pt x="44" y="460"/>
                          <a:pt x="47" y="462"/>
                        </a:cubicBezTo>
                        <a:cubicBezTo>
                          <a:pt x="50" y="464"/>
                          <a:pt x="51" y="458"/>
                          <a:pt x="51" y="448"/>
                        </a:cubicBezTo>
                        <a:cubicBezTo>
                          <a:pt x="51" y="438"/>
                          <a:pt x="38" y="440"/>
                          <a:pt x="38" y="440"/>
                        </a:cubicBezTo>
                        <a:close/>
                        <a:moveTo>
                          <a:pt x="222" y="703"/>
                        </a:moveTo>
                        <a:cubicBezTo>
                          <a:pt x="219" y="694"/>
                          <a:pt x="219" y="694"/>
                          <a:pt x="219" y="694"/>
                        </a:cubicBezTo>
                        <a:cubicBezTo>
                          <a:pt x="201" y="701"/>
                          <a:pt x="201" y="701"/>
                          <a:pt x="201" y="701"/>
                        </a:cubicBezTo>
                        <a:cubicBezTo>
                          <a:pt x="203" y="686"/>
                          <a:pt x="203" y="686"/>
                          <a:pt x="203" y="686"/>
                        </a:cubicBezTo>
                        <a:cubicBezTo>
                          <a:pt x="191" y="687"/>
                          <a:pt x="191" y="687"/>
                          <a:pt x="191" y="687"/>
                        </a:cubicBezTo>
                        <a:cubicBezTo>
                          <a:pt x="190" y="693"/>
                          <a:pt x="190" y="693"/>
                          <a:pt x="190" y="693"/>
                        </a:cubicBezTo>
                        <a:cubicBezTo>
                          <a:pt x="200" y="708"/>
                          <a:pt x="200" y="708"/>
                          <a:pt x="200" y="708"/>
                        </a:cubicBezTo>
                        <a:cubicBezTo>
                          <a:pt x="211" y="706"/>
                          <a:pt x="211" y="706"/>
                          <a:pt x="211" y="706"/>
                        </a:cubicBezTo>
                        <a:cubicBezTo>
                          <a:pt x="230" y="714"/>
                          <a:pt x="230" y="714"/>
                          <a:pt x="230" y="714"/>
                        </a:cubicBezTo>
                        <a:cubicBezTo>
                          <a:pt x="238" y="725"/>
                          <a:pt x="246" y="718"/>
                          <a:pt x="250" y="719"/>
                        </a:cubicBezTo>
                        <a:cubicBezTo>
                          <a:pt x="241" y="705"/>
                          <a:pt x="222" y="703"/>
                          <a:pt x="222" y="703"/>
                        </a:cubicBezTo>
                        <a:close/>
                        <a:moveTo>
                          <a:pt x="719" y="140"/>
                        </a:moveTo>
                        <a:cubicBezTo>
                          <a:pt x="719" y="139"/>
                          <a:pt x="719" y="139"/>
                          <a:pt x="719" y="139"/>
                        </a:cubicBezTo>
                        <a:cubicBezTo>
                          <a:pt x="707" y="141"/>
                          <a:pt x="707" y="141"/>
                          <a:pt x="707" y="141"/>
                        </a:cubicBezTo>
                        <a:cubicBezTo>
                          <a:pt x="683" y="117"/>
                          <a:pt x="683" y="117"/>
                          <a:pt x="683" y="117"/>
                        </a:cubicBezTo>
                        <a:cubicBezTo>
                          <a:pt x="658" y="123"/>
                          <a:pt x="658" y="123"/>
                          <a:pt x="658" y="123"/>
                        </a:cubicBezTo>
                        <a:cubicBezTo>
                          <a:pt x="651" y="103"/>
                          <a:pt x="651" y="103"/>
                          <a:pt x="651" y="103"/>
                        </a:cubicBezTo>
                        <a:cubicBezTo>
                          <a:pt x="651" y="103"/>
                          <a:pt x="638" y="96"/>
                          <a:pt x="631" y="91"/>
                        </a:cubicBezTo>
                        <a:cubicBezTo>
                          <a:pt x="623" y="0"/>
                          <a:pt x="561" y="75"/>
                          <a:pt x="561" y="75"/>
                        </a:cubicBezTo>
                        <a:cubicBezTo>
                          <a:pt x="541" y="75"/>
                          <a:pt x="541" y="75"/>
                          <a:pt x="541" y="75"/>
                        </a:cubicBezTo>
                        <a:cubicBezTo>
                          <a:pt x="537" y="48"/>
                          <a:pt x="537" y="48"/>
                          <a:pt x="537" y="48"/>
                        </a:cubicBezTo>
                        <a:cubicBezTo>
                          <a:pt x="537" y="48"/>
                          <a:pt x="531" y="49"/>
                          <a:pt x="519" y="49"/>
                        </a:cubicBezTo>
                        <a:cubicBezTo>
                          <a:pt x="507" y="49"/>
                          <a:pt x="521" y="24"/>
                          <a:pt x="521" y="24"/>
                        </a:cubicBezTo>
                        <a:cubicBezTo>
                          <a:pt x="521" y="24"/>
                          <a:pt x="498" y="15"/>
                          <a:pt x="494" y="15"/>
                        </a:cubicBezTo>
                        <a:cubicBezTo>
                          <a:pt x="490" y="15"/>
                          <a:pt x="498" y="20"/>
                          <a:pt x="494" y="28"/>
                        </a:cubicBezTo>
                        <a:cubicBezTo>
                          <a:pt x="490" y="36"/>
                          <a:pt x="482" y="25"/>
                          <a:pt x="482" y="25"/>
                        </a:cubicBezTo>
                        <a:cubicBezTo>
                          <a:pt x="467" y="37"/>
                          <a:pt x="467" y="37"/>
                          <a:pt x="467" y="37"/>
                        </a:cubicBezTo>
                        <a:cubicBezTo>
                          <a:pt x="461" y="32"/>
                          <a:pt x="461" y="32"/>
                          <a:pt x="461" y="32"/>
                        </a:cubicBezTo>
                        <a:cubicBezTo>
                          <a:pt x="461" y="32"/>
                          <a:pt x="446" y="31"/>
                          <a:pt x="439" y="31"/>
                        </a:cubicBezTo>
                        <a:cubicBezTo>
                          <a:pt x="434" y="45"/>
                          <a:pt x="411" y="45"/>
                          <a:pt x="411" y="45"/>
                        </a:cubicBezTo>
                        <a:cubicBezTo>
                          <a:pt x="407" y="36"/>
                          <a:pt x="407" y="36"/>
                          <a:pt x="407" y="36"/>
                        </a:cubicBezTo>
                        <a:cubicBezTo>
                          <a:pt x="407" y="36"/>
                          <a:pt x="391" y="37"/>
                          <a:pt x="391" y="47"/>
                        </a:cubicBezTo>
                        <a:cubicBezTo>
                          <a:pt x="391" y="56"/>
                          <a:pt x="366" y="32"/>
                          <a:pt x="366" y="32"/>
                        </a:cubicBezTo>
                        <a:cubicBezTo>
                          <a:pt x="366" y="32"/>
                          <a:pt x="353" y="28"/>
                          <a:pt x="343" y="23"/>
                        </a:cubicBezTo>
                        <a:cubicBezTo>
                          <a:pt x="338" y="30"/>
                          <a:pt x="331" y="31"/>
                          <a:pt x="321" y="28"/>
                        </a:cubicBezTo>
                        <a:cubicBezTo>
                          <a:pt x="319" y="51"/>
                          <a:pt x="319" y="51"/>
                          <a:pt x="319" y="51"/>
                        </a:cubicBezTo>
                        <a:cubicBezTo>
                          <a:pt x="326" y="83"/>
                          <a:pt x="326" y="83"/>
                          <a:pt x="326" y="83"/>
                        </a:cubicBezTo>
                        <a:cubicBezTo>
                          <a:pt x="326" y="83"/>
                          <a:pt x="322" y="77"/>
                          <a:pt x="314" y="105"/>
                        </a:cubicBezTo>
                        <a:cubicBezTo>
                          <a:pt x="322" y="197"/>
                          <a:pt x="331" y="179"/>
                          <a:pt x="317" y="191"/>
                        </a:cubicBezTo>
                        <a:cubicBezTo>
                          <a:pt x="295" y="191"/>
                          <a:pt x="290" y="217"/>
                          <a:pt x="285" y="229"/>
                        </a:cubicBezTo>
                        <a:cubicBezTo>
                          <a:pt x="279" y="241"/>
                          <a:pt x="277" y="255"/>
                          <a:pt x="277" y="255"/>
                        </a:cubicBezTo>
                        <a:cubicBezTo>
                          <a:pt x="246" y="249"/>
                          <a:pt x="246" y="249"/>
                          <a:pt x="246" y="249"/>
                        </a:cubicBezTo>
                        <a:cubicBezTo>
                          <a:pt x="243" y="240"/>
                          <a:pt x="243" y="240"/>
                          <a:pt x="243" y="240"/>
                        </a:cubicBezTo>
                        <a:cubicBezTo>
                          <a:pt x="227" y="233"/>
                          <a:pt x="227" y="233"/>
                          <a:pt x="227" y="233"/>
                        </a:cubicBezTo>
                        <a:cubicBezTo>
                          <a:pt x="225" y="248"/>
                          <a:pt x="225" y="248"/>
                          <a:pt x="225" y="248"/>
                        </a:cubicBezTo>
                        <a:cubicBezTo>
                          <a:pt x="199" y="252"/>
                          <a:pt x="199" y="252"/>
                          <a:pt x="199" y="252"/>
                        </a:cubicBezTo>
                        <a:cubicBezTo>
                          <a:pt x="199" y="252"/>
                          <a:pt x="199" y="252"/>
                          <a:pt x="181" y="273"/>
                        </a:cubicBezTo>
                        <a:cubicBezTo>
                          <a:pt x="153" y="279"/>
                          <a:pt x="121" y="281"/>
                          <a:pt x="121" y="281"/>
                        </a:cubicBezTo>
                        <a:cubicBezTo>
                          <a:pt x="113" y="272"/>
                          <a:pt x="113" y="272"/>
                          <a:pt x="113" y="272"/>
                        </a:cubicBezTo>
                        <a:cubicBezTo>
                          <a:pt x="113" y="272"/>
                          <a:pt x="113" y="272"/>
                          <a:pt x="89" y="299"/>
                        </a:cubicBezTo>
                        <a:cubicBezTo>
                          <a:pt x="82" y="359"/>
                          <a:pt x="43" y="332"/>
                          <a:pt x="43" y="332"/>
                        </a:cubicBezTo>
                        <a:cubicBezTo>
                          <a:pt x="42" y="344"/>
                          <a:pt x="42" y="344"/>
                          <a:pt x="42" y="344"/>
                        </a:cubicBezTo>
                        <a:cubicBezTo>
                          <a:pt x="22" y="344"/>
                          <a:pt x="22" y="344"/>
                          <a:pt x="22" y="344"/>
                        </a:cubicBezTo>
                        <a:cubicBezTo>
                          <a:pt x="14" y="339"/>
                          <a:pt x="14" y="339"/>
                          <a:pt x="14" y="339"/>
                        </a:cubicBezTo>
                        <a:cubicBezTo>
                          <a:pt x="1" y="350"/>
                          <a:pt x="1" y="350"/>
                          <a:pt x="1" y="350"/>
                        </a:cubicBezTo>
                        <a:cubicBezTo>
                          <a:pt x="3" y="354"/>
                          <a:pt x="3" y="354"/>
                          <a:pt x="3" y="354"/>
                        </a:cubicBezTo>
                        <a:cubicBezTo>
                          <a:pt x="0" y="355"/>
                          <a:pt x="0" y="355"/>
                          <a:pt x="0" y="355"/>
                        </a:cubicBezTo>
                        <a:cubicBezTo>
                          <a:pt x="2" y="357"/>
                          <a:pt x="4" y="360"/>
                          <a:pt x="7" y="364"/>
                        </a:cubicBezTo>
                        <a:cubicBezTo>
                          <a:pt x="14" y="363"/>
                          <a:pt x="24" y="359"/>
                          <a:pt x="24" y="359"/>
                        </a:cubicBezTo>
                        <a:cubicBezTo>
                          <a:pt x="24" y="359"/>
                          <a:pt x="39" y="374"/>
                          <a:pt x="45" y="374"/>
                        </a:cubicBezTo>
                        <a:cubicBezTo>
                          <a:pt x="51" y="374"/>
                          <a:pt x="70" y="351"/>
                          <a:pt x="70" y="351"/>
                        </a:cubicBezTo>
                        <a:cubicBezTo>
                          <a:pt x="70" y="351"/>
                          <a:pt x="103" y="344"/>
                          <a:pt x="105" y="349"/>
                        </a:cubicBezTo>
                        <a:cubicBezTo>
                          <a:pt x="107" y="354"/>
                          <a:pt x="96" y="361"/>
                          <a:pt x="96" y="361"/>
                        </a:cubicBezTo>
                        <a:cubicBezTo>
                          <a:pt x="72" y="363"/>
                          <a:pt x="72" y="363"/>
                          <a:pt x="72" y="363"/>
                        </a:cubicBezTo>
                        <a:cubicBezTo>
                          <a:pt x="67" y="376"/>
                          <a:pt x="67" y="376"/>
                          <a:pt x="67" y="376"/>
                        </a:cubicBezTo>
                        <a:cubicBezTo>
                          <a:pt x="71" y="385"/>
                          <a:pt x="71" y="385"/>
                          <a:pt x="71" y="385"/>
                        </a:cubicBezTo>
                        <a:cubicBezTo>
                          <a:pt x="65" y="399"/>
                          <a:pt x="65" y="399"/>
                          <a:pt x="65" y="399"/>
                        </a:cubicBezTo>
                        <a:cubicBezTo>
                          <a:pt x="52" y="399"/>
                          <a:pt x="52" y="399"/>
                          <a:pt x="52" y="399"/>
                        </a:cubicBezTo>
                        <a:cubicBezTo>
                          <a:pt x="52" y="408"/>
                          <a:pt x="52" y="408"/>
                          <a:pt x="52" y="408"/>
                        </a:cubicBezTo>
                        <a:cubicBezTo>
                          <a:pt x="91" y="415"/>
                          <a:pt x="91" y="415"/>
                          <a:pt x="91" y="415"/>
                        </a:cubicBezTo>
                        <a:cubicBezTo>
                          <a:pt x="104" y="444"/>
                          <a:pt x="104" y="444"/>
                          <a:pt x="104" y="444"/>
                        </a:cubicBezTo>
                        <a:cubicBezTo>
                          <a:pt x="95" y="445"/>
                          <a:pt x="95" y="445"/>
                          <a:pt x="95" y="445"/>
                        </a:cubicBezTo>
                        <a:cubicBezTo>
                          <a:pt x="92" y="462"/>
                          <a:pt x="92" y="462"/>
                          <a:pt x="92" y="462"/>
                        </a:cubicBezTo>
                        <a:cubicBezTo>
                          <a:pt x="72" y="483"/>
                          <a:pt x="72" y="483"/>
                          <a:pt x="72" y="483"/>
                        </a:cubicBezTo>
                        <a:cubicBezTo>
                          <a:pt x="69" y="468"/>
                          <a:pt x="69" y="468"/>
                          <a:pt x="69" y="468"/>
                        </a:cubicBezTo>
                        <a:cubicBezTo>
                          <a:pt x="55" y="458"/>
                          <a:pt x="55" y="458"/>
                          <a:pt x="55" y="458"/>
                        </a:cubicBezTo>
                        <a:cubicBezTo>
                          <a:pt x="55" y="465"/>
                          <a:pt x="55" y="465"/>
                          <a:pt x="55" y="465"/>
                        </a:cubicBezTo>
                        <a:cubicBezTo>
                          <a:pt x="55" y="465"/>
                          <a:pt x="62" y="463"/>
                          <a:pt x="63" y="469"/>
                        </a:cubicBezTo>
                        <a:cubicBezTo>
                          <a:pt x="64" y="475"/>
                          <a:pt x="68" y="489"/>
                          <a:pt x="68" y="489"/>
                        </a:cubicBezTo>
                        <a:cubicBezTo>
                          <a:pt x="68" y="489"/>
                          <a:pt x="73" y="508"/>
                          <a:pt x="72" y="511"/>
                        </a:cubicBezTo>
                        <a:cubicBezTo>
                          <a:pt x="91" y="521"/>
                          <a:pt x="103" y="549"/>
                          <a:pt x="103" y="549"/>
                        </a:cubicBezTo>
                        <a:cubicBezTo>
                          <a:pt x="111" y="549"/>
                          <a:pt x="111" y="549"/>
                          <a:pt x="111" y="549"/>
                        </a:cubicBezTo>
                        <a:cubicBezTo>
                          <a:pt x="126" y="569"/>
                          <a:pt x="135" y="611"/>
                          <a:pt x="135" y="611"/>
                        </a:cubicBezTo>
                        <a:cubicBezTo>
                          <a:pt x="135" y="611"/>
                          <a:pt x="135" y="603"/>
                          <a:pt x="149" y="617"/>
                        </a:cubicBezTo>
                        <a:cubicBezTo>
                          <a:pt x="163" y="631"/>
                          <a:pt x="200" y="642"/>
                          <a:pt x="200" y="642"/>
                        </a:cubicBezTo>
                        <a:cubicBezTo>
                          <a:pt x="210" y="658"/>
                          <a:pt x="210" y="658"/>
                          <a:pt x="210" y="658"/>
                        </a:cubicBezTo>
                        <a:cubicBezTo>
                          <a:pt x="210" y="658"/>
                          <a:pt x="229" y="658"/>
                          <a:pt x="235" y="660"/>
                        </a:cubicBezTo>
                        <a:cubicBezTo>
                          <a:pt x="241" y="662"/>
                          <a:pt x="248" y="678"/>
                          <a:pt x="248" y="678"/>
                        </a:cubicBezTo>
                        <a:cubicBezTo>
                          <a:pt x="251" y="669"/>
                          <a:pt x="251" y="669"/>
                          <a:pt x="251" y="669"/>
                        </a:cubicBezTo>
                        <a:cubicBezTo>
                          <a:pt x="265" y="682"/>
                          <a:pt x="265" y="682"/>
                          <a:pt x="265" y="682"/>
                        </a:cubicBezTo>
                        <a:cubicBezTo>
                          <a:pt x="274" y="666"/>
                          <a:pt x="274" y="666"/>
                          <a:pt x="274" y="666"/>
                        </a:cubicBezTo>
                        <a:cubicBezTo>
                          <a:pt x="274" y="666"/>
                          <a:pt x="284" y="675"/>
                          <a:pt x="287" y="680"/>
                        </a:cubicBezTo>
                        <a:cubicBezTo>
                          <a:pt x="290" y="685"/>
                          <a:pt x="262" y="717"/>
                          <a:pt x="262" y="717"/>
                        </a:cubicBezTo>
                        <a:cubicBezTo>
                          <a:pt x="267" y="720"/>
                          <a:pt x="271" y="724"/>
                          <a:pt x="275" y="728"/>
                        </a:cubicBezTo>
                        <a:cubicBezTo>
                          <a:pt x="289" y="723"/>
                          <a:pt x="289" y="723"/>
                          <a:pt x="289" y="723"/>
                        </a:cubicBezTo>
                        <a:cubicBezTo>
                          <a:pt x="322" y="712"/>
                          <a:pt x="322" y="712"/>
                          <a:pt x="322" y="712"/>
                        </a:cubicBezTo>
                        <a:cubicBezTo>
                          <a:pt x="322" y="728"/>
                          <a:pt x="322" y="728"/>
                          <a:pt x="322" y="728"/>
                        </a:cubicBezTo>
                        <a:cubicBezTo>
                          <a:pt x="337" y="729"/>
                          <a:pt x="337" y="729"/>
                          <a:pt x="337" y="729"/>
                        </a:cubicBezTo>
                        <a:cubicBezTo>
                          <a:pt x="346" y="723"/>
                          <a:pt x="346" y="723"/>
                          <a:pt x="346" y="723"/>
                        </a:cubicBezTo>
                        <a:cubicBezTo>
                          <a:pt x="361" y="732"/>
                          <a:pt x="361" y="732"/>
                          <a:pt x="361" y="732"/>
                        </a:cubicBezTo>
                        <a:cubicBezTo>
                          <a:pt x="361" y="732"/>
                          <a:pt x="378" y="728"/>
                          <a:pt x="385" y="728"/>
                        </a:cubicBezTo>
                        <a:cubicBezTo>
                          <a:pt x="391" y="728"/>
                          <a:pt x="391" y="717"/>
                          <a:pt x="391" y="717"/>
                        </a:cubicBezTo>
                        <a:cubicBezTo>
                          <a:pt x="391" y="717"/>
                          <a:pt x="421" y="719"/>
                          <a:pt x="398" y="699"/>
                        </a:cubicBezTo>
                        <a:cubicBezTo>
                          <a:pt x="389" y="707"/>
                          <a:pt x="389" y="707"/>
                          <a:pt x="389" y="707"/>
                        </a:cubicBezTo>
                        <a:cubicBezTo>
                          <a:pt x="393" y="684"/>
                          <a:pt x="393" y="684"/>
                          <a:pt x="393" y="684"/>
                        </a:cubicBezTo>
                        <a:cubicBezTo>
                          <a:pt x="383" y="664"/>
                          <a:pt x="383" y="664"/>
                          <a:pt x="383" y="664"/>
                        </a:cubicBezTo>
                        <a:cubicBezTo>
                          <a:pt x="394" y="664"/>
                          <a:pt x="394" y="664"/>
                          <a:pt x="394" y="664"/>
                        </a:cubicBezTo>
                        <a:cubicBezTo>
                          <a:pt x="394" y="627"/>
                          <a:pt x="394" y="627"/>
                          <a:pt x="394" y="627"/>
                        </a:cubicBezTo>
                        <a:cubicBezTo>
                          <a:pt x="383" y="627"/>
                          <a:pt x="383" y="627"/>
                          <a:pt x="383" y="627"/>
                        </a:cubicBezTo>
                        <a:cubicBezTo>
                          <a:pt x="386" y="605"/>
                          <a:pt x="386" y="605"/>
                          <a:pt x="386" y="605"/>
                        </a:cubicBezTo>
                        <a:cubicBezTo>
                          <a:pt x="371" y="585"/>
                          <a:pt x="371" y="585"/>
                          <a:pt x="371" y="585"/>
                        </a:cubicBezTo>
                        <a:cubicBezTo>
                          <a:pt x="378" y="573"/>
                          <a:pt x="378" y="573"/>
                          <a:pt x="378" y="573"/>
                        </a:cubicBezTo>
                        <a:cubicBezTo>
                          <a:pt x="353" y="548"/>
                          <a:pt x="353" y="548"/>
                          <a:pt x="353" y="548"/>
                        </a:cubicBezTo>
                        <a:cubicBezTo>
                          <a:pt x="357" y="537"/>
                          <a:pt x="357" y="537"/>
                          <a:pt x="357" y="537"/>
                        </a:cubicBezTo>
                        <a:cubicBezTo>
                          <a:pt x="357" y="537"/>
                          <a:pt x="337" y="532"/>
                          <a:pt x="339" y="523"/>
                        </a:cubicBezTo>
                        <a:cubicBezTo>
                          <a:pt x="342" y="513"/>
                          <a:pt x="371" y="503"/>
                          <a:pt x="378" y="511"/>
                        </a:cubicBezTo>
                        <a:cubicBezTo>
                          <a:pt x="385" y="519"/>
                          <a:pt x="413" y="501"/>
                          <a:pt x="413" y="501"/>
                        </a:cubicBezTo>
                        <a:cubicBezTo>
                          <a:pt x="415" y="485"/>
                          <a:pt x="415" y="485"/>
                          <a:pt x="415" y="485"/>
                        </a:cubicBezTo>
                        <a:cubicBezTo>
                          <a:pt x="434" y="488"/>
                          <a:pt x="434" y="488"/>
                          <a:pt x="434" y="488"/>
                        </a:cubicBezTo>
                        <a:cubicBezTo>
                          <a:pt x="433" y="496"/>
                          <a:pt x="433" y="496"/>
                          <a:pt x="433" y="496"/>
                        </a:cubicBezTo>
                        <a:cubicBezTo>
                          <a:pt x="459" y="481"/>
                          <a:pt x="459" y="481"/>
                          <a:pt x="459" y="481"/>
                        </a:cubicBezTo>
                        <a:cubicBezTo>
                          <a:pt x="502" y="480"/>
                          <a:pt x="502" y="480"/>
                          <a:pt x="502" y="480"/>
                        </a:cubicBezTo>
                        <a:cubicBezTo>
                          <a:pt x="499" y="492"/>
                          <a:pt x="499" y="492"/>
                          <a:pt x="499" y="492"/>
                        </a:cubicBezTo>
                        <a:cubicBezTo>
                          <a:pt x="509" y="492"/>
                          <a:pt x="509" y="492"/>
                          <a:pt x="509" y="492"/>
                        </a:cubicBezTo>
                        <a:cubicBezTo>
                          <a:pt x="514" y="483"/>
                          <a:pt x="514" y="483"/>
                          <a:pt x="514" y="483"/>
                        </a:cubicBezTo>
                        <a:cubicBezTo>
                          <a:pt x="519" y="484"/>
                          <a:pt x="519" y="484"/>
                          <a:pt x="519" y="484"/>
                        </a:cubicBezTo>
                        <a:cubicBezTo>
                          <a:pt x="519" y="484"/>
                          <a:pt x="518" y="464"/>
                          <a:pt x="549" y="464"/>
                        </a:cubicBezTo>
                        <a:cubicBezTo>
                          <a:pt x="549" y="463"/>
                          <a:pt x="549" y="462"/>
                          <a:pt x="549" y="461"/>
                        </a:cubicBezTo>
                        <a:cubicBezTo>
                          <a:pt x="546" y="433"/>
                          <a:pt x="575" y="399"/>
                          <a:pt x="575" y="399"/>
                        </a:cubicBezTo>
                        <a:cubicBezTo>
                          <a:pt x="569" y="387"/>
                          <a:pt x="569" y="387"/>
                          <a:pt x="569" y="387"/>
                        </a:cubicBezTo>
                        <a:cubicBezTo>
                          <a:pt x="569" y="387"/>
                          <a:pt x="581" y="369"/>
                          <a:pt x="585" y="359"/>
                        </a:cubicBezTo>
                        <a:cubicBezTo>
                          <a:pt x="578" y="351"/>
                          <a:pt x="589" y="323"/>
                          <a:pt x="589" y="323"/>
                        </a:cubicBezTo>
                        <a:cubicBezTo>
                          <a:pt x="626" y="335"/>
                          <a:pt x="626" y="335"/>
                          <a:pt x="626" y="335"/>
                        </a:cubicBezTo>
                        <a:cubicBezTo>
                          <a:pt x="615" y="320"/>
                          <a:pt x="615" y="320"/>
                          <a:pt x="615" y="320"/>
                        </a:cubicBezTo>
                        <a:cubicBezTo>
                          <a:pt x="615" y="320"/>
                          <a:pt x="626" y="313"/>
                          <a:pt x="625" y="311"/>
                        </a:cubicBezTo>
                        <a:cubicBezTo>
                          <a:pt x="642" y="329"/>
                          <a:pt x="641" y="307"/>
                          <a:pt x="641" y="307"/>
                        </a:cubicBezTo>
                        <a:cubicBezTo>
                          <a:pt x="641" y="307"/>
                          <a:pt x="670" y="300"/>
                          <a:pt x="674" y="299"/>
                        </a:cubicBezTo>
                        <a:cubicBezTo>
                          <a:pt x="658" y="293"/>
                          <a:pt x="690" y="272"/>
                          <a:pt x="690" y="272"/>
                        </a:cubicBezTo>
                        <a:cubicBezTo>
                          <a:pt x="690" y="272"/>
                          <a:pt x="703" y="252"/>
                          <a:pt x="707" y="248"/>
                        </a:cubicBezTo>
                        <a:cubicBezTo>
                          <a:pt x="707" y="233"/>
                          <a:pt x="717" y="229"/>
                          <a:pt x="717" y="229"/>
                        </a:cubicBezTo>
                        <a:cubicBezTo>
                          <a:pt x="725" y="219"/>
                          <a:pt x="725" y="219"/>
                          <a:pt x="725" y="219"/>
                        </a:cubicBezTo>
                        <a:cubicBezTo>
                          <a:pt x="718" y="205"/>
                          <a:pt x="718" y="205"/>
                          <a:pt x="718" y="205"/>
                        </a:cubicBezTo>
                        <a:cubicBezTo>
                          <a:pt x="722" y="192"/>
                          <a:pt x="722" y="192"/>
                          <a:pt x="722" y="192"/>
                        </a:cubicBezTo>
                        <a:cubicBezTo>
                          <a:pt x="714" y="180"/>
                          <a:pt x="714" y="180"/>
                          <a:pt x="714" y="180"/>
                        </a:cubicBezTo>
                        <a:cubicBezTo>
                          <a:pt x="725" y="175"/>
                          <a:pt x="725" y="175"/>
                          <a:pt x="725" y="175"/>
                        </a:cubicBezTo>
                        <a:cubicBezTo>
                          <a:pt x="725" y="157"/>
                          <a:pt x="725" y="157"/>
                          <a:pt x="725" y="157"/>
                        </a:cubicBezTo>
                        <a:cubicBezTo>
                          <a:pt x="739" y="156"/>
                          <a:pt x="739" y="156"/>
                          <a:pt x="739" y="156"/>
                        </a:cubicBezTo>
                        <a:cubicBezTo>
                          <a:pt x="739" y="147"/>
                          <a:pt x="739" y="147"/>
                          <a:pt x="739" y="147"/>
                        </a:cubicBezTo>
                        <a:lnTo>
                          <a:pt x="719" y="140"/>
                        </a:ln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57" name="POitou-Charentes" descr="© INSCALE GmbH, 05.05.2010&#10;http://www.presentationload.com/">
                    <a:extLst>
                      <a:ext uri="{FF2B5EF4-FFF2-40B4-BE49-F238E27FC236}">
                        <a16:creationId xmlns:a16="http://schemas.microsoft.com/office/drawing/2014/main" id="{70E1F141-ED2D-4B3C-9FB4-0B3A1D7EAAEC}"/>
                      </a:ext>
                    </a:extLst>
                  </p:cNvPr>
                  <p:cNvSpPr>
                    <a:spLocks noEditPoints="1"/>
                  </p:cNvSpPr>
                  <p:nvPr/>
                </p:nvSpPr>
                <p:spPr bwMode="gray">
                  <a:xfrm>
                    <a:off x="881" y="1507"/>
                    <a:ext cx="619" cy="717"/>
                  </a:xfrm>
                  <a:custGeom>
                    <a:avLst/>
                    <a:gdLst/>
                    <a:ahLst/>
                    <a:cxnLst>
                      <a:cxn ang="0">
                        <a:pos x="39" y="333"/>
                      </a:cxn>
                      <a:cxn ang="0">
                        <a:pos x="19" y="308"/>
                      </a:cxn>
                      <a:cxn ang="0">
                        <a:pos x="6" y="327"/>
                      </a:cxn>
                      <a:cxn ang="0">
                        <a:pos x="32" y="355"/>
                      </a:cxn>
                      <a:cxn ang="0">
                        <a:pos x="46" y="345"/>
                      </a:cxn>
                      <a:cxn ang="0">
                        <a:pos x="559" y="229"/>
                      </a:cxn>
                      <a:cxn ang="0">
                        <a:pos x="533" y="197"/>
                      </a:cxn>
                      <a:cxn ang="0">
                        <a:pos x="486" y="111"/>
                      </a:cxn>
                      <a:cxn ang="0">
                        <a:pos x="434" y="52"/>
                      </a:cxn>
                      <a:cxn ang="0">
                        <a:pos x="419" y="65"/>
                      </a:cxn>
                      <a:cxn ang="0">
                        <a:pos x="393" y="67"/>
                      </a:cxn>
                      <a:cxn ang="0">
                        <a:pos x="382" y="39"/>
                      </a:cxn>
                      <a:cxn ang="0">
                        <a:pos x="369" y="28"/>
                      </a:cxn>
                      <a:cxn ang="0">
                        <a:pos x="355" y="21"/>
                      </a:cxn>
                      <a:cxn ang="0">
                        <a:pos x="299" y="20"/>
                      </a:cxn>
                      <a:cxn ang="0">
                        <a:pos x="289" y="28"/>
                      </a:cxn>
                      <a:cxn ang="0">
                        <a:pos x="282" y="16"/>
                      </a:cxn>
                      <a:cxn ang="0">
                        <a:pos x="213" y="32"/>
                      </a:cxn>
                      <a:cxn ang="0">
                        <a:pos x="195" y="21"/>
                      </a:cxn>
                      <a:cxn ang="0">
                        <a:pos x="158" y="47"/>
                      </a:cxn>
                      <a:cxn ang="0">
                        <a:pos x="137" y="73"/>
                      </a:cxn>
                      <a:cxn ang="0">
                        <a:pos x="158" y="109"/>
                      </a:cxn>
                      <a:cxn ang="0">
                        <a:pos x="166" y="141"/>
                      </a:cxn>
                      <a:cxn ang="0">
                        <a:pos x="174" y="163"/>
                      </a:cxn>
                      <a:cxn ang="0">
                        <a:pos x="163" y="200"/>
                      </a:cxn>
                      <a:cxn ang="0">
                        <a:pos x="169" y="243"/>
                      </a:cxn>
                      <a:cxn ang="0">
                        <a:pos x="171" y="253"/>
                      </a:cxn>
                      <a:cxn ang="0">
                        <a:pos x="141" y="268"/>
                      </a:cxn>
                      <a:cxn ang="0">
                        <a:pos x="117" y="265"/>
                      </a:cxn>
                      <a:cxn ang="0">
                        <a:pos x="102" y="248"/>
                      </a:cxn>
                      <a:cxn ang="0">
                        <a:pos x="55" y="264"/>
                      </a:cxn>
                      <a:cxn ang="0">
                        <a:pos x="64" y="309"/>
                      </a:cxn>
                      <a:cxn ang="0">
                        <a:pos x="69" y="324"/>
                      </a:cxn>
                      <a:cxn ang="0">
                        <a:pos x="63" y="352"/>
                      </a:cxn>
                      <a:cxn ang="0">
                        <a:pos x="58" y="367"/>
                      </a:cxn>
                      <a:cxn ang="0">
                        <a:pos x="44" y="372"/>
                      </a:cxn>
                      <a:cxn ang="0">
                        <a:pos x="37" y="406"/>
                      </a:cxn>
                      <a:cxn ang="0">
                        <a:pos x="80" y="427"/>
                      </a:cxn>
                      <a:cxn ang="0">
                        <a:pos x="103" y="454"/>
                      </a:cxn>
                      <a:cxn ang="0">
                        <a:pos x="147" y="539"/>
                      </a:cxn>
                      <a:cxn ang="0">
                        <a:pos x="152" y="564"/>
                      </a:cxn>
                      <a:cxn ang="0">
                        <a:pos x="151" y="581"/>
                      </a:cxn>
                      <a:cxn ang="0">
                        <a:pos x="171" y="593"/>
                      </a:cxn>
                      <a:cxn ang="0">
                        <a:pos x="210" y="643"/>
                      </a:cxn>
                      <a:cxn ang="0">
                        <a:pos x="293" y="652"/>
                      </a:cxn>
                      <a:cxn ang="0">
                        <a:pos x="327" y="625"/>
                      </a:cxn>
                      <a:cxn ang="0">
                        <a:pos x="357" y="597"/>
                      </a:cxn>
                      <a:cxn ang="0">
                        <a:pos x="405" y="524"/>
                      </a:cxn>
                      <a:cxn ang="0">
                        <a:pos x="411" y="495"/>
                      </a:cxn>
                      <a:cxn ang="0">
                        <a:pos x="461" y="451"/>
                      </a:cxn>
                      <a:cxn ang="0">
                        <a:pos x="481" y="439"/>
                      </a:cxn>
                      <a:cxn ang="0">
                        <a:pos x="487" y="395"/>
                      </a:cxn>
                      <a:cxn ang="0">
                        <a:pos x="513" y="391"/>
                      </a:cxn>
                      <a:cxn ang="0">
                        <a:pos x="490" y="332"/>
                      </a:cxn>
                      <a:cxn ang="0">
                        <a:pos x="494" y="301"/>
                      </a:cxn>
                      <a:cxn ang="0">
                        <a:pos x="529" y="287"/>
                      </a:cxn>
                      <a:cxn ang="0">
                        <a:pos x="555" y="263"/>
                      </a:cxn>
                      <a:cxn ang="0">
                        <a:pos x="570" y="252"/>
                      </a:cxn>
                    </a:cxnLst>
                    <a:rect l="0" t="0" r="r" b="b"/>
                    <a:pathLst>
                      <a:path w="574" h="665">
                        <a:moveTo>
                          <a:pt x="46" y="345"/>
                        </a:moveTo>
                        <a:cubicBezTo>
                          <a:pt x="39" y="333"/>
                          <a:pt x="39" y="333"/>
                          <a:pt x="39" y="333"/>
                        </a:cubicBezTo>
                        <a:cubicBezTo>
                          <a:pt x="38" y="311"/>
                          <a:pt x="38" y="311"/>
                          <a:pt x="38" y="311"/>
                        </a:cubicBezTo>
                        <a:cubicBezTo>
                          <a:pt x="19" y="308"/>
                          <a:pt x="19" y="308"/>
                          <a:pt x="19" y="308"/>
                        </a:cubicBezTo>
                        <a:cubicBezTo>
                          <a:pt x="4" y="289"/>
                          <a:pt x="4" y="289"/>
                          <a:pt x="4" y="289"/>
                        </a:cubicBezTo>
                        <a:cubicBezTo>
                          <a:pt x="0" y="293"/>
                          <a:pt x="6" y="327"/>
                          <a:pt x="6" y="327"/>
                        </a:cubicBezTo>
                        <a:cubicBezTo>
                          <a:pt x="19" y="337"/>
                          <a:pt x="19" y="337"/>
                          <a:pt x="19" y="337"/>
                        </a:cubicBezTo>
                        <a:cubicBezTo>
                          <a:pt x="32" y="355"/>
                          <a:pt x="32" y="355"/>
                          <a:pt x="32" y="355"/>
                        </a:cubicBezTo>
                        <a:cubicBezTo>
                          <a:pt x="36" y="368"/>
                          <a:pt x="36" y="368"/>
                          <a:pt x="36" y="368"/>
                        </a:cubicBezTo>
                        <a:lnTo>
                          <a:pt x="46" y="345"/>
                        </a:lnTo>
                        <a:close/>
                        <a:moveTo>
                          <a:pt x="574" y="241"/>
                        </a:moveTo>
                        <a:cubicBezTo>
                          <a:pt x="574" y="241"/>
                          <a:pt x="563" y="236"/>
                          <a:pt x="559" y="229"/>
                        </a:cubicBezTo>
                        <a:cubicBezTo>
                          <a:pt x="553" y="187"/>
                          <a:pt x="534" y="208"/>
                          <a:pt x="534" y="208"/>
                        </a:cubicBezTo>
                        <a:cubicBezTo>
                          <a:pt x="534" y="208"/>
                          <a:pt x="537" y="199"/>
                          <a:pt x="533" y="197"/>
                        </a:cubicBezTo>
                        <a:cubicBezTo>
                          <a:pt x="505" y="196"/>
                          <a:pt x="510" y="167"/>
                          <a:pt x="511" y="153"/>
                        </a:cubicBezTo>
                        <a:cubicBezTo>
                          <a:pt x="479" y="120"/>
                          <a:pt x="503" y="127"/>
                          <a:pt x="486" y="111"/>
                        </a:cubicBezTo>
                        <a:cubicBezTo>
                          <a:pt x="469" y="95"/>
                          <a:pt x="466" y="63"/>
                          <a:pt x="466" y="63"/>
                        </a:cubicBezTo>
                        <a:cubicBezTo>
                          <a:pt x="434" y="52"/>
                          <a:pt x="434" y="52"/>
                          <a:pt x="434" y="52"/>
                        </a:cubicBezTo>
                        <a:cubicBezTo>
                          <a:pt x="442" y="65"/>
                          <a:pt x="442" y="65"/>
                          <a:pt x="442" y="65"/>
                        </a:cubicBezTo>
                        <a:cubicBezTo>
                          <a:pt x="419" y="65"/>
                          <a:pt x="419" y="65"/>
                          <a:pt x="419" y="65"/>
                        </a:cubicBezTo>
                        <a:cubicBezTo>
                          <a:pt x="405" y="73"/>
                          <a:pt x="405" y="73"/>
                          <a:pt x="405" y="73"/>
                        </a:cubicBezTo>
                        <a:cubicBezTo>
                          <a:pt x="393" y="67"/>
                          <a:pt x="393" y="67"/>
                          <a:pt x="393" y="67"/>
                        </a:cubicBezTo>
                        <a:cubicBezTo>
                          <a:pt x="393" y="67"/>
                          <a:pt x="394" y="73"/>
                          <a:pt x="382" y="69"/>
                        </a:cubicBezTo>
                        <a:cubicBezTo>
                          <a:pt x="370" y="65"/>
                          <a:pt x="382" y="39"/>
                          <a:pt x="382" y="39"/>
                        </a:cubicBezTo>
                        <a:cubicBezTo>
                          <a:pt x="373" y="35"/>
                          <a:pt x="373" y="35"/>
                          <a:pt x="373" y="35"/>
                        </a:cubicBezTo>
                        <a:cubicBezTo>
                          <a:pt x="369" y="28"/>
                          <a:pt x="369" y="28"/>
                          <a:pt x="369" y="28"/>
                        </a:cubicBezTo>
                        <a:cubicBezTo>
                          <a:pt x="355" y="35"/>
                          <a:pt x="355" y="35"/>
                          <a:pt x="355" y="35"/>
                        </a:cubicBezTo>
                        <a:cubicBezTo>
                          <a:pt x="355" y="21"/>
                          <a:pt x="355" y="21"/>
                          <a:pt x="355" y="21"/>
                        </a:cubicBezTo>
                        <a:cubicBezTo>
                          <a:pt x="355" y="21"/>
                          <a:pt x="333" y="25"/>
                          <a:pt x="329" y="0"/>
                        </a:cubicBezTo>
                        <a:cubicBezTo>
                          <a:pt x="298" y="0"/>
                          <a:pt x="299" y="20"/>
                          <a:pt x="299" y="20"/>
                        </a:cubicBezTo>
                        <a:cubicBezTo>
                          <a:pt x="294" y="19"/>
                          <a:pt x="294" y="19"/>
                          <a:pt x="294" y="19"/>
                        </a:cubicBezTo>
                        <a:cubicBezTo>
                          <a:pt x="289" y="28"/>
                          <a:pt x="289" y="28"/>
                          <a:pt x="289" y="28"/>
                        </a:cubicBezTo>
                        <a:cubicBezTo>
                          <a:pt x="279" y="28"/>
                          <a:pt x="279" y="28"/>
                          <a:pt x="279" y="28"/>
                        </a:cubicBezTo>
                        <a:cubicBezTo>
                          <a:pt x="282" y="16"/>
                          <a:pt x="282" y="16"/>
                          <a:pt x="282" y="16"/>
                        </a:cubicBezTo>
                        <a:cubicBezTo>
                          <a:pt x="239" y="17"/>
                          <a:pt x="239" y="17"/>
                          <a:pt x="239" y="17"/>
                        </a:cubicBezTo>
                        <a:cubicBezTo>
                          <a:pt x="213" y="32"/>
                          <a:pt x="213" y="32"/>
                          <a:pt x="213" y="32"/>
                        </a:cubicBezTo>
                        <a:cubicBezTo>
                          <a:pt x="214" y="24"/>
                          <a:pt x="214" y="24"/>
                          <a:pt x="214" y="24"/>
                        </a:cubicBezTo>
                        <a:cubicBezTo>
                          <a:pt x="195" y="21"/>
                          <a:pt x="195" y="21"/>
                          <a:pt x="195" y="21"/>
                        </a:cubicBezTo>
                        <a:cubicBezTo>
                          <a:pt x="193" y="37"/>
                          <a:pt x="193" y="37"/>
                          <a:pt x="193" y="37"/>
                        </a:cubicBezTo>
                        <a:cubicBezTo>
                          <a:pt x="193" y="37"/>
                          <a:pt x="165" y="55"/>
                          <a:pt x="158" y="47"/>
                        </a:cubicBezTo>
                        <a:cubicBezTo>
                          <a:pt x="151" y="39"/>
                          <a:pt x="122" y="49"/>
                          <a:pt x="119" y="59"/>
                        </a:cubicBezTo>
                        <a:cubicBezTo>
                          <a:pt x="117" y="68"/>
                          <a:pt x="137" y="73"/>
                          <a:pt x="137" y="73"/>
                        </a:cubicBezTo>
                        <a:cubicBezTo>
                          <a:pt x="133" y="84"/>
                          <a:pt x="133" y="84"/>
                          <a:pt x="133" y="84"/>
                        </a:cubicBezTo>
                        <a:cubicBezTo>
                          <a:pt x="158" y="109"/>
                          <a:pt x="158" y="109"/>
                          <a:pt x="158" y="109"/>
                        </a:cubicBezTo>
                        <a:cubicBezTo>
                          <a:pt x="151" y="121"/>
                          <a:pt x="151" y="121"/>
                          <a:pt x="151" y="121"/>
                        </a:cubicBezTo>
                        <a:cubicBezTo>
                          <a:pt x="166" y="141"/>
                          <a:pt x="166" y="141"/>
                          <a:pt x="166" y="141"/>
                        </a:cubicBezTo>
                        <a:cubicBezTo>
                          <a:pt x="163" y="163"/>
                          <a:pt x="163" y="163"/>
                          <a:pt x="163" y="163"/>
                        </a:cubicBezTo>
                        <a:cubicBezTo>
                          <a:pt x="174" y="163"/>
                          <a:pt x="174" y="163"/>
                          <a:pt x="174" y="163"/>
                        </a:cubicBezTo>
                        <a:cubicBezTo>
                          <a:pt x="174" y="200"/>
                          <a:pt x="174" y="200"/>
                          <a:pt x="174" y="200"/>
                        </a:cubicBezTo>
                        <a:cubicBezTo>
                          <a:pt x="163" y="200"/>
                          <a:pt x="163" y="200"/>
                          <a:pt x="163" y="200"/>
                        </a:cubicBezTo>
                        <a:cubicBezTo>
                          <a:pt x="173" y="220"/>
                          <a:pt x="173" y="220"/>
                          <a:pt x="173" y="220"/>
                        </a:cubicBezTo>
                        <a:cubicBezTo>
                          <a:pt x="169" y="243"/>
                          <a:pt x="169" y="243"/>
                          <a:pt x="169" y="243"/>
                        </a:cubicBezTo>
                        <a:cubicBezTo>
                          <a:pt x="178" y="235"/>
                          <a:pt x="178" y="235"/>
                          <a:pt x="178" y="235"/>
                        </a:cubicBezTo>
                        <a:cubicBezTo>
                          <a:pt x="201" y="255"/>
                          <a:pt x="171" y="253"/>
                          <a:pt x="171" y="253"/>
                        </a:cubicBezTo>
                        <a:cubicBezTo>
                          <a:pt x="171" y="253"/>
                          <a:pt x="171" y="264"/>
                          <a:pt x="165" y="264"/>
                        </a:cubicBezTo>
                        <a:cubicBezTo>
                          <a:pt x="158" y="264"/>
                          <a:pt x="141" y="268"/>
                          <a:pt x="141" y="268"/>
                        </a:cubicBezTo>
                        <a:cubicBezTo>
                          <a:pt x="126" y="259"/>
                          <a:pt x="126" y="259"/>
                          <a:pt x="126" y="259"/>
                        </a:cubicBezTo>
                        <a:cubicBezTo>
                          <a:pt x="117" y="265"/>
                          <a:pt x="117" y="265"/>
                          <a:pt x="117" y="265"/>
                        </a:cubicBezTo>
                        <a:cubicBezTo>
                          <a:pt x="102" y="264"/>
                          <a:pt x="102" y="264"/>
                          <a:pt x="102" y="264"/>
                        </a:cubicBezTo>
                        <a:cubicBezTo>
                          <a:pt x="102" y="248"/>
                          <a:pt x="102" y="248"/>
                          <a:pt x="102" y="248"/>
                        </a:cubicBezTo>
                        <a:cubicBezTo>
                          <a:pt x="69" y="259"/>
                          <a:pt x="69" y="259"/>
                          <a:pt x="69" y="259"/>
                        </a:cubicBezTo>
                        <a:cubicBezTo>
                          <a:pt x="55" y="264"/>
                          <a:pt x="55" y="264"/>
                          <a:pt x="55" y="264"/>
                        </a:cubicBezTo>
                        <a:cubicBezTo>
                          <a:pt x="71" y="282"/>
                          <a:pt x="78" y="307"/>
                          <a:pt x="78" y="307"/>
                        </a:cubicBezTo>
                        <a:cubicBezTo>
                          <a:pt x="64" y="309"/>
                          <a:pt x="64" y="309"/>
                          <a:pt x="64" y="309"/>
                        </a:cubicBezTo>
                        <a:cubicBezTo>
                          <a:pt x="69" y="320"/>
                          <a:pt x="69" y="320"/>
                          <a:pt x="69" y="320"/>
                        </a:cubicBezTo>
                        <a:cubicBezTo>
                          <a:pt x="69" y="324"/>
                          <a:pt x="69" y="324"/>
                          <a:pt x="69" y="324"/>
                        </a:cubicBezTo>
                        <a:cubicBezTo>
                          <a:pt x="71" y="335"/>
                          <a:pt x="71" y="335"/>
                          <a:pt x="71" y="335"/>
                        </a:cubicBezTo>
                        <a:cubicBezTo>
                          <a:pt x="63" y="352"/>
                          <a:pt x="63" y="352"/>
                          <a:pt x="63" y="352"/>
                        </a:cubicBezTo>
                        <a:cubicBezTo>
                          <a:pt x="52" y="352"/>
                          <a:pt x="52" y="352"/>
                          <a:pt x="52" y="352"/>
                        </a:cubicBezTo>
                        <a:cubicBezTo>
                          <a:pt x="58" y="367"/>
                          <a:pt x="58" y="367"/>
                          <a:pt x="58" y="367"/>
                        </a:cubicBezTo>
                        <a:cubicBezTo>
                          <a:pt x="67" y="382"/>
                          <a:pt x="67" y="382"/>
                          <a:pt x="67" y="382"/>
                        </a:cubicBezTo>
                        <a:cubicBezTo>
                          <a:pt x="67" y="382"/>
                          <a:pt x="51" y="372"/>
                          <a:pt x="44" y="372"/>
                        </a:cubicBezTo>
                        <a:cubicBezTo>
                          <a:pt x="37" y="372"/>
                          <a:pt x="35" y="378"/>
                          <a:pt x="33" y="389"/>
                        </a:cubicBezTo>
                        <a:cubicBezTo>
                          <a:pt x="31" y="400"/>
                          <a:pt x="37" y="406"/>
                          <a:pt x="37" y="406"/>
                        </a:cubicBezTo>
                        <a:cubicBezTo>
                          <a:pt x="70" y="427"/>
                          <a:pt x="70" y="427"/>
                          <a:pt x="70" y="427"/>
                        </a:cubicBezTo>
                        <a:cubicBezTo>
                          <a:pt x="80" y="427"/>
                          <a:pt x="80" y="427"/>
                          <a:pt x="80" y="427"/>
                        </a:cubicBezTo>
                        <a:cubicBezTo>
                          <a:pt x="93" y="454"/>
                          <a:pt x="93" y="454"/>
                          <a:pt x="93" y="454"/>
                        </a:cubicBezTo>
                        <a:cubicBezTo>
                          <a:pt x="103" y="454"/>
                          <a:pt x="103" y="454"/>
                          <a:pt x="103" y="454"/>
                        </a:cubicBezTo>
                        <a:cubicBezTo>
                          <a:pt x="103" y="454"/>
                          <a:pt x="104" y="457"/>
                          <a:pt x="114" y="462"/>
                        </a:cubicBezTo>
                        <a:cubicBezTo>
                          <a:pt x="124" y="467"/>
                          <a:pt x="147" y="539"/>
                          <a:pt x="147" y="539"/>
                        </a:cubicBezTo>
                        <a:cubicBezTo>
                          <a:pt x="145" y="553"/>
                          <a:pt x="145" y="553"/>
                          <a:pt x="145" y="553"/>
                        </a:cubicBezTo>
                        <a:cubicBezTo>
                          <a:pt x="152" y="564"/>
                          <a:pt x="152" y="564"/>
                          <a:pt x="152" y="564"/>
                        </a:cubicBezTo>
                        <a:cubicBezTo>
                          <a:pt x="148" y="576"/>
                          <a:pt x="148" y="576"/>
                          <a:pt x="148" y="576"/>
                        </a:cubicBezTo>
                        <a:cubicBezTo>
                          <a:pt x="148" y="576"/>
                          <a:pt x="149" y="578"/>
                          <a:pt x="151" y="581"/>
                        </a:cubicBezTo>
                        <a:cubicBezTo>
                          <a:pt x="165" y="580"/>
                          <a:pt x="165" y="580"/>
                          <a:pt x="165" y="580"/>
                        </a:cubicBezTo>
                        <a:cubicBezTo>
                          <a:pt x="171" y="593"/>
                          <a:pt x="171" y="593"/>
                          <a:pt x="171" y="593"/>
                        </a:cubicBezTo>
                        <a:cubicBezTo>
                          <a:pt x="171" y="593"/>
                          <a:pt x="211" y="604"/>
                          <a:pt x="205" y="619"/>
                        </a:cubicBezTo>
                        <a:cubicBezTo>
                          <a:pt x="210" y="637"/>
                          <a:pt x="210" y="643"/>
                          <a:pt x="210" y="643"/>
                        </a:cubicBezTo>
                        <a:cubicBezTo>
                          <a:pt x="210" y="643"/>
                          <a:pt x="218" y="628"/>
                          <a:pt x="235" y="645"/>
                        </a:cubicBezTo>
                        <a:cubicBezTo>
                          <a:pt x="253" y="663"/>
                          <a:pt x="286" y="665"/>
                          <a:pt x="293" y="652"/>
                        </a:cubicBezTo>
                        <a:cubicBezTo>
                          <a:pt x="299" y="639"/>
                          <a:pt x="315" y="616"/>
                          <a:pt x="315" y="616"/>
                        </a:cubicBezTo>
                        <a:cubicBezTo>
                          <a:pt x="315" y="616"/>
                          <a:pt x="323" y="625"/>
                          <a:pt x="327" y="625"/>
                        </a:cubicBezTo>
                        <a:cubicBezTo>
                          <a:pt x="331" y="625"/>
                          <a:pt x="350" y="597"/>
                          <a:pt x="350" y="597"/>
                        </a:cubicBezTo>
                        <a:cubicBezTo>
                          <a:pt x="357" y="597"/>
                          <a:pt x="357" y="597"/>
                          <a:pt x="357" y="597"/>
                        </a:cubicBezTo>
                        <a:cubicBezTo>
                          <a:pt x="357" y="597"/>
                          <a:pt x="345" y="544"/>
                          <a:pt x="397" y="537"/>
                        </a:cubicBezTo>
                        <a:cubicBezTo>
                          <a:pt x="401" y="523"/>
                          <a:pt x="405" y="524"/>
                          <a:pt x="405" y="524"/>
                        </a:cubicBezTo>
                        <a:cubicBezTo>
                          <a:pt x="417" y="523"/>
                          <a:pt x="417" y="523"/>
                          <a:pt x="417" y="523"/>
                        </a:cubicBezTo>
                        <a:cubicBezTo>
                          <a:pt x="417" y="523"/>
                          <a:pt x="407" y="495"/>
                          <a:pt x="411" y="495"/>
                        </a:cubicBezTo>
                        <a:cubicBezTo>
                          <a:pt x="415" y="495"/>
                          <a:pt x="426" y="493"/>
                          <a:pt x="426" y="493"/>
                        </a:cubicBezTo>
                        <a:cubicBezTo>
                          <a:pt x="461" y="451"/>
                          <a:pt x="461" y="451"/>
                          <a:pt x="461" y="451"/>
                        </a:cubicBezTo>
                        <a:cubicBezTo>
                          <a:pt x="461" y="443"/>
                          <a:pt x="461" y="443"/>
                          <a:pt x="461" y="443"/>
                        </a:cubicBezTo>
                        <a:cubicBezTo>
                          <a:pt x="481" y="439"/>
                          <a:pt x="481" y="439"/>
                          <a:pt x="481" y="439"/>
                        </a:cubicBezTo>
                        <a:cubicBezTo>
                          <a:pt x="489" y="413"/>
                          <a:pt x="489" y="413"/>
                          <a:pt x="489" y="413"/>
                        </a:cubicBezTo>
                        <a:cubicBezTo>
                          <a:pt x="489" y="413"/>
                          <a:pt x="483" y="393"/>
                          <a:pt x="487" y="395"/>
                        </a:cubicBezTo>
                        <a:cubicBezTo>
                          <a:pt x="491" y="396"/>
                          <a:pt x="501" y="399"/>
                          <a:pt x="501" y="399"/>
                        </a:cubicBezTo>
                        <a:cubicBezTo>
                          <a:pt x="513" y="391"/>
                          <a:pt x="513" y="391"/>
                          <a:pt x="513" y="391"/>
                        </a:cubicBezTo>
                        <a:cubicBezTo>
                          <a:pt x="506" y="371"/>
                          <a:pt x="506" y="371"/>
                          <a:pt x="506" y="371"/>
                        </a:cubicBezTo>
                        <a:cubicBezTo>
                          <a:pt x="506" y="371"/>
                          <a:pt x="478" y="372"/>
                          <a:pt x="490" y="332"/>
                        </a:cubicBezTo>
                        <a:cubicBezTo>
                          <a:pt x="482" y="311"/>
                          <a:pt x="482" y="311"/>
                          <a:pt x="482" y="311"/>
                        </a:cubicBezTo>
                        <a:cubicBezTo>
                          <a:pt x="494" y="301"/>
                          <a:pt x="494" y="301"/>
                          <a:pt x="494" y="301"/>
                        </a:cubicBezTo>
                        <a:cubicBezTo>
                          <a:pt x="510" y="285"/>
                          <a:pt x="510" y="285"/>
                          <a:pt x="510" y="285"/>
                        </a:cubicBezTo>
                        <a:cubicBezTo>
                          <a:pt x="529" y="287"/>
                          <a:pt x="529" y="287"/>
                          <a:pt x="529" y="287"/>
                        </a:cubicBezTo>
                        <a:cubicBezTo>
                          <a:pt x="541" y="261"/>
                          <a:pt x="541" y="261"/>
                          <a:pt x="541" y="261"/>
                        </a:cubicBezTo>
                        <a:cubicBezTo>
                          <a:pt x="555" y="263"/>
                          <a:pt x="555" y="263"/>
                          <a:pt x="555" y="263"/>
                        </a:cubicBezTo>
                        <a:cubicBezTo>
                          <a:pt x="573" y="256"/>
                          <a:pt x="573" y="256"/>
                          <a:pt x="573" y="256"/>
                        </a:cubicBezTo>
                        <a:cubicBezTo>
                          <a:pt x="570" y="252"/>
                          <a:pt x="570" y="252"/>
                          <a:pt x="570" y="252"/>
                        </a:cubicBezTo>
                        <a:lnTo>
                          <a:pt x="574" y="241"/>
                        </a:ln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58" name="Limousin" descr="© INSCALE GmbH, 05.05.2010&#10;http://www.presentationload.com/">
                    <a:extLst>
                      <a:ext uri="{FF2B5EF4-FFF2-40B4-BE49-F238E27FC236}">
                        <a16:creationId xmlns:a16="http://schemas.microsoft.com/office/drawing/2014/main" id="{FCB584FE-989A-434D-A1CE-DEDE0F3A6A94}"/>
                      </a:ext>
                    </a:extLst>
                  </p:cNvPr>
                  <p:cNvSpPr>
                    <a:spLocks/>
                  </p:cNvSpPr>
                  <p:nvPr/>
                </p:nvSpPr>
                <p:spPr bwMode="gray">
                  <a:xfrm>
                    <a:off x="1360" y="1756"/>
                    <a:ext cx="473" cy="536"/>
                  </a:xfrm>
                  <a:custGeom>
                    <a:avLst/>
                    <a:gdLst/>
                    <a:ahLst/>
                    <a:cxnLst>
                      <a:cxn ang="0">
                        <a:pos x="50" y="266"/>
                      </a:cxn>
                      <a:cxn ang="0">
                        <a:pos x="97" y="293"/>
                      </a:cxn>
                      <a:cxn ang="0">
                        <a:pos x="110" y="314"/>
                      </a:cxn>
                      <a:cxn ang="0">
                        <a:pos x="135" y="337"/>
                      </a:cxn>
                      <a:cxn ang="0">
                        <a:pos x="133" y="369"/>
                      </a:cxn>
                      <a:cxn ang="0">
                        <a:pos x="141" y="386"/>
                      </a:cxn>
                      <a:cxn ang="0">
                        <a:pos x="142" y="404"/>
                      </a:cxn>
                      <a:cxn ang="0">
                        <a:pos x="169" y="426"/>
                      </a:cxn>
                      <a:cxn ang="0">
                        <a:pos x="175" y="461"/>
                      </a:cxn>
                      <a:cxn ang="0">
                        <a:pos x="258" y="493"/>
                      </a:cxn>
                      <a:cxn ang="0">
                        <a:pos x="286" y="481"/>
                      </a:cxn>
                      <a:cxn ang="0">
                        <a:pos x="319" y="474"/>
                      </a:cxn>
                      <a:cxn ang="0">
                        <a:pos x="343" y="440"/>
                      </a:cxn>
                      <a:cxn ang="0">
                        <a:pos x="350" y="412"/>
                      </a:cxn>
                      <a:cxn ang="0">
                        <a:pos x="363" y="374"/>
                      </a:cxn>
                      <a:cxn ang="0">
                        <a:pos x="385" y="365"/>
                      </a:cxn>
                      <a:cxn ang="0">
                        <a:pos x="402" y="348"/>
                      </a:cxn>
                      <a:cxn ang="0">
                        <a:pos x="410" y="330"/>
                      </a:cxn>
                      <a:cxn ang="0">
                        <a:pos x="419" y="265"/>
                      </a:cxn>
                      <a:cxn ang="0">
                        <a:pos x="403" y="193"/>
                      </a:cxn>
                      <a:cxn ang="0">
                        <a:pos x="438" y="161"/>
                      </a:cxn>
                      <a:cxn ang="0">
                        <a:pos x="430" y="105"/>
                      </a:cxn>
                      <a:cxn ang="0">
                        <a:pos x="397" y="54"/>
                      </a:cxn>
                      <a:cxn ang="0">
                        <a:pos x="375" y="28"/>
                      </a:cxn>
                      <a:cxn ang="0">
                        <a:pos x="365" y="11"/>
                      </a:cxn>
                      <a:cxn ang="0">
                        <a:pos x="318" y="13"/>
                      </a:cxn>
                      <a:cxn ang="0">
                        <a:pos x="250" y="4"/>
                      </a:cxn>
                      <a:cxn ang="0">
                        <a:pos x="235" y="16"/>
                      </a:cxn>
                      <a:cxn ang="0">
                        <a:pos x="219" y="13"/>
                      </a:cxn>
                      <a:cxn ang="0">
                        <a:pos x="201" y="12"/>
                      </a:cxn>
                      <a:cxn ang="0">
                        <a:pos x="169" y="21"/>
                      </a:cxn>
                      <a:cxn ang="0">
                        <a:pos x="151" y="28"/>
                      </a:cxn>
                      <a:cxn ang="0">
                        <a:pos x="129" y="25"/>
                      </a:cxn>
                      <a:cxn ang="0">
                        <a:pos x="97" y="30"/>
                      </a:cxn>
                      <a:cxn ang="0">
                        <a:pos x="66" y="54"/>
                      </a:cxn>
                      <a:cxn ang="0">
                        <a:pos x="38" y="80"/>
                      </a:cxn>
                      <a:cxn ang="0">
                        <a:pos x="62" y="140"/>
                      </a:cxn>
                      <a:cxn ang="0">
                        <a:pos x="57" y="168"/>
                      </a:cxn>
                      <a:cxn ang="0">
                        <a:pos x="45" y="182"/>
                      </a:cxn>
                      <a:cxn ang="0">
                        <a:pos x="17" y="212"/>
                      </a:cxn>
                      <a:cxn ang="0">
                        <a:pos x="0" y="240"/>
                      </a:cxn>
                      <a:cxn ang="0">
                        <a:pos x="31" y="277"/>
                      </a:cxn>
                    </a:cxnLst>
                    <a:rect l="0" t="0" r="r" b="b"/>
                    <a:pathLst>
                      <a:path w="439" h="497">
                        <a:moveTo>
                          <a:pt x="31" y="277"/>
                        </a:moveTo>
                        <a:cubicBezTo>
                          <a:pt x="38" y="281"/>
                          <a:pt x="50" y="266"/>
                          <a:pt x="50" y="266"/>
                        </a:cubicBezTo>
                        <a:cubicBezTo>
                          <a:pt x="85" y="270"/>
                          <a:pt x="85" y="270"/>
                          <a:pt x="85" y="270"/>
                        </a:cubicBezTo>
                        <a:cubicBezTo>
                          <a:pt x="85" y="270"/>
                          <a:pt x="90" y="293"/>
                          <a:pt x="97" y="293"/>
                        </a:cubicBezTo>
                        <a:cubicBezTo>
                          <a:pt x="103" y="293"/>
                          <a:pt x="115" y="294"/>
                          <a:pt x="115" y="294"/>
                        </a:cubicBezTo>
                        <a:cubicBezTo>
                          <a:pt x="110" y="314"/>
                          <a:pt x="110" y="314"/>
                          <a:pt x="110" y="314"/>
                        </a:cubicBezTo>
                        <a:cubicBezTo>
                          <a:pt x="142" y="336"/>
                          <a:pt x="142" y="336"/>
                          <a:pt x="142" y="336"/>
                        </a:cubicBezTo>
                        <a:cubicBezTo>
                          <a:pt x="135" y="337"/>
                          <a:pt x="135" y="337"/>
                          <a:pt x="135" y="337"/>
                        </a:cubicBezTo>
                        <a:cubicBezTo>
                          <a:pt x="135" y="337"/>
                          <a:pt x="149" y="341"/>
                          <a:pt x="149" y="348"/>
                        </a:cubicBezTo>
                        <a:cubicBezTo>
                          <a:pt x="149" y="354"/>
                          <a:pt x="133" y="369"/>
                          <a:pt x="133" y="369"/>
                        </a:cubicBezTo>
                        <a:cubicBezTo>
                          <a:pt x="133" y="380"/>
                          <a:pt x="133" y="380"/>
                          <a:pt x="133" y="380"/>
                        </a:cubicBezTo>
                        <a:cubicBezTo>
                          <a:pt x="141" y="386"/>
                          <a:pt x="141" y="386"/>
                          <a:pt x="141" y="386"/>
                        </a:cubicBezTo>
                        <a:cubicBezTo>
                          <a:pt x="134" y="402"/>
                          <a:pt x="134" y="402"/>
                          <a:pt x="134" y="402"/>
                        </a:cubicBezTo>
                        <a:cubicBezTo>
                          <a:pt x="142" y="404"/>
                          <a:pt x="142" y="404"/>
                          <a:pt x="142" y="404"/>
                        </a:cubicBezTo>
                        <a:cubicBezTo>
                          <a:pt x="138" y="414"/>
                          <a:pt x="138" y="414"/>
                          <a:pt x="138" y="414"/>
                        </a:cubicBezTo>
                        <a:cubicBezTo>
                          <a:pt x="169" y="426"/>
                          <a:pt x="169" y="426"/>
                          <a:pt x="169" y="426"/>
                        </a:cubicBezTo>
                        <a:cubicBezTo>
                          <a:pt x="163" y="436"/>
                          <a:pt x="163" y="436"/>
                          <a:pt x="163" y="436"/>
                        </a:cubicBezTo>
                        <a:cubicBezTo>
                          <a:pt x="175" y="461"/>
                          <a:pt x="175" y="461"/>
                          <a:pt x="175" y="461"/>
                        </a:cubicBezTo>
                        <a:cubicBezTo>
                          <a:pt x="186" y="454"/>
                          <a:pt x="218" y="458"/>
                          <a:pt x="218" y="458"/>
                        </a:cubicBezTo>
                        <a:cubicBezTo>
                          <a:pt x="218" y="458"/>
                          <a:pt x="247" y="489"/>
                          <a:pt x="258" y="493"/>
                        </a:cubicBezTo>
                        <a:cubicBezTo>
                          <a:pt x="269" y="497"/>
                          <a:pt x="283" y="474"/>
                          <a:pt x="283" y="474"/>
                        </a:cubicBezTo>
                        <a:cubicBezTo>
                          <a:pt x="286" y="481"/>
                          <a:pt x="286" y="481"/>
                          <a:pt x="286" y="481"/>
                        </a:cubicBezTo>
                        <a:cubicBezTo>
                          <a:pt x="298" y="476"/>
                          <a:pt x="298" y="476"/>
                          <a:pt x="298" y="476"/>
                        </a:cubicBezTo>
                        <a:cubicBezTo>
                          <a:pt x="319" y="474"/>
                          <a:pt x="319" y="474"/>
                          <a:pt x="319" y="474"/>
                        </a:cubicBezTo>
                        <a:cubicBezTo>
                          <a:pt x="319" y="474"/>
                          <a:pt x="323" y="468"/>
                          <a:pt x="331" y="466"/>
                        </a:cubicBezTo>
                        <a:cubicBezTo>
                          <a:pt x="319" y="444"/>
                          <a:pt x="343" y="440"/>
                          <a:pt x="343" y="440"/>
                        </a:cubicBezTo>
                        <a:cubicBezTo>
                          <a:pt x="342" y="421"/>
                          <a:pt x="342" y="421"/>
                          <a:pt x="342" y="421"/>
                        </a:cubicBezTo>
                        <a:cubicBezTo>
                          <a:pt x="350" y="412"/>
                          <a:pt x="350" y="412"/>
                          <a:pt x="350" y="412"/>
                        </a:cubicBezTo>
                        <a:cubicBezTo>
                          <a:pt x="346" y="401"/>
                          <a:pt x="346" y="401"/>
                          <a:pt x="346" y="401"/>
                        </a:cubicBezTo>
                        <a:cubicBezTo>
                          <a:pt x="363" y="374"/>
                          <a:pt x="363" y="374"/>
                          <a:pt x="363" y="374"/>
                        </a:cubicBezTo>
                        <a:cubicBezTo>
                          <a:pt x="371" y="366"/>
                          <a:pt x="371" y="366"/>
                          <a:pt x="371" y="366"/>
                        </a:cubicBezTo>
                        <a:cubicBezTo>
                          <a:pt x="385" y="365"/>
                          <a:pt x="385" y="365"/>
                          <a:pt x="385" y="365"/>
                        </a:cubicBezTo>
                        <a:cubicBezTo>
                          <a:pt x="385" y="365"/>
                          <a:pt x="378" y="336"/>
                          <a:pt x="385" y="334"/>
                        </a:cubicBezTo>
                        <a:cubicBezTo>
                          <a:pt x="391" y="333"/>
                          <a:pt x="402" y="348"/>
                          <a:pt x="402" y="348"/>
                        </a:cubicBezTo>
                        <a:cubicBezTo>
                          <a:pt x="421" y="342"/>
                          <a:pt x="421" y="342"/>
                          <a:pt x="421" y="342"/>
                        </a:cubicBezTo>
                        <a:cubicBezTo>
                          <a:pt x="410" y="330"/>
                          <a:pt x="410" y="330"/>
                          <a:pt x="410" y="330"/>
                        </a:cubicBezTo>
                        <a:cubicBezTo>
                          <a:pt x="410" y="330"/>
                          <a:pt x="415" y="325"/>
                          <a:pt x="418" y="293"/>
                        </a:cubicBezTo>
                        <a:cubicBezTo>
                          <a:pt x="399" y="269"/>
                          <a:pt x="419" y="265"/>
                          <a:pt x="419" y="265"/>
                        </a:cubicBezTo>
                        <a:cubicBezTo>
                          <a:pt x="419" y="265"/>
                          <a:pt x="426" y="258"/>
                          <a:pt x="403" y="226"/>
                        </a:cubicBezTo>
                        <a:cubicBezTo>
                          <a:pt x="381" y="194"/>
                          <a:pt x="403" y="193"/>
                          <a:pt x="403" y="193"/>
                        </a:cubicBezTo>
                        <a:cubicBezTo>
                          <a:pt x="403" y="193"/>
                          <a:pt x="414" y="208"/>
                          <a:pt x="419" y="185"/>
                        </a:cubicBezTo>
                        <a:cubicBezTo>
                          <a:pt x="425" y="162"/>
                          <a:pt x="438" y="161"/>
                          <a:pt x="438" y="161"/>
                        </a:cubicBezTo>
                        <a:cubicBezTo>
                          <a:pt x="438" y="161"/>
                          <a:pt x="437" y="145"/>
                          <a:pt x="439" y="141"/>
                        </a:cubicBezTo>
                        <a:cubicBezTo>
                          <a:pt x="410" y="118"/>
                          <a:pt x="430" y="105"/>
                          <a:pt x="430" y="105"/>
                        </a:cubicBezTo>
                        <a:cubicBezTo>
                          <a:pt x="411" y="56"/>
                          <a:pt x="411" y="56"/>
                          <a:pt x="411" y="56"/>
                        </a:cubicBezTo>
                        <a:cubicBezTo>
                          <a:pt x="397" y="54"/>
                          <a:pt x="397" y="54"/>
                          <a:pt x="397" y="54"/>
                        </a:cubicBezTo>
                        <a:cubicBezTo>
                          <a:pt x="397" y="54"/>
                          <a:pt x="395" y="45"/>
                          <a:pt x="393" y="44"/>
                        </a:cubicBezTo>
                        <a:cubicBezTo>
                          <a:pt x="354" y="56"/>
                          <a:pt x="375" y="28"/>
                          <a:pt x="375" y="28"/>
                        </a:cubicBezTo>
                        <a:cubicBezTo>
                          <a:pt x="369" y="28"/>
                          <a:pt x="369" y="28"/>
                          <a:pt x="369" y="28"/>
                        </a:cubicBezTo>
                        <a:cubicBezTo>
                          <a:pt x="365" y="11"/>
                          <a:pt x="365" y="11"/>
                          <a:pt x="365" y="11"/>
                        </a:cubicBezTo>
                        <a:cubicBezTo>
                          <a:pt x="365" y="11"/>
                          <a:pt x="365" y="12"/>
                          <a:pt x="365" y="12"/>
                        </a:cubicBezTo>
                        <a:cubicBezTo>
                          <a:pt x="365" y="12"/>
                          <a:pt x="323" y="22"/>
                          <a:pt x="318" y="13"/>
                        </a:cubicBezTo>
                        <a:cubicBezTo>
                          <a:pt x="293" y="0"/>
                          <a:pt x="298" y="9"/>
                          <a:pt x="286" y="12"/>
                        </a:cubicBezTo>
                        <a:cubicBezTo>
                          <a:pt x="274" y="14"/>
                          <a:pt x="250" y="4"/>
                          <a:pt x="250" y="4"/>
                        </a:cubicBezTo>
                        <a:cubicBezTo>
                          <a:pt x="245" y="22"/>
                          <a:pt x="245" y="22"/>
                          <a:pt x="245" y="22"/>
                        </a:cubicBezTo>
                        <a:cubicBezTo>
                          <a:pt x="235" y="16"/>
                          <a:pt x="235" y="16"/>
                          <a:pt x="235" y="16"/>
                        </a:cubicBezTo>
                        <a:cubicBezTo>
                          <a:pt x="222" y="21"/>
                          <a:pt x="222" y="21"/>
                          <a:pt x="222" y="21"/>
                        </a:cubicBezTo>
                        <a:cubicBezTo>
                          <a:pt x="219" y="13"/>
                          <a:pt x="219" y="13"/>
                          <a:pt x="219" y="13"/>
                        </a:cubicBezTo>
                        <a:cubicBezTo>
                          <a:pt x="202" y="24"/>
                          <a:pt x="202" y="24"/>
                          <a:pt x="202" y="24"/>
                        </a:cubicBezTo>
                        <a:cubicBezTo>
                          <a:pt x="201" y="12"/>
                          <a:pt x="201" y="12"/>
                          <a:pt x="201" y="12"/>
                        </a:cubicBezTo>
                        <a:cubicBezTo>
                          <a:pt x="174" y="32"/>
                          <a:pt x="174" y="32"/>
                          <a:pt x="174" y="32"/>
                        </a:cubicBezTo>
                        <a:cubicBezTo>
                          <a:pt x="169" y="21"/>
                          <a:pt x="169" y="21"/>
                          <a:pt x="169" y="21"/>
                        </a:cubicBezTo>
                        <a:cubicBezTo>
                          <a:pt x="151" y="21"/>
                          <a:pt x="151" y="21"/>
                          <a:pt x="151" y="21"/>
                        </a:cubicBezTo>
                        <a:cubicBezTo>
                          <a:pt x="151" y="28"/>
                          <a:pt x="151" y="28"/>
                          <a:pt x="151" y="28"/>
                        </a:cubicBezTo>
                        <a:cubicBezTo>
                          <a:pt x="133" y="30"/>
                          <a:pt x="133" y="30"/>
                          <a:pt x="133" y="30"/>
                        </a:cubicBezTo>
                        <a:cubicBezTo>
                          <a:pt x="129" y="25"/>
                          <a:pt x="129" y="25"/>
                          <a:pt x="129" y="25"/>
                        </a:cubicBezTo>
                        <a:cubicBezTo>
                          <a:pt x="111" y="32"/>
                          <a:pt x="111" y="32"/>
                          <a:pt x="111" y="32"/>
                        </a:cubicBezTo>
                        <a:cubicBezTo>
                          <a:pt x="97" y="30"/>
                          <a:pt x="97" y="30"/>
                          <a:pt x="97" y="30"/>
                        </a:cubicBezTo>
                        <a:cubicBezTo>
                          <a:pt x="85" y="56"/>
                          <a:pt x="85" y="56"/>
                          <a:pt x="85" y="56"/>
                        </a:cubicBezTo>
                        <a:cubicBezTo>
                          <a:pt x="66" y="54"/>
                          <a:pt x="66" y="54"/>
                          <a:pt x="66" y="54"/>
                        </a:cubicBezTo>
                        <a:cubicBezTo>
                          <a:pt x="50" y="70"/>
                          <a:pt x="50" y="70"/>
                          <a:pt x="50" y="70"/>
                        </a:cubicBezTo>
                        <a:cubicBezTo>
                          <a:pt x="38" y="80"/>
                          <a:pt x="38" y="80"/>
                          <a:pt x="38" y="80"/>
                        </a:cubicBezTo>
                        <a:cubicBezTo>
                          <a:pt x="46" y="101"/>
                          <a:pt x="46" y="101"/>
                          <a:pt x="46" y="101"/>
                        </a:cubicBezTo>
                        <a:cubicBezTo>
                          <a:pt x="34" y="141"/>
                          <a:pt x="62" y="140"/>
                          <a:pt x="62" y="140"/>
                        </a:cubicBezTo>
                        <a:cubicBezTo>
                          <a:pt x="69" y="160"/>
                          <a:pt x="69" y="160"/>
                          <a:pt x="69" y="160"/>
                        </a:cubicBezTo>
                        <a:cubicBezTo>
                          <a:pt x="57" y="168"/>
                          <a:pt x="57" y="168"/>
                          <a:pt x="57" y="168"/>
                        </a:cubicBezTo>
                        <a:cubicBezTo>
                          <a:pt x="57" y="168"/>
                          <a:pt x="47" y="165"/>
                          <a:pt x="43" y="164"/>
                        </a:cubicBezTo>
                        <a:cubicBezTo>
                          <a:pt x="39" y="162"/>
                          <a:pt x="45" y="182"/>
                          <a:pt x="45" y="182"/>
                        </a:cubicBezTo>
                        <a:cubicBezTo>
                          <a:pt x="37" y="208"/>
                          <a:pt x="37" y="208"/>
                          <a:pt x="37" y="208"/>
                        </a:cubicBezTo>
                        <a:cubicBezTo>
                          <a:pt x="17" y="212"/>
                          <a:pt x="17" y="212"/>
                          <a:pt x="17" y="212"/>
                        </a:cubicBezTo>
                        <a:cubicBezTo>
                          <a:pt x="17" y="220"/>
                          <a:pt x="17" y="220"/>
                          <a:pt x="17" y="220"/>
                        </a:cubicBezTo>
                        <a:cubicBezTo>
                          <a:pt x="0" y="240"/>
                          <a:pt x="0" y="240"/>
                          <a:pt x="0" y="240"/>
                        </a:cubicBezTo>
                        <a:cubicBezTo>
                          <a:pt x="18" y="243"/>
                          <a:pt x="31" y="249"/>
                          <a:pt x="31" y="249"/>
                        </a:cubicBezTo>
                        <a:cubicBezTo>
                          <a:pt x="31" y="249"/>
                          <a:pt x="25" y="273"/>
                          <a:pt x="31" y="277"/>
                        </a:cubicBez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59" name="Auvergne" descr="© INSCALE GmbH, 05.05.2010&#10;http://www.presentationload.com/">
                    <a:extLst>
                      <a:ext uri="{FF2B5EF4-FFF2-40B4-BE49-F238E27FC236}">
                        <a16:creationId xmlns:a16="http://schemas.microsoft.com/office/drawing/2014/main" id="{AA64105E-43DC-4023-ACE4-453854F5FEEF}"/>
                      </a:ext>
                    </a:extLst>
                  </p:cNvPr>
                  <p:cNvSpPr>
                    <a:spLocks/>
                  </p:cNvSpPr>
                  <p:nvPr/>
                </p:nvSpPr>
                <p:spPr bwMode="gray">
                  <a:xfrm>
                    <a:off x="1704" y="1640"/>
                    <a:ext cx="593" cy="753"/>
                  </a:xfrm>
                  <a:custGeom>
                    <a:avLst/>
                    <a:gdLst/>
                    <a:ahLst/>
                    <a:cxnLst>
                      <a:cxn ang="0">
                        <a:pos x="15" y="669"/>
                      </a:cxn>
                      <a:cxn ang="0">
                        <a:pos x="31" y="697"/>
                      </a:cxn>
                      <a:cxn ang="0">
                        <a:pos x="60" y="689"/>
                      </a:cxn>
                      <a:cxn ang="0">
                        <a:pos x="111" y="665"/>
                      </a:cxn>
                      <a:cxn ang="0">
                        <a:pos x="122" y="617"/>
                      </a:cxn>
                      <a:cxn ang="0">
                        <a:pos x="186" y="636"/>
                      </a:cxn>
                      <a:cxn ang="0">
                        <a:pos x="218" y="663"/>
                      </a:cxn>
                      <a:cxn ang="0">
                        <a:pos x="231" y="607"/>
                      </a:cxn>
                      <a:cxn ang="0">
                        <a:pos x="266" y="611"/>
                      </a:cxn>
                      <a:cxn ang="0">
                        <a:pos x="266" y="603"/>
                      </a:cxn>
                      <a:cxn ang="0">
                        <a:pos x="318" y="635"/>
                      </a:cxn>
                      <a:cxn ang="0">
                        <a:pos x="378" y="629"/>
                      </a:cxn>
                      <a:cxn ang="0">
                        <a:pos x="424" y="628"/>
                      </a:cxn>
                      <a:cxn ang="0">
                        <a:pos x="472" y="612"/>
                      </a:cxn>
                      <a:cxn ang="0">
                        <a:pos x="504" y="560"/>
                      </a:cxn>
                      <a:cxn ang="0">
                        <a:pos x="522" y="535"/>
                      </a:cxn>
                      <a:cxn ang="0">
                        <a:pos x="536" y="517"/>
                      </a:cxn>
                      <a:cxn ang="0">
                        <a:pos x="507" y="467"/>
                      </a:cxn>
                      <a:cxn ang="0">
                        <a:pos x="450" y="463"/>
                      </a:cxn>
                      <a:cxn ang="0">
                        <a:pos x="430" y="449"/>
                      </a:cxn>
                      <a:cxn ang="0">
                        <a:pos x="408" y="445"/>
                      </a:cxn>
                      <a:cxn ang="0">
                        <a:pos x="364" y="320"/>
                      </a:cxn>
                      <a:cxn ang="0">
                        <a:pos x="362" y="273"/>
                      </a:cxn>
                      <a:cxn ang="0">
                        <a:pos x="386" y="217"/>
                      </a:cxn>
                      <a:cxn ang="0">
                        <a:pos x="378" y="176"/>
                      </a:cxn>
                      <a:cxn ang="0">
                        <a:pos x="411" y="159"/>
                      </a:cxn>
                      <a:cxn ang="0">
                        <a:pos x="424" y="101"/>
                      </a:cxn>
                      <a:cxn ang="0">
                        <a:pos x="370" y="81"/>
                      </a:cxn>
                      <a:cxn ang="0">
                        <a:pos x="327" y="32"/>
                      </a:cxn>
                      <a:cxn ang="0">
                        <a:pos x="306" y="31"/>
                      </a:cxn>
                      <a:cxn ang="0">
                        <a:pos x="263" y="25"/>
                      </a:cxn>
                      <a:cxn ang="0">
                        <a:pos x="171" y="23"/>
                      </a:cxn>
                      <a:cxn ang="0">
                        <a:pos x="115" y="49"/>
                      </a:cxn>
                      <a:cxn ang="0">
                        <a:pos x="46" y="118"/>
                      </a:cxn>
                      <a:cxn ang="0">
                        <a:pos x="74" y="151"/>
                      </a:cxn>
                      <a:cxn ang="0">
                        <a:pos x="111" y="212"/>
                      </a:cxn>
                      <a:cxn ang="0">
                        <a:pos x="100" y="292"/>
                      </a:cxn>
                      <a:cxn ang="0">
                        <a:pos x="100" y="372"/>
                      </a:cxn>
                      <a:cxn ang="0">
                        <a:pos x="102" y="449"/>
                      </a:cxn>
                      <a:cxn ang="0">
                        <a:pos x="66" y="472"/>
                      </a:cxn>
                      <a:cxn ang="0">
                        <a:pos x="27" y="508"/>
                      </a:cxn>
                      <a:cxn ang="0">
                        <a:pos x="24" y="547"/>
                      </a:cxn>
                      <a:cxn ang="0">
                        <a:pos x="4" y="608"/>
                      </a:cxn>
                    </a:cxnLst>
                    <a:rect l="0" t="0" r="r" b="b"/>
                    <a:pathLst>
                      <a:path w="550" h="697">
                        <a:moveTo>
                          <a:pt x="4" y="608"/>
                        </a:moveTo>
                        <a:cubicBezTo>
                          <a:pt x="20" y="635"/>
                          <a:pt x="20" y="635"/>
                          <a:pt x="20" y="635"/>
                        </a:cubicBezTo>
                        <a:cubicBezTo>
                          <a:pt x="15" y="669"/>
                          <a:pt x="15" y="669"/>
                          <a:pt x="15" y="669"/>
                        </a:cubicBezTo>
                        <a:cubicBezTo>
                          <a:pt x="24" y="675"/>
                          <a:pt x="24" y="675"/>
                          <a:pt x="24" y="675"/>
                        </a:cubicBezTo>
                        <a:cubicBezTo>
                          <a:pt x="26" y="691"/>
                          <a:pt x="26" y="691"/>
                          <a:pt x="26" y="691"/>
                        </a:cubicBezTo>
                        <a:cubicBezTo>
                          <a:pt x="31" y="697"/>
                          <a:pt x="31" y="697"/>
                          <a:pt x="31" y="697"/>
                        </a:cubicBezTo>
                        <a:cubicBezTo>
                          <a:pt x="30" y="685"/>
                          <a:pt x="30" y="685"/>
                          <a:pt x="30" y="685"/>
                        </a:cubicBezTo>
                        <a:cubicBezTo>
                          <a:pt x="59" y="684"/>
                          <a:pt x="59" y="684"/>
                          <a:pt x="59" y="684"/>
                        </a:cubicBezTo>
                        <a:cubicBezTo>
                          <a:pt x="60" y="689"/>
                          <a:pt x="60" y="689"/>
                          <a:pt x="60" y="689"/>
                        </a:cubicBezTo>
                        <a:cubicBezTo>
                          <a:pt x="94" y="687"/>
                          <a:pt x="94" y="687"/>
                          <a:pt x="94" y="687"/>
                        </a:cubicBezTo>
                        <a:cubicBezTo>
                          <a:pt x="98" y="675"/>
                          <a:pt x="98" y="675"/>
                          <a:pt x="98" y="675"/>
                        </a:cubicBezTo>
                        <a:cubicBezTo>
                          <a:pt x="111" y="665"/>
                          <a:pt x="111" y="665"/>
                          <a:pt x="111" y="665"/>
                        </a:cubicBezTo>
                        <a:cubicBezTo>
                          <a:pt x="112" y="645"/>
                          <a:pt x="112" y="645"/>
                          <a:pt x="112" y="645"/>
                        </a:cubicBezTo>
                        <a:cubicBezTo>
                          <a:pt x="120" y="639"/>
                          <a:pt x="120" y="639"/>
                          <a:pt x="120" y="639"/>
                        </a:cubicBezTo>
                        <a:cubicBezTo>
                          <a:pt x="122" y="617"/>
                          <a:pt x="122" y="617"/>
                          <a:pt x="122" y="617"/>
                        </a:cubicBezTo>
                        <a:cubicBezTo>
                          <a:pt x="122" y="617"/>
                          <a:pt x="122" y="624"/>
                          <a:pt x="131" y="616"/>
                        </a:cubicBezTo>
                        <a:cubicBezTo>
                          <a:pt x="157" y="579"/>
                          <a:pt x="163" y="607"/>
                          <a:pt x="161" y="614"/>
                        </a:cubicBezTo>
                        <a:cubicBezTo>
                          <a:pt x="172" y="606"/>
                          <a:pt x="186" y="636"/>
                          <a:pt x="186" y="636"/>
                        </a:cubicBezTo>
                        <a:cubicBezTo>
                          <a:pt x="195" y="647"/>
                          <a:pt x="195" y="647"/>
                          <a:pt x="195" y="647"/>
                        </a:cubicBezTo>
                        <a:cubicBezTo>
                          <a:pt x="204" y="687"/>
                          <a:pt x="204" y="687"/>
                          <a:pt x="204" y="687"/>
                        </a:cubicBezTo>
                        <a:cubicBezTo>
                          <a:pt x="218" y="663"/>
                          <a:pt x="218" y="663"/>
                          <a:pt x="218" y="663"/>
                        </a:cubicBezTo>
                        <a:cubicBezTo>
                          <a:pt x="224" y="636"/>
                          <a:pt x="224" y="636"/>
                          <a:pt x="224" y="636"/>
                        </a:cubicBezTo>
                        <a:cubicBezTo>
                          <a:pt x="232" y="627"/>
                          <a:pt x="232" y="627"/>
                          <a:pt x="232" y="627"/>
                        </a:cubicBezTo>
                        <a:cubicBezTo>
                          <a:pt x="231" y="607"/>
                          <a:pt x="231" y="607"/>
                          <a:pt x="231" y="607"/>
                        </a:cubicBezTo>
                        <a:cubicBezTo>
                          <a:pt x="240" y="603"/>
                          <a:pt x="240" y="603"/>
                          <a:pt x="240" y="603"/>
                        </a:cubicBezTo>
                        <a:cubicBezTo>
                          <a:pt x="248" y="616"/>
                          <a:pt x="248" y="616"/>
                          <a:pt x="248" y="616"/>
                        </a:cubicBezTo>
                        <a:cubicBezTo>
                          <a:pt x="266" y="611"/>
                          <a:pt x="266" y="611"/>
                          <a:pt x="266" y="611"/>
                        </a:cubicBezTo>
                        <a:cubicBezTo>
                          <a:pt x="266" y="603"/>
                          <a:pt x="266" y="603"/>
                          <a:pt x="266" y="603"/>
                        </a:cubicBezTo>
                        <a:cubicBezTo>
                          <a:pt x="263" y="603"/>
                          <a:pt x="267" y="593"/>
                          <a:pt x="267" y="593"/>
                        </a:cubicBezTo>
                        <a:cubicBezTo>
                          <a:pt x="266" y="603"/>
                          <a:pt x="266" y="603"/>
                          <a:pt x="266" y="603"/>
                        </a:cubicBezTo>
                        <a:cubicBezTo>
                          <a:pt x="267" y="603"/>
                          <a:pt x="269" y="602"/>
                          <a:pt x="271" y="600"/>
                        </a:cubicBezTo>
                        <a:cubicBezTo>
                          <a:pt x="282" y="591"/>
                          <a:pt x="300" y="584"/>
                          <a:pt x="300" y="584"/>
                        </a:cubicBezTo>
                        <a:cubicBezTo>
                          <a:pt x="318" y="635"/>
                          <a:pt x="318" y="635"/>
                          <a:pt x="318" y="635"/>
                        </a:cubicBezTo>
                        <a:cubicBezTo>
                          <a:pt x="318" y="635"/>
                          <a:pt x="318" y="635"/>
                          <a:pt x="342" y="627"/>
                        </a:cubicBezTo>
                        <a:cubicBezTo>
                          <a:pt x="346" y="600"/>
                          <a:pt x="356" y="624"/>
                          <a:pt x="356" y="624"/>
                        </a:cubicBezTo>
                        <a:cubicBezTo>
                          <a:pt x="378" y="629"/>
                          <a:pt x="378" y="629"/>
                          <a:pt x="378" y="629"/>
                        </a:cubicBezTo>
                        <a:cubicBezTo>
                          <a:pt x="399" y="655"/>
                          <a:pt x="399" y="655"/>
                          <a:pt x="399" y="655"/>
                        </a:cubicBezTo>
                        <a:cubicBezTo>
                          <a:pt x="424" y="644"/>
                          <a:pt x="424" y="644"/>
                          <a:pt x="424" y="644"/>
                        </a:cubicBezTo>
                        <a:cubicBezTo>
                          <a:pt x="424" y="628"/>
                          <a:pt x="424" y="628"/>
                          <a:pt x="424" y="628"/>
                        </a:cubicBezTo>
                        <a:cubicBezTo>
                          <a:pt x="443" y="619"/>
                          <a:pt x="443" y="619"/>
                          <a:pt x="443" y="619"/>
                        </a:cubicBezTo>
                        <a:cubicBezTo>
                          <a:pt x="444" y="613"/>
                          <a:pt x="444" y="613"/>
                          <a:pt x="444" y="613"/>
                        </a:cubicBezTo>
                        <a:cubicBezTo>
                          <a:pt x="472" y="612"/>
                          <a:pt x="472" y="612"/>
                          <a:pt x="472" y="612"/>
                        </a:cubicBezTo>
                        <a:cubicBezTo>
                          <a:pt x="484" y="584"/>
                          <a:pt x="484" y="584"/>
                          <a:pt x="484" y="584"/>
                        </a:cubicBezTo>
                        <a:cubicBezTo>
                          <a:pt x="504" y="580"/>
                          <a:pt x="504" y="580"/>
                          <a:pt x="504" y="580"/>
                        </a:cubicBezTo>
                        <a:cubicBezTo>
                          <a:pt x="504" y="560"/>
                          <a:pt x="504" y="560"/>
                          <a:pt x="504" y="560"/>
                        </a:cubicBezTo>
                        <a:cubicBezTo>
                          <a:pt x="519" y="560"/>
                          <a:pt x="519" y="560"/>
                          <a:pt x="519" y="560"/>
                        </a:cubicBezTo>
                        <a:cubicBezTo>
                          <a:pt x="519" y="560"/>
                          <a:pt x="512" y="548"/>
                          <a:pt x="512" y="544"/>
                        </a:cubicBezTo>
                        <a:cubicBezTo>
                          <a:pt x="512" y="540"/>
                          <a:pt x="522" y="535"/>
                          <a:pt x="522" y="535"/>
                        </a:cubicBezTo>
                        <a:cubicBezTo>
                          <a:pt x="519" y="523"/>
                          <a:pt x="519" y="523"/>
                          <a:pt x="519" y="523"/>
                        </a:cubicBezTo>
                        <a:cubicBezTo>
                          <a:pt x="533" y="534"/>
                          <a:pt x="533" y="534"/>
                          <a:pt x="533" y="534"/>
                        </a:cubicBezTo>
                        <a:cubicBezTo>
                          <a:pt x="532" y="533"/>
                          <a:pt x="532" y="529"/>
                          <a:pt x="536" y="517"/>
                        </a:cubicBezTo>
                        <a:cubicBezTo>
                          <a:pt x="550" y="468"/>
                          <a:pt x="519" y="489"/>
                          <a:pt x="519" y="489"/>
                        </a:cubicBezTo>
                        <a:cubicBezTo>
                          <a:pt x="512" y="471"/>
                          <a:pt x="512" y="471"/>
                          <a:pt x="512" y="471"/>
                        </a:cubicBezTo>
                        <a:cubicBezTo>
                          <a:pt x="507" y="467"/>
                          <a:pt x="507" y="467"/>
                          <a:pt x="507" y="467"/>
                        </a:cubicBezTo>
                        <a:cubicBezTo>
                          <a:pt x="520" y="456"/>
                          <a:pt x="495" y="459"/>
                          <a:pt x="488" y="449"/>
                        </a:cubicBezTo>
                        <a:cubicBezTo>
                          <a:pt x="482" y="440"/>
                          <a:pt x="452" y="455"/>
                          <a:pt x="452" y="455"/>
                        </a:cubicBezTo>
                        <a:cubicBezTo>
                          <a:pt x="450" y="463"/>
                          <a:pt x="450" y="463"/>
                          <a:pt x="450" y="463"/>
                        </a:cubicBezTo>
                        <a:cubicBezTo>
                          <a:pt x="444" y="456"/>
                          <a:pt x="444" y="456"/>
                          <a:pt x="444" y="456"/>
                        </a:cubicBezTo>
                        <a:cubicBezTo>
                          <a:pt x="434" y="461"/>
                          <a:pt x="434" y="461"/>
                          <a:pt x="434" y="461"/>
                        </a:cubicBezTo>
                        <a:cubicBezTo>
                          <a:pt x="430" y="449"/>
                          <a:pt x="430" y="449"/>
                          <a:pt x="430" y="449"/>
                        </a:cubicBezTo>
                        <a:cubicBezTo>
                          <a:pt x="418" y="449"/>
                          <a:pt x="418" y="449"/>
                          <a:pt x="418" y="449"/>
                        </a:cubicBezTo>
                        <a:cubicBezTo>
                          <a:pt x="412" y="468"/>
                          <a:pt x="412" y="468"/>
                          <a:pt x="412" y="468"/>
                        </a:cubicBezTo>
                        <a:cubicBezTo>
                          <a:pt x="408" y="445"/>
                          <a:pt x="408" y="445"/>
                          <a:pt x="408" y="445"/>
                        </a:cubicBezTo>
                        <a:cubicBezTo>
                          <a:pt x="408" y="445"/>
                          <a:pt x="422" y="439"/>
                          <a:pt x="424" y="432"/>
                        </a:cubicBezTo>
                        <a:cubicBezTo>
                          <a:pt x="436" y="412"/>
                          <a:pt x="396" y="376"/>
                          <a:pt x="391" y="376"/>
                        </a:cubicBezTo>
                        <a:cubicBezTo>
                          <a:pt x="387" y="356"/>
                          <a:pt x="364" y="320"/>
                          <a:pt x="364" y="320"/>
                        </a:cubicBezTo>
                        <a:cubicBezTo>
                          <a:pt x="366" y="292"/>
                          <a:pt x="366" y="292"/>
                          <a:pt x="366" y="292"/>
                        </a:cubicBezTo>
                        <a:cubicBezTo>
                          <a:pt x="374" y="289"/>
                          <a:pt x="374" y="289"/>
                          <a:pt x="374" y="289"/>
                        </a:cubicBezTo>
                        <a:cubicBezTo>
                          <a:pt x="362" y="273"/>
                          <a:pt x="362" y="273"/>
                          <a:pt x="362" y="273"/>
                        </a:cubicBezTo>
                        <a:cubicBezTo>
                          <a:pt x="362" y="261"/>
                          <a:pt x="362" y="261"/>
                          <a:pt x="362" y="261"/>
                        </a:cubicBezTo>
                        <a:cubicBezTo>
                          <a:pt x="387" y="252"/>
                          <a:pt x="387" y="252"/>
                          <a:pt x="387" y="252"/>
                        </a:cubicBezTo>
                        <a:cubicBezTo>
                          <a:pt x="386" y="217"/>
                          <a:pt x="386" y="217"/>
                          <a:pt x="386" y="217"/>
                        </a:cubicBezTo>
                        <a:cubicBezTo>
                          <a:pt x="379" y="204"/>
                          <a:pt x="379" y="204"/>
                          <a:pt x="379" y="204"/>
                        </a:cubicBezTo>
                        <a:cubicBezTo>
                          <a:pt x="383" y="189"/>
                          <a:pt x="383" y="189"/>
                          <a:pt x="383" y="189"/>
                        </a:cubicBezTo>
                        <a:cubicBezTo>
                          <a:pt x="378" y="176"/>
                          <a:pt x="378" y="176"/>
                          <a:pt x="378" y="176"/>
                        </a:cubicBezTo>
                        <a:cubicBezTo>
                          <a:pt x="403" y="165"/>
                          <a:pt x="403" y="165"/>
                          <a:pt x="403" y="165"/>
                        </a:cubicBezTo>
                        <a:cubicBezTo>
                          <a:pt x="403" y="156"/>
                          <a:pt x="403" y="156"/>
                          <a:pt x="403" y="156"/>
                        </a:cubicBezTo>
                        <a:cubicBezTo>
                          <a:pt x="411" y="159"/>
                          <a:pt x="411" y="159"/>
                          <a:pt x="411" y="159"/>
                        </a:cubicBezTo>
                        <a:cubicBezTo>
                          <a:pt x="416" y="145"/>
                          <a:pt x="416" y="145"/>
                          <a:pt x="416" y="145"/>
                        </a:cubicBezTo>
                        <a:cubicBezTo>
                          <a:pt x="423" y="145"/>
                          <a:pt x="423" y="145"/>
                          <a:pt x="423" y="145"/>
                        </a:cubicBezTo>
                        <a:cubicBezTo>
                          <a:pt x="423" y="145"/>
                          <a:pt x="423" y="116"/>
                          <a:pt x="424" y="101"/>
                        </a:cubicBezTo>
                        <a:cubicBezTo>
                          <a:pt x="426" y="87"/>
                          <a:pt x="398" y="97"/>
                          <a:pt x="398" y="97"/>
                        </a:cubicBezTo>
                        <a:cubicBezTo>
                          <a:pt x="387" y="84"/>
                          <a:pt x="387" y="84"/>
                          <a:pt x="387" y="84"/>
                        </a:cubicBezTo>
                        <a:cubicBezTo>
                          <a:pt x="370" y="81"/>
                          <a:pt x="370" y="81"/>
                          <a:pt x="370" y="81"/>
                        </a:cubicBezTo>
                        <a:cubicBezTo>
                          <a:pt x="366" y="63"/>
                          <a:pt x="366" y="63"/>
                          <a:pt x="366" y="63"/>
                        </a:cubicBezTo>
                        <a:cubicBezTo>
                          <a:pt x="366" y="63"/>
                          <a:pt x="336" y="12"/>
                          <a:pt x="332" y="8"/>
                        </a:cubicBezTo>
                        <a:cubicBezTo>
                          <a:pt x="328" y="4"/>
                          <a:pt x="327" y="32"/>
                          <a:pt x="327" y="32"/>
                        </a:cubicBezTo>
                        <a:cubicBezTo>
                          <a:pt x="318" y="31"/>
                          <a:pt x="318" y="31"/>
                          <a:pt x="318" y="31"/>
                        </a:cubicBezTo>
                        <a:cubicBezTo>
                          <a:pt x="306" y="45"/>
                          <a:pt x="306" y="45"/>
                          <a:pt x="306" y="45"/>
                        </a:cubicBezTo>
                        <a:cubicBezTo>
                          <a:pt x="306" y="31"/>
                          <a:pt x="306" y="31"/>
                          <a:pt x="306" y="31"/>
                        </a:cubicBezTo>
                        <a:cubicBezTo>
                          <a:pt x="294" y="24"/>
                          <a:pt x="294" y="24"/>
                          <a:pt x="294" y="24"/>
                        </a:cubicBezTo>
                        <a:cubicBezTo>
                          <a:pt x="294" y="24"/>
                          <a:pt x="283" y="32"/>
                          <a:pt x="279" y="32"/>
                        </a:cubicBezTo>
                        <a:cubicBezTo>
                          <a:pt x="275" y="32"/>
                          <a:pt x="267" y="25"/>
                          <a:pt x="263" y="25"/>
                        </a:cubicBezTo>
                        <a:cubicBezTo>
                          <a:pt x="259" y="25"/>
                          <a:pt x="254" y="36"/>
                          <a:pt x="244" y="35"/>
                        </a:cubicBezTo>
                        <a:cubicBezTo>
                          <a:pt x="236" y="34"/>
                          <a:pt x="220" y="9"/>
                          <a:pt x="213" y="1"/>
                        </a:cubicBezTo>
                        <a:cubicBezTo>
                          <a:pt x="188" y="0"/>
                          <a:pt x="178" y="8"/>
                          <a:pt x="171" y="23"/>
                        </a:cubicBezTo>
                        <a:cubicBezTo>
                          <a:pt x="163" y="39"/>
                          <a:pt x="148" y="17"/>
                          <a:pt x="144" y="17"/>
                        </a:cubicBezTo>
                        <a:cubicBezTo>
                          <a:pt x="140" y="17"/>
                          <a:pt x="122" y="36"/>
                          <a:pt x="122" y="36"/>
                        </a:cubicBezTo>
                        <a:cubicBezTo>
                          <a:pt x="122" y="36"/>
                          <a:pt x="122" y="44"/>
                          <a:pt x="115" y="49"/>
                        </a:cubicBezTo>
                        <a:cubicBezTo>
                          <a:pt x="108" y="55"/>
                          <a:pt x="118" y="77"/>
                          <a:pt x="118" y="77"/>
                        </a:cubicBezTo>
                        <a:cubicBezTo>
                          <a:pt x="118" y="77"/>
                          <a:pt x="118" y="77"/>
                          <a:pt x="102" y="88"/>
                        </a:cubicBezTo>
                        <a:cubicBezTo>
                          <a:pt x="72" y="77"/>
                          <a:pt x="50" y="111"/>
                          <a:pt x="46" y="118"/>
                        </a:cubicBezTo>
                        <a:cubicBezTo>
                          <a:pt x="50" y="135"/>
                          <a:pt x="50" y="135"/>
                          <a:pt x="50" y="135"/>
                        </a:cubicBezTo>
                        <a:cubicBezTo>
                          <a:pt x="56" y="135"/>
                          <a:pt x="56" y="135"/>
                          <a:pt x="56" y="135"/>
                        </a:cubicBezTo>
                        <a:cubicBezTo>
                          <a:pt x="56" y="135"/>
                          <a:pt x="35" y="163"/>
                          <a:pt x="74" y="151"/>
                        </a:cubicBezTo>
                        <a:cubicBezTo>
                          <a:pt x="76" y="152"/>
                          <a:pt x="78" y="161"/>
                          <a:pt x="78" y="161"/>
                        </a:cubicBezTo>
                        <a:cubicBezTo>
                          <a:pt x="92" y="163"/>
                          <a:pt x="92" y="163"/>
                          <a:pt x="92" y="163"/>
                        </a:cubicBezTo>
                        <a:cubicBezTo>
                          <a:pt x="111" y="212"/>
                          <a:pt x="111" y="212"/>
                          <a:pt x="111" y="212"/>
                        </a:cubicBezTo>
                        <a:cubicBezTo>
                          <a:pt x="111" y="212"/>
                          <a:pt x="91" y="225"/>
                          <a:pt x="120" y="248"/>
                        </a:cubicBezTo>
                        <a:cubicBezTo>
                          <a:pt x="118" y="252"/>
                          <a:pt x="119" y="268"/>
                          <a:pt x="119" y="268"/>
                        </a:cubicBezTo>
                        <a:cubicBezTo>
                          <a:pt x="119" y="268"/>
                          <a:pt x="106" y="269"/>
                          <a:pt x="100" y="292"/>
                        </a:cubicBezTo>
                        <a:cubicBezTo>
                          <a:pt x="95" y="315"/>
                          <a:pt x="84" y="300"/>
                          <a:pt x="84" y="300"/>
                        </a:cubicBezTo>
                        <a:cubicBezTo>
                          <a:pt x="84" y="300"/>
                          <a:pt x="62" y="301"/>
                          <a:pt x="84" y="333"/>
                        </a:cubicBezTo>
                        <a:cubicBezTo>
                          <a:pt x="107" y="365"/>
                          <a:pt x="100" y="372"/>
                          <a:pt x="100" y="372"/>
                        </a:cubicBezTo>
                        <a:cubicBezTo>
                          <a:pt x="100" y="372"/>
                          <a:pt x="80" y="376"/>
                          <a:pt x="99" y="400"/>
                        </a:cubicBezTo>
                        <a:cubicBezTo>
                          <a:pt x="96" y="432"/>
                          <a:pt x="91" y="437"/>
                          <a:pt x="91" y="437"/>
                        </a:cubicBezTo>
                        <a:cubicBezTo>
                          <a:pt x="102" y="449"/>
                          <a:pt x="102" y="449"/>
                          <a:pt x="102" y="449"/>
                        </a:cubicBezTo>
                        <a:cubicBezTo>
                          <a:pt x="83" y="455"/>
                          <a:pt x="83" y="455"/>
                          <a:pt x="83" y="455"/>
                        </a:cubicBezTo>
                        <a:cubicBezTo>
                          <a:pt x="83" y="455"/>
                          <a:pt x="72" y="440"/>
                          <a:pt x="66" y="441"/>
                        </a:cubicBezTo>
                        <a:cubicBezTo>
                          <a:pt x="59" y="443"/>
                          <a:pt x="66" y="472"/>
                          <a:pt x="66" y="472"/>
                        </a:cubicBezTo>
                        <a:cubicBezTo>
                          <a:pt x="52" y="473"/>
                          <a:pt x="52" y="473"/>
                          <a:pt x="52" y="473"/>
                        </a:cubicBezTo>
                        <a:cubicBezTo>
                          <a:pt x="44" y="481"/>
                          <a:pt x="44" y="481"/>
                          <a:pt x="44" y="481"/>
                        </a:cubicBezTo>
                        <a:cubicBezTo>
                          <a:pt x="27" y="508"/>
                          <a:pt x="27" y="508"/>
                          <a:pt x="27" y="508"/>
                        </a:cubicBezTo>
                        <a:cubicBezTo>
                          <a:pt x="31" y="519"/>
                          <a:pt x="31" y="519"/>
                          <a:pt x="31" y="519"/>
                        </a:cubicBezTo>
                        <a:cubicBezTo>
                          <a:pt x="23" y="528"/>
                          <a:pt x="23" y="528"/>
                          <a:pt x="23" y="528"/>
                        </a:cubicBezTo>
                        <a:cubicBezTo>
                          <a:pt x="24" y="547"/>
                          <a:pt x="24" y="547"/>
                          <a:pt x="24" y="547"/>
                        </a:cubicBezTo>
                        <a:cubicBezTo>
                          <a:pt x="24" y="547"/>
                          <a:pt x="0" y="551"/>
                          <a:pt x="12" y="573"/>
                        </a:cubicBezTo>
                        <a:cubicBezTo>
                          <a:pt x="8" y="574"/>
                          <a:pt x="5" y="576"/>
                          <a:pt x="3" y="578"/>
                        </a:cubicBezTo>
                        <a:cubicBezTo>
                          <a:pt x="6" y="591"/>
                          <a:pt x="4" y="608"/>
                          <a:pt x="4" y="608"/>
                        </a:cubicBez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60" name="Provence" descr="© INSCALE GmbH, 05.05.2010&#10;http://www.presentationload.com/">
                    <a:extLst>
                      <a:ext uri="{FF2B5EF4-FFF2-40B4-BE49-F238E27FC236}">
                        <a16:creationId xmlns:a16="http://schemas.microsoft.com/office/drawing/2014/main" id="{4EC15081-0CEF-4E07-8970-835E5E3B902A}"/>
                      </a:ext>
                    </a:extLst>
                  </p:cNvPr>
                  <p:cNvSpPr>
                    <a:spLocks/>
                  </p:cNvSpPr>
                  <p:nvPr/>
                </p:nvSpPr>
                <p:spPr bwMode="gray">
                  <a:xfrm>
                    <a:off x="2233" y="2198"/>
                    <a:ext cx="838" cy="739"/>
                  </a:xfrm>
                  <a:custGeom>
                    <a:avLst/>
                    <a:gdLst/>
                    <a:ahLst/>
                    <a:cxnLst>
                      <a:cxn ang="0">
                        <a:pos x="68" y="539"/>
                      </a:cxn>
                      <a:cxn ang="0">
                        <a:pos x="78" y="572"/>
                      </a:cxn>
                      <a:cxn ang="0">
                        <a:pos x="129" y="586"/>
                      </a:cxn>
                      <a:cxn ang="0">
                        <a:pos x="134" y="565"/>
                      </a:cxn>
                      <a:cxn ang="0">
                        <a:pos x="161" y="554"/>
                      </a:cxn>
                      <a:cxn ang="0">
                        <a:pos x="214" y="585"/>
                      </a:cxn>
                      <a:cxn ang="0">
                        <a:pos x="251" y="596"/>
                      </a:cxn>
                      <a:cxn ang="0">
                        <a:pos x="255" y="612"/>
                      </a:cxn>
                      <a:cxn ang="0">
                        <a:pos x="295" y="632"/>
                      </a:cxn>
                      <a:cxn ang="0">
                        <a:pos x="332" y="649"/>
                      </a:cxn>
                      <a:cxn ang="0">
                        <a:pos x="364" y="684"/>
                      </a:cxn>
                      <a:cxn ang="0">
                        <a:pos x="407" y="679"/>
                      </a:cxn>
                      <a:cxn ang="0">
                        <a:pos x="426" y="679"/>
                      </a:cxn>
                      <a:cxn ang="0">
                        <a:pos x="465" y="665"/>
                      </a:cxn>
                      <a:cxn ang="0">
                        <a:pos x="526" y="641"/>
                      </a:cxn>
                      <a:cxn ang="0">
                        <a:pos x="549" y="634"/>
                      </a:cxn>
                      <a:cxn ang="0">
                        <a:pos x="532" y="604"/>
                      </a:cxn>
                      <a:cxn ang="0">
                        <a:pos x="569" y="558"/>
                      </a:cxn>
                      <a:cxn ang="0">
                        <a:pos x="631" y="523"/>
                      </a:cxn>
                      <a:cxn ang="0">
                        <a:pos x="667" y="477"/>
                      </a:cxn>
                      <a:cxn ang="0">
                        <a:pos x="691" y="466"/>
                      </a:cxn>
                      <a:cxn ang="0">
                        <a:pos x="715" y="460"/>
                      </a:cxn>
                      <a:cxn ang="0">
                        <a:pos x="723" y="445"/>
                      </a:cxn>
                      <a:cxn ang="0">
                        <a:pos x="727" y="410"/>
                      </a:cxn>
                      <a:cxn ang="0">
                        <a:pos x="749" y="384"/>
                      </a:cxn>
                      <a:cxn ang="0">
                        <a:pos x="764" y="325"/>
                      </a:cxn>
                      <a:cxn ang="0">
                        <a:pos x="758" y="308"/>
                      </a:cxn>
                      <a:cxn ang="0">
                        <a:pos x="725" y="323"/>
                      </a:cxn>
                      <a:cxn ang="0">
                        <a:pos x="630" y="285"/>
                      </a:cxn>
                      <a:cxn ang="0">
                        <a:pos x="612" y="282"/>
                      </a:cxn>
                      <a:cxn ang="0">
                        <a:pos x="589" y="238"/>
                      </a:cxn>
                      <a:cxn ang="0">
                        <a:pos x="579" y="182"/>
                      </a:cxn>
                      <a:cxn ang="0">
                        <a:pos x="609" y="133"/>
                      </a:cxn>
                      <a:cxn ang="0">
                        <a:pos x="614" y="82"/>
                      </a:cxn>
                      <a:cxn ang="0">
                        <a:pos x="548" y="49"/>
                      </a:cxn>
                      <a:cxn ang="0">
                        <a:pos x="534" y="16"/>
                      </a:cxn>
                      <a:cxn ang="0">
                        <a:pos x="528" y="2"/>
                      </a:cxn>
                      <a:cxn ang="0">
                        <a:pos x="501" y="14"/>
                      </a:cxn>
                      <a:cxn ang="0">
                        <a:pos x="476" y="0"/>
                      </a:cxn>
                      <a:cxn ang="0">
                        <a:pos x="449" y="11"/>
                      </a:cxn>
                      <a:cxn ang="0">
                        <a:pos x="468" y="40"/>
                      </a:cxn>
                      <a:cxn ang="0">
                        <a:pos x="413" y="94"/>
                      </a:cxn>
                      <a:cxn ang="0">
                        <a:pos x="361" y="116"/>
                      </a:cxn>
                      <a:cxn ang="0">
                        <a:pos x="321" y="162"/>
                      </a:cxn>
                      <a:cxn ang="0">
                        <a:pos x="325" y="198"/>
                      </a:cxn>
                      <a:cxn ang="0">
                        <a:pos x="281" y="206"/>
                      </a:cxn>
                      <a:cxn ang="0">
                        <a:pos x="286" y="230"/>
                      </a:cxn>
                      <a:cxn ang="0">
                        <a:pos x="286" y="256"/>
                      </a:cxn>
                      <a:cxn ang="0">
                        <a:pos x="334" y="278"/>
                      </a:cxn>
                      <a:cxn ang="0">
                        <a:pos x="322" y="311"/>
                      </a:cxn>
                      <a:cxn ang="0">
                        <a:pos x="288" y="326"/>
                      </a:cxn>
                      <a:cxn ang="0">
                        <a:pos x="265" y="314"/>
                      </a:cxn>
                      <a:cxn ang="0">
                        <a:pos x="237" y="295"/>
                      </a:cxn>
                      <a:cxn ang="0">
                        <a:pos x="213" y="294"/>
                      </a:cxn>
                      <a:cxn ang="0">
                        <a:pos x="201" y="276"/>
                      </a:cxn>
                      <a:cxn ang="0">
                        <a:pos x="136" y="296"/>
                      </a:cxn>
                      <a:cxn ang="0">
                        <a:pos x="100" y="283"/>
                      </a:cxn>
                      <a:cxn ang="0">
                        <a:pos x="104" y="303"/>
                      </a:cxn>
                      <a:cxn ang="0">
                        <a:pos x="114" y="343"/>
                      </a:cxn>
                      <a:cxn ang="0">
                        <a:pos x="145" y="371"/>
                      </a:cxn>
                      <a:cxn ang="0">
                        <a:pos x="94" y="472"/>
                      </a:cxn>
                      <a:cxn ang="0">
                        <a:pos x="54" y="490"/>
                      </a:cxn>
                      <a:cxn ang="0">
                        <a:pos x="0" y="540"/>
                      </a:cxn>
                    </a:cxnLst>
                    <a:rect l="0" t="0" r="r" b="b"/>
                    <a:pathLst>
                      <a:path w="778" h="684">
                        <a:moveTo>
                          <a:pt x="2" y="541"/>
                        </a:moveTo>
                        <a:cubicBezTo>
                          <a:pt x="3" y="544"/>
                          <a:pt x="54" y="539"/>
                          <a:pt x="68" y="539"/>
                        </a:cubicBezTo>
                        <a:cubicBezTo>
                          <a:pt x="82" y="539"/>
                          <a:pt x="80" y="555"/>
                          <a:pt x="80" y="555"/>
                        </a:cubicBezTo>
                        <a:cubicBezTo>
                          <a:pt x="57" y="564"/>
                          <a:pt x="80" y="563"/>
                          <a:pt x="78" y="572"/>
                        </a:cubicBezTo>
                        <a:cubicBezTo>
                          <a:pt x="76" y="581"/>
                          <a:pt x="119" y="577"/>
                          <a:pt x="119" y="577"/>
                        </a:cubicBezTo>
                        <a:cubicBezTo>
                          <a:pt x="119" y="577"/>
                          <a:pt x="127" y="583"/>
                          <a:pt x="129" y="586"/>
                        </a:cubicBezTo>
                        <a:cubicBezTo>
                          <a:pt x="131" y="589"/>
                          <a:pt x="138" y="577"/>
                          <a:pt x="144" y="575"/>
                        </a:cubicBezTo>
                        <a:cubicBezTo>
                          <a:pt x="150" y="573"/>
                          <a:pt x="138" y="576"/>
                          <a:pt x="134" y="565"/>
                        </a:cubicBezTo>
                        <a:cubicBezTo>
                          <a:pt x="130" y="554"/>
                          <a:pt x="139" y="558"/>
                          <a:pt x="139" y="554"/>
                        </a:cubicBezTo>
                        <a:cubicBezTo>
                          <a:pt x="139" y="550"/>
                          <a:pt x="151" y="554"/>
                          <a:pt x="161" y="554"/>
                        </a:cubicBezTo>
                        <a:cubicBezTo>
                          <a:pt x="171" y="554"/>
                          <a:pt x="177" y="583"/>
                          <a:pt x="177" y="583"/>
                        </a:cubicBezTo>
                        <a:cubicBezTo>
                          <a:pt x="214" y="585"/>
                          <a:pt x="214" y="585"/>
                          <a:pt x="214" y="585"/>
                        </a:cubicBezTo>
                        <a:cubicBezTo>
                          <a:pt x="214" y="585"/>
                          <a:pt x="233" y="578"/>
                          <a:pt x="240" y="569"/>
                        </a:cubicBezTo>
                        <a:cubicBezTo>
                          <a:pt x="247" y="560"/>
                          <a:pt x="251" y="596"/>
                          <a:pt x="251" y="596"/>
                        </a:cubicBezTo>
                        <a:cubicBezTo>
                          <a:pt x="251" y="596"/>
                          <a:pt x="248" y="600"/>
                          <a:pt x="245" y="600"/>
                        </a:cubicBezTo>
                        <a:cubicBezTo>
                          <a:pt x="242" y="600"/>
                          <a:pt x="252" y="608"/>
                          <a:pt x="255" y="612"/>
                        </a:cubicBezTo>
                        <a:cubicBezTo>
                          <a:pt x="258" y="616"/>
                          <a:pt x="248" y="623"/>
                          <a:pt x="248" y="623"/>
                        </a:cubicBezTo>
                        <a:cubicBezTo>
                          <a:pt x="248" y="623"/>
                          <a:pt x="291" y="631"/>
                          <a:pt x="295" y="632"/>
                        </a:cubicBezTo>
                        <a:cubicBezTo>
                          <a:pt x="305" y="651"/>
                          <a:pt x="316" y="636"/>
                          <a:pt x="322" y="637"/>
                        </a:cubicBezTo>
                        <a:cubicBezTo>
                          <a:pt x="328" y="638"/>
                          <a:pt x="320" y="648"/>
                          <a:pt x="332" y="649"/>
                        </a:cubicBezTo>
                        <a:cubicBezTo>
                          <a:pt x="344" y="650"/>
                          <a:pt x="354" y="671"/>
                          <a:pt x="348" y="676"/>
                        </a:cubicBezTo>
                        <a:cubicBezTo>
                          <a:pt x="342" y="681"/>
                          <a:pt x="356" y="680"/>
                          <a:pt x="364" y="684"/>
                        </a:cubicBezTo>
                        <a:cubicBezTo>
                          <a:pt x="372" y="671"/>
                          <a:pt x="393" y="669"/>
                          <a:pt x="399" y="666"/>
                        </a:cubicBezTo>
                        <a:cubicBezTo>
                          <a:pt x="405" y="663"/>
                          <a:pt x="404" y="681"/>
                          <a:pt x="407" y="679"/>
                        </a:cubicBezTo>
                        <a:cubicBezTo>
                          <a:pt x="410" y="677"/>
                          <a:pt x="418" y="669"/>
                          <a:pt x="424" y="674"/>
                        </a:cubicBezTo>
                        <a:cubicBezTo>
                          <a:pt x="426" y="676"/>
                          <a:pt x="426" y="678"/>
                          <a:pt x="426" y="679"/>
                        </a:cubicBezTo>
                        <a:cubicBezTo>
                          <a:pt x="427" y="679"/>
                          <a:pt x="437" y="672"/>
                          <a:pt x="443" y="663"/>
                        </a:cubicBezTo>
                        <a:cubicBezTo>
                          <a:pt x="449" y="654"/>
                          <a:pt x="443" y="663"/>
                          <a:pt x="465" y="665"/>
                        </a:cubicBezTo>
                        <a:cubicBezTo>
                          <a:pt x="472" y="679"/>
                          <a:pt x="481" y="671"/>
                          <a:pt x="481" y="671"/>
                        </a:cubicBezTo>
                        <a:cubicBezTo>
                          <a:pt x="469" y="660"/>
                          <a:pt x="520" y="642"/>
                          <a:pt x="526" y="641"/>
                        </a:cubicBezTo>
                        <a:cubicBezTo>
                          <a:pt x="532" y="640"/>
                          <a:pt x="538" y="646"/>
                          <a:pt x="538" y="646"/>
                        </a:cubicBezTo>
                        <a:cubicBezTo>
                          <a:pt x="538" y="646"/>
                          <a:pt x="547" y="639"/>
                          <a:pt x="549" y="634"/>
                        </a:cubicBezTo>
                        <a:cubicBezTo>
                          <a:pt x="551" y="629"/>
                          <a:pt x="551" y="618"/>
                          <a:pt x="548" y="610"/>
                        </a:cubicBezTo>
                        <a:cubicBezTo>
                          <a:pt x="518" y="622"/>
                          <a:pt x="535" y="604"/>
                          <a:pt x="532" y="604"/>
                        </a:cubicBezTo>
                        <a:cubicBezTo>
                          <a:pt x="529" y="604"/>
                          <a:pt x="552" y="584"/>
                          <a:pt x="560" y="578"/>
                        </a:cubicBezTo>
                        <a:cubicBezTo>
                          <a:pt x="559" y="561"/>
                          <a:pt x="569" y="558"/>
                          <a:pt x="569" y="558"/>
                        </a:cubicBezTo>
                        <a:cubicBezTo>
                          <a:pt x="581" y="586"/>
                          <a:pt x="609" y="532"/>
                          <a:pt x="609" y="532"/>
                        </a:cubicBezTo>
                        <a:cubicBezTo>
                          <a:pt x="603" y="509"/>
                          <a:pt x="629" y="516"/>
                          <a:pt x="631" y="523"/>
                        </a:cubicBezTo>
                        <a:cubicBezTo>
                          <a:pt x="630" y="511"/>
                          <a:pt x="644" y="515"/>
                          <a:pt x="648" y="508"/>
                        </a:cubicBezTo>
                        <a:cubicBezTo>
                          <a:pt x="647" y="480"/>
                          <a:pt x="667" y="477"/>
                          <a:pt x="667" y="477"/>
                        </a:cubicBezTo>
                        <a:cubicBezTo>
                          <a:pt x="675" y="465"/>
                          <a:pt x="675" y="465"/>
                          <a:pt x="675" y="465"/>
                        </a:cubicBezTo>
                        <a:cubicBezTo>
                          <a:pt x="691" y="466"/>
                          <a:pt x="691" y="466"/>
                          <a:pt x="691" y="466"/>
                        </a:cubicBezTo>
                        <a:cubicBezTo>
                          <a:pt x="696" y="456"/>
                          <a:pt x="696" y="456"/>
                          <a:pt x="696" y="456"/>
                        </a:cubicBezTo>
                        <a:cubicBezTo>
                          <a:pt x="715" y="460"/>
                          <a:pt x="715" y="460"/>
                          <a:pt x="715" y="460"/>
                        </a:cubicBezTo>
                        <a:cubicBezTo>
                          <a:pt x="713" y="442"/>
                          <a:pt x="713" y="442"/>
                          <a:pt x="713" y="442"/>
                        </a:cubicBezTo>
                        <a:cubicBezTo>
                          <a:pt x="723" y="445"/>
                          <a:pt x="723" y="445"/>
                          <a:pt x="723" y="445"/>
                        </a:cubicBezTo>
                        <a:cubicBezTo>
                          <a:pt x="736" y="435"/>
                          <a:pt x="736" y="435"/>
                          <a:pt x="736" y="435"/>
                        </a:cubicBezTo>
                        <a:cubicBezTo>
                          <a:pt x="727" y="410"/>
                          <a:pt x="727" y="410"/>
                          <a:pt x="727" y="410"/>
                        </a:cubicBezTo>
                        <a:cubicBezTo>
                          <a:pt x="746" y="398"/>
                          <a:pt x="746" y="398"/>
                          <a:pt x="746" y="398"/>
                        </a:cubicBezTo>
                        <a:cubicBezTo>
                          <a:pt x="749" y="384"/>
                          <a:pt x="749" y="384"/>
                          <a:pt x="749" y="384"/>
                        </a:cubicBezTo>
                        <a:cubicBezTo>
                          <a:pt x="763" y="390"/>
                          <a:pt x="778" y="338"/>
                          <a:pt x="778" y="338"/>
                        </a:cubicBezTo>
                        <a:cubicBezTo>
                          <a:pt x="764" y="325"/>
                          <a:pt x="764" y="325"/>
                          <a:pt x="764" y="325"/>
                        </a:cubicBezTo>
                        <a:cubicBezTo>
                          <a:pt x="768" y="311"/>
                          <a:pt x="768" y="311"/>
                          <a:pt x="768" y="311"/>
                        </a:cubicBezTo>
                        <a:cubicBezTo>
                          <a:pt x="758" y="308"/>
                          <a:pt x="758" y="308"/>
                          <a:pt x="758" y="308"/>
                        </a:cubicBezTo>
                        <a:cubicBezTo>
                          <a:pt x="751" y="316"/>
                          <a:pt x="751" y="316"/>
                          <a:pt x="751" y="316"/>
                        </a:cubicBezTo>
                        <a:cubicBezTo>
                          <a:pt x="751" y="316"/>
                          <a:pt x="730" y="316"/>
                          <a:pt x="725" y="323"/>
                        </a:cubicBezTo>
                        <a:cubicBezTo>
                          <a:pt x="717" y="339"/>
                          <a:pt x="690" y="316"/>
                          <a:pt x="690" y="316"/>
                        </a:cubicBezTo>
                        <a:cubicBezTo>
                          <a:pt x="630" y="285"/>
                          <a:pt x="630" y="285"/>
                          <a:pt x="630" y="285"/>
                        </a:cubicBezTo>
                        <a:cubicBezTo>
                          <a:pt x="623" y="288"/>
                          <a:pt x="623" y="288"/>
                          <a:pt x="623" y="288"/>
                        </a:cubicBezTo>
                        <a:cubicBezTo>
                          <a:pt x="612" y="282"/>
                          <a:pt x="612" y="282"/>
                          <a:pt x="612" y="282"/>
                        </a:cubicBezTo>
                        <a:cubicBezTo>
                          <a:pt x="613" y="271"/>
                          <a:pt x="613" y="271"/>
                          <a:pt x="613" y="271"/>
                        </a:cubicBezTo>
                        <a:cubicBezTo>
                          <a:pt x="589" y="238"/>
                          <a:pt x="589" y="238"/>
                          <a:pt x="589" y="238"/>
                        </a:cubicBezTo>
                        <a:cubicBezTo>
                          <a:pt x="598" y="219"/>
                          <a:pt x="598" y="219"/>
                          <a:pt x="598" y="219"/>
                        </a:cubicBezTo>
                        <a:cubicBezTo>
                          <a:pt x="579" y="182"/>
                          <a:pt x="579" y="182"/>
                          <a:pt x="579" y="182"/>
                        </a:cubicBezTo>
                        <a:cubicBezTo>
                          <a:pt x="579" y="182"/>
                          <a:pt x="601" y="155"/>
                          <a:pt x="604" y="152"/>
                        </a:cubicBezTo>
                        <a:cubicBezTo>
                          <a:pt x="598" y="134"/>
                          <a:pt x="611" y="136"/>
                          <a:pt x="609" y="133"/>
                        </a:cubicBezTo>
                        <a:cubicBezTo>
                          <a:pt x="622" y="140"/>
                          <a:pt x="620" y="121"/>
                          <a:pt x="624" y="123"/>
                        </a:cubicBezTo>
                        <a:cubicBezTo>
                          <a:pt x="611" y="113"/>
                          <a:pt x="614" y="82"/>
                          <a:pt x="614" y="82"/>
                        </a:cubicBezTo>
                        <a:cubicBezTo>
                          <a:pt x="577" y="74"/>
                          <a:pt x="577" y="74"/>
                          <a:pt x="577" y="74"/>
                        </a:cubicBezTo>
                        <a:cubicBezTo>
                          <a:pt x="548" y="49"/>
                          <a:pt x="548" y="49"/>
                          <a:pt x="548" y="49"/>
                        </a:cubicBezTo>
                        <a:cubicBezTo>
                          <a:pt x="550" y="19"/>
                          <a:pt x="550" y="19"/>
                          <a:pt x="550" y="19"/>
                        </a:cubicBezTo>
                        <a:cubicBezTo>
                          <a:pt x="534" y="16"/>
                          <a:pt x="534" y="16"/>
                          <a:pt x="534" y="16"/>
                        </a:cubicBezTo>
                        <a:cubicBezTo>
                          <a:pt x="532" y="7"/>
                          <a:pt x="532" y="7"/>
                          <a:pt x="532" y="7"/>
                        </a:cubicBezTo>
                        <a:cubicBezTo>
                          <a:pt x="530" y="6"/>
                          <a:pt x="529" y="4"/>
                          <a:pt x="528" y="2"/>
                        </a:cubicBezTo>
                        <a:cubicBezTo>
                          <a:pt x="504" y="6"/>
                          <a:pt x="504" y="6"/>
                          <a:pt x="504" y="6"/>
                        </a:cubicBezTo>
                        <a:cubicBezTo>
                          <a:pt x="501" y="14"/>
                          <a:pt x="501" y="14"/>
                          <a:pt x="501" y="14"/>
                        </a:cubicBezTo>
                        <a:cubicBezTo>
                          <a:pt x="477" y="14"/>
                          <a:pt x="477" y="14"/>
                          <a:pt x="477" y="14"/>
                        </a:cubicBezTo>
                        <a:cubicBezTo>
                          <a:pt x="476" y="0"/>
                          <a:pt x="476" y="0"/>
                          <a:pt x="476" y="0"/>
                        </a:cubicBezTo>
                        <a:cubicBezTo>
                          <a:pt x="446" y="3"/>
                          <a:pt x="446" y="3"/>
                          <a:pt x="446" y="3"/>
                        </a:cubicBezTo>
                        <a:cubicBezTo>
                          <a:pt x="449" y="11"/>
                          <a:pt x="449" y="11"/>
                          <a:pt x="449" y="11"/>
                        </a:cubicBezTo>
                        <a:cubicBezTo>
                          <a:pt x="449" y="11"/>
                          <a:pt x="444" y="24"/>
                          <a:pt x="444" y="35"/>
                        </a:cubicBezTo>
                        <a:cubicBezTo>
                          <a:pt x="444" y="46"/>
                          <a:pt x="468" y="40"/>
                          <a:pt x="468" y="40"/>
                        </a:cubicBezTo>
                        <a:cubicBezTo>
                          <a:pt x="468" y="40"/>
                          <a:pt x="469" y="59"/>
                          <a:pt x="476" y="82"/>
                        </a:cubicBezTo>
                        <a:cubicBezTo>
                          <a:pt x="410" y="80"/>
                          <a:pt x="420" y="100"/>
                          <a:pt x="413" y="94"/>
                        </a:cubicBezTo>
                        <a:cubicBezTo>
                          <a:pt x="406" y="87"/>
                          <a:pt x="397" y="110"/>
                          <a:pt x="397" y="110"/>
                        </a:cubicBezTo>
                        <a:cubicBezTo>
                          <a:pt x="397" y="110"/>
                          <a:pt x="373" y="116"/>
                          <a:pt x="361" y="116"/>
                        </a:cubicBezTo>
                        <a:cubicBezTo>
                          <a:pt x="349" y="116"/>
                          <a:pt x="354" y="128"/>
                          <a:pt x="358" y="138"/>
                        </a:cubicBezTo>
                        <a:cubicBezTo>
                          <a:pt x="362" y="147"/>
                          <a:pt x="321" y="162"/>
                          <a:pt x="321" y="162"/>
                        </a:cubicBezTo>
                        <a:cubicBezTo>
                          <a:pt x="308" y="188"/>
                          <a:pt x="308" y="188"/>
                          <a:pt x="308" y="188"/>
                        </a:cubicBezTo>
                        <a:cubicBezTo>
                          <a:pt x="325" y="198"/>
                          <a:pt x="325" y="198"/>
                          <a:pt x="325" y="198"/>
                        </a:cubicBezTo>
                        <a:cubicBezTo>
                          <a:pt x="310" y="210"/>
                          <a:pt x="310" y="210"/>
                          <a:pt x="310" y="210"/>
                        </a:cubicBezTo>
                        <a:cubicBezTo>
                          <a:pt x="281" y="206"/>
                          <a:pt x="281" y="206"/>
                          <a:pt x="281" y="206"/>
                        </a:cubicBezTo>
                        <a:cubicBezTo>
                          <a:pt x="278" y="218"/>
                          <a:pt x="278" y="218"/>
                          <a:pt x="278" y="218"/>
                        </a:cubicBezTo>
                        <a:cubicBezTo>
                          <a:pt x="286" y="230"/>
                          <a:pt x="286" y="230"/>
                          <a:pt x="286" y="230"/>
                        </a:cubicBezTo>
                        <a:cubicBezTo>
                          <a:pt x="270" y="231"/>
                          <a:pt x="270" y="231"/>
                          <a:pt x="270" y="231"/>
                        </a:cubicBezTo>
                        <a:cubicBezTo>
                          <a:pt x="286" y="256"/>
                          <a:pt x="286" y="256"/>
                          <a:pt x="286" y="256"/>
                        </a:cubicBezTo>
                        <a:cubicBezTo>
                          <a:pt x="317" y="258"/>
                          <a:pt x="317" y="258"/>
                          <a:pt x="317" y="258"/>
                        </a:cubicBezTo>
                        <a:cubicBezTo>
                          <a:pt x="334" y="278"/>
                          <a:pt x="334" y="278"/>
                          <a:pt x="334" y="278"/>
                        </a:cubicBezTo>
                        <a:cubicBezTo>
                          <a:pt x="334" y="300"/>
                          <a:pt x="334" y="300"/>
                          <a:pt x="334" y="300"/>
                        </a:cubicBezTo>
                        <a:cubicBezTo>
                          <a:pt x="334" y="300"/>
                          <a:pt x="320" y="314"/>
                          <a:pt x="322" y="311"/>
                        </a:cubicBezTo>
                        <a:cubicBezTo>
                          <a:pt x="298" y="303"/>
                          <a:pt x="308" y="314"/>
                          <a:pt x="308" y="314"/>
                        </a:cubicBezTo>
                        <a:cubicBezTo>
                          <a:pt x="288" y="326"/>
                          <a:pt x="288" y="326"/>
                          <a:pt x="288" y="326"/>
                        </a:cubicBezTo>
                        <a:cubicBezTo>
                          <a:pt x="278" y="319"/>
                          <a:pt x="278" y="319"/>
                          <a:pt x="278" y="319"/>
                        </a:cubicBezTo>
                        <a:cubicBezTo>
                          <a:pt x="278" y="319"/>
                          <a:pt x="265" y="323"/>
                          <a:pt x="265" y="314"/>
                        </a:cubicBezTo>
                        <a:cubicBezTo>
                          <a:pt x="265" y="304"/>
                          <a:pt x="258" y="300"/>
                          <a:pt x="258" y="300"/>
                        </a:cubicBezTo>
                        <a:cubicBezTo>
                          <a:pt x="237" y="295"/>
                          <a:pt x="237" y="295"/>
                          <a:pt x="237" y="295"/>
                        </a:cubicBezTo>
                        <a:cubicBezTo>
                          <a:pt x="238" y="302"/>
                          <a:pt x="238" y="302"/>
                          <a:pt x="238" y="302"/>
                        </a:cubicBezTo>
                        <a:cubicBezTo>
                          <a:pt x="213" y="294"/>
                          <a:pt x="213" y="294"/>
                          <a:pt x="213" y="294"/>
                        </a:cubicBezTo>
                        <a:cubicBezTo>
                          <a:pt x="213" y="270"/>
                          <a:pt x="213" y="270"/>
                          <a:pt x="213" y="270"/>
                        </a:cubicBezTo>
                        <a:cubicBezTo>
                          <a:pt x="201" y="276"/>
                          <a:pt x="201" y="276"/>
                          <a:pt x="201" y="276"/>
                        </a:cubicBezTo>
                        <a:cubicBezTo>
                          <a:pt x="190" y="272"/>
                          <a:pt x="190" y="272"/>
                          <a:pt x="190" y="272"/>
                        </a:cubicBezTo>
                        <a:cubicBezTo>
                          <a:pt x="136" y="296"/>
                          <a:pt x="136" y="296"/>
                          <a:pt x="136" y="296"/>
                        </a:cubicBezTo>
                        <a:cubicBezTo>
                          <a:pt x="134" y="260"/>
                          <a:pt x="100" y="268"/>
                          <a:pt x="100" y="268"/>
                        </a:cubicBezTo>
                        <a:cubicBezTo>
                          <a:pt x="100" y="283"/>
                          <a:pt x="100" y="283"/>
                          <a:pt x="100" y="283"/>
                        </a:cubicBezTo>
                        <a:cubicBezTo>
                          <a:pt x="95" y="281"/>
                          <a:pt x="95" y="281"/>
                          <a:pt x="95" y="281"/>
                        </a:cubicBezTo>
                        <a:cubicBezTo>
                          <a:pt x="104" y="303"/>
                          <a:pt x="104" y="303"/>
                          <a:pt x="104" y="303"/>
                        </a:cubicBezTo>
                        <a:cubicBezTo>
                          <a:pt x="114" y="304"/>
                          <a:pt x="114" y="304"/>
                          <a:pt x="114" y="304"/>
                        </a:cubicBezTo>
                        <a:cubicBezTo>
                          <a:pt x="114" y="343"/>
                          <a:pt x="114" y="343"/>
                          <a:pt x="114" y="343"/>
                        </a:cubicBezTo>
                        <a:cubicBezTo>
                          <a:pt x="125" y="339"/>
                          <a:pt x="125" y="339"/>
                          <a:pt x="125" y="339"/>
                        </a:cubicBezTo>
                        <a:cubicBezTo>
                          <a:pt x="145" y="371"/>
                          <a:pt x="145" y="371"/>
                          <a:pt x="145" y="371"/>
                        </a:cubicBezTo>
                        <a:cubicBezTo>
                          <a:pt x="102" y="415"/>
                          <a:pt x="102" y="415"/>
                          <a:pt x="102" y="415"/>
                        </a:cubicBezTo>
                        <a:cubicBezTo>
                          <a:pt x="94" y="472"/>
                          <a:pt x="94" y="472"/>
                          <a:pt x="94" y="472"/>
                        </a:cubicBezTo>
                        <a:cubicBezTo>
                          <a:pt x="69" y="466"/>
                          <a:pt x="69" y="466"/>
                          <a:pt x="69" y="466"/>
                        </a:cubicBezTo>
                        <a:cubicBezTo>
                          <a:pt x="54" y="490"/>
                          <a:pt x="54" y="490"/>
                          <a:pt x="54" y="490"/>
                        </a:cubicBezTo>
                        <a:cubicBezTo>
                          <a:pt x="58" y="500"/>
                          <a:pt x="58" y="500"/>
                          <a:pt x="58" y="500"/>
                        </a:cubicBezTo>
                        <a:cubicBezTo>
                          <a:pt x="0" y="540"/>
                          <a:pt x="0" y="540"/>
                          <a:pt x="0" y="540"/>
                        </a:cubicBezTo>
                        <a:cubicBezTo>
                          <a:pt x="1" y="541"/>
                          <a:pt x="2" y="541"/>
                          <a:pt x="2" y="541"/>
                        </a:cubicBez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61" name="Languedoc-Roussillon" descr="© INSCALE GmbH, 05.05.2010&#10;http://www.presentationload.com/">
                    <a:extLst>
                      <a:ext uri="{FF2B5EF4-FFF2-40B4-BE49-F238E27FC236}">
                        <a16:creationId xmlns:a16="http://schemas.microsoft.com/office/drawing/2014/main" id="{C39E21D3-0DB6-49AD-9064-80FF6CBA2B3F}"/>
                      </a:ext>
                    </a:extLst>
                  </p:cNvPr>
                  <p:cNvSpPr>
                    <a:spLocks/>
                  </p:cNvSpPr>
                  <p:nvPr/>
                </p:nvSpPr>
                <p:spPr bwMode="gray">
                  <a:xfrm>
                    <a:off x="1594" y="2270"/>
                    <a:ext cx="795" cy="930"/>
                  </a:xfrm>
                  <a:custGeom>
                    <a:avLst/>
                    <a:gdLst/>
                    <a:ahLst/>
                    <a:cxnLst>
                      <a:cxn ang="0">
                        <a:pos x="20" y="800"/>
                      </a:cxn>
                      <a:cxn ang="0">
                        <a:pos x="61" y="817"/>
                      </a:cxn>
                      <a:cxn ang="0">
                        <a:pos x="99" y="847"/>
                      </a:cxn>
                      <a:cxn ang="0">
                        <a:pos x="151" y="830"/>
                      </a:cxn>
                      <a:cxn ang="0">
                        <a:pos x="230" y="858"/>
                      </a:cxn>
                      <a:cxn ang="0">
                        <a:pos x="248" y="831"/>
                      </a:cxn>
                      <a:cxn ang="0">
                        <a:pos x="282" y="817"/>
                      </a:cxn>
                      <a:cxn ang="0">
                        <a:pos x="318" y="812"/>
                      </a:cxn>
                      <a:cxn ang="0">
                        <a:pos x="347" y="824"/>
                      </a:cxn>
                      <a:cxn ang="0">
                        <a:pos x="335" y="788"/>
                      </a:cxn>
                      <a:cxn ang="0">
                        <a:pos x="322" y="658"/>
                      </a:cxn>
                      <a:cxn ang="0">
                        <a:pos x="319" y="622"/>
                      </a:cxn>
                      <a:cxn ang="0">
                        <a:pos x="466" y="488"/>
                      </a:cxn>
                      <a:cxn ang="0">
                        <a:pos x="564" y="442"/>
                      </a:cxn>
                      <a:cxn ang="0">
                        <a:pos x="650" y="433"/>
                      </a:cxn>
                      <a:cxn ang="0">
                        <a:pos x="661" y="399"/>
                      </a:cxn>
                      <a:cxn ang="0">
                        <a:pos x="694" y="348"/>
                      </a:cxn>
                      <a:cxn ang="0">
                        <a:pos x="717" y="272"/>
                      </a:cxn>
                      <a:cxn ang="0">
                        <a:pos x="706" y="237"/>
                      </a:cxn>
                      <a:cxn ang="0">
                        <a:pos x="687" y="214"/>
                      </a:cxn>
                      <a:cxn ang="0">
                        <a:pos x="641" y="209"/>
                      </a:cxn>
                      <a:cxn ang="0">
                        <a:pos x="634" y="195"/>
                      </a:cxn>
                      <a:cxn ang="0">
                        <a:pos x="600" y="225"/>
                      </a:cxn>
                      <a:cxn ang="0">
                        <a:pos x="549" y="208"/>
                      </a:cxn>
                      <a:cxn ang="0">
                        <a:pos x="536" y="159"/>
                      </a:cxn>
                      <a:cxn ang="0">
                        <a:pos x="518" y="121"/>
                      </a:cxn>
                      <a:cxn ang="0">
                        <a:pos x="501" y="71"/>
                      </a:cxn>
                      <a:cxn ang="0">
                        <a:pos x="458" y="40"/>
                      </a:cxn>
                      <a:cxn ang="0">
                        <a:pos x="420" y="51"/>
                      </a:cxn>
                      <a:cxn ang="0">
                        <a:pos x="373" y="16"/>
                      </a:cxn>
                      <a:cxn ang="0">
                        <a:pos x="368" y="27"/>
                      </a:cxn>
                      <a:cxn ang="0">
                        <a:pos x="342" y="19"/>
                      </a:cxn>
                      <a:cxn ang="0">
                        <a:pos x="334" y="43"/>
                      </a:cxn>
                      <a:cxn ang="0">
                        <a:pos x="320" y="79"/>
                      </a:cxn>
                      <a:cxn ang="0">
                        <a:pos x="308" y="108"/>
                      </a:cxn>
                      <a:cxn ang="0">
                        <a:pos x="325" y="155"/>
                      </a:cxn>
                      <a:cxn ang="0">
                        <a:pos x="348" y="208"/>
                      </a:cxn>
                      <a:cxn ang="0">
                        <a:pos x="361" y="232"/>
                      </a:cxn>
                      <a:cxn ang="0">
                        <a:pos x="393" y="256"/>
                      </a:cxn>
                      <a:cxn ang="0">
                        <a:pos x="393" y="285"/>
                      </a:cxn>
                      <a:cxn ang="0">
                        <a:pos x="418" y="303"/>
                      </a:cxn>
                      <a:cxn ang="0">
                        <a:pos x="394" y="345"/>
                      </a:cxn>
                      <a:cxn ang="0">
                        <a:pos x="373" y="364"/>
                      </a:cxn>
                      <a:cxn ang="0">
                        <a:pos x="328" y="405"/>
                      </a:cxn>
                      <a:cxn ang="0">
                        <a:pos x="253" y="427"/>
                      </a:cxn>
                      <a:cxn ang="0">
                        <a:pos x="198" y="492"/>
                      </a:cxn>
                      <a:cxn ang="0">
                        <a:pos x="130" y="509"/>
                      </a:cxn>
                      <a:cxn ang="0">
                        <a:pos x="96" y="496"/>
                      </a:cxn>
                      <a:cxn ang="0">
                        <a:pos x="62" y="508"/>
                      </a:cxn>
                      <a:cxn ang="0">
                        <a:pos x="37" y="520"/>
                      </a:cxn>
                      <a:cxn ang="0">
                        <a:pos x="14" y="572"/>
                      </a:cxn>
                      <a:cxn ang="0">
                        <a:pos x="68" y="612"/>
                      </a:cxn>
                      <a:cxn ang="0">
                        <a:pos x="64" y="651"/>
                      </a:cxn>
                      <a:cxn ang="0">
                        <a:pos x="77" y="669"/>
                      </a:cxn>
                      <a:cxn ang="0">
                        <a:pos x="53" y="693"/>
                      </a:cxn>
                      <a:cxn ang="0">
                        <a:pos x="101" y="713"/>
                      </a:cxn>
                      <a:cxn ang="0">
                        <a:pos x="76" y="743"/>
                      </a:cxn>
                      <a:cxn ang="0">
                        <a:pos x="57" y="760"/>
                      </a:cxn>
                      <a:cxn ang="0">
                        <a:pos x="26" y="768"/>
                      </a:cxn>
                      <a:cxn ang="0">
                        <a:pos x="25" y="777"/>
                      </a:cxn>
                    </a:cxnLst>
                    <a:rect l="0" t="0" r="r" b="b"/>
                    <a:pathLst>
                      <a:path w="737" h="861">
                        <a:moveTo>
                          <a:pt x="25" y="777"/>
                        </a:moveTo>
                        <a:cubicBezTo>
                          <a:pt x="20" y="781"/>
                          <a:pt x="20" y="800"/>
                          <a:pt x="20" y="800"/>
                        </a:cubicBezTo>
                        <a:cubicBezTo>
                          <a:pt x="20" y="800"/>
                          <a:pt x="41" y="808"/>
                          <a:pt x="43" y="805"/>
                        </a:cubicBezTo>
                        <a:cubicBezTo>
                          <a:pt x="47" y="818"/>
                          <a:pt x="61" y="817"/>
                          <a:pt x="61" y="817"/>
                        </a:cubicBezTo>
                        <a:cubicBezTo>
                          <a:pt x="79" y="848"/>
                          <a:pt x="79" y="848"/>
                          <a:pt x="79" y="848"/>
                        </a:cubicBezTo>
                        <a:cubicBezTo>
                          <a:pt x="99" y="847"/>
                          <a:pt x="99" y="847"/>
                          <a:pt x="99" y="847"/>
                        </a:cubicBezTo>
                        <a:cubicBezTo>
                          <a:pt x="119" y="828"/>
                          <a:pt x="119" y="828"/>
                          <a:pt x="119" y="828"/>
                        </a:cubicBezTo>
                        <a:cubicBezTo>
                          <a:pt x="151" y="830"/>
                          <a:pt x="151" y="830"/>
                          <a:pt x="151" y="830"/>
                        </a:cubicBezTo>
                        <a:cubicBezTo>
                          <a:pt x="151" y="830"/>
                          <a:pt x="194" y="861"/>
                          <a:pt x="205" y="857"/>
                        </a:cubicBezTo>
                        <a:cubicBezTo>
                          <a:pt x="216" y="853"/>
                          <a:pt x="230" y="858"/>
                          <a:pt x="230" y="858"/>
                        </a:cubicBezTo>
                        <a:cubicBezTo>
                          <a:pt x="234" y="844"/>
                          <a:pt x="234" y="844"/>
                          <a:pt x="234" y="844"/>
                        </a:cubicBezTo>
                        <a:cubicBezTo>
                          <a:pt x="248" y="831"/>
                          <a:pt x="248" y="831"/>
                          <a:pt x="248" y="831"/>
                        </a:cubicBezTo>
                        <a:cubicBezTo>
                          <a:pt x="265" y="830"/>
                          <a:pt x="265" y="830"/>
                          <a:pt x="265" y="830"/>
                        </a:cubicBezTo>
                        <a:cubicBezTo>
                          <a:pt x="282" y="817"/>
                          <a:pt x="282" y="817"/>
                          <a:pt x="282" y="817"/>
                        </a:cubicBezTo>
                        <a:cubicBezTo>
                          <a:pt x="313" y="812"/>
                          <a:pt x="313" y="812"/>
                          <a:pt x="313" y="812"/>
                        </a:cubicBezTo>
                        <a:cubicBezTo>
                          <a:pt x="318" y="812"/>
                          <a:pt x="318" y="812"/>
                          <a:pt x="318" y="812"/>
                        </a:cubicBezTo>
                        <a:cubicBezTo>
                          <a:pt x="328" y="830"/>
                          <a:pt x="328" y="830"/>
                          <a:pt x="328" y="830"/>
                        </a:cubicBezTo>
                        <a:cubicBezTo>
                          <a:pt x="347" y="824"/>
                          <a:pt x="347" y="824"/>
                          <a:pt x="347" y="824"/>
                        </a:cubicBezTo>
                        <a:cubicBezTo>
                          <a:pt x="352" y="815"/>
                          <a:pt x="340" y="807"/>
                          <a:pt x="340" y="807"/>
                        </a:cubicBezTo>
                        <a:cubicBezTo>
                          <a:pt x="335" y="788"/>
                          <a:pt x="335" y="788"/>
                          <a:pt x="335" y="788"/>
                        </a:cubicBezTo>
                        <a:cubicBezTo>
                          <a:pt x="318" y="785"/>
                          <a:pt x="318" y="785"/>
                          <a:pt x="318" y="785"/>
                        </a:cubicBezTo>
                        <a:cubicBezTo>
                          <a:pt x="322" y="658"/>
                          <a:pt x="322" y="658"/>
                          <a:pt x="322" y="658"/>
                        </a:cubicBezTo>
                        <a:cubicBezTo>
                          <a:pt x="312" y="643"/>
                          <a:pt x="312" y="643"/>
                          <a:pt x="312" y="643"/>
                        </a:cubicBezTo>
                        <a:cubicBezTo>
                          <a:pt x="312" y="643"/>
                          <a:pt x="319" y="627"/>
                          <a:pt x="319" y="622"/>
                        </a:cubicBezTo>
                        <a:cubicBezTo>
                          <a:pt x="380" y="492"/>
                          <a:pt x="416" y="533"/>
                          <a:pt x="416" y="533"/>
                        </a:cubicBezTo>
                        <a:cubicBezTo>
                          <a:pt x="416" y="533"/>
                          <a:pt x="445" y="505"/>
                          <a:pt x="466" y="488"/>
                        </a:cubicBezTo>
                        <a:cubicBezTo>
                          <a:pt x="487" y="471"/>
                          <a:pt x="490" y="472"/>
                          <a:pt x="496" y="458"/>
                        </a:cubicBezTo>
                        <a:cubicBezTo>
                          <a:pt x="559" y="418"/>
                          <a:pt x="561" y="439"/>
                          <a:pt x="564" y="442"/>
                        </a:cubicBezTo>
                        <a:cubicBezTo>
                          <a:pt x="546" y="458"/>
                          <a:pt x="582" y="469"/>
                          <a:pt x="592" y="473"/>
                        </a:cubicBezTo>
                        <a:cubicBezTo>
                          <a:pt x="650" y="433"/>
                          <a:pt x="650" y="433"/>
                          <a:pt x="650" y="433"/>
                        </a:cubicBezTo>
                        <a:cubicBezTo>
                          <a:pt x="646" y="423"/>
                          <a:pt x="646" y="423"/>
                          <a:pt x="646" y="423"/>
                        </a:cubicBezTo>
                        <a:cubicBezTo>
                          <a:pt x="661" y="399"/>
                          <a:pt x="661" y="399"/>
                          <a:pt x="661" y="399"/>
                        </a:cubicBezTo>
                        <a:cubicBezTo>
                          <a:pt x="686" y="405"/>
                          <a:pt x="686" y="405"/>
                          <a:pt x="686" y="405"/>
                        </a:cubicBezTo>
                        <a:cubicBezTo>
                          <a:pt x="694" y="348"/>
                          <a:pt x="694" y="348"/>
                          <a:pt x="694" y="348"/>
                        </a:cubicBezTo>
                        <a:cubicBezTo>
                          <a:pt x="737" y="304"/>
                          <a:pt x="737" y="304"/>
                          <a:pt x="737" y="304"/>
                        </a:cubicBezTo>
                        <a:cubicBezTo>
                          <a:pt x="717" y="272"/>
                          <a:pt x="717" y="272"/>
                          <a:pt x="717" y="272"/>
                        </a:cubicBezTo>
                        <a:cubicBezTo>
                          <a:pt x="706" y="276"/>
                          <a:pt x="706" y="276"/>
                          <a:pt x="706" y="276"/>
                        </a:cubicBezTo>
                        <a:cubicBezTo>
                          <a:pt x="706" y="237"/>
                          <a:pt x="706" y="237"/>
                          <a:pt x="706" y="237"/>
                        </a:cubicBezTo>
                        <a:cubicBezTo>
                          <a:pt x="696" y="236"/>
                          <a:pt x="696" y="236"/>
                          <a:pt x="696" y="236"/>
                        </a:cubicBezTo>
                        <a:cubicBezTo>
                          <a:pt x="687" y="214"/>
                          <a:pt x="687" y="214"/>
                          <a:pt x="687" y="214"/>
                        </a:cubicBezTo>
                        <a:cubicBezTo>
                          <a:pt x="649" y="197"/>
                          <a:pt x="649" y="197"/>
                          <a:pt x="649" y="197"/>
                        </a:cubicBezTo>
                        <a:cubicBezTo>
                          <a:pt x="641" y="209"/>
                          <a:pt x="641" y="209"/>
                          <a:pt x="641" y="209"/>
                        </a:cubicBezTo>
                        <a:cubicBezTo>
                          <a:pt x="634" y="209"/>
                          <a:pt x="634" y="209"/>
                          <a:pt x="634" y="209"/>
                        </a:cubicBezTo>
                        <a:cubicBezTo>
                          <a:pt x="634" y="195"/>
                          <a:pt x="634" y="195"/>
                          <a:pt x="634" y="195"/>
                        </a:cubicBezTo>
                        <a:cubicBezTo>
                          <a:pt x="620" y="195"/>
                          <a:pt x="620" y="195"/>
                          <a:pt x="620" y="195"/>
                        </a:cubicBezTo>
                        <a:cubicBezTo>
                          <a:pt x="600" y="225"/>
                          <a:pt x="600" y="225"/>
                          <a:pt x="600" y="225"/>
                        </a:cubicBezTo>
                        <a:cubicBezTo>
                          <a:pt x="568" y="197"/>
                          <a:pt x="568" y="197"/>
                          <a:pt x="568" y="197"/>
                        </a:cubicBezTo>
                        <a:cubicBezTo>
                          <a:pt x="549" y="208"/>
                          <a:pt x="549" y="208"/>
                          <a:pt x="549" y="208"/>
                        </a:cubicBezTo>
                        <a:cubicBezTo>
                          <a:pt x="556" y="177"/>
                          <a:pt x="556" y="177"/>
                          <a:pt x="556" y="177"/>
                        </a:cubicBezTo>
                        <a:cubicBezTo>
                          <a:pt x="536" y="159"/>
                          <a:pt x="536" y="159"/>
                          <a:pt x="536" y="159"/>
                        </a:cubicBezTo>
                        <a:cubicBezTo>
                          <a:pt x="532" y="128"/>
                          <a:pt x="532" y="128"/>
                          <a:pt x="532" y="128"/>
                        </a:cubicBezTo>
                        <a:cubicBezTo>
                          <a:pt x="518" y="121"/>
                          <a:pt x="518" y="121"/>
                          <a:pt x="518" y="121"/>
                        </a:cubicBezTo>
                        <a:cubicBezTo>
                          <a:pt x="505" y="69"/>
                          <a:pt x="505" y="69"/>
                          <a:pt x="505" y="69"/>
                        </a:cubicBezTo>
                        <a:cubicBezTo>
                          <a:pt x="501" y="71"/>
                          <a:pt x="501" y="71"/>
                          <a:pt x="501" y="71"/>
                        </a:cubicBezTo>
                        <a:cubicBezTo>
                          <a:pt x="480" y="45"/>
                          <a:pt x="480" y="45"/>
                          <a:pt x="480" y="45"/>
                        </a:cubicBezTo>
                        <a:cubicBezTo>
                          <a:pt x="458" y="40"/>
                          <a:pt x="458" y="40"/>
                          <a:pt x="458" y="40"/>
                        </a:cubicBezTo>
                        <a:cubicBezTo>
                          <a:pt x="458" y="40"/>
                          <a:pt x="448" y="16"/>
                          <a:pt x="444" y="43"/>
                        </a:cubicBezTo>
                        <a:cubicBezTo>
                          <a:pt x="420" y="51"/>
                          <a:pt x="420" y="51"/>
                          <a:pt x="420" y="51"/>
                        </a:cubicBezTo>
                        <a:cubicBezTo>
                          <a:pt x="402" y="0"/>
                          <a:pt x="402" y="0"/>
                          <a:pt x="402" y="0"/>
                        </a:cubicBezTo>
                        <a:cubicBezTo>
                          <a:pt x="402" y="0"/>
                          <a:pt x="384" y="7"/>
                          <a:pt x="373" y="16"/>
                        </a:cubicBezTo>
                        <a:cubicBezTo>
                          <a:pt x="371" y="18"/>
                          <a:pt x="369" y="19"/>
                          <a:pt x="368" y="19"/>
                        </a:cubicBezTo>
                        <a:cubicBezTo>
                          <a:pt x="368" y="27"/>
                          <a:pt x="368" y="27"/>
                          <a:pt x="368" y="27"/>
                        </a:cubicBezTo>
                        <a:cubicBezTo>
                          <a:pt x="350" y="32"/>
                          <a:pt x="350" y="32"/>
                          <a:pt x="350" y="32"/>
                        </a:cubicBezTo>
                        <a:cubicBezTo>
                          <a:pt x="342" y="19"/>
                          <a:pt x="342" y="19"/>
                          <a:pt x="342" y="19"/>
                        </a:cubicBezTo>
                        <a:cubicBezTo>
                          <a:pt x="333" y="23"/>
                          <a:pt x="333" y="23"/>
                          <a:pt x="333" y="23"/>
                        </a:cubicBezTo>
                        <a:cubicBezTo>
                          <a:pt x="334" y="43"/>
                          <a:pt x="334" y="43"/>
                          <a:pt x="334" y="43"/>
                        </a:cubicBezTo>
                        <a:cubicBezTo>
                          <a:pt x="326" y="52"/>
                          <a:pt x="326" y="52"/>
                          <a:pt x="326" y="52"/>
                        </a:cubicBezTo>
                        <a:cubicBezTo>
                          <a:pt x="320" y="79"/>
                          <a:pt x="320" y="79"/>
                          <a:pt x="320" y="79"/>
                        </a:cubicBezTo>
                        <a:cubicBezTo>
                          <a:pt x="308" y="99"/>
                          <a:pt x="308" y="99"/>
                          <a:pt x="308" y="99"/>
                        </a:cubicBezTo>
                        <a:cubicBezTo>
                          <a:pt x="308" y="108"/>
                          <a:pt x="308" y="108"/>
                          <a:pt x="308" y="108"/>
                        </a:cubicBezTo>
                        <a:cubicBezTo>
                          <a:pt x="329" y="123"/>
                          <a:pt x="329" y="123"/>
                          <a:pt x="329" y="123"/>
                        </a:cubicBezTo>
                        <a:cubicBezTo>
                          <a:pt x="325" y="155"/>
                          <a:pt x="325" y="155"/>
                          <a:pt x="325" y="155"/>
                        </a:cubicBezTo>
                        <a:cubicBezTo>
                          <a:pt x="346" y="168"/>
                          <a:pt x="346" y="168"/>
                          <a:pt x="346" y="168"/>
                        </a:cubicBezTo>
                        <a:cubicBezTo>
                          <a:pt x="348" y="208"/>
                          <a:pt x="348" y="208"/>
                          <a:pt x="348" y="208"/>
                        </a:cubicBezTo>
                        <a:cubicBezTo>
                          <a:pt x="338" y="224"/>
                          <a:pt x="338" y="224"/>
                          <a:pt x="338" y="224"/>
                        </a:cubicBezTo>
                        <a:cubicBezTo>
                          <a:pt x="361" y="232"/>
                          <a:pt x="361" y="232"/>
                          <a:pt x="361" y="232"/>
                        </a:cubicBezTo>
                        <a:cubicBezTo>
                          <a:pt x="357" y="244"/>
                          <a:pt x="357" y="244"/>
                          <a:pt x="357" y="244"/>
                        </a:cubicBezTo>
                        <a:cubicBezTo>
                          <a:pt x="357" y="244"/>
                          <a:pt x="398" y="251"/>
                          <a:pt x="393" y="256"/>
                        </a:cubicBezTo>
                        <a:cubicBezTo>
                          <a:pt x="388" y="261"/>
                          <a:pt x="373" y="279"/>
                          <a:pt x="373" y="279"/>
                        </a:cubicBezTo>
                        <a:cubicBezTo>
                          <a:pt x="393" y="285"/>
                          <a:pt x="393" y="285"/>
                          <a:pt x="393" y="285"/>
                        </a:cubicBezTo>
                        <a:cubicBezTo>
                          <a:pt x="405" y="295"/>
                          <a:pt x="405" y="295"/>
                          <a:pt x="405" y="295"/>
                        </a:cubicBezTo>
                        <a:cubicBezTo>
                          <a:pt x="418" y="303"/>
                          <a:pt x="418" y="303"/>
                          <a:pt x="418" y="303"/>
                        </a:cubicBezTo>
                        <a:cubicBezTo>
                          <a:pt x="397" y="328"/>
                          <a:pt x="397" y="328"/>
                          <a:pt x="397" y="328"/>
                        </a:cubicBezTo>
                        <a:cubicBezTo>
                          <a:pt x="394" y="345"/>
                          <a:pt x="394" y="345"/>
                          <a:pt x="394" y="345"/>
                        </a:cubicBezTo>
                        <a:cubicBezTo>
                          <a:pt x="373" y="347"/>
                          <a:pt x="373" y="347"/>
                          <a:pt x="373" y="347"/>
                        </a:cubicBezTo>
                        <a:cubicBezTo>
                          <a:pt x="373" y="364"/>
                          <a:pt x="373" y="364"/>
                          <a:pt x="373" y="364"/>
                        </a:cubicBezTo>
                        <a:cubicBezTo>
                          <a:pt x="329" y="365"/>
                          <a:pt x="329" y="365"/>
                          <a:pt x="329" y="365"/>
                        </a:cubicBezTo>
                        <a:cubicBezTo>
                          <a:pt x="328" y="405"/>
                          <a:pt x="328" y="405"/>
                          <a:pt x="328" y="405"/>
                        </a:cubicBezTo>
                        <a:cubicBezTo>
                          <a:pt x="328" y="405"/>
                          <a:pt x="306" y="399"/>
                          <a:pt x="297" y="417"/>
                        </a:cubicBezTo>
                        <a:cubicBezTo>
                          <a:pt x="276" y="427"/>
                          <a:pt x="253" y="427"/>
                          <a:pt x="253" y="427"/>
                        </a:cubicBezTo>
                        <a:cubicBezTo>
                          <a:pt x="253" y="427"/>
                          <a:pt x="202" y="425"/>
                          <a:pt x="241" y="464"/>
                        </a:cubicBezTo>
                        <a:cubicBezTo>
                          <a:pt x="232" y="469"/>
                          <a:pt x="232" y="497"/>
                          <a:pt x="198" y="492"/>
                        </a:cubicBezTo>
                        <a:cubicBezTo>
                          <a:pt x="165" y="487"/>
                          <a:pt x="173" y="499"/>
                          <a:pt x="173" y="499"/>
                        </a:cubicBezTo>
                        <a:cubicBezTo>
                          <a:pt x="173" y="499"/>
                          <a:pt x="130" y="476"/>
                          <a:pt x="130" y="509"/>
                        </a:cubicBezTo>
                        <a:cubicBezTo>
                          <a:pt x="130" y="509"/>
                          <a:pt x="108" y="504"/>
                          <a:pt x="102" y="505"/>
                        </a:cubicBezTo>
                        <a:cubicBezTo>
                          <a:pt x="97" y="507"/>
                          <a:pt x="96" y="496"/>
                          <a:pt x="96" y="496"/>
                        </a:cubicBezTo>
                        <a:cubicBezTo>
                          <a:pt x="68" y="495"/>
                          <a:pt x="68" y="495"/>
                          <a:pt x="68" y="495"/>
                        </a:cubicBezTo>
                        <a:cubicBezTo>
                          <a:pt x="62" y="508"/>
                          <a:pt x="62" y="508"/>
                          <a:pt x="62" y="508"/>
                        </a:cubicBezTo>
                        <a:cubicBezTo>
                          <a:pt x="49" y="487"/>
                          <a:pt x="49" y="487"/>
                          <a:pt x="49" y="487"/>
                        </a:cubicBezTo>
                        <a:cubicBezTo>
                          <a:pt x="49" y="487"/>
                          <a:pt x="37" y="495"/>
                          <a:pt x="37" y="520"/>
                        </a:cubicBezTo>
                        <a:cubicBezTo>
                          <a:pt x="34" y="525"/>
                          <a:pt x="0" y="531"/>
                          <a:pt x="18" y="553"/>
                        </a:cubicBezTo>
                        <a:cubicBezTo>
                          <a:pt x="12" y="553"/>
                          <a:pt x="14" y="572"/>
                          <a:pt x="14" y="572"/>
                        </a:cubicBezTo>
                        <a:cubicBezTo>
                          <a:pt x="64" y="591"/>
                          <a:pt x="64" y="591"/>
                          <a:pt x="64" y="591"/>
                        </a:cubicBezTo>
                        <a:cubicBezTo>
                          <a:pt x="64" y="591"/>
                          <a:pt x="73" y="607"/>
                          <a:pt x="68" y="612"/>
                        </a:cubicBezTo>
                        <a:cubicBezTo>
                          <a:pt x="62" y="617"/>
                          <a:pt x="78" y="644"/>
                          <a:pt x="78" y="644"/>
                        </a:cubicBezTo>
                        <a:cubicBezTo>
                          <a:pt x="64" y="651"/>
                          <a:pt x="64" y="651"/>
                          <a:pt x="64" y="651"/>
                        </a:cubicBezTo>
                        <a:cubicBezTo>
                          <a:pt x="80" y="655"/>
                          <a:pt x="80" y="655"/>
                          <a:pt x="80" y="655"/>
                        </a:cubicBezTo>
                        <a:cubicBezTo>
                          <a:pt x="80" y="655"/>
                          <a:pt x="77" y="665"/>
                          <a:pt x="77" y="669"/>
                        </a:cubicBezTo>
                        <a:cubicBezTo>
                          <a:pt x="77" y="673"/>
                          <a:pt x="54" y="679"/>
                          <a:pt x="54" y="679"/>
                        </a:cubicBezTo>
                        <a:cubicBezTo>
                          <a:pt x="53" y="693"/>
                          <a:pt x="53" y="693"/>
                          <a:pt x="53" y="693"/>
                        </a:cubicBezTo>
                        <a:cubicBezTo>
                          <a:pt x="62" y="697"/>
                          <a:pt x="62" y="697"/>
                          <a:pt x="62" y="697"/>
                        </a:cubicBezTo>
                        <a:cubicBezTo>
                          <a:pt x="62" y="697"/>
                          <a:pt x="48" y="717"/>
                          <a:pt x="101" y="713"/>
                        </a:cubicBezTo>
                        <a:cubicBezTo>
                          <a:pt x="122" y="735"/>
                          <a:pt x="120" y="741"/>
                          <a:pt x="120" y="741"/>
                        </a:cubicBezTo>
                        <a:cubicBezTo>
                          <a:pt x="76" y="743"/>
                          <a:pt x="76" y="743"/>
                          <a:pt x="76" y="743"/>
                        </a:cubicBezTo>
                        <a:cubicBezTo>
                          <a:pt x="78" y="755"/>
                          <a:pt x="78" y="755"/>
                          <a:pt x="78" y="755"/>
                        </a:cubicBezTo>
                        <a:cubicBezTo>
                          <a:pt x="57" y="760"/>
                          <a:pt x="57" y="760"/>
                          <a:pt x="57" y="760"/>
                        </a:cubicBezTo>
                        <a:cubicBezTo>
                          <a:pt x="50" y="769"/>
                          <a:pt x="50" y="769"/>
                          <a:pt x="50" y="769"/>
                        </a:cubicBezTo>
                        <a:cubicBezTo>
                          <a:pt x="26" y="768"/>
                          <a:pt x="26" y="768"/>
                          <a:pt x="26" y="768"/>
                        </a:cubicBezTo>
                        <a:cubicBezTo>
                          <a:pt x="25" y="771"/>
                          <a:pt x="25" y="771"/>
                          <a:pt x="25" y="771"/>
                        </a:cubicBezTo>
                        <a:cubicBezTo>
                          <a:pt x="26" y="774"/>
                          <a:pt x="26" y="776"/>
                          <a:pt x="25" y="777"/>
                        </a:cubicBez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62" name="Midi-Pyrénnées" descr="© INSCALE GmbH, 05.05.2010&#10;http://www.presentationload.com/">
                    <a:extLst>
                      <a:ext uri="{FF2B5EF4-FFF2-40B4-BE49-F238E27FC236}">
                        <a16:creationId xmlns:a16="http://schemas.microsoft.com/office/drawing/2014/main" id="{9918AF78-C234-4B5A-A446-F35A3DC476C5}"/>
                      </a:ext>
                    </a:extLst>
                  </p:cNvPr>
                  <p:cNvSpPr>
                    <a:spLocks/>
                  </p:cNvSpPr>
                  <p:nvPr/>
                </p:nvSpPr>
                <p:spPr bwMode="gray">
                  <a:xfrm>
                    <a:off x="1092" y="2246"/>
                    <a:ext cx="953" cy="857"/>
                  </a:xfrm>
                  <a:custGeom>
                    <a:avLst/>
                    <a:gdLst/>
                    <a:ahLst/>
                    <a:cxnLst>
                      <a:cxn ang="0">
                        <a:pos x="839" y="302"/>
                      </a:cxn>
                      <a:cxn ang="0">
                        <a:pos x="827" y="255"/>
                      </a:cxn>
                      <a:cxn ang="0">
                        <a:pos x="812" y="191"/>
                      </a:cxn>
                      <a:cxn ang="0">
                        <a:pos x="774" y="131"/>
                      </a:cxn>
                      <a:cxn ang="0">
                        <a:pos x="763" y="86"/>
                      </a:cxn>
                      <a:cxn ang="0">
                        <a:pos x="727" y="55"/>
                      </a:cxn>
                      <a:cxn ang="0">
                        <a:pos x="690" y="56"/>
                      </a:cxn>
                      <a:cxn ang="0">
                        <a:pos x="679" y="104"/>
                      </a:cxn>
                      <a:cxn ang="0">
                        <a:pos x="628" y="128"/>
                      </a:cxn>
                      <a:cxn ang="0">
                        <a:pos x="599" y="136"/>
                      </a:cxn>
                      <a:cxn ang="0">
                        <a:pos x="583" y="108"/>
                      </a:cxn>
                      <a:cxn ang="0">
                        <a:pos x="571" y="17"/>
                      </a:cxn>
                      <a:cxn ang="0">
                        <a:pos x="535" y="27"/>
                      </a:cxn>
                      <a:cxn ang="0">
                        <a:pos x="467" y="4"/>
                      </a:cxn>
                      <a:cxn ang="0">
                        <a:pos x="420" y="8"/>
                      </a:cxn>
                      <a:cxn ang="0">
                        <a:pos x="424" y="54"/>
                      </a:cxn>
                      <a:cxn ang="0">
                        <a:pos x="390" y="75"/>
                      </a:cxn>
                      <a:cxn ang="0">
                        <a:pos x="363" y="118"/>
                      </a:cxn>
                      <a:cxn ang="0">
                        <a:pos x="327" y="190"/>
                      </a:cxn>
                      <a:cxn ang="0">
                        <a:pos x="291" y="234"/>
                      </a:cxn>
                      <a:cxn ang="0">
                        <a:pos x="296" y="287"/>
                      </a:cxn>
                      <a:cxn ang="0">
                        <a:pos x="227" y="306"/>
                      </a:cxn>
                      <a:cxn ang="0">
                        <a:pos x="140" y="319"/>
                      </a:cxn>
                      <a:cxn ang="0">
                        <a:pos x="104" y="343"/>
                      </a:cxn>
                      <a:cxn ang="0">
                        <a:pos x="83" y="335"/>
                      </a:cxn>
                      <a:cxn ang="0">
                        <a:pos x="42" y="390"/>
                      </a:cxn>
                      <a:cxn ang="0">
                        <a:pos x="30" y="423"/>
                      </a:cxn>
                      <a:cxn ang="0">
                        <a:pos x="34" y="458"/>
                      </a:cxn>
                      <a:cxn ang="0">
                        <a:pos x="72" y="498"/>
                      </a:cxn>
                      <a:cxn ang="0">
                        <a:pos x="90" y="538"/>
                      </a:cxn>
                      <a:cxn ang="0">
                        <a:pos x="67" y="578"/>
                      </a:cxn>
                      <a:cxn ang="0">
                        <a:pos x="38" y="614"/>
                      </a:cxn>
                      <a:cxn ang="0">
                        <a:pos x="0" y="699"/>
                      </a:cxn>
                      <a:cxn ang="0">
                        <a:pos x="53" y="712"/>
                      </a:cxn>
                      <a:cxn ang="0">
                        <a:pos x="129" y="735"/>
                      </a:cxn>
                      <a:cxn ang="0">
                        <a:pos x="245" y="753"/>
                      </a:cxn>
                      <a:cxn ang="0">
                        <a:pos x="321" y="721"/>
                      </a:cxn>
                      <a:cxn ang="0">
                        <a:pos x="467" y="782"/>
                      </a:cxn>
                      <a:cxn ang="0">
                        <a:pos x="492" y="791"/>
                      </a:cxn>
                      <a:cxn ang="0">
                        <a:pos x="544" y="778"/>
                      </a:cxn>
                      <a:cxn ang="0">
                        <a:pos x="567" y="736"/>
                      </a:cxn>
                      <a:cxn ang="0">
                        <a:pos x="520" y="702"/>
                      </a:cxn>
                      <a:cxn ang="0">
                        <a:pos x="530" y="674"/>
                      </a:cxn>
                      <a:cxn ang="0">
                        <a:pos x="530" y="614"/>
                      </a:cxn>
                      <a:cxn ang="0">
                        <a:pos x="503" y="543"/>
                      </a:cxn>
                      <a:cxn ang="0">
                        <a:pos x="534" y="518"/>
                      </a:cxn>
                      <a:cxn ang="0">
                        <a:pos x="596" y="532"/>
                      </a:cxn>
                      <a:cxn ang="0">
                        <a:pos x="707" y="487"/>
                      </a:cxn>
                      <a:cxn ang="0">
                        <a:pos x="794" y="428"/>
                      </a:cxn>
                      <a:cxn ang="0">
                        <a:pos x="839" y="370"/>
                      </a:cxn>
                      <a:cxn ang="0">
                        <a:pos x="884" y="326"/>
                      </a:cxn>
                    </a:cxnLst>
                    <a:rect l="0" t="0" r="r" b="b"/>
                    <a:pathLst>
                      <a:path w="884" h="794">
                        <a:moveTo>
                          <a:pt x="871" y="318"/>
                        </a:moveTo>
                        <a:cubicBezTo>
                          <a:pt x="859" y="308"/>
                          <a:pt x="859" y="308"/>
                          <a:pt x="859" y="308"/>
                        </a:cubicBezTo>
                        <a:cubicBezTo>
                          <a:pt x="839" y="302"/>
                          <a:pt x="839" y="302"/>
                          <a:pt x="839" y="302"/>
                        </a:cubicBezTo>
                        <a:cubicBezTo>
                          <a:pt x="839" y="302"/>
                          <a:pt x="854" y="284"/>
                          <a:pt x="859" y="279"/>
                        </a:cubicBezTo>
                        <a:cubicBezTo>
                          <a:pt x="864" y="274"/>
                          <a:pt x="823" y="267"/>
                          <a:pt x="823" y="267"/>
                        </a:cubicBezTo>
                        <a:cubicBezTo>
                          <a:pt x="827" y="255"/>
                          <a:pt x="827" y="255"/>
                          <a:pt x="827" y="255"/>
                        </a:cubicBezTo>
                        <a:cubicBezTo>
                          <a:pt x="804" y="247"/>
                          <a:pt x="804" y="247"/>
                          <a:pt x="804" y="247"/>
                        </a:cubicBezTo>
                        <a:cubicBezTo>
                          <a:pt x="814" y="231"/>
                          <a:pt x="814" y="231"/>
                          <a:pt x="814" y="231"/>
                        </a:cubicBezTo>
                        <a:cubicBezTo>
                          <a:pt x="812" y="191"/>
                          <a:pt x="812" y="191"/>
                          <a:pt x="812" y="191"/>
                        </a:cubicBezTo>
                        <a:cubicBezTo>
                          <a:pt x="791" y="178"/>
                          <a:pt x="791" y="178"/>
                          <a:pt x="791" y="178"/>
                        </a:cubicBezTo>
                        <a:cubicBezTo>
                          <a:pt x="795" y="146"/>
                          <a:pt x="795" y="146"/>
                          <a:pt x="795" y="146"/>
                        </a:cubicBezTo>
                        <a:cubicBezTo>
                          <a:pt x="774" y="131"/>
                          <a:pt x="774" y="131"/>
                          <a:pt x="774" y="131"/>
                        </a:cubicBezTo>
                        <a:cubicBezTo>
                          <a:pt x="774" y="122"/>
                          <a:pt x="774" y="122"/>
                          <a:pt x="774" y="122"/>
                        </a:cubicBezTo>
                        <a:cubicBezTo>
                          <a:pt x="772" y="126"/>
                          <a:pt x="772" y="126"/>
                          <a:pt x="772" y="126"/>
                        </a:cubicBezTo>
                        <a:cubicBezTo>
                          <a:pt x="763" y="86"/>
                          <a:pt x="763" y="86"/>
                          <a:pt x="763" y="86"/>
                        </a:cubicBezTo>
                        <a:cubicBezTo>
                          <a:pt x="754" y="75"/>
                          <a:pt x="754" y="75"/>
                          <a:pt x="754" y="75"/>
                        </a:cubicBezTo>
                        <a:cubicBezTo>
                          <a:pt x="754" y="75"/>
                          <a:pt x="740" y="45"/>
                          <a:pt x="729" y="53"/>
                        </a:cubicBezTo>
                        <a:cubicBezTo>
                          <a:pt x="729" y="55"/>
                          <a:pt x="728" y="56"/>
                          <a:pt x="727" y="55"/>
                        </a:cubicBezTo>
                        <a:cubicBezTo>
                          <a:pt x="728" y="54"/>
                          <a:pt x="728" y="54"/>
                          <a:pt x="729" y="53"/>
                        </a:cubicBezTo>
                        <a:cubicBezTo>
                          <a:pt x="731" y="46"/>
                          <a:pt x="725" y="18"/>
                          <a:pt x="699" y="55"/>
                        </a:cubicBezTo>
                        <a:cubicBezTo>
                          <a:pt x="690" y="63"/>
                          <a:pt x="690" y="56"/>
                          <a:pt x="690" y="56"/>
                        </a:cubicBezTo>
                        <a:cubicBezTo>
                          <a:pt x="688" y="78"/>
                          <a:pt x="688" y="78"/>
                          <a:pt x="688" y="78"/>
                        </a:cubicBezTo>
                        <a:cubicBezTo>
                          <a:pt x="680" y="84"/>
                          <a:pt x="680" y="84"/>
                          <a:pt x="680" y="84"/>
                        </a:cubicBezTo>
                        <a:cubicBezTo>
                          <a:pt x="679" y="104"/>
                          <a:pt x="679" y="104"/>
                          <a:pt x="679" y="104"/>
                        </a:cubicBezTo>
                        <a:cubicBezTo>
                          <a:pt x="666" y="114"/>
                          <a:pt x="666" y="114"/>
                          <a:pt x="666" y="114"/>
                        </a:cubicBezTo>
                        <a:cubicBezTo>
                          <a:pt x="662" y="126"/>
                          <a:pt x="662" y="126"/>
                          <a:pt x="662" y="126"/>
                        </a:cubicBezTo>
                        <a:cubicBezTo>
                          <a:pt x="628" y="128"/>
                          <a:pt x="628" y="128"/>
                          <a:pt x="628" y="128"/>
                        </a:cubicBezTo>
                        <a:cubicBezTo>
                          <a:pt x="627" y="123"/>
                          <a:pt x="627" y="123"/>
                          <a:pt x="627" y="123"/>
                        </a:cubicBezTo>
                        <a:cubicBezTo>
                          <a:pt x="598" y="124"/>
                          <a:pt x="598" y="124"/>
                          <a:pt x="598" y="124"/>
                        </a:cubicBezTo>
                        <a:cubicBezTo>
                          <a:pt x="599" y="136"/>
                          <a:pt x="599" y="136"/>
                          <a:pt x="599" y="136"/>
                        </a:cubicBezTo>
                        <a:cubicBezTo>
                          <a:pt x="594" y="130"/>
                          <a:pt x="594" y="130"/>
                          <a:pt x="594" y="130"/>
                        </a:cubicBezTo>
                        <a:cubicBezTo>
                          <a:pt x="592" y="114"/>
                          <a:pt x="592" y="114"/>
                          <a:pt x="592" y="114"/>
                        </a:cubicBezTo>
                        <a:cubicBezTo>
                          <a:pt x="583" y="108"/>
                          <a:pt x="583" y="108"/>
                          <a:pt x="583" y="108"/>
                        </a:cubicBezTo>
                        <a:cubicBezTo>
                          <a:pt x="588" y="74"/>
                          <a:pt x="588" y="74"/>
                          <a:pt x="588" y="74"/>
                        </a:cubicBezTo>
                        <a:cubicBezTo>
                          <a:pt x="572" y="47"/>
                          <a:pt x="572" y="47"/>
                          <a:pt x="572" y="47"/>
                        </a:cubicBezTo>
                        <a:cubicBezTo>
                          <a:pt x="572" y="47"/>
                          <a:pt x="574" y="30"/>
                          <a:pt x="571" y="17"/>
                        </a:cubicBezTo>
                        <a:cubicBezTo>
                          <a:pt x="569" y="19"/>
                          <a:pt x="568" y="20"/>
                          <a:pt x="568" y="20"/>
                        </a:cubicBezTo>
                        <a:cubicBezTo>
                          <a:pt x="547" y="22"/>
                          <a:pt x="547" y="22"/>
                          <a:pt x="547" y="22"/>
                        </a:cubicBezTo>
                        <a:cubicBezTo>
                          <a:pt x="535" y="27"/>
                          <a:pt x="535" y="27"/>
                          <a:pt x="535" y="27"/>
                        </a:cubicBezTo>
                        <a:cubicBezTo>
                          <a:pt x="532" y="20"/>
                          <a:pt x="532" y="20"/>
                          <a:pt x="532" y="20"/>
                        </a:cubicBezTo>
                        <a:cubicBezTo>
                          <a:pt x="532" y="20"/>
                          <a:pt x="518" y="43"/>
                          <a:pt x="507" y="39"/>
                        </a:cubicBezTo>
                        <a:cubicBezTo>
                          <a:pt x="496" y="35"/>
                          <a:pt x="467" y="4"/>
                          <a:pt x="467" y="4"/>
                        </a:cubicBezTo>
                        <a:cubicBezTo>
                          <a:pt x="467" y="4"/>
                          <a:pt x="435" y="0"/>
                          <a:pt x="424" y="7"/>
                        </a:cubicBezTo>
                        <a:cubicBezTo>
                          <a:pt x="423" y="4"/>
                          <a:pt x="423" y="4"/>
                          <a:pt x="423" y="4"/>
                        </a:cubicBezTo>
                        <a:cubicBezTo>
                          <a:pt x="420" y="8"/>
                          <a:pt x="420" y="8"/>
                          <a:pt x="420" y="8"/>
                        </a:cubicBezTo>
                        <a:cubicBezTo>
                          <a:pt x="426" y="39"/>
                          <a:pt x="426" y="39"/>
                          <a:pt x="426" y="39"/>
                        </a:cubicBezTo>
                        <a:cubicBezTo>
                          <a:pt x="419" y="44"/>
                          <a:pt x="419" y="44"/>
                          <a:pt x="419" y="44"/>
                        </a:cubicBezTo>
                        <a:cubicBezTo>
                          <a:pt x="424" y="54"/>
                          <a:pt x="424" y="54"/>
                          <a:pt x="424" y="54"/>
                        </a:cubicBezTo>
                        <a:cubicBezTo>
                          <a:pt x="407" y="60"/>
                          <a:pt x="407" y="60"/>
                          <a:pt x="407" y="60"/>
                        </a:cubicBezTo>
                        <a:cubicBezTo>
                          <a:pt x="406" y="74"/>
                          <a:pt x="406" y="74"/>
                          <a:pt x="406" y="74"/>
                        </a:cubicBezTo>
                        <a:cubicBezTo>
                          <a:pt x="390" y="75"/>
                          <a:pt x="390" y="75"/>
                          <a:pt x="390" y="75"/>
                        </a:cubicBezTo>
                        <a:cubicBezTo>
                          <a:pt x="398" y="92"/>
                          <a:pt x="398" y="92"/>
                          <a:pt x="398" y="92"/>
                        </a:cubicBezTo>
                        <a:cubicBezTo>
                          <a:pt x="384" y="112"/>
                          <a:pt x="384" y="112"/>
                          <a:pt x="384" y="112"/>
                        </a:cubicBezTo>
                        <a:cubicBezTo>
                          <a:pt x="363" y="118"/>
                          <a:pt x="363" y="118"/>
                          <a:pt x="363" y="118"/>
                        </a:cubicBezTo>
                        <a:cubicBezTo>
                          <a:pt x="344" y="147"/>
                          <a:pt x="344" y="147"/>
                          <a:pt x="344" y="147"/>
                        </a:cubicBezTo>
                        <a:cubicBezTo>
                          <a:pt x="316" y="156"/>
                          <a:pt x="316" y="156"/>
                          <a:pt x="316" y="156"/>
                        </a:cubicBezTo>
                        <a:cubicBezTo>
                          <a:pt x="316" y="156"/>
                          <a:pt x="327" y="186"/>
                          <a:pt x="327" y="190"/>
                        </a:cubicBezTo>
                        <a:cubicBezTo>
                          <a:pt x="327" y="194"/>
                          <a:pt x="334" y="198"/>
                          <a:pt x="334" y="198"/>
                        </a:cubicBezTo>
                        <a:cubicBezTo>
                          <a:pt x="334" y="198"/>
                          <a:pt x="331" y="223"/>
                          <a:pt x="312" y="216"/>
                        </a:cubicBezTo>
                        <a:cubicBezTo>
                          <a:pt x="294" y="210"/>
                          <a:pt x="291" y="234"/>
                          <a:pt x="291" y="234"/>
                        </a:cubicBezTo>
                        <a:cubicBezTo>
                          <a:pt x="308" y="246"/>
                          <a:pt x="308" y="246"/>
                          <a:pt x="308" y="246"/>
                        </a:cubicBezTo>
                        <a:cubicBezTo>
                          <a:pt x="291" y="270"/>
                          <a:pt x="291" y="270"/>
                          <a:pt x="291" y="270"/>
                        </a:cubicBezTo>
                        <a:cubicBezTo>
                          <a:pt x="296" y="287"/>
                          <a:pt x="296" y="287"/>
                          <a:pt x="296" y="287"/>
                        </a:cubicBezTo>
                        <a:cubicBezTo>
                          <a:pt x="274" y="286"/>
                          <a:pt x="274" y="286"/>
                          <a:pt x="274" y="286"/>
                        </a:cubicBezTo>
                        <a:cubicBezTo>
                          <a:pt x="274" y="286"/>
                          <a:pt x="262" y="322"/>
                          <a:pt x="247" y="322"/>
                        </a:cubicBezTo>
                        <a:cubicBezTo>
                          <a:pt x="232" y="322"/>
                          <a:pt x="227" y="306"/>
                          <a:pt x="227" y="306"/>
                        </a:cubicBezTo>
                        <a:cubicBezTo>
                          <a:pt x="214" y="311"/>
                          <a:pt x="214" y="311"/>
                          <a:pt x="214" y="311"/>
                        </a:cubicBezTo>
                        <a:cubicBezTo>
                          <a:pt x="214" y="311"/>
                          <a:pt x="183" y="326"/>
                          <a:pt x="168" y="327"/>
                        </a:cubicBezTo>
                        <a:cubicBezTo>
                          <a:pt x="154" y="328"/>
                          <a:pt x="140" y="319"/>
                          <a:pt x="140" y="319"/>
                        </a:cubicBezTo>
                        <a:cubicBezTo>
                          <a:pt x="127" y="328"/>
                          <a:pt x="127" y="328"/>
                          <a:pt x="127" y="328"/>
                        </a:cubicBezTo>
                        <a:cubicBezTo>
                          <a:pt x="118" y="326"/>
                          <a:pt x="118" y="326"/>
                          <a:pt x="118" y="326"/>
                        </a:cubicBezTo>
                        <a:cubicBezTo>
                          <a:pt x="118" y="326"/>
                          <a:pt x="103" y="338"/>
                          <a:pt x="104" y="343"/>
                        </a:cubicBezTo>
                        <a:cubicBezTo>
                          <a:pt x="106" y="348"/>
                          <a:pt x="112" y="362"/>
                          <a:pt x="104" y="359"/>
                        </a:cubicBezTo>
                        <a:cubicBezTo>
                          <a:pt x="96" y="356"/>
                          <a:pt x="91" y="348"/>
                          <a:pt x="88" y="342"/>
                        </a:cubicBezTo>
                        <a:cubicBezTo>
                          <a:pt x="86" y="335"/>
                          <a:pt x="83" y="335"/>
                          <a:pt x="83" y="335"/>
                        </a:cubicBezTo>
                        <a:cubicBezTo>
                          <a:pt x="83" y="335"/>
                          <a:pt x="74" y="344"/>
                          <a:pt x="67" y="344"/>
                        </a:cubicBezTo>
                        <a:cubicBezTo>
                          <a:pt x="60" y="344"/>
                          <a:pt x="38" y="358"/>
                          <a:pt x="38" y="358"/>
                        </a:cubicBezTo>
                        <a:cubicBezTo>
                          <a:pt x="42" y="390"/>
                          <a:pt x="42" y="390"/>
                          <a:pt x="42" y="390"/>
                        </a:cubicBezTo>
                        <a:cubicBezTo>
                          <a:pt x="38" y="387"/>
                          <a:pt x="38" y="387"/>
                          <a:pt x="38" y="387"/>
                        </a:cubicBezTo>
                        <a:cubicBezTo>
                          <a:pt x="43" y="408"/>
                          <a:pt x="43" y="408"/>
                          <a:pt x="43" y="408"/>
                        </a:cubicBezTo>
                        <a:cubicBezTo>
                          <a:pt x="30" y="423"/>
                          <a:pt x="30" y="423"/>
                          <a:pt x="30" y="423"/>
                        </a:cubicBezTo>
                        <a:cubicBezTo>
                          <a:pt x="31" y="442"/>
                          <a:pt x="31" y="442"/>
                          <a:pt x="31" y="442"/>
                        </a:cubicBezTo>
                        <a:cubicBezTo>
                          <a:pt x="22" y="446"/>
                          <a:pt x="22" y="446"/>
                          <a:pt x="22" y="446"/>
                        </a:cubicBezTo>
                        <a:cubicBezTo>
                          <a:pt x="34" y="458"/>
                          <a:pt x="34" y="458"/>
                          <a:pt x="34" y="458"/>
                        </a:cubicBezTo>
                        <a:cubicBezTo>
                          <a:pt x="34" y="458"/>
                          <a:pt x="72" y="471"/>
                          <a:pt x="76" y="480"/>
                        </a:cubicBezTo>
                        <a:cubicBezTo>
                          <a:pt x="80" y="490"/>
                          <a:pt x="83" y="494"/>
                          <a:pt x="83" y="494"/>
                        </a:cubicBezTo>
                        <a:cubicBezTo>
                          <a:pt x="72" y="498"/>
                          <a:pt x="72" y="498"/>
                          <a:pt x="72" y="498"/>
                        </a:cubicBezTo>
                        <a:cubicBezTo>
                          <a:pt x="72" y="514"/>
                          <a:pt x="72" y="514"/>
                          <a:pt x="72" y="514"/>
                        </a:cubicBezTo>
                        <a:cubicBezTo>
                          <a:pt x="88" y="508"/>
                          <a:pt x="88" y="508"/>
                          <a:pt x="88" y="508"/>
                        </a:cubicBezTo>
                        <a:cubicBezTo>
                          <a:pt x="90" y="538"/>
                          <a:pt x="90" y="538"/>
                          <a:pt x="90" y="538"/>
                        </a:cubicBezTo>
                        <a:cubicBezTo>
                          <a:pt x="78" y="543"/>
                          <a:pt x="78" y="543"/>
                          <a:pt x="78" y="543"/>
                        </a:cubicBezTo>
                        <a:cubicBezTo>
                          <a:pt x="78" y="543"/>
                          <a:pt x="72" y="555"/>
                          <a:pt x="79" y="563"/>
                        </a:cubicBezTo>
                        <a:cubicBezTo>
                          <a:pt x="79" y="568"/>
                          <a:pt x="67" y="578"/>
                          <a:pt x="67" y="578"/>
                        </a:cubicBezTo>
                        <a:cubicBezTo>
                          <a:pt x="67" y="588"/>
                          <a:pt x="67" y="588"/>
                          <a:pt x="67" y="588"/>
                        </a:cubicBezTo>
                        <a:cubicBezTo>
                          <a:pt x="58" y="588"/>
                          <a:pt x="58" y="588"/>
                          <a:pt x="58" y="588"/>
                        </a:cubicBezTo>
                        <a:cubicBezTo>
                          <a:pt x="38" y="614"/>
                          <a:pt x="38" y="614"/>
                          <a:pt x="38" y="614"/>
                        </a:cubicBezTo>
                        <a:cubicBezTo>
                          <a:pt x="38" y="632"/>
                          <a:pt x="38" y="632"/>
                          <a:pt x="38" y="632"/>
                        </a:cubicBezTo>
                        <a:cubicBezTo>
                          <a:pt x="22" y="634"/>
                          <a:pt x="22" y="634"/>
                          <a:pt x="22" y="634"/>
                        </a:cubicBezTo>
                        <a:cubicBezTo>
                          <a:pt x="0" y="699"/>
                          <a:pt x="0" y="699"/>
                          <a:pt x="0" y="699"/>
                        </a:cubicBezTo>
                        <a:cubicBezTo>
                          <a:pt x="0" y="699"/>
                          <a:pt x="1" y="701"/>
                          <a:pt x="1" y="705"/>
                        </a:cubicBezTo>
                        <a:cubicBezTo>
                          <a:pt x="24" y="689"/>
                          <a:pt x="48" y="712"/>
                          <a:pt x="48" y="712"/>
                        </a:cubicBezTo>
                        <a:cubicBezTo>
                          <a:pt x="53" y="712"/>
                          <a:pt x="53" y="712"/>
                          <a:pt x="53" y="712"/>
                        </a:cubicBezTo>
                        <a:cubicBezTo>
                          <a:pt x="79" y="748"/>
                          <a:pt x="79" y="748"/>
                          <a:pt x="79" y="748"/>
                        </a:cubicBezTo>
                        <a:cubicBezTo>
                          <a:pt x="119" y="746"/>
                          <a:pt x="119" y="746"/>
                          <a:pt x="119" y="746"/>
                        </a:cubicBezTo>
                        <a:cubicBezTo>
                          <a:pt x="129" y="735"/>
                          <a:pt x="129" y="735"/>
                          <a:pt x="129" y="735"/>
                        </a:cubicBezTo>
                        <a:cubicBezTo>
                          <a:pt x="129" y="735"/>
                          <a:pt x="153" y="752"/>
                          <a:pt x="162" y="757"/>
                        </a:cubicBezTo>
                        <a:cubicBezTo>
                          <a:pt x="170" y="733"/>
                          <a:pt x="192" y="748"/>
                          <a:pt x="192" y="748"/>
                        </a:cubicBezTo>
                        <a:cubicBezTo>
                          <a:pt x="192" y="748"/>
                          <a:pt x="239" y="752"/>
                          <a:pt x="245" y="753"/>
                        </a:cubicBezTo>
                        <a:cubicBezTo>
                          <a:pt x="251" y="754"/>
                          <a:pt x="245" y="741"/>
                          <a:pt x="245" y="741"/>
                        </a:cubicBezTo>
                        <a:cubicBezTo>
                          <a:pt x="234" y="718"/>
                          <a:pt x="253" y="691"/>
                          <a:pt x="253" y="691"/>
                        </a:cubicBezTo>
                        <a:cubicBezTo>
                          <a:pt x="253" y="691"/>
                          <a:pt x="302" y="721"/>
                          <a:pt x="321" y="721"/>
                        </a:cubicBezTo>
                        <a:cubicBezTo>
                          <a:pt x="340" y="721"/>
                          <a:pt x="364" y="744"/>
                          <a:pt x="364" y="744"/>
                        </a:cubicBezTo>
                        <a:cubicBezTo>
                          <a:pt x="398" y="728"/>
                          <a:pt x="420" y="779"/>
                          <a:pt x="421" y="782"/>
                        </a:cubicBezTo>
                        <a:cubicBezTo>
                          <a:pt x="442" y="756"/>
                          <a:pt x="467" y="782"/>
                          <a:pt x="467" y="782"/>
                        </a:cubicBezTo>
                        <a:cubicBezTo>
                          <a:pt x="479" y="774"/>
                          <a:pt x="479" y="774"/>
                          <a:pt x="479" y="774"/>
                        </a:cubicBezTo>
                        <a:cubicBezTo>
                          <a:pt x="479" y="774"/>
                          <a:pt x="488" y="786"/>
                          <a:pt x="491" y="794"/>
                        </a:cubicBezTo>
                        <a:cubicBezTo>
                          <a:pt x="492" y="791"/>
                          <a:pt x="492" y="791"/>
                          <a:pt x="492" y="791"/>
                        </a:cubicBezTo>
                        <a:cubicBezTo>
                          <a:pt x="516" y="792"/>
                          <a:pt x="516" y="792"/>
                          <a:pt x="516" y="792"/>
                        </a:cubicBezTo>
                        <a:cubicBezTo>
                          <a:pt x="523" y="783"/>
                          <a:pt x="523" y="783"/>
                          <a:pt x="523" y="783"/>
                        </a:cubicBezTo>
                        <a:cubicBezTo>
                          <a:pt x="544" y="778"/>
                          <a:pt x="544" y="778"/>
                          <a:pt x="544" y="778"/>
                        </a:cubicBezTo>
                        <a:cubicBezTo>
                          <a:pt x="542" y="766"/>
                          <a:pt x="542" y="766"/>
                          <a:pt x="542" y="766"/>
                        </a:cubicBezTo>
                        <a:cubicBezTo>
                          <a:pt x="586" y="764"/>
                          <a:pt x="586" y="764"/>
                          <a:pt x="586" y="764"/>
                        </a:cubicBezTo>
                        <a:cubicBezTo>
                          <a:pt x="586" y="764"/>
                          <a:pt x="588" y="758"/>
                          <a:pt x="567" y="736"/>
                        </a:cubicBezTo>
                        <a:cubicBezTo>
                          <a:pt x="514" y="740"/>
                          <a:pt x="528" y="720"/>
                          <a:pt x="528" y="720"/>
                        </a:cubicBezTo>
                        <a:cubicBezTo>
                          <a:pt x="519" y="716"/>
                          <a:pt x="519" y="716"/>
                          <a:pt x="519" y="716"/>
                        </a:cubicBezTo>
                        <a:cubicBezTo>
                          <a:pt x="520" y="702"/>
                          <a:pt x="520" y="702"/>
                          <a:pt x="520" y="702"/>
                        </a:cubicBezTo>
                        <a:cubicBezTo>
                          <a:pt x="520" y="702"/>
                          <a:pt x="543" y="696"/>
                          <a:pt x="543" y="692"/>
                        </a:cubicBezTo>
                        <a:cubicBezTo>
                          <a:pt x="543" y="688"/>
                          <a:pt x="546" y="678"/>
                          <a:pt x="546" y="678"/>
                        </a:cubicBezTo>
                        <a:cubicBezTo>
                          <a:pt x="530" y="674"/>
                          <a:pt x="530" y="674"/>
                          <a:pt x="530" y="674"/>
                        </a:cubicBezTo>
                        <a:cubicBezTo>
                          <a:pt x="544" y="667"/>
                          <a:pt x="544" y="667"/>
                          <a:pt x="544" y="667"/>
                        </a:cubicBezTo>
                        <a:cubicBezTo>
                          <a:pt x="544" y="667"/>
                          <a:pt x="528" y="640"/>
                          <a:pt x="534" y="635"/>
                        </a:cubicBezTo>
                        <a:cubicBezTo>
                          <a:pt x="539" y="630"/>
                          <a:pt x="530" y="614"/>
                          <a:pt x="530" y="614"/>
                        </a:cubicBezTo>
                        <a:cubicBezTo>
                          <a:pt x="480" y="595"/>
                          <a:pt x="480" y="595"/>
                          <a:pt x="480" y="595"/>
                        </a:cubicBezTo>
                        <a:cubicBezTo>
                          <a:pt x="480" y="595"/>
                          <a:pt x="478" y="576"/>
                          <a:pt x="484" y="576"/>
                        </a:cubicBezTo>
                        <a:cubicBezTo>
                          <a:pt x="466" y="554"/>
                          <a:pt x="500" y="548"/>
                          <a:pt x="503" y="543"/>
                        </a:cubicBezTo>
                        <a:cubicBezTo>
                          <a:pt x="503" y="518"/>
                          <a:pt x="515" y="510"/>
                          <a:pt x="515" y="510"/>
                        </a:cubicBezTo>
                        <a:cubicBezTo>
                          <a:pt x="528" y="531"/>
                          <a:pt x="528" y="531"/>
                          <a:pt x="528" y="531"/>
                        </a:cubicBezTo>
                        <a:cubicBezTo>
                          <a:pt x="534" y="518"/>
                          <a:pt x="534" y="518"/>
                          <a:pt x="534" y="518"/>
                        </a:cubicBezTo>
                        <a:cubicBezTo>
                          <a:pt x="562" y="519"/>
                          <a:pt x="562" y="519"/>
                          <a:pt x="562" y="519"/>
                        </a:cubicBezTo>
                        <a:cubicBezTo>
                          <a:pt x="562" y="519"/>
                          <a:pt x="563" y="530"/>
                          <a:pt x="568" y="528"/>
                        </a:cubicBezTo>
                        <a:cubicBezTo>
                          <a:pt x="574" y="527"/>
                          <a:pt x="596" y="532"/>
                          <a:pt x="596" y="532"/>
                        </a:cubicBezTo>
                        <a:cubicBezTo>
                          <a:pt x="596" y="499"/>
                          <a:pt x="639" y="522"/>
                          <a:pt x="639" y="522"/>
                        </a:cubicBezTo>
                        <a:cubicBezTo>
                          <a:pt x="639" y="522"/>
                          <a:pt x="631" y="510"/>
                          <a:pt x="664" y="515"/>
                        </a:cubicBezTo>
                        <a:cubicBezTo>
                          <a:pt x="698" y="520"/>
                          <a:pt x="698" y="492"/>
                          <a:pt x="707" y="487"/>
                        </a:cubicBezTo>
                        <a:cubicBezTo>
                          <a:pt x="668" y="448"/>
                          <a:pt x="719" y="450"/>
                          <a:pt x="719" y="450"/>
                        </a:cubicBezTo>
                        <a:cubicBezTo>
                          <a:pt x="719" y="450"/>
                          <a:pt x="742" y="450"/>
                          <a:pt x="763" y="440"/>
                        </a:cubicBezTo>
                        <a:cubicBezTo>
                          <a:pt x="772" y="422"/>
                          <a:pt x="794" y="428"/>
                          <a:pt x="794" y="428"/>
                        </a:cubicBezTo>
                        <a:cubicBezTo>
                          <a:pt x="795" y="388"/>
                          <a:pt x="795" y="388"/>
                          <a:pt x="795" y="388"/>
                        </a:cubicBezTo>
                        <a:cubicBezTo>
                          <a:pt x="839" y="387"/>
                          <a:pt x="839" y="387"/>
                          <a:pt x="839" y="387"/>
                        </a:cubicBezTo>
                        <a:cubicBezTo>
                          <a:pt x="839" y="370"/>
                          <a:pt x="839" y="370"/>
                          <a:pt x="839" y="370"/>
                        </a:cubicBezTo>
                        <a:cubicBezTo>
                          <a:pt x="860" y="368"/>
                          <a:pt x="860" y="368"/>
                          <a:pt x="860" y="368"/>
                        </a:cubicBezTo>
                        <a:cubicBezTo>
                          <a:pt x="863" y="351"/>
                          <a:pt x="863" y="351"/>
                          <a:pt x="863" y="351"/>
                        </a:cubicBezTo>
                        <a:cubicBezTo>
                          <a:pt x="884" y="326"/>
                          <a:pt x="884" y="326"/>
                          <a:pt x="884" y="326"/>
                        </a:cubicBezTo>
                        <a:lnTo>
                          <a:pt x="871" y="318"/>
                        </a:ln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63" name="Aquitaine" descr="© INSCALE GmbH, 05.05.2010&#10;http://www.presentationload.com/">
                    <a:extLst>
                      <a:ext uri="{FF2B5EF4-FFF2-40B4-BE49-F238E27FC236}">
                        <a16:creationId xmlns:a16="http://schemas.microsoft.com/office/drawing/2014/main" id="{4D175247-6B1A-42AF-81B8-63CADC94B4AD}"/>
                      </a:ext>
                    </a:extLst>
                  </p:cNvPr>
                  <p:cNvSpPr>
                    <a:spLocks/>
                  </p:cNvSpPr>
                  <p:nvPr/>
                </p:nvSpPr>
                <p:spPr bwMode="gray">
                  <a:xfrm>
                    <a:off x="758" y="1992"/>
                    <a:ext cx="793" cy="1021"/>
                  </a:xfrm>
                  <a:custGeom>
                    <a:avLst/>
                    <a:gdLst/>
                    <a:ahLst/>
                    <a:cxnLst>
                      <a:cxn ang="0">
                        <a:pos x="347" y="849"/>
                      </a:cxn>
                      <a:cxn ang="0">
                        <a:pos x="376" y="813"/>
                      </a:cxn>
                      <a:cxn ang="0">
                        <a:pos x="399" y="773"/>
                      </a:cxn>
                      <a:cxn ang="0">
                        <a:pos x="381" y="733"/>
                      </a:cxn>
                      <a:cxn ang="0">
                        <a:pos x="343" y="693"/>
                      </a:cxn>
                      <a:cxn ang="0">
                        <a:pos x="339" y="658"/>
                      </a:cxn>
                      <a:cxn ang="0">
                        <a:pos x="351" y="625"/>
                      </a:cxn>
                      <a:cxn ang="0">
                        <a:pos x="392" y="570"/>
                      </a:cxn>
                      <a:cxn ang="0">
                        <a:pos x="413" y="578"/>
                      </a:cxn>
                      <a:cxn ang="0">
                        <a:pos x="449" y="554"/>
                      </a:cxn>
                      <a:cxn ang="0">
                        <a:pos x="536" y="541"/>
                      </a:cxn>
                      <a:cxn ang="0">
                        <a:pos x="605" y="522"/>
                      </a:cxn>
                      <a:cxn ang="0">
                        <a:pos x="600" y="469"/>
                      </a:cxn>
                      <a:cxn ang="0">
                        <a:pos x="636" y="425"/>
                      </a:cxn>
                      <a:cxn ang="0">
                        <a:pos x="672" y="353"/>
                      </a:cxn>
                      <a:cxn ang="0">
                        <a:pos x="699" y="310"/>
                      </a:cxn>
                      <a:cxn ang="0">
                        <a:pos x="733" y="289"/>
                      </a:cxn>
                      <a:cxn ang="0">
                        <a:pos x="729" y="243"/>
                      </a:cxn>
                      <a:cxn ang="0">
                        <a:pos x="727" y="207"/>
                      </a:cxn>
                      <a:cxn ang="0">
                        <a:pos x="692" y="183"/>
                      </a:cxn>
                      <a:cxn ang="0">
                        <a:pos x="691" y="150"/>
                      </a:cxn>
                      <a:cxn ang="0">
                        <a:pos x="700" y="117"/>
                      </a:cxn>
                      <a:cxn ang="0">
                        <a:pos x="655" y="74"/>
                      </a:cxn>
                      <a:cxn ang="0">
                        <a:pos x="589" y="58"/>
                      </a:cxn>
                      <a:cxn ang="0">
                        <a:pos x="540" y="43"/>
                      </a:cxn>
                      <a:cxn ang="0">
                        <a:pos x="519" y="74"/>
                      </a:cxn>
                      <a:cxn ang="0">
                        <a:pos x="464" y="147"/>
                      </a:cxn>
                      <a:cxn ang="0">
                        <a:pos x="407" y="202"/>
                      </a:cxn>
                      <a:cxn ang="0">
                        <a:pos x="319" y="169"/>
                      </a:cxn>
                      <a:cxn ang="0">
                        <a:pos x="265" y="131"/>
                      </a:cxn>
                      <a:cxn ang="0">
                        <a:pos x="279" y="178"/>
                      </a:cxn>
                      <a:cxn ang="0">
                        <a:pos x="239" y="76"/>
                      </a:cxn>
                      <a:cxn ang="0">
                        <a:pos x="185" y="0"/>
                      </a:cxn>
                      <a:cxn ang="0">
                        <a:pos x="133" y="309"/>
                      </a:cxn>
                      <a:cxn ang="0">
                        <a:pos x="147" y="302"/>
                      </a:cxn>
                      <a:cxn ang="0">
                        <a:pos x="23" y="730"/>
                      </a:cxn>
                      <a:cxn ang="0">
                        <a:pos x="34" y="764"/>
                      </a:cxn>
                      <a:cxn ang="0">
                        <a:pos x="86" y="787"/>
                      </a:cxn>
                      <a:cxn ang="0">
                        <a:pos x="110" y="831"/>
                      </a:cxn>
                      <a:cxn ang="0">
                        <a:pos x="142" y="869"/>
                      </a:cxn>
                      <a:cxn ang="0">
                        <a:pos x="228" y="882"/>
                      </a:cxn>
                      <a:cxn ang="0">
                        <a:pos x="293" y="943"/>
                      </a:cxn>
                      <a:cxn ang="0">
                        <a:pos x="309" y="934"/>
                      </a:cxn>
                    </a:cxnLst>
                    <a:rect l="0" t="0" r="r" b="b"/>
                    <a:pathLst>
                      <a:path w="735" h="946">
                        <a:moveTo>
                          <a:pt x="331" y="869"/>
                        </a:moveTo>
                        <a:cubicBezTo>
                          <a:pt x="347" y="867"/>
                          <a:pt x="347" y="867"/>
                          <a:pt x="347" y="867"/>
                        </a:cubicBezTo>
                        <a:cubicBezTo>
                          <a:pt x="347" y="849"/>
                          <a:pt x="347" y="849"/>
                          <a:pt x="347" y="849"/>
                        </a:cubicBezTo>
                        <a:cubicBezTo>
                          <a:pt x="367" y="823"/>
                          <a:pt x="367" y="823"/>
                          <a:pt x="367" y="823"/>
                        </a:cubicBezTo>
                        <a:cubicBezTo>
                          <a:pt x="376" y="823"/>
                          <a:pt x="376" y="823"/>
                          <a:pt x="376" y="823"/>
                        </a:cubicBezTo>
                        <a:cubicBezTo>
                          <a:pt x="376" y="813"/>
                          <a:pt x="376" y="813"/>
                          <a:pt x="376" y="813"/>
                        </a:cubicBezTo>
                        <a:cubicBezTo>
                          <a:pt x="376" y="813"/>
                          <a:pt x="388" y="803"/>
                          <a:pt x="388" y="798"/>
                        </a:cubicBezTo>
                        <a:cubicBezTo>
                          <a:pt x="381" y="790"/>
                          <a:pt x="387" y="778"/>
                          <a:pt x="387" y="778"/>
                        </a:cubicBezTo>
                        <a:cubicBezTo>
                          <a:pt x="399" y="773"/>
                          <a:pt x="399" y="773"/>
                          <a:pt x="399" y="773"/>
                        </a:cubicBezTo>
                        <a:cubicBezTo>
                          <a:pt x="397" y="743"/>
                          <a:pt x="397" y="743"/>
                          <a:pt x="397" y="743"/>
                        </a:cubicBezTo>
                        <a:cubicBezTo>
                          <a:pt x="381" y="749"/>
                          <a:pt x="381" y="749"/>
                          <a:pt x="381" y="749"/>
                        </a:cubicBezTo>
                        <a:cubicBezTo>
                          <a:pt x="381" y="733"/>
                          <a:pt x="381" y="733"/>
                          <a:pt x="381" y="733"/>
                        </a:cubicBezTo>
                        <a:cubicBezTo>
                          <a:pt x="392" y="729"/>
                          <a:pt x="392" y="729"/>
                          <a:pt x="392" y="729"/>
                        </a:cubicBezTo>
                        <a:cubicBezTo>
                          <a:pt x="392" y="729"/>
                          <a:pt x="389" y="725"/>
                          <a:pt x="385" y="715"/>
                        </a:cubicBezTo>
                        <a:cubicBezTo>
                          <a:pt x="381" y="706"/>
                          <a:pt x="343" y="693"/>
                          <a:pt x="343" y="693"/>
                        </a:cubicBezTo>
                        <a:cubicBezTo>
                          <a:pt x="331" y="681"/>
                          <a:pt x="331" y="681"/>
                          <a:pt x="331" y="681"/>
                        </a:cubicBezTo>
                        <a:cubicBezTo>
                          <a:pt x="340" y="677"/>
                          <a:pt x="340" y="677"/>
                          <a:pt x="340" y="677"/>
                        </a:cubicBezTo>
                        <a:cubicBezTo>
                          <a:pt x="339" y="658"/>
                          <a:pt x="339" y="658"/>
                          <a:pt x="339" y="658"/>
                        </a:cubicBezTo>
                        <a:cubicBezTo>
                          <a:pt x="352" y="643"/>
                          <a:pt x="352" y="643"/>
                          <a:pt x="352" y="643"/>
                        </a:cubicBezTo>
                        <a:cubicBezTo>
                          <a:pt x="347" y="622"/>
                          <a:pt x="347" y="622"/>
                          <a:pt x="347" y="622"/>
                        </a:cubicBezTo>
                        <a:cubicBezTo>
                          <a:pt x="351" y="625"/>
                          <a:pt x="351" y="625"/>
                          <a:pt x="351" y="625"/>
                        </a:cubicBezTo>
                        <a:cubicBezTo>
                          <a:pt x="347" y="593"/>
                          <a:pt x="347" y="593"/>
                          <a:pt x="347" y="593"/>
                        </a:cubicBezTo>
                        <a:cubicBezTo>
                          <a:pt x="347" y="593"/>
                          <a:pt x="369" y="579"/>
                          <a:pt x="376" y="579"/>
                        </a:cubicBezTo>
                        <a:cubicBezTo>
                          <a:pt x="383" y="579"/>
                          <a:pt x="392" y="570"/>
                          <a:pt x="392" y="570"/>
                        </a:cubicBezTo>
                        <a:cubicBezTo>
                          <a:pt x="392" y="570"/>
                          <a:pt x="395" y="570"/>
                          <a:pt x="397" y="577"/>
                        </a:cubicBezTo>
                        <a:cubicBezTo>
                          <a:pt x="400" y="583"/>
                          <a:pt x="405" y="591"/>
                          <a:pt x="413" y="594"/>
                        </a:cubicBezTo>
                        <a:cubicBezTo>
                          <a:pt x="421" y="597"/>
                          <a:pt x="415" y="583"/>
                          <a:pt x="413" y="578"/>
                        </a:cubicBezTo>
                        <a:cubicBezTo>
                          <a:pt x="412" y="573"/>
                          <a:pt x="427" y="561"/>
                          <a:pt x="427" y="561"/>
                        </a:cubicBezTo>
                        <a:cubicBezTo>
                          <a:pt x="436" y="563"/>
                          <a:pt x="436" y="563"/>
                          <a:pt x="436" y="563"/>
                        </a:cubicBezTo>
                        <a:cubicBezTo>
                          <a:pt x="449" y="554"/>
                          <a:pt x="449" y="554"/>
                          <a:pt x="449" y="554"/>
                        </a:cubicBezTo>
                        <a:cubicBezTo>
                          <a:pt x="449" y="554"/>
                          <a:pt x="463" y="563"/>
                          <a:pt x="477" y="562"/>
                        </a:cubicBezTo>
                        <a:cubicBezTo>
                          <a:pt x="492" y="561"/>
                          <a:pt x="523" y="546"/>
                          <a:pt x="523" y="546"/>
                        </a:cubicBezTo>
                        <a:cubicBezTo>
                          <a:pt x="536" y="541"/>
                          <a:pt x="536" y="541"/>
                          <a:pt x="536" y="541"/>
                        </a:cubicBezTo>
                        <a:cubicBezTo>
                          <a:pt x="536" y="541"/>
                          <a:pt x="541" y="557"/>
                          <a:pt x="556" y="557"/>
                        </a:cubicBezTo>
                        <a:cubicBezTo>
                          <a:pt x="571" y="557"/>
                          <a:pt x="583" y="521"/>
                          <a:pt x="583" y="521"/>
                        </a:cubicBezTo>
                        <a:cubicBezTo>
                          <a:pt x="605" y="522"/>
                          <a:pt x="605" y="522"/>
                          <a:pt x="605" y="522"/>
                        </a:cubicBezTo>
                        <a:cubicBezTo>
                          <a:pt x="600" y="505"/>
                          <a:pt x="600" y="505"/>
                          <a:pt x="600" y="505"/>
                        </a:cubicBezTo>
                        <a:cubicBezTo>
                          <a:pt x="617" y="481"/>
                          <a:pt x="617" y="481"/>
                          <a:pt x="617" y="481"/>
                        </a:cubicBezTo>
                        <a:cubicBezTo>
                          <a:pt x="600" y="469"/>
                          <a:pt x="600" y="469"/>
                          <a:pt x="600" y="469"/>
                        </a:cubicBezTo>
                        <a:cubicBezTo>
                          <a:pt x="600" y="469"/>
                          <a:pt x="603" y="445"/>
                          <a:pt x="621" y="451"/>
                        </a:cubicBezTo>
                        <a:cubicBezTo>
                          <a:pt x="640" y="458"/>
                          <a:pt x="643" y="433"/>
                          <a:pt x="643" y="433"/>
                        </a:cubicBezTo>
                        <a:cubicBezTo>
                          <a:pt x="643" y="433"/>
                          <a:pt x="636" y="429"/>
                          <a:pt x="636" y="425"/>
                        </a:cubicBezTo>
                        <a:cubicBezTo>
                          <a:pt x="636" y="421"/>
                          <a:pt x="625" y="391"/>
                          <a:pt x="625" y="391"/>
                        </a:cubicBezTo>
                        <a:cubicBezTo>
                          <a:pt x="653" y="382"/>
                          <a:pt x="653" y="382"/>
                          <a:pt x="653" y="382"/>
                        </a:cubicBezTo>
                        <a:cubicBezTo>
                          <a:pt x="672" y="353"/>
                          <a:pt x="672" y="353"/>
                          <a:pt x="672" y="353"/>
                        </a:cubicBezTo>
                        <a:cubicBezTo>
                          <a:pt x="693" y="347"/>
                          <a:pt x="693" y="347"/>
                          <a:pt x="693" y="347"/>
                        </a:cubicBezTo>
                        <a:cubicBezTo>
                          <a:pt x="707" y="327"/>
                          <a:pt x="707" y="327"/>
                          <a:pt x="707" y="327"/>
                        </a:cubicBezTo>
                        <a:cubicBezTo>
                          <a:pt x="699" y="310"/>
                          <a:pt x="699" y="310"/>
                          <a:pt x="699" y="310"/>
                        </a:cubicBezTo>
                        <a:cubicBezTo>
                          <a:pt x="715" y="309"/>
                          <a:pt x="715" y="309"/>
                          <a:pt x="715" y="309"/>
                        </a:cubicBezTo>
                        <a:cubicBezTo>
                          <a:pt x="716" y="295"/>
                          <a:pt x="716" y="295"/>
                          <a:pt x="716" y="295"/>
                        </a:cubicBezTo>
                        <a:cubicBezTo>
                          <a:pt x="733" y="289"/>
                          <a:pt x="733" y="289"/>
                          <a:pt x="733" y="289"/>
                        </a:cubicBezTo>
                        <a:cubicBezTo>
                          <a:pt x="728" y="279"/>
                          <a:pt x="728" y="279"/>
                          <a:pt x="728" y="279"/>
                        </a:cubicBezTo>
                        <a:cubicBezTo>
                          <a:pt x="735" y="274"/>
                          <a:pt x="735" y="274"/>
                          <a:pt x="735" y="274"/>
                        </a:cubicBezTo>
                        <a:cubicBezTo>
                          <a:pt x="729" y="243"/>
                          <a:pt x="729" y="243"/>
                          <a:pt x="729" y="243"/>
                        </a:cubicBezTo>
                        <a:cubicBezTo>
                          <a:pt x="732" y="239"/>
                          <a:pt x="732" y="239"/>
                          <a:pt x="732" y="239"/>
                        </a:cubicBezTo>
                        <a:cubicBezTo>
                          <a:pt x="721" y="217"/>
                          <a:pt x="721" y="217"/>
                          <a:pt x="721" y="217"/>
                        </a:cubicBezTo>
                        <a:cubicBezTo>
                          <a:pt x="727" y="207"/>
                          <a:pt x="727" y="207"/>
                          <a:pt x="727" y="207"/>
                        </a:cubicBezTo>
                        <a:cubicBezTo>
                          <a:pt x="696" y="195"/>
                          <a:pt x="696" y="195"/>
                          <a:pt x="696" y="195"/>
                        </a:cubicBezTo>
                        <a:cubicBezTo>
                          <a:pt x="700" y="185"/>
                          <a:pt x="700" y="185"/>
                          <a:pt x="700" y="185"/>
                        </a:cubicBezTo>
                        <a:cubicBezTo>
                          <a:pt x="692" y="183"/>
                          <a:pt x="692" y="183"/>
                          <a:pt x="692" y="183"/>
                        </a:cubicBezTo>
                        <a:cubicBezTo>
                          <a:pt x="699" y="167"/>
                          <a:pt x="699" y="167"/>
                          <a:pt x="699" y="167"/>
                        </a:cubicBezTo>
                        <a:cubicBezTo>
                          <a:pt x="691" y="161"/>
                          <a:pt x="691" y="161"/>
                          <a:pt x="691" y="161"/>
                        </a:cubicBezTo>
                        <a:cubicBezTo>
                          <a:pt x="691" y="150"/>
                          <a:pt x="691" y="150"/>
                          <a:pt x="691" y="150"/>
                        </a:cubicBezTo>
                        <a:cubicBezTo>
                          <a:pt x="691" y="150"/>
                          <a:pt x="707" y="135"/>
                          <a:pt x="707" y="129"/>
                        </a:cubicBezTo>
                        <a:cubicBezTo>
                          <a:pt x="707" y="122"/>
                          <a:pt x="693" y="118"/>
                          <a:pt x="693" y="118"/>
                        </a:cubicBezTo>
                        <a:cubicBezTo>
                          <a:pt x="700" y="117"/>
                          <a:pt x="700" y="117"/>
                          <a:pt x="700" y="117"/>
                        </a:cubicBezTo>
                        <a:cubicBezTo>
                          <a:pt x="668" y="95"/>
                          <a:pt x="668" y="95"/>
                          <a:pt x="668" y="95"/>
                        </a:cubicBezTo>
                        <a:cubicBezTo>
                          <a:pt x="673" y="75"/>
                          <a:pt x="673" y="75"/>
                          <a:pt x="673" y="75"/>
                        </a:cubicBezTo>
                        <a:cubicBezTo>
                          <a:pt x="673" y="75"/>
                          <a:pt x="661" y="74"/>
                          <a:pt x="655" y="74"/>
                        </a:cubicBezTo>
                        <a:cubicBezTo>
                          <a:pt x="648" y="74"/>
                          <a:pt x="643" y="51"/>
                          <a:pt x="643" y="51"/>
                        </a:cubicBezTo>
                        <a:cubicBezTo>
                          <a:pt x="608" y="47"/>
                          <a:pt x="608" y="47"/>
                          <a:pt x="608" y="47"/>
                        </a:cubicBezTo>
                        <a:cubicBezTo>
                          <a:pt x="608" y="47"/>
                          <a:pt x="596" y="62"/>
                          <a:pt x="589" y="58"/>
                        </a:cubicBezTo>
                        <a:cubicBezTo>
                          <a:pt x="583" y="54"/>
                          <a:pt x="589" y="30"/>
                          <a:pt x="589" y="30"/>
                        </a:cubicBezTo>
                        <a:cubicBezTo>
                          <a:pt x="589" y="30"/>
                          <a:pt x="576" y="24"/>
                          <a:pt x="558" y="21"/>
                        </a:cubicBezTo>
                        <a:cubicBezTo>
                          <a:pt x="540" y="43"/>
                          <a:pt x="540" y="43"/>
                          <a:pt x="540" y="43"/>
                        </a:cubicBezTo>
                        <a:cubicBezTo>
                          <a:pt x="540" y="43"/>
                          <a:pt x="529" y="45"/>
                          <a:pt x="525" y="45"/>
                        </a:cubicBezTo>
                        <a:cubicBezTo>
                          <a:pt x="521" y="45"/>
                          <a:pt x="531" y="73"/>
                          <a:pt x="531" y="73"/>
                        </a:cubicBezTo>
                        <a:cubicBezTo>
                          <a:pt x="519" y="74"/>
                          <a:pt x="519" y="74"/>
                          <a:pt x="519" y="74"/>
                        </a:cubicBezTo>
                        <a:cubicBezTo>
                          <a:pt x="519" y="74"/>
                          <a:pt x="515" y="73"/>
                          <a:pt x="511" y="87"/>
                        </a:cubicBezTo>
                        <a:cubicBezTo>
                          <a:pt x="459" y="94"/>
                          <a:pt x="471" y="147"/>
                          <a:pt x="471" y="147"/>
                        </a:cubicBezTo>
                        <a:cubicBezTo>
                          <a:pt x="464" y="147"/>
                          <a:pt x="464" y="147"/>
                          <a:pt x="464" y="147"/>
                        </a:cubicBezTo>
                        <a:cubicBezTo>
                          <a:pt x="464" y="147"/>
                          <a:pt x="445" y="175"/>
                          <a:pt x="441" y="175"/>
                        </a:cubicBezTo>
                        <a:cubicBezTo>
                          <a:pt x="437" y="175"/>
                          <a:pt x="429" y="166"/>
                          <a:pt x="429" y="166"/>
                        </a:cubicBezTo>
                        <a:cubicBezTo>
                          <a:pt x="429" y="166"/>
                          <a:pt x="413" y="189"/>
                          <a:pt x="407" y="202"/>
                        </a:cubicBezTo>
                        <a:cubicBezTo>
                          <a:pt x="400" y="215"/>
                          <a:pt x="367" y="213"/>
                          <a:pt x="349" y="195"/>
                        </a:cubicBezTo>
                        <a:cubicBezTo>
                          <a:pt x="332" y="178"/>
                          <a:pt x="324" y="193"/>
                          <a:pt x="324" y="193"/>
                        </a:cubicBezTo>
                        <a:cubicBezTo>
                          <a:pt x="324" y="193"/>
                          <a:pt x="324" y="187"/>
                          <a:pt x="319" y="169"/>
                        </a:cubicBezTo>
                        <a:cubicBezTo>
                          <a:pt x="325" y="154"/>
                          <a:pt x="285" y="143"/>
                          <a:pt x="285" y="143"/>
                        </a:cubicBezTo>
                        <a:cubicBezTo>
                          <a:pt x="279" y="130"/>
                          <a:pt x="279" y="130"/>
                          <a:pt x="279" y="130"/>
                        </a:cubicBezTo>
                        <a:cubicBezTo>
                          <a:pt x="265" y="131"/>
                          <a:pt x="265" y="131"/>
                          <a:pt x="265" y="131"/>
                        </a:cubicBezTo>
                        <a:cubicBezTo>
                          <a:pt x="267" y="136"/>
                          <a:pt x="270" y="143"/>
                          <a:pt x="272" y="153"/>
                        </a:cubicBezTo>
                        <a:cubicBezTo>
                          <a:pt x="276" y="171"/>
                          <a:pt x="290" y="171"/>
                          <a:pt x="290" y="171"/>
                        </a:cubicBezTo>
                        <a:cubicBezTo>
                          <a:pt x="279" y="178"/>
                          <a:pt x="279" y="178"/>
                          <a:pt x="279" y="178"/>
                        </a:cubicBezTo>
                        <a:cubicBezTo>
                          <a:pt x="279" y="178"/>
                          <a:pt x="262" y="147"/>
                          <a:pt x="258" y="143"/>
                        </a:cubicBezTo>
                        <a:cubicBezTo>
                          <a:pt x="254" y="140"/>
                          <a:pt x="250" y="104"/>
                          <a:pt x="242" y="83"/>
                        </a:cubicBezTo>
                        <a:cubicBezTo>
                          <a:pt x="239" y="76"/>
                          <a:pt x="239" y="76"/>
                          <a:pt x="239" y="76"/>
                        </a:cubicBezTo>
                        <a:cubicBezTo>
                          <a:pt x="239" y="75"/>
                          <a:pt x="239" y="75"/>
                          <a:pt x="239" y="75"/>
                        </a:cubicBezTo>
                        <a:cubicBezTo>
                          <a:pt x="229" y="55"/>
                          <a:pt x="184" y="19"/>
                          <a:pt x="184" y="19"/>
                        </a:cubicBezTo>
                        <a:cubicBezTo>
                          <a:pt x="185" y="0"/>
                          <a:pt x="185" y="0"/>
                          <a:pt x="185" y="0"/>
                        </a:cubicBezTo>
                        <a:cubicBezTo>
                          <a:pt x="162" y="28"/>
                          <a:pt x="162" y="28"/>
                          <a:pt x="162" y="28"/>
                        </a:cubicBezTo>
                        <a:cubicBezTo>
                          <a:pt x="162" y="28"/>
                          <a:pt x="164" y="82"/>
                          <a:pt x="159" y="107"/>
                        </a:cubicBezTo>
                        <a:cubicBezTo>
                          <a:pt x="155" y="130"/>
                          <a:pt x="136" y="279"/>
                          <a:pt x="133" y="309"/>
                        </a:cubicBezTo>
                        <a:cubicBezTo>
                          <a:pt x="136" y="291"/>
                          <a:pt x="155" y="262"/>
                          <a:pt x="155" y="262"/>
                        </a:cubicBezTo>
                        <a:cubicBezTo>
                          <a:pt x="155" y="262"/>
                          <a:pt x="187" y="292"/>
                          <a:pt x="180" y="304"/>
                        </a:cubicBezTo>
                        <a:cubicBezTo>
                          <a:pt x="173" y="316"/>
                          <a:pt x="147" y="302"/>
                          <a:pt x="147" y="302"/>
                        </a:cubicBezTo>
                        <a:cubicBezTo>
                          <a:pt x="145" y="322"/>
                          <a:pt x="131" y="339"/>
                          <a:pt x="131" y="339"/>
                        </a:cubicBezTo>
                        <a:cubicBezTo>
                          <a:pt x="131" y="339"/>
                          <a:pt x="115" y="435"/>
                          <a:pt x="93" y="567"/>
                        </a:cubicBezTo>
                        <a:cubicBezTo>
                          <a:pt x="71" y="699"/>
                          <a:pt x="23" y="730"/>
                          <a:pt x="23" y="730"/>
                        </a:cubicBezTo>
                        <a:cubicBezTo>
                          <a:pt x="0" y="733"/>
                          <a:pt x="0" y="733"/>
                          <a:pt x="0" y="733"/>
                        </a:cubicBezTo>
                        <a:cubicBezTo>
                          <a:pt x="13" y="763"/>
                          <a:pt x="13" y="763"/>
                          <a:pt x="13" y="763"/>
                        </a:cubicBezTo>
                        <a:cubicBezTo>
                          <a:pt x="34" y="764"/>
                          <a:pt x="34" y="764"/>
                          <a:pt x="34" y="764"/>
                        </a:cubicBezTo>
                        <a:cubicBezTo>
                          <a:pt x="34" y="764"/>
                          <a:pt x="37" y="773"/>
                          <a:pt x="42" y="779"/>
                        </a:cubicBezTo>
                        <a:cubicBezTo>
                          <a:pt x="47" y="785"/>
                          <a:pt x="48" y="774"/>
                          <a:pt x="56" y="771"/>
                        </a:cubicBezTo>
                        <a:cubicBezTo>
                          <a:pt x="64" y="768"/>
                          <a:pt x="74" y="776"/>
                          <a:pt x="86" y="787"/>
                        </a:cubicBezTo>
                        <a:cubicBezTo>
                          <a:pt x="98" y="798"/>
                          <a:pt x="71" y="830"/>
                          <a:pt x="69" y="843"/>
                        </a:cubicBezTo>
                        <a:cubicBezTo>
                          <a:pt x="67" y="856"/>
                          <a:pt x="92" y="859"/>
                          <a:pt x="92" y="859"/>
                        </a:cubicBezTo>
                        <a:cubicBezTo>
                          <a:pt x="92" y="859"/>
                          <a:pt x="100" y="831"/>
                          <a:pt x="110" y="831"/>
                        </a:cubicBezTo>
                        <a:cubicBezTo>
                          <a:pt x="120" y="831"/>
                          <a:pt x="107" y="846"/>
                          <a:pt x="107" y="846"/>
                        </a:cubicBezTo>
                        <a:cubicBezTo>
                          <a:pt x="136" y="857"/>
                          <a:pt x="136" y="857"/>
                          <a:pt x="136" y="857"/>
                        </a:cubicBezTo>
                        <a:cubicBezTo>
                          <a:pt x="142" y="869"/>
                          <a:pt x="142" y="869"/>
                          <a:pt x="142" y="869"/>
                        </a:cubicBezTo>
                        <a:cubicBezTo>
                          <a:pt x="149" y="864"/>
                          <a:pt x="149" y="864"/>
                          <a:pt x="149" y="864"/>
                        </a:cubicBezTo>
                        <a:cubicBezTo>
                          <a:pt x="182" y="884"/>
                          <a:pt x="182" y="884"/>
                          <a:pt x="182" y="884"/>
                        </a:cubicBezTo>
                        <a:cubicBezTo>
                          <a:pt x="228" y="882"/>
                          <a:pt x="228" y="882"/>
                          <a:pt x="228" y="882"/>
                        </a:cubicBezTo>
                        <a:cubicBezTo>
                          <a:pt x="228" y="882"/>
                          <a:pt x="230" y="909"/>
                          <a:pt x="239" y="912"/>
                        </a:cubicBezTo>
                        <a:cubicBezTo>
                          <a:pt x="248" y="915"/>
                          <a:pt x="277" y="946"/>
                          <a:pt x="277" y="946"/>
                        </a:cubicBezTo>
                        <a:cubicBezTo>
                          <a:pt x="293" y="936"/>
                          <a:pt x="293" y="943"/>
                          <a:pt x="293" y="943"/>
                        </a:cubicBezTo>
                        <a:cubicBezTo>
                          <a:pt x="293" y="943"/>
                          <a:pt x="309" y="946"/>
                          <a:pt x="306" y="942"/>
                        </a:cubicBezTo>
                        <a:cubicBezTo>
                          <a:pt x="307" y="941"/>
                          <a:pt x="308" y="940"/>
                          <a:pt x="310" y="940"/>
                        </a:cubicBezTo>
                        <a:cubicBezTo>
                          <a:pt x="310" y="936"/>
                          <a:pt x="309" y="934"/>
                          <a:pt x="309" y="934"/>
                        </a:cubicBezTo>
                        <a:lnTo>
                          <a:pt x="331" y="869"/>
                        </a:lnTo>
                        <a:close/>
                      </a:path>
                    </a:pathLst>
                  </a:custGeom>
                  <a:grp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sp>
                <p:nvSpPr>
                  <p:cNvPr id="175" name="Rhône-Alpes" descr="© INSCALE GmbH, 05.05.2010&#10;http://www.presentationload.com/">
                    <a:extLst>
                      <a:ext uri="{FF2B5EF4-FFF2-40B4-BE49-F238E27FC236}">
                        <a16:creationId xmlns:a16="http://schemas.microsoft.com/office/drawing/2014/main" id="{B374F288-65D9-489F-9772-4C195204ACA5}"/>
                      </a:ext>
                    </a:extLst>
                  </p:cNvPr>
                  <p:cNvSpPr>
                    <a:spLocks/>
                  </p:cNvSpPr>
                  <p:nvPr/>
                </p:nvSpPr>
                <p:spPr bwMode="gray">
                  <a:xfrm>
                    <a:off x="2094" y="1710"/>
                    <a:ext cx="833" cy="840"/>
                  </a:xfrm>
                  <a:custGeom>
                    <a:avLst/>
                    <a:gdLst/>
                    <a:ahLst/>
                    <a:cxnLst>
                      <a:cxn ang="0">
                        <a:pos x="92" y="696"/>
                      </a:cxn>
                      <a:cxn ang="0">
                        <a:pos x="136" y="744"/>
                      </a:cxn>
                      <a:cxn ang="0">
                        <a:pos x="170" y="728"/>
                      </a:cxn>
                      <a:cxn ang="0">
                        <a:pos x="228" y="735"/>
                      </a:cxn>
                      <a:cxn ang="0">
                        <a:pos x="318" y="724"/>
                      </a:cxn>
                      <a:cxn ang="0">
                        <a:pos x="341" y="746"/>
                      </a:cxn>
                      <a:cxn ang="0">
                        <a:pos x="386" y="752"/>
                      </a:cxn>
                      <a:cxn ang="0">
                        <a:pos x="416" y="778"/>
                      </a:cxn>
                      <a:cxn ang="0">
                        <a:pos x="462" y="752"/>
                      </a:cxn>
                      <a:cxn ang="0">
                        <a:pos x="414" y="708"/>
                      </a:cxn>
                      <a:cxn ang="0">
                        <a:pos x="406" y="670"/>
                      </a:cxn>
                      <a:cxn ang="0">
                        <a:pos x="453" y="650"/>
                      </a:cxn>
                      <a:cxn ang="0">
                        <a:pos x="486" y="590"/>
                      </a:cxn>
                      <a:cxn ang="0">
                        <a:pos x="541" y="546"/>
                      </a:cxn>
                      <a:cxn ang="0">
                        <a:pos x="572" y="487"/>
                      </a:cxn>
                      <a:cxn ang="0">
                        <a:pos x="604" y="452"/>
                      </a:cxn>
                      <a:cxn ang="0">
                        <a:pos x="632" y="458"/>
                      </a:cxn>
                      <a:cxn ang="0">
                        <a:pos x="685" y="426"/>
                      </a:cxn>
                      <a:cxn ang="0">
                        <a:pos x="772" y="342"/>
                      </a:cxn>
                      <a:cxn ang="0">
                        <a:pos x="686" y="232"/>
                      </a:cxn>
                      <a:cxn ang="0">
                        <a:pos x="706" y="121"/>
                      </a:cxn>
                      <a:cxn ang="0">
                        <a:pos x="684" y="108"/>
                      </a:cxn>
                      <a:cxn ang="0">
                        <a:pos x="670" y="33"/>
                      </a:cxn>
                      <a:cxn ang="0">
                        <a:pos x="611" y="0"/>
                      </a:cxn>
                      <a:cxn ang="0">
                        <a:pos x="560" y="31"/>
                      </a:cxn>
                      <a:cxn ang="0">
                        <a:pos x="569" y="68"/>
                      </a:cxn>
                      <a:cxn ang="0">
                        <a:pos x="517" y="99"/>
                      </a:cxn>
                      <a:cxn ang="0">
                        <a:pos x="512" y="67"/>
                      </a:cxn>
                      <a:cxn ang="0">
                        <a:pos x="534" y="29"/>
                      </a:cxn>
                      <a:cxn ang="0">
                        <a:pos x="441" y="74"/>
                      </a:cxn>
                      <a:cxn ang="0">
                        <a:pos x="388" y="79"/>
                      </a:cxn>
                      <a:cxn ang="0">
                        <a:pos x="350" y="50"/>
                      </a:cxn>
                      <a:cxn ang="0">
                        <a:pos x="326" y="16"/>
                      </a:cxn>
                      <a:cxn ang="0">
                        <a:pos x="237" y="126"/>
                      </a:cxn>
                      <a:cxn ang="0">
                        <a:pos x="217" y="100"/>
                      </a:cxn>
                      <a:cxn ang="0">
                        <a:pos x="188" y="88"/>
                      </a:cxn>
                      <a:cxn ang="0">
                        <a:pos x="152" y="88"/>
                      </a:cxn>
                      <a:cxn ang="0">
                        <a:pos x="125" y="136"/>
                      </a:cxn>
                      <a:cxn ang="0">
                        <a:pos x="86" y="126"/>
                      </a:cxn>
                      <a:cxn ang="0">
                        <a:pos x="42" y="119"/>
                      </a:cxn>
                      <a:cxn ang="0">
                        <a:pos x="21" y="124"/>
                      </a:cxn>
                      <a:cxn ang="0">
                        <a:pos x="25" y="187"/>
                      </a:cxn>
                      <a:cxn ang="0">
                        <a:pos x="12" y="224"/>
                      </a:cxn>
                      <a:cxn ang="0">
                        <a:pos x="29" y="311"/>
                      </a:cxn>
                      <a:cxn ang="0">
                        <a:pos x="50" y="403"/>
                      </a:cxn>
                      <a:cxn ang="0">
                        <a:pos x="72" y="396"/>
                      </a:cxn>
                      <a:cxn ang="0">
                        <a:pos x="90" y="390"/>
                      </a:cxn>
                      <a:cxn ang="0">
                        <a:pos x="150" y="406"/>
                      </a:cxn>
                      <a:cxn ang="0">
                        <a:pos x="171" y="469"/>
                      </a:cxn>
                      <a:cxn ang="0">
                        <a:pos x="157" y="458"/>
                      </a:cxn>
                      <a:cxn ang="0">
                        <a:pos x="157" y="495"/>
                      </a:cxn>
                      <a:cxn ang="0">
                        <a:pos x="122" y="519"/>
                      </a:cxn>
                      <a:cxn ang="0">
                        <a:pos x="81" y="554"/>
                      </a:cxn>
                      <a:cxn ang="0">
                        <a:pos x="41" y="588"/>
                      </a:cxn>
                    </a:cxnLst>
                    <a:rect l="0" t="0" r="r" b="b"/>
                    <a:pathLst>
                      <a:path w="772" h="778">
                        <a:moveTo>
                          <a:pt x="68" y="647"/>
                        </a:moveTo>
                        <a:cubicBezTo>
                          <a:pt x="72" y="678"/>
                          <a:pt x="72" y="678"/>
                          <a:pt x="72" y="678"/>
                        </a:cubicBezTo>
                        <a:cubicBezTo>
                          <a:pt x="92" y="696"/>
                          <a:pt x="92" y="696"/>
                          <a:pt x="92" y="696"/>
                        </a:cubicBezTo>
                        <a:cubicBezTo>
                          <a:pt x="85" y="727"/>
                          <a:pt x="85" y="727"/>
                          <a:pt x="85" y="727"/>
                        </a:cubicBezTo>
                        <a:cubicBezTo>
                          <a:pt x="104" y="716"/>
                          <a:pt x="104" y="716"/>
                          <a:pt x="104" y="716"/>
                        </a:cubicBezTo>
                        <a:cubicBezTo>
                          <a:pt x="136" y="744"/>
                          <a:pt x="136" y="744"/>
                          <a:pt x="136" y="744"/>
                        </a:cubicBezTo>
                        <a:cubicBezTo>
                          <a:pt x="156" y="714"/>
                          <a:pt x="156" y="714"/>
                          <a:pt x="156" y="714"/>
                        </a:cubicBezTo>
                        <a:cubicBezTo>
                          <a:pt x="170" y="714"/>
                          <a:pt x="170" y="714"/>
                          <a:pt x="170" y="714"/>
                        </a:cubicBezTo>
                        <a:cubicBezTo>
                          <a:pt x="170" y="728"/>
                          <a:pt x="170" y="728"/>
                          <a:pt x="170" y="728"/>
                        </a:cubicBezTo>
                        <a:cubicBezTo>
                          <a:pt x="177" y="728"/>
                          <a:pt x="177" y="728"/>
                          <a:pt x="177" y="728"/>
                        </a:cubicBezTo>
                        <a:cubicBezTo>
                          <a:pt x="185" y="716"/>
                          <a:pt x="185" y="716"/>
                          <a:pt x="185" y="716"/>
                        </a:cubicBezTo>
                        <a:cubicBezTo>
                          <a:pt x="228" y="735"/>
                          <a:pt x="228" y="735"/>
                          <a:pt x="228" y="735"/>
                        </a:cubicBezTo>
                        <a:cubicBezTo>
                          <a:pt x="228" y="720"/>
                          <a:pt x="228" y="720"/>
                          <a:pt x="228" y="720"/>
                        </a:cubicBezTo>
                        <a:cubicBezTo>
                          <a:pt x="228" y="720"/>
                          <a:pt x="262" y="712"/>
                          <a:pt x="264" y="748"/>
                        </a:cubicBezTo>
                        <a:cubicBezTo>
                          <a:pt x="318" y="724"/>
                          <a:pt x="318" y="724"/>
                          <a:pt x="318" y="724"/>
                        </a:cubicBezTo>
                        <a:cubicBezTo>
                          <a:pt x="329" y="728"/>
                          <a:pt x="329" y="728"/>
                          <a:pt x="329" y="728"/>
                        </a:cubicBezTo>
                        <a:cubicBezTo>
                          <a:pt x="341" y="722"/>
                          <a:pt x="341" y="722"/>
                          <a:pt x="341" y="722"/>
                        </a:cubicBezTo>
                        <a:cubicBezTo>
                          <a:pt x="341" y="746"/>
                          <a:pt x="341" y="746"/>
                          <a:pt x="341" y="746"/>
                        </a:cubicBezTo>
                        <a:cubicBezTo>
                          <a:pt x="366" y="754"/>
                          <a:pt x="366" y="754"/>
                          <a:pt x="366" y="754"/>
                        </a:cubicBezTo>
                        <a:cubicBezTo>
                          <a:pt x="365" y="747"/>
                          <a:pt x="365" y="747"/>
                          <a:pt x="365" y="747"/>
                        </a:cubicBezTo>
                        <a:cubicBezTo>
                          <a:pt x="386" y="752"/>
                          <a:pt x="386" y="752"/>
                          <a:pt x="386" y="752"/>
                        </a:cubicBezTo>
                        <a:cubicBezTo>
                          <a:pt x="386" y="752"/>
                          <a:pt x="393" y="756"/>
                          <a:pt x="393" y="766"/>
                        </a:cubicBezTo>
                        <a:cubicBezTo>
                          <a:pt x="393" y="775"/>
                          <a:pt x="406" y="771"/>
                          <a:pt x="406" y="771"/>
                        </a:cubicBezTo>
                        <a:cubicBezTo>
                          <a:pt x="416" y="778"/>
                          <a:pt x="416" y="778"/>
                          <a:pt x="416" y="778"/>
                        </a:cubicBezTo>
                        <a:cubicBezTo>
                          <a:pt x="436" y="766"/>
                          <a:pt x="436" y="766"/>
                          <a:pt x="436" y="766"/>
                        </a:cubicBezTo>
                        <a:cubicBezTo>
                          <a:pt x="436" y="766"/>
                          <a:pt x="426" y="755"/>
                          <a:pt x="450" y="763"/>
                        </a:cubicBezTo>
                        <a:cubicBezTo>
                          <a:pt x="448" y="766"/>
                          <a:pt x="462" y="752"/>
                          <a:pt x="462" y="752"/>
                        </a:cubicBezTo>
                        <a:cubicBezTo>
                          <a:pt x="462" y="730"/>
                          <a:pt x="462" y="730"/>
                          <a:pt x="462" y="730"/>
                        </a:cubicBezTo>
                        <a:cubicBezTo>
                          <a:pt x="445" y="710"/>
                          <a:pt x="445" y="710"/>
                          <a:pt x="445" y="710"/>
                        </a:cubicBezTo>
                        <a:cubicBezTo>
                          <a:pt x="414" y="708"/>
                          <a:pt x="414" y="708"/>
                          <a:pt x="414" y="708"/>
                        </a:cubicBezTo>
                        <a:cubicBezTo>
                          <a:pt x="398" y="683"/>
                          <a:pt x="398" y="683"/>
                          <a:pt x="398" y="683"/>
                        </a:cubicBezTo>
                        <a:cubicBezTo>
                          <a:pt x="414" y="682"/>
                          <a:pt x="414" y="682"/>
                          <a:pt x="414" y="682"/>
                        </a:cubicBezTo>
                        <a:cubicBezTo>
                          <a:pt x="406" y="670"/>
                          <a:pt x="406" y="670"/>
                          <a:pt x="406" y="670"/>
                        </a:cubicBezTo>
                        <a:cubicBezTo>
                          <a:pt x="409" y="658"/>
                          <a:pt x="409" y="658"/>
                          <a:pt x="409" y="658"/>
                        </a:cubicBezTo>
                        <a:cubicBezTo>
                          <a:pt x="438" y="662"/>
                          <a:pt x="438" y="662"/>
                          <a:pt x="438" y="662"/>
                        </a:cubicBezTo>
                        <a:cubicBezTo>
                          <a:pt x="453" y="650"/>
                          <a:pt x="453" y="650"/>
                          <a:pt x="453" y="650"/>
                        </a:cubicBezTo>
                        <a:cubicBezTo>
                          <a:pt x="436" y="640"/>
                          <a:pt x="436" y="640"/>
                          <a:pt x="436" y="640"/>
                        </a:cubicBezTo>
                        <a:cubicBezTo>
                          <a:pt x="449" y="614"/>
                          <a:pt x="449" y="614"/>
                          <a:pt x="449" y="614"/>
                        </a:cubicBezTo>
                        <a:cubicBezTo>
                          <a:pt x="449" y="614"/>
                          <a:pt x="490" y="599"/>
                          <a:pt x="486" y="590"/>
                        </a:cubicBezTo>
                        <a:cubicBezTo>
                          <a:pt x="482" y="580"/>
                          <a:pt x="477" y="568"/>
                          <a:pt x="489" y="568"/>
                        </a:cubicBezTo>
                        <a:cubicBezTo>
                          <a:pt x="501" y="568"/>
                          <a:pt x="525" y="562"/>
                          <a:pt x="525" y="562"/>
                        </a:cubicBezTo>
                        <a:cubicBezTo>
                          <a:pt x="525" y="562"/>
                          <a:pt x="534" y="539"/>
                          <a:pt x="541" y="546"/>
                        </a:cubicBezTo>
                        <a:cubicBezTo>
                          <a:pt x="548" y="552"/>
                          <a:pt x="538" y="532"/>
                          <a:pt x="604" y="534"/>
                        </a:cubicBezTo>
                        <a:cubicBezTo>
                          <a:pt x="597" y="511"/>
                          <a:pt x="596" y="492"/>
                          <a:pt x="596" y="492"/>
                        </a:cubicBezTo>
                        <a:cubicBezTo>
                          <a:pt x="596" y="492"/>
                          <a:pt x="572" y="498"/>
                          <a:pt x="572" y="487"/>
                        </a:cubicBezTo>
                        <a:cubicBezTo>
                          <a:pt x="572" y="476"/>
                          <a:pt x="577" y="463"/>
                          <a:pt x="577" y="463"/>
                        </a:cubicBezTo>
                        <a:cubicBezTo>
                          <a:pt x="574" y="455"/>
                          <a:pt x="574" y="455"/>
                          <a:pt x="574" y="455"/>
                        </a:cubicBezTo>
                        <a:cubicBezTo>
                          <a:pt x="604" y="452"/>
                          <a:pt x="604" y="452"/>
                          <a:pt x="604" y="452"/>
                        </a:cubicBezTo>
                        <a:cubicBezTo>
                          <a:pt x="605" y="466"/>
                          <a:pt x="605" y="466"/>
                          <a:pt x="605" y="466"/>
                        </a:cubicBezTo>
                        <a:cubicBezTo>
                          <a:pt x="629" y="466"/>
                          <a:pt x="629" y="466"/>
                          <a:pt x="629" y="466"/>
                        </a:cubicBezTo>
                        <a:cubicBezTo>
                          <a:pt x="632" y="458"/>
                          <a:pt x="632" y="458"/>
                          <a:pt x="632" y="458"/>
                        </a:cubicBezTo>
                        <a:cubicBezTo>
                          <a:pt x="656" y="454"/>
                          <a:pt x="656" y="454"/>
                          <a:pt x="656" y="454"/>
                        </a:cubicBezTo>
                        <a:cubicBezTo>
                          <a:pt x="648" y="442"/>
                          <a:pt x="660" y="431"/>
                          <a:pt x="660" y="431"/>
                        </a:cubicBezTo>
                        <a:cubicBezTo>
                          <a:pt x="670" y="445"/>
                          <a:pt x="685" y="426"/>
                          <a:pt x="685" y="426"/>
                        </a:cubicBezTo>
                        <a:cubicBezTo>
                          <a:pt x="704" y="448"/>
                          <a:pt x="725" y="407"/>
                          <a:pt x="725" y="407"/>
                        </a:cubicBezTo>
                        <a:cubicBezTo>
                          <a:pt x="725" y="407"/>
                          <a:pt x="757" y="400"/>
                          <a:pt x="758" y="394"/>
                        </a:cubicBezTo>
                        <a:cubicBezTo>
                          <a:pt x="755" y="371"/>
                          <a:pt x="772" y="342"/>
                          <a:pt x="772" y="342"/>
                        </a:cubicBezTo>
                        <a:cubicBezTo>
                          <a:pt x="764" y="342"/>
                          <a:pt x="744" y="317"/>
                          <a:pt x="741" y="313"/>
                        </a:cubicBezTo>
                        <a:cubicBezTo>
                          <a:pt x="705" y="284"/>
                          <a:pt x="737" y="269"/>
                          <a:pt x="733" y="267"/>
                        </a:cubicBezTo>
                        <a:cubicBezTo>
                          <a:pt x="704" y="274"/>
                          <a:pt x="688" y="235"/>
                          <a:pt x="686" y="232"/>
                        </a:cubicBezTo>
                        <a:cubicBezTo>
                          <a:pt x="678" y="230"/>
                          <a:pt x="684" y="206"/>
                          <a:pt x="684" y="200"/>
                        </a:cubicBezTo>
                        <a:cubicBezTo>
                          <a:pt x="698" y="224"/>
                          <a:pt x="737" y="172"/>
                          <a:pt x="737" y="172"/>
                        </a:cubicBezTo>
                        <a:cubicBezTo>
                          <a:pt x="706" y="121"/>
                          <a:pt x="706" y="121"/>
                          <a:pt x="706" y="121"/>
                        </a:cubicBezTo>
                        <a:cubicBezTo>
                          <a:pt x="701" y="129"/>
                          <a:pt x="701" y="129"/>
                          <a:pt x="701" y="129"/>
                        </a:cubicBezTo>
                        <a:cubicBezTo>
                          <a:pt x="698" y="120"/>
                          <a:pt x="698" y="120"/>
                          <a:pt x="698" y="120"/>
                        </a:cubicBezTo>
                        <a:cubicBezTo>
                          <a:pt x="706" y="98"/>
                          <a:pt x="684" y="108"/>
                          <a:pt x="684" y="108"/>
                        </a:cubicBezTo>
                        <a:cubicBezTo>
                          <a:pt x="675" y="97"/>
                          <a:pt x="675" y="97"/>
                          <a:pt x="675" y="97"/>
                        </a:cubicBezTo>
                        <a:cubicBezTo>
                          <a:pt x="691" y="55"/>
                          <a:pt x="691" y="55"/>
                          <a:pt x="691" y="55"/>
                        </a:cubicBezTo>
                        <a:cubicBezTo>
                          <a:pt x="670" y="33"/>
                          <a:pt x="670" y="33"/>
                          <a:pt x="670" y="33"/>
                        </a:cubicBezTo>
                        <a:cubicBezTo>
                          <a:pt x="680" y="10"/>
                          <a:pt x="680" y="10"/>
                          <a:pt x="680" y="10"/>
                        </a:cubicBezTo>
                        <a:cubicBezTo>
                          <a:pt x="674" y="3"/>
                          <a:pt x="674" y="3"/>
                          <a:pt x="674" y="3"/>
                        </a:cubicBezTo>
                        <a:cubicBezTo>
                          <a:pt x="611" y="0"/>
                          <a:pt x="611" y="0"/>
                          <a:pt x="611" y="0"/>
                        </a:cubicBezTo>
                        <a:cubicBezTo>
                          <a:pt x="593" y="12"/>
                          <a:pt x="593" y="12"/>
                          <a:pt x="593" y="12"/>
                        </a:cubicBezTo>
                        <a:cubicBezTo>
                          <a:pt x="577" y="12"/>
                          <a:pt x="577" y="12"/>
                          <a:pt x="577" y="12"/>
                        </a:cubicBezTo>
                        <a:cubicBezTo>
                          <a:pt x="577" y="12"/>
                          <a:pt x="570" y="21"/>
                          <a:pt x="560" y="31"/>
                        </a:cubicBezTo>
                        <a:cubicBezTo>
                          <a:pt x="550" y="30"/>
                          <a:pt x="553" y="57"/>
                          <a:pt x="553" y="57"/>
                        </a:cubicBezTo>
                        <a:cubicBezTo>
                          <a:pt x="559" y="63"/>
                          <a:pt x="559" y="63"/>
                          <a:pt x="559" y="63"/>
                        </a:cubicBezTo>
                        <a:cubicBezTo>
                          <a:pt x="559" y="63"/>
                          <a:pt x="564" y="60"/>
                          <a:pt x="569" y="68"/>
                        </a:cubicBezTo>
                        <a:cubicBezTo>
                          <a:pt x="574" y="76"/>
                          <a:pt x="558" y="76"/>
                          <a:pt x="558" y="76"/>
                        </a:cubicBezTo>
                        <a:cubicBezTo>
                          <a:pt x="527" y="100"/>
                          <a:pt x="527" y="100"/>
                          <a:pt x="527" y="100"/>
                        </a:cubicBezTo>
                        <a:cubicBezTo>
                          <a:pt x="521" y="93"/>
                          <a:pt x="517" y="99"/>
                          <a:pt x="517" y="99"/>
                        </a:cubicBezTo>
                        <a:cubicBezTo>
                          <a:pt x="499" y="98"/>
                          <a:pt x="499" y="98"/>
                          <a:pt x="499" y="98"/>
                        </a:cubicBezTo>
                        <a:cubicBezTo>
                          <a:pt x="497" y="82"/>
                          <a:pt x="497" y="82"/>
                          <a:pt x="497" y="82"/>
                        </a:cubicBezTo>
                        <a:cubicBezTo>
                          <a:pt x="512" y="67"/>
                          <a:pt x="512" y="67"/>
                          <a:pt x="512" y="67"/>
                        </a:cubicBezTo>
                        <a:cubicBezTo>
                          <a:pt x="525" y="66"/>
                          <a:pt x="525" y="66"/>
                          <a:pt x="525" y="66"/>
                        </a:cubicBezTo>
                        <a:cubicBezTo>
                          <a:pt x="525" y="48"/>
                          <a:pt x="525" y="48"/>
                          <a:pt x="525" y="48"/>
                        </a:cubicBezTo>
                        <a:cubicBezTo>
                          <a:pt x="534" y="41"/>
                          <a:pt x="535" y="34"/>
                          <a:pt x="534" y="29"/>
                        </a:cubicBezTo>
                        <a:cubicBezTo>
                          <a:pt x="477" y="88"/>
                          <a:pt x="477" y="88"/>
                          <a:pt x="477" y="88"/>
                        </a:cubicBezTo>
                        <a:cubicBezTo>
                          <a:pt x="445" y="90"/>
                          <a:pt x="445" y="90"/>
                          <a:pt x="445" y="90"/>
                        </a:cubicBezTo>
                        <a:cubicBezTo>
                          <a:pt x="441" y="74"/>
                          <a:pt x="441" y="74"/>
                          <a:pt x="441" y="74"/>
                        </a:cubicBezTo>
                        <a:cubicBezTo>
                          <a:pt x="441" y="74"/>
                          <a:pt x="421" y="71"/>
                          <a:pt x="425" y="64"/>
                        </a:cubicBezTo>
                        <a:cubicBezTo>
                          <a:pt x="408" y="103"/>
                          <a:pt x="385" y="92"/>
                          <a:pt x="385" y="92"/>
                        </a:cubicBezTo>
                        <a:cubicBezTo>
                          <a:pt x="388" y="79"/>
                          <a:pt x="388" y="79"/>
                          <a:pt x="388" y="79"/>
                        </a:cubicBezTo>
                        <a:cubicBezTo>
                          <a:pt x="364" y="68"/>
                          <a:pt x="364" y="68"/>
                          <a:pt x="364" y="68"/>
                        </a:cubicBezTo>
                        <a:cubicBezTo>
                          <a:pt x="364" y="55"/>
                          <a:pt x="364" y="55"/>
                          <a:pt x="364" y="55"/>
                        </a:cubicBezTo>
                        <a:cubicBezTo>
                          <a:pt x="350" y="50"/>
                          <a:pt x="350" y="50"/>
                          <a:pt x="350" y="50"/>
                        </a:cubicBezTo>
                        <a:cubicBezTo>
                          <a:pt x="352" y="36"/>
                          <a:pt x="352" y="36"/>
                          <a:pt x="352" y="36"/>
                        </a:cubicBezTo>
                        <a:cubicBezTo>
                          <a:pt x="344" y="35"/>
                          <a:pt x="336" y="34"/>
                          <a:pt x="334" y="34"/>
                        </a:cubicBezTo>
                        <a:cubicBezTo>
                          <a:pt x="330" y="34"/>
                          <a:pt x="329" y="22"/>
                          <a:pt x="326" y="16"/>
                        </a:cubicBezTo>
                        <a:cubicBezTo>
                          <a:pt x="324" y="11"/>
                          <a:pt x="309" y="24"/>
                          <a:pt x="296" y="24"/>
                        </a:cubicBezTo>
                        <a:cubicBezTo>
                          <a:pt x="282" y="24"/>
                          <a:pt x="265" y="18"/>
                          <a:pt x="265" y="18"/>
                        </a:cubicBezTo>
                        <a:cubicBezTo>
                          <a:pt x="237" y="126"/>
                          <a:pt x="237" y="126"/>
                          <a:pt x="237" y="126"/>
                        </a:cubicBezTo>
                        <a:cubicBezTo>
                          <a:pt x="226" y="124"/>
                          <a:pt x="226" y="124"/>
                          <a:pt x="226" y="124"/>
                        </a:cubicBezTo>
                        <a:cubicBezTo>
                          <a:pt x="225" y="108"/>
                          <a:pt x="225" y="108"/>
                          <a:pt x="225" y="108"/>
                        </a:cubicBezTo>
                        <a:cubicBezTo>
                          <a:pt x="217" y="100"/>
                          <a:pt x="217" y="100"/>
                          <a:pt x="217" y="100"/>
                        </a:cubicBezTo>
                        <a:cubicBezTo>
                          <a:pt x="217" y="100"/>
                          <a:pt x="218" y="90"/>
                          <a:pt x="208" y="86"/>
                        </a:cubicBezTo>
                        <a:cubicBezTo>
                          <a:pt x="197" y="82"/>
                          <a:pt x="198" y="98"/>
                          <a:pt x="193" y="98"/>
                        </a:cubicBezTo>
                        <a:cubicBezTo>
                          <a:pt x="188" y="98"/>
                          <a:pt x="188" y="88"/>
                          <a:pt x="188" y="88"/>
                        </a:cubicBezTo>
                        <a:cubicBezTo>
                          <a:pt x="173" y="100"/>
                          <a:pt x="173" y="100"/>
                          <a:pt x="173" y="100"/>
                        </a:cubicBezTo>
                        <a:cubicBezTo>
                          <a:pt x="164" y="87"/>
                          <a:pt x="164" y="87"/>
                          <a:pt x="164" y="87"/>
                        </a:cubicBezTo>
                        <a:cubicBezTo>
                          <a:pt x="152" y="88"/>
                          <a:pt x="152" y="88"/>
                          <a:pt x="152" y="88"/>
                        </a:cubicBezTo>
                        <a:cubicBezTo>
                          <a:pt x="148" y="127"/>
                          <a:pt x="148" y="127"/>
                          <a:pt x="148" y="127"/>
                        </a:cubicBezTo>
                        <a:cubicBezTo>
                          <a:pt x="148" y="127"/>
                          <a:pt x="137" y="128"/>
                          <a:pt x="132" y="128"/>
                        </a:cubicBezTo>
                        <a:cubicBezTo>
                          <a:pt x="126" y="128"/>
                          <a:pt x="132" y="135"/>
                          <a:pt x="125" y="136"/>
                        </a:cubicBezTo>
                        <a:cubicBezTo>
                          <a:pt x="120" y="137"/>
                          <a:pt x="113" y="129"/>
                          <a:pt x="110" y="125"/>
                        </a:cubicBezTo>
                        <a:cubicBezTo>
                          <a:pt x="111" y="127"/>
                          <a:pt x="111" y="129"/>
                          <a:pt x="101" y="128"/>
                        </a:cubicBezTo>
                        <a:cubicBezTo>
                          <a:pt x="86" y="127"/>
                          <a:pt x="86" y="126"/>
                          <a:pt x="86" y="126"/>
                        </a:cubicBezTo>
                        <a:cubicBezTo>
                          <a:pt x="62" y="132"/>
                          <a:pt x="62" y="132"/>
                          <a:pt x="62" y="132"/>
                        </a:cubicBezTo>
                        <a:cubicBezTo>
                          <a:pt x="56" y="119"/>
                          <a:pt x="56" y="119"/>
                          <a:pt x="56" y="119"/>
                        </a:cubicBezTo>
                        <a:cubicBezTo>
                          <a:pt x="42" y="119"/>
                          <a:pt x="42" y="119"/>
                          <a:pt x="42" y="119"/>
                        </a:cubicBezTo>
                        <a:cubicBezTo>
                          <a:pt x="41" y="100"/>
                          <a:pt x="41" y="100"/>
                          <a:pt x="41" y="100"/>
                        </a:cubicBezTo>
                        <a:cubicBezTo>
                          <a:pt x="16" y="111"/>
                          <a:pt x="16" y="111"/>
                          <a:pt x="16" y="111"/>
                        </a:cubicBezTo>
                        <a:cubicBezTo>
                          <a:pt x="21" y="124"/>
                          <a:pt x="21" y="124"/>
                          <a:pt x="21" y="124"/>
                        </a:cubicBezTo>
                        <a:cubicBezTo>
                          <a:pt x="17" y="139"/>
                          <a:pt x="17" y="139"/>
                          <a:pt x="17" y="139"/>
                        </a:cubicBezTo>
                        <a:cubicBezTo>
                          <a:pt x="24" y="152"/>
                          <a:pt x="24" y="152"/>
                          <a:pt x="24" y="152"/>
                        </a:cubicBezTo>
                        <a:cubicBezTo>
                          <a:pt x="25" y="187"/>
                          <a:pt x="25" y="187"/>
                          <a:pt x="25" y="187"/>
                        </a:cubicBezTo>
                        <a:cubicBezTo>
                          <a:pt x="0" y="196"/>
                          <a:pt x="0" y="196"/>
                          <a:pt x="0" y="196"/>
                        </a:cubicBezTo>
                        <a:cubicBezTo>
                          <a:pt x="0" y="208"/>
                          <a:pt x="0" y="208"/>
                          <a:pt x="0" y="208"/>
                        </a:cubicBezTo>
                        <a:cubicBezTo>
                          <a:pt x="12" y="224"/>
                          <a:pt x="12" y="224"/>
                          <a:pt x="12" y="224"/>
                        </a:cubicBezTo>
                        <a:cubicBezTo>
                          <a:pt x="4" y="227"/>
                          <a:pt x="4" y="227"/>
                          <a:pt x="4" y="227"/>
                        </a:cubicBezTo>
                        <a:cubicBezTo>
                          <a:pt x="2" y="255"/>
                          <a:pt x="2" y="255"/>
                          <a:pt x="2" y="255"/>
                        </a:cubicBezTo>
                        <a:cubicBezTo>
                          <a:pt x="2" y="255"/>
                          <a:pt x="25" y="291"/>
                          <a:pt x="29" y="311"/>
                        </a:cubicBezTo>
                        <a:cubicBezTo>
                          <a:pt x="34" y="311"/>
                          <a:pt x="74" y="347"/>
                          <a:pt x="62" y="367"/>
                        </a:cubicBezTo>
                        <a:cubicBezTo>
                          <a:pt x="60" y="374"/>
                          <a:pt x="46" y="380"/>
                          <a:pt x="46" y="380"/>
                        </a:cubicBezTo>
                        <a:cubicBezTo>
                          <a:pt x="50" y="403"/>
                          <a:pt x="50" y="403"/>
                          <a:pt x="50" y="403"/>
                        </a:cubicBezTo>
                        <a:cubicBezTo>
                          <a:pt x="56" y="384"/>
                          <a:pt x="56" y="384"/>
                          <a:pt x="56" y="384"/>
                        </a:cubicBezTo>
                        <a:cubicBezTo>
                          <a:pt x="68" y="384"/>
                          <a:pt x="68" y="384"/>
                          <a:pt x="68" y="384"/>
                        </a:cubicBezTo>
                        <a:cubicBezTo>
                          <a:pt x="72" y="396"/>
                          <a:pt x="72" y="396"/>
                          <a:pt x="72" y="396"/>
                        </a:cubicBezTo>
                        <a:cubicBezTo>
                          <a:pt x="82" y="391"/>
                          <a:pt x="82" y="391"/>
                          <a:pt x="82" y="391"/>
                        </a:cubicBezTo>
                        <a:cubicBezTo>
                          <a:pt x="88" y="398"/>
                          <a:pt x="88" y="398"/>
                          <a:pt x="88" y="398"/>
                        </a:cubicBezTo>
                        <a:cubicBezTo>
                          <a:pt x="90" y="390"/>
                          <a:pt x="90" y="390"/>
                          <a:pt x="90" y="390"/>
                        </a:cubicBezTo>
                        <a:cubicBezTo>
                          <a:pt x="90" y="390"/>
                          <a:pt x="120" y="375"/>
                          <a:pt x="126" y="384"/>
                        </a:cubicBezTo>
                        <a:cubicBezTo>
                          <a:pt x="133" y="394"/>
                          <a:pt x="158" y="391"/>
                          <a:pt x="145" y="402"/>
                        </a:cubicBezTo>
                        <a:cubicBezTo>
                          <a:pt x="150" y="406"/>
                          <a:pt x="150" y="406"/>
                          <a:pt x="150" y="406"/>
                        </a:cubicBezTo>
                        <a:cubicBezTo>
                          <a:pt x="157" y="424"/>
                          <a:pt x="157" y="424"/>
                          <a:pt x="157" y="424"/>
                        </a:cubicBezTo>
                        <a:cubicBezTo>
                          <a:pt x="157" y="424"/>
                          <a:pt x="188" y="403"/>
                          <a:pt x="174" y="452"/>
                        </a:cubicBezTo>
                        <a:cubicBezTo>
                          <a:pt x="170" y="464"/>
                          <a:pt x="170" y="468"/>
                          <a:pt x="171" y="469"/>
                        </a:cubicBezTo>
                        <a:cubicBezTo>
                          <a:pt x="172" y="470"/>
                          <a:pt x="172" y="470"/>
                          <a:pt x="172" y="470"/>
                        </a:cubicBezTo>
                        <a:cubicBezTo>
                          <a:pt x="172" y="470"/>
                          <a:pt x="171" y="470"/>
                          <a:pt x="171" y="469"/>
                        </a:cubicBezTo>
                        <a:cubicBezTo>
                          <a:pt x="157" y="458"/>
                          <a:pt x="157" y="458"/>
                          <a:pt x="157" y="458"/>
                        </a:cubicBezTo>
                        <a:cubicBezTo>
                          <a:pt x="160" y="470"/>
                          <a:pt x="160" y="470"/>
                          <a:pt x="160" y="470"/>
                        </a:cubicBezTo>
                        <a:cubicBezTo>
                          <a:pt x="160" y="470"/>
                          <a:pt x="150" y="475"/>
                          <a:pt x="150" y="479"/>
                        </a:cubicBezTo>
                        <a:cubicBezTo>
                          <a:pt x="150" y="483"/>
                          <a:pt x="157" y="495"/>
                          <a:pt x="157" y="495"/>
                        </a:cubicBezTo>
                        <a:cubicBezTo>
                          <a:pt x="142" y="495"/>
                          <a:pt x="142" y="495"/>
                          <a:pt x="142" y="495"/>
                        </a:cubicBezTo>
                        <a:cubicBezTo>
                          <a:pt x="142" y="515"/>
                          <a:pt x="142" y="515"/>
                          <a:pt x="142" y="515"/>
                        </a:cubicBezTo>
                        <a:cubicBezTo>
                          <a:pt x="122" y="519"/>
                          <a:pt x="122" y="519"/>
                          <a:pt x="122" y="519"/>
                        </a:cubicBezTo>
                        <a:cubicBezTo>
                          <a:pt x="110" y="547"/>
                          <a:pt x="110" y="547"/>
                          <a:pt x="110" y="547"/>
                        </a:cubicBezTo>
                        <a:cubicBezTo>
                          <a:pt x="82" y="548"/>
                          <a:pt x="82" y="548"/>
                          <a:pt x="82" y="548"/>
                        </a:cubicBezTo>
                        <a:cubicBezTo>
                          <a:pt x="81" y="554"/>
                          <a:pt x="81" y="554"/>
                          <a:pt x="81" y="554"/>
                        </a:cubicBezTo>
                        <a:cubicBezTo>
                          <a:pt x="62" y="563"/>
                          <a:pt x="62" y="563"/>
                          <a:pt x="62" y="563"/>
                        </a:cubicBezTo>
                        <a:cubicBezTo>
                          <a:pt x="62" y="579"/>
                          <a:pt x="62" y="579"/>
                          <a:pt x="62" y="579"/>
                        </a:cubicBezTo>
                        <a:cubicBezTo>
                          <a:pt x="41" y="588"/>
                          <a:pt x="41" y="588"/>
                          <a:pt x="41" y="588"/>
                        </a:cubicBezTo>
                        <a:cubicBezTo>
                          <a:pt x="54" y="640"/>
                          <a:pt x="54" y="640"/>
                          <a:pt x="54" y="640"/>
                        </a:cubicBezTo>
                        <a:lnTo>
                          <a:pt x="68" y="647"/>
                        </a:lnTo>
                        <a:close/>
                      </a:path>
                    </a:pathLst>
                  </a:custGeom>
                  <a:solidFill>
                    <a:srgbClr val="F4F3F0"/>
                  </a:solidFill>
                  <a:ln w="3175" cap="flat" cmpd="sng">
                    <a:solidFill>
                      <a:schemeClr val="accent2"/>
                    </a:solidFill>
                    <a:prstDash val="solid"/>
                    <a:round/>
                    <a:headEnd type="none" w="med" len="med"/>
                    <a:tailEnd type="none" w="med" len="med"/>
                  </a:ln>
                  <a:effectLst/>
                </p:spPr>
                <p:txBody>
                  <a:bodyPr/>
                  <a:lstStyle/>
                  <a:p>
                    <a:endParaRPr lang="fr-FR" sz="1600">
                      <a:solidFill>
                        <a:srgbClr val="5F5F5F"/>
                      </a:solidFill>
                      <a:latin typeface="Tahoma"/>
                    </a:endParaRPr>
                  </a:p>
                </p:txBody>
              </p:sp>
            </p:grpSp>
          </p:grpSp>
          <p:pic>
            <p:nvPicPr>
              <p:cNvPr id="138" name="Location-White-Background">
                <a:extLst>
                  <a:ext uri="{FF2B5EF4-FFF2-40B4-BE49-F238E27FC236}">
                    <a16:creationId xmlns:a16="http://schemas.microsoft.com/office/drawing/2014/main" id="{A5640F67-42C7-4919-960F-BDE7351AF4D9}"/>
                  </a:ext>
                </a:extLst>
              </p:cNvPr>
              <p:cNvPicPr>
                <a:picLocks noChangeAspect="1"/>
              </p:cNvPicPr>
              <p:nvPr/>
            </p:nvPicPr>
            <p:blipFill>
              <a:blip r:embed="rId20" cstate="print">
                <a:extLst>
                  <a:ext uri="{BEBA8EAE-BF5A-486C-A8C5-ECC9F3942E4B}">
                    <a14:imgProps xmlns:a14="http://schemas.microsoft.com/office/drawing/2010/main">
                      <a14:imgLayer r:embed="rId21">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7443655" y="3189223"/>
                <a:ext cx="161684" cy="161684"/>
              </a:xfrm>
              <a:prstGeom prst="rect">
                <a:avLst/>
              </a:prstGeom>
            </p:spPr>
          </p:pic>
          <p:sp>
            <p:nvSpPr>
              <p:cNvPr id="140" name="ZoneTexte 139">
                <a:extLst>
                  <a:ext uri="{FF2B5EF4-FFF2-40B4-BE49-F238E27FC236}">
                    <a16:creationId xmlns:a16="http://schemas.microsoft.com/office/drawing/2014/main" id="{6C9CE6EE-FF68-4D4A-88A5-DF44222A5BBB}"/>
                  </a:ext>
                </a:extLst>
              </p:cNvPr>
              <p:cNvSpPr txBox="1"/>
              <p:nvPr/>
            </p:nvSpPr>
            <p:spPr>
              <a:xfrm>
                <a:off x="7265816" y="3961935"/>
                <a:ext cx="1441751" cy="663192"/>
              </a:xfrm>
              <a:prstGeom prst="rect">
                <a:avLst/>
              </a:prstGeom>
              <a:noFill/>
            </p:spPr>
            <p:txBody>
              <a:bodyPr wrap="square" lIns="108000" rIns="108000" rtlCol="0">
                <a:spAutoFit/>
              </a:bodyPr>
              <a:lstStyle/>
              <a:p>
                <a:endParaRPr lang="fr-FR" sz="600">
                  <a:solidFill>
                    <a:srgbClr val="5F5F5F"/>
                  </a:solidFill>
                  <a:latin typeface="Tahoma"/>
                </a:endParaRPr>
              </a:p>
              <a:p>
                <a:pPr algn="ctr"/>
                <a:r>
                  <a:rPr lang="fr-FR" sz="600" b="1">
                    <a:solidFill>
                      <a:srgbClr val="503078"/>
                    </a:solidFill>
                    <a:latin typeface="Tahoma"/>
                  </a:rPr>
                  <a:t>La villa des fleurs</a:t>
                </a:r>
              </a:p>
              <a:p>
                <a:pPr algn="ctr"/>
                <a:r>
                  <a:rPr lang="fr-FR" sz="600">
                    <a:solidFill>
                      <a:srgbClr val="5F5F5F"/>
                    </a:solidFill>
                    <a:latin typeface="Tahoma"/>
                  </a:rPr>
                  <a:t>La Seyne-sur-Mer (83)</a:t>
                </a:r>
              </a:p>
              <a:p>
                <a:endParaRPr lang="fr-FR" sz="600">
                  <a:solidFill>
                    <a:srgbClr val="5F5F5F"/>
                  </a:solidFill>
                  <a:latin typeface="Tahoma"/>
                </a:endParaRPr>
              </a:p>
            </p:txBody>
          </p:sp>
          <p:pic>
            <p:nvPicPr>
              <p:cNvPr id="141" name="Location-White-Background">
                <a:extLst>
                  <a:ext uri="{FF2B5EF4-FFF2-40B4-BE49-F238E27FC236}">
                    <a16:creationId xmlns:a16="http://schemas.microsoft.com/office/drawing/2014/main" id="{C3B9571E-E3BE-493E-8BD5-212B2B215172}"/>
                  </a:ext>
                </a:extLst>
              </p:cNvPr>
              <p:cNvPicPr>
                <a:picLocks noChangeAspect="1"/>
              </p:cNvPicPr>
              <p:nvPr/>
            </p:nvPicPr>
            <p:blipFill>
              <a:blip r:embed="rId20" cstate="print">
                <a:extLst>
                  <a:ext uri="{BEBA8EAE-BF5A-486C-A8C5-ECC9F3942E4B}">
                    <a14:imgProps xmlns:a14="http://schemas.microsoft.com/office/drawing/2010/main">
                      <a14:imgLayer r:embed="rId21">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8009312" y="4048682"/>
                <a:ext cx="161684" cy="161684"/>
              </a:xfrm>
              <a:prstGeom prst="rect">
                <a:avLst/>
              </a:prstGeom>
            </p:spPr>
          </p:pic>
        </p:grpSp>
        <p:grpSp>
          <p:nvGrpSpPr>
            <p:cNvPr id="129" name="Groupe 128">
              <a:extLst>
                <a:ext uri="{FF2B5EF4-FFF2-40B4-BE49-F238E27FC236}">
                  <a16:creationId xmlns:a16="http://schemas.microsoft.com/office/drawing/2014/main" id="{4BF2093C-AB8D-4CE4-AE1C-6BA0B4A6C52E}"/>
                </a:ext>
              </a:extLst>
            </p:cNvPr>
            <p:cNvGrpSpPr/>
            <p:nvPr/>
          </p:nvGrpSpPr>
          <p:grpSpPr>
            <a:xfrm>
              <a:off x="3189731" y="1081936"/>
              <a:ext cx="3281634" cy="1577249"/>
              <a:chOff x="3189731" y="1081936"/>
              <a:chExt cx="3281634" cy="1577249"/>
            </a:xfrm>
          </p:grpSpPr>
          <p:sp>
            <p:nvSpPr>
              <p:cNvPr id="130" name="ZoneTexte 129">
                <a:extLst>
                  <a:ext uri="{FF2B5EF4-FFF2-40B4-BE49-F238E27FC236}">
                    <a16:creationId xmlns:a16="http://schemas.microsoft.com/office/drawing/2014/main" id="{998DF241-AE6B-4240-9823-6D5CECFCF882}"/>
                  </a:ext>
                </a:extLst>
              </p:cNvPr>
              <p:cNvSpPr txBox="1"/>
              <p:nvPr/>
            </p:nvSpPr>
            <p:spPr>
              <a:xfrm>
                <a:off x="3189731" y="1081936"/>
                <a:ext cx="1993284" cy="747625"/>
              </a:xfrm>
              <a:prstGeom prst="rect">
                <a:avLst/>
              </a:prstGeom>
              <a:noFill/>
            </p:spPr>
            <p:txBody>
              <a:bodyPr wrap="square" lIns="108000" rIns="108000" rtlCol="0">
                <a:spAutoFit/>
              </a:bodyPr>
              <a:lstStyle/>
              <a:p>
                <a:endParaRPr lang="fr-FR" sz="600">
                  <a:solidFill>
                    <a:srgbClr val="5F5F5F"/>
                  </a:solidFill>
                  <a:latin typeface="Tahoma"/>
                </a:endParaRPr>
              </a:p>
              <a:p>
                <a:pPr algn="ctr"/>
                <a:r>
                  <a:rPr lang="fr-FR" sz="600" b="1">
                    <a:solidFill>
                      <a:srgbClr val="503078"/>
                    </a:solidFill>
                    <a:latin typeface="Tahoma"/>
                  </a:rPr>
                  <a:t>Le grand balcon</a:t>
                </a:r>
              </a:p>
              <a:p>
                <a:pPr algn="ctr"/>
                <a:r>
                  <a:rPr lang="fr-FR" sz="600">
                    <a:solidFill>
                      <a:srgbClr val="5F5F5F"/>
                    </a:solidFill>
                    <a:latin typeface="Tahoma"/>
                  </a:rPr>
                  <a:t>Cabourg (14)</a:t>
                </a:r>
              </a:p>
              <a:p>
                <a:endParaRPr lang="fr-FR" sz="600">
                  <a:solidFill>
                    <a:srgbClr val="5F5F5F"/>
                  </a:solidFill>
                  <a:latin typeface="Tahoma"/>
                </a:endParaRPr>
              </a:p>
            </p:txBody>
          </p:sp>
          <p:sp>
            <p:nvSpPr>
              <p:cNvPr id="131" name="ZoneTexte 130">
                <a:extLst>
                  <a:ext uri="{FF2B5EF4-FFF2-40B4-BE49-F238E27FC236}">
                    <a16:creationId xmlns:a16="http://schemas.microsoft.com/office/drawing/2014/main" id="{DD500959-FEF5-4E21-BF07-7AD7559295DE}"/>
                  </a:ext>
                </a:extLst>
              </p:cNvPr>
              <p:cNvSpPr txBox="1"/>
              <p:nvPr/>
            </p:nvSpPr>
            <p:spPr>
              <a:xfrm>
                <a:off x="4440073" y="1911560"/>
                <a:ext cx="1843809" cy="747625"/>
              </a:xfrm>
              <a:prstGeom prst="rect">
                <a:avLst/>
              </a:prstGeom>
              <a:noFill/>
            </p:spPr>
            <p:txBody>
              <a:bodyPr wrap="square" lIns="108000" rIns="108000" rtlCol="0">
                <a:spAutoFit/>
              </a:bodyPr>
              <a:lstStyle/>
              <a:p>
                <a:endParaRPr lang="fr-FR" sz="600">
                  <a:solidFill>
                    <a:srgbClr val="5F5F5F"/>
                  </a:solidFill>
                  <a:latin typeface="Tahoma"/>
                </a:endParaRPr>
              </a:p>
              <a:p>
                <a:pPr algn="ctr"/>
                <a:r>
                  <a:rPr lang="fr-FR" sz="600" b="1">
                    <a:solidFill>
                      <a:srgbClr val="503078"/>
                    </a:solidFill>
                    <a:latin typeface="Tahoma"/>
                  </a:rPr>
                  <a:t>Le pavillon des fleurs</a:t>
                </a:r>
              </a:p>
              <a:p>
                <a:pPr algn="ctr"/>
                <a:r>
                  <a:rPr lang="fr-FR" sz="600">
                    <a:solidFill>
                      <a:srgbClr val="5F5F5F"/>
                    </a:solidFill>
                    <a:latin typeface="Tahoma"/>
                  </a:rPr>
                  <a:t>Menthon-Saint-Bernard (74)</a:t>
                </a:r>
              </a:p>
              <a:p>
                <a:endParaRPr lang="fr-FR" sz="600">
                  <a:solidFill>
                    <a:srgbClr val="5F5F5F"/>
                  </a:solidFill>
                  <a:latin typeface="Tahoma"/>
                </a:endParaRPr>
              </a:p>
            </p:txBody>
          </p:sp>
          <p:sp>
            <p:nvSpPr>
              <p:cNvPr id="132" name="ZoneTexte 131">
                <a:extLst>
                  <a:ext uri="{FF2B5EF4-FFF2-40B4-BE49-F238E27FC236}">
                    <a16:creationId xmlns:a16="http://schemas.microsoft.com/office/drawing/2014/main" id="{87B933A1-A38E-4966-9B14-42AB22D22AE6}"/>
                  </a:ext>
                </a:extLst>
              </p:cNvPr>
              <p:cNvSpPr txBox="1"/>
              <p:nvPr/>
            </p:nvSpPr>
            <p:spPr>
              <a:xfrm>
                <a:off x="3321722" y="1465799"/>
                <a:ext cx="1660353" cy="897150"/>
              </a:xfrm>
              <a:prstGeom prst="rect">
                <a:avLst/>
              </a:prstGeom>
              <a:noFill/>
            </p:spPr>
            <p:txBody>
              <a:bodyPr wrap="square" lIns="108000" rIns="108000" rtlCol="0">
                <a:spAutoFit/>
              </a:bodyPr>
              <a:lstStyle/>
              <a:p>
                <a:pPr algn="r"/>
                <a:endParaRPr lang="fr-FR" sz="600">
                  <a:solidFill>
                    <a:srgbClr val="5F5F5F"/>
                  </a:solidFill>
                  <a:latin typeface="Tahoma"/>
                </a:endParaRPr>
              </a:p>
              <a:p>
                <a:pPr algn="r"/>
                <a:r>
                  <a:rPr lang="fr-FR" sz="600" b="1">
                    <a:solidFill>
                      <a:srgbClr val="503078"/>
                    </a:solidFill>
                    <a:latin typeface="Tahoma"/>
                  </a:rPr>
                  <a:t>Domaine de Mont-</a:t>
                </a:r>
                <a:r>
                  <a:rPr lang="fr-FR" sz="600" b="1" err="1">
                    <a:solidFill>
                      <a:srgbClr val="503078"/>
                    </a:solidFill>
                    <a:latin typeface="Tahoma"/>
                  </a:rPr>
                  <a:t>Evray</a:t>
                </a:r>
                <a:endParaRPr lang="fr-FR" sz="600" b="1">
                  <a:solidFill>
                    <a:srgbClr val="503078"/>
                  </a:solidFill>
                  <a:latin typeface="Tahoma"/>
                </a:endParaRPr>
              </a:p>
              <a:p>
                <a:pPr algn="r"/>
                <a:r>
                  <a:rPr lang="fr-FR" sz="600">
                    <a:solidFill>
                      <a:srgbClr val="5F5F5F"/>
                    </a:solidFill>
                    <a:latin typeface="Tahoma"/>
                  </a:rPr>
                  <a:t>Nouan-Le-Fuzelier (41)</a:t>
                </a:r>
              </a:p>
              <a:p>
                <a:pPr algn="r"/>
                <a:endParaRPr lang="fr-FR" sz="600">
                  <a:solidFill>
                    <a:srgbClr val="5F5F5F"/>
                  </a:solidFill>
                  <a:latin typeface="Tahoma"/>
                </a:endParaRPr>
              </a:p>
            </p:txBody>
          </p:sp>
          <p:sp>
            <p:nvSpPr>
              <p:cNvPr id="133" name="ZoneTexte 132">
                <a:extLst>
                  <a:ext uri="{FF2B5EF4-FFF2-40B4-BE49-F238E27FC236}">
                    <a16:creationId xmlns:a16="http://schemas.microsoft.com/office/drawing/2014/main" id="{00441D6F-FE0F-4A5A-A5CA-694560D58CEA}"/>
                  </a:ext>
                </a:extLst>
              </p:cNvPr>
              <p:cNvSpPr txBox="1"/>
              <p:nvPr/>
            </p:nvSpPr>
            <p:spPr>
              <a:xfrm>
                <a:off x="4924629" y="1485618"/>
                <a:ext cx="1546736" cy="747625"/>
              </a:xfrm>
              <a:prstGeom prst="rect">
                <a:avLst/>
              </a:prstGeom>
              <a:noFill/>
            </p:spPr>
            <p:txBody>
              <a:bodyPr wrap="square" lIns="108000" rIns="108000" rtlCol="0">
                <a:spAutoFit/>
              </a:bodyPr>
              <a:lstStyle/>
              <a:p>
                <a:r>
                  <a:rPr lang="fr-FR" sz="600" b="1">
                    <a:solidFill>
                      <a:srgbClr val="503078"/>
                    </a:solidFill>
                    <a:latin typeface="Tahoma"/>
                  </a:rPr>
                  <a:t>VV Cap France Vallée de l’Yonne</a:t>
                </a:r>
              </a:p>
              <a:p>
                <a:r>
                  <a:rPr lang="fr-FR" sz="600">
                    <a:solidFill>
                      <a:srgbClr val="5F5F5F"/>
                    </a:solidFill>
                    <a:latin typeface="Tahoma"/>
                  </a:rPr>
                  <a:t>Armeau (89)</a:t>
                </a:r>
              </a:p>
              <a:p>
                <a:endParaRPr lang="fr-FR" sz="600">
                  <a:solidFill>
                    <a:srgbClr val="5F5F5F"/>
                  </a:solidFill>
                  <a:latin typeface="Tahoma"/>
                </a:endParaRPr>
              </a:p>
            </p:txBody>
          </p:sp>
          <p:pic>
            <p:nvPicPr>
              <p:cNvPr id="134" name="Location-White-Background">
                <a:extLst>
                  <a:ext uri="{FF2B5EF4-FFF2-40B4-BE49-F238E27FC236}">
                    <a16:creationId xmlns:a16="http://schemas.microsoft.com/office/drawing/2014/main" id="{1EF95448-55B7-4389-A6D2-6C0B85E071F0}"/>
                  </a:ext>
                </a:extLst>
              </p:cNvPr>
              <p:cNvPicPr>
                <a:picLocks noChangeAspect="1"/>
              </p:cNvPicPr>
              <p:nvPr/>
            </p:nvPicPr>
            <p:blipFill>
              <a:blip r:embed="rId20" cstate="print">
                <a:extLst>
                  <a:ext uri="{BEBA8EAE-BF5A-486C-A8C5-ECC9F3942E4B}">
                    <a14:imgProps xmlns:a14="http://schemas.microsoft.com/office/drawing/2010/main">
                      <a14:imgLayer r:embed="rId21">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4956435" y="1760253"/>
                <a:ext cx="186199" cy="182268"/>
              </a:xfrm>
              <a:prstGeom prst="rect">
                <a:avLst/>
              </a:prstGeom>
            </p:spPr>
          </p:pic>
          <p:pic>
            <p:nvPicPr>
              <p:cNvPr id="135" name="Location-White-Background">
                <a:extLst>
                  <a:ext uri="{FF2B5EF4-FFF2-40B4-BE49-F238E27FC236}">
                    <a16:creationId xmlns:a16="http://schemas.microsoft.com/office/drawing/2014/main" id="{2374B223-A573-42CD-9E28-F3F611C1E373}"/>
                  </a:ext>
                </a:extLst>
              </p:cNvPr>
              <p:cNvPicPr>
                <a:picLocks noChangeAspect="1"/>
              </p:cNvPicPr>
              <p:nvPr/>
            </p:nvPicPr>
            <p:blipFill>
              <a:blip r:embed="rId20" cstate="print">
                <a:extLst>
                  <a:ext uri="{BEBA8EAE-BF5A-486C-A8C5-ECC9F3942E4B}">
                    <a14:imgProps xmlns:a14="http://schemas.microsoft.com/office/drawing/2010/main">
                      <a14:imgLayer r:embed="rId21">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4780780" y="1771785"/>
                <a:ext cx="186199" cy="182268"/>
              </a:xfrm>
              <a:prstGeom prst="rect">
                <a:avLst/>
              </a:prstGeom>
            </p:spPr>
          </p:pic>
          <p:pic>
            <p:nvPicPr>
              <p:cNvPr id="136" name="Location-White-Background">
                <a:extLst>
                  <a:ext uri="{FF2B5EF4-FFF2-40B4-BE49-F238E27FC236}">
                    <a16:creationId xmlns:a16="http://schemas.microsoft.com/office/drawing/2014/main" id="{6F44B461-5D67-47DC-A404-0A04B247D909}"/>
                  </a:ext>
                </a:extLst>
              </p:cNvPr>
              <p:cNvPicPr>
                <a:picLocks noChangeAspect="1"/>
              </p:cNvPicPr>
              <p:nvPr/>
            </p:nvPicPr>
            <p:blipFill>
              <a:blip r:embed="rId20" cstate="print">
                <a:extLst>
                  <a:ext uri="{BEBA8EAE-BF5A-486C-A8C5-ECC9F3942E4B}">
                    <a14:imgProps xmlns:a14="http://schemas.microsoft.com/office/drawing/2010/main">
                      <a14:imgLayer r:embed="rId21">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5259562" y="1999276"/>
                <a:ext cx="186199" cy="182268"/>
              </a:xfrm>
              <a:prstGeom prst="rect">
                <a:avLst/>
              </a:prstGeom>
            </p:spPr>
          </p:pic>
        </p:grpSp>
      </p:grpSp>
      <p:pic>
        <p:nvPicPr>
          <p:cNvPr id="177" name="Picture 2" descr="INT'ACT | Avise.org">
            <a:extLst>
              <a:ext uri="{FF2B5EF4-FFF2-40B4-BE49-F238E27FC236}">
                <a16:creationId xmlns:a16="http://schemas.microsoft.com/office/drawing/2014/main" id="{8BD4FC94-D2FC-43C5-9098-EF1127228805}"/>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17331" t="12546" r="11470" b="9956"/>
          <a:stretch/>
        </p:blipFill>
        <p:spPr bwMode="auto">
          <a:xfrm>
            <a:off x="10234238" y="124585"/>
            <a:ext cx="597833" cy="650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43604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45E749-14D8-42BA-A566-C272C57C4B42}"/>
              </a:ext>
            </a:extLst>
          </p:cNvPr>
          <p:cNvSpPr>
            <a:spLocks noGrp="1"/>
          </p:cNvSpPr>
          <p:nvPr>
            <p:ph type="title"/>
          </p:nvPr>
        </p:nvSpPr>
        <p:spPr/>
        <p:txBody>
          <a:bodyPr/>
          <a:lstStyle/>
          <a:p>
            <a:r>
              <a:rPr lang="fr-FR"/>
              <a:t>Etat des lieux des modèles existants</a:t>
            </a:r>
          </a:p>
        </p:txBody>
      </p:sp>
      <p:sp>
        <p:nvSpPr>
          <p:cNvPr id="3" name="Espace réservé du texte 2">
            <a:extLst>
              <a:ext uri="{FF2B5EF4-FFF2-40B4-BE49-F238E27FC236}">
                <a16:creationId xmlns:a16="http://schemas.microsoft.com/office/drawing/2014/main" id="{56CE6F7E-B7E2-4D0A-84E0-E9105A72B01A}"/>
              </a:ext>
            </a:extLst>
          </p:cNvPr>
          <p:cNvSpPr>
            <a:spLocks noGrp="1"/>
          </p:cNvSpPr>
          <p:nvPr>
            <p:ph type="body" sz="quarter" idx="38"/>
          </p:nvPr>
        </p:nvSpPr>
        <p:spPr/>
        <p:txBody>
          <a:bodyPr/>
          <a:lstStyle/>
          <a:p>
            <a:r>
              <a:rPr lang="fr-FR"/>
              <a:t>02</a:t>
            </a:r>
          </a:p>
        </p:txBody>
      </p:sp>
    </p:spTree>
    <p:extLst>
      <p:ext uri="{BB962C8B-B14F-4D97-AF65-F5344CB8AC3E}">
        <p14:creationId xmlns:p14="http://schemas.microsoft.com/office/powerpoint/2010/main" val="34062161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45E749-14D8-42BA-A566-C272C57C4B42}"/>
              </a:ext>
            </a:extLst>
          </p:cNvPr>
          <p:cNvSpPr>
            <a:spLocks noGrp="1"/>
          </p:cNvSpPr>
          <p:nvPr>
            <p:ph type="title"/>
          </p:nvPr>
        </p:nvSpPr>
        <p:spPr/>
        <p:txBody>
          <a:bodyPr/>
          <a:lstStyle/>
          <a:p>
            <a:r>
              <a:rPr lang="fr-FR">
                <a:latin typeface="Tahoma"/>
                <a:ea typeface="+mn-ea"/>
                <a:cs typeface="+mn-cs"/>
              </a:rPr>
              <a:t>Fiches initiatives</a:t>
            </a:r>
            <a:br>
              <a:rPr lang="fr-FR">
                <a:latin typeface="Tahoma"/>
                <a:ea typeface="+mn-ea"/>
                <a:cs typeface="+mn-cs"/>
              </a:rPr>
            </a:br>
            <a:endParaRPr lang="fr-FR"/>
          </a:p>
        </p:txBody>
      </p:sp>
      <p:sp>
        <p:nvSpPr>
          <p:cNvPr id="3" name="Espace réservé du texte 2">
            <a:extLst>
              <a:ext uri="{FF2B5EF4-FFF2-40B4-BE49-F238E27FC236}">
                <a16:creationId xmlns:a16="http://schemas.microsoft.com/office/drawing/2014/main" id="{56CE6F7E-B7E2-4D0A-84E0-E9105A72B01A}"/>
              </a:ext>
            </a:extLst>
          </p:cNvPr>
          <p:cNvSpPr>
            <a:spLocks noGrp="1"/>
          </p:cNvSpPr>
          <p:nvPr>
            <p:ph type="body" sz="quarter" idx="38"/>
          </p:nvPr>
        </p:nvSpPr>
        <p:spPr/>
        <p:txBody>
          <a:bodyPr/>
          <a:lstStyle/>
          <a:p>
            <a:r>
              <a:rPr lang="fr-FR"/>
              <a:t>A</a:t>
            </a:r>
          </a:p>
        </p:txBody>
      </p:sp>
      <p:sp>
        <p:nvSpPr>
          <p:cNvPr id="4" name="Titre 1">
            <a:extLst>
              <a:ext uri="{FF2B5EF4-FFF2-40B4-BE49-F238E27FC236}">
                <a16:creationId xmlns:a16="http://schemas.microsoft.com/office/drawing/2014/main" id="{194C32C5-5DBB-403E-A7AF-719FF8062640}"/>
              </a:ext>
            </a:extLst>
          </p:cNvPr>
          <p:cNvSpPr txBox="1">
            <a:spLocks/>
          </p:cNvSpPr>
          <p:nvPr/>
        </p:nvSpPr>
        <p:spPr bwMode="gray">
          <a:xfrm>
            <a:off x="4037276" y="3816823"/>
            <a:ext cx="6522775" cy="964800"/>
          </a:xfrm>
          <a:prstGeom prst="rect">
            <a:avLst/>
          </a:prstGeom>
          <a:noFill/>
        </p:spPr>
        <p:txBody>
          <a:bodyPr vert="horz" lIns="108000" tIns="108000" rIns="0" bIns="0" rtlCol="0" anchor="t">
            <a:noAutofit/>
          </a:bodyPr>
          <a:lstStyle>
            <a:lvl1pPr algn="r" defTabSz="914400" rtl="0" eaLnBrk="1" latinLnBrk="0" hangingPunct="1">
              <a:lnSpc>
                <a:spcPct val="100000"/>
              </a:lnSpc>
              <a:spcBef>
                <a:spcPct val="0"/>
              </a:spcBef>
              <a:buNone/>
              <a:defRPr sz="2400" kern="1200" cap="none" baseline="0">
                <a:solidFill>
                  <a:schemeClr val="bg2"/>
                </a:solidFill>
                <a:latin typeface="+mj-lt"/>
                <a:ea typeface="+mj-ea"/>
                <a:cs typeface="+mj-cs"/>
              </a:defRPr>
            </a:lvl1pPr>
          </a:lstStyle>
          <a:p>
            <a:r>
              <a:rPr lang="en-US" i="1">
                <a:solidFill>
                  <a:srgbClr val="048B9A"/>
                </a:solidFill>
                <a:latin typeface="Tahoma"/>
              </a:rPr>
              <a:t>E</a:t>
            </a:r>
            <a:r>
              <a:rPr lang="fr-FR" i="1">
                <a:solidFill>
                  <a:srgbClr val="048B9A"/>
                </a:solidFill>
                <a:latin typeface="Tahoma"/>
              </a:rPr>
              <a:t>expérimentations et initiatives publiques </a:t>
            </a:r>
          </a:p>
        </p:txBody>
      </p:sp>
    </p:spTree>
    <p:extLst>
      <p:ext uri="{BB962C8B-B14F-4D97-AF65-F5344CB8AC3E}">
        <p14:creationId xmlns:p14="http://schemas.microsoft.com/office/powerpoint/2010/main" val="306104834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DDB96D-5870-433E-8224-8BA70AB31D5A}"/>
              </a:ext>
            </a:extLst>
          </p:cNvPr>
          <p:cNvSpPr>
            <a:spLocks noGrp="1"/>
          </p:cNvSpPr>
          <p:nvPr>
            <p:ph type="title"/>
          </p:nvPr>
        </p:nvSpPr>
        <p:spPr/>
        <p:txBody>
          <a:bodyPr/>
          <a:lstStyle/>
          <a:p>
            <a:r>
              <a:rPr lang="fr-FR"/>
              <a:t>Initiatives de l’Agence Nationale des Chèques Vacances (ANCV)</a:t>
            </a:r>
          </a:p>
        </p:txBody>
      </p:sp>
      <p:sp>
        <p:nvSpPr>
          <p:cNvPr id="3" name="Espace réservé du texte 2">
            <a:extLst>
              <a:ext uri="{FF2B5EF4-FFF2-40B4-BE49-F238E27FC236}">
                <a16:creationId xmlns:a16="http://schemas.microsoft.com/office/drawing/2014/main" id="{9C630387-01A6-4667-A171-E57EE95EAA8D}"/>
              </a:ext>
            </a:extLst>
          </p:cNvPr>
          <p:cNvSpPr>
            <a:spLocks noGrp="1"/>
          </p:cNvSpPr>
          <p:nvPr>
            <p:ph type="body" sz="quarter" idx="13"/>
          </p:nvPr>
        </p:nvSpPr>
        <p:spPr/>
        <p:txBody>
          <a:bodyPr/>
          <a:lstStyle/>
          <a:p>
            <a:r>
              <a:rPr lang="fr-FR"/>
              <a:t>fiches initiatives</a:t>
            </a:r>
          </a:p>
        </p:txBody>
      </p:sp>
      <p:sp>
        <p:nvSpPr>
          <p:cNvPr id="200" name="ZoneTexte 199">
            <a:extLst>
              <a:ext uri="{FF2B5EF4-FFF2-40B4-BE49-F238E27FC236}">
                <a16:creationId xmlns:a16="http://schemas.microsoft.com/office/drawing/2014/main" id="{9D2F707F-B137-4D67-8AF0-A94280C85E9E}"/>
              </a:ext>
            </a:extLst>
          </p:cNvPr>
          <p:cNvSpPr txBox="1"/>
          <p:nvPr/>
        </p:nvSpPr>
        <p:spPr>
          <a:xfrm>
            <a:off x="1221248" y="770382"/>
            <a:ext cx="5982318" cy="307777"/>
          </a:xfrm>
          <a:prstGeom prst="rect">
            <a:avLst/>
          </a:prstGeom>
          <a:noFill/>
          <a:ln>
            <a:solidFill>
              <a:schemeClr val="bg1"/>
            </a:solidFill>
          </a:ln>
        </p:spPr>
        <p:txBody>
          <a:bodyPr wrap="square" lIns="108000" rIns="108000" rtlCol="0">
            <a:spAutoFit/>
          </a:bodyPr>
          <a:lstStyle/>
          <a:p>
            <a:r>
              <a:rPr lang="fr-FR" sz="1400" b="1">
                <a:solidFill>
                  <a:srgbClr val="503078"/>
                </a:solidFill>
                <a:latin typeface="Tahoma"/>
              </a:rPr>
              <a:t>Description</a:t>
            </a:r>
          </a:p>
        </p:txBody>
      </p:sp>
      <p:sp>
        <p:nvSpPr>
          <p:cNvPr id="201" name="ZoneTexte 200">
            <a:extLst>
              <a:ext uri="{FF2B5EF4-FFF2-40B4-BE49-F238E27FC236}">
                <a16:creationId xmlns:a16="http://schemas.microsoft.com/office/drawing/2014/main" id="{89A8527A-3C63-4EFF-8583-1E85A8B450C3}"/>
              </a:ext>
            </a:extLst>
          </p:cNvPr>
          <p:cNvSpPr txBox="1"/>
          <p:nvPr/>
        </p:nvSpPr>
        <p:spPr>
          <a:xfrm>
            <a:off x="1250885" y="995519"/>
            <a:ext cx="9682660" cy="707886"/>
          </a:xfrm>
          <a:prstGeom prst="rect">
            <a:avLst/>
          </a:prstGeom>
          <a:noFill/>
        </p:spPr>
        <p:txBody>
          <a:bodyPr wrap="square">
            <a:spAutoFit/>
          </a:bodyPr>
          <a:lstStyle/>
          <a:p>
            <a:pPr algn="just"/>
            <a:r>
              <a:rPr lang="fr-FR" sz="1000">
                <a:solidFill>
                  <a:srgbClr val="5F5F5F"/>
                </a:solidFill>
                <a:latin typeface="Tahoma"/>
              </a:rPr>
              <a:t>Dans le cadre de sa mission de service public, l’ANCV œuvre pour le départ en vacances de tous les Français. L’ANCV intervient auprès des CE et des salariés via les chèques-vacances. Depuis 2009, l’ANCV s’est emparée de la problématique des aidants à travers son programme “Seniors en Vacances”. Depuis 2009, d’autres initiatives ont pu être déployées en faveur du répit aidant / aidé. Outre son rôle de financeur, l’ANCV dispose d’une réelle expertise et d’un réseau de plus de 4500 partenaires. </a:t>
            </a:r>
          </a:p>
        </p:txBody>
      </p:sp>
      <p:sp>
        <p:nvSpPr>
          <p:cNvPr id="205" name="Rectangle 204">
            <a:extLst>
              <a:ext uri="{FF2B5EF4-FFF2-40B4-BE49-F238E27FC236}">
                <a16:creationId xmlns:a16="http://schemas.microsoft.com/office/drawing/2014/main" id="{CF48149E-20A4-4107-8D3B-E9C08061E6D3}"/>
              </a:ext>
            </a:extLst>
          </p:cNvPr>
          <p:cNvSpPr>
            <a:spLocks/>
          </p:cNvSpPr>
          <p:nvPr/>
        </p:nvSpPr>
        <p:spPr>
          <a:xfrm>
            <a:off x="1254007" y="2034540"/>
            <a:ext cx="2958401" cy="2837080"/>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206" name="ZoneTexte 205">
            <a:extLst>
              <a:ext uri="{FF2B5EF4-FFF2-40B4-BE49-F238E27FC236}">
                <a16:creationId xmlns:a16="http://schemas.microsoft.com/office/drawing/2014/main" id="{0EB21C34-11EC-46BC-A926-B83151B45BF2}"/>
              </a:ext>
            </a:extLst>
          </p:cNvPr>
          <p:cNvSpPr txBox="1"/>
          <p:nvPr/>
        </p:nvSpPr>
        <p:spPr>
          <a:xfrm>
            <a:off x="1254007" y="1750275"/>
            <a:ext cx="2971427" cy="292388"/>
          </a:xfrm>
          <a:prstGeom prst="rect">
            <a:avLst/>
          </a:prstGeom>
          <a:solidFill>
            <a:srgbClr val="B0ADCC"/>
          </a:solidFill>
          <a:ln>
            <a:noFill/>
          </a:ln>
        </p:spPr>
        <p:txBody>
          <a:bodyPr wrap="square" lIns="108000" rIns="108000" rtlCol="0">
            <a:spAutoFit/>
          </a:bodyPr>
          <a:lstStyle/>
          <a:p>
            <a:pPr algn="ctr"/>
            <a:r>
              <a:rPr lang="fr-FR" sz="1300" b="1">
                <a:solidFill>
                  <a:srgbClr val="FFFFFF"/>
                </a:solidFill>
                <a:latin typeface="Tahoma"/>
              </a:rPr>
              <a:t>Programme Seniors en vacances</a:t>
            </a:r>
          </a:p>
        </p:txBody>
      </p:sp>
      <p:sp>
        <p:nvSpPr>
          <p:cNvPr id="207" name="Rectangle 206">
            <a:extLst>
              <a:ext uri="{FF2B5EF4-FFF2-40B4-BE49-F238E27FC236}">
                <a16:creationId xmlns:a16="http://schemas.microsoft.com/office/drawing/2014/main" id="{EFF73BB4-C1D5-47DD-AFD1-E52F46A4D023}"/>
              </a:ext>
            </a:extLst>
          </p:cNvPr>
          <p:cNvSpPr>
            <a:spLocks/>
          </p:cNvSpPr>
          <p:nvPr/>
        </p:nvSpPr>
        <p:spPr>
          <a:xfrm>
            <a:off x="4359234" y="1749560"/>
            <a:ext cx="3734983" cy="3122060"/>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208" name="ZoneTexte 207">
            <a:extLst>
              <a:ext uri="{FF2B5EF4-FFF2-40B4-BE49-F238E27FC236}">
                <a16:creationId xmlns:a16="http://schemas.microsoft.com/office/drawing/2014/main" id="{3C9830EC-03E9-4EB7-A0ED-B14D1AFB6145}"/>
              </a:ext>
            </a:extLst>
          </p:cNvPr>
          <p:cNvSpPr txBox="1"/>
          <p:nvPr/>
        </p:nvSpPr>
        <p:spPr>
          <a:xfrm>
            <a:off x="4359234" y="1744616"/>
            <a:ext cx="3750108" cy="292388"/>
          </a:xfrm>
          <a:prstGeom prst="rect">
            <a:avLst/>
          </a:prstGeom>
          <a:solidFill>
            <a:srgbClr val="B24669"/>
          </a:solidFill>
          <a:ln>
            <a:noFill/>
          </a:ln>
        </p:spPr>
        <p:txBody>
          <a:bodyPr wrap="square" lIns="108000" rIns="108000" rtlCol="0">
            <a:spAutoFit/>
          </a:bodyPr>
          <a:lstStyle/>
          <a:p>
            <a:pPr algn="ctr"/>
            <a:r>
              <a:rPr lang="fr-FR" sz="1300" b="1">
                <a:solidFill>
                  <a:srgbClr val="FFFFFF"/>
                </a:solidFill>
                <a:latin typeface="Tahoma"/>
              </a:rPr>
              <a:t>Expérimentation PADA</a:t>
            </a:r>
            <a:r>
              <a:rPr lang="fr-FR" sz="1300" b="1" baseline="30000">
                <a:solidFill>
                  <a:srgbClr val="FFFFFF"/>
                </a:solidFill>
                <a:latin typeface="Tahoma"/>
              </a:rPr>
              <a:t>1</a:t>
            </a:r>
          </a:p>
        </p:txBody>
      </p:sp>
      <p:sp>
        <p:nvSpPr>
          <p:cNvPr id="230" name="Rectangle 229">
            <a:extLst>
              <a:ext uri="{FF2B5EF4-FFF2-40B4-BE49-F238E27FC236}">
                <a16:creationId xmlns:a16="http://schemas.microsoft.com/office/drawing/2014/main" id="{5AAA3BDB-E136-4262-AE20-510043CAE2D5}"/>
              </a:ext>
            </a:extLst>
          </p:cNvPr>
          <p:cNvSpPr/>
          <p:nvPr/>
        </p:nvSpPr>
        <p:spPr>
          <a:xfrm>
            <a:off x="1254010" y="810636"/>
            <a:ext cx="9644967" cy="84890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pic>
        <p:nvPicPr>
          <p:cNvPr id="90" name="Picture 2">
            <a:extLst>
              <a:ext uri="{FF2B5EF4-FFF2-40B4-BE49-F238E27FC236}">
                <a16:creationId xmlns:a16="http://schemas.microsoft.com/office/drawing/2014/main" id="{D889DB98-8F28-4C61-BA11-6D542782C46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30136" y="136890"/>
            <a:ext cx="968841" cy="556429"/>
          </a:xfrm>
          <a:prstGeom prst="rect">
            <a:avLst/>
          </a:prstGeom>
          <a:noFill/>
          <a:extLst>
            <a:ext uri="{909E8E84-426E-40DD-AFC4-6F175D3DCCD1}">
              <a14:hiddenFill xmlns:a14="http://schemas.microsoft.com/office/drawing/2010/main">
                <a:solidFill>
                  <a:srgbClr val="FFFFFF"/>
                </a:solidFill>
              </a14:hiddenFill>
            </a:ext>
          </a:extLst>
        </p:spPr>
      </p:pic>
      <p:sp>
        <p:nvSpPr>
          <p:cNvPr id="106" name="Rectangle 105">
            <a:extLst>
              <a:ext uri="{FF2B5EF4-FFF2-40B4-BE49-F238E27FC236}">
                <a16:creationId xmlns:a16="http://schemas.microsoft.com/office/drawing/2014/main" id="{1BAC3E47-70DA-47F0-AA62-B7BC6FBB5356}"/>
              </a:ext>
            </a:extLst>
          </p:cNvPr>
          <p:cNvSpPr/>
          <p:nvPr/>
        </p:nvSpPr>
        <p:spPr>
          <a:xfrm>
            <a:off x="1254007" y="5029580"/>
            <a:ext cx="9631073" cy="1423756"/>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09" name="ZoneTexte 108">
            <a:extLst>
              <a:ext uri="{FF2B5EF4-FFF2-40B4-BE49-F238E27FC236}">
                <a16:creationId xmlns:a16="http://schemas.microsoft.com/office/drawing/2014/main" id="{A40A52E0-23DD-4882-8C12-1B51934A793E}"/>
              </a:ext>
            </a:extLst>
          </p:cNvPr>
          <p:cNvSpPr txBox="1"/>
          <p:nvPr/>
        </p:nvSpPr>
        <p:spPr>
          <a:xfrm>
            <a:off x="1254007" y="4976936"/>
            <a:ext cx="9631073" cy="298376"/>
          </a:xfrm>
          <a:prstGeom prst="rect">
            <a:avLst/>
          </a:prstGeom>
          <a:solidFill>
            <a:schemeClr val="bg2"/>
          </a:solidFill>
          <a:ln>
            <a:noFill/>
          </a:ln>
        </p:spPr>
        <p:txBody>
          <a:bodyPr wrap="square" lIns="108000" rIns="108000" rtlCol="0">
            <a:spAutoFit/>
          </a:bodyPr>
          <a:lstStyle/>
          <a:p>
            <a:r>
              <a:rPr lang="fr-FR" sz="1300" b="1">
                <a:solidFill>
                  <a:srgbClr val="FFFFFF"/>
                </a:solidFill>
                <a:latin typeface="Tahoma"/>
              </a:rPr>
              <a:t>Programme d’Aide aux Projets Vacances (APV) </a:t>
            </a:r>
          </a:p>
        </p:txBody>
      </p:sp>
      <p:sp>
        <p:nvSpPr>
          <p:cNvPr id="111" name="Rectangle 110">
            <a:extLst>
              <a:ext uri="{FF2B5EF4-FFF2-40B4-BE49-F238E27FC236}">
                <a16:creationId xmlns:a16="http://schemas.microsoft.com/office/drawing/2014/main" id="{421C0A10-583D-4213-B5D8-7FBC2B17D26C}"/>
              </a:ext>
            </a:extLst>
          </p:cNvPr>
          <p:cNvSpPr>
            <a:spLocks/>
          </p:cNvSpPr>
          <p:nvPr/>
        </p:nvSpPr>
        <p:spPr>
          <a:xfrm>
            <a:off x="8258267" y="1730900"/>
            <a:ext cx="2626812" cy="3140721"/>
          </a:xfrm>
          <a:prstGeom prst="rect">
            <a:avLst/>
          </a:prstGeom>
          <a:noFill/>
          <a:ln>
            <a:solidFill>
              <a:srgbClr val="B2466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112" name="ZoneTexte 111">
            <a:extLst>
              <a:ext uri="{FF2B5EF4-FFF2-40B4-BE49-F238E27FC236}">
                <a16:creationId xmlns:a16="http://schemas.microsoft.com/office/drawing/2014/main" id="{72863A86-6BFF-4FDE-A601-ECD6208FA547}"/>
              </a:ext>
            </a:extLst>
          </p:cNvPr>
          <p:cNvSpPr txBox="1"/>
          <p:nvPr/>
        </p:nvSpPr>
        <p:spPr>
          <a:xfrm>
            <a:off x="8243142" y="1730898"/>
            <a:ext cx="2655834" cy="292388"/>
          </a:xfrm>
          <a:prstGeom prst="rect">
            <a:avLst/>
          </a:prstGeom>
          <a:solidFill>
            <a:schemeClr val="accent5"/>
          </a:solidFill>
          <a:ln>
            <a:noFill/>
          </a:ln>
        </p:spPr>
        <p:txBody>
          <a:bodyPr wrap="square" lIns="108000" rIns="108000" rtlCol="0">
            <a:spAutoFit/>
          </a:bodyPr>
          <a:lstStyle/>
          <a:p>
            <a:pPr algn="ctr"/>
            <a:r>
              <a:rPr lang="fr-FR" sz="1300" b="1">
                <a:solidFill>
                  <a:srgbClr val="FFFFFF"/>
                </a:solidFill>
                <a:latin typeface="Tahoma"/>
              </a:rPr>
              <a:t>Autres initiatives</a:t>
            </a:r>
          </a:p>
        </p:txBody>
      </p:sp>
      <p:sp>
        <p:nvSpPr>
          <p:cNvPr id="113" name="ZoneTexte 112">
            <a:extLst>
              <a:ext uri="{FF2B5EF4-FFF2-40B4-BE49-F238E27FC236}">
                <a16:creationId xmlns:a16="http://schemas.microsoft.com/office/drawing/2014/main" id="{F8C4A89F-44DC-4FBD-9B0F-35C96846E2CC}"/>
              </a:ext>
            </a:extLst>
          </p:cNvPr>
          <p:cNvSpPr txBox="1"/>
          <p:nvPr/>
        </p:nvSpPr>
        <p:spPr>
          <a:xfrm>
            <a:off x="8243143" y="2038911"/>
            <a:ext cx="2644983" cy="3054682"/>
          </a:xfrm>
          <a:prstGeom prst="rect">
            <a:avLst/>
          </a:prstGeom>
          <a:noFill/>
        </p:spPr>
        <p:txBody>
          <a:bodyPr wrap="square">
            <a:spAutoFit/>
          </a:bodyPr>
          <a:lstStyle/>
          <a:p>
            <a:pPr marL="171450" indent="-171450" algn="just">
              <a:spcAft>
                <a:spcPts val="300"/>
              </a:spcAft>
              <a:buClr>
                <a:srgbClr val="503078"/>
              </a:buClr>
              <a:buFont typeface="Tahoma" panose="020B0604030504040204" pitchFamily="34" charset="0"/>
              <a:buChar char="⁄"/>
            </a:pPr>
            <a:r>
              <a:rPr lang="fr-FR" sz="1000" b="1">
                <a:solidFill>
                  <a:srgbClr val="5F5F5F"/>
                </a:solidFill>
                <a:latin typeface="Tahoma"/>
              </a:rPr>
              <a:t>Appel à projets auprès des salariés aidants (4 millions)</a:t>
            </a:r>
          </a:p>
          <a:p>
            <a:pPr marL="171450" indent="-171450" algn="just">
              <a:spcAft>
                <a:spcPts val="300"/>
              </a:spcAft>
              <a:buClr>
                <a:srgbClr val="503078"/>
              </a:buClr>
              <a:buFont typeface="Tahoma" panose="020B0604030504040204" pitchFamily="34" charset="0"/>
              <a:buChar char="⁄"/>
            </a:pPr>
            <a:r>
              <a:rPr lang="fr-FR" sz="1000" b="1">
                <a:solidFill>
                  <a:srgbClr val="5F5F5F"/>
                </a:solidFill>
                <a:latin typeface="Tahoma"/>
              </a:rPr>
              <a:t>Soutien des association/acteurs institutionnel </a:t>
            </a:r>
            <a:r>
              <a:rPr lang="fr-FR" sz="1000">
                <a:solidFill>
                  <a:srgbClr val="5F5F5F"/>
                </a:solidFill>
                <a:latin typeface="Tahoma"/>
              </a:rPr>
              <a:t>qui ont inscrit les vacances dans leur projet associatif ou politique d’intervention (Ex : restos du cœur, APF, UNAPEI, Education populaire, ANCT) </a:t>
            </a:r>
          </a:p>
          <a:p>
            <a:pPr marL="171450" indent="-171450" algn="just">
              <a:spcAft>
                <a:spcPts val="300"/>
              </a:spcAft>
              <a:buClr>
                <a:srgbClr val="503078"/>
              </a:buClr>
              <a:buFont typeface="Tahoma" panose="020B0604030504040204" pitchFamily="34" charset="0"/>
              <a:buChar char="⁄"/>
            </a:pPr>
            <a:r>
              <a:rPr lang="fr-FR" sz="1000" b="1">
                <a:solidFill>
                  <a:srgbClr val="5F5F5F"/>
                </a:solidFill>
                <a:latin typeface="Tahoma"/>
              </a:rPr>
              <a:t>Fonds d’innovation </a:t>
            </a:r>
            <a:r>
              <a:rPr lang="fr-FR" sz="1000">
                <a:solidFill>
                  <a:srgbClr val="5F5F5F"/>
                </a:solidFill>
                <a:latin typeface="Tahoma"/>
              </a:rPr>
              <a:t>: appels à projets sur des problématiques spécifiques </a:t>
            </a:r>
          </a:p>
          <a:p>
            <a:pPr marL="171450" indent="-171450" algn="just">
              <a:spcAft>
                <a:spcPts val="300"/>
              </a:spcAft>
              <a:buClr>
                <a:srgbClr val="503078"/>
              </a:buClr>
              <a:buFont typeface="Tahoma" panose="020B0604030504040204" pitchFamily="34" charset="0"/>
              <a:buChar char="⁄"/>
            </a:pPr>
            <a:r>
              <a:rPr lang="fr-FR" sz="1000" b="1">
                <a:solidFill>
                  <a:srgbClr val="5F5F5F"/>
                </a:solidFill>
                <a:latin typeface="Tahoma"/>
              </a:rPr>
              <a:t>Soutien</a:t>
            </a:r>
            <a:r>
              <a:rPr lang="fr-FR" sz="1000">
                <a:solidFill>
                  <a:srgbClr val="5F5F5F"/>
                </a:solidFill>
                <a:latin typeface="Tahoma"/>
              </a:rPr>
              <a:t> </a:t>
            </a:r>
            <a:r>
              <a:rPr lang="fr-FR" sz="1000" b="1">
                <a:solidFill>
                  <a:srgbClr val="5F5F5F"/>
                </a:solidFill>
                <a:latin typeface="Tahoma"/>
              </a:rPr>
              <a:t>au projet d’agrandissement des Bobos à la ferme</a:t>
            </a:r>
          </a:p>
          <a:p>
            <a:pPr marL="171450" indent="-171450" algn="just">
              <a:spcAft>
                <a:spcPts val="300"/>
              </a:spcAft>
              <a:buClr>
                <a:srgbClr val="503078"/>
              </a:buClr>
              <a:buFont typeface="Tahoma" panose="020B0604030504040204" pitchFamily="34" charset="0"/>
              <a:buChar char="⁄"/>
            </a:pPr>
            <a:r>
              <a:rPr lang="fr-FR" sz="1000" b="1">
                <a:solidFill>
                  <a:srgbClr val="5F5F5F"/>
                </a:solidFill>
                <a:latin typeface="Tahoma"/>
              </a:rPr>
              <a:t>Signature de conventions de partenariat avec des organismes de formation</a:t>
            </a:r>
            <a:r>
              <a:rPr lang="fr-FR" sz="1000">
                <a:solidFill>
                  <a:srgbClr val="5F5F5F"/>
                </a:solidFill>
                <a:latin typeface="Tahoma"/>
              </a:rPr>
              <a:t> spécialisés dans l’accompagnement de personnes dépendantes</a:t>
            </a:r>
          </a:p>
          <a:p>
            <a:pPr marL="171450" indent="-171450" algn="just">
              <a:buClr>
                <a:srgbClr val="503078"/>
              </a:buClr>
              <a:buFont typeface="Tahoma" panose="020B0604030504040204" pitchFamily="34" charset="0"/>
              <a:buChar char="⁄"/>
            </a:pPr>
            <a:endParaRPr lang="fr-FR" sz="1000">
              <a:solidFill>
                <a:srgbClr val="5F5F5F"/>
              </a:solidFill>
              <a:latin typeface="Tahoma"/>
            </a:endParaRPr>
          </a:p>
        </p:txBody>
      </p:sp>
      <p:sp>
        <p:nvSpPr>
          <p:cNvPr id="116" name="ZoneTexte 115">
            <a:extLst>
              <a:ext uri="{FF2B5EF4-FFF2-40B4-BE49-F238E27FC236}">
                <a16:creationId xmlns:a16="http://schemas.microsoft.com/office/drawing/2014/main" id="{75AD0199-79EB-4CA5-8D8A-0490EFFE4EE2}"/>
              </a:ext>
            </a:extLst>
          </p:cNvPr>
          <p:cNvSpPr txBox="1"/>
          <p:nvPr/>
        </p:nvSpPr>
        <p:spPr>
          <a:xfrm>
            <a:off x="1250886" y="4469962"/>
            <a:ext cx="3033607" cy="400110"/>
          </a:xfrm>
          <a:prstGeom prst="rect">
            <a:avLst/>
          </a:prstGeom>
          <a:noFill/>
        </p:spPr>
        <p:txBody>
          <a:bodyPr wrap="square">
            <a:spAutoFit/>
          </a:bodyPr>
          <a:lstStyle/>
          <a:p>
            <a:pPr marL="171450" indent="-171450" algn="just">
              <a:buClr>
                <a:srgbClr val="503078"/>
              </a:buClr>
              <a:buFont typeface="Tahoma" panose="020B0604030504040204" pitchFamily="34" charset="0"/>
              <a:buChar char="⁄"/>
            </a:pPr>
            <a:r>
              <a:rPr lang="fr-FR" sz="1000">
                <a:solidFill>
                  <a:srgbClr val="5F5F5F"/>
                </a:solidFill>
                <a:latin typeface="Tahoma"/>
              </a:rPr>
              <a:t>En 2011, </a:t>
            </a:r>
            <a:r>
              <a:rPr lang="fr-FR" sz="1000" b="1">
                <a:solidFill>
                  <a:srgbClr val="5F5F5F"/>
                </a:solidFill>
                <a:latin typeface="Tahoma"/>
              </a:rPr>
              <a:t>plus de 900 aidants ont bénéficié d’une aide au départ en vacances</a:t>
            </a:r>
          </a:p>
        </p:txBody>
      </p:sp>
      <p:pic>
        <p:nvPicPr>
          <p:cNvPr id="117" name="Graphique 116" descr="Pièces avec un remplissage uni">
            <a:extLst>
              <a:ext uri="{FF2B5EF4-FFF2-40B4-BE49-F238E27FC236}">
                <a16:creationId xmlns:a16="http://schemas.microsoft.com/office/drawing/2014/main" id="{1E811680-8A49-4E58-BF37-AA768A202A5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03876" y="3936045"/>
            <a:ext cx="354439" cy="354439"/>
          </a:xfrm>
          <a:prstGeom prst="rect">
            <a:avLst/>
          </a:prstGeom>
        </p:spPr>
      </p:pic>
      <p:pic>
        <p:nvPicPr>
          <p:cNvPr id="118" name="Graphique 117" descr="Utilisateur">
            <a:extLst>
              <a:ext uri="{FF2B5EF4-FFF2-40B4-BE49-F238E27FC236}">
                <a16:creationId xmlns:a16="http://schemas.microsoft.com/office/drawing/2014/main" id="{A7F4D61B-A166-4AB2-AF9E-78A15C4B312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82699" y="3283802"/>
            <a:ext cx="343642" cy="343642"/>
          </a:xfrm>
          <a:prstGeom prst="rect">
            <a:avLst/>
          </a:prstGeom>
        </p:spPr>
      </p:pic>
      <p:sp>
        <p:nvSpPr>
          <p:cNvPr id="120" name="ZoneTexte 119">
            <a:extLst>
              <a:ext uri="{FF2B5EF4-FFF2-40B4-BE49-F238E27FC236}">
                <a16:creationId xmlns:a16="http://schemas.microsoft.com/office/drawing/2014/main" id="{89190F68-6F15-4733-9CBE-0456010BBEC9}"/>
              </a:ext>
            </a:extLst>
          </p:cNvPr>
          <p:cNvSpPr txBox="1"/>
          <p:nvPr/>
        </p:nvSpPr>
        <p:spPr>
          <a:xfrm>
            <a:off x="1250887" y="2060852"/>
            <a:ext cx="3000867" cy="1169551"/>
          </a:xfrm>
          <a:prstGeom prst="rect">
            <a:avLst/>
          </a:prstGeom>
          <a:noFill/>
        </p:spPr>
        <p:txBody>
          <a:bodyPr wrap="square">
            <a:spAutoFit/>
          </a:bodyPr>
          <a:lstStyle/>
          <a:p>
            <a:pPr algn="just">
              <a:buClr>
                <a:srgbClr val="503078"/>
              </a:buClr>
            </a:pPr>
            <a:r>
              <a:rPr lang="fr-FR" sz="1000">
                <a:solidFill>
                  <a:srgbClr val="5F5F5F"/>
                </a:solidFill>
                <a:latin typeface="Tahoma"/>
              </a:rPr>
              <a:t>Depuis 2009, l’ANCV développe des </a:t>
            </a:r>
            <a:r>
              <a:rPr lang="fr-FR" sz="1000" b="1">
                <a:solidFill>
                  <a:srgbClr val="5F5F5F"/>
                </a:solidFill>
                <a:latin typeface="Tahoma"/>
              </a:rPr>
              <a:t>séjours spécifiques à destination des personnes âgées et leurs aidants. </a:t>
            </a:r>
            <a:r>
              <a:rPr lang="fr-FR" sz="1000">
                <a:solidFill>
                  <a:srgbClr val="5F5F5F"/>
                </a:solidFill>
                <a:latin typeface="Tahoma"/>
              </a:rPr>
              <a:t>Il s’agit d’une </a:t>
            </a:r>
            <a:r>
              <a:rPr lang="fr-FR" sz="1000" b="1">
                <a:solidFill>
                  <a:srgbClr val="5F5F5F"/>
                </a:solidFill>
                <a:latin typeface="Tahoma"/>
              </a:rPr>
              <a:t>offre de séjour clé en mains </a:t>
            </a:r>
            <a:r>
              <a:rPr lang="fr-FR" sz="1000">
                <a:solidFill>
                  <a:srgbClr val="5F5F5F"/>
                </a:solidFill>
                <a:latin typeface="Tahoma"/>
              </a:rPr>
              <a:t>: les lieux de vacances sont sélectionnés via un appel d’offres. Les répondants sont à 70% des structures du tourisme ordinaire. Les séjours sont organisés sur 1 à 2 semaines.</a:t>
            </a:r>
          </a:p>
        </p:txBody>
      </p:sp>
      <p:sp>
        <p:nvSpPr>
          <p:cNvPr id="124" name="ZoneTexte 123">
            <a:extLst>
              <a:ext uri="{FF2B5EF4-FFF2-40B4-BE49-F238E27FC236}">
                <a16:creationId xmlns:a16="http://schemas.microsoft.com/office/drawing/2014/main" id="{869A6594-2045-4494-BE83-FF200ACF9761}"/>
              </a:ext>
            </a:extLst>
          </p:cNvPr>
          <p:cNvSpPr txBox="1"/>
          <p:nvPr/>
        </p:nvSpPr>
        <p:spPr>
          <a:xfrm>
            <a:off x="1680666" y="3200771"/>
            <a:ext cx="2519455" cy="553998"/>
          </a:xfrm>
          <a:prstGeom prst="rect">
            <a:avLst/>
          </a:prstGeom>
          <a:noFill/>
        </p:spPr>
        <p:txBody>
          <a:bodyPr wrap="square">
            <a:spAutoFit/>
          </a:bodyPr>
          <a:lstStyle/>
          <a:p>
            <a:r>
              <a:rPr lang="fr-FR" sz="1000" b="1">
                <a:solidFill>
                  <a:srgbClr val="5F5F5F"/>
                </a:solidFill>
                <a:latin typeface="Tahoma"/>
              </a:rPr>
              <a:t>+ de 60 ans </a:t>
            </a:r>
            <a:r>
              <a:rPr lang="fr-FR" sz="1000">
                <a:solidFill>
                  <a:srgbClr val="5F5F5F"/>
                </a:solidFill>
                <a:latin typeface="Tahoma"/>
              </a:rPr>
              <a:t>retraités ou sans activité professionnelle </a:t>
            </a:r>
            <a:r>
              <a:rPr lang="fr-FR" sz="1000" b="1">
                <a:solidFill>
                  <a:srgbClr val="5F5F5F"/>
                </a:solidFill>
                <a:latin typeface="Tahoma"/>
              </a:rPr>
              <a:t>et leurs aidants / séjours de groupes pour les ESMS</a:t>
            </a:r>
          </a:p>
        </p:txBody>
      </p:sp>
      <p:sp>
        <p:nvSpPr>
          <p:cNvPr id="125" name="ZoneTexte 124">
            <a:extLst>
              <a:ext uri="{FF2B5EF4-FFF2-40B4-BE49-F238E27FC236}">
                <a16:creationId xmlns:a16="http://schemas.microsoft.com/office/drawing/2014/main" id="{A3F784BB-38BD-4946-AEB8-BD125861D27C}"/>
              </a:ext>
            </a:extLst>
          </p:cNvPr>
          <p:cNvSpPr txBox="1"/>
          <p:nvPr/>
        </p:nvSpPr>
        <p:spPr>
          <a:xfrm>
            <a:off x="1672087" y="3886354"/>
            <a:ext cx="2594644" cy="553998"/>
          </a:xfrm>
          <a:prstGeom prst="rect">
            <a:avLst/>
          </a:prstGeom>
          <a:noFill/>
        </p:spPr>
        <p:txBody>
          <a:bodyPr wrap="square">
            <a:spAutoFit/>
          </a:bodyPr>
          <a:lstStyle/>
          <a:p>
            <a:r>
              <a:rPr lang="fr-FR" sz="1000">
                <a:solidFill>
                  <a:srgbClr val="5F5F5F"/>
                </a:solidFill>
                <a:latin typeface="Tahoma"/>
              </a:rPr>
              <a:t>Aide aux bénéficiaires (personnes âgées : sur QF, aidants : sans conditions d’âge ou de ressources)</a:t>
            </a:r>
          </a:p>
        </p:txBody>
      </p:sp>
      <p:sp>
        <p:nvSpPr>
          <p:cNvPr id="165" name="ZoneTexte 164">
            <a:extLst>
              <a:ext uri="{FF2B5EF4-FFF2-40B4-BE49-F238E27FC236}">
                <a16:creationId xmlns:a16="http://schemas.microsoft.com/office/drawing/2014/main" id="{BF474B02-DBFE-4ECB-9B86-578B4FF694C1}"/>
              </a:ext>
            </a:extLst>
          </p:cNvPr>
          <p:cNvSpPr txBox="1"/>
          <p:nvPr/>
        </p:nvSpPr>
        <p:spPr>
          <a:xfrm>
            <a:off x="4352481" y="2037551"/>
            <a:ext cx="3741735" cy="400110"/>
          </a:xfrm>
          <a:prstGeom prst="rect">
            <a:avLst/>
          </a:prstGeom>
          <a:noFill/>
        </p:spPr>
        <p:txBody>
          <a:bodyPr wrap="square">
            <a:spAutoFit/>
          </a:bodyPr>
          <a:lstStyle/>
          <a:p>
            <a:pPr algn="just">
              <a:buClr>
                <a:srgbClr val="503078"/>
              </a:buClr>
            </a:pPr>
            <a:r>
              <a:rPr lang="fr-FR" sz="1000">
                <a:solidFill>
                  <a:srgbClr val="5A5A5A"/>
                </a:solidFill>
                <a:latin typeface="Tahoma"/>
              </a:rPr>
              <a:t>Depuis 2020, l’ANCV déploie l’expérimentation PADA (Personnes Agées Dépendantes et leurs Aidants). </a:t>
            </a:r>
            <a:endParaRPr lang="fr-FR" sz="1000">
              <a:solidFill>
                <a:srgbClr val="5F5F5F"/>
              </a:solidFill>
              <a:latin typeface="Tahoma"/>
            </a:endParaRPr>
          </a:p>
        </p:txBody>
      </p:sp>
      <p:pic>
        <p:nvPicPr>
          <p:cNvPr id="166" name="Graphique 165" descr="Utilisateur">
            <a:extLst>
              <a:ext uri="{FF2B5EF4-FFF2-40B4-BE49-F238E27FC236}">
                <a16:creationId xmlns:a16="http://schemas.microsoft.com/office/drawing/2014/main" id="{AC302643-4F68-43C4-932E-1502246C8B7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39784" y="2463522"/>
            <a:ext cx="355121" cy="343642"/>
          </a:xfrm>
          <a:prstGeom prst="rect">
            <a:avLst/>
          </a:prstGeom>
        </p:spPr>
      </p:pic>
      <p:sp>
        <p:nvSpPr>
          <p:cNvPr id="167" name="ZoneTexte 166">
            <a:extLst>
              <a:ext uri="{FF2B5EF4-FFF2-40B4-BE49-F238E27FC236}">
                <a16:creationId xmlns:a16="http://schemas.microsoft.com/office/drawing/2014/main" id="{3A20207D-D263-4915-8369-A34104B58172}"/>
              </a:ext>
            </a:extLst>
          </p:cNvPr>
          <p:cNvSpPr txBox="1"/>
          <p:nvPr/>
        </p:nvSpPr>
        <p:spPr>
          <a:xfrm>
            <a:off x="4744974" y="2442748"/>
            <a:ext cx="3335587" cy="400110"/>
          </a:xfrm>
          <a:prstGeom prst="rect">
            <a:avLst/>
          </a:prstGeom>
          <a:noFill/>
        </p:spPr>
        <p:txBody>
          <a:bodyPr wrap="square">
            <a:spAutoFit/>
          </a:bodyPr>
          <a:lstStyle/>
          <a:p>
            <a:pPr algn="just"/>
            <a:r>
              <a:rPr lang="fr-FR" sz="1000">
                <a:solidFill>
                  <a:srgbClr val="5F5F5F"/>
                </a:solidFill>
                <a:latin typeface="Tahoma"/>
              </a:rPr>
              <a:t>Séjours courts (5 à 8 jours) à destination </a:t>
            </a:r>
            <a:r>
              <a:rPr lang="fr-FR" sz="1000" b="1">
                <a:solidFill>
                  <a:srgbClr val="5F5F5F"/>
                </a:solidFill>
                <a:latin typeface="Tahoma"/>
              </a:rPr>
              <a:t>des personnes âgées dépendantes et leurs aidants</a:t>
            </a:r>
          </a:p>
        </p:txBody>
      </p:sp>
      <p:sp>
        <p:nvSpPr>
          <p:cNvPr id="169" name="ZoneTexte 168">
            <a:extLst>
              <a:ext uri="{FF2B5EF4-FFF2-40B4-BE49-F238E27FC236}">
                <a16:creationId xmlns:a16="http://schemas.microsoft.com/office/drawing/2014/main" id="{75179760-3AAE-4B03-B088-5D72FA311E28}"/>
              </a:ext>
            </a:extLst>
          </p:cNvPr>
          <p:cNvSpPr txBox="1"/>
          <p:nvPr/>
        </p:nvSpPr>
        <p:spPr>
          <a:xfrm>
            <a:off x="4766421" y="2903088"/>
            <a:ext cx="3334115" cy="553998"/>
          </a:xfrm>
          <a:prstGeom prst="rect">
            <a:avLst/>
          </a:prstGeom>
          <a:noFill/>
        </p:spPr>
        <p:txBody>
          <a:bodyPr wrap="square">
            <a:spAutoFit/>
          </a:bodyPr>
          <a:lstStyle/>
          <a:p>
            <a:pPr algn="just"/>
            <a:r>
              <a:rPr lang="fr-FR" sz="1000">
                <a:solidFill>
                  <a:srgbClr val="5F5F5F"/>
                </a:solidFill>
                <a:latin typeface="Tahoma"/>
              </a:rPr>
              <a:t>Porteurs de projets : principalement des EHPAD, mais également d’autres ESMS, des associations, des caisses de retraite, …)</a:t>
            </a:r>
          </a:p>
        </p:txBody>
      </p:sp>
      <p:sp>
        <p:nvSpPr>
          <p:cNvPr id="170" name="ZoneTexte 169">
            <a:extLst>
              <a:ext uri="{FF2B5EF4-FFF2-40B4-BE49-F238E27FC236}">
                <a16:creationId xmlns:a16="http://schemas.microsoft.com/office/drawing/2014/main" id="{88BB9AC6-2D09-4D0D-8378-A3641DDEDAA9}"/>
              </a:ext>
            </a:extLst>
          </p:cNvPr>
          <p:cNvSpPr txBox="1"/>
          <p:nvPr/>
        </p:nvSpPr>
        <p:spPr>
          <a:xfrm>
            <a:off x="4359232" y="4459756"/>
            <a:ext cx="3702632" cy="400110"/>
          </a:xfrm>
          <a:prstGeom prst="rect">
            <a:avLst/>
          </a:prstGeom>
          <a:noFill/>
        </p:spPr>
        <p:txBody>
          <a:bodyPr wrap="square">
            <a:spAutoFit/>
          </a:bodyPr>
          <a:lstStyle/>
          <a:p>
            <a:pPr marL="171450" indent="-171450" algn="just">
              <a:buClr>
                <a:srgbClr val="503078"/>
              </a:buClr>
              <a:buFont typeface="Tahoma" panose="020B0604030504040204" pitchFamily="34" charset="0"/>
              <a:buChar char="⁄"/>
            </a:pPr>
            <a:r>
              <a:rPr lang="en-US" sz="1000" b="1">
                <a:solidFill>
                  <a:srgbClr val="5A5A5A"/>
                </a:solidFill>
                <a:latin typeface="Tahoma"/>
              </a:rPr>
              <a:t>D</a:t>
            </a:r>
            <a:r>
              <a:rPr lang="fr-FR" sz="1000" b="1" err="1">
                <a:solidFill>
                  <a:srgbClr val="5A5A5A"/>
                </a:solidFill>
                <a:latin typeface="Tahoma"/>
              </a:rPr>
              <a:t>epuis</a:t>
            </a:r>
            <a:r>
              <a:rPr lang="fr-FR" sz="1000" b="1">
                <a:solidFill>
                  <a:srgbClr val="5A5A5A"/>
                </a:solidFill>
                <a:latin typeface="Tahoma"/>
              </a:rPr>
              <a:t> 2021, 261 personnes âgées et 66 aidants ont pu bénéficier de ces séjours</a:t>
            </a:r>
            <a:endParaRPr lang="fr-FR" sz="1000">
              <a:solidFill>
                <a:srgbClr val="5F5F5F"/>
              </a:solidFill>
              <a:latin typeface="Tahoma"/>
            </a:endParaRPr>
          </a:p>
        </p:txBody>
      </p:sp>
      <p:pic>
        <p:nvPicPr>
          <p:cNvPr id="171" name="Graphique 170" descr="Pièces avec un remplissage uni">
            <a:extLst>
              <a:ext uri="{FF2B5EF4-FFF2-40B4-BE49-F238E27FC236}">
                <a16:creationId xmlns:a16="http://schemas.microsoft.com/office/drawing/2014/main" id="{13C30B92-BC65-4D3F-AB81-64558E00A34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54762" y="3578177"/>
            <a:ext cx="354439" cy="354439"/>
          </a:xfrm>
          <a:prstGeom prst="rect">
            <a:avLst/>
          </a:prstGeom>
        </p:spPr>
      </p:pic>
      <p:sp>
        <p:nvSpPr>
          <p:cNvPr id="172" name="ZoneTexte 171">
            <a:extLst>
              <a:ext uri="{FF2B5EF4-FFF2-40B4-BE49-F238E27FC236}">
                <a16:creationId xmlns:a16="http://schemas.microsoft.com/office/drawing/2014/main" id="{2D5EC1F1-ACD9-4633-8E90-E4998652259A}"/>
              </a:ext>
            </a:extLst>
          </p:cNvPr>
          <p:cNvSpPr txBox="1"/>
          <p:nvPr/>
        </p:nvSpPr>
        <p:spPr>
          <a:xfrm>
            <a:off x="4760102" y="3424784"/>
            <a:ext cx="3295445" cy="1015663"/>
          </a:xfrm>
          <a:prstGeom prst="rect">
            <a:avLst/>
          </a:prstGeom>
          <a:noFill/>
        </p:spPr>
        <p:txBody>
          <a:bodyPr wrap="square">
            <a:spAutoFit/>
          </a:bodyPr>
          <a:lstStyle/>
          <a:p>
            <a:pPr algn="just"/>
            <a:r>
              <a:rPr lang="fr-FR" sz="1000">
                <a:solidFill>
                  <a:srgbClr val="5F5F5F"/>
                </a:solidFill>
                <a:latin typeface="Tahoma"/>
              </a:rPr>
              <a:t>Financement de 60% des coûts logistiques du séjour par l’ANCV dans la limite de 250€ par bénéficiaire (aidant ou aidé) et 150€ par accompagnant. Les CARSAT partenaires abondent à hauteur de 150€ par aidant. L’aide est directement reversé au porteur du projet de vacances.</a:t>
            </a:r>
            <a:endParaRPr lang="fr-FR" sz="1000" b="1">
              <a:solidFill>
                <a:srgbClr val="5F5F5F"/>
              </a:solidFill>
              <a:latin typeface="Tahoma"/>
            </a:endParaRPr>
          </a:p>
        </p:txBody>
      </p:sp>
      <p:pic>
        <p:nvPicPr>
          <p:cNvPr id="173" name="Graphique 172" descr="Utilisateur">
            <a:extLst>
              <a:ext uri="{FF2B5EF4-FFF2-40B4-BE49-F238E27FC236}">
                <a16:creationId xmlns:a16="http://schemas.microsoft.com/office/drawing/2014/main" id="{137C3764-90D1-431B-ABB5-308011F1B85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39783" y="2938642"/>
            <a:ext cx="354964" cy="343642"/>
          </a:xfrm>
          <a:prstGeom prst="rect">
            <a:avLst/>
          </a:prstGeom>
        </p:spPr>
      </p:pic>
      <p:sp>
        <p:nvSpPr>
          <p:cNvPr id="174" name="ZoneTexte 173">
            <a:extLst>
              <a:ext uri="{FF2B5EF4-FFF2-40B4-BE49-F238E27FC236}">
                <a16:creationId xmlns:a16="http://schemas.microsoft.com/office/drawing/2014/main" id="{8E876BEF-8054-431C-83A6-D6723478D877}"/>
              </a:ext>
            </a:extLst>
          </p:cNvPr>
          <p:cNvSpPr txBox="1"/>
          <p:nvPr/>
        </p:nvSpPr>
        <p:spPr>
          <a:xfrm>
            <a:off x="1627551" y="5631547"/>
            <a:ext cx="8830153" cy="246221"/>
          </a:xfrm>
          <a:prstGeom prst="rect">
            <a:avLst/>
          </a:prstGeom>
          <a:noFill/>
        </p:spPr>
        <p:txBody>
          <a:bodyPr wrap="square">
            <a:spAutoFit/>
          </a:bodyPr>
          <a:lstStyle/>
          <a:p>
            <a:pPr algn="just">
              <a:buClr>
                <a:srgbClr val="503078"/>
              </a:buClr>
            </a:pPr>
            <a:r>
              <a:rPr lang="fr-FR" sz="1000">
                <a:solidFill>
                  <a:srgbClr val="5F5F5F"/>
                </a:solidFill>
                <a:latin typeface="Tahoma"/>
              </a:rPr>
              <a:t>Travailleurs handicapés d’ESAT et leurs aidants (ainsi que les anciens travailleurs d’ESAT vivant toujours en Foyer d’Hébergement)</a:t>
            </a:r>
          </a:p>
        </p:txBody>
      </p:sp>
      <p:pic>
        <p:nvPicPr>
          <p:cNvPr id="176" name="Graphique 175" descr="Utilisateur">
            <a:extLst>
              <a:ext uri="{FF2B5EF4-FFF2-40B4-BE49-F238E27FC236}">
                <a16:creationId xmlns:a16="http://schemas.microsoft.com/office/drawing/2014/main" id="{C1004378-2663-4E8E-B807-64B21DE7A22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92786" y="5594328"/>
            <a:ext cx="343642" cy="343642"/>
          </a:xfrm>
          <a:prstGeom prst="rect">
            <a:avLst/>
          </a:prstGeom>
        </p:spPr>
      </p:pic>
      <p:sp>
        <p:nvSpPr>
          <p:cNvPr id="178" name="ZoneTexte 177">
            <a:extLst>
              <a:ext uri="{FF2B5EF4-FFF2-40B4-BE49-F238E27FC236}">
                <a16:creationId xmlns:a16="http://schemas.microsoft.com/office/drawing/2014/main" id="{A5A22BC9-DA7C-46F3-AA20-2B1306985FFA}"/>
              </a:ext>
            </a:extLst>
          </p:cNvPr>
          <p:cNvSpPr txBox="1"/>
          <p:nvPr/>
        </p:nvSpPr>
        <p:spPr>
          <a:xfrm>
            <a:off x="1231327" y="5259144"/>
            <a:ext cx="9666035" cy="400110"/>
          </a:xfrm>
          <a:prstGeom prst="rect">
            <a:avLst/>
          </a:prstGeom>
          <a:noFill/>
        </p:spPr>
        <p:txBody>
          <a:bodyPr wrap="square">
            <a:spAutoFit/>
          </a:bodyPr>
          <a:lstStyle/>
          <a:p>
            <a:pPr algn="just"/>
            <a:r>
              <a:rPr lang="fr-FR" sz="1000">
                <a:solidFill>
                  <a:srgbClr val="5F5F5F"/>
                </a:solidFill>
                <a:latin typeface="Tahoma"/>
              </a:rPr>
              <a:t>Programme cofinancé par l</a:t>
            </a:r>
            <a:r>
              <a:rPr lang="fr-FR" sz="1000" b="1">
                <a:solidFill>
                  <a:srgbClr val="5F5F5F"/>
                </a:solidFill>
                <a:latin typeface="Tahoma"/>
              </a:rPr>
              <a:t>’ANCV </a:t>
            </a:r>
            <a:r>
              <a:rPr lang="fr-FR" sz="1000">
                <a:solidFill>
                  <a:srgbClr val="5F5F5F"/>
                </a:solidFill>
                <a:latin typeface="Tahoma"/>
              </a:rPr>
              <a:t>et les </a:t>
            </a:r>
            <a:r>
              <a:rPr lang="fr-FR" sz="1000" b="1">
                <a:solidFill>
                  <a:srgbClr val="5F5F5F"/>
                </a:solidFill>
                <a:latin typeface="Tahoma"/>
              </a:rPr>
              <a:t>membres du CCAH à hauteur de 13 millions d’euros</a:t>
            </a:r>
            <a:r>
              <a:rPr lang="fr-FR" sz="1000">
                <a:solidFill>
                  <a:srgbClr val="5F5F5F"/>
                </a:solidFill>
                <a:latin typeface="Tahoma"/>
              </a:rPr>
              <a:t>. Près de </a:t>
            </a:r>
            <a:r>
              <a:rPr lang="fr-FR" sz="1000" b="1">
                <a:solidFill>
                  <a:srgbClr val="5F5F5F"/>
                </a:solidFill>
                <a:latin typeface="Tahoma"/>
              </a:rPr>
              <a:t>35 000 travailleurs soutenus dans leurs départs en vacances </a:t>
            </a:r>
            <a:r>
              <a:rPr lang="fr-FR" sz="1000">
                <a:solidFill>
                  <a:srgbClr val="5F5F5F"/>
                </a:solidFill>
                <a:latin typeface="Tahoma"/>
              </a:rPr>
              <a:t>depuis 2009. </a:t>
            </a:r>
            <a:r>
              <a:rPr lang="fr-FR" sz="1000" b="1">
                <a:solidFill>
                  <a:srgbClr val="5F5F5F"/>
                </a:solidFill>
                <a:latin typeface="Tahoma"/>
              </a:rPr>
              <a:t>Séjour d’une durée maximum de 21 jours</a:t>
            </a:r>
            <a:r>
              <a:rPr lang="fr-FR" sz="1000">
                <a:solidFill>
                  <a:srgbClr val="5F5F5F"/>
                </a:solidFill>
                <a:latin typeface="Tahoma"/>
              </a:rPr>
              <a:t>. Aide non cumulable avec d’autres aides émanant directement ou indirectement de l’ANCV.</a:t>
            </a:r>
          </a:p>
        </p:txBody>
      </p:sp>
      <p:pic>
        <p:nvPicPr>
          <p:cNvPr id="179" name="Graphique 178" descr="Pièces avec un remplissage uni">
            <a:extLst>
              <a:ext uri="{FF2B5EF4-FFF2-40B4-BE49-F238E27FC236}">
                <a16:creationId xmlns:a16="http://schemas.microsoft.com/office/drawing/2014/main" id="{90A94535-1A36-45F4-8703-842D478242DB}"/>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96490" y="5925240"/>
            <a:ext cx="354439" cy="354439"/>
          </a:xfrm>
          <a:prstGeom prst="rect">
            <a:avLst/>
          </a:prstGeom>
        </p:spPr>
      </p:pic>
      <p:sp>
        <p:nvSpPr>
          <p:cNvPr id="180" name="ZoneTexte 179">
            <a:extLst>
              <a:ext uri="{FF2B5EF4-FFF2-40B4-BE49-F238E27FC236}">
                <a16:creationId xmlns:a16="http://schemas.microsoft.com/office/drawing/2014/main" id="{BF78D6C9-4F86-4C6D-9F5D-5F4674FF5D74}"/>
              </a:ext>
            </a:extLst>
          </p:cNvPr>
          <p:cNvSpPr txBox="1"/>
          <p:nvPr/>
        </p:nvSpPr>
        <p:spPr>
          <a:xfrm>
            <a:off x="1636429" y="5858352"/>
            <a:ext cx="9248651" cy="553998"/>
          </a:xfrm>
          <a:prstGeom prst="rect">
            <a:avLst/>
          </a:prstGeom>
          <a:noFill/>
        </p:spPr>
        <p:txBody>
          <a:bodyPr wrap="square">
            <a:spAutoFit/>
          </a:bodyPr>
          <a:lstStyle/>
          <a:p>
            <a:r>
              <a:rPr lang="fr-FR" sz="1000">
                <a:solidFill>
                  <a:srgbClr val="5F5F5F"/>
                </a:solidFill>
                <a:latin typeface="Tahoma"/>
              </a:rPr>
              <a:t>Projet bénéficiant d’une </a:t>
            </a:r>
            <a:r>
              <a:rPr lang="fr-FR" sz="1000" b="1">
                <a:solidFill>
                  <a:srgbClr val="5F5F5F"/>
                </a:solidFill>
                <a:latin typeface="Tahoma"/>
              </a:rPr>
              <a:t>participation financière de l’ESAT</a:t>
            </a:r>
            <a:r>
              <a:rPr lang="fr-FR" sz="1000">
                <a:solidFill>
                  <a:srgbClr val="5F5F5F"/>
                </a:solidFill>
                <a:latin typeface="Tahoma"/>
              </a:rPr>
              <a:t> (environ 150 €/an et par personne) et de l’implication du demandeur sous la forme d’une épargne </a:t>
            </a:r>
            <a:r>
              <a:rPr lang="fr-FR" sz="1000" b="1">
                <a:solidFill>
                  <a:srgbClr val="5F5F5F"/>
                </a:solidFill>
                <a:latin typeface="Tahoma"/>
              </a:rPr>
              <a:t>Chèques-Vacances cofinancé par l’ANCV et la CCAH </a:t>
            </a:r>
            <a:r>
              <a:rPr lang="fr-FR" sz="1000">
                <a:solidFill>
                  <a:srgbClr val="5F5F5F"/>
                </a:solidFill>
                <a:latin typeface="Tahoma"/>
              </a:rPr>
              <a:t>(maximum 500 €/personne). Les aidants familiaux ou accompagnateurs dont la présence est nécessaire peuvent demander une aide d’un montant maximum de 50 % du montant de l’APV accordée au bénéficiaire.</a:t>
            </a:r>
          </a:p>
        </p:txBody>
      </p:sp>
      <p:sp>
        <p:nvSpPr>
          <p:cNvPr id="38" name="ZoneTexte 37">
            <a:extLst>
              <a:ext uri="{FF2B5EF4-FFF2-40B4-BE49-F238E27FC236}">
                <a16:creationId xmlns:a16="http://schemas.microsoft.com/office/drawing/2014/main" id="{B65E18FD-5BC7-47DE-A4E4-D46F3816449B}"/>
              </a:ext>
            </a:extLst>
          </p:cNvPr>
          <p:cNvSpPr txBox="1"/>
          <p:nvPr/>
        </p:nvSpPr>
        <p:spPr>
          <a:xfrm>
            <a:off x="1176423" y="6574486"/>
            <a:ext cx="9894848" cy="200055"/>
          </a:xfrm>
          <a:prstGeom prst="rect">
            <a:avLst/>
          </a:prstGeom>
          <a:noFill/>
        </p:spPr>
        <p:txBody>
          <a:bodyPr wrap="square" lIns="108000" rIns="108000" rtlCol="0">
            <a:spAutoFit/>
          </a:bodyPr>
          <a:lstStyle/>
          <a:p>
            <a:pPr>
              <a:spcAft>
                <a:spcPts val="300"/>
              </a:spcAft>
              <a:buClr>
                <a:srgbClr val="503078"/>
              </a:buClr>
              <a:defRPr/>
            </a:pPr>
            <a:r>
              <a:rPr lang="fr-FR" sz="700">
                <a:solidFill>
                  <a:srgbClr val="5F5F5F">
                    <a:lumMod val="60000"/>
                    <a:lumOff val="40000"/>
                  </a:srgbClr>
                </a:solidFill>
                <a:latin typeface="Tahoma"/>
              </a:rPr>
              <a:t>1. </a:t>
            </a:r>
            <a:r>
              <a:rPr lang="fr-FR" sz="700">
                <a:solidFill>
                  <a:srgbClr val="5F5F5F">
                    <a:lumMod val="60000"/>
                    <a:lumOff val="40000"/>
                  </a:srgbClr>
                </a:solidFill>
                <a:latin typeface="Tahoma"/>
                <a:hlinkClick r:id="rId8">
                  <a:extLst>
                    <a:ext uri="{A12FA001-AC4F-418D-AE19-62706E023703}">
                      <ahyp:hlinkClr xmlns:ahyp="http://schemas.microsoft.com/office/drawing/2018/hyperlinkcolor" val="tx"/>
                    </a:ext>
                  </a:extLst>
                </a:hlinkClick>
              </a:rPr>
              <a:t>Bilan 2021 de l’expérimentation PADA </a:t>
            </a:r>
            <a:endParaRPr lang="fr-FR" sz="700">
              <a:solidFill>
                <a:srgbClr val="5F5F5F">
                  <a:lumMod val="60000"/>
                  <a:lumOff val="40000"/>
                </a:srgbClr>
              </a:solidFill>
              <a:latin typeface="Tahoma"/>
            </a:endParaRPr>
          </a:p>
        </p:txBody>
      </p:sp>
    </p:spTree>
    <p:extLst>
      <p:ext uri="{BB962C8B-B14F-4D97-AF65-F5344CB8AC3E}">
        <p14:creationId xmlns:p14="http://schemas.microsoft.com/office/powerpoint/2010/main" val="328032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DDB96D-5870-433E-8224-8BA70AB31D5A}"/>
              </a:ext>
            </a:extLst>
          </p:cNvPr>
          <p:cNvSpPr>
            <a:spLocks noGrp="1"/>
          </p:cNvSpPr>
          <p:nvPr>
            <p:ph type="title"/>
          </p:nvPr>
        </p:nvSpPr>
        <p:spPr/>
        <p:txBody>
          <a:bodyPr/>
          <a:lstStyle/>
          <a:p>
            <a:r>
              <a:rPr lang="fr-FR"/>
              <a:t>Expérimentation Relayage et Séjours de répit aidants / aidés - CNSA</a:t>
            </a:r>
            <a:endParaRPr lang="fr-FR">
              <a:highlight>
                <a:srgbClr val="FFFF00"/>
              </a:highlight>
            </a:endParaRPr>
          </a:p>
        </p:txBody>
      </p:sp>
      <p:sp>
        <p:nvSpPr>
          <p:cNvPr id="3" name="Espace réservé du texte 2">
            <a:extLst>
              <a:ext uri="{FF2B5EF4-FFF2-40B4-BE49-F238E27FC236}">
                <a16:creationId xmlns:a16="http://schemas.microsoft.com/office/drawing/2014/main" id="{9C630387-01A6-4667-A171-E57EE95EAA8D}"/>
              </a:ext>
            </a:extLst>
          </p:cNvPr>
          <p:cNvSpPr>
            <a:spLocks noGrp="1"/>
          </p:cNvSpPr>
          <p:nvPr>
            <p:ph type="body" sz="quarter" idx="13"/>
          </p:nvPr>
        </p:nvSpPr>
        <p:spPr/>
        <p:txBody>
          <a:bodyPr/>
          <a:lstStyle/>
          <a:p>
            <a:r>
              <a:rPr lang="fr-FR"/>
              <a:t>fiches initiatives</a:t>
            </a:r>
          </a:p>
        </p:txBody>
      </p:sp>
      <p:pic>
        <p:nvPicPr>
          <p:cNvPr id="59" name="Graphique 58" descr="Utilisateur">
            <a:extLst>
              <a:ext uri="{FF2B5EF4-FFF2-40B4-BE49-F238E27FC236}">
                <a16:creationId xmlns:a16="http://schemas.microsoft.com/office/drawing/2014/main" id="{BCF539CA-033C-4E53-AA11-C9F1D57FD99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57834" y="912247"/>
            <a:ext cx="343642" cy="343642"/>
          </a:xfrm>
          <a:prstGeom prst="rect">
            <a:avLst/>
          </a:prstGeom>
        </p:spPr>
      </p:pic>
      <p:pic>
        <p:nvPicPr>
          <p:cNvPr id="60" name="Graphique 59" descr="Enfants">
            <a:extLst>
              <a:ext uri="{FF2B5EF4-FFF2-40B4-BE49-F238E27FC236}">
                <a16:creationId xmlns:a16="http://schemas.microsoft.com/office/drawing/2014/main" id="{D039143E-4976-4C18-9C94-0BA53EE64FF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82120" y="929748"/>
            <a:ext cx="357605" cy="357605"/>
          </a:xfrm>
          <a:prstGeom prst="rect">
            <a:avLst/>
          </a:prstGeom>
        </p:spPr>
      </p:pic>
      <p:pic>
        <p:nvPicPr>
          <p:cNvPr id="61" name="Graphique 60" descr="Hôpital">
            <a:extLst>
              <a:ext uri="{FF2B5EF4-FFF2-40B4-BE49-F238E27FC236}">
                <a16:creationId xmlns:a16="http://schemas.microsoft.com/office/drawing/2014/main" id="{5A6293E0-A850-432A-AEC2-55244F91F50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656006" y="892054"/>
            <a:ext cx="377667" cy="377667"/>
          </a:xfrm>
          <a:prstGeom prst="rect">
            <a:avLst/>
          </a:prstGeom>
        </p:spPr>
      </p:pic>
      <p:sp>
        <p:nvSpPr>
          <p:cNvPr id="71" name="ZoneTexte 70">
            <a:extLst>
              <a:ext uri="{FF2B5EF4-FFF2-40B4-BE49-F238E27FC236}">
                <a16:creationId xmlns:a16="http://schemas.microsoft.com/office/drawing/2014/main" id="{95275340-2C5E-4AB7-8968-428537133200}"/>
              </a:ext>
            </a:extLst>
          </p:cNvPr>
          <p:cNvSpPr txBox="1"/>
          <p:nvPr/>
        </p:nvSpPr>
        <p:spPr>
          <a:xfrm>
            <a:off x="4359771" y="972837"/>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Public cible</a:t>
            </a:r>
          </a:p>
          <a:p>
            <a:pPr marL="171450" indent="-171450">
              <a:buFontTx/>
              <a:buChar char="-"/>
            </a:pPr>
            <a:endParaRPr lang="fr-FR" sz="1200">
              <a:solidFill>
                <a:srgbClr val="5F5F5F"/>
              </a:solidFill>
              <a:latin typeface="Tahoma"/>
            </a:endParaRPr>
          </a:p>
        </p:txBody>
      </p:sp>
      <p:sp>
        <p:nvSpPr>
          <p:cNvPr id="72" name="Rectangle 71">
            <a:extLst>
              <a:ext uri="{FF2B5EF4-FFF2-40B4-BE49-F238E27FC236}">
                <a16:creationId xmlns:a16="http://schemas.microsoft.com/office/drawing/2014/main" id="{CF33C1E5-DDE1-4156-A8BA-4E287E034C81}"/>
              </a:ext>
            </a:extLst>
          </p:cNvPr>
          <p:cNvSpPr/>
          <p:nvPr/>
        </p:nvSpPr>
        <p:spPr>
          <a:xfrm>
            <a:off x="3939374" y="920243"/>
            <a:ext cx="2566378"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3" name="Rectangle 72">
            <a:extLst>
              <a:ext uri="{FF2B5EF4-FFF2-40B4-BE49-F238E27FC236}">
                <a16:creationId xmlns:a16="http://schemas.microsoft.com/office/drawing/2014/main" id="{E85DFD2B-8AE0-4AEF-971A-2B7DB41E3803}"/>
              </a:ext>
            </a:extLst>
          </p:cNvPr>
          <p:cNvSpPr/>
          <p:nvPr/>
        </p:nvSpPr>
        <p:spPr>
          <a:xfrm>
            <a:off x="8886225" y="929747"/>
            <a:ext cx="2081616" cy="1016776"/>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4" name="ZoneTexte 73">
            <a:extLst>
              <a:ext uri="{FF2B5EF4-FFF2-40B4-BE49-F238E27FC236}">
                <a16:creationId xmlns:a16="http://schemas.microsoft.com/office/drawing/2014/main" id="{77576367-5766-4A85-8CC6-3A325240D7B8}"/>
              </a:ext>
            </a:extLst>
          </p:cNvPr>
          <p:cNvSpPr txBox="1"/>
          <p:nvPr/>
        </p:nvSpPr>
        <p:spPr>
          <a:xfrm>
            <a:off x="9282659" y="963457"/>
            <a:ext cx="1735089" cy="446276"/>
          </a:xfrm>
          <a:prstGeom prst="rect">
            <a:avLst/>
          </a:prstGeom>
          <a:noFill/>
          <a:ln>
            <a:noFill/>
          </a:ln>
        </p:spPr>
        <p:txBody>
          <a:bodyPr wrap="square" lIns="108000" rIns="108000" rtlCol="0">
            <a:spAutoFit/>
          </a:bodyPr>
          <a:lstStyle/>
          <a:p>
            <a:r>
              <a:rPr lang="fr-FR" sz="1100" b="1">
                <a:solidFill>
                  <a:srgbClr val="503078"/>
                </a:solidFill>
                <a:latin typeface="Tahoma"/>
              </a:rPr>
              <a:t>Porteurs </a:t>
            </a:r>
          </a:p>
          <a:p>
            <a:pPr marL="171450" indent="-171450">
              <a:buFontTx/>
              <a:buChar char="-"/>
            </a:pPr>
            <a:endParaRPr lang="fr-FR" sz="1200">
              <a:solidFill>
                <a:srgbClr val="5F5F5F"/>
              </a:solidFill>
              <a:latin typeface="Tahoma"/>
            </a:endParaRPr>
          </a:p>
        </p:txBody>
      </p:sp>
      <p:sp>
        <p:nvSpPr>
          <p:cNvPr id="76" name="Rectangle 75">
            <a:extLst>
              <a:ext uri="{FF2B5EF4-FFF2-40B4-BE49-F238E27FC236}">
                <a16:creationId xmlns:a16="http://schemas.microsoft.com/office/drawing/2014/main" id="{DEA056E4-366B-4B6E-AD2A-2A7DACC2777B}"/>
              </a:ext>
            </a:extLst>
          </p:cNvPr>
          <p:cNvSpPr/>
          <p:nvPr/>
        </p:nvSpPr>
        <p:spPr>
          <a:xfrm>
            <a:off x="6564015" y="920242"/>
            <a:ext cx="2263949" cy="1026282"/>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77" name="ZoneTexte 76">
            <a:extLst>
              <a:ext uri="{FF2B5EF4-FFF2-40B4-BE49-F238E27FC236}">
                <a16:creationId xmlns:a16="http://schemas.microsoft.com/office/drawing/2014/main" id="{9B3B4E4E-968C-4AC1-A916-2CB2CBC81062}"/>
              </a:ext>
            </a:extLst>
          </p:cNvPr>
          <p:cNvSpPr txBox="1"/>
          <p:nvPr/>
        </p:nvSpPr>
        <p:spPr>
          <a:xfrm>
            <a:off x="7015263" y="986250"/>
            <a:ext cx="2318320" cy="446276"/>
          </a:xfrm>
          <a:prstGeom prst="rect">
            <a:avLst/>
          </a:prstGeom>
          <a:noFill/>
          <a:ln>
            <a:noFill/>
          </a:ln>
        </p:spPr>
        <p:txBody>
          <a:bodyPr wrap="square" lIns="108000" rIns="108000" rtlCol="0">
            <a:spAutoFit/>
          </a:bodyPr>
          <a:lstStyle/>
          <a:p>
            <a:r>
              <a:rPr lang="fr-FR" sz="1100" b="1">
                <a:solidFill>
                  <a:srgbClr val="503078"/>
                </a:solidFill>
                <a:latin typeface="Tahoma"/>
              </a:rPr>
              <a:t>Typologie de structure</a:t>
            </a:r>
          </a:p>
          <a:p>
            <a:pPr marL="171450" indent="-171450">
              <a:buFontTx/>
              <a:buChar char="-"/>
            </a:pPr>
            <a:endParaRPr lang="fr-FR" sz="1200">
              <a:solidFill>
                <a:srgbClr val="5F5F5F"/>
              </a:solidFill>
              <a:latin typeface="Tahoma"/>
            </a:endParaRPr>
          </a:p>
        </p:txBody>
      </p:sp>
      <p:sp>
        <p:nvSpPr>
          <p:cNvPr id="78" name="ZoneTexte 77">
            <a:extLst>
              <a:ext uri="{FF2B5EF4-FFF2-40B4-BE49-F238E27FC236}">
                <a16:creationId xmlns:a16="http://schemas.microsoft.com/office/drawing/2014/main" id="{96B574C6-E211-4064-9944-5448EE32BE54}"/>
              </a:ext>
            </a:extLst>
          </p:cNvPr>
          <p:cNvSpPr txBox="1"/>
          <p:nvPr/>
        </p:nvSpPr>
        <p:spPr>
          <a:xfrm>
            <a:off x="3900708" y="1236403"/>
            <a:ext cx="2660644" cy="900246"/>
          </a:xfrm>
          <a:prstGeom prst="rect">
            <a:avLst/>
          </a:prstGeom>
          <a:noFill/>
          <a:ln>
            <a:noFill/>
          </a:ln>
        </p:spPr>
        <p:txBody>
          <a:bodyPr wrap="square" lIns="108000" rIns="108000" rtlCol="0">
            <a:spAutoFit/>
          </a:bodyPr>
          <a:lstStyle/>
          <a:p>
            <a:pPr marL="171450" indent="-171450">
              <a:buClr>
                <a:srgbClr val="503078"/>
              </a:buClr>
              <a:buFont typeface="Tahoma" panose="020B0604030504040204" pitchFamily="34" charset="0"/>
              <a:buChar char="⁄"/>
            </a:pPr>
            <a:r>
              <a:rPr lang="fr-FR" sz="1050">
                <a:solidFill>
                  <a:srgbClr val="5F5F5F"/>
                </a:solidFill>
                <a:latin typeface="Tahoma"/>
              </a:rPr>
              <a:t>Personnes âgées dépendantes</a:t>
            </a:r>
          </a:p>
          <a:p>
            <a:pPr marL="171450" indent="-171450">
              <a:buClr>
                <a:srgbClr val="503078"/>
              </a:buClr>
              <a:buFont typeface="Tahoma" panose="020B0604030504040204" pitchFamily="34" charset="0"/>
              <a:buChar char="⁄"/>
            </a:pPr>
            <a:r>
              <a:rPr lang="fr-FR" sz="1050">
                <a:solidFill>
                  <a:srgbClr val="5F5F5F"/>
                </a:solidFill>
                <a:latin typeface="Tahoma"/>
              </a:rPr>
              <a:t>Personnes en situation de handicap</a:t>
            </a:r>
          </a:p>
          <a:p>
            <a:pPr marL="171450" indent="-171450">
              <a:buClr>
                <a:srgbClr val="503078"/>
              </a:buClr>
              <a:buFont typeface="Tahoma" panose="020B0604030504040204" pitchFamily="34" charset="0"/>
              <a:buChar char="⁄"/>
            </a:pPr>
            <a:r>
              <a:rPr lang="fr-FR" sz="1050">
                <a:solidFill>
                  <a:srgbClr val="5F5F5F"/>
                </a:solidFill>
                <a:latin typeface="Tahoma"/>
              </a:rPr>
              <a:t>Leurs aidants</a:t>
            </a:r>
          </a:p>
          <a:p>
            <a:pPr marL="171450" indent="-171450">
              <a:buClr>
                <a:srgbClr val="503078"/>
              </a:buClr>
              <a:buFont typeface="Tahoma" panose="020B0604030504040204" pitchFamily="34" charset="0"/>
              <a:buChar char="⁄"/>
            </a:pPr>
            <a:r>
              <a:rPr lang="fr-FR" sz="1050">
                <a:solidFill>
                  <a:srgbClr val="5F5F5F"/>
                </a:solidFill>
                <a:latin typeface="Tahoma"/>
              </a:rPr>
              <a:t>Les salariés volontaires</a:t>
            </a:r>
          </a:p>
          <a:p>
            <a:pPr marL="171450" indent="-171450">
              <a:buClr>
                <a:srgbClr val="503078"/>
              </a:buClr>
              <a:buFont typeface="Tahoma" panose="020B0604030504040204" pitchFamily="34" charset="0"/>
              <a:buChar char="⁄"/>
            </a:pPr>
            <a:endParaRPr lang="fr-FR" sz="1050">
              <a:solidFill>
                <a:srgbClr val="5F5F5F"/>
              </a:solidFill>
              <a:latin typeface="Tahoma"/>
            </a:endParaRPr>
          </a:p>
        </p:txBody>
      </p:sp>
      <p:sp>
        <p:nvSpPr>
          <p:cNvPr id="80" name="ZoneTexte 79">
            <a:extLst>
              <a:ext uri="{FF2B5EF4-FFF2-40B4-BE49-F238E27FC236}">
                <a16:creationId xmlns:a16="http://schemas.microsoft.com/office/drawing/2014/main" id="{D486C829-4B6E-4981-9B49-72041AC2853F}"/>
              </a:ext>
            </a:extLst>
          </p:cNvPr>
          <p:cNvSpPr txBox="1"/>
          <p:nvPr/>
        </p:nvSpPr>
        <p:spPr>
          <a:xfrm>
            <a:off x="5960995" y="5421171"/>
            <a:ext cx="4743606" cy="782265"/>
          </a:xfrm>
          <a:prstGeom prst="rect">
            <a:avLst/>
          </a:prstGeom>
          <a:noFill/>
          <a:ln>
            <a:noFill/>
          </a:ln>
        </p:spPr>
        <p:txBody>
          <a:bodyPr wrap="square" lIns="108000" rIns="108000" rtlCol="0">
            <a:spAutoFit/>
          </a:bodyPr>
          <a:lstStyle/>
          <a:p>
            <a:pPr marL="171450" indent="-171450">
              <a:spcAft>
                <a:spcPts val="800"/>
              </a:spcAft>
              <a:buClr>
                <a:srgbClr val="503078"/>
              </a:buClr>
              <a:buFont typeface="Tahoma" panose="020B0604030504040204" pitchFamily="34" charset="0"/>
              <a:buChar char="⁄"/>
            </a:pPr>
            <a:r>
              <a:rPr lang="fr-FR" sz="1050" b="1">
                <a:solidFill>
                  <a:srgbClr val="5F5F5F"/>
                </a:solidFill>
                <a:latin typeface="Tahoma"/>
              </a:rPr>
              <a:t>51 structures </a:t>
            </a:r>
            <a:r>
              <a:rPr lang="fr-FR" sz="1050">
                <a:solidFill>
                  <a:srgbClr val="5F5F5F"/>
                </a:solidFill>
                <a:latin typeface="Tahoma"/>
              </a:rPr>
              <a:t>ont été sélectionnées</a:t>
            </a:r>
          </a:p>
          <a:p>
            <a:pPr marL="171450" indent="-171450">
              <a:spcAft>
                <a:spcPts val="800"/>
              </a:spcAft>
              <a:buClr>
                <a:srgbClr val="503078"/>
              </a:buClr>
              <a:buFont typeface="Tahoma" panose="020B0604030504040204" pitchFamily="34" charset="0"/>
              <a:buChar char="⁄"/>
            </a:pPr>
            <a:r>
              <a:rPr lang="fr-FR" sz="1050">
                <a:solidFill>
                  <a:srgbClr val="5F5F5F"/>
                </a:solidFill>
                <a:latin typeface="Tahoma"/>
              </a:rPr>
              <a:t>Durée de l’expérimentation : </a:t>
            </a:r>
            <a:r>
              <a:rPr lang="fr-FR" sz="1050" b="1">
                <a:solidFill>
                  <a:srgbClr val="5F5F5F"/>
                </a:solidFill>
                <a:latin typeface="Tahoma"/>
              </a:rPr>
              <a:t>du 18 avril 2019 au 31 décembre 2023</a:t>
            </a:r>
          </a:p>
          <a:p>
            <a:pPr marL="171450" indent="-171450">
              <a:spcAft>
                <a:spcPts val="800"/>
              </a:spcAft>
              <a:buClr>
                <a:srgbClr val="503078"/>
              </a:buClr>
              <a:buFont typeface="Tahoma" panose="020B0604030504040204" pitchFamily="34" charset="0"/>
              <a:buChar char="⁄"/>
            </a:pPr>
            <a:r>
              <a:rPr lang="fr-FR" sz="1050">
                <a:solidFill>
                  <a:srgbClr val="5F5F5F"/>
                </a:solidFill>
                <a:latin typeface="Tahoma"/>
              </a:rPr>
              <a:t>Remise d’un rapport d’évaluation prévue pour 2023</a:t>
            </a:r>
          </a:p>
        </p:txBody>
      </p:sp>
      <p:sp>
        <p:nvSpPr>
          <p:cNvPr id="86" name="ZoneTexte 85">
            <a:extLst>
              <a:ext uri="{FF2B5EF4-FFF2-40B4-BE49-F238E27FC236}">
                <a16:creationId xmlns:a16="http://schemas.microsoft.com/office/drawing/2014/main" id="{AF7C0632-E32A-4ADE-A0B6-E79C94E16B96}"/>
              </a:ext>
            </a:extLst>
          </p:cNvPr>
          <p:cNvSpPr txBox="1"/>
          <p:nvPr/>
        </p:nvSpPr>
        <p:spPr>
          <a:xfrm>
            <a:off x="5426291" y="2222245"/>
            <a:ext cx="5504798" cy="307777"/>
          </a:xfrm>
          <a:prstGeom prst="rect">
            <a:avLst/>
          </a:prstGeom>
          <a:noFill/>
          <a:ln>
            <a:solidFill>
              <a:schemeClr val="bg1"/>
            </a:solidFill>
          </a:ln>
        </p:spPr>
        <p:txBody>
          <a:bodyPr wrap="square" lIns="108000" rIns="108000" rtlCol="0">
            <a:spAutoFit/>
          </a:bodyPr>
          <a:lstStyle/>
          <a:p>
            <a:r>
              <a:rPr lang="fr-FR" sz="1400" b="1">
                <a:solidFill>
                  <a:srgbClr val="503078"/>
                </a:solidFill>
                <a:latin typeface="Tahoma"/>
              </a:rPr>
              <a:t>Description</a:t>
            </a:r>
          </a:p>
        </p:txBody>
      </p:sp>
      <p:sp>
        <p:nvSpPr>
          <p:cNvPr id="111" name="ZoneTexte 110">
            <a:extLst>
              <a:ext uri="{FF2B5EF4-FFF2-40B4-BE49-F238E27FC236}">
                <a16:creationId xmlns:a16="http://schemas.microsoft.com/office/drawing/2014/main" id="{BB52A159-B06C-455E-BD96-5C6FEF8A3B03}"/>
              </a:ext>
            </a:extLst>
          </p:cNvPr>
          <p:cNvSpPr txBox="1"/>
          <p:nvPr/>
        </p:nvSpPr>
        <p:spPr>
          <a:xfrm>
            <a:off x="5611102" y="2508960"/>
            <a:ext cx="5219362" cy="2754600"/>
          </a:xfrm>
          <a:prstGeom prst="rect">
            <a:avLst/>
          </a:prstGeom>
          <a:noFill/>
        </p:spPr>
        <p:txBody>
          <a:bodyPr wrap="square">
            <a:spAutoFit/>
          </a:bodyPr>
          <a:lstStyle/>
          <a:p>
            <a:pPr algn="just">
              <a:spcAft>
                <a:spcPts val="300"/>
              </a:spcAft>
            </a:pPr>
            <a:r>
              <a:rPr lang="fr-FR" sz="1050">
                <a:solidFill>
                  <a:srgbClr val="5F5F5F"/>
                </a:solidFill>
                <a:latin typeface="Tahoma"/>
              </a:rPr>
              <a:t>L'article 53 de la </a:t>
            </a:r>
            <a:r>
              <a:rPr lang="fr-FR" sz="1050" b="1">
                <a:solidFill>
                  <a:srgbClr val="5F5F5F"/>
                </a:solidFill>
                <a:latin typeface="Tahoma"/>
              </a:rPr>
              <a:t>loi du 10 août 2018 pour un État au service d’une société de confiance</a:t>
            </a:r>
            <a:r>
              <a:rPr lang="fr-FR" sz="1050">
                <a:solidFill>
                  <a:srgbClr val="5F5F5F"/>
                </a:solidFill>
                <a:latin typeface="Tahoma"/>
              </a:rPr>
              <a:t> (dite « loi ESSOC »permet </a:t>
            </a:r>
            <a:r>
              <a:rPr lang="fr-FR" sz="1050" b="1">
                <a:solidFill>
                  <a:srgbClr val="5F5F5F"/>
                </a:solidFill>
                <a:latin typeface="Tahoma"/>
              </a:rPr>
              <a:t>l’expérimentation de dérogations au droit du travail </a:t>
            </a:r>
            <a:r>
              <a:rPr lang="fr-FR" sz="1050">
                <a:solidFill>
                  <a:srgbClr val="5F5F5F"/>
                </a:solidFill>
                <a:latin typeface="Tahoma"/>
              </a:rPr>
              <a:t>dans le cadre de la mise en œuvre de prestations de suppléance à domicile du proche aidant (relayage) ou dans le cadre de séjours de répit aidant-aidé.</a:t>
            </a:r>
          </a:p>
          <a:p>
            <a:pPr algn="just">
              <a:spcAft>
                <a:spcPts val="300"/>
              </a:spcAft>
            </a:pPr>
            <a:r>
              <a:rPr lang="fr-FR" sz="1050">
                <a:solidFill>
                  <a:srgbClr val="5F5F5F"/>
                </a:solidFill>
                <a:latin typeface="Tahoma"/>
              </a:rPr>
              <a:t>Elle vise à </a:t>
            </a:r>
            <a:r>
              <a:rPr lang="fr-FR" sz="1050" b="1">
                <a:solidFill>
                  <a:srgbClr val="5F5F5F"/>
                </a:solidFill>
                <a:latin typeface="Tahoma"/>
              </a:rPr>
              <a:t>développer et à diversifier l’offre de répit </a:t>
            </a:r>
            <a:r>
              <a:rPr lang="fr-FR" sz="1050">
                <a:solidFill>
                  <a:srgbClr val="5F5F5F"/>
                </a:solidFill>
                <a:latin typeface="Tahoma"/>
              </a:rPr>
              <a:t>des proches aidants en permettant l’intervention à domicile, en relais d’un proche aidant, d’un seul et même professionnel auprès d’une personne en situation de perte d’autonomie ou de handicap, sur </a:t>
            </a:r>
            <a:r>
              <a:rPr lang="fr-FR" sz="1050" b="1">
                <a:solidFill>
                  <a:srgbClr val="5F5F5F"/>
                </a:solidFill>
                <a:latin typeface="Tahoma"/>
              </a:rPr>
              <a:t>une période continue allant de 36 h à 6 jours consécutifs, par dérogation au droit du travail. </a:t>
            </a:r>
          </a:p>
          <a:p>
            <a:pPr algn="just">
              <a:spcAft>
                <a:spcPts val="300"/>
              </a:spcAft>
            </a:pPr>
            <a:r>
              <a:rPr lang="fr-FR" sz="1050">
                <a:solidFill>
                  <a:srgbClr val="5F5F5F"/>
                </a:solidFill>
                <a:latin typeface="Tahoma"/>
              </a:rPr>
              <a:t>Le décret n° 2018-1325 du 28 décembre 2018 précise les modalités particulières d’application de l’expérimentation et fixe notamment deux cahiers des charges : l’un pour les prestations de séjours de répit aidant-aidé, l’autre pour les prestations de relayage à domicile.  Initialement prévue jusqu’au 31 décembre 2021, l’expérimentation a été prolongée de 2 ans, jusqu’au 31 décembre 2023 en raison de la Covid (article 55 de la LFSS 2022)</a:t>
            </a:r>
          </a:p>
        </p:txBody>
      </p:sp>
      <p:grpSp>
        <p:nvGrpSpPr>
          <p:cNvPr id="277" name="France - 13 Regions Department level">
            <a:extLst>
              <a:ext uri="{FF2B5EF4-FFF2-40B4-BE49-F238E27FC236}">
                <a16:creationId xmlns:a16="http://schemas.microsoft.com/office/drawing/2014/main" id="{FF85C7EB-65AC-4311-9384-EBF1FAD30347}"/>
              </a:ext>
            </a:extLst>
          </p:cNvPr>
          <p:cNvGrpSpPr/>
          <p:nvPr/>
        </p:nvGrpSpPr>
        <p:grpSpPr>
          <a:xfrm>
            <a:off x="1292905" y="2402583"/>
            <a:ext cx="4240583" cy="3844336"/>
            <a:chOff x="4773804" y="1329043"/>
            <a:chExt cx="5003732" cy="4668479"/>
          </a:xfrm>
        </p:grpSpPr>
        <p:grpSp>
          <p:nvGrpSpPr>
            <p:cNvPr id="278" name="Provence Alpes Côte d'Azure (formes)">
              <a:extLst>
                <a:ext uri="{FF2B5EF4-FFF2-40B4-BE49-F238E27FC236}">
                  <a16:creationId xmlns:a16="http://schemas.microsoft.com/office/drawing/2014/main" id="{3664DE8A-F0D0-46A4-8288-2FB7FA2C65E2}"/>
                </a:ext>
              </a:extLst>
            </p:cNvPr>
            <p:cNvGrpSpPr/>
            <p:nvPr/>
          </p:nvGrpSpPr>
          <p:grpSpPr>
            <a:xfrm>
              <a:off x="7944071" y="4433411"/>
              <a:ext cx="1312230" cy="1101644"/>
              <a:chOff x="7190615" y="4602796"/>
              <a:chExt cx="1312230" cy="1101644"/>
            </a:xfrm>
            <a:solidFill>
              <a:srgbClr val="CAC5B8"/>
            </a:solidFill>
          </p:grpSpPr>
          <p:sp>
            <p:nvSpPr>
              <p:cNvPr id="512" name="84">
                <a:extLst>
                  <a:ext uri="{FF2B5EF4-FFF2-40B4-BE49-F238E27FC236}">
                    <a16:creationId xmlns:a16="http://schemas.microsoft.com/office/drawing/2014/main" id="{D1391359-D6C2-4F7A-ACF8-D9B0920D482C}"/>
                  </a:ext>
                </a:extLst>
              </p:cNvPr>
              <p:cNvSpPr>
                <a:spLocks/>
              </p:cNvSpPr>
              <p:nvPr/>
            </p:nvSpPr>
            <p:spPr bwMode="gray">
              <a:xfrm>
                <a:off x="7342467" y="5038296"/>
                <a:ext cx="426904" cy="340951"/>
              </a:xfrm>
              <a:custGeom>
                <a:avLst/>
                <a:gdLst>
                  <a:gd name="T0" fmla="*/ 2 w 298"/>
                  <a:gd name="T1" fmla="*/ 17 h 238"/>
                  <a:gd name="T2" fmla="*/ 2 w 298"/>
                  <a:gd name="T3" fmla="*/ 0 h 238"/>
                  <a:gd name="T4" fmla="*/ 43 w 298"/>
                  <a:gd name="T5" fmla="*/ 8 h 238"/>
                  <a:gd name="T6" fmla="*/ 47 w 298"/>
                  <a:gd name="T7" fmla="*/ 36 h 238"/>
                  <a:gd name="T8" fmla="*/ 136 w 298"/>
                  <a:gd name="T9" fmla="*/ 4 h 238"/>
                  <a:gd name="T10" fmla="*/ 138 w 298"/>
                  <a:gd name="T11" fmla="*/ 36 h 238"/>
                  <a:gd name="T12" fmla="*/ 187 w 298"/>
                  <a:gd name="T13" fmla="*/ 38 h 238"/>
                  <a:gd name="T14" fmla="*/ 226 w 298"/>
                  <a:gd name="T15" fmla="*/ 74 h 238"/>
                  <a:gd name="T16" fmla="*/ 228 w 298"/>
                  <a:gd name="T17" fmla="*/ 91 h 238"/>
                  <a:gd name="T18" fmla="*/ 230 w 298"/>
                  <a:gd name="T19" fmla="*/ 134 h 238"/>
                  <a:gd name="T20" fmla="*/ 255 w 298"/>
                  <a:gd name="T21" fmla="*/ 146 h 238"/>
                  <a:gd name="T22" fmla="*/ 243 w 298"/>
                  <a:gd name="T23" fmla="*/ 180 h 238"/>
                  <a:gd name="T24" fmla="*/ 268 w 298"/>
                  <a:gd name="T25" fmla="*/ 178 h 238"/>
                  <a:gd name="T26" fmla="*/ 298 w 298"/>
                  <a:gd name="T27" fmla="*/ 210 h 238"/>
                  <a:gd name="T28" fmla="*/ 298 w 298"/>
                  <a:gd name="T29" fmla="*/ 214 h 238"/>
                  <a:gd name="T30" fmla="*/ 257 w 298"/>
                  <a:gd name="T31" fmla="*/ 238 h 238"/>
                  <a:gd name="T32" fmla="*/ 228 w 298"/>
                  <a:gd name="T33" fmla="*/ 236 h 238"/>
                  <a:gd name="T34" fmla="*/ 179 w 298"/>
                  <a:gd name="T35" fmla="*/ 212 h 238"/>
                  <a:gd name="T36" fmla="*/ 147 w 298"/>
                  <a:gd name="T37" fmla="*/ 214 h 238"/>
                  <a:gd name="T38" fmla="*/ 92 w 298"/>
                  <a:gd name="T39" fmla="*/ 168 h 238"/>
                  <a:gd name="T40" fmla="*/ 28 w 298"/>
                  <a:gd name="T41" fmla="*/ 148 h 238"/>
                  <a:gd name="T42" fmla="*/ 53 w 298"/>
                  <a:gd name="T43" fmla="*/ 114 h 238"/>
                  <a:gd name="T44" fmla="*/ 17 w 298"/>
                  <a:gd name="T45" fmla="*/ 80 h 238"/>
                  <a:gd name="T46" fmla="*/ 22 w 298"/>
                  <a:gd name="T47" fmla="*/ 51 h 238"/>
                  <a:gd name="T48" fmla="*/ 0 w 298"/>
                  <a:gd name="T49" fmla="*/ 19 h 238"/>
                  <a:gd name="T50" fmla="*/ 2 w 298"/>
                  <a:gd name="T51" fmla="*/ 1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8" h="238">
                    <a:moveTo>
                      <a:pt x="2" y="17"/>
                    </a:moveTo>
                    <a:lnTo>
                      <a:pt x="2" y="0"/>
                    </a:lnTo>
                    <a:lnTo>
                      <a:pt x="43" y="8"/>
                    </a:lnTo>
                    <a:lnTo>
                      <a:pt x="47" y="36"/>
                    </a:lnTo>
                    <a:lnTo>
                      <a:pt x="136" y="4"/>
                    </a:lnTo>
                    <a:lnTo>
                      <a:pt x="138" y="36"/>
                    </a:lnTo>
                    <a:lnTo>
                      <a:pt x="187" y="38"/>
                    </a:lnTo>
                    <a:lnTo>
                      <a:pt x="226" y="74"/>
                    </a:lnTo>
                    <a:lnTo>
                      <a:pt x="228" y="91"/>
                    </a:lnTo>
                    <a:lnTo>
                      <a:pt x="230" y="134"/>
                    </a:lnTo>
                    <a:lnTo>
                      <a:pt x="255" y="146"/>
                    </a:lnTo>
                    <a:lnTo>
                      <a:pt x="243" y="180"/>
                    </a:lnTo>
                    <a:lnTo>
                      <a:pt x="268" y="178"/>
                    </a:lnTo>
                    <a:lnTo>
                      <a:pt x="298" y="210"/>
                    </a:lnTo>
                    <a:lnTo>
                      <a:pt x="298" y="214"/>
                    </a:lnTo>
                    <a:lnTo>
                      <a:pt x="257" y="238"/>
                    </a:lnTo>
                    <a:lnTo>
                      <a:pt x="228" y="236"/>
                    </a:lnTo>
                    <a:lnTo>
                      <a:pt x="179" y="212"/>
                    </a:lnTo>
                    <a:lnTo>
                      <a:pt x="147" y="214"/>
                    </a:lnTo>
                    <a:lnTo>
                      <a:pt x="92" y="168"/>
                    </a:lnTo>
                    <a:lnTo>
                      <a:pt x="28" y="148"/>
                    </a:lnTo>
                    <a:lnTo>
                      <a:pt x="53" y="114"/>
                    </a:lnTo>
                    <a:lnTo>
                      <a:pt x="17" y="80"/>
                    </a:lnTo>
                    <a:lnTo>
                      <a:pt x="22" y="51"/>
                    </a:lnTo>
                    <a:lnTo>
                      <a:pt x="0" y="19"/>
                    </a:lnTo>
                    <a:lnTo>
                      <a:pt x="2" y="17"/>
                    </a:lnTo>
                  </a:path>
                </a:pathLst>
              </a:custGeom>
              <a:grp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513" name="06">
                <a:extLst>
                  <a:ext uri="{FF2B5EF4-FFF2-40B4-BE49-F238E27FC236}">
                    <a16:creationId xmlns:a16="http://schemas.microsoft.com/office/drawing/2014/main" id="{1A92E687-C0D5-4AE2-A4A3-AE292D70F780}"/>
                  </a:ext>
                </a:extLst>
              </p:cNvPr>
              <p:cNvSpPr>
                <a:spLocks/>
              </p:cNvSpPr>
              <p:nvPr/>
            </p:nvSpPr>
            <p:spPr bwMode="gray">
              <a:xfrm>
                <a:off x="8101727" y="4995319"/>
                <a:ext cx="401118" cy="459854"/>
              </a:xfrm>
              <a:custGeom>
                <a:avLst/>
                <a:gdLst>
                  <a:gd name="T0" fmla="*/ 0 w 280"/>
                  <a:gd name="T1" fmla="*/ 212 h 321"/>
                  <a:gd name="T2" fmla="*/ 19 w 280"/>
                  <a:gd name="T3" fmla="*/ 204 h 321"/>
                  <a:gd name="T4" fmla="*/ 8 w 280"/>
                  <a:gd name="T5" fmla="*/ 176 h 321"/>
                  <a:gd name="T6" fmla="*/ 80 w 280"/>
                  <a:gd name="T7" fmla="*/ 168 h 321"/>
                  <a:gd name="T8" fmla="*/ 25 w 280"/>
                  <a:gd name="T9" fmla="*/ 119 h 321"/>
                  <a:gd name="T10" fmla="*/ 8 w 280"/>
                  <a:gd name="T11" fmla="*/ 72 h 321"/>
                  <a:gd name="T12" fmla="*/ 59 w 280"/>
                  <a:gd name="T13" fmla="*/ 0 h 321"/>
                  <a:gd name="T14" fmla="*/ 93 w 280"/>
                  <a:gd name="T15" fmla="*/ 47 h 321"/>
                  <a:gd name="T16" fmla="*/ 159 w 280"/>
                  <a:gd name="T17" fmla="*/ 72 h 321"/>
                  <a:gd name="T18" fmla="*/ 204 w 280"/>
                  <a:gd name="T19" fmla="*/ 83 h 321"/>
                  <a:gd name="T20" fmla="*/ 270 w 280"/>
                  <a:gd name="T21" fmla="*/ 57 h 321"/>
                  <a:gd name="T22" fmla="*/ 280 w 280"/>
                  <a:gd name="T23" fmla="*/ 91 h 321"/>
                  <a:gd name="T24" fmla="*/ 227 w 280"/>
                  <a:gd name="T25" fmla="*/ 168 h 321"/>
                  <a:gd name="T26" fmla="*/ 236 w 280"/>
                  <a:gd name="T27" fmla="*/ 202 h 321"/>
                  <a:gd name="T28" fmla="*/ 184 w 280"/>
                  <a:gd name="T29" fmla="*/ 244 h 321"/>
                  <a:gd name="T30" fmla="*/ 180 w 280"/>
                  <a:gd name="T31" fmla="*/ 234 h 321"/>
                  <a:gd name="T32" fmla="*/ 138 w 280"/>
                  <a:gd name="T33" fmla="*/ 255 h 321"/>
                  <a:gd name="T34" fmla="*/ 138 w 280"/>
                  <a:gd name="T35" fmla="*/ 293 h 321"/>
                  <a:gd name="T36" fmla="*/ 89 w 280"/>
                  <a:gd name="T37" fmla="*/ 300 h 321"/>
                  <a:gd name="T38" fmla="*/ 82 w 280"/>
                  <a:gd name="T39" fmla="*/ 321 h 321"/>
                  <a:gd name="T40" fmla="*/ 68 w 280"/>
                  <a:gd name="T41" fmla="*/ 304 h 321"/>
                  <a:gd name="T42" fmla="*/ 76 w 280"/>
                  <a:gd name="T43" fmla="*/ 278 h 321"/>
                  <a:gd name="T44" fmla="*/ 46 w 280"/>
                  <a:gd name="T45" fmla="*/ 268 h 321"/>
                  <a:gd name="T46" fmla="*/ 31 w 280"/>
                  <a:gd name="T47" fmla="*/ 229 h 321"/>
                  <a:gd name="T48" fmla="*/ 0 w 280"/>
                  <a:gd name="T49" fmla="*/ 215 h 321"/>
                  <a:gd name="T50" fmla="*/ 0 w 280"/>
                  <a:gd name="T51" fmla="*/ 21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0" h="321">
                    <a:moveTo>
                      <a:pt x="0" y="212"/>
                    </a:moveTo>
                    <a:lnTo>
                      <a:pt x="19" y="204"/>
                    </a:lnTo>
                    <a:lnTo>
                      <a:pt x="8" y="176"/>
                    </a:lnTo>
                    <a:lnTo>
                      <a:pt x="80" y="168"/>
                    </a:lnTo>
                    <a:lnTo>
                      <a:pt x="25" y="119"/>
                    </a:lnTo>
                    <a:lnTo>
                      <a:pt x="8" y="72"/>
                    </a:lnTo>
                    <a:lnTo>
                      <a:pt x="59" y="0"/>
                    </a:lnTo>
                    <a:lnTo>
                      <a:pt x="93" y="47"/>
                    </a:lnTo>
                    <a:lnTo>
                      <a:pt x="159" y="72"/>
                    </a:lnTo>
                    <a:lnTo>
                      <a:pt x="204" y="83"/>
                    </a:lnTo>
                    <a:lnTo>
                      <a:pt x="270" y="57"/>
                    </a:lnTo>
                    <a:lnTo>
                      <a:pt x="280" y="91"/>
                    </a:lnTo>
                    <a:lnTo>
                      <a:pt x="227" y="168"/>
                    </a:lnTo>
                    <a:lnTo>
                      <a:pt x="236" y="202"/>
                    </a:lnTo>
                    <a:lnTo>
                      <a:pt x="184" y="244"/>
                    </a:lnTo>
                    <a:lnTo>
                      <a:pt x="180" y="234"/>
                    </a:lnTo>
                    <a:lnTo>
                      <a:pt x="138" y="255"/>
                    </a:lnTo>
                    <a:lnTo>
                      <a:pt x="138" y="293"/>
                    </a:lnTo>
                    <a:lnTo>
                      <a:pt x="89" y="300"/>
                    </a:lnTo>
                    <a:lnTo>
                      <a:pt x="82" y="321"/>
                    </a:lnTo>
                    <a:lnTo>
                      <a:pt x="68" y="304"/>
                    </a:lnTo>
                    <a:lnTo>
                      <a:pt x="76" y="278"/>
                    </a:lnTo>
                    <a:lnTo>
                      <a:pt x="46" y="268"/>
                    </a:lnTo>
                    <a:lnTo>
                      <a:pt x="31" y="229"/>
                    </a:lnTo>
                    <a:lnTo>
                      <a:pt x="0" y="215"/>
                    </a:lnTo>
                    <a:lnTo>
                      <a:pt x="0" y="212"/>
                    </a:lnTo>
                  </a:path>
                </a:pathLst>
              </a:custGeom>
              <a:grp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514" name="04">
                <a:extLst>
                  <a:ext uri="{FF2B5EF4-FFF2-40B4-BE49-F238E27FC236}">
                    <a16:creationId xmlns:a16="http://schemas.microsoft.com/office/drawing/2014/main" id="{582378C2-E771-4247-8EB4-7FEAA2DCB0DB}"/>
                  </a:ext>
                </a:extLst>
              </p:cNvPr>
              <p:cNvSpPr>
                <a:spLocks/>
              </p:cNvSpPr>
              <p:nvPr/>
            </p:nvSpPr>
            <p:spPr bwMode="gray">
              <a:xfrm>
                <a:off x="7666227" y="4839170"/>
                <a:ext cx="550105" cy="530049"/>
              </a:xfrm>
              <a:custGeom>
                <a:avLst/>
                <a:gdLst>
                  <a:gd name="T0" fmla="*/ 2 w 384"/>
                  <a:gd name="T1" fmla="*/ 230 h 370"/>
                  <a:gd name="T2" fmla="*/ 4 w 384"/>
                  <a:gd name="T3" fmla="*/ 273 h 370"/>
                  <a:gd name="T4" fmla="*/ 29 w 384"/>
                  <a:gd name="T5" fmla="*/ 285 h 370"/>
                  <a:gd name="T6" fmla="*/ 17 w 384"/>
                  <a:gd name="T7" fmla="*/ 319 h 370"/>
                  <a:gd name="T8" fmla="*/ 42 w 384"/>
                  <a:gd name="T9" fmla="*/ 317 h 370"/>
                  <a:gd name="T10" fmla="*/ 72 w 384"/>
                  <a:gd name="T11" fmla="*/ 349 h 370"/>
                  <a:gd name="T12" fmla="*/ 116 w 384"/>
                  <a:gd name="T13" fmla="*/ 341 h 370"/>
                  <a:gd name="T14" fmla="*/ 144 w 384"/>
                  <a:gd name="T15" fmla="*/ 370 h 370"/>
                  <a:gd name="T16" fmla="*/ 193 w 384"/>
                  <a:gd name="T17" fmla="*/ 321 h 370"/>
                  <a:gd name="T18" fmla="*/ 229 w 384"/>
                  <a:gd name="T19" fmla="*/ 343 h 370"/>
                  <a:gd name="T20" fmla="*/ 253 w 384"/>
                  <a:gd name="T21" fmla="*/ 319 h 370"/>
                  <a:gd name="T22" fmla="*/ 304 w 384"/>
                  <a:gd name="T23" fmla="*/ 321 h 370"/>
                  <a:gd name="T24" fmla="*/ 323 w 384"/>
                  <a:gd name="T25" fmla="*/ 313 h 370"/>
                  <a:gd name="T26" fmla="*/ 312 w 384"/>
                  <a:gd name="T27" fmla="*/ 285 h 370"/>
                  <a:gd name="T28" fmla="*/ 384 w 384"/>
                  <a:gd name="T29" fmla="*/ 277 h 370"/>
                  <a:gd name="T30" fmla="*/ 329 w 384"/>
                  <a:gd name="T31" fmla="*/ 228 h 370"/>
                  <a:gd name="T32" fmla="*/ 312 w 384"/>
                  <a:gd name="T33" fmla="*/ 181 h 370"/>
                  <a:gd name="T34" fmla="*/ 363 w 384"/>
                  <a:gd name="T35" fmla="*/ 109 h 370"/>
                  <a:gd name="T36" fmla="*/ 376 w 384"/>
                  <a:gd name="T37" fmla="*/ 83 h 370"/>
                  <a:gd name="T38" fmla="*/ 350 w 384"/>
                  <a:gd name="T39" fmla="*/ 47 h 370"/>
                  <a:gd name="T40" fmla="*/ 369 w 384"/>
                  <a:gd name="T41" fmla="*/ 30 h 370"/>
                  <a:gd name="T42" fmla="*/ 372 w 384"/>
                  <a:gd name="T43" fmla="*/ 0 h 370"/>
                  <a:gd name="T44" fmla="*/ 306 w 384"/>
                  <a:gd name="T45" fmla="*/ 45 h 370"/>
                  <a:gd name="T46" fmla="*/ 293 w 384"/>
                  <a:gd name="T47" fmla="*/ 81 h 370"/>
                  <a:gd name="T48" fmla="*/ 255 w 384"/>
                  <a:gd name="T49" fmla="*/ 81 h 370"/>
                  <a:gd name="T50" fmla="*/ 223 w 384"/>
                  <a:gd name="T51" fmla="*/ 56 h 370"/>
                  <a:gd name="T52" fmla="*/ 212 w 384"/>
                  <a:gd name="T53" fmla="*/ 77 h 370"/>
                  <a:gd name="T54" fmla="*/ 189 w 384"/>
                  <a:gd name="T55" fmla="*/ 79 h 370"/>
                  <a:gd name="T56" fmla="*/ 189 w 384"/>
                  <a:gd name="T57" fmla="*/ 109 h 370"/>
                  <a:gd name="T58" fmla="*/ 148 w 384"/>
                  <a:gd name="T59" fmla="*/ 75 h 370"/>
                  <a:gd name="T60" fmla="*/ 102 w 384"/>
                  <a:gd name="T61" fmla="*/ 134 h 370"/>
                  <a:gd name="T62" fmla="*/ 108 w 384"/>
                  <a:gd name="T63" fmla="*/ 160 h 370"/>
                  <a:gd name="T64" fmla="*/ 87 w 384"/>
                  <a:gd name="T65" fmla="*/ 143 h 370"/>
                  <a:gd name="T66" fmla="*/ 104 w 384"/>
                  <a:gd name="T67" fmla="*/ 181 h 370"/>
                  <a:gd name="T68" fmla="*/ 46 w 384"/>
                  <a:gd name="T69" fmla="*/ 183 h 370"/>
                  <a:gd name="T70" fmla="*/ 48 w 384"/>
                  <a:gd name="T71" fmla="*/ 198 h 370"/>
                  <a:gd name="T72" fmla="*/ 21 w 384"/>
                  <a:gd name="T73" fmla="*/ 183 h 370"/>
                  <a:gd name="T74" fmla="*/ 0 w 384"/>
                  <a:gd name="T75" fmla="*/ 213 h 370"/>
                  <a:gd name="T76" fmla="*/ 2 w 384"/>
                  <a:gd name="T77" fmla="*/ 23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4" h="370">
                    <a:moveTo>
                      <a:pt x="2" y="230"/>
                    </a:moveTo>
                    <a:lnTo>
                      <a:pt x="4" y="273"/>
                    </a:lnTo>
                    <a:lnTo>
                      <a:pt x="29" y="285"/>
                    </a:lnTo>
                    <a:lnTo>
                      <a:pt x="17" y="319"/>
                    </a:lnTo>
                    <a:lnTo>
                      <a:pt x="42" y="317"/>
                    </a:lnTo>
                    <a:lnTo>
                      <a:pt x="72" y="349"/>
                    </a:lnTo>
                    <a:lnTo>
                      <a:pt x="116" y="341"/>
                    </a:lnTo>
                    <a:lnTo>
                      <a:pt x="144" y="370"/>
                    </a:lnTo>
                    <a:lnTo>
                      <a:pt x="193" y="321"/>
                    </a:lnTo>
                    <a:lnTo>
                      <a:pt x="229" y="343"/>
                    </a:lnTo>
                    <a:lnTo>
                      <a:pt x="253" y="319"/>
                    </a:lnTo>
                    <a:lnTo>
                      <a:pt x="304" y="321"/>
                    </a:lnTo>
                    <a:lnTo>
                      <a:pt x="323" y="313"/>
                    </a:lnTo>
                    <a:lnTo>
                      <a:pt x="312" y="285"/>
                    </a:lnTo>
                    <a:lnTo>
                      <a:pt x="384" y="277"/>
                    </a:lnTo>
                    <a:lnTo>
                      <a:pt x="329" y="228"/>
                    </a:lnTo>
                    <a:lnTo>
                      <a:pt x="312" y="181"/>
                    </a:lnTo>
                    <a:lnTo>
                      <a:pt x="363" y="109"/>
                    </a:lnTo>
                    <a:lnTo>
                      <a:pt x="376" y="83"/>
                    </a:lnTo>
                    <a:lnTo>
                      <a:pt x="350" y="47"/>
                    </a:lnTo>
                    <a:lnTo>
                      <a:pt x="369" y="30"/>
                    </a:lnTo>
                    <a:lnTo>
                      <a:pt x="372" y="0"/>
                    </a:lnTo>
                    <a:lnTo>
                      <a:pt x="306" y="45"/>
                    </a:lnTo>
                    <a:lnTo>
                      <a:pt x="293" y="81"/>
                    </a:lnTo>
                    <a:lnTo>
                      <a:pt x="255" y="81"/>
                    </a:lnTo>
                    <a:lnTo>
                      <a:pt x="223" y="56"/>
                    </a:lnTo>
                    <a:lnTo>
                      <a:pt x="212" y="77"/>
                    </a:lnTo>
                    <a:lnTo>
                      <a:pt x="189" y="79"/>
                    </a:lnTo>
                    <a:lnTo>
                      <a:pt x="189" y="109"/>
                    </a:lnTo>
                    <a:lnTo>
                      <a:pt x="148" y="75"/>
                    </a:lnTo>
                    <a:lnTo>
                      <a:pt x="102" y="134"/>
                    </a:lnTo>
                    <a:lnTo>
                      <a:pt x="108" y="160"/>
                    </a:lnTo>
                    <a:lnTo>
                      <a:pt x="87" y="143"/>
                    </a:lnTo>
                    <a:lnTo>
                      <a:pt x="104" y="181"/>
                    </a:lnTo>
                    <a:lnTo>
                      <a:pt x="46" y="183"/>
                    </a:lnTo>
                    <a:lnTo>
                      <a:pt x="48" y="198"/>
                    </a:lnTo>
                    <a:lnTo>
                      <a:pt x="21" y="183"/>
                    </a:lnTo>
                    <a:lnTo>
                      <a:pt x="0" y="213"/>
                    </a:lnTo>
                    <a:lnTo>
                      <a:pt x="2" y="230"/>
                    </a:lnTo>
                  </a:path>
                </a:pathLst>
              </a:custGeom>
              <a:grp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515" name="05">
                <a:extLst>
                  <a:ext uri="{FF2B5EF4-FFF2-40B4-BE49-F238E27FC236}">
                    <a16:creationId xmlns:a16="http://schemas.microsoft.com/office/drawing/2014/main" id="{CBA19380-3EA1-4AEA-ADF5-77388FEA2E7D}"/>
                  </a:ext>
                </a:extLst>
              </p:cNvPr>
              <p:cNvSpPr>
                <a:spLocks/>
              </p:cNvSpPr>
              <p:nvPr/>
            </p:nvSpPr>
            <p:spPr bwMode="gray">
              <a:xfrm>
                <a:off x="7631845" y="4602796"/>
                <a:ext cx="618868" cy="498532"/>
              </a:xfrm>
              <a:custGeom>
                <a:avLst/>
                <a:gdLst>
                  <a:gd name="T0" fmla="*/ 4 w 432"/>
                  <a:gd name="T1" fmla="*/ 270 h 348"/>
                  <a:gd name="T2" fmla="*/ 21 w 432"/>
                  <a:gd name="T3" fmla="*/ 295 h 348"/>
                  <a:gd name="T4" fmla="*/ 55 w 432"/>
                  <a:gd name="T5" fmla="*/ 295 h 348"/>
                  <a:gd name="T6" fmla="*/ 70 w 432"/>
                  <a:gd name="T7" fmla="*/ 348 h 348"/>
                  <a:gd name="T8" fmla="*/ 128 w 432"/>
                  <a:gd name="T9" fmla="*/ 346 h 348"/>
                  <a:gd name="T10" fmla="*/ 111 w 432"/>
                  <a:gd name="T11" fmla="*/ 308 h 348"/>
                  <a:gd name="T12" fmla="*/ 132 w 432"/>
                  <a:gd name="T13" fmla="*/ 325 h 348"/>
                  <a:gd name="T14" fmla="*/ 126 w 432"/>
                  <a:gd name="T15" fmla="*/ 299 h 348"/>
                  <a:gd name="T16" fmla="*/ 172 w 432"/>
                  <a:gd name="T17" fmla="*/ 240 h 348"/>
                  <a:gd name="T18" fmla="*/ 213 w 432"/>
                  <a:gd name="T19" fmla="*/ 274 h 348"/>
                  <a:gd name="T20" fmla="*/ 213 w 432"/>
                  <a:gd name="T21" fmla="*/ 244 h 348"/>
                  <a:gd name="T22" fmla="*/ 236 w 432"/>
                  <a:gd name="T23" fmla="*/ 242 h 348"/>
                  <a:gd name="T24" fmla="*/ 247 w 432"/>
                  <a:gd name="T25" fmla="*/ 221 h 348"/>
                  <a:gd name="T26" fmla="*/ 279 w 432"/>
                  <a:gd name="T27" fmla="*/ 246 h 348"/>
                  <a:gd name="T28" fmla="*/ 317 w 432"/>
                  <a:gd name="T29" fmla="*/ 246 h 348"/>
                  <a:gd name="T30" fmla="*/ 330 w 432"/>
                  <a:gd name="T31" fmla="*/ 210 h 348"/>
                  <a:gd name="T32" fmla="*/ 396 w 432"/>
                  <a:gd name="T33" fmla="*/ 165 h 348"/>
                  <a:gd name="T34" fmla="*/ 432 w 432"/>
                  <a:gd name="T35" fmla="*/ 155 h 348"/>
                  <a:gd name="T36" fmla="*/ 413 w 432"/>
                  <a:gd name="T37" fmla="*/ 104 h 348"/>
                  <a:gd name="T38" fmla="*/ 342 w 432"/>
                  <a:gd name="T39" fmla="*/ 76 h 348"/>
                  <a:gd name="T40" fmla="*/ 336 w 432"/>
                  <a:gd name="T41" fmla="*/ 36 h 348"/>
                  <a:gd name="T42" fmla="*/ 319 w 432"/>
                  <a:gd name="T43" fmla="*/ 34 h 348"/>
                  <a:gd name="T44" fmla="*/ 306 w 432"/>
                  <a:gd name="T45" fmla="*/ 2 h 348"/>
                  <a:gd name="T46" fmla="*/ 274 w 432"/>
                  <a:gd name="T47" fmla="*/ 6 h 348"/>
                  <a:gd name="T48" fmla="*/ 262 w 432"/>
                  <a:gd name="T49" fmla="*/ 25 h 348"/>
                  <a:gd name="T50" fmla="*/ 211 w 432"/>
                  <a:gd name="T51" fmla="*/ 0 h 348"/>
                  <a:gd name="T52" fmla="*/ 198 w 432"/>
                  <a:gd name="T53" fmla="*/ 42 h 348"/>
                  <a:gd name="T54" fmla="*/ 228 w 432"/>
                  <a:gd name="T55" fmla="*/ 44 h 348"/>
                  <a:gd name="T56" fmla="*/ 240 w 432"/>
                  <a:gd name="T57" fmla="*/ 97 h 348"/>
                  <a:gd name="T58" fmla="*/ 151 w 432"/>
                  <a:gd name="T59" fmla="*/ 110 h 348"/>
                  <a:gd name="T60" fmla="*/ 98 w 432"/>
                  <a:gd name="T61" fmla="*/ 159 h 348"/>
                  <a:gd name="T62" fmla="*/ 94 w 432"/>
                  <a:gd name="T63" fmla="*/ 178 h 348"/>
                  <a:gd name="T64" fmla="*/ 55 w 432"/>
                  <a:gd name="T65" fmla="*/ 180 h 348"/>
                  <a:gd name="T66" fmla="*/ 45 w 432"/>
                  <a:gd name="T67" fmla="*/ 219 h 348"/>
                  <a:gd name="T68" fmla="*/ 62 w 432"/>
                  <a:gd name="T69" fmla="*/ 233 h 348"/>
                  <a:gd name="T70" fmla="*/ 49 w 432"/>
                  <a:gd name="T71" fmla="*/ 246 h 348"/>
                  <a:gd name="T72" fmla="*/ 9 w 432"/>
                  <a:gd name="T73" fmla="*/ 238 h 348"/>
                  <a:gd name="T74" fmla="*/ 19 w 432"/>
                  <a:gd name="T75" fmla="*/ 263 h 348"/>
                  <a:gd name="T76" fmla="*/ 0 w 432"/>
                  <a:gd name="T77" fmla="*/ 265 h 348"/>
                  <a:gd name="T78" fmla="*/ 4 w 432"/>
                  <a:gd name="T79" fmla="*/ 27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2" h="348">
                    <a:moveTo>
                      <a:pt x="4" y="270"/>
                    </a:moveTo>
                    <a:lnTo>
                      <a:pt x="21" y="295"/>
                    </a:lnTo>
                    <a:lnTo>
                      <a:pt x="55" y="295"/>
                    </a:lnTo>
                    <a:lnTo>
                      <a:pt x="70" y="348"/>
                    </a:lnTo>
                    <a:lnTo>
                      <a:pt x="128" y="346"/>
                    </a:lnTo>
                    <a:lnTo>
                      <a:pt x="111" y="308"/>
                    </a:lnTo>
                    <a:lnTo>
                      <a:pt x="132" y="325"/>
                    </a:lnTo>
                    <a:lnTo>
                      <a:pt x="126" y="299"/>
                    </a:lnTo>
                    <a:lnTo>
                      <a:pt x="172" y="240"/>
                    </a:lnTo>
                    <a:lnTo>
                      <a:pt x="213" y="274"/>
                    </a:lnTo>
                    <a:lnTo>
                      <a:pt x="213" y="244"/>
                    </a:lnTo>
                    <a:lnTo>
                      <a:pt x="236" y="242"/>
                    </a:lnTo>
                    <a:lnTo>
                      <a:pt x="247" y="221"/>
                    </a:lnTo>
                    <a:lnTo>
                      <a:pt x="279" y="246"/>
                    </a:lnTo>
                    <a:lnTo>
                      <a:pt x="317" y="246"/>
                    </a:lnTo>
                    <a:lnTo>
                      <a:pt x="330" y="210"/>
                    </a:lnTo>
                    <a:lnTo>
                      <a:pt x="396" y="165"/>
                    </a:lnTo>
                    <a:lnTo>
                      <a:pt x="432" y="155"/>
                    </a:lnTo>
                    <a:lnTo>
                      <a:pt x="413" y="104"/>
                    </a:lnTo>
                    <a:lnTo>
                      <a:pt x="342" y="76"/>
                    </a:lnTo>
                    <a:lnTo>
                      <a:pt x="336" y="36"/>
                    </a:lnTo>
                    <a:lnTo>
                      <a:pt x="319" y="34"/>
                    </a:lnTo>
                    <a:lnTo>
                      <a:pt x="306" y="2"/>
                    </a:lnTo>
                    <a:lnTo>
                      <a:pt x="274" y="6"/>
                    </a:lnTo>
                    <a:lnTo>
                      <a:pt x="262" y="25"/>
                    </a:lnTo>
                    <a:lnTo>
                      <a:pt x="211" y="0"/>
                    </a:lnTo>
                    <a:lnTo>
                      <a:pt x="198" y="42"/>
                    </a:lnTo>
                    <a:lnTo>
                      <a:pt x="228" y="44"/>
                    </a:lnTo>
                    <a:lnTo>
                      <a:pt x="240" y="97"/>
                    </a:lnTo>
                    <a:lnTo>
                      <a:pt x="151" y="110"/>
                    </a:lnTo>
                    <a:lnTo>
                      <a:pt x="98" y="159"/>
                    </a:lnTo>
                    <a:lnTo>
                      <a:pt x="94" y="178"/>
                    </a:lnTo>
                    <a:lnTo>
                      <a:pt x="55" y="180"/>
                    </a:lnTo>
                    <a:lnTo>
                      <a:pt x="45" y="219"/>
                    </a:lnTo>
                    <a:lnTo>
                      <a:pt x="62" y="233"/>
                    </a:lnTo>
                    <a:lnTo>
                      <a:pt x="49" y="246"/>
                    </a:lnTo>
                    <a:lnTo>
                      <a:pt x="9" y="238"/>
                    </a:lnTo>
                    <a:lnTo>
                      <a:pt x="19" y="263"/>
                    </a:lnTo>
                    <a:lnTo>
                      <a:pt x="0" y="265"/>
                    </a:lnTo>
                    <a:lnTo>
                      <a:pt x="4" y="270"/>
                    </a:lnTo>
                  </a:path>
                </a:pathLst>
              </a:custGeom>
              <a:grp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516" name="13">
                <a:extLst>
                  <a:ext uri="{FF2B5EF4-FFF2-40B4-BE49-F238E27FC236}">
                    <a16:creationId xmlns:a16="http://schemas.microsoft.com/office/drawing/2014/main" id="{DF97D781-4FC7-4D53-9212-8C10DA296C82}"/>
                  </a:ext>
                </a:extLst>
              </p:cNvPr>
              <p:cNvSpPr>
                <a:spLocks/>
              </p:cNvSpPr>
              <p:nvPr/>
            </p:nvSpPr>
            <p:spPr bwMode="gray">
              <a:xfrm>
                <a:off x="7190615" y="5250317"/>
                <a:ext cx="593082" cy="381062"/>
              </a:xfrm>
              <a:custGeom>
                <a:avLst/>
                <a:gdLst>
                  <a:gd name="T0" fmla="*/ 2 w 414"/>
                  <a:gd name="T1" fmla="*/ 160 h 266"/>
                  <a:gd name="T2" fmla="*/ 64 w 414"/>
                  <a:gd name="T3" fmla="*/ 122 h 266"/>
                  <a:gd name="T4" fmla="*/ 53 w 414"/>
                  <a:gd name="T5" fmla="*/ 111 h 266"/>
                  <a:gd name="T6" fmla="*/ 68 w 414"/>
                  <a:gd name="T7" fmla="*/ 83 h 266"/>
                  <a:gd name="T8" fmla="*/ 104 w 414"/>
                  <a:gd name="T9" fmla="*/ 85 h 266"/>
                  <a:gd name="T10" fmla="*/ 108 w 414"/>
                  <a:gd name="T11" fmla="*/ 20 h 266"/>
                  <a:gd name="T12" fmla="*/ 134 w 414"/>
                  <a:gd name="T13" fmla="*/ 0 h 266"/>
                  <a:gd name="T14" fmla="*/ 198 w 414"/>
                  <a:gd name="T15" fmla="*/ 20 h 266"/>
                  <a:gd name="T16" fmla="*/ 253 w 414"/>
                  <a:gd name="T17" fmla="*/ 66 h 266"/>
                  <a:gd name="T18" fmla="*/ 285 w 414"/>
                  <a:gd name="T19" fmla="*/ 64 h 266"/>
                  <a:gd name="T20" fmla="*/ 334 w 414"/>
                  <a:gd name="T21" fmla="*/ 88 h 266"/>
                  <a:gd name="T22" fmla="*/ 363 w 414"/>
                  <a:gd name="T23" fmla="*/ 90 h 266"/>
                  <a:gd name="T24" fmla="*/ 404 w 414"/>
                  <a:gd name="T25" fmla="*/ 66 h 266"/>
                  <a:gd name="T26" fmla="*/ 414 w 414"/>
                  <a:gd name="T27" fmla="*/ 90 h 266"/>
                  <a:gd name="T28" fmla="*/ 395 w 414"/>
                  <a:gd name="T29" fmla="*/ 92 h 266"/>
                  <a:gd name="T30" fmla="*/ 380 w 414"/>
                  <a:gd name="T31" fmla="*/ 120 h 266"/>
                  <a:gd name="T32" fmla="*/ 380 w 414"/>
                  <a:gd name="T33" fmla="*/ 124 h 266"/>
                  <a:gd name="T34" fmla="*/ 397 w 414"/>
                  <a:gd name="T35" fmla="*/ 130 h 266"/>
                  <a:gd name="T36" fmla="*/ 391 w 414"/>
                  <a:gd name="T37" fmla="*/ 156 h 266"/>
                  <a:gd name="T38" fmla="*/ 414 w 414"/>
                  <a:gd name="T39" fmla="*/ 177 h 266"/>
                  <a:gd name="T40" fmla="*/ 387 w 414"/>
                  <a:gd name="T41" fmla="*/ 185 h 266"/>
                  <a:gd name="T42" fmla="*/ 387 w 414"/>
                  <a:gd name="T43" fmla="*/ 215 h 266"/>
                  <a:gd name="T44" fmla="*/ 410 w 414"/>
                  <a:gd name="T45" fmla="*/ 234 h 266"/>
                  <a:gd name="T46" fmla="*/ 387 w 414"/>
                  <a:gd name="T47" fmla="*/ 266 h 266"/>
                  <a:gd name="T48" fmla="*/ 298 w 414"/>
                  <a:gd name="T49" fmla="*/ 258 h 266"/>
                  <a:gd name="T50" fmla="*/ 304 w 414"/>
                  <a:gd name="T51" fmla="*/ 219 h 266"/>
                  <a:gd name="T52" fmla="*/ 287 w 414"/>
                  <a:gd name="T53" fmla="*/ 202 h 266"/>
                  <a:gd name="T54" fmla="*/ 217 w 414"/>
                  <a:gd name="T55" fmla="*/ 215 h 266"/>
                  <a:gd name="T56" fmla="*/ 204 w 414"/>
                  <a:gd name="T57" fmla="*/ 196 h 266"/>
                  <a:gd name="T58" fmla="*/ 240 w 414"/>
                  <a:gd name="T59" fmla="*/ 190 h 266"/>
                  <a:gd name="T60" fmla="*/ 266 w 414"/>
                  <a:gd name="T61" fmla="*/ 160 h 266"/>
                  <a:gd name="T62" fmla="*/ 249 w 414"/>
                  <a:gd name="T63" fmla="*/ 171 h 266"/>
                  <a:gd name="T64" fmla="*/ 210 w 414"/>
                  <a:gd name="T65" fmla="*/ 132 h 266"/>
                  <a:gd name="T66" fmla="*/ 221 w 414"/>
                  <a:gd name="T67" fmla="*/ 188 h 266"/>
                  <a:gd name="T68" fmla="*/ 185 w 414"/>
                  <a:gd name="T69" fmla="*/ 179 h 266"/>
                  <a:gd name="T70" fmla="*/ 164 w 414"/>
                  <a:gd name="T71" fmla="*/ 217 h 266"/>
                  <a:gd name="T72" fmla="*/ 91 w 414"/>
                  <a:gd name="T73" fmla="*/ 205 h 266"/>
                  <a:gd name="T74" fmla="*/ 100 w 414"/>
                  <a:gd name="T75" fmla="*/ 190 h 266"/>
                  <a:gd name="T76" fmla="*/ 85 w 414"/>
                  <a:gd name="T77" fmla="*/ 175 h 266"/>
                  <a:gd name="T78" fmla="*/ 0 w 414"/>
                  <a:gd name="T79" fmla="*/ 173 h 266"/>
                  <a:gd name="T80" fmla="*/ 2 w 414"/>
                  <a:gd name="T81" fmla="*/ 16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266">
                    <a:moveTo>
                      <a:pt x="2" y="160"/>
                    </a:moveTo>
                    <a:lnTo>
                      <a:pt x="64" y="122"/>
                    </a:lnTo>
                    <a:lnTo>
                      <a:pt x="53" y="111"/>
                    </a:lnTo>
                    <a:lnTo>
                      <a:pt x="68" y="83"/>
                    </a:lnTo>
                    <a:lnTo>
                      <a:pt x="104" y="85"/>
                    </a:lnTo>
                    <a:lnTo>
                      <a:pt x="108" y="20"/>
                    </a:lnTo>
                    <a:lnTo>
                      <a:pt x="134" y="0"/>
                    </a:lnTo>
                    <a:lnTo>
                      <a:pt x="198" y="20"/>
                    </a:lnTo>
                    <a:lnTo>
                      <a:pt x="253" y="66"/>
                    </a:lnTo>
                    <a:lnTo>
                      <a:pt x="285" y="64"/>
                    </a:lnTo>
                    <a:lnTo>
                      <a:pt x="334" y="88"/>
                    </a:lnTo>
                    <a:lnTo>
                      <a:pt x="363" y="90"/>
                    </a:lnTo>
                    <a:lnTo>
                      <a:pt x="404" y="66"/>
                    </a:lnTo>
                    <a:lnTo>
                      <a:pt x="414" y="90"/>
                    </a:lnTo>
                    <a:lnTo>
                      <a:pt x="395" y="92"/>
                    </a:lnTo>
                    <a:lnTo>
                      <a:pt x="380" y="120"/>
                    </a:lnTo>
                    <a:lnTo>
                      <a:pt x="380" y="124"/>
                    </a:lnTo>
                    <a:lnTo>
                      <a:pt x="397" y="130"/>
                    </a:lnTo>
                    <a:lnTo>
                      <a:pt x="391" y="156"/>
                    </a:lnTo>
                    <a:lnTo>
                      <a:pt x="414" y="177"/>
                    </a:lnTo>
                    <a:lnTo>
                      <a:pt x="387" y="185"/>
                    </a:lnTo>
                    <a:lnTo>
                      <a:pt x="387" y="215"/>
                    </a:lnTo>
                    <a:lnTo>
                      <a:pt x="410" y="234"/>
                    </a:lnTo>
                    <a:lnTo>
                      <a:pt x="387" y="266"/>
                    </a:lnTo>
                    <a:lnTo>
                      <a:pt x="298" y="258"/>
                    </a:lnTo>
                    <a:lnTo>
                      <a:pt x="304" y="219"/>
                    </a:lnTo>
                    <a:lnTo>
                      <a:pt x="287" y="202"/>
                    </a:lnTo>
                    <a:lnTo>
                      <a:pt x="217" y="215"/>
                    </a:lnTo>
                    <a:lnTo>
                      <a:pt x="204" y="196"/>
                    </a:lnTo>
                    <a:lnTo>
                      <a:pt x="240" y="190"/>
                    </a:lnTo>
                    <a:lnTo>
                      <a:pt x="266" y="160"/>
                    </a:lnTo>
                    <a:lnTo>
                      <a:pt x="249" y="171"/>
                    </a:lnTo>
                    <a:lnTo>
                      <a:pt x="210" y="132"/>
                    </a:lnTo>
                    <a:lnTo>
                      <a:pt x="221" y="188"/>
                    </a:lnTo>
                    <a:lnTo>
                      <a:pt x="185" y="179"/>
                    </a:lnTo>
                    <a:lnTo>
                      <a:pt x="164" y="217"/>
                    </a:lnTo>
                    <a:lnTo>
                      <a:pt x="91" y="205"/>
                    </a:lnTo>
                    <a:lnTo>
                      <a:pt x="100" y="190"/>
                    </a:lnTo>
                    <a:lnTo>
                      <a:pt x="85" y="175"/>
                    </a:lnTo>
                    <a:lnTo>
                      <a:pt x="0" y="173"/>
                    </a:lnTo>
                    <a:lnTo>
                      <a:pt x="2" y="160"/>
                    </a:lnTo>
                  </a:path>
                </a:pathLst>
              </a:custGeom>
              <a:grp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517" name="83">
                <a:extLst>
                  <a:ext uri="{FF2B5EF4-FFF2-40B4-BE49-F238E27FC236}">
                    <a16:creationId xmlns:a16="http://schemas.microsoft.com/office/drawing/2014/main" id="{5D266BAB-4E5B-45C7-B94A-E8B9AC97659E}"/>
                  </a:ext>
                </a:extLst>
              </p:cNvPr>
              <p:cNvSpPr>
                <a:spLocks/>
              </p:cNvSpPr>
              <p:nvPr/>
            </p:nvSpPr>
            <p:spPr bwMode="gray">
              <a:xfrm>
                <a:off x="7734990" y="5296159"/>
                <a:ext cx="484207" cy="408281"/>
              </a:xfrm>
              <a:custGeom>
                <a:avLst/>
                <a:gdLst>
                  <a:gd name="T0" fmla="*/ 0 w 338"/>
                  <a:gd name="T1" fmla="*/ 92 h 285"/>
                  <a:gd name="T2" fmla="*/ 17 w 338"/>
                  <a:gd name="T3" fmla="*/ 98 h 285"/>
                  <a:gd name="T4" fmla="*/ 11 w 338"/>
                  <a:gd name="T5" fmla="*/ 124 h 285"/>
                  <a:gd name="T6" fmla="*/ 34 w 338"/>
                  <a:gd name="T7" fmla="*/ 145 h 285"/>
                  <a:gd name="T8" fmla="*/ 7 w 338"/>
                  <a:gd name="T9" fmla="*/ 153 h 285"/>
                  <a:gd name="T10" fmla="*/ 7 w 338"/>
                  <a:gd name="T11" fmla="*/ 183 h 285"/>
                  <a:gd name="T12" fmla="*/ 30 w 338"/>
                  <a:gd name="T13" fmla="*/ 202 h 285"/>
                  <a:gd name="T14" fmla="*/ 7 w 338"/>
                  <a:gd name="T15" fmla="*/ 234 h 285"/>
                  <a:gd name="T16" fmla="*/ 43 w 338"/>
                  <a:gd name="T17" fmla="*/ 258 h 285"/>
                  <a:gd name="T18" fmla="*/ 49 w 338"/>
                  <a:gd name="T19" fmla="*/ 279 h 285"/>
                  <a:gd name="T20" fmla="*/ 83 w 338"/>
                  <a:gd name="T21" fmla="*/ 272 h 285"/>
                  <a:gd name="T22" fmla="*/ 73 w 338"/>
                  <a:gd name="T23" fmla="*/ 253 h 285"/>
                  <a:gd name="T24" fmla="*/ 130 w 338"/>
                  <a:gd name="T25" fmla="*/ 266 h 285"/>
                  <a:gd name="T26" fmla="*/ 124 w 338"/>
                  <a:gd name="T27" fmla="*/ 285 h 285"/>
                  <a:gd name="T28" fmla="*/ 137 w 338"/>
                  <a:gd name="T29" fmla="*/ 285 h 285"/>
                  <a:gd name="T30" fmla="*/ 149 w 338"/>
                  <a:gd name="T31" fmla="*/ 253 h 285"/>
                  <a:gd name="T32" fmla="*/ 192 w 338"/>
                  <a:gd name="T33" fmla="*/ 262 h 285"/>
                  <a:gd name="T34" fmla="*/ 194 w 338"/>
                  <a:gd name="T35" fmla="*/ 243 h 285"/>
                  <a:gd name="T36" fmla="*/ 268 w 338"/>
                  <a:gd name="T37" fmla="*/ 226 h 285"/>
                  <a:gd name="T38" fmla="*/ 281 w 338"/>
                  <a:gd name="T39" fmla="*/ 192 h 285"/>
                  <a:gd name="T40" fmla="*/ 251 w 338"/>
                  <a:gd name="T41" fmla="*/ 187 h 285"/>
                  <a:gd name="T42" fmla="*/ 290 w 338"/>
                  <a:gd name="T43" fmla="*/ 136 h 285"/>
                  <a:gd name="T44" fmla="*/ 328 w 338"/>
                  <a:gd name="T45" fmla="*/ 132 h 285"/>
                  <a:gd name="T46" fmla="*/ 338 w 338"/>
                  <a:gd name="T47" fmla="*/ 111 h 285"/>
                  <a:gd name="T48" fmla="*/ 324 w 338"/>
                  <a:gd name="T49" fmla="*/ 94 h 285"/>
                  <a:gd name="T50" fmla="*/ 332 w 338"/>
                  <a:gd name="T51" fmla="*/ 68 h 285"/>
                  <a:gd name="T52" fmla="*/ 302 w 338"/>
                  <a:gd name="T53" fmla="*/ 58 h 285"/>
                  <a:gd name="T54" fmla="*/ 287 w 338"/>
                  <a:gd name="T55" fmla="*/ 19 h 285"/>
                  <a:gd name="T56" fmla="*/ 256 w 338"/>
                  <a:gd name="T57" fmla="*/ 5 h 285"/>
                  <a:gd name="T58" fmla="*/ 256 w 338"/>
                  <a:gd name="T59" fmla="*/ 2 h 285"/>
                  <a:gd name="T60" fmla="*/ 205 w 338"/>
                  <a:gd name="T61" fmla="*/ 0 h 285"/>
                  <a:gd name="T62" fmla="*/ 181 w 338"/>
                  <a:gd name="T63" fmla="*/ 24 h 285"/>
                  <a:gd name="T64" fmla="*/ 145 w 338"/>
                  <a:gd name="T65" fmla="*/ 2 h 285"/>
                  <a:gd name="T66" fmla="*/ 96 w 338"/>
                  <a:gd name="T67" fmla="*/ 51 h 285"/>
                  <a:gd name="T68" fmla="*/ 68 w 338"/>
                  <a:gd name="T69" fmla="*/ 22 h 285"/>
                  <a:gd name="T70" fmla="*/ 24 w 338"/>
                  <a:gd name="T71" fmla="*/ 30 h 285"/>
                  <a:gd name="T72" fmla="*/ 24 w 338"/>
                  <a:gd name="T73" fmla="*/ 34 h 285"/>
                  <a:gd name="T74" fmla="*/ 34 w 338"/>
                  <a:gd name="T75" fmla="*/ 58 h 285"/>
                  <a:gd name="T76" fmla="*/ 15 w 338"/>
                  <a:gd name="T77" fmla="*/ 60 h 285"/>
                  <a:gd name="T78" fmla="*/ 0 w 338"/>
                  <a:gd name="T79" fmla="*/ 88 h 285"/>
                  <a:gd name="T80" fmla="*/ 0 w 338"/>
                  <a:gd name="T81" fmla="*/ 9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8" h="285">
                    <a:moveTo>
                      <a:pt x="0" y="92"/>
                    </a:moveTo>
                    <a:lnTo>
                      <a:pt x="17" y="98"/>
                    </a:lnTo>
                    <a:lnTo>
                      <a:pt x="11" y="124"/>
                    </a:lnTo>
                    <a:lnTo>
                      <a:pt x="34" y="145"/>
                    </a:lnTo>
                    <a:lnTo>
                      <a:pt x="7" y="153"/>
                    </a:lnTo>
                    <a:lnTo>
                      <a:pt x="7" y="183"/>
                    </a:lnTo>
                    <a:lnTo>
                      <a:pt x="30" y="202"/>
                    </a:lnTo>
                    <a:lnTo>
                      <a:pt x="7" y="234"/>
                    </a:lnTo>
                    <a:lnTo>
                      <a:pt x="43" y="258"/>
                    </a:lnTo>
                    <a:lnTo>
                      <a:pt x="49" y="279"/>
                    </a:lnTo>
                    <a:lnTo>
                      <a:pt x="83" y="272"/>
                    </a:lnTo>
                    <a:lnTo>
                      <a:pt x="73" y="253"/>
                    </a:lnTo>
                    <a:lnTo>
                      <a:pt x="130" y="266"/>
                    </a:lnTo>
                    <a:lnTo>
                      <a:pt x="124" y="285"/>
                    </a:lnTo>
                    <a:lnTo>
                      <a:pt x="137" y="285"/>
                    </a:lnTo>
                    <a:lnTo>
                      <a:pt x="149" y="253"/>
                    </a:lnTo>
                    <a:lnTo>
                      <a:pt x="192" y="262"/>
                    </a:lnTo>
                    <a:lnTo>
                      <a:pt x="194" y="243"/>
                    </a:lnTo>
                    <a:lnTo>
                      <a:pt x="268" y="226"/>
                    </a:lnTo>
                    <a:lnTo>
                      <a:pt x="281" y="192"/>
                    </a:lnTo>
                    <a:lnTo>
                      <a:pt x="251" y="187"/>
                    </a:lnTo>
                    <a:lnTo>
                      <a:pt x="290" y="136"/>
                    </a:lnTo>
                    <a:lnTo>
                      <a:pt x="328" y="132"/>
                    </a:lnTo>
                    <a:lnTo>
                      <a:pt x="338" y="111"/>
                    </a:lnTo>
                    <a:lnTo>
                      <a:pt x="324" y="94"/>
                    </a:lnTo>
                    <a:lnTo>
                      <a:pt x="332" y="68"/>
                    </a:lnTo>
                    <a:lnTo>
                      <a:pt x="302" y="58"/>
                    </a:lnTo>
                    <a:lnTo>
                      <a:pt x="287" y="19"/>
                    </a:lnTo>
                    <a:lnTo>
                      <a:pt x="256" y="5"/>
                    </a:lnTo>
                    <a:lnTo>
                      <a:pt x="256" y="2"/>
                    </a:lnTo>
                    <a:lnTo>
                      <a:pt x="205" y="0"/>
                    </a:lnTo>
                    <a:lnTo>
                      <a:pt x="181" y="24"/>
                    </a:lnTo>
                    <a:lnTo>
                      <a:pt x="145" y="2"/>
                    </a:lnTo>
                    <a:lnTo>
                      <a:pt x="96" y="51"/>
                    </a:lnTo>
                    <a:lnTo>
                      <a:pt x="68" y="22"/>
                    </a:lnTo>
                    <a:lnTo>
                      <a:pt x="24" y="30"/>
                    </a:lnTo>
                    <a:lnTo>
                      <a:pt x="24" y="34"/>
                    </a:lnTo>
                    <a:lnTo>
                      <a:pt x="34" y="58"/>
                    </a:lnTo>
                    <a:lnTo>
                      <a:pt x="15" y="60"/>
                    </a:lnTo>
                    <a:lnTo>
                      <a:pt x="0" y="88"/>
                    </a:lnTo>
                    <a:lnTo>
                      <a:pt x="0" y="92"/>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grpSp>
          <p:nvGrpSpPr>
            <p:cNvPr id="280" name="Pays de la Loire (Formes)">
              <a:extLst>
                <a:ext uri="{FF2B5EF4-FFF2-40B4-BE49-F238E27FC236}">
                  <a16:creationId xmlns:a16="http://schemas.microsoft.com/office/drawing/2014/main" id="{76C08EC0-AE27-4EB0-83E5-FA4501912E39}"/>
                </a:ext>
              </a:extLst>
            </p:cNvPr>
            <p:cNvGrpSpPr/>
            <p:nvPr/>
          </p:nvGrpSpPr>
          <p:grpSpPr>
            <a:xfrm>
              <a:off x="5511575" y="2621217"/>
              <a:ext cx="1244899" cy="1187596"/>
              <a:chOff x="4758119" y="2790602"/>
              <a:chExt cx="1244899" cy="1187596"/>
            </a:xfrm>
            <a:solidFill>
              <a:srgbClr val="8C9B9C"/>
            </a:solidFill>
          </p:grpSpPr>
          <p:sp>
            <p:nvSpPr>
              <p:cNvPr id="501" name="44">
                <a:extLst>
                  <a:ext uri="{FF2B5EF4-FFF2-40B4-BE49-F238E27FC236}">
                    <a16:creationId xmlns:a16="http://schemas.microsoft.com/office/drawing/2014/main" id="{0B24C416-AC19-4047-9A65-5F209515667A}"/>
                  </a:ext>
                </a:extLst>
              </p:cNvPr>
              <p:cNvSpPr>
                <a:spLocks/>
              </p:cNvSpPr>
              <p:nvPr/>
            </p:nvSpPr>
            <p:spPr bwMode="gray">
              <a:xfrm>
                <a:off x="4758119" y="3150176"/>
                <a:ext cx="581622" cy="504263"/>
              </a:xfrm>
              <a:custGeom>
                <a:avLst/>
                <a:gdLst>
                  <a:gd name="T0" fmla="*/ 12 w 406"/>
                  <a:gd name="T1" fmla="*/ 165 h 352"/>
                  <a:gd name="T2" fmla="*/ 2 w 406"/>
                  <a:gd name="T3" fmla="*/ 180 h 352"/>
                  <a:gd name="T4" fmla="*/ 61 w 406"/>
                  <a:gd name="T5" fmla="*/ 204 h 352"/>
                  <a:gd name="T6" fmla="*/ 91 w 406"/>
                  <a:gd name="T7" fmla="*/ 184 h 352"/>
                  <a:gd name="T8" fmla="*/ 151 w 406"/>
                  <a:gd name="T9" fmla="*/ 184 h 352"/>
                  <a:gd name="T10" fmla="*/ 187 w 406"/>
                  <a:gd name="T11" fmla="*/ 221 h 352"/>
                  <a:gd name="T12" fmla="*/ 127 w 406"/>
                  <a:gd name="T13" fmla="*/ 189 h 352"/>
                  <a:gd name="T14" fmla="*/ 93 w 406"/>
                  <a:gd name="T15" fmla="*/ 195 h 352"/>
                  <a:gd name="T16" fmla="*/ 91 w 406"/>
                  <a:gd name="T17" fmla="*/ 233 h 352"/>
                  <a:gd name="T18" fmla="*/ 70 w 406"/>
                  <a:gd name="T19" fmla="*/ 242 h 352"/>
                  <a:gd name="T20" fmla="*/ 136 w 406"/>
                  <a:gd name="T21" fmla="*/ 284 h 352"/>
                  <a:gd name="T22" fmla="*/ 193 w 406"/>
                  <a:gd name="T23" fmla="*/ 340 h 352"/>
                  <a:gd name="T24" fmla="*/ 238 w 406"/>
                  <a:gd name="T25" fmla="*/ 352 h 352"/>
                  <a:gd name="T26" fmla="*/ 250 w 406"/>
                  <a:gd name="T27" fmla="*/ 346 h 352"/>
                  <a:gd name="T28" fmla="*/ 240 w 406"/>
                  <a:gd name="T29" fmla="*/ 295 h 352"/>
                  <a:gd name="T30" fmla="*/ 255 w 406"/>
                  <a:gd name="T31" fmla="*/ 289 h 352"/>
                  <a:gd name="T32" fmla="*/ 261 w 406"/>
                  <a:gd name="T33" fmla="*/ 331 h 352"/>
                  <a:gd name="T34" fmla="*/ 312 w 406"/>
                  <a:gd name="T35" fmla="*/ 278 h 352"/>
                  <a:gd name="T36" fmla="*/ 342 w 406"/>
                  <a:gd name="T37" fmla="*/ 299 h 352"/>
                  <a:gd name="T38" fmla="*/ 350 w 406"/>
                  <a:gd name="T39" fmla="*/ 287 h 352"/>
                  <a:gd name="T40" fmla="*/ 316 w 406"/>
                  <a:gd name="T41" fmla="*/ 272 h 352"/>
                  <a:gd name="T42" fmla="*/ 342 w 406"/>
                  <a:gd name="T43" fmla="*/ 244 h 352"/>
                  <a:gd name="T44" fmla="*/ 338 w 406"/>
                  <a:gd name="T45" fmla="*/ 221 h 352"/>
                  <a:gd name="T46" fmla="*/ 299 w 406"/>
                  <a:gd name="T47" fmla="*/ 195 h 352"/>
                  <a:gd name="T48" fmla="*/ 299 w 406"/>
                  <a:gd name="T49" fmla="*/ 193 h 352"/>
                  <a:gd name="T50" fmla="*/ 406 w 406"/>
                  <a:gd name="T51" fmla="*/ 167 h 352"/>
                  <a:gd name="T52" fmla="*/ 393 w 406"/>
                  <a:gd name="T53" fmla="*/ 131 h 352"/>
                  <a:gd name="T54" fmla="*/ 348 w 406"/>
                  <a:gd name="T55" fmla="*/ 121 h 352"/>
                  <a:gd name="T56" fmla="*/ 348 w 406"/>
                  <a:gd name="T57" fmla="*/ 102 h 352"/>
                  <a:gd name="T58" fmla="*/ 389 w 406"/>
                  <a:gd name="T59" fmla="*/ 97 h 352"/>
                  <a:gd name="T60" fmla="*/ 357 w 406"/>
                  <a:gd name="T61" fmla="*/ 82 h 352"/>
                  <a:gd name="T62" fmla="*/ 331 w 406"/>
                  <a:gd name="T63" fmla="*/ 25 h 352"/>
                  <a:gd name="T64" fmla="*/ 280 w 406"/>
                  <a:gd name="T65" fmla="*/ 0 h 352"/>
                  <a:gd name="T66" fmla="*/ 229 w 406"/>
                  <a:gd name="T67" fmla="*/ 40 h 352"/>
                  <a:gd name="T68" fmla="*/ 153 w 406"/>
                  <a:gd name="T69" fmla="*/ 44 h 352"/>
                  <a:gd name="T70" fmla="*/ 119 w 406"/>
                  <a:gd name="T71" fmla="*/ 63 h 352"/>
                  <a:gd name="T72" fmla="*/ 102 w 406"/>
                  <a:gd name="T73" fmla="*/ 112 h 352"/>
                  <a:gd name="T74" fmla="*/ 68 w 406"/>
                  <a:gd name="T75" fmla="*/ 104 h 352"/>
                  <a:gd name="T76" fmla="*/ 63 w 406"/>
                  <a:gd name="T77" fmla="*/ 121 h 352"/>
                  <a:gd name="T78" fmla="*/ 25 w 406"/>
                  <a:gd name="T79" fmla="*/ 123 h 352"/>
                  <a:gd name="T80" fmla="*/ 29 w 406"/>
                  <a:gd name="T81" fmla="*/ 138 h 352"/>
                  <a:gd name="T82" fmla="*/ 0 w 406"/>
                  <a:gd name="T83" fmla="*/ 148 h 352"/>
                  <a:gd name="T84" fmla="*/ 12 w 406"/>
                  <a:gd name="T85" fmla="*/ 165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6" h="352">
                    <a:moveTo>
                      <a:pt x="12" y="165"/>
                    </a:moveTo>
                    <a:lnTo>
                      <a:pt x="2" y="180"/>
                    </a:lnTo>
                    <a:lnTo>
                      <a:pt x="61" y="204"/>
                    </a:lnTo>
                    <a:lnTo>
                      <a:pt x="91" y="184"/>
                    </a:lnTo>
                    <a:lnTo>
                      <a:pt x="151" y="184"/>
                    </a:lnTo>
                    <a:lnTo>
                      <a:pt x="187" y="221"/>
                    </a:lnTo>
                    <a:lnTo>
                      <a:pt x="127" y="189"/>
                    </a:lnTo>
                    <a:lnTo>
                      <a:pt x="93" y="195"/>
                    </a:lnTo>
                    <a:lnTo>
                      <a:pt x="91" y="233"/>
                    </a:lnTo>
                    <a:lnTo>
                      <a:pt x="70" y="242"/>
                    </a:lnTo>
                    <a:lnTo>
                      <a:pt x="136" y="284"/>
                    </a:lnTo>
                    <a:lnTo>
                      <a:pt x="193" y="340"/>
                    </a:lnTo>
                    <a:lnTo>
                      <a:pt x="238" y="352"/>
                    </a:lnTo>
                    <a:lnTo>
                      <a:pt x="250" y="346"/>
                    </a:lnTo>
                    <a:lnTo>
                      <a:pt x="240" y="295"/>
                    </a:lnTo>
                    <a:lnTo>
                      <a:pt x="255" y="289"/>
                    </a:lnTo>
                    <a:lnTo>
                      <a:pt x="261" y="331"/>
                    </a:lnTo>
                    <a:lnTo>
                      <a:pt x="312" y="278"/>
                    </a:lnTo>
                    <a:lnTo>
                      <a:pt x="342" y="299"/>
                    </a:lnTo>
                    <a:lnTo>
                      <a:pt x="350" y="287"/>
                    </a:lnTo>
                    <a:lnTo>
                      <a:pt x="316" y="272"/>
                    </a:lnTo>
                    <a:lnTo>
                      <a:pt x="342" y="244"/>
                    </a:lnTo>
                    <a:lnTo>
                      <a:pt x="338" y="221"/>
                    </a:lnTo>
                    <a:lnTo>
                      <a:pt x="299" y="195"/>
                    </a:lnTo>
                    <a:lnTo>
                      <a:pt x="299" y="193"/>
                    </a:lnTo>
                    <a:lnTo>
                      <a:pt x="406" y="167"/>
                    </a:lnTo>
                    <a:lnTo>
                      <a:pt x="393" y="131"/>
                    </a:lnTo>
                    <a:lnTo>
                      <a:pt x="348" y="121"/>
                    </a:lnTo>
                    <a:lnTo>
                      <a:pt x="348" y="102"/>
                    </a:lnTo>
                    <a:lnTo>
                      <a:pt x="389" y="97"/>
                    </a:lnTo>
                    <a:lnTo>
                      <a:pt x="357" y="82"/>
                    </a:lnTo>
                    <a:lnTo>
                      <a:pt x="331" y="25"/>
                    </a:lnTo>
                    <a:lnTo>
                      <a:pt x="280" y="0"/>
                    </a:lnTo>
                    <a:lnTo>
                      <a:pt x="229" y="40"/>
                    </a:lnTo>
                    <a:lnTo>
                      <a:pt x="153" y="44"/>
                    </a:lnTo>
                    <a:lnTo>
                      <a:pt x="119" y="63"/>
                    </a:lnTo>
                    <a:lnTo>
                      <a:pt x="102" y="112"/>
                    </a:lnTo>
                    <a:lnTo>
                      <a:pt x="68" y="104"/>
                    </a:lnTo>
                    <a:lnTo>
                      <a:pt x="63" y="121"/>
                    </a:lnTo>
                    <a:lnTo>
                      <a:pt x="25" y="123"/>
                    </a:lnTo>
                    <a:lnTo>
                      <a:pt x="29" y="138"/>
                    </a:lnTo>
                    <a:lnTo>
                      <a:pt x="0" y="148"/>
                    </a:lnTo>
                    <a:lnTo>
                      <a:pt x="12" y="165"/>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502" name="72">
                <a:extLst>
                  <a:ext uri="{FF2B5EF4-FFF2-40B4-BE49-F238E27FC236}">
                    <a16:creationId xmlns:a16="http://schemas.microsoft.com/office/drawing/2014/main" id="{211872A7-E823-4227-87E9-4BAED0834DB6}"/>
                  </a:ext>
                </a:extLst>
              </p:cNvPr>
              <p:cNvSpPr>
                <a:spLocks/>
              </p:cNvSpPr>
              <p:nvPr/>
            </p:nvSpPr>
            <p:spPr bwMode="gray">
              <a:xfrm>
                <a:off x="5518811" y="2842174"/>
                <a:ext cx="484207" cy="478477"/>
              </a:xfrm>
              <a:custGeom>
                <a:avLst/>
                <a:gdLst>
                  <a:gd name="T0" fmla="*/ 2 w 338"/>
                  <a:gd name="T1" fmla="*/ 234 h 334"/>
                  <a:gd name="T2" fmla="*/ 13 w 338"/>
                  <a:gd name="T3" fmla="*/ 255 h 334"/>
                  <a:gd name="T4" fmla="*/ 17 w 338"/>
                  <a:gd name="T5" fmla="*/ 272 h 334"/>
                  <a:gd name="T6" fmla="*/ 64 w 338"/>
                  <a:gd name="T7" fmla="*/ 276 h 334"/>
                  <a:gd name="T8" fmla="*/ 60 w 338"/>
                  <a:gd name="T9" fmla="*/ 300 h 334"/>
                  <a:gd name="T10" fmla="*/ 83 w 338"/>
                  <a:gd name="T11" fmla="*/ 293 h 334"/>
                  <a:gd name="T12" fmla="*/ 142 w 338"/>
                  <a:gd name="T13" fmla="*/ 327 h 334"/>
                  <a:gd name="T14" fmla="*/ 162 w 338"/>
                  <a:gd name="T15" fmla="*/ 319 h 334"/>
                  <a:gd name="T16" fmla="*/ 198 w 338"/>
                  <a:gd name="T17" fmla="*/ 334 h 334"/>
                  <a:gd name="T18" fmla="*/ 202 w 338"/>
                  <a:gd name="T19" fmla="*/ 308 h 334"/>
                  <a:gd name="T20" fmla="*/ 217 w 338"/>
                  <a:gd name="T21" fmla="*/ 317 h 334"/>
                  <a:gd name="T22" fmla="*/ 259 w 338"/>
                  <a:gd name="T23" fmla="*/ 291 h 334"/>
                  <a:gd name="T24" fmla="*/ 255 w 338"/>
                  <a:gd name="T25" fmla="*/ 293 h 334"/>
                  <a:gd name="T26" fmla="*/ 251 w 338"/>
                  <a:gd name="T27" fmla="*/ 285 h 334"/>
                  <a:gd name="T28" fmla="*/ 298 w 338"/>
                  <a:gd name="T29" fmla="*/ 242 h 334"/>
                  <a:gd name="T30" fmla="*/ 295 w 338"/>
                  <a:gd name="T31" fmla="*/ 219 h 334"/>
                  <a:gd name="T32" fmla="*/ 312 w 338"/>
                  <a:gd name="T33" fmla="*/ 219 h 334"/>
                  <a:gd name="T34" fmla="*/ 306 w 338"/>
                  <a:gd name="T35" fmla="*/ 157 h 334"/>
                  <a:gd name="T36" fmla="*/ 321 w 338"/>
                  <a:gd name="T37" fmla="*/ 142 h 334"/>
                  <a:gd name="T38" fmla="*/ 338 w 338"/>
                  <a:gd name="T39" fmla="*/ 127 h 334"/>
                  <a:gd name="T40" fmla="*/ 308 w 338"/>
                  <a:gd name="T41" fmla="*/ 110 h 334"/>
                  <a:gd name="T42" fmla="*/ 215 w 338"/>
                  <a:gd name="T43" fmla="*/ 61 h 334"/>
                  <a:gd name="T44" fmla="*/ 213 w 338"/>
                  <a:gd name="T45" fmla="*/ 21 h 334"/>
                  <a:gd name="T46" fmla="*/ 189 w 338"/>
                  <a:gd name="T47" fmla="*/ 0 h 334"/>
                  <a:gd name="T48" fmla="*/ 106 w 338"/>
                  <a:gd name="T49" fmla="*/ 36 h 334"/>
                  <a:gd name="T50" fmla="*/ 79 w 338"/>
                  <a:gd name="T51" fmla="*/ 51 h 334"/>
                  <a:gd name="T52" fmla="*/ 79 w 338"/>
                  <a:gd name="T53" fmla="*/ 98 h 334"/>
                  <a:gd name="T54" fmla="*/ 53 w 338"/>
                  <a:gd name="T55" fmla="*/ 112 h 334"/>
                  <a:gd name="T56" fmla="*/ 55 w 338"/>
                  <a:gd name="T57" fmla="*/ 149 h 334"/>
                  <a:gd name="T58" fmla="*/ 30 w 338"/>
                  <a:gd name="T59" fmla="*/ 153 h 334"/>
                  <a:gd name="T60" fmla="*/ 40 w 338"/>
                  <a:gd name="T61" fmla="*/ 187 h 334"/>
                  <a:gd name="T62" fmla="*/ 11 w 338"/>
                  <a:gd name="T63" fmla="*/ 200 h 334"/>
                  <a:gd name="T64" fmla="*/ 19 w 338"/>
                  <a:gd name="T65" fmla="*/ 215 h 334"/>
                  <a:gd name="T66" fmla="*/ 0 w 338"/>
                  <a:gd name="T67" fmla="*/ 229 h 334"/>
                  <a:gd name="T68" fmla="*/ 2 w 338"/>
                  <a:gd name="T69" fmla="*/ 23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8" h="334">
                    <a:moveTo>
                      <a:pt x="2" y="234"/>
                    </a:moveTo>
                    <a:lnTo>
                      <a:pt x="13" y="255"/>
                    </a:lnTo>
                    <a:lnTo>
                      <a:pt x="17" y="272"/>
                    </a:lnTo>
                    <a:lnTo>
                      <a:pt x="64" y="276"/>
                    </a:lnTo>
                    <a:lnTo>
                      <a:pt x="60" y="300"/>
                    </a:lnTo>
                    <a:lnTo>
                      <a:pt x="83" y="293"/>
                    </a:lnTo>
                    <a:lnTo>
                      <a:pt x="142" y="327"/>
                    </a:lnTo>
                    <a:lnTo>
                      <a:pt x="162" y="319"/>
                    </a:lnTo>
                    <a:lnTo>
                      <a:pt x="198" y="334"/>
                    </a:lnTo>
                    <a:lnTo>
                      <a:pt x="202" y="308"/>
                    </a:lnTo>
                    <a:lnTo>
                      <a:pt x="217" y="317"/>
                    </a:lnTo>
                    <a:lnTo>
                      <a:pt x="259" y="291"/>
                    </a:lnTo>
                    <a:lnTo>
                      <a:pt x="255" y="293"/>
                    </a:lnTo>
                    <a:lnTo>
                      <a:pt x="251" y="285"/>
                    </a:lnTo>
                    <a:lnTo>
                      <a:pt x="298" y="242"/>
                    </a:lnTo>
                    <a:lnTo>
                      <a:pt x="295" y="219"/>
                    </a:lnTo>
                    <a:lnTo>
                      <a:pt x="312" y="219"/>
                    </a:lnTo>
                    <a:lnTo>
                      <a:pt x="306" y="157"/>
                    </a:lnTo>
                    <a:lnTo>
                      <a:pt x="321" y="142"/>
                    </a:lnTo>
                    <a:lnTo>
                      <a:pt x="338" y="127"/>
                    </a:lnTo>
                    <a:lnTo>
                      <a:pt x="308" y="110"/>
                    </a:lnTo>
                    <a:lnTo>
                      <a:pt x="215" y="61"/>
                    </a:lnTo>
                    <a:lnTo>
                      <a:pt x="213" y="21"/>
                    </a:lnTo>
                    <a:lnTo>
                      <a:pt x="189" y="0"/>
                    </a:lnTo>
                    <a:lnTo>
                      <a:pt x="106" y="36"/>
                    </a:lnTo>
                    <a:lnTo>
                      <a:pt x="79" y="51"/>
                    </a:lnTo>
                    <a:lnTo>
                      <a:pt x="79" y="98"/>
                    </a:lnTo>
                    <a:lnTo>
                      <a:pt x="53" y="112"/>
                    </a:lnTo>
                    <a:lnTo>
                      <a:pt x="55" y="149"/>
                    </a:lnTo>
                    <a:lnTo>
                      <a:pt x="30" y="153"/>
                    </a:lnTo>
                    <a:lnTo>
                      <a:pt x="40" y="187"/>
                    </a:lnTo>
                    <a:lnTo>
                      <a:pt x="11" y="200"/>
                    </a:lnTo>
                    <a:lnTo>
                      <a:pt x="19" y="215"/>
                    </a:lnTo>
                    <a:lnTo>
                      <a:pt x="0" y="229"/>
                    </a:lnTo>
                    <a:lnTo>
                      <a:pt x="2" y="234"/>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503" name="53">
                <a:extLst>
                  <a:ext uri="{FF2B5EF4-FFF2-40B4-BE49-F238E27FC236}">
                    <a16:creationId xmlns:a16="http://schemas.microsoft.com/office/drawing/2014/main" id="{5E7E2A3A-E460-489F-B54B-10F59C55C1B7}"/>
                  </a:ext>
                </a:extLst>
              </p:cNvPr>
              <p:cNvSpPr>
                <a:spLocks/>
              </p:cNvSpPr>
              <p:nvPr/>
            </p:nvSpPr>
            <p:spPr bwMode="gray">
              <a:xfrm>
                <a:off x="5238028" y="2790602"/>
                <a:ext cx="435500" cy="428337"/>
              </a:xfrm>
              <a:custGeom>
                <a:avLst/>
                <a:gdLst>
                  <a:gd name="T0" fmla="*/ 0 w 304"/>
                  <a:gd name="T1" fmla="*/ 263 h 299"/>
                  <a:gd name="T2" fmla="*/ 143 w 304"/>
                  <a:gd name="T3" fmla="*/ 299 h 299"/>
                  <a:gd name="T4" fmla="*/ 181 w 304"/>
                  <a:gd name="T5" fmla="*/ 282 h 299"/>
                  <a:gd name="T6" fmla="*/ 209 w 304"/>
                  <a:gd name="T7" fmla="*/ 291 h 299"/>
                  <a:gd name="T8" fmla="*/ 198 w 304"/>
                  <a:gd name="T9" fmla="*/ 270 h 299"/>
                  <a:gd name="T10" fmla="*/ 196 w 304"/>
                  <a:gd name="T11" fmla="*/ 265 h 299"/>
                  <a:gd name="T12" fmla="*/ 215 w 304"/>
                  <a:gd name="T13" fmla="*/ 251 h 299"/>
                  <a:gd name="T14" fmla="*/ 207 w 304"/>
                  <a:gd name="T15" fmla="*/ 236 h 299"/>
                  <a:gd name="T16" fmla="*/ 236 w 304"/>
                  <a:gd name="T17" fmla="*/ 223 h 299"/>
                  <a:gd name="T18" fmla="*/ 226 w 304"/>
                  <a:gd name="T19" fmla="*/ 189 h 299"/>
                  <a:gd name="T20" fmla="*/ 251 w 304"/>
                  <a:gd name="T21" fmla="*/ 185 h 299"/>
                  <a:gd name="T22" fmla="*/ 249 w 304"/>
                  <a:gd name="T23" fmla="*/ 148 h 299"/>
                  <a:gd name="T24" fmla="*/ 275 w 304"/>
                  <a:gd name="T25" fmla="*/ 134 h 299"/>
                  <a:gd name="T26" fmla="*/ 275 w 304"/>
                  <a:gd name="T27" fmla="*/ 87 h 299"/>
                  <a:gd name="T28" fmla="*/ 302 w 304"/>
                  <a:gd name="T29" fmla="*/ 72 h 299"/>
                  <a:gd name="T30" fmla="*/ 304 w 304"/>
                  <a:gd name="T31" fmla="*/ 44 h 299"/>
                  <a:gd name="T32" fmla="*/ 283 w 304"/>
                  <a:gd name="T33" fmla="*/ 42 h 299"/>
                  <a:gd name="T34" fmla="*/ 281 w 304"/>
                  <a:gd name="T35" fmla="*/ 15 h 299"/>
                  <a:gd name="T36" fmla="*/ 260 w 304"/>
                  <a:gd name="T37" fmla="*/ 0 h 299"/>
                  <a:gd name="T38" fmla="*/ 230 w 304"/>
                  <a:gd name="T39" fmla="*/ 27 h 299"/>
                  <a:gd name="T40" fmla="*/ 207 w 304"/>
                  <a:gd name="T41" fmla="*/ 17 h 299"/>
                  <a:gd name="T42" fmla="*/ 158 w 304"/>
                  <a:gd name="T43" fmla="*/ 40 h 299"/>
                  <a:gd name="T44" fmla="*/ 153 w 304"/>
                  <a:gd name="T45" fmla="*/ 25 h 299"/>
                  <a:gd name="T46" fmla="*/ 132 w 304"/>
                  <a:gd name="T47" fmla="*/ 40 h 299"/>
                  <a:gd name="T48" fmla="*/ 109 w 304"/>
                  <a:gd name="T49" fmla="*/ 19 h 299"/>
                  <a:gd name="T50" fmla="*/ 56 w 304"/>
                  <a:gd name="T51" fmla="*/ 12 h 299"/>
                  <a:gd name="T52" fmla="*/ 58 w 304"/>
                  <a:gd name="T53" fmla="*/ 78 h 299"/>
                  <a:gd name="T54" fmla="*/ 45 w 304"/>
                  <a:gd name="T55" fmla="*/ 100 h 299"/>
                  <a:gd name="T56" fmla="*/ 60 w 304"/>
                  <a:gd name="T57" fmla="*/ 191 h 299"/>
                  <a:gd name="T58" fmla="*/ 26 w 304"/>
                  <a:gd name="T59" fmla="*/ 206 h 299"/>
                  <a:gd name="T60" fmla="*/ 0 w 304"/>
                  <a:gd name="T61" fmla="*/ 261 h 299"/>
                  <a:gd name="T62" fmla="*/ 0 w 304"/>
                  <a:gd name="T63" fmla="*/ 26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4" h="299">
                    <a:moveTo>
                      <a:pt x="0" y="263"/>
                    </a:moveTo>
                    <a:lnTo>
                      <a:pt x="143" y="299"/>
                    </a:lnTo>
                    <a:lnTo>
                      <a:pt x="181" y="282"/>
                    </a:lnTo>
                    <a:lnTo>
                      <a:pt x="209" y="291"/>
                    </a:lnTo>
                    <a:lnTo>
                      <a:pt x="198" y="270"/>
                    </a:lnTo>
                    <a:lnTo>
                      <a:pt x="196" y="265"/>
                    </a:lnTo>
                    <a:lnTo>
                      <a:pt x="215" y="251"/>
                    </a:lnTo>
                    <a:lnTo>
                      <a:pt x="207" y="236"/>
                    </a:lnTo>
                    <a:lnTo>
                      <a:pt x="236" y="223"/>
                    </a:lnTo>
                    <a:lnTo>
                      <a:pt x="226" y="189"/>
                    </a:lnTo>
                    <a:lnTo>
                      <a:pt x="251" y="185"/>
                    </a:lnTo>
                    <a:lnTo>
                      <a:pt x="249" y="148"/>
                    </a:lnTo>
                    <a:lnTo>
                      <a:pt x="275" y="134"/>
                    </a:lnTo>
                    <a:lnTo>
                      <a:pt x="275" y="87"/>
                    </a:lnTo>
                    <a:lnTo>
                      <a:pt x="302" y="72"/>
                    </a:lnTo>
                    <a:lnTo>
                      <a:pt x="304" y="44"/>
                    </a:lnTo>
                    <a:lnTo>
                      <a:pt x="283" y="42"/>
                    </a:lnTo>
                    <a:lnTo>
                      <a:pt x="281" y="15"/>
                    </a:lnTo>
                    <a:lnTo>
                      <a:pt x="260" y="0"/>
                    </a:lnTo>
                    <a:lnTo>
                      <a:pt x="230" y="27"/>
                    </a:lnTo>
                    <a:lnTo>
                      <a:pt x="207" y="17"/>
                    </a:lnTo>
                    <a:lnTo>
                      <a:pt x="158" y="40"/>
                    </a:lnTo>
                    <a:lnTo>
                      <a:pt x="153" y="25"/>
                    </a:lnTo>
                    <a:lnTo>
                      <a:pt x="132" y="40"/>
                    </a:lnTo>
                    <a:lnTo>
                      <a:pt x="109" y="19"/>
                    </a:lnTo>
                    <a:lnTo>
                      <a:pt x="56" y="12"/>
                    </a:lnTo>
                    <a:lnTo>
                      <a:pt x="58" y="78"/>
                    </a:lnTo>
                    <a:lnTo>
                      <a:pt x="45" y="100"/>
                    </a:lnTo>
                    <a:lnTo>
                      <a:pt x="60" y="191"/>
                    </a:lnTo>
                    <a:lnTo>
                      <a:pt x="26" y="206"/>
                    </a:lnTo>
                    <a:lnTo>
                      <a:pt x="0" y="261"/>
                    </a:lnTo>
                    <a:lnTo>
                      <a:pt x="0" y="263"/>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504" name="49">
                <a:extLst>
                  <a:ext uri="{FF2B5EF4-FFF2-40B4-BE49-F238E27FC236}">
                    <a16:creationId xmlns:a16="http://schemas.microsoft.com/office/drawing/2014/main" id="{8F82D13A-E680-43C2-BD7B-2A30B5529B06}"/>
                  </a:ext>
                </a:extLst>
              </p:cNvPr>
              <p:cNvSpPr>
                <a:spLocks/>
              </p:cNvSpPr>
              <p:nvPr/>
            </p:nvSpPr>
            <p:spPr bwMode="gray">
              <a:xfrm>
                <a:off x="5186456" y="3167367"/>
                <a:ext cx="564430" cy="442663"/>
              </a:xfrm>
              <a:custGeom>
                <a:avLst/>
                <a:gdLst>
                  <a:gd name="T0" fmla="*/ 0 w 394"/>
                  <a:gd name="T1" fmla="*/ 181 h 309"/>
                  <a:gd name="T2" fmla="*/ 107 w 394"/>
                  <a:gd name="T3" fmla="*/ 155 h 309"/>
                  <a:gd name="T4" fmla="*/ 94 w 394"/>
                  <a:gd name="T5" fmla="*/ 119 h 309"/>
                  <a:gd name="T6" fmla="*/ 49 w 394"/>
                  <a:gd name="T7" fmla="*/ 109 h 309"/>
                  <a:gd name="T8" fmla="*/ 49 w 394"/>
                  <a:gd name="T9" fmla="*/ 90 h 309"/>
                  <a:gd name="T10" fmla="*/ 90 w 394"/>
                  <a:gd name="T11" fmla="*/ 85 h 309"/>
                  <a:gd name="T12" fmla="*/ 58 w 394"/>
                  <a:gd name="T13" fmla="*/ 70 h 309"/>
                  <a:gd name="T14" fmla="*/ 32 w 394"/>
                  <a:gd name="T15" fmla="*/ 13 h 309"/>
                  <a:gd name="T16" fmla="*/ 36 w 394"/>
                  <a:gd name="T17" fmla="*/ 0 h 309"/>
                  <a:gd name="T18" fmla="*/ 179 w 394"/>
                  <a:gd name="T19" fmla="*/ 36 h 309"/>
                  <a:gd name="T20" fmla="*/ 217 w 394"/>
                  <a:gd name="T21" fmla="*/ 19 h 309"/>
                  <a:gd name="T22" fmla="*/ 245 w 394"/>
                  <a:gd name="T23" fmla="*/ 28 h 309"/>
                  <a:gd name="T24" fmla="*/ 249 w 394"/>
                  <a:gd name="T25" fmla="*/ 45 h 309"/>
                  <a:gd name="T26" fmla="*/ 296 w 394"/>
                  <a:gd name="T27" fmla="*/ 49 h 309"/>
                  <a:gd name="T28" fmla="*/ 292 w 394"/>
                  <a:gd name="T29" fmla="*/ 73 h 309"/>
                  <a:gd name="T30" fmla="*/ 315 w 394"/>
                  <a:gd name="T31" fmla="*/ 66 h 309"/>
                  <a:gd name="T32" fmla="*/ 374 w 394"/>
                  <a:gd name="T33" fmla="*/ 100 h 309"/>
                  <a:gd name="T34" fmla="*/ 394 w 394"/>
                  <a:gd name="T35" fmla="*/ 92 h 309"/>
                  <a:gd name="T36" fmla="*/ 345 w 394"/>
                  <a:gd name="T37" fmla="*/ 251 h 309"/>
                  <a:gd name="T38" fmla="*/ 304 w 394"/>
                  <a:gd name="T39" fmla="*/ 287 h 309"/>
                  <a:gd name="T40" fmla="*/ 285 w 394"/>
                  <a:gd name="T41" fmla="*/ 270 h 309"/>
                  <a:gd name="T42" fmla="*/ 211 w 394"/>
                  <a:gd name="T43" fmla="*/ 287 h 309"/>
                  <a:gd name="T44" fmla="*/ 204 w 394"/>
                  <a:gd name="T45" fmla="*/ 277 h 309"/>
                  <a:gd name="T46" fmla="*/ 175 w 394"/>
                  <a:gd name="T47" fmla="*/ 306 h 309"/>
                  <a:gd name="T48" fmla="*/ 107 w 394"/>
                  <a:gd name="T49" fmla="*/ 309 h 309"/>
                  <a:gd name="T50" fmla="*/ 43 w 394"/>
                  <a:gd name="T51" fmla="*/ 287 h 309"/>
                  <a:gd name="T52" fmla="*/ 51 w 394"/>
                  <a:gd name="T53" fmla="*/ 275 h 309"/>
                  <a:gd name="T54" fmla="*/ 17 w 394"/>
                  <a:gd name="T55" fmla="*/ 260 h 309"/>
                  <a:gd name="T56" fmla="*/ 43 w 394"/>
                  <a:gd name="T57" fmla="*/ 232 h 309"/>
                  <a:gd name="T58" fmla="*/ 39 w 394"/>
                  <a:gd name="T59" fmla="*/ 209 h 309"/>
                  <a:gd name="T60" fmla="*/ 0 w 394"/>
                  <a:gd name="T61" fmla="*/ 183 h 309"/>
                  <a:gd name="T62" fmla="*/ 0 w 394"/>
                  <a:gd name="T63" fmla="*/ 18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309">
                    <a:moveTo>
                      <a:pt x="0" y="181"/>
                    </a:moveTo>
                    <a:lnTo>
                      <a:pt x="107" y="155"/>
                    </a:lnTo>
                    <a:lnTo>
                      <a:pt x="94" y="119"/>
                    </a:lnTo>
                    <a:lnTo>
                      <a:pt x="49" y="109"/>
                    </a:lnTo>
                    <a:lnTo>
                      <a:pt x="49" y="90"/>
                    </a:lnTo>
                    <a:lnTo>
                      <a:pt x="90" y="85"/>
                    </a:lnTo>
                    <a:lnTo>
                      <a:pt x="58" y="70"/>
                    </a:lnTo>
                    <a:lnTo>
                      <a:pt x="32" y="13"/>
                    </a:lnTo>
                    <a:lnTo>
                      <a:pt x="36" y="0"/>
                    </a:lnTo>
                    <a:lnTo>
                      <a:pt x="179" y="36"/>
                    </a:lnTo>
                    <a:lnTo>
                      <a:pt x="217" y="19"/>
                    </a:lnTo>
                    <a:lnTo>
                      <a:pt x="245" y="28"/>
                    </a:lnTo>
                    <a:lnTo>
                      <a:pt x="249" y="45"/>
                    </a:lnTo>
                    <a:lnTo>
                      <a:pt x="296" y="49"/>
                    </a:lnTo>
                    <a:lnTo>
                      <a:pt x="292" y="73"/>
                    </a:lnTo>
                    <a:lnTo>
                      <a:pt x="315" y="66"/>
                    </a:lnTo>
                    <a:lnTo>
                      <a:pt x="374" y="100"/>
                    </a:lnTo>
                    <a:lnTo>
                      <a:pt x="394" y="92"/>
                    </a:lnTo>
                    <a:lnTo>
                      <a:pt x="345" y="251"/>
                    </a:lnTo>
                    <a:lnTo>
                      <a:pt x="304" y="287"/>
                    </a:lnTo>
                    <a:lnTo>
                      <a:pt x="285" y="270"/>
                    </a:lnTo>
                    <a:lnTo>
                      <a:pt x="211" y="287"/>
                    </a:lnTo>
                    <a:lnTo>
                      <a:pt x="204" y="277"/>
                    </a:lnTo>
                    <a:lnTo>
                      <a:pt x="175" y="306"/>
                    </a:lnTo>
                    <a:lnTo>
                      <a:pt x="107" y="309"/>
                    </a:lnTo>
                    <a:lnTo>
                      <a:pt x="43" y="287"/>
                    </a:lnTo>
                    <a:lnTo>
                      <a:pt x="51" y="275"/>
                    </a:lnTo>
                    <a:lnTo>
                      <a:pt x="17" y="260"/>
                    </a:lnTo>
                    <a:lnTo>
                      <a:pt x="43" y="232"/>
                    </a:lnTo>
                    <a:lnTo>
                      <a:pt x="39" y="209"/>
                    </a:lnTo>
                    <a:lnTo>
                      <a:pt x="0" y="183"/>
                    </a:lnTo>
                    <a:lnTo>
                      <a:pt x="0" y="181"/>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505" name="85">
                <a:extLst>
                  <a:ext uri="{FF2B5EF4-FFF2-40B4-BE49-F238E27FC236}">
                    <a16:creationId xmlns:a16="http://schemas.microsoft.com/office/drawing/2014/main" id="{0FBB3AF6-5EB6-4782-AF05-7177FB53C1A4}"/>
                  </a:ext>
                </a:extLst>
              </p:cNvPr>
              <p:cNvSpPr>
                <a:spLocks/>
              </p:cNvSpPr>
              <p:nvPr/>
            </p:nvSpPr>
            <p:spPr bwMode="gray">
              <a:xfrm>
                <a:off x="4882752" y="3548429"/>
                <a:ext cx="565863" cy="429769"/>
              </a:xfrm>
              <a:custGeom>
                <a:avLst/>
                <a:gdLst>
                  <a:gd name="T0" fmla="*/ 49 w 395"/>
                  <a:gd name="T1" fmla="*/ 6 h 300"/>
                  <a:gd name="T2" fmla="*/ 106 w 395"/>
                  <a:gd name="T3" fmla="*/ 62 h 300"/>
                  <a:gd name="T4" fmla="*/ 151 w 395"/>
                  <a:gd name="T5" fmla="*/ 74 h 300"/>
                  <a:gd name="T6" fmla="*/ 163 w 395"/>
                  <a:gd name="T7" fmla="*/ 68 h 300"/>
                  <a:gd name="T8" fmla="*/ 153 w 395"/>
                  <a:gd name="T9" fmla="*/ 17 h 300"/>
                  <a:gd name="T10" fmla="*/ 168 w 395"/>
                  <a:gd name="T11" fmla="*/ 11 h 300"/>
                  <a:gd name="T12" fmla="*/ 174 w 395"/>
                  <a:gd name="T13" fmla="*/ 53 h 300"/>
                  <a:gd name="T14" fmla="*/ 225 w 395"/>
                  <a:gd name="T15" fmla="*/ 0 h 300"/>
                  <a:gd name="T16" fmla="*/ 255 w 395"/>
                  <a:gd name="T17" fmla="*/ 21 h 300"/>
                  <a:gd name="T18" fmla="*/ 319 w 395"/>
                  <a:gd name="T19" fmla="*/ 43 h 300"/>
                  <a:gd name="T20" fmla="*/ 316 w 395"/>
                  <a:gd name="T21" fmla="*/ 45 h 300"/>
                  <a:gd name="T22" fmla="*/ 363 w 395"/>
                  <a:gd name="T23" fmla="*/ 106 h 300"/>
                  <a:gd name="T24" fmla="*/ 382 w 395"/>
                  <a:gd name="T25" fmla="*/ 206 h 300"/>
                  <a:gd name="T26" fmla="*/ 372 w 395"/>
                  <a:gd name="T27" fmla="*/ 257 h 300"/>
                  <a:gd name="T28" fmla="*/ 395 w 395"/>
                  <a:gd name="T29" fmla="*/ 264 h 300"/>
                  <a:gd name="T30" fmla="*/ 340 w 395"/>
                  <a:gd name="T31" fmla="*/ 291 h 300"/>
                  <a:gd name="T32" fmla="*/ 319 w 395"/>
                  <a:gd name="T33" fmla="*/ 276 h 300"/>
                  <a:gd name="T34" fmla="*/ 293 w 395"/>
                  <a:gd name="T35" fmla="*/ 285 h 300"/>
                  <a:gd name="T36" fmla="*/ 295 w 395"/>
                  <a:gd name="T37" fmla="*/ 266 h 300"/>
                  <a:gd name="T38" fmla="*/ 244 w 395"/>
                  <a:gd name="T39" fmla="*/ 283 h 300"/>
                  <a:gd name="T40" fmla="*/ 221 w 395"/>
                  <a:gd name="T41" fmla="*/ 300 h 300"/>
                  <a:gd name="T42" fmla="*/ 204 w 395"/>
                  <a:gd name="T43" fmla="*/ 291 h 300"/>
                  <a:gd name="T44" fmla="*/ 74 w 395"/>
                  <a:gd name="T45" fmla="*/ 204 h 300"/>
                  <a:gd name="T46" fmla="*/ 64 w 395"/>
                  <a:gd name="T47" fmla="*/ 155 h 300"/>
                  <a:gd name="T48" fmla="*/ 0 w 395"/>
                  <a:gd name="T49" fmla="*/ 77 h 300"/>
                  <a:gd name="T50" fmla="*/ 49 w 395"/>
                  <a:gd name="T51" fmla="*/ 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5" h="300">
                    <a:moveTo>
                      <a:pt x="49" y="6"/>
                    </a:moveTo>
                    <a:lnTo>
                      <a:pt x="106" y="62"/>
                    </a:lnTo>
                    <a:lnTo>
                      <a:pt x="151" y="74"/>
                    </a:lnTo>
                    <a:lnTo>
                      <a:pt x="163" y="68"/>
                    </a:lnTo>
                    <a:lnTo>
                      <a:pt x="153" y="17"/>
                    </a:lnTo>
                    <a:lnTo>
                      <a:pt x="168" y="11"/>
                    </a:lnTo>
                    <a:lnTo>
                      <a:pt x="174" y="53"/>
                    </a:lnTo>
                    <a:lnTo>
                      <a:pt x="225" y="0"/>
                    </a:lnTo>
                    <a:lnTo>
                      <a:pt x="255" y="21"/>
                    </a:lnTo>
                    <a:lnTo>
                      <a:pt x="319" y="43"/>
                    </a:lnTo>
                    <a:lnTo>
                      <a:pt x="316" y="45"/>
                    </a:lnTo>
                    <a:lnTo>
                      <a:pt x="363" y="106"/>
                    </a:lnTo>
                    <a:lnTo>
                      <a:pt x="382" y="206"/>
                    </a:lnTo>
                    <a:lnTo>
                      <a:pt x="372" y="257"/>
                    </a:lnTo>
                    <a:lnTo>
                      <a:pt x="395" y="264"/>
                    </a:lnTo>
                    <a:lnTo>
                      <a:pt x="340" y="291"/>
                    </a:lnTo>
                    <a:lnTo>
                      <a:pt x="319" y="276"/>
                    </a:lnTo>
                    <a:lnTo>
                      <a:pt x="293" y="285"/>
                    </a:lnTo>
                    <a:lnTo>
                      <a:pt x="295" y="266"/>
                    </a:lnTo>
                    <a:lnTo>
                      <a:pt x="244" y="283"/>
                    </a:lnTo>
                    <a:lnTo>
                      <a:pt x="221" y="300"/>
                    </a:lnTo>
                    <a:lnTo>
                      <a:pt x="204" y="291"/>
                    </a:lnTo>
                    <a:lnTo>
                      <a:pt x="74" y="204"/>
                    </a:lnTo>
                    <a:lnTo>
                      <a:pt x="64" y="155"/>
                    </a:lnTo>
                    <a:lnTo>
                      <a:pt x="0" y="77"/>
                    </a:lnTo>
                    <a:lnTo>
                      <a:pt x="49" y="6"/>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grpSp>
          <p:nvGrpSpPr>
            <p:cNvPr id="282" name="Normandie (Formes)">
              <a:extLst>
                <a:ext uri="{FF2B5EF4-FFF2-40B4-BE49-F238E27FC236}">
                  <a16:creationId xmlns:a16="http://schemas.microsoft.com/office/drawing/2014/main" id="{58443F5B-CDC1-43C7-8597-35B43976D2A5}"/>
                </a:ext>
              </a:extLst>
            </p:cNvPr>
            <p:cNvGrpSpPr/>
            <p:nvPr/>
          </p:nvGrpSpPr>
          <p:grpSpPr>
            <a:xfrm>
              <a:off x="5809549" y="1856227"/>
              <a:ext cx="1269253" cy="974144"/>
              <a:chOff x="5056093" y="2025612"/>
              <a:chExt cx="1269253" cy="974144"/>
            </a:xfrm>
            <a:solidFill>
              <a:srgbClr val="CAC5B8"/>
            </a:solidFill>
          </p:grpSpPr>
          <p:sp>
            <p:nvSpPr>
              <p:cNvPr id="491" name="14">
                <a:extLst>
                  <a:ext uri="{FF2B5EF4-FFF2-40B4-BE49-F238E27FC236}">
                    <a16:creationId xmlns:a16="http://schemas.microsoft.com/office/drawing/2014/main" id="{204B80D4-19D6-4765-BACB-1F07EA04FCDC}"/>
                  </a:ext>
                </a:extLst>
              </p:cNvPr>
              <p:cNvSpPr>
                <a:spLocks/>
              </p:cNvSpPr>
              <p:nvPr/>
            </p:nvSpPr>
            <p:spPr bwMode="gray">
              <a:xfrm>
                <a:off x="5299630" y="2342209"/>
                <a:ext cx="557269" cy="340951"/>
              </a:xfrm>
              <a:custGeom>
                <a:avLst/>
                <a:gdLst>
                  <a:gd name="T0" fmla="*/ 0 w 389"/>
                  <a:gd name="T1" fmla="*/ 204 h 238"/>
                  <a:gd name="T2" fmla="*/ 34 w 389"/>
                  <a:gd name="T3" fmla="*/ 181 h 238"/>
                  <a:gd name="T4" fmla="*/ 28 w 389"/>
                  <a:gd name="T5" fmla="*/ 160 h 238"/>
                  <a:gd name="T6" fmla="*/ 53 w 389"/>
                  <a:gd name="T7" fmla="*/ 160 h 238"/>
                  <a:gd name="T8" fmla="*/ 72 w 389"/>
                  <a:gd name="T9" fmla="*/ 136 h 238"/>
                  <a:gd name="T10" fmla="*/ 70 w 389"/>
                  <a:gd name="T11" fmla="*/ 98 h 238"/>
                  <a:gd name="T12" fmla="*/ 55 w 389"/>
                  <a:gd name="T13" fmla="*/ 87 h 238"/>
                  <a:gd name="T14" fmla="*/ 70 w 389"/>
                  <a:gd name="T15" fmla="*/ 72 h 238"/>
                  <a:gd name="T16" fmla="*/ 40 w 389"/>
                  <a:gd name="T17" fmla="*/ 70 h 238"/>
                  <a:gd name="T18" fmla="*/ 15 w 389"/>
                  <a:gd name="T19" fmla="*/ 43 h 238"/>
                  <a:gd name="T20" fmla="*/ 19 w 389"/>
                  <a:gd name="T21" fmla="*/ 21 h 238"/>
                  <a:gd name="T22" fmla="*/ 30 w 389"/>
                  <a:gd name="T23" fmla="*/ 2 h 238"/>
                  <a:gd name="T24" fmla="*/ 53 w 389"/>
                  <a:gd name="T25" fmla="*/ 0 h 238"/>
                  <a:gd name="T26" fmla="*/ 234 w 389"/>
                  <a:gd name="T27" fmla="*/ 51 h 238"/>
                  <a:gd name="T28" fmla="*/ 359 w 389"/>
                  <a:gd name="T29" fmla="*/ 0 h 238"/>
                  <a:gd name="T30" fmla="*/ 359 w 389"/>
                  <a:gd name="T31" fmla="*/ 43 h 238"/>
                  <a:gd name="T32" fmla="*/ 359 w 389"/>
                  <a:gd name="T33" fmla="*/ 45 h 238"/>
                  <a:gd name="T34" fmla="*/ 376 w 389"/>
                  <a:gd name="T35" fmla="*/ 58 h 238"/>
                  <a:gd name="T36" fmla="*/ 363 w 389"/>
                  <a:gd name="T37" fmla="*/ 68 h 238"/>
                  <a:gd name="T38" fmla="*/ 387 w 389"/>
                  <a:gd name="T39" fmla="*/ 111 h 238"/>
                  <a:gd name="T40" fmla="*/ 372 w 389"/>
                  <a:gd name="T41" fmla="*/ 140 h 238"/>
                  <a:gd name="T42" fmla="*/ 389 w 389"/>
                  <a:gd name="T43" fmla="*/ 155 h 238"/>
                  <a:gd name="T44" fmla="*/ 378 w 389"/>
                  <a:gd name="T45" fmla="*/ 181 h 238"/>
                  <a:gd name="T46" fmla="*/ 310 w 389"/>
                  <a:gd name="T47" fmla="*/ 177 h 238"/>
                  <a:gd name="T48" fmla="*/ 249 w 389"/>
                  <a:gd name="T49" fmla="*/ 223 h 238"/>
                  <a:gd name="T50" fmla="*/ 200 w 389"/>
                  <a:gd name="T51" fmla="*/ 204 h 238"/>
                  <a:gd name="T52" fmla="*/ 196 w 389"/>
                  <a:gd name="T53" fmla="*/ 217 h 238"/>
                  <a:gd name="T54" fmla="*/ 176 w 389"/>
                  <a:gd name="T55" fmla="*/ 198 h 238"/>
                  <a:gd name="T56" fmla="*/ 142 w 389"/>
                  <a:gd name="T57" fmla="*/ 213 h 238"/>
                  <a:gd name="T58" fmla="*/ 113 w 389"/>
                  <a:gd name="T59" fmla="*/ 204 h 238"/>
                  <a:gd name="T60" fmla="*/ 76 w 389"/>
                  <a:gd name="T61" fmla="*/ 238 h 238"/>
                  <a:gd name="T62" fmla="*/ 23 w 389"/>
                  <a:gd name="T63" fmla="*/ 228 h 238"/>
                  <a:gd name="T64" fmla="*/ 0 w 389"/>
                  <a:gd name="T65" fmla="*/ 204 h 238"/>
                  <a:gd name="T66" fmla="*/ 0 w 389"/>
                  <a:gd name="T67" fmla="*/ 20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 h="238">
                    <a:moveTo>
                      <a:pt x="0" y="204"/>
                    </a:moveTo>
                    <a:lnTo>
                      <a:pt x="34" y="181"/>
                    </a:lnTo>
                    <a:lnTo>
                      <a:pt x="28" y="160"/>
                    </a:lnTo>
                    <a:lnTo>
                      <a:pt x="53" y="160"/>
                    </a:lnTo>
                    <a:lnTo>
                      <a:pt x="72" y="136"/>
                    </a:lnTo>
                    <a:lnTo>
                      <a:pt x="70" y="98"/>
                    </a:lnTo>
                    <a:lnTo>
                      <a:pt x="55" y="87"/>
                    </a:lnTo>
                    <a:lnTo>
                      <a:pt x="70" y="72"/>
                    </a:lnTo>
                    <a:lnTo>
                      <a:pt x="40" y="70"/>
                    </a:lnTo>
                    <a:lnTo>
                      <a:pt x="15" y="43"/>
                    </a:lnTo>
                    <a:lnTo>
                      <a:pt x="19" y="21"/>
                    </a:lnTo>
                    <a:lnTo>
                      <a:pt x="30" y="2"/>
                    </a:lnTo>
                    <a:lnTo>
                      <a:pt x="53" y="0"/>
                    </a:lnTo>
                    <a:lnTo>
                      <a:pt x="234" y="51"/>
                    </a:lnTo>
                    <a:lnTo>
                      <a:pt x="359" y="0"/>
                    </a:lnTo>
                    <a:lnTo>
                      <a:pt x="359" y="43"/>
                    </a:lnTo>
                    <a:lnTo>
                      <a:pt x="359" y="45"/>
                    </a:lnTo>
                    <a:lnTo>
                      <a:pt x="376" y="58"/>
                    </a:lnTo>
                    <a:lnTo>
                      <a:pt x="363" y="68"/>
                    </a:lnTo>
                    <a:lnTo>
                      <a:pt x="387" y="111"/>
                    </a:lnTo>
                    <a:lnTo>
                      <a:pt x="372" y="140"/>
                    </a:lnTo>
                    <a:lnTo>
                      <a:pt x="389" y="155"/>
                    </a:lnTo>
                    <a:lnTo>
                      <a:pt x="378" y="181"/>
                    </a:lnTo>
                    <a:lnTo>
                      <a:pt x="310" y="177"/>
                    </a:lnTo>
                    <a:lnTo>
                      <a:pt x="249" y="223"/>
                    </a:lnTo>
                    <a:lnTo>
                      <a:pt x="200" y="204"/>
                    </a:lnTo>
                    <a:lnTo>
                      <a:pt x="196" y="217"/>
                    </a:lnTo>
                    <a:lnTo>
                      <a:pt x="176" y="198"/>
                    </a:lnTo>
                    <a:lnTo>
                      <a:pt x="142" y="213"/>
                    </a:lnTo>
                    <a:lnTo>
                      <a:pt x="113" y="204"/>
                    </a:lnTo>
                    <a:lnTo>
                      <a:pt x="76" y="238"/>
                    </a:lnTo>
                    <a:lnTo>
                      <a:pt x="23" y="228"/>
                    </a:lnTo>
                    <a:lnTo>
                      <a:pt x="0" y="204"/>
                    </a:lnTo>
                    <a:lnTo>
                      <a:pt x="0" y="204"/>
                    </a:lnTo>
                  </a:path>
                </a:pathLst>
              </a:custGeom>
              <a:grp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92" name="50">
                <a:extLst>
                  <a:ext uri="{FF2B5EF4-FFF2-40B4-BE49-F238E27FC236}">
                    <a16:creationId xmlns:a16="http://schemas.microsoft.com/office/drawing/2014/main" id="{12DCC72A-48F3-4EB4-9701-113214BE5B67}"/>
                  </a:ext>
                </a:extLst>
              </p:cNvPr>
              <p:cNvSpPr>
                <a:spLocks/>
              </p:cNvSpPr>
              <p:nvPr/>
            </p:nvSpPr>
            <p:spPr bwMode="gray">
              <a:xfrm>
                <a:off x="5056093" y="2150246"/>
                <a:ext cx="381062" cy="673305"/>
              </a:xfrm>
              <a:custGeom>
                <a:avLst/>
                <a:gdLst>
                  <a:gd name="T0" fmla="*/ 2 w 266"/>
                  <a:gd name="T1" fmla="*/ 0 h 470"/>
                  <a:gd name="T2" fmla="*/ 76 w 266"/>
                  <a:gd name="T3" fmla="*/ 34 h 470"/>
                  <a:gd name="T4" fmla="*/ 161 w 266"/>
                  <a:gd name="T5" fmla="*/ 21 h 470"/>
                  <a:gd name="T6" fmla="*/ 168 w 266"/>
                  <a:gd name="T7" fmla="*/ 53 h 470"/>
                  <a:gd name="T8" fmla="*/ 149 w 266"/>
                  <a:gd name="T9" fmla="*/ 75 h 470"/>
                  <a:gd name="T10" fmla="*/ 189 w 266"/>
                  <a:gd name="T11" fmla="*/ 155 h 470"/>
                  <a:gd name="T12" fmla="*/ 185 w 266"/>
                  <a:gd name="T13" fmla="*/ 177 h 470"/>
                  <a:gd name="T14" fmla="*/ 210 w 266"/>
                  <a:gd name="T15" fmla="*/ 204 h 470"/>
                  <a:gd name="T16" fmla="*/ 240 w 266"/>
                  <a:gd name="T17" fmla="*/ 206 h 470"/>
                  <a:gd name="T18" fmla="*/ 225 w 266"/>
                  <a:gd name="T19" fmla="*/ 221 h 470"/>
                  <a:gd name="T20" fmla="*/ 240 w 266"/>
                  <a:gd name="T21" fmla="*/ 232 h 470"/>
                  <a:gd name="T22" fmla="*/ 242 w 266"/>
                  <a:gd name="T23" fmla="*/ 270 h 470"/>
                  <a:gd name="T24" fmla="*/ 223 w 266"/>
                  <a:gd name="T25" fmla="*/ 294 h 470"/>
                  <a:gd name="T26" fmla="*/ 198 w 266"/>
                  <a:gd name="T27" fmla="*/ 294 h 470"/>
                  <a:gd name="T28" fmla="*/ 204 w 266"/>
                  <a:gd name="T29" fmla="*/ 315 h 470"/>
                  <a:gd name="T30" fmla="*/ 170 w 266"/>
                  <a:gd name="T31" fmla="*/ 338 h 470"/>
                  <a:gd name="T32" fmla="*/ 170 w 266"/>
                  <a:gd name="T33" fmla="*/ 338 h 470"/>
                  <a:gd name="T34" fmla="*/ 193 w 266"/>
                  <a:gd name="T35" fmla="*/ 362 h 470"/>
                  <a:gd name="T36" fmla="*/ 246 w 266"/>
                  <a:gd name="T37" fmla="*/ 372 h 470"/>
                  <a:gd name="T38" fmla="*/ 266 w 266"/>
                  <a:gd name="T39" fmla="*/ 421 h 470"/>
                  <a:gd name="T40" fmla="*/ 236 w 266"/>
                  <a:gd name="T41" fmla="*/ 462 h 470"/>
                  <a:gd name="T42" fmla="*/ 236 w 266"/>
                  <a:gd name="T43" fmla="*/ 466 h 470"/>
                  <a:gd name="T44" fmla="*/ 183 w 266"/>
                  <a:gd name="T45" fmla="*/ 459 h 470"/>
                  <a:gd name="T46" fmla="*/ 142 w 266"/>
                  <a:gd name="T47" fmla="*/ 442 h 470"/>
                  <a:gd name="T48" fmla="*/ 96 w 266"/>
                  <a:gd name="T49" fmla="*/ 470 h 470"/>
                  <a:gd name="T50" fmla="*/ 66 w 266"/>
                  <a:gd name="T51" fmla="*/ 406 h 470"/>
                  <a:gd name="T52" fmla="*/ 117 w 266"/>
                  <a:gd name="T53" fmla="*/ 406 h 470"/>
                  <a:gd name="T54" fmla="*/ 68 w 266"/>
                  <a:gd name="T55" fmla="*/ 362 h 470"/>
                  <a:gd name="T56" fmla="*/ 72 w 266"/>
                  <a:gd name="T57" fmla="*/ 202 h 470"/>
                  <a:gd name="T58" fmla="*/ 25 w 266"/>
                  <a:gd name="T59" fmla="*/ 130 h 470"/>
                  <a:gd name="T60" fmla="*/ 11 w 266"/>
                  <a:gd name="T61" fmla="*/ 75 h 470"/>
                  <a:gd name="T62" fmla="*/ 23 w 266"/>
                  <a:gd name="T63" fmla="*/ 36 h 470"/>
                  <a:gd name="T64" fmla="*/ 0 w 266"/>
                  <a:gd name="T65" fmla="*/ 17 h 470"/>
                  <a:gd name="T66" fmla="*/ 2 w 266"/>
                  <a:gd name="T67"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470">
                    <a:moveTo>
                      <a:pt x="2" y="0"/>
                    </a:moveTo>
                    <a:lnTo>
                      <a:pt x="76" y="34"/>
                    </a:lnTo>
                    <a:lnTo>
                      <a:pt x="161" y="21"/>
                    </a:lnTo>
                    <a:lnTo>
                      <a:pt x="168" y="53"/>
                    </a:lnTo>
                    <a:lnTo>
                      <a:pt x="149" y="75"/>
                    </a:lnTo>
                    <a:lnTo>
                      <a:pt x="189" y="155"/>
                    </a:lnTo>
                    <a:lnTo>
                      <a:pt x="185" y="177"/>
                    </a:lnTo>
                    <a:lnTo>
                      <a:pt x="210" y="204"/>
                    </a:lnTo>
                    <a:lnTo>
                      <a:pt x="240" y="206"/>
                    </a:lnTo>
                    <a:lnTo>
                      <a:pt x="225" y="221"/>
                    </a:lnTo>
                    <a:lnTo>
                      <a:pt x="240" y="232"/>
                    </a:lnTo>
                    <a:lnTo>
                      <a:pt x="242" y="270"/>
                    </a:lnTo>
                    <a:lnTo>
                      <a:pt x="223" y="294"/>
                    </a:lnTo>
                    <a:lnTo>
                      <a:pt x="198" y="294"/>
                    </a:lnTo>
                    <a:lnTo>
                      <a:pt x="204" y="315"/>
                    </a:lnTo>
                    <a:lnTo>
                      <a:pt x="170" y="338"/>
                    </a:lnTo>
                    <a:lnTo>
                      <a:pt x="170" y="338"/>
                    </a:lnTo>
                    <a:lnTo>
                      <a:pt x="193" y="362"/>
                    </a:lnTo>
                    <a:lnTo>
                      <a:pt x="246" y="372"/>
                    </a:lnTo>
                    <a:lnTo>
                      <a:pt x="266" y="421"/>
                    </a:lnTo>
                    <a:lnTo>
                      <a:pt x="236" y="462"/>
                    </a:lnTo>
                    <a:lnTo>
                      <a:pt x="236" y="466"/>
                    </a:lnTo>
                    <a:lnTo>
                      <a:pt x="183" y="459"/>
                    </a:lnTo>
                    <a:lnTo>
                      <a:pt x="142" y="442"/>
                    </a:lnTo>
                    <a:lnTo>
                      <a:pt x="96" y="470"/>
                    </a:lnTo>
                    <a:lnTo>
                      <a:pt x="66" y="406"/>
                    </a:lnTo>
                    <a:lnTo>
                      <a:pt x="117" y="406"/>
                    </a:lnTo>
                    <a:lnTo>
                      <a:pt x="68" y="362"/>
                    </a:lnTo>
                    <a:lnTo>
                      <a:pt x="72" y="202"/>
                    </a:lnTo>
                    <a:lnTo>
                      <a:pt x="25" y="130"/>
                    </a:lnTo>
                    <a:lnTo>
                      <a:pt x="11" y="75"/>
                    </a:lnTo>
                    <a:lnTo>
                      <a:pt x="23" y="36"/>
                    </a:lnTo>
                    <a:lnTo>
                      <a:pt x="0" y="17"/>
                    </a:lnTo>
                    <a:lnTo>
                      <a:pt x="2" y="0"/>
                    </a:lnTo>
                  </a:path>
                </a:pathLst>
              </a:custGeom>
              <a:grp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93" name="61">
                <a:extLst>
                  <a:ext uri="{FF2B5EF4-FFF2-40B4-BE49-F238E27FC236}">
                    <a16:creationId xmlns:a16="http://schemas.microsoft.com/office/drawing/2014/main" id="{77423326-ABC8-4F9C-B832-1B1880447882}"/>
                  </a:ext>
                </a:extLst>
              </p:cNvPr>
              <p:cNvSpPr>
                <a:spLocks/>
              </p:cNvSpPr>
              <p:nvPr/>
            </p:nvSpPr>
            <p:spPr bwMode="gray">
              <a:xfrm>
                <a:off x="5394179" y="2595773"/>
                <a:ext cx="633194" cy="403983"/>
              </a:xfrm>
              <a:custGeom>
                <a:avLst/>
                <a:gdLst>
                  <a:gd name="T0" fmla="*/ 0 w 442"/>
                  <a:gd name="T1" fmla="*/ 155 h 282"/>
                  <a:gd name="T2" fmla="*/ 23 w 442"/>
                  <a:gd name="T3" fmla="*/ 176 h 282"/>
                  <a:gd name="T4" fmla="*/ 44 w 442"/>
                  <a:gd name="T5" fmla="*/ 161 h 282"/>
                  <a:gd name="T6" fmla="*/ 49 w 442"/>
                  <a:gd name="T7" fmla="*/ 176 h 282"/>
                  <a:gd name="T8" fmla="*/ 98 w 442"/>
                  <a:gd name="T9" fmla="*/ 153 h 282"/>
                  <a:gd name="T10" fmla="*/ 121 w 442"/>
                  <a:gd name="T11" fmla="*/ 163 h 282"/>
                  <a:gd name="T12" fmla="*/ 151 w 442"/>
                  <a:gd name="T13" fmla="*/ 136 h 282"/>
                  <a:gd name="T14" fmla="*/ 172 w 442"/>
                  <a:gd name="T15" fmla="*/ 151 h 282"/>
                  <a:gd name="T16" fmla="*/ 174 w 442"/>
                  <a:gd name="T17" fmla="*/ 178 h 282"/>
                  <a:gd name="T18" fmla="*/ 195 w 442"/>
                  <a:gd name="T19" fmla="*/ 180 h 282"/>
                  <a:gd name="T20" fmla="*/ 193 w 442"/>
                  <a:gd name="T21" fmla="*/ 208 h 282"/>
                  <a:gd name="T22" fmla="*/ 276 w 442"/>
                  <a:gd name="T23" fmla="*/ 172 h 282"/>
                  <a:gd name="T24" fmla="*/ 300 w 442"/>
                  <a:gd name="T25" fmla="*/ 193 h 282"/>
                  <a:gd name="T26" fmla="*/ 302 w 442"/>
                  <a:gd name="T27" fmla="*/ 233 h 282"/>
                  <a:gd name="T28" fmla="*/ 395 w 442"/>
                  <a:gd name="T29" fmla="*/ 282 h 282"/>
                  <a:gd name="T30" fmla="*/ 391 w 442"/>
                  <a:gd name="T31" fmla="*/ 244 h 282"/>
                  <a:gd name="T32" fmla="*/ 389 w 442"/>
                  <a:gd name="T33" fmla="*/ 244 h 282"/>
                  <a:gd name="T34" fmla="*/ 442 w 442"/>
                  <a:gd name="T35" fmla="*/ 193 h 282"/>
                  <a:gd name="T36" fmla="*/ 406 w 442"/>
                  <a:gd name="T37" fmla="*/ 108 h 282"/>
                  <a:gd name="T38" fmla="*/ 357 w 442"/>
                  <a:gd name="T39" fmla="*/ 25 h 282"/>
                  <a:gd name="T40" fmla="*/ 317 w 442"/>
                  <a:gd name="T41" fmla="*/ 25 h 282"/>
                  <a:gd name="T42" fmla="*/ 312 w 442"/>
                  <a:gd name="T43" fmla="*/ 4 h 282"/>
                  <a:gd name="T44" fmla="*/ 244 w 442"/>
                  <a:gd name="T45" fmla="*/ 0 h 282"/>
                  <a:gd name="T46" fmla="*/ 183 w 442"/>
                  <a:gd name="T47" fmla="*/ 46 h 282"/>
                  <a:gd name="T48" fmla="*/ 134 w 442"/>
                  <a:gd name="T49" fmla="*/ 27 h 282"/>
                  <a:gd name="T50" fmla="*/ 130 w 442"/>
                  <a:gd name="T51" fmla="*/ 40 h 282"/>
                  <a:gd name="T52" fmla="*/ 110 w 442"/>
                  <a:gd name="T53" fmla="*/ 21 h 282"/>
                  <a:gd name="T54" fmla="*/ 76 w 442"/>
                  <a:gd name="T55" fmla="*/ 36 h 282"/>
                  <a:gd name="T56" fmla="*/ 47 w 442"/>
                  <a:gd name="T57" fmla="*/ 27 h 282"/>
                  <a:gd name="T58" fmla="*/ 10 w 442"/>
                  <a:gd name="T59" fmla="*/ 61 h 282"/>
                  <a:gd name="T60" fmla="*/ 30 w 442"/>
                  <a:gd name="T61" fmla="*/ 110 h 282"/>
                  <a:gd name="T62" fmla="*/ 0 w 442"/>
                  <a:gd name="T63" fmla="*/ 151 h 282"/>
                  <a:gd name="T64" fmla="*/ 0 w 442"/>
                  <a:gd name="T65" fmla="*/ 155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2" h="282">
                    <a:moveTo>
                      <a:pt x="0" y="155"/>
                    </a:moveTo>
                    <a:lnTo>
                      <a:pt x="23" y="176"/>
                    </a:lnTo>
                    <a:lnTo>
                      <a:pt x="44" y="161"/>
                    </a:lnTo>
                    <a:lnTo>
                      <a:pt x="49" y="176"/>
                    </a:lnTo>
                    <a:lnTo>
                      <a:pt x="98" y="153"/>
                    </a:lnTo>
                    <a:lnTo>
                      <a:pt x="121" y="163"/>
                    </a:lnTo>
                    <a:lnTo>
                      <a:pt x="151" y="136"/>
                    </a:lnTo>
                    <a:lnTo>
                      <a:pt x="172" y="151"/>
                    </a:lnTo>
                    <a:lnTo>
                      <a:pt x="174" y="178"/>
                    </a:lnTo>
                    <a:lnTo>
                      <a:pt x="195" y="180"/>
                    </a:lnTo>
                    <a:lnTo>
                      <a:pt x="193" y="208"/>
                    </a:lnTo>
                    <a:lnTo>
                      <a:pt x="276" y="172"/>
                    </a:lnTo>
                    <a:lnTo>
                      <a:pt x="300" y="193"/>
                    </a:lnTo>
                    <a:lnTo>
                      <a:pt x="302" y="233"/>
                    </a:lnTo>
                    <a:lnTo>
                      <a:pt x="395" y="282"/>
                    </a:lnTo>
                    <a:lnTo>
                      <a:pt x="391" y="244"/>
                    </a:lnTo>
                    <a:lnTo>
                      <a:pt x="389" y="244"/>
                    </a:lnTo>
                    <a:lnTo>
                      <a:pt x="442" y="193"/>
                    </a:lnTo>
                    <a:lnTo>
                      <a:pt x="406" y="108"/>
                    </a:lnTo>
                    <a:lnTo>
                      <a:pt x="357" y="25"/>
                    </a:lnTo>
                    <a:lnTo>
                      <a:pt x="317" y="25"/>
                    </a:lnTo>
                    <a:lnTo>
                      <a:pt x="312" y="4"/>
                    </a:lnTo>
                    <a:lnTo>
                      <a:pt x="244" y="0"/>
                    </a:lnTo>
                    <a:lnTo>
                      <a:pt x="183" y="46"/>
                    </a:lnTo>
                    <a:lnTo>
                      <a:pt x="134" y="27"/>
                    </a:lnTo>
                    <a:lnTo>
                      <a:pt x="130" y="40"/>
                    </a:lnTo>
                    <a:lnTo>
                      <a:pt x="110" y="21"/>
                    </a:lnTo>
                    <a:lnTo>
                      <a:pt x="76" y="36"/>
                    </a:lnTo>
                    <a:lnTo>
                      <a:pt x="47" y="27"/>
                    </a:lnTo>
                    <a:lnTo>
                      <a:pt x="10" y="61"/>
                    </a:lnTo>
                    <a:lnTo>
                      <a:pt x="30" y="110"/>
                    </a:lnTo>
                    <a:lnTo>
                      <a:pt x="0" y="151"/>
                    </a:lnTo>
                    <a:lnTo>
                      <a:pt x="0" y="155"/>
                    </a:lnTo>
                  </a:path>
                </a:pathLst>
              </a:custGeom>
              <a:solidFill>
                <a:schemeClr val="bg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94" name="76">
                <a:extLst>
                  <a:ext uri="{FF2B5EF4-FFF2-40B4-BE49-F238E27FC236}">
                    <a16:creationId xmlns:a16="http://schemas.microsoft.com/office/drawing/2014/main" id="{1A45DD45-5332-4849-8891-51AC46B4357B}"/>
                  </a:ext>
                </a:extLst>
              </p:cNvPr>
              <p:cNvSpPr>
                <a:spLocks/>
              </p:cNvSpPr>
              <p:nvPr/>
            </p:nvSpPr>
            <p:spPr bwMode="gray">
              <a:xfrm>
                <a:off x="5743724" y="2025612"/>
                <a:ext cx="581622" cy="424039"/>
              </a:xfrm>
              <a:custGeom>
                <a:avLst/>
                <a:gdLst>
                  <a:gd name="T0" fmla="*/ 22 w 406"/>
                  <a:gd name="T1" fmla="*/ 130 h 296"/>
                  <a:gd name="T2" fmla="*/ 124 w 406"/>
                  <a:gd name="T3" fmla="*/ 72 h 296"/>
                  <a:gd name="T4" fmla="*/ 249 w 406"/>
                  <a:gd name="T5" fmla="*/ 45 h 296"/>
                  <a:gd name="T6" fmla="*/ 313 w 406"/>
                  <a:gd name="T7" fmla="*/ 0 h 296"/>
                  <a:gd name="T8" fmla="*/ 319 w 406"/>
                  <a:gd name="T9" fmla="*/ 4 h 296"/>
                  <a:gd name="T10" fmla="*/ 385 w 406"/>
                  <a:gd name="T11" fmla="*/ 60 h 296"/>
                  <a:gd name="T12" fmla="*/ 406 w 406"/>
                  <a:gd name="T13" fmla="*/ 115 h 296"/>
                  <a:gd name="T14" fmla="*/ 383 w 406"/>
                  <a:gd name="T15" fmla="*/ 136 h 296"/>
                  <a:gd name="T16" fmla="*/ 398 w 406"/>
                  <a:gd name="T17" fmla="*/ 142 h 296"/>
                  <a:gd name="T18" fmla="*/ 385 w 406"/>
                  <a:gd name="T19" fmla="*/ 155 h 296"/>
                  <a:gd name="T20" fmla="*/ 389 w 406"/>
                  <a:gd name="T21" fmla="*/ 208 h 296"/>
                  <a:gd name="T22" fmla="*/ 404 w 406"/>
                  <a:gd name="T23" fmla="*/ 213 h 296"/>
                  <a:gd name="T24" fmla="*/ 385 w 406"/>
                  <a:gd name="T25" fmla="*/ 242 h 296"/>
                  <a:gd name="T26" fmla="*/ 309 w 406"/>
                  <a:gd name="T27" fmla="*/ 221 h 296"/>
                  <a:gd name="T28" fmla="*/ 281 w 406"/>
                  <a:gd name="T29" fmla="*/ 259 h 296"/>
                  <a:gd name="T30" fmla="*/ 215 w 406"/>
                  <a:gd name="T31" fmla="*/ 296 h 296"/>
                  <a:gd name="T32" fmla="*/ 177 w 406"/>
                  <a:gd name="T33" fmla="*/ 266 h 296"/>
                  <a:gd name="T34" fmla="*/ 198 w 406"/>
                  <a:gd name="T35" fmla="*/ 262 h 296"/>
                  <a:gd name="T36" fmla="*/ 196 w 406"/>
                  <a:gd name="T37" fmla="*/ 249 h 296"/>
                  <a:gd name="T38" fmla="*/ 168 w 406"/>
                  <a:gd name="T39" fmla="*/ 230 h 296"/>
                  <a:gd name="T40" fmla="*/ 134 w 406"/>
                  <a:gd name="T41" fmla="*/ 236 h 296"/>
                  <a:gd name="T42" fmla="*/ 98 w 406"/>
                  <a:gd name="T43" fmla="*/ 206 h 296"/>
                  <a:gd name="T44" fmla="*/ 70 w 406"/>
                  <a:gd name="T45" fmla="*/ 219 h 296"/>
                  <a:gd name="T46" fmla="*/ 0 w 406"/>
                  <a:gd name="T47" fmla="*/ 202 h 296"/>
                  <a:gd name="T48" fmla="*/ 22 w 406"/>
                  <a:gd name="T49"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6" h="296">
                    <a:moveTo>
                      <a:pt x="22" y="130"/>
                    </a:moveTo>
                    <a:lnTo>
                      <a:pt x="124" y="72"/>
                    </a:lnTo>
                    <a:lnTo>
                      <a:pt x="249" y="45"/>
                    </a:lnTo>
                    <a:lnTo>
                      <a:pt x="313" y="0"/>
                    </a:lnTo>
                    <a:lnTo>
                      <a:pt x="319" y="4"/>
                    </a:lnTo>
                    <a:lnTo>
                      <a:pt x="385" y="60"/>
                    </a:lnTo>
                    <a:lnTo>
                      <a:pt x="406" y="115"/>
                    </a:lnTo>
                    <a:lnTo>
                      <a:pt x="383" y="136"/>
                    </a:lnTo>
                    <a:lnTo>
                      <a:pt x="398" y="142"/>
                    </a:lnTo>
                    <a:lnTo>
                      <a:pt x="385" y="155"/>
                    </a:lnTo>
                    <a:lnTo>
                      <a:pt x="389" y="208"/>
                    </a:lnTo>
                    <a:lnTo>
                      <a:pt x="404" y="213"/>
                    </a:lnTo>
                    <a:lnTo>
                      <a:pt x="385" y="242"/>
                    </a:lnTo>
                    <a:lnTo>
                      <a:pt x="309" y="221"/>
                    </a:lnTo>
                    <a:lnTo>
                      <a:pt x="281" y="259"/>
                    </a:lnTo>
                    <a:lnTo>
                      <a:pt x="215" y="296"/>
                    </a:lnTo>
                    <a:lnTo>
                      <a:pt x="177" y="266"/>
                    </a:lnTo>
                    <a:lnTo>
                      <a:pt x="198" y="262"/>
                    </a:lnTo>
                    <a:lnTo>
                      <a:pt x="196" y="249"/>
                    </a:lnTo>
                    <a:lnTo>
                      <a:pt x="168" y="230"/>
                    </a:lnTo>
                    <a:lnTo>
                      <a:pt x="134" y="236"/>
                    </a:lnTo>
                    <a:lnTo>
                      <a:pt x="98" y="206"/>
                    </a:lnTo>
                    <a:lnTo>
                      <a:pt x="70" y="219"/>
                    </a:lnTo>
                    <a:lnTo>
                      <a:pt x="0" y="202"/>
                    </a:lnTo>
                    <a:lnTo>
                      <a:pt x="22" y="130"/>
                    </a:lnTo>
                  </a:path>
                </a:pathLst>
              </a:custGeom>
              <a:grp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95" name="27">
                <a:extLst>
                  <a:ext uri="{FF2B5EF4-FFF2-40B4-BE49-F238E27FC236}">
                    <a16:creationId xmlns:a16="http://schemas.microsoft.com/office/drawing/2014/main" id="{E3756DA8-4A9B-4EDB-B1D4-F6DD17416B27}"/>
                  </a:ext>
                </a:extLst>
              </p:cNvPr>
              <p:cNvSpPr>
                <a:spLocks/>
              </p:cNvSpPr>
              <p:nvPr/>
            </p:nvSpPr>
            <p:spPr bwMode="gray">
              <a:xfrm>
                <a:off x="5813919" y="2320720"/>
                <a:ext cx="511427" cy="429769"/>
              </a:xfrm>
              <a:custGeom>
                <a:avLst/>
                <a:gdLst>
                  <a:gd name="T0" fmla="*/ 0 w 357"/>
                  <a:gd name="T1" fmla="*/ 58 h 300"/>
                  <a:gd name="T2" fmla="*/ 0 w 357"/>
                  <a:gd name="T3" fmla="*/ 15 h 300"/>
                  <a:gd name="T4" fmla="*/ 21 w 357"/>
                  <a:gd name="T5" fmla="*/ 13 h 300"/>
                  <a:gd name="T6" fmla="*/ 49 w 357"/>
                  <a:gd name="T7" fmla="*/ 0 h 300"/>
                  <a:gd name="T8" fmla="*/ 85 w 357"/>
                  <a:gd name="T9" fmla="*/ 30 h 300"/>
                  <a:gd name="T10" fmla="*/ 119 w 357"/>
                  <a:gd name="T11" fmla="*/ 24 h 300"/>
                  <a:gd name="T12" fmla="*/ 147 w 357"/>
                  <a:gd name="T13" fmla="*/ 43 h 300"/>
                  <a:gd name="T14" fmla="*/ 149 w 357"/>
                  <a:gd name="T15" fmla="*/ 56 h 300"/>
                  <a:gd name="T16" fmla="*/ 128 w 357"/>
                  <a:gd name="T17" fmla="*/ 60 h 300"/>
                  <a:gd name="T18" fmla="*/ 166 w 357"/>
                  <a:gd name="T19" fmla="*/ 90 h 300"/>
                  <a:gd name="T20" fmla="*/ 232 w 357"/>
                  <a:gd name="T21" fmla="*/ 53 h 300"/>
                  <a:gd name="T22" fmla="*/ 260 w 357"/>
                  <a:gd name="T23" fmla="*/ 15 h 300"/>
                  <a:gd name="T24" fmla="*/ 336 w 357"/>
                  <a:gd name="T25" fmla="*/ 36 h 300"/>
                  <a:gd name="T26" fmla="*/ 357 w 357"/>
                  <a:gd name="T27" fmla="*/ 87 h 300"/>
                  <a:gd name="T28" fmla="*/ 334 w 357"/>
                  <a:gd name="T29" fmla="*/ 96 h 300"/>
                  <a:gd name="T30" fmla="*/ 334 w 357"/>
                  <a:gd name="T31" fmla="*/ 98 h 300"/>
                  <a:gd name="T32" fmla="*/ 334 w 357"/>
                  <a:gd name="T33" fmla="*/ 100 h 300"/>
                  <a:gd name="T34" fmla="*/ 311 w 357"/>
                  <a:gd name="T35" fmla="*/ 155 h 300"/>
                  <a:gd name="T36" fmla="*/ 270 w 357"/>
                  <a:gd name="T37" fmla="*/ 164 h 300"/>
                  <a:gd name="T38" fmla="*/ 270 w 357"/>
                  <a:gd name="T39" fmla="*/ 166 h 300"/>
                  <a:gd name="T40" fmla="*/ 283 w 357"/>
                  <a:gd name="T41" fmla="*/ 206 h 300"/>
                  <a:gd name="T42" fmla="*/ 240 w 357"/>
                  <a:gd name="T43" fmla="*/ 270 h 300"/>
                  <a:gd name="T44" fmla="*/ 189 w 357"/>
                  <a:gd name="T45" fmla="*/ 260 h 300"/>
                  <a:gd name="T46" fmla="*/ 113 w 357"/>
                  <a:gd name="T47" fmla="*/ 300 h 300"/>
                  <a:gd name="T48" fmla="*/ 64 w 357"/>
                  <a:gd name="T49" fmla="*/ 217 h 300"/>
                  <a:gd name="T50" fmla="*/ 24 w 357"/>
                  <a:gd name="T51" fmla="*/ 217 h 300"/>
                  <a:gd name="T52" fmla="*/ 19 w 357"/>
                  <a:gd name="T53" fmla="*/ 196 h 300"/>
                  <a:gd name="T54" fmla="*/ 30 w 357"/>
                  <a:gd name="T55" fmla="*/ 170 h 300"/>
                  <a:gd name="T56" fmla="*/ 13 w 357"/>
                  <a:gd name="T57" fmla="*/ 155 h 300"/>
                  <a:gd name="T58" fmla="*/ 28 w 357"/>
                  <a:gd name="T59" fmla="*/ 126 h 300"/>
                  <a:gd name="T60" fmla="*/ 4 w 357"/>
                  <a:gd name="T61" fmla="*/ 83 h 300"/>
                  <a:gd name="T62" fmla="*/ 17 w 357"/>
                  <a:gd name="T63" fmla="*/ 73 h 300"/>
                  <a:gd name="T64" fmla="*/ 0 w 357"/>
                  <a:gd name="T65" fmla="*/ 60 h 300"/>
                  <a:gd name="T66" fmla="*/ 0 w 357"/>
                  <a:gd name="T67" fmla="*/ 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7" h="300">
                    <a:moveTo>
                      <a:pt x="0" y="58"/>
                    </a:moveTo>
                    <a:lnTo>
                      <a:pt x="0" y="15"/>
                    </a:lnTo>
                    <a:lnTo>
                      <a:pt x="21" y="13"/>
                    </a:lnTo>
                    <a:lnTo>
                      <a:pt x="49" y="0"/>
                    </a:lnTo>
                    <a:lnTo>
                      <a:pt x="85" y="30"/>
                    </a:lnTo>
                    <a:lnTo>
                      <a:pt x="119" y="24"/>
                    </a:lnTo>
                    <a:lnTo>
                      <a:pt x="147" y="43"/>
                    </a:lnTo>
                    <a:lnTo>
                      <a:pt x="149" y="56"/>
                    </a:lnTo>
                    <a:lnTo>
                      <a:pt x="128" y="60"/>
                    </a:lnTo>
                    <a:lnTo>
                      <a:pt x="166" y="90"/>
                    </a:lnTo>
                    <a:lnTo>
                      <a:pt x="232" y="53"/>
                    </a:lnTo>
                    <a:lnTo>
                      <a:pt x="260" y="15"/>
                    </a:lnTo>
                    <a:lnTo>
                      <a:pt x="336" y="36"/>
                    </a:lnTo>
                    <a:lnTo>
                      <a:pt x="357" y="87"/>
                    </a:lnTo>
                    <a:lnTo>
                      <a:pt x="334" y="96"/>
                    </a:lnTo>
                    <a:lnTo>
                      <a:pt x="334" y="98"/>
                    </a:lnTo>
                    <a:lnTo>
                      <a:pt x="334" y="100"/>
                    </a:lnTo>
                    <a:lnTo>
                      <a:pt x="311" y="155"/>
                    </a:lnTo>
                    <a:lnTo>
                      <a:pt x="270" y="164"/>
                    </a:lnTo>
                    <a:lnTo>
                      <a:pt x="270" y="166"/>
                    </a:lnTo>
                    <a:lnTo>
                      <a:pt x="283" y="206"/>
                    </a:lnTo>
                    <a:lnTo>
                      <a:pt x="240" y="270"/>
                    </a:lnTo>
                    <a:lnTo>
                      <a:pt x="189" y="260"/>
                    </a:lnTo>
                    <a:lnTo>
                      <a:pt x="113" y="300"/>
                    </a:lnTo>
                    <a:lnTo>
                      <a:pt x="64" y="217"/>
                    </a:lnTo>
                    <a:lnTo>
                      <a:pt x="24" y="217"/>
                    </a:lnTo>
                    <a:lnTo>
                      <a:pt x="19" y="196"/>
                    </a:lnTo>
                    <a:lnTo>
                      <a:pt x="30" y="170"/>
                    </a:lnTo>
                    <a:lnTo>
                      <a:pt x="13" y="155"/>
                    </a:lnTo>
                    <a:lnTo>
                      <a:pt x="28" y="126"/>
                    </a:lnTo>
                    <a:lnTo>
                      <a:pt x="4" y="83"/>
                    </a:lnTo>
                    <a:lnTo>
                      <a:pt x="17" y="73"/>
                    </a:lnTo>
                    <a:lnTo>
                      <a:pt x="0" y="60"/>
                    </a:lnTo>
                    <a:lnTo>
                      <a:pt x="0" y="58"/>
                    </a:lnTo>
                  </a:path>
                </a:pathLst>
              </a:custGeom>
              <a:grp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grpSp>
          <p:nvGrpSpPr>
            <p:cNvPr id="284" name="Nord Pas de Calais Picardie (Formes)">
              <a:extLst>
                <a:ext uri="{FF2B5EF4-FFF2-40B4-BE49-F238E27FC236}">
                  <a16:creationId xmlns:a16="http://schemas.microsoft.com/office/drawing/2014/main" id="{C45A5F7B-54AB-4B56-BF96-2EF457A90FF6}"/>
                </a:ext>
              </a:extLst>
            </p:cNvPr>
            <p:cNvGrpSpPr/>
            <p:nvPr/>
          </p:nvGrpSpPr>
          <p:grpSpPr>
            <a:xfrm>
              <a:off x="6945572" y="1329043"/>
              <a:ext cx="961253" cy="1173271"/>
              <a:chOff x="6192116" y="1498428"/>
              <a:chExt cx="961253" cy="1173271"/>
            </a:xfrm>
            <a:solidFill>
              <a:srgbClr val="667E76"/>
            </a:solidFill>
          </p:grpSpPr>
          <p:grpSp>
            <p:nvGrpSpPr>
              <p:cNvPr id="479" name="Picardie (Formes)">
                <a:extLst>
                  <a:ext uri="{FF2B5EF4-FFF2-40B4-BE49-F238E27FC236}">
                    <a16:creationId xmlns:a16="http://schemas.microsoft.com/office/drawing/2014/main" id="{57C7F7BE-A713-4F6B-80CE-B4629F8A5BEB}"/>
                  </a:ext>
                </a:extLst>
              </p:cNvPr>
              <p:cNvGrpSpPr/>
              <p:nvPr/>
            </p:nvGrpSpPr>
            <p:grpSpPr>
              <a:xfrm>
                <a:off x="6192116" y="1866598"/>
                <a:ext cx="961253" cy="805101"/>
                <a:chOff x="6192116" y="1866598"/>
                <a:chExt cx="961253" cy="805101"/>
              </a:xfrm>
              <a:grpFill/>
            </p:grpSpPr>
            <p:sp>
              <p:nvSpPr>
                <p:cNvPr id="483" name="02">
                  <a:extLst>
                    <a:ext uri="{FF2B5EF4-FFF2-40B4-BE49-F238E27FC236}">
                      <a16:creationId xmlns:a16="http://schemas.microsoft.com/office/drawing/2014/main" id="{CC6A6701-8235-4A1C-B19A-322BE1EECDED}"/>
                    </a:ext>
                  </a:extLst>
                </p:cNvPr>
                <p:cNvSpPr>
                  <a:spLocks/>
                </p:cNvSpPr>
                <p:nvPr/>
              </p:nvSpPr>
              <p:spPr bwMode="gray">
                <a:xfrm>
                  <a:off x="6722166" y="2034207"/>
                  <a:ext cx="431203" cy="637492"/>
                </a:xfrm>
                <a:custGeom>
                  <a:avLst/>
                  <a:gdLst>
                    <a:gd name="T0" fmla="*/ 32 w 301"/>
                    <a:gd name="T1" fmla="*/ 334 h 445"/>
                    <a:gd name="T2" fmla="*/ 27 w 301"/>
                    <a:gd name="T3" fmla="*/ 349 h 445"/>
                    <a:gd name="T4" fmla="*/ 49 w 301"/>
                    <a:gd name="T5" fmla="*/ 355 h 445"/>
                    <a:gd name="T6" fmla="*/ 49 w 301"/>
                    <a:gd name="T7" fmla="*/ 383 h 445"/>
                    <a:gd name="T8" fmla="*/ 72 w 301"/>
                    <a:gd name="T9" fmla="*/ 413 h 445"/>
                    <a:gd name="T10" fmla="*/ 125 w 301"/>
                    <a:gd name="T11" fmla="*/ 445 h 445"/>
                    <a:gd name="T12" fmla="*/ 172 w 301"/>
                    <a:gd name="T13" fmla="*/ 385 h 445"/>
                    <a:gd name="T14" fmla="*/ 148 w 301"/>
                    <a:gd name="T15" fmla="*/ 375 h 445"/>
                    <a:gd name="T16" fmla="*/ 159 w 301"/>
                    <a:gd name="T17" fmla="*/ 336 h 445"/>
                    <a:gd name="T18" fmla="*/ 189 w 301"/>
                    <a:gd name="T19" fmla="*/ 332 h 445"/>
                    <a:gd name="T20" fmla="*/ 165 w 301"/>
                    <a:gd name="T21" fmla="*/ 311 h 445"/>
                    <a:gd name="T22" fmla="*/ 163 w 301"/>
                    <a:gd name="T23" fmla="*/ 275 h 445"/>
                    <a:gd name="T24" fmla="*/ 212 w 301"/>
                    <a:gd name="T25" fmla="*/ 264 h 445"/>
                    <a:gd name="T26" fmla="*/ 229 w 301"/>
                    <a:gd name="T27" fmla="*/ 243 h 445"/>
                    <a:gd name="T28" fmla="*/ 257 w 301"/>
                    <a:gd name="T29" fmla="*/ 260 h 445"/>
                    <a:gd name="T30" fmla="*/ 261 w 301"/>
                    <a:gd name="T31" fmla="*/ 241 h 445"/>
                    <a:gd name="T32" fmla="*/ 255 w 301"/>
                    <a:gd name="T33" fmla="*/ 166 h 445"/>
                    <a:gd name="T34" fmla="*/ 255 w 301"/>
                    <a:gd name="T35" fmla="*/ 162 h 445"/>
                    <a:gd name="T36" fmla="*/ 301 w 301"/>
                    <a:gd name="T37" fmla="*/ 124 h 445"/>
                    <a:gd name="T38" fmla="*/ 301 w 301"/>
                    <a:gd name="T39" fmla="*/ 41 h 445"/>
                    <a:gd name="T40" fmla="*/ 280 w 301"/>
                    <a:gd name="T41" fmla="*/ 32 h 445"/>
                    <a:gd name="T42" fmla="*/ 178 w 301"/>
                    <a:gd name="T43" fmla="*/ 0 h 445"/>
                    <a:gd name="T44" fmla="*/ 155 w 301"/>
                    <a:gd name="T45" fmla="*/ 15 h 445"/>
                    <a:gd name="T46" fmla="*/ 142 w 301"/>
                    <a:gd name="T47" fmla="*/ 5 h 445"/>
                    <a:gd name="T48" fmla="*/ 125 w 301"/>
                    <a:gd name="T49" fmla="*/ 20 h 445"/>
                    <a:gd name="T50" fmla="*/ 51 w 301"/>
                    <a:gd name="T51" fmla="*/ 20 h 445"/>
                    <a:gd name="T52" fmla="*/ 59 w 301"/>
                    <a:gd name="T53" fmla="*/ 30 h 445"/>
                    <a:gd name="T54" fmla="*/ 23 w 301"/>
                    <a:gd name="T55" fmla="*/ 88 h 445"/>
                    <a:gd name="T56" fmla="*/ 38 w 301"/>
                    <a:gd name="T57" fmla="*/ 132 h 445"/>
                    <a:gd name="T58" fmla="*/ 34 w 301"/>
                    <a:gd name="T59" fmla="*/ 200 h 445"/>
                    <a:gd name="T60" fmla="*/ 49 w 301"/>
                    <a:gd name="T61" fmla="*/ 228 h 445"/>
                    <a:gd name="T62" fmla="*/ 0 w 301"/>
                    <a:gd name="T63" fmla="*/ 273 h 445"/>
                    <a:gd name="T64" fmla="*/ 19 w 301"/>
                    <a:gd name="T65" fmla="*/ 307 h 445"/>
                    <a:gd name="T66" fmla="*/ 32 w 301"/>
                    <a:gd name="T67" fmla="*/ 33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1" h="445">
                      <a:moveTo>
                        <a:pt x="32" y="334"/>
                      </a:moveTo>
                      <a:lnTo>
                        <a:pt x="27" y="349"/>
                      </a:lnTo>
                      <a:lnTo>
                        <a:pt x="49" y="355"/>
                      </a:lnTo>
                      <a:lnTo>
                        <a:pt x="49" y="383"/>
                      </a:lnTo>
                      <a:lnTo>
                        <a:pt x="72" y="413"/>
                      </a:lnTo>
                      <a:lnTo>
                        <a:pt x="125" y="445"/>
                      </a:lnTo>
                      <a:lnTo>
                        <a:pt x="172" y="385"/>
                      </a:lnTo>
                      <a:lnTo>
                        <a:pt x="148" y="375"/>
                      </a:lnTo>
                      <a:lnTo>
                        <a:pt x="159" y="336"/>
                      </a:lnTo>
                      <a:lnTo>
                        <a:pt x="189" y="332"/>
                      </a:lnTo>
                      <a:lnTo>
                        <a:pt x="165" y="311"/>
                      </a:lnTo>
                      <a:lnTo>
                        <a:pt x="163" y="275"/>
                      </a:lnTo>
                      <a:lnTo>
                        <a:pt x="212" y="264"/>
                      </a:lnTo>
                      <a:lnTo>
                        <a:pt x="229" y="243"/>
                      </a:lnTo>
                      <a:lnTo>
                        <a:pt x="257" y="260"/>
                      </a:lnTo>
                      <a:lnTo>
                        <a:pt x="261" y="241"/>
                      </a:lnTo>
                      <a:lnTo>
                        <a:pt x="255" y="166"/>
                      </a:lnTo>
                      <a:lnTo>
                        <a:pt x="255" y="162"/>
                      </a:lnTo>
                      <a:lnTo>
                        <a:pt x="301" y="124"/>
                      </a:lnTo>
                      <a:lnTo>
                        <a:pt x="301" y="41"/>
                      </a:lnTo>
                      <a:lnTo>
                        <a:pt x="280" y="32"/>
                      </a:lnTo>
                      <a:lnTo>
                        <a:pt x="178" y="0"/>
                      </a:lnTo>
                      <a:lnTo>
                        <a:pt x="155" y="15"/>
                      </a:lnTo>
                      <a:lnTo>
                        <a:pt x="142" y="5"/>
                      </a:lnTo>
                      <a:lnTo>
                        <a:pt x="125" y="20"/>
                      </a:lnTo>
                      <a:lnTo>
                        <a:pt x="51" y="20"/>
                      </a:lnTo>
                      <a:lnTo>
                        <a:pt x="59" y="30"/>
                      </a:lnTo>
                      <a:lnTo>
                        <a:pt x="23" y="88"/>
                      </a:lnTo>
                      <a:lnTo>
                        <a:pt x="38" y="132"/>
                      </a:lnTo>
                      <a:lnTo>
                        <a:pt x="34" y="200"/>
                      </a:lnTo>
                      <a:lnTo>
                        <a:pt x="49" y="228"/>
                      </a:lnTo>
                      <a:lnTo>
                        <a:pt x="0" y="273"/>
                      </a:lnTo>
                      <a:lnTo>
                        <a:pt x="19" y="307"/>
                      </a:lnTo>
                      <a:lnTo>
                        <a:pt x="32" y="334"/>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84" name="80">
                  <a:extLst>
                    <a:ext uri="{FF2B5EF4-FFF2-40B4-BE49-F238E27FC236}">
                      <a16:creationId xmlns:a16="http://schemas.microsoft.com/office/drawing/2014/main" id="{753514A2-430E-472B-BC6E-9D6E397E59AD}"/>
                    </a:ext>
                  </a:extLst>
                </p:cNvPr>
                <p:cNvSpPr>
                  <a:spLocks/>
                </p:cNvSpPr>
                <p:nvPr/>
              </p:nvSpPr>
              <p:spPr bwMode="gray">
                <a:xfrm>
                  <a:off x="6192116" y="1866598"/>
                  <a:ext cx="614571" cy="426904"/>
                </a:xfrm>
                <a:custGeom>
                  <a:avLst/>
                  <a:gdLst>
                    <a:gd name="T0" fmla="*/ 6 w 429"/>
                    <a:gd name="T1" fmla="*/ 115 h 298"/>
                    <a:gd name="T2" fmla="*/ 72 w 429"/>
                    <a:gd name="T3" fmla="*/ 171 h 298"/>
                    <a:gd name="T4" fmla="*/ 93 w 429"/>
                    <a:gd name="T5" fmla="*/ 226 h 298"/>
                    <a:gd name="T6" fmla="*/ 108 w 429"/>
                    <a:gd name="T7" fmla="*/ 247 h 298"/>
                    <a:gd name="T8" fmla="*/ 202 w 429"/>
                    <a:gd name="T9" fmla="*/ 249 h 298"/>
                    <a:gd name="T10" fmla="*/ 295 w 429"/>
                    <a:gd name="T11" fmla="*/ 298 h 298"/>
                    <a:gd name="T12" fmla="*/ 306 w 429"/>
                    <a:gd name="T13" fmla="*/ 279 h 298"/>
                    <a:gd name="T14" fmla="*/ 331 w 429"/>
                    <a:gd name="T15" fmla="*/ 281 h 298"/>
                    <a:gd name="T16" fmla="*/ 348 w 429"/>
                    <a:gd name="T17" fmla="*/ 251 h 298"/>
                    <a:gd name="T18" fmla="*/ 370 w 429"/>
                    <a:gd name="T19" fmla="*/ 262 h 298"/>
                    <a:gd name="T20" fmla="*/ 408 w 429"/>
                    <a:gd name="T21" fmla="*/ 249 h 298"/>
                    <a:gd name="T22" fmla="*/ 393 w 429"/>
                    <a:gd name="T23" fmla="*/ 205 h 298"/>
                    <a:gd name="T24" fmla="*/ 429 w 429"/>
                    <a:gd name="T25" fmla="*/ 147 h 298"/>
                    <a:gd name="T26" fmla="*/ 421 w 429"/>
                    <a:gd name="T27" fmla="*/ 137 h 298"/>
                    <a:gd name="T28" fmla="*/ 402 w 429"/>
                    <a:gd name="T29" fmla="*/ 124 h 298"/>
                    <a:gd name="T30" fmla="*/ 346 w 429"/>
                    <a:gd name="T31" fmla="*/ 134 h 298"/>
                    <a:gd name="T32" fmla="*/ 344 w 429"/>
                    <a:gd name="T33" fmla="*/ 113 h 298"/>
                    <a:gd name="T34" fmla="*/ 323 w 429"/>
                    <a:gd name="T35" fmla="*/ 128 h 298"/>
                    <a:gd name="T36" fmla="*/ 329 w 429"/>
                    <a:gd name="T37" fmla="*/ 100 h 298"/>
                    <a:gd name="T38" fmla="*/ 312 w 429"/>
                    <a:gd name="T39" fmla="*/ 96 h 298"/>
                    <a:gd name="T40" fmla="*/ 310 w 429"/>
                    <a:gd name="T41" fmla="*/ 111 h 298"/>
                    <a:gd name="T42" fmla="*/ 282 w 429"/>
                    <a:gd name="T43" fmla="*/ 90 h 298"/>
                    <a:gd name="T44" fmla="*/ 259 w 429"/>
                    <a:gd name="T45" fmla="*/ 90 h 298"/>
                    <a:gd name="T46" fmla="*/ 246 w 429"/>
                    <a:gd name="T47" fmla="*/ 109 h 298"/>
                    <a:gd name="T48" fmla="*/ 238 w 429"/>
                    <a:gd name="T49" fmla="*/ 86 h 298"/>
                    <a:gd name="T50" fmla="*/ 263 w 429"/>
                    <a:gd name="T51" fmla="*/ 69 h 298"/>
                    <a:gd name="T52" fmla="*/ 253 w 429"/>
                    <a:gd name="T53" fmla="*/ 56 h 298"/>
                    <a:gd name="T54" fmla="*/ 183 w 429"/>
                    <a:gd name="T55" fmla="*/ 71 h 298"/>
                    <a:gd name="T56" fmla="*/ 134 w 429"/>
                    <a:gd name="T57" fmla="*/ 17 h 298"/>
                    <a:gd name="T58" fmla="*/ 93 w 429"/>
                    <a:gd name="T59" fmla="*/ 5 h 298"/>
                    <a:gd name="T60" fmla="*/ 70 w 429"/>
                    <a:gd name="T61" fmla="*/ 15 h 298"/>
                    <a:gd name="T62" fmla="*/ 55 w 429"/>
                    <a:gd name="T63" fmla="*/ 0 h 298"/>
                    <a:gd name="T64" fmla="*/ 40 w 429"/>
                    <a:gd name="T65" fmla="*/ 37 h 298"/>
                    <a:gd name="T66" fmla="*/ 72 w 429"/>
                    <a:gd name="T67" fmla="*/ 71 h 298"/>
                    <a:gd name="T68" fmla="*/ 40 w 429"/>
                    <a:gd name="T69" fmla="*/ 58 h 298"/>
                    <a:gd name="T70" fmla="*/ 0 w 429"/>
                    <a:gd name="T71" fmla="*/ 111 h 298"/>
                    <a:gd name="T72" fmla="*/ 6 w 429"/>
                    <a:gd name="T73" fmla="*/ 11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9" h="298">
                      <a:moveTo>
                        <a:pt x="6" y="115"/>
                      </a:moveTo>
                      <a:lnTo>
                        <a:pt x="72" y="171"/>
                      </a:lnTo>
                      <a:lnTo>
                        <a:pt x="93" y="226"/>
                      </a:lnTo>
                      <a:lnTo>
                        <a:pt x="108" y="247"/>
                      </a:lnTo>
                      <a:lnTo>
                        <a:pt x="202" y="249"/>
                      </a:lnTo>
                      <a:lnTo>
                        <a:pt x="295" y="298"/>
                      </a:lnTo>
                      <a:lnTo>
                        <a:pt x="306" y="279"/>
                      </a:lnTo>
                      <a:lnTo>
                        <a:pt x="331" y="281"/>
                      </a:lnTo>
                      <a:lnTo>
                        <a:pt x="348" y="251"/>
                      </a:lnTo>
                      <a:lnTo>
                        <a:pt x="370" y="262"/>
                      </a:lnTo>
                      <a:lnTo>
                        <a:pt x="408" y="249"/>
                      </a:lnTo>
                      <a:lnTo>
                        <a:pt x="393" y="205"/>
                      </a:lnTo>
                      <a:lnTo>
                        <a:pt x="429" y="147"/>
                      </a:lnTo>
                      <a:lnTo>
                        <a:pt x="421" y="137"/>
                      </a:lnTo>
                      <a:lnTo>
                        <a:pt x="402" y="124"/>
                      </a:lnTo>
                      <a:lnTo>
                        <a:pt x="346" y="134"/>
                      </a:lnTo>
                      <a:lnTo>
                        <a:pt x="344" y="113"/>
                      </a:lnTo>
                      <a:lnTo>
                        <a:pt x="323" y="128"/>
                      </a:lnTo>
                      <a:lnTo>
                        <a:pt x="329" y="100"/>
                      </a:lnTo>
                      <a:lnTo>
                        <a:pt x="312" y="96"/>
                      </a:lnTo>
                      <a:lnTo>
                        <a:pt x="310" y="111"/>
                      </a:lnTo>
                      <a:lnTo>
                        <a:pt x="282" y="90"/>
                      </a:lnTo>
                      <a:lnTo>
                        <a:pt x="259" y="90"/>
                      </a:lnTo>
                      <a:lnTo>
                        <a:pt x="246" y="109"/>
                      </a:lnTo>
                      <a:lnTo>
                        <a:pt x="238" y="86"/>
                      </a:lnTo>
                      <a:lnTo>
                        <a:pt x="263" y="69"/>
                      </a:lnTo>
                      <a:lnTo>
                        <a:pt x="253" y="56"/>
                      </a:lnTo>
                      <a:lnTo>
                        <a:pt x="183" y="71"/>
                      </a:lnTo>
                      <a:lnTo>
                        <a:pt x="134" y="17"/>
                      </a:lnTo>
                      <a:lnTo>
                        <a:pt x="93" y="5"/>
                      </a:lnTo>
                      <a:lnTo>
                        <a:pt x="70" y="15"/>
                      </a:lnTo>
                      <a:lnTo>
                        <a:pt x="55" y="0"/>
                      </a:lnTo>
                      <a:lnTo>
                        <a:pt x="40" y="37"/>
                      </a:lnTo>
                      <a:lnTo>
                        <a:pt x="72" y="71"/>
                      </a:lnTo>
                      <a:lnTo>
                        <a:pt x="40" y="58"/>
                      </a:lnTo>
                      <a:lnTo>
                        <a:pt x="0" y="111"/>
                      </a:lnTo>
                      <a:lnTo>
                        <a:pt x="6" y="115"/>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85" name="60">
                  <a:extLst>
                    <a:ext uri="{FF2B5EF4-FFF2-40B4-BE49-F238E27FC236}">
                      <a16:creationId xmlns:a16="http://schemas.microsoft.com/office/drawing/2014/main" id="{0C262EDF-7D8A-424F-A3AE-4A36963292B0}"/>
                    </a:ext>
                  </a:extLst>
                </p:cNvPr>
                <p:cNvSpPr>
                  <a:spLocks/>
                </p:cNvSpPr>
                <p:nvPr/>
              </p:nvSpPr>
              <p:spPr bwMode="gray">
                <a:xfrm>
                  <a:off x="6292396" y="2190357"/>
                  <a:ext cx="499966" cy="365305"/>
                </a:xfrm>
                <a:custGeom>
                  <a:avLst/>
                  <a:gdLst>
                    <a:gd name="T0" fmla="*/ 0 w 349"/>
                    <a:gd name="T1" fmla="*/ 187 h 255"/>
                    <a:gd name="T2" fmla="*/ 23 w 349"/>
                    <a:gd name="T3" fmla="*/ 178 h 255"/>
                    <a:gd name="T4" fmla="*/ 2 w 349"/>
                    <a:gd name="T5" fmla="*/ 127 h 255"/>
                    <a:gd name="T6" fmla="*/ 21 w 349"/>
                    <a:gd name="T7" fmla="*/ 98 h 255"/>
                    <a:gd name="T8" fmla="*/ 6 w 349"/>
                    <a:gd name="T9" fmla="*/ 93 h 255"/>
                    <a:gd name="T10" fmla="*/ 2 w 349"/>
                    <a:gd name="T11" fmla="*/ 40 h 255"/>
                    <a:gd name="T12" fmla="*/ 15 w 349"/>
                    <a:gd name="T13" fmla="*/ 27 h 255"/>
                    <a:gd name="T14" fmla="*/ 0 w 349"/>
                    <a:gd name="T15" fmla="*/ 21 h 255"/>
                    <a:gd name="T16" fmla="*/ 23 w 349"/>
                    <a:gd name="T17" fmla="*/ 0 h 255"/>
                    <a:gd name="T18" fmla="*/ 38 w 349"/>
                    <a:gd name="T19" fmla="*/ 21 h 255"/>
                    <a:gd name="T20" fmla="*/ 132 w 349"/>
                    <a:gd name="T21" fmla="*/ 23 h 255"/>
                    <a:gd name="T22" fmla="*/ 225 w 349"/>
                    <a:gd name="T23" fmla="*/ 72 h 255"/>
                    <a:gd name="T24" fmla="*/ 236 w 349"/>
                    <a:gd name="T25" fmla="*/ 53 h 255"/>
                    <a:gd name="T26" fmla="*/ 261 w 349"/>
                    <a:gd name="T27" fmla="*/ 55 h 255"/>
                    <a:gd name="T28" fmla="*/ 278 w 349"/>
                    <a:gd name="T29" fmla="*/ 25 h 255"/>
                    <a:gd name="T30" fmla="*/ 300 w 349"/>
                    <a:gd name="T31" fmla="*/ 36 h 255"/>
                    <a:gd name="T32" fmla="*/ 338 w 349"/>
                    <a:gd name="T33" fmla="*/ 23 h 255"/>
                    <a:gd name="T34" fmla="*/ 334 w 349"/>
                    <a:gd name="T35" fmla="*/ 91 h 255"/>
                    <a:gd name="T36" fmla="*/ 349 w 349"/>
                    <a:gd name="T37" fmla="*/ 119 h 255"/>
                    <a:gd name="T38" fmla="*/ 300 w 349"/>
                    <a:gd name="T39" fmla="*/ 164 h 255"/>
                    <a:gd name="T40" fmla="*/ 319 w 349"/>
                    <a:gd name="T41" fmla="*/ 198 h 255"/>
                    <a:gd name="T42" fmla="*/ 332 w 349"/>
                    <a:gd name="T43" fmla="*/ 225 h 255"/>
                    <a:gd name="T44" fmla="*/ 327 w 349"/>
                    <a:gd name="T45" fmla="*/ 240 h 255"/>
                    <a:gd name="T46" fmla="*/ 306 w 349"/>
                    <a:gd name="T47" fmla="*/ 255 h 255"/>
                    <a:gd name="T48" fmla="*/ 210 w 349"/>
                    <a:gd name="T49" fmla="*/ 253 h 255"/>
                    <a:gd name="T50" fmla="*/ 147 w 349"/>
                    <a:gd name="T51" fmla="*/ 212 h 255"/>
                    <a:gd name="T52" fmla="*/ 121 w 349"/>
                    <a:gd name="T53" fmla="*/ 223 h 255"/>
                    <a:gd name="T54" fmla="*/ 89 w 349"/>
                    <a:gd name="T55" fmla="*/ 204 h 255"/>
                    <a:gd name="T56" fmla="*/ 42 w 349"/>
                    <a:gd name="T57" fmla="*/ 219 h 255"/>
                    <a:gd name="T58" fmla="*/ 8 w 349"/>
                    <a:gd name="T59" fmla="*/ 212 h 255"/>
                    <a:gd name="T60" fmla="*/ 0 w 349"/>
                    <a:gd name="T61" fmla="*/ 191 h 255"/>
                    <a:gd name="T62" fmla="*/ 0 w 349"/>
                    <a:gd name="T63" fmla="*/ 189 h 255"/>
                    <a:gd name="T64" fmla="*/ 0 w 349"/>
                    <a:gd name="T65" fmla="*/ 187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9" h="255">
                      <a:moveTo>
                        <a:pt x="0" y="187"/>
                      </a:moveTo>
                      <a:lnTo>
                        <a:pt x="23" y="178"/>
                      </a:lnTo>
                      <a:lnTo>
                        <a:pt x="2" y="127"/>
                      </a:lnTo>
                      <a:lnTo>
                        <a:pt x="21" y="98"/>
                      </a:lnTo>
                      <a:lnTo>
                        <a:pt x="6" y="93"/>
                      </a:lnTo>
                      <a:lnTo>
                        <a:pt x="2" y="40"/>
                      </a:lnTo>
                      <a:lnTo>
                        <a:pt x="15" y="27"/>
                      </a:lnTo>
                      <a:lnTo>
                        <a:pt x="0" y="21"/>
                      </a:lnTo>
                      <a:lnTo>
                        <a:pt x="23" y="0"/>
                      </a:lnTo>
                      <a:lnTo>
                        <a:pt x="38" y="21"/>
                      </a:lnTo>
                      <a:lnTo>
                        <a:pt x="132" y="23"/>
                      </a:lnTo>
                      <a:lnTo>
                        <a:pt x="225" y="72"/>
                      </a:lnTo>
                      <a:lnTo>
                        <a:pt x="236" y="53"/>
                      </a:lnTo>
                      <a:lnTo>
                        <a:pt x="261" y="55"/>
                      </a:lnTo>
                      <a:lnTo>
                        <a:pt x="278" y="25"/>
                      </a:lnTo>
                      <a:lnTo>
                        <a:pt x="300" y="36"/>
                      </a:lnTo>
                      <a:lnTo>
                        <a:pt x="338" y="23"/>
                      </a:lnTo>
                      <a:lnTo>
                        <a:pt x="334" y="91"/>
                      </a:lnTo>
                      <a:lnTo>
                        <a:pt x="349" y="119"/>
                      </a:lnTo>
                      <a:lnTo>
                        <a:pt x="300" y="164"/>
                      </a:lnTo>
                      <a:lnTo>
                        <a:pt x="319" y="198"/>
                      </a:lnTo>
                      <a:lnTo>
                        <a:pt x="332" y="225"/>
                      </a:lnTo>
                      <a:lnTo>
                        <a:pt x="327" y="240"/>
                      </a:lnTo>
                      <a:lnTo>
                        <a:pt x="306" y="255"/>
                      </a:lnTo>
                      <a:lnTo>
                        <a:pt x="210" y="253"/>
                      </a:lnTo>
                      <a:lnTo>
                        <a:pt x="147" y="212"/>
                      </a:lnTo>
                      <a:lnTo>
                        <a:pt x="121" y="223"/>
                      </a:lnTo>
                      <a:lnTo>
                        <a:pt x="89" y="204"/>
                      </a:lnTo>
                      <a:lnTo>
                        <a:pt x="42" y="219"/>
                      </a:lnTo>
                      <a:lnTo>
                        <a:pt x="8" y="212"/>
                      </a:lnTo>
                      <a:lnTo>
                        <a:pt x="0" y="191"/>
                      </a:lnTo>
                      <a:lnTo>
                        <a:pt x="0" y="189"/>
                      </a:lnTo>
                      <a:lnTo>
                        <a:pt x="0" y="187"/>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grpSp>
            <p:nvGrpSpPr>
              <p:cNvPr id="480" name="Nord Pas de Calais (Formes)">
                <a:extLst>
                  <a:ext uri="{FF2B5EF4-FFF2-40B4-BE49-F238E27FC236}">
                    <a16:creationId xmlns:a16="http://schemas.microsoft.com/office/drawing/2014/main" id="{35E3A4FA-9DFE-4AEE-B3EA-40BCCBE5A80F}"/>
                  </a:ext>
                </a:extLst>
              </p:cNvPr>
              <p:cNvGrpSpPr/>
              <p:nvPr/>
            </p:nvGrpSpPr>
            <p:grpSpPr>
              <a:xfrm>
                <a:off x="6270908" y="1498428"/>
                <a:ext cx="879595" cy="581621"/>
                <a:chOff x="6270908" y="1498428"/>
                <a:chExt cx="879595" cy="581621"/>
              </a:xfrm>
              <a:grpFill/>
            </p:grpSpPr>
            <p:sp>
              <p:nvSpPr>
                <p:cNvPr id="481" name="59">
                  <a:extLst>
                    <a:ext uri="{FF2B5EF4-FFF2-40B4-BE49-F238E27FC236}">
                      <a16:creationId xmlns:a16="http://schemas.microsoft.com/office/drawing/2014/main" id="{DAB2EC84-00AA-46D1-8F3A-3B8B3781C240}"/>
                    </a:ext>
                  </a:extLst>
                </p:cNvPr>
                <p:cNvSpPr>
                  <a:spLocks/>
                </p:cNvSpPr>
                <p:nvPr/>
              </p:nvSpPr>
              <p:spPr bwMode="gray">
                <a:xfrm>
                  <a:off x="6441383" y="1498428"/>
                  <a:ext cx="709120" cy="581621"/>
                </a:xfrm>
                <a:custGeom>
                  <a:avLst/>
                  <a:gdLst>
                    <a:gd name="T0" fmla="*/ 104 w 495"/>
                    <a:gd name="T1" fmla="*/ 0 h 406"/>
                    <a:gd name="T2" fmla="*/ 123 w 495"/>
                    <a:gd name="T3" fmla="*/ 51 h 406"/>
                    <a:gd name="T4" fmla="*/ 117 w 495"/>
                    <a:gd name="T5" fmla="*/ 85 h 406"/>
                    <a:gd name="T6" fmla="*/ 166 w 495"/>
                    <a:gd name="T7" fmla="*/ 136 h 406"/>
                    <a:gd name="T8" fmla="*/ 185 w 495"/>
                    <a:gd name="T9" fmla="*/ 143 h 406"/>
                    <a:gd name="T10" fmla="*/ 213 w 495"/>
                    <a:gd name="T11" fmla="*/ 115 h 406"/>
                    <a:gd name="T12" fmla="*/ 240 w 495"/>
                    <a:gd name="T13" fmla="*/ 111 h 406"/>
                    <a:gd name="T14" fmla="*/ 268 w 495"/>
                    <a:gd name="T15" fmla="*/ 145 h 406"/>
                    <a:gd name="T16" fmla="*/ 274 w 495"/>
                    <a:gd name="T17" fmla="*/ 206 h 406"/>
                    <a:gd name="T18" fmla="*/ 351 w 495"/>
                    <a:gd name="T19" fmla="*/ 217 h 406"/>
                    <a:gd name="T20" fmla="*/ 374 w 495"/>
                    <a:gd name="T21" fmla="*/ 289 h 406"/>
                    <a:gd name="T22" fmla="*/ 381 w 495"/>
                    <a:gd name="T23" fmla="*/ 270 h 406"/>
                    <a:gd name="T24" fmla="*/ 449 w 495"/>
                    <a:gd name="T25" fmla="*/ 268 h 406"/>
                    <a:gd name="T26" fmla="*/ 474 w 495"/>
                    <a:gd name="T27" fmla="*/ 304 h 406"/>
                    <a:gd name="T28" fmla="*/ 491 w 495"/>
                    <a:gd name="T29" fmla="*/ 298 h 406"/>
                    <a:gd name="T30" fmla="*/ 472 w 495"/>
                    <a:gd name="T31" fmla="*/ 349 h 406"/>
                    <a:gd name="T32" fmla="*/ 489 w 495"/>
                    <a:gd name="T33" fmla="*/ 351 h 406"/>
                    <a:gd name="T34" fmla="*/ 495 w 495"/>
                    <a:gd name="T35" fmla="*/ 374 h 406"/>
                    <a:gd name="T36" fmla="*/ 476 w 495"/>
                    <a:gd name="T37" fmla="*/ 406 h 406"/>
                    <a:gd name="T38" fmla="*/ 374 w 495"/>
                    <a:gd name="T39" fmla="*/ 374 h 406"/>
                    <a:gd name="T40" fmla="*/ 351 w 495"/>
                    <a:gd name="T41" fmla="*/ 389 h 406"/>
                    <a:gd name="T42" fmla="*/ 338 w 495"/>
                    <a:gd name="T43" fmla="*/ 379 h 406"/>
                    <a:gd name="T44" fmla="*/ 321 w 495"/>
                    <a:gd name="T45" fmla="*/ 394 h 406"/>
                    <a:gd name="T46" fmla="*/ 247 w 495"/>
                    <a:gd name="T47" fmla="*/ 394 h 406"/>
                    <a:gd name="T48" fmla="*/ 228 w 495"/>
                    <a:gd name="T49" fmla="*/ 381 h 406"/>
                    <a:gd name="T50" fmla="*/ 251 w 495"/>
                    <a:gd name="T51" fmla="*/ 315 h 406"/>
                    <a:gd name="T52" fmla="*/ 211 w 495"/>
                    <a:gd name="T53" fmla="*/ 302 h 406"/>
                    <a:gd name="T54" fmla="*/ 228 w 495"/>
                    <a:gd name="T55" fmla="*/ 285 h 406"/>
                    <a:gd name="T56" fmla="*/ 204 w 495"/>
                    <a:gd name="T57" fmla="*/ 251 h 406"/>
                    <a:gd name="T58" fmla="*/ 225 w 495"/>
                    <a:gd name="T59" fmla="*/ 236 h 406"/>
                    <a:gd name="T60" fmla="*/ 200 w 495"/>
                    <a:gd name="T61" fmla="*/ 211 h 406"/>
                    <a:gd name="T62" fmla="*/ 162 w 495"/>
                    <a:gd name="T63" fmla="*/ 204 h 406"/>
                    <a:gd name="T64" fmla="*/ 177 w 495"/>
                    <a:gd name="T65" fmla="*/ 166 h 406"/>
                    <a:gd name="T66" fmla="*/ 164 w 495"/>
                    <a:gd name="T67" fmla="*/ 153 h 406"/>
                    <a:gd name="T68" fmla="*/ 149 w 495"/>
                    <a:gd name="T69" fmla="*/ 177 h 406"/>
                    <a:gd name="T70" fmla="*/ 62 w 495"/>
                    <a:gd name="T71" fmla="*/ 149 h 406"/>
                    <a:gd name="T72" fmla="*/ 55 w 495"/>
                    <a:gd name="T73" fmla="*/ 126 h 406"/>
                    <a:gd name="T74" fmla="*/ 70 w 495"/>
                    <a:gd name="T75" fmla="*/ 115 h 406"/>
                    <a:gd name="T76" fmla="*/ 26 w 495"/>
                    <a:gd name="T77" fmla="*/ 100 h 406"/>
                    <a:gd name="T78" fmla="*/ 0 w 495"/>
                    <a:gd name="T79" fmla="*/ 30 h 406"/>
                    <a:gd name="T80" fmla="*/ 104 w 495"/>
                    <a:gd name="T81" fmla="*/ 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5" h="406">
                      <a:moveTo>
                        <a:pt x="104" y="0"/>
                      </a:moveTo>
                      <a:lnTo>
                        <a:pt x="123" y="51"/>
                      </a:lnTo>
                      <a:lnTo>
                        <a:pt x="117" y="85"/>
                      </a:lnTo>
                      <a:lnTo>
                        <a:pt x="166" y="136"/>
                      </a:lnTo>
                      <a:lnTo>
                        <a:pt x="185" y="143"/>
                      </a:lnTo>
                      <a:lnTo>
                        <a:pt x="213" y="115"/>
                      </a:lnTo>
                      <a:lnTo>
                        <a:pt x="240" y="111"/>
                      </a:lnTo>
                      <a:lnTo>
                        <a:pt x="268" y="145"/>
                      </a:lnTo>
                      <a:lnTo>
                        <a:pt x="274" y="206"/>
                      </a:lnTo>
                      <a:lnTo>
                        <a:pt x="351" y="217"/>
                      </a:lnTo>
                      <a:lnTo>
                        <a:pt x="374" y="289"/>
                      </a:lnTo>
                      <a:lnTo>
                        <a:pt x="381" y="270"/>
                      </a:lnTo>
                      <a:lnTo>
                        <a:pt x="449" y="268"/>
                      </a:lnTo>
                      <a:lnTo>
                        <a:pt x="474" y="304"/>
                      </a:lnTo>
                      <a:lnTo>
                        <a:pt x="491" y="298"/>
                      </a:lnTo>
                      <a:lnTo>
                        <a:pt x="472" y="349"/>
                      </a:lnTo>
                      <a:lnTo>
                        <a:pt x="489" y="351"/>
                      </a:lnTo>
                      <a:lnTo>
                        <a:pt x="495" y="374"/>
                      </a:lnTo>
                      <a:lnTo>
                        <a:pt x="476" y="406"/>
                      </a:lnTo>
                      <a:lnTo>
                        <a:pt x="374" y="374"/>
                      </a:lnTo>
                      <a:lnTo>
                        <a:pt x="351" y="389"/>
                      </a:lnTo>
                      <a:lnTo>
                        <a:pt x="338" y="379"/>
                      </a:lnTo>
                      <a:lnTo>
                        <a:pt x="321" y="394"/>
                      </a:lnTo>
                      <a:lnTo>
                        <a:pt x="247" y="394"/>
                      </a:lnTo>
                      <a:lnTo>
                        <a:pt x="228" y="381"/>
                      </a:lnTo>
                      <a:lnTo>
                        <a:pt x="251" y="315"/>
                      </a:lnTo>
                      <a:lnTo>
                        <a:pt x="211" y="302"/>
                      </a:lnTo>
                      <a:lnTo>
                        <a:pt x="228" y="285"/>
                      </a:lnTo>
                      <a:lnTo>
                        <a:pt x="204" y="251"/>
                      </a:lnTo>
                      <a:lnTo>
                        <a:pt x="225" y="236"/>
                      </a:lnTo>
                      <a:lnTo>
                        <a:pt x="200" y="211"/>
                      </a:lnTo>
                      <a:lnTo>
                        <a:pt x="162" y="204"/>
                      </a:lnTo>
                      <a:lnTo>
                        <a:pt x="177" y="166"/>
                      </a:lnTo>
                      <a:lnTo>
                        <a:pt x="164" y="153"/>
                      </a:lnTo>
                      <a:lnTo>
                        <a:pt x="149" y="177"/>
                      </a:lnTo>
                      <a:lnTo>
                        <a:pt x="62" y="149"/>
                      </a:lnTo>
                      <a:lnTo>
                        <a:pt x="55" y="126"/>
                      </a:lnTo>
                      <a:lnTo>
                        <a:pt x="70" y="115"/>
                      </a:lnTo>
                      <a:lnTo>
                        <a:pt x="26" y="100"/>
                      </a:lnTo>
                      <a:lnTo>
                        <a:pt x="0" y="30"/>
                      </a:lnTo>
                      <a:lnTo>
                        <a:pt x="104" y="0"/>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82" name="62">
                  <a:extLst>
                    <a:ext uri="{FF2B5EF4-FFF2-40B4-BE49-F238E27FC236}">
                      <a16:creationId xmlns:a16="http://schemas.microsoft.com/office/drawing/2014/main" id="{0878CDC9-E559-48BE-BE69-17D08017B3D6}"/>
                    </a:ext>
                  </a:extLst>
                </p:cNvPr>
                <p:cNvSpPr>
                  <a:spLocks/>
                </p:cNvSpPr>
                <p:nvPr/>
              </p:nvSpPr>
              <p:spPr bwMode="gray">
                <a:xfrm>
                  <a:off x="6270908" y="1541405"/>
                  <a:ext cx="530049" cy="517157"/>
                </a:xfrm>
                <a:custGeom>
                  <a:avLst/>
                  <a:gdLst>
                    <a:gd name="T0" fmla="*/ 0 w 370"/>
                    <a:gd name="T1" fmla="*/ 227 h 361"/>
                    <a:gd name="T2" fmla="*/ 15 w 370"/>
                    <a:gd name="T3" fmla="*/ 242 h 361"/>
                    <a:gd name="T4" fmla="*/ 38 w 370"/>
                    <a:gd name="T5" fmla="*/ 232 h 361"/>
                    <a:gd name="T6" fmla="*/ 79 w 370"/>
                    <a:gd name="T7" fmla="*/ 244 h 361"/>
                    <a:gd name="T8" fmla="*/ 128 w 370"/>
                    <a:gd name="T9" fmla="*/ 298 h 361"/>
                    <a:gd name="T10" fmla="*/ 198 w 370"/>
                    <a:gd name="T11" fmla="*/ 283 h 361"/>
                    <a:gd name="T12" fmla="*/ 208 w 370"/>
                    <a:gd name="T13" fmla="*/ 296 h 361"/>
                    <a:gd name="T14" fmla="*/ 183 w 370"/>
                    <a:gd name="T15" fmla="*/ 313 h 361"/>
                    <a:gd name="T16" fmla="*/ 191 w 370"/>
                    <a:gd name="T17" fmla="*/ 336 h 361"/>
                    <a:gd name="T18" fmla="*/ 204 w 370"/>
                    <a:gd name="T19" fmla="*/ 317 h 361"/>
                    <a:gd name="T20" fmla="*/ 227 w 370"/>
                    <a:gd name="T21" fmla="*/ 317 h 361"/>
                    <a:gd name="T22" fmla="*/ 255 w 370"/>
                    <a:gd name="T23" fmla="*/ 338 h 361"/>
                    <a:gd name="T24" fmla="*/ 257 w 370"/>
                    <a:gd name="T25" fmla="*/ 323 h 361"/>
                    <a:gd name="T26" fmla="*/ 274 w 370"/>
                    <a:gd name="T27" fmla="*/ 327 h 361"/>
                    <a:gd name="T28" fmla="*/ 268 w 370"/>
                    <a:gd name="T29" fmla="*/ 355 h 361"/>
                    <a:gd name="T30" fmla="*/ 289 w 370"/>
                    <a:gd name="T31" fmla="*/ 340 h 361"/>
                    <a:gd name="T32" fmla="*/ 291 w 370"/>
                    <a:gd name="T33" fmla="*/ 361 h 361"/>
                    <a:gd name="T34" fmla="*/ 347 w 370"/>
                    <a:gd name="T35" fmla="*/ 351 h 361"/>
                    <a:gd name="T36" fmla="*/ 370 w 370"/>
                    <a:gd name="T37" fmla="*/ 285 h 361"/>
                    <a:gd name="T38" fmla="*/ 330 w 370"/>
                    <a:gd name="T39" fmla="*/ 272 h 361"/>
                    <a:gd name="T40" fmla="*/ 347 w 370"/>
                    <a:gd name="T41" fmla="*/ 255 h 361"/>
                    <a:gd name="T42" fmla="*/ 323 w 370"/>
                    <a:gd name="T43" fmla="*/ 221 h 361"/>
                    <a:gd name="T44" fmla="*/ 344 w 370"/>
                    <a:gd name="T45" fmla="*/ 206 h 361"/>
                    <a:gd name="T46" fmla="*/ 319 w 370"/>
                    <a:gd name="T47" fmla="*/ 181 h 361"/>
                    <a:gd name="T48" fmla="*/ 281 w 370"/>
                    <a:gd name="T49" fmla="*/ 174 h 361"/>
                    <a:gd name="T50" fmla="*/ 296 w 370"/>
                    <a:gd name="T51" fmla="*/ 136 h 361"/>
                    <a:gd name="T52" fmla="*/ 283 w 370"/>
                    <a:gd name="T53" fmla="*/ 123 h 361"/>
                    <a:gd name="T54" fmla="*/ 268 w 370"/>
                    <a:gd name="T55" fmla="*/ 147 h 361"/>
                    <a:gd name="T56" fmla="*/ 181 w 370"/>
                    <a:gd name="T57" fmla="*/ 119 h 361"/>
                    <a:gd name="T58" fmla="*/ 174 w 370"/>
                    <a:gd name="T59" fmla="*/ 96 h 361"/>
                    <a:gd name="T60" fmla="*/ 189 w 370"/>
                    <a:gd name="T61" fmla="*/ 85 h 361"/>
                    <a:gd name="T62" fmla="*/ 145 w 370"/>
                    <a:gd name="T63" fmla="*/ 70 h 361"/>
                    <a:gd name="T64" fmla="*/ 119 w 370"/>
                    <a:gd name="T65" fmla="*/ 0 h 361"/>
                    <a:gd name="T66" fmla="*/ 83 w 370"/>
                    <a:gd name="T67" fmla="*/ 2 h 361"/>
                    <a:gd name="T68" fmla="*/ 0 w 370"/>
                    <a:gd name="T69" fmla="*/ 45 h 361"/>
                    <a:gd name="T70" fmla="*/ 0 w 370"/>
                    <a:gd name="T71" fmla="*/ 227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0" h="361">
                      <a:moveTo>
                        <a:pt x="0" y="227"/>
                      </a:moveTo>
                      <a:lnTo>
                        <a:pt x="15" y="242"/>
                      </a:lnTo>
                      <a:lnTo>
                        <a:pt x="38" y="232"/>
                      </a:lnTo>
                      <a:lnTo>
                        <a:pt x="79" y="244"/>
                      </a:lnTo>
                      <a:lnTo>
                        <a:pt x="128" y="298"/>
                      </a:lnTo>
                      <a:lnTo>
                        <a:pt x="198" y="283"/>
                      </a:lnTo>
                      <a:lnTo>
                        <a:pt x="208" y="296"/>
                      </a:lnTo>
                      <a:lnTo>
                        <a:pt x="183" y="313"/>
                      </a:lnTo>
                      <a:lnTo>
                        <a:pt x="191" y="336"/>
                      </a:lnTo>
                      <a:lnTo>
                        <a:pt x="204" y="317"/>
                      </a:lnTo>
                      <a:lnTo>
                        <a:pt x="227" y="317"/>
                      </a:lnTo>
                      <a:lnTo>
                        <a:pt x="255" y="338"/>
                      </a:lnTo>
                      <a:lnTo>
                        <a:pt x="257" y="323"/>
                      </a:lnTo>
                      <a:lnTo>
                        <a:pt x="274" y="327"/>
                      </a:lnTo>
                      <a:lnTo>
                        <a:pt x="268" y="355"/>
                      </a:lnTo>
                      <a:lnTo>
                        <a:pt x="289" y="340"/>
                      </a:lnTo>
                      <a:lnTo>
                        <a:pt x="291" y="361"/>
                      </a:lnTo>
                      <a:lnTo>
                        <a:pt x="347" y="351"/>
                      </a:lnTo>
                      <a:lnTo>
                        <a:pt x="370" y="285"/>
                      </a:lnTo>
                      <a:lnTo>
                        <a:pt x="330" y="272"/>
                      </a:lnTo>
                      <a:lnTo>
                        <a:pt x="347" y="255"/>
                      </a:lnTo>
                      <a:lnTo>
                        <a:pt x="323" y="221"/>
                      </a:lnTo>
                      <a:lnTo>
                        <a:pt x="344" y="206"/>
                      </a:lnTo>
                      <a:lnTo>
                        <a:pt x="319" y="181"/>
                      </a:lnTo>
                      <a:lnTo>
                        <a:pt x="281" y="174"/>
                      </a:lnTo>
                      <a:lnTo>
                        <a:pt x="296" y="136"/>
                      </a:lnTo>
                      <a:lnTo>
                        <a:pt x="283" y="123"/>
                      </a:lnTo>
                      <a:lnTo>
                        <a:pt x="268" y="147"/>
                      </a:lnTo>
                      <a:lnTo>
                        <a:pt x="181" y="119"/>
                      </a:lnTo>
                      <a:lnTo>
                        <a:pt x="174" y="96"/>
                      </a:lnTo>
                      <a:lnTo>
                        <a:pt x="189" y="85"/>
                      </a:lnTo>
                      <a:lnTo>
                        <a:pt x="145" y="70"/>
                      </a:lnTo>
                      <a:lnTo>
                        <a:pt x="119" y="0"/>
                      </a:lnTo>
                      <a:lnTo>
                        <a:pt x="83" y="2"/>
                      </a:lnTo>
                      <a:lnTo>
                        <a:pt x="0" y="45"/>
                      </a:lnTo>
                      <a:lnTo>
                        <a:pt x="0" y="227"/>
                      </a:lnTo>
                    </a:path>
                  </a:pathLst>
                </a:custGeom>
                <a:solidFill>
                  <a:schemeClr val="bg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solidFill>
                      <a:srgbClr val="503078"/>
                    </a:solidFill>
                    <a:latin typeface="Tahoma"/>
                  </a:endParaRPr>
                </a:p>
              </p:txBody>
            </p:sp>
          </p:grpSp>
        </p:grpSp>
        <p:grpSp>
          <p:nvGrpSpPr>
            <p:cNvPr id="286" name="Midi Pyrénées Languedoc Roussillon (Formes)">
              <a:extLst>
                <a:ext uri="{FF2B5EF4-FFF2-40B4-BE49-F238E27FC236}">
                  <a16:creationId xmlns:a16="http://schemas.microsoft.com/office/drawing/2014/main" id="{35CA3251-8594-4A36-8CA0-128DC61989E9}"/>
                </a:ext>
              </a:extLst>
            </p:cNvPr>
            <p:cNvGrpSpPr/>
            <p:nvPr/>
          </p:nvGrpSpPr>
          <p:grpSpPr>
            <a:xfrm>
              <a:off x="6193477" y="4493580"/>
              <a:ext cx="1978371" cy="1422537"/>
              <a:chOff x="5440021" y="4662965"/>
              <a:chExt cx="1978371" cy="1422537"/>
            </a:xfrm>
            <a:solidFill>
              <a:srgbClr val="667E76"/>
            </a:solidFill>
          </p:grpSpPr>
          <p:grpSp>
            <p:nvGrpSpPr>
              <p:cNvPr id="457" name="Midi Pyrénées (Formes)">
                <a:extLst>
                  <a:ext uri="{FF2B5EF4-FFF2-40B4-BE49-F238E27FC236}">
                    <a16:creationId xmlns:a16="http://schemas.microsoft.com/office/drawing/2014/main" id="{AD6BB628-08BA-4DA4-BE16-C1C060A3271A}"/>
                  </a:ext>
                </a:extLst>
              </p:cNvPr>
              <p:cNvGrpSpPr/>
              <p:nvPr/>
            </p:nvGrpSpPr>
            <p:grpSpPr>
              <a:xfrm>
                <a:off x="5440021" y="4662965"/>
                <a:ext cx="1452620" cy="1295039"/>
                <a:chOff x="5440021" y="4662965"/>
                <a:chExt cx="1452620" cy="1295039"/>
              </a:xfrm>
              <a:grpFill/>
            </p:grpSpPr>
            <p:sp>
              <p:nvSpPr>
                <p:cNvPr id="464" name="09">
                  <a:extLst>
                    <a:ext uri="{FF2B5EF4-FFF2-40B4-BE49-F238E27FC236}">
                      <a16:creationId xmlns:a16="http://schemas.microsoft.com/office/drawing/2014/main" id="{5DE712D6-C13A-45CD-A48B-B2064C4D6A79}"/>
                    </a:ext>
                  </a:extLst>
                </p:cNvPr>
                <p:cNvSpPr>
                  <a:spLocks/>
                </p:cNvSpPr>
                <p:nvPr/>
              </p:nvSpPr>
              <p:spPr bwMode="gray">
                <a:xfrm>
                  <a:off x="5884116" y="5568346"/>
                  <a:ext cx="514292" cy="389658"/>
                </a:xfrm>
                <a:custGeom>
                  <a:avLst/>
                  <a:gdLst>
                    <a:gd name="T0" fmla="*/ 0 w 359"/>
                    <a:gd name="T1" fmla="*/ 140 h 272"/>
                    <a:gd name="T2" fmla="*/ 40 w 359"/>
                    <a:gd name="T3" fmla="*/ 119 h 272"/>
                    <a:gd name="T4" fmla="*/ 45 w 359"/>
                    <a:gd name="T5" fmla="*/ 72 h 272"/>
                    <a:gd name="T6" fmla="*/ 64 w 359"/>
                    <a:gd name="T7" fmla="*/ 57 h 272"/>
                    <a:gd name="T8" fmla="*/ 119 w 359"/>
                    <a:gd name="T9" fmla="*/ 76 h 272"/>
                    <a:gd name="T10" fmla="*/ 130 w 359"/>
                    <a:gd name="T11" fmla="*/ 65 h 272"/>
                    <a:gd name="T12" fmla="*/ 111 w 359"/>
                    <a:gd name="T13" fmla="*/ 42 h 272"/>
                    <a:gd name="T14" fmla="*/ 151 w 359"/>
                    <a:gd name="T15" fmla="*/ 29 h 272"/>
                    <a:gd name="T16" fmla="*/ 128 w 359"/>
                    <a:gd name="T17" fmla="*/ 12 h 272"/>
                    <a:gd name="T18" fmla="*/ 136 w 359"/>
                    <a:gd name="T19" fmla="*/ 0 h 272"/>
                    <a:gd name="T20" fmla="*/ 174 w 359"/>
                    <a:gd name="T21" fmla="*/ 36 h 272"/>
                    <a:gd name="T22" fmla="*/ 183 w 359"/>
                    <a:gd name="T23" fmla="*/ 6 h 272"/>
                    <a:gd name="T24" fmla="*/ 221 w 359"/>
                    <a:gd name="T25" fmla="*/ 27 h 272"/>
                    <a:gd name="T26" fmla="*/ 234 w 359"/>
                    <a:gd name="T27" fmla="*/ 14 h 272"/>
                    <a:gd name="T28" fmla="*/ 240 w 359"/>
                    <a:gd name="T29" fmla="*/ 44 h 272"/>
                    <a:gd name="T30" fmla="*/ 302 w 359"/>
                    <a:gd name="T31" fmla="*/ 70 h 272"/>
                    <a:gd name="T32" fmla="*/ 313 w 359"/>
                    <a:gd name="T33" fmla="*/ 104 h 272"/>
                    <a:gd name="T34" fmla="*/ 317 w 359"/>
                    <a:gd name="T35" fmla="*/ 131 h 272"/>
                    <a:gd name="T36" fmla="*/ 298 w 359"/>
                    <a:gd name="T37" fmla="*/ 138 h 272"/>
                    <a:gd name="T38" fmla="*/ 313 w 359"/>
                    <a:gd name="T39" fmla="*/ 161 h 272"/>
                    <a:gd name="T40" fmla="*/ 276 w 359"/>
                    <a:gd name="T41" fmla="*/ 180 h 272"/>
                    <a:gd name="T42" fmla="*/ 302 w 359"/>
                    <a:gd name="T43" fmla="*/ 212 h 272"/>
                    <a:gd name="T44" fmla="*/ 336 w 359"/>
                    <a:gd name="T45" fmla="*/ 206 h 272"/>
                    <a:gd name="T46" fmla="*/ 359 w 359"/>
                    <a:gd name="T47" fmla="*/ 240 h 272"/>
                    <a:gd name="T48" fmla="*/ 315 w 359"/>
                    <a:gd name="T49" fmla="*/ 240 h 272"/>
                    <a:gd name="T50" fmla="*/ 255 w 359"/>
                    <a:gd name="T51" fmla="*/ 272 h 272"/>
                    <a:gd name="T52" fmla="*/ 196 w 359"/>
                    <a:gd name="T53" fmla="*/ 240 h 272"/>
                    <a:gd name="T54" fmla="*/ 162 w 359"/>
                    <a:gd name="T55" fmla="*/ 257 h 272"/>
                    <a:gd name="T56" fmla="*/ 140 w 359"/>
                    <a:gd name="T57" fmla="*/ 214 h 272"/>
                    <a:gd name="T58" fmla="*/ 91 w 359"/>
                    <a:gd name="T59" fmla="*/ 216 h 272"/>
                    <a:gd name="T60" fmla="*/ 66 w 359"/>
                    <a:gd name="T61" fmla="*/ 187 h 272"/>
                    <a:gd name="T62" fmla="*/ 6 w 359"/>
                    <a:gd name="T63" fmla="*/ 170 h 272"/>
                    <a:gd name="T64" fmla="*/ 0 w 359"/>
                    <a:gd name="T65" fmla="*/ 142 h 272"/>
                    <a:gd name="T66" fmla="*/ 0 w 359"/>
                    <a:gd name="T67" fmla="*/ 14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9" h="272">
                      <a:moveTo>
                        <a:pt x="0" y="140"/>
                      </a:moveTo>
                      <a:lnTo>
                        <a:pt x="40" y="119"/>
                      </a:lnTo>
                      <a:lnTo>
                        <a:pt x="45" y="72"/>
                      </a:lnTo>
                      <a:lnTo>
                        <a:pt x="64" y="57"/>
                      </a:lnTo>
                      <a:lnTo>
                        <a:pt x="119" y="76"/>
                      </a:lnTo>
                      <a:lnTo>
                        <a:pt x="130" y="65"/>
                      </a:lnTo>
                      <a:lnTo>
                        <a:pt x="111" y="42"/>
                      </a:lnTo>
                      <a:lnTo>
                        <a:pt x="151" y="29"/>
                      </a:lnTo>
                      <a:lnTo>
                        <a:pt x="128" y="12"/>
                      </a:lnTo>
                      <a:lnTo>
                        <a:pt x="136" y="0"/>
                      </a:lnTo>
                      <a:lnTo>
                        <a:pt x="174" y="36"/>
                      </a:lnTo>
                      <a:lnTo>
                        <a:pt x="183" y="6"/>
                      </a:lnTo>
                      <a:lnTo>
                        <a:pt x="221" y="27"/>
                      </a:lnTo>
                      <a:lnTo>
                        <a:pt x="234" y="14"/>
                      </a:lnTo>
                      <a:lnTo>
                        <a:pt x="240" y="44"/>
                      </a:lnTo>
                      <a:lnTo>
                        <a:pt x="302" y="70"/>
                      </a:lnTo>
                      <a:lnTo>
                        <a:pt x="313" y="104"/>
                      </a:lnTo>
                      <a:lnTo>
                        <a:pt x="317" y="131"/>
                      </a:lnTo>
                      <a:lnTo>
                        <a:pt x="298" y="138"/>
                      </a:lnTo>
                      <a:lnTo>
                        <a:pt x="313" y="161"/>
                      </a:lnTo>
                      <a:lnTo>
                        <a:pt x="276" y="180"/>
                      </a:lnTo>
                      <a:lnTo>
                        <a:pt x="302" y="212"/>
                      </a:lnTo>
                      <a:lnTo>
                        <a:pt x="336" y="206"/>
                      </a:lnTo>
                      <a:lnTo>
                        <a:pt x="359" y="240"/>
                      </a:lnTo>
                      <a:lnTo>
                        <a:pt x="315" y="240"/>
                      </a:lnTo>
                      <a:lnTo>
                        <a:pt x="255" y="272"/>
                      </a:lnTo>
                      <a:lnTo>
                        <a:pt x="196" y="240"/>
                      </a:lnTo>
                      <a:lnTo>
                        <a:pt x="162" y="257"/>
                      </a:lnTo>
                      <a:lnTo>
                        <a:pt x="140" y="214"/>
                      </a:lnTo>
                      <a:lnTo>
                        <a:pt x="91" y="216"/>
                      </a:lnTo>
                      <a:lnTo>
                        <a:pt x="66" y="187"/>
                      </a:lnTo>
                      <a:lnTo>
                        <a:pt x="6" y="170"/>
                      </a:lnTo>
                      <a:lnTo>
                        <a:pt x="0" y="142"/>
                      </a:lnTo>
                      <a:lnTo>
                        <a:pt x="0" y="140"/>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65" name="12">
                  <a:extLst>
                    <a:ext uri="{FF2B5EF4-FFF2-40B4-BE49-F238E27FC236}">
                      <a16:creationId xmlns:a16="http://schemas.microsoft.com/office/drawing/2014/main" id="{FAA9C2CA-29DE-4A7D-946A-A1F8747827ED}"/>
                    </a:ext>
                  </a:extLst>
                </p:cNvPr>
                <p:cNvSpPr>
                  <a:spLocks/>
                </p:cNvSpPr>
                <p:nvPr/>
              </p:nvSpPr>
              <p:spPr bwMode="gray">
                <a:xfrm>
                  <a:off x="6292396" y="4721700"/>
                  <a:ext cx="600245" cy="650384"/>
                </a:xfrm>
                <a:custGeom>
                  <a:avLst/>
                  <a:gdLst>
                    <a:gd name="T0" fmla="*/ 0 w 419"/>
                    <a:gd name="T1" fmla="*/ 170 h 454"/>
                    <a:gd name="T2" fmla="*/ 6 w 419"/>
                    <a:gd name="T3" fmla="*/ 216 h 454"/>
                    <a:gd name="T4" fmla="*/ 4 w 419"/>
                    <a:gd name="T5" fmla="*/ 233 h 454"/>
                    <a:gd name="T6" fmla="*/ 30 w 419"/>
                    <a:gd name="T7" fmla="*/ 238 h 454"/>
                    <a:gd name="T8" fmla="*/ 8 w 419"/>
                    <a:gd name="T9" fmla="*/ 263 h 454"/>
                    <a:gd name="T10" fmla="*/ 36 w 419"/>
                    <a:gd name="T11" fmla="*/ 284 h 454"/>
                    <a:gd name="T12" fmla="*/ 76 w 419"/>
                    <a:gd name="T13" fmla="*/ 267 h 454"/>
                    <a:gd name="T14" fmla="*/ 98 w 419"/>
                    <a:gd name="T15" fmla="*/ 282 h 454"/>
                    <a:gd name="T16" fmla="*/ 87 w 419"/>
                    <a:gd name="T17" fmla="*/ 291 h 454"/>
                    <a:gd name="T18" fmla="*/ 125 w 419"/>
                    <a:gd name="T19" fmla="*/ 295 h 454"/>
                    <a:gd name="T20" fmla="*/ 168 w 419"/>
                    <a:gd name="T21" fmla="*/ 338 h 454"/>
                    <a:gd name="T22" fmla="*/ 202 w 419"/>
                    <a:gd name="T23" fmla="*/ 423 h 454"/>
                    <a:gd name="T24" fmla="*/ 232 w 419"/>
                    <a:gd name="T25" fmla="*/ 442 h 454"/>
                    <a:gd name="T26" fmla="*/ 274 w 419"/>
                    <a:gd name="T27" fmla="*/ 437 h 454"/>
                    <a:gd name="T28" fmla="*/ 283 w 419"/>
                    <a:gd name="T29" fmla="*/ 454 h 454"/>
                    <a:gd name="T30" fmla="*/ 315 w 419"/>
                    <a:gd name="T31" fmla="*/ 454 h 454"/>
                    <a:gd name="T32" fmla="*/ 317 w 419"/>
                    <a:gd name="T33" fmla="*/ 403 h 454"/>
                    <a:gd name="T34" fmla="*/ 359 w 419"/>
                    <a:gd name="T35" fmla="*/ 410 h 454"/>
                    <a:gd name="T36" fmla="*/ 370 w 419"/>
                    <a:gd name="T37" fmla="*/ 382 h 454"/>
                    <a:gd name="T38" fmla="*/ 395 w 419"/>
                    <a:gd name="T39" fmla="*/ 376 h 454"/>
                    <a:gd name="T40" fmla="*/ 419 w 419"/>
                    <a:gd name="T41" fmla="*/ 338 h 454"/>
                    <a:gd name="T42" fmla="*/ 370 w 419"/>
                    <a:gd name="T43" fmla="*/ 310 h 454"/>
                    <a:gd name="T44" fmla="*/ 372 w 419"/>
                    <a:gd name="T45" fmla="*/ 308 h 454"/>
                    <a:gd name="T46" fmla="*/ 397 w 419"/>
                    <a:gd name="T47" fmla="*/ 282 h 454"/>
                    <a:gd name="T48" fmla="*/ 353 w 419"/>
                    <a:gd name="T49" fmla="*/ 274 h 454"/>
                    <a:gd name="T50" fmla="*/ 359 w 419"/>
                    <a:gd name="T51" fmla="*/ 259 h 454"/>
                    <a:gd name="T52" fmla="*/ 332 w 419"/>
                    <a:gd name="T53" fmla="*/ 248 h 454"/>
                    <a:gd name="T54" fmla="*/ 338 w 419"/>
                    <a:gd name="T55" fmla="*/ 182 h 454"/>
                    <a:gd name="T56" fmla="*/ 295 w 419"/>
                    <a:gd name="T57" fmla="*/ 108 h 454"/>
                    <a:gd name="T58" fmla="*/ 285 w 419"/>
                    <a:gd name="T59" fmla="*/ 57 h 454"/>
                    <a:gd name="T60" fmla="*/ 266 w 419"/>
                    <a:gd name="T61" fmla="*/ 23 h 454"/>
                    <a:gd name="T62" fmla="*/ 242 w 419"/>
                    <a:gd name="T63" fmla="*/ 27 h 454"/>
                    <a:gd name="T64" fmla="*/ 234 w 419"/>
                    <a:gd name="T65" fmla="*/ 0 h 454"/>
                    <a:gd name="T66" fmla="*/ 200 w 419"/>
                    <a:gd name="T67" fmla="*/ 31 h 454"/>
                    <a:gd name="T68" fmla="*/ 166 w 419"/>
                    <a:gd name="T69" fmla="*/ 104 h 454"/>
                    <a:gd name="T70" fmla="*/ 125 w 419"/>
                    <a:gd name="T71" fmla="*/ 97 h 454"/>
                    <a:gd name="T72" fmla="*/ 96 w 419"/>
                    <a:gd name="T73" fmla="*/ 114 h 454"/>
                    <a:gd name="T74" fmla="*/ 0 w 419"/>
                    <a:gd name="T75" fmla="*/ 163 h 454"/>
                    <a:gd name="T76" fmla="*/ 0 w 419"/>
                    <a:gd name="T77" fmla="*/ 17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9" h="454">
                      <a:moveTo>
                        <a:pt x="0" y="170"/>
                      </a:moveTo>
                      <a:lnTo>
                        <a:pt x="6" y="216"/>
                      </a:lnTo>
                      <a:lnTo>
                        <a:pt x="4" y="233"/>
                      </a:lnTo>
                      <a:lnTo>
                        <a:pt x="30" y="238"/>
                      </a:lnTo>
                      <a:lnTo>
                        <a:pt x="8" y="263"/>
                      </a:lnTo>
                      <a:lnTo>
                        <a:pt x="36" y="284"/>
                      </a:lnTo>
                      <a:lnTo>
                        <a:pt x="76" y="267"/>
                      </a:lnTo>
                      <a:lnTo>
                        <a:pt x="98" y="282"/>
                      </a:lnTo>
                      <a:lnTo>
                        <a:pt x="87" y="291"/>
                      </a:lnTo>
                      <a:lnTo>
                        <a:pt x="125" y="295"/>
                      </a:lnTo>
                      <a:lnTo>
                        <a:pt x="168" y="338"/>
                      </a:lnTo>
                      <a:lnTo>
                        <a:pt x="202" y="423"/>
                      </a:lnTo>
                      <a:lnTo>
                        <a:pt x="232" y="442"/>
                      </a:lnTo>
                      <a:lnTo>
                        <a:pt x="274" y="437"/>
                      </a:lnTo>
                      <a:lnTo>
                        <a:pt x="283" y="454"/>
                      </a:lnTo>
                      <a:lnTo>
                        <a:pt x="315" y="454"/>
                      </a:lnTo>
                      <a:lnTo>
                        <a:pt x="317" y="403"/>
                      </a:lnTo>
                      <a:lnTo>
                        <a:pt x="359" y="410"/>
                      </a:lnTo>
                      <a:lnTo>
                        <a:pt x="370" y="382"/>
                      </a:lnTo>
                      <a:lnTo>
                        <a:pt x="395" y="376"/>
                      </a:lnTo>
                      <a:lnTo>
                        <a:pt x="419" y="338"/>
                      </a:lnTo>
                      <a:lnTo>
                        <a:pt x="370" y="310"/>
                      </a:lnTo>
                      <a:lnTo>
                        <a:pt x="372" y="308"/>
                      </a:lnTo>
                      <a:lnTo>
                        <a:pt x="397" y="282"/>
                      </a:lnTo>
                      <a:lnTo>
                        <a:pt x="353" y="274"/>
                      </a:lnTo>
                      <a:lnTo>
                        <a:pt x="359" y="259"/>
                      </a:lnTo>
                      <a:lnTo>
                        <a:pt x="332" y="248"/>
                      </a:lnTo>
                      <a:lnTo>
                        <a:pt x="338" y="182"/>
                      </a:lnTo>
                      <a:lnTo>
                        <a:pt x="295" y="108"/>
                      </a:lnTo>
                      <a:lnTo>
                        <a:pt x="285" y="57"/>
                      </a:lnTo>
                      <a:lnTo>
                        <a:pt x="266" y="23"/>
                      </a:lnTo>
                      <a:lnTo>
                        <a:pt x="242" y="27"/>
                      </a:lnTo>
                      <a:lnTo>
                        <a:pt x="234" y="0"/>
                      </a:lnTo>
                      <a:lnTo>
                        <a:pt x="200" y="31"/>
                      </a:lnTo>
                      <a:lnTo>
                        <a:pt x="166" y="104"/>
                      </a:lnTo>
                      <a:lnTo>
                        <a:pt x="125" y="97"/>
                      </a:lnTo>
                      <a:lnTo>
                        <a:pt x="96" y="114"/>
                      </a:lnTo>
                      <a:lnTo>
                        <a:pt x="0" y="163"/>
                      </a:lnTo>
                      <a:lnTo>
                        <a:pt x="0" y="170"/>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66" name="32">
                  <a:extLst>
                    <a:ext uri="{FF2B5EF4-FFF2-40B4-BE49-F238E27FC236}">
                      <a16:creationId xmlns:a16="http://schemas.microsoft.com/office/drawing/2014/main" id="{B83FC5F0-E10E-4B54-9AAC-DCF693EAD150}"/>
                    </a:ext>
                  </a:extLst>
                </p:cNvPr>
                <p:cNvSpPr>
                  <a:spLocks/>
                </p:cNvSpPr>
                <p:nvPr/>
              </p:nvSpPr>
              <p:spPr bwMode="gray">
                <a:xfrm>
                  <a:off x="5475834" y="5152902"/>
                  <a:ext cx="560134" cy="402551"/>
                </a:xfrm>
                <a:custGeom>
                  <a:avLst/>
                  <a:gdLst>
                    <a:gd name="T0" fmla="*/ 0 w 391"/>
                    <a:gd name="T1" fmla="*/ 151 h 281"/>
                    <a:gd name="T2" fmla="*/ 26 w 391"/>
                    <a:gd name="T3" fmla="*/ 115 h 281"/>
                    <a:gd name="T4" fmla="*/ 28 w 391"/>
                    <a:gd name="T5" fmla="*/ 62 h 281"/>
                    <a:gd name="T6" fmla="*/ 15 w 391"/>
                    <a:gd name="T7" fmla="*/ 56 h 281"/>
                    <a:gd name="T8" fmla="*/ 70 w 391"/>
                    <a:gd name="T9" fmla="*/ 30 h 281"/>
                    <a:gd name="T10" fmla="*/ 98 w 391"/>
                    <a:gd name="T11" fmla="*/ 58 h 281"/>
                    <a:gd name="T12" fmla="*/ 100 w 391"/>
                    <a:gd name="T13" fmla="*/ 28 h 281"/>
                    <a:gd name="T14" fmla="*/ 121 w 391"/>
                    <a:gd name="T15" fmla="*/ 34 h 281"/>
                    <a:gd name="T16" fmla="*/ 136 w 391"/>
                    <a:gd name="T17" fmla="*/ 17 h 281"/>
                    <a:gd name="T18" fmla="*/ 160 w 391"/>
                    <a:gd name="T19" fmla="*/ 28 h 281"/>
                    <a:gd name="T20" fmla="*/ 234 w 391"/>
                    <a:gd name="T21" fmla="*/ 0 h 281"/>
                    <a:gd name="T22" fmla="*/ 253 w 391"/>
                    <a:gd name="T23" fmla="*/ 20 h 281"/>
                    <a:gd name="T24" fmla="*/ 277 w 391"/>
                    <a:gd name="T25" fmla="*/ 7 h 281"/>
                    <a:gd name="T26" fmla="*/ 306 w 391"/>
                    <a:gd name="T27" fmla="*/ 15 h 281"/>
                    <a:gd name="T28" fmla="*/ 279 w 391"/>
                    <a:gd name="T29" fmla="*/ 51 h 281"/>
                    <a:gd name="T30" fmla="*/ 313 w 391"/>
                    <a:gd name="T31" fmla="*/ 64 h 281"/>
                    <a:gd name="T32" fmla="*/ 315 w 391"/>
                    <a:gd name="T33" fmla="*/ 109 h 281"/>
                    <a:gd name="T34" fmla="*/ 328 w 391"/>
                    <a:gd name="T35" fmla="*/ 109 h 281"/>
                    <a:gd name="T36" fmla="*/ 391 w 391"/>
                    <a:gd name="T37" fmla="*/ 192 h 281"/>
                    <a:gd name="T38" fmla="*/ 353 w 391"/>
                    <a:gd name="T39" fmla="*/ 200 h 281"/>
                    <a:gd name="T40" fmla="*/ 336 w 391"/>
                    <a:gd name="T41" fmla="*/ 264 h 281"/>
                    <a:gd name="T42" fmla="*/ 272 w 391"/>
                    <a:gd name="T43" fmla="*/ 245 h 281"/>
                    <a:gd name="T44" fmla="*/ 232 w 391"/>
                    <a:gd name="T45" fmla="*/ 281 h 281"/>
                    <a:gd name="T46" fmla="*/ 158 w 391"/>
                    <a:gd name="T47" fmla="*/ 266 h 281"/>
                    <a:gd name="T48" fmla="*/ 149 w 391"/>
                    <a:gd name="T49" fmla="*/ 249 h 281"/>
                    <a:gd name="T50" fmla="*/ 119 w 391"/>
                    <a:gd name="T51" fmla="*/ 256 h 281"/>
                    <a:gd name="T52" fmla="*/ 102 w 391"/>
                    <a:gd name="T53" fmla="*/ 200 h 281"/>
                    <a:gd name="T54" fmla="*/ 68 w 391"/>
                    <a:gd name="T55" fmla="*/ 166 h 281"/>
                    <a:gd name="T56" fmla="*/ 47 w 391"/>
                    <a:gd name="T57" fmla="*/ 175 h 281"/>
                    <a:gd name="T58" fmla="*/ 11 w 391"/>
                    <a:gd name="T59" fmla="*/ 170 h 281"/>
                    <a:gd name="T60" fmla="*/ 0 w 391"/>
                    <a:gd name="T61" fmla="*/ 158 h 281"/>
                    <a:gd name="T62" fmla="*/ 0 w 391"/>
                    <a:gd name="T63" fmla="*/ 15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1" h="281">
                      <a:moveTo>
                        <a:pt x="0" y="151"/>
                      </a:moveTo>
                      <a:lnTo>
                        <a:pt x="26" y="115"/>
                      </a:lnTo>
                      <a:lnTo>
                        <a:pt x="28" y="62"/>
                      </a:lnTo>
                      <a:lnTo>
                        <a:pt x="15" y="56"/>
                      </a:lnTo>
                      <a:lnTo>
                        <a:pt x="70" y="30"/>
                      </a:lnTo>
                      <a:lnTo>
                        <a:pt x="98" y="58"/>
                      </a:lnTo>
                      <a:lnTo>
                        <a:pt x="100" y="28"/>
                      </a:lnTo>
                      <a:lnTo>
                        <a:pt x="121" y="34"/>
                      </a:lnTo>
                      <a:lnTo>
                        <a:pt x="136" y="17"/>
                      </a:lnTo>
                      <a:lnTo>
                        <a:pt x="160" y="28"/>
                      </a:lnTo>
                      <a:lnTo>
                        <a:pt x="234" y="0"/>
                      </a:lnTo>
                      <a:lnTo>
                        <a:pt x="253" y="20"/>
                      </a:lnTo>
                      <a:lnTo>
                        <a:pt x="277" y="7"/>
                      </a:lnTo>
                      <a:lnTo>
                        <a:pt x="306" y="15"/>
                      </a:lnTo>
                      <a:lnTo>
                        <a:pt x="279" y="51"/>
                      </a:lnTo>
                      <a:lnTo>
                        <a:pt x="313" y="64"/>
                      </a:lnTo>
                      <a:lnTo>
                        <a:pt x="315" y="109"/>
                      </a:lnTo>
                      <a:lnTo>
                        <a:pt x="328" y="109"/>
                      </a:lnTo>
                      <a:lnTo>
                        <a:pt x="391" y="192"/>
                      </a:lnTo>
                      <a:lnTo>
                        <a:pt x="353" y="200"/>
                      </a:lnTo>
                      <a:lnTo>
                        <a:pt x="336" y="264"/>
                      </a:lnTo>
                      <a:lnTo>
                        <a:pt x="272" y="245"/>
                      </a:lnTo>
                      <a:lnTo>
                        <a:pt x="232" y="281"/>
                      </a:lnTo>
                      <a:lnTo>
                        <a:pt x="158" y="266"/>
                      </a:lnTo>
                      <a:lnTo>
                        <a:pt x="149" y="249"/>
                      </a:lnTo>
                      <a:lnTo>
                        <a:pt x="119" y="256"/>
                      </a:lnTo>
                      <a:lnTo>
                        <a:pt x="102" y="200"/>
                      </a:lnTo>
                      <a:lnTo>
                        <a:pt x="68" y="166"/>
                      </a:lnTo>
                      <a:lnTo>
                        <a:pt x="47" y="175"/>
                      </a:lnTo>
                      <a:lnTo>
                        <a:pt x="11" y="170"/>
                      </a:lnTo>
                      <a:lnTo>
                        <a:pt x="0" y="158"/>
                      </a:lnTo>
                      <a:lnTo>
                        <a:pt x="0" y="151"/>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67" name="65">
                  <a:extLst>
                    <a:ext uri="{FF2B5EF4-FFF2-40B4-BE49-F238E27FC236}">
                      <a16:creationId xmlns:a16="http://schemas.microsoft.com/office/drawing/2014/main" id="{7CC39849-BDCF-4869-9DE3-1B322E7E5C48}"/>
                    </a:ext>
                  </a:extLst>
                </p:cNvPr>
                <p:cNvSpPr>
                  <a:spLocks/>
                </p:cNvSpPr>
                <p:nvPr/>
              </p:nvSpPr>
              <p:spPr bwMode="gray">
                <a:xfrm>
                  <a:off x="5440021" y="5390708"/>
                  <a:ext cx="376765" cy="494236"/>
                </a:xfrm>
                <a:custGeom>
                  <a:avLst/>
                  <a:gdLst>
                    <a:gd name="T0" fmla="*/ 2 w 263"/>
                    <a:gd name="T1" fmla="*/ 274 h 345"/>
                    <a:gd name="T2" fmla="*/ 42 w 263"/>
                    <a:gd name="T3" fmla="*/ 296 h 345"/>
                    <a:gd name="T4" fmla="*/ 68 w 263"/>
                    <a:gd name="T5" fmla="*/ 334 h 345"/>
                    <a:gd name="T6" fmla="*/ 134 w 263"/>
                    <a:gd name="T7" fmla="*/ 321 h 345"/>
                    <a:gd name="T8" fmla="*/ 163 w 263"/>
                    <a:gd name="T9" fmla="*/ 345 h 345"/>
                    <a:gd name="T10" fmla="*/ 183 w 263"/>
                    <a:gd name="T11" fmla="*/ 328 h 345"/>
                    <a:gd name="T12" fmla="*/ 214 w 263"/>
                    <a:gd name="T13" fmla="*/ 338 h 345"/>
                    <a:gd name="T14" fmla="*/ 206 w 263"/>
                    <a:gd name="T15" fmla="*/ 326 h 345"/>
                    <a:gd name="T16" fmla="*/ 208 w 263"/>
                    <a:gd name="T17" fmla="*/ 319 h 345"/>
                    <a:gd name="T18" fmla="*/ 217 w 263"/>
                    <a:gd name="T19" fmla="*/ 272 h 345"/>
                    <a:gd name="T20" fmla="*/ 238 w 263"/>
                    <a:gd name="T21" fmla="*/ 279 h 345"/>
                    <a:gd name="T22" fmla="*/ 263 w 263"/>
                    <a:gd name="T23" fmla="*/ 243 h 345"/>
                    <a:gd name="T24" fmla="*/ 253 w 263"/>
                    <a:gd name="T25" fmla="*/ 217 h 345"/>
                    <a:gd name="T26" fmla="*/ 229 w 263"/>
                    <a:gd name="T27" fmla="*/ 226 h 345"/>
                    <a:gd name="T28" fmla="*/ 240 w 263"/>
                    <a:gd name="T29" fmla="*/ 200 h 345"/>
                    <a:gd name="T30" fmla="*/ 210 w 263"/>
                    <a:gd name="T31" fmla="*/ 179 h 345"/>
                    <a:gd name="T32" fmla="*/ 257 w 263"/>
                    <a:gd name="T33" fmla="*/ 115 h 345"/>
                    <a:gd name="T34" fmla="*/ 183 w 263"/>
                    <a:gd name="T35" fmla="*/ 100 h 345"/>
                    <a:gd name="T36" fmla="*/ 174 w 263"/>
                    <a:gd name="T37" fmla="*/ 83 h 345"/>
                    <a:gd name="T38" fmla="*/ 144 w 263"/>
                    <a:gd name="T39" fmla="*/ 90 h 345"/>
                    <a:gd name="T40" fmla="*/ 127 w 263"/>
                    <a:gd name="T41" fmla="*/ 34 h 345"/>
                    <a:gd name="T42" fmla="*/ 93 w 263"/>
                    <a:gd name="T43" fmla="*/ 0 h 345"/>
                    <a:gd name="T44" fmla="*/ 72 w 263"/>
                    <a:gd name="T45" fmla="*/ 9 h 345"/>
                    <a:gd name="T46" fmla="*/ 91 w 263"/>
                    <a:gd name="T47" fmla="*/ 49 h 345"/>
                    <a:gd name="T48" fmla="*/ 78 w 263"/>
                    <a:gd name="T49" fmla="*/ 70 h 345"/>
                    <a:gd name="T50" fmla="*/ 95 w 263"/>
                    <a:gd name="T51" fmla="*/ 60 h 345"/>
                    <a:gd name="T52" fmla="*/ 102 w 263"/>
                    <a:gd name="T53" fmla="*/ 98 h 345"/>
                    <a:gd name="T54" fmla="*/ 0 w 263"/>
                    <a:gd name="T55" fmla="*/ 249 h 345"/>
                    <a:gd name="T56" fmla="*/ 2 w 263"/>
                    <a:gd name="T57" fmla="*/ 274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3" h="345">
                      <a:moveTo>
                        <a:pt x="2" y="274"/>
                      </a:moveTo>
                      <a:lnTo>
                        <a:pt x="42" y="296"/>
                      </a:lnTo>
                      <a:lnTo>
                        <a:pt x="68" y="334"/>
                      </a:lnTo>
                      <a:lnTo>
                        <a:pt x="134" y="321"/>
                      </a:lnTo>
                      <a:lnTo>
                        <a:pt x="163" y="345"/>
                      </a:lnTo>
                      <a:lnTo>
                        <a:pt x="183" y="328"/>
                      </a:lnTo>
                      <a:lnTo>
                        <a:pt x="214" y="338"/>
                      </a:lnTo>
                      <a:lnTo>
                        <a:pt x="206" y="326"/>
                      </a:lnTo>
                      <a:lnTo>
                        <a:pt x="208" y="319"/>
                      </a:lnTo>
                      <a:lnTo>
                        <a:pt x="217" y="272"/>
                      </a:lnTo>
                      <a:lnTo>
                        <a:pt x="238" y="279"/>
                      </a:lnTo>
                      <a:lnTo>
                        <a:pt x="263" y="243"/>
                      </a:lnTo>
                      <a:lnTo>
                        <a:pt x="253" y="217"/>
                      </a:lnTo>
                      <a:lnTo>
                        <a:pt x="229" y="226"/>
                      </a:lnTo>
                      <a:lnTo>
                        <a:pt x="240" y="200"/>
                      </a:lnTo>
                      <a:lnTo>
                        <a:pt x="210" y="179"/>
                      </a:lnTo>
                      <a:lnTo>
                        <a:pt x="257" y="115"/>
                      </a:lnTo>
                      <a:lnTo>
                        <a:pt x="183" y="100"/>
                      </a:lnTo>
                      <a:lnTo>
                        <a:pt x="174" y="83"/>
                      </a:lnTo>
                      <a:lnTo>
                        <a:pt x="144" y="90"/>
                      </a:lnTo>
                      <a:lnTo>
                        <a:pt x="127" y="34"/>
                      </a:lnTo>
                      <a:lnTo>
                        <a:pt x="93" y="0"/>
                      </a:lnTo>
                      <a:lnTo>
                        <a:pt x="72" y="9"/>
                      </a:lnTo>
                      <a:lnTo>
                        <a:pt x="91" y="49"/>
                      </a:lnTo>
                      <a:lnTo>
                        <a:pt x="78" y="70"/>
                      </a:lnTo>
                      <a:lnTo>
                        <a:pt x="95" y="60"/>
                      </a:lnTo>
                      <a:lnTo>
                        <a:pt x="102" y="98"/>
                      </a:lnTo>
                      <a:lnTo>
                        <a:pt x="0" y="249"/>
                      </a:lnTo>
                      <a:lnTo>
                        <a:pt x="2" y="274"/>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68" name="81">
                  <a:extLst>
                    <a:ext uri="{FF2B5EF4-FFF2-40B4-BE49-F238E27FC236}">
                      <a16:creationId xmlns:a16="http://schemas.microsoft.com/office/drawing/2014/main" id="{FA40781D-AB95-455E-B07B-C25FA2CD9866}"/>
                    </a:ext>
                  </a:extLst>
                </p:cNvPr>
                <p:cNvSpPr>
                  <a:spLocks/>
                </p:cNvSpPr>
                <p:nvPr/>
              </p:nvSpPr>
              <p:spPr bwMode="gray">
                <a:xfrm>
                  <a:off x="6170629" y="5104195"/>
                  <a:ext cx="527184" cy="429769"/>
                </a:xfrm>
                <a:custGeom>
                  <a:avLst/>
                  <a:gdLst>
                    <a:gd name="T0" fmla="*/ 0 w 368"/>
                    <a:gd name="T1" fmla="*/ 90 h 300"/>
                    <a:gd name="T2" fmla="*/ 4 w 368"/>
                    <a:gd name="T3" fmla="*/ 102 h 300"/>
                    <a:gd name="T4" fmla="*/ 13 w 368"/>
                    <a:gd name="T5" fmla="*/ 139 h 300"/>
                    <a:gd name="T6" fmla="*/ 42 w 368"/>
                    <a:gd name="T7" fmla="*/ 175 h 300"/>
                    <a:gd name="T8" fmla="*/ 32 w 368"/>
                    <a:gd name="T9" fmla="*/ 183 h 300"/>
                    <a:gd name="T10" fmla="*/ 49 w 368"/>
                    <a:gd name="T11" fmla="*/ 194 h 300"/>
                    <a:gd name="T12" fmla="*/ 38 w 368"/>
                    <a:gd name="T13" fmla="*/ 209 h 300"/>
                    <a:gd name="T14" fmla="*/ 96 w 368"/>
                    <a:gd name="T15" fmla="*/ 256 h 300"/>
                    <a:gd name="T16" fmla="*/ 132 w 368"/>
                    <a:gd name="T17" fmla="*/ 256 h 300"/>
                    <a:gd name="T18" fmla="*/ 127 w 368"/>
                    <a:gd name="T19" fmla="*/ 281 h 300"/>
                    <a:gd name="T20" fmla="*/ 174 w 368"/>
                    <a:gd name="T21" fmla="*/ 300 h 300"/>
                    <a:gd name="T22" fmla="*/ 187 w 368"/>
                    <a:gd name="T23" fmla="*/ 273 h 300"/>
                    <a:gd name="T24" fmla="*/ 270 w 368"/>
                    <a:gd name="T25" fmla="*/ 287 h 300"/>
                    <a:gd name="T26" fmla="*/ 297 w 368"/>
                    <a:gd name="T27" fmla="*/ 270 h 300"/>
                    <a:gd name="T28" fmla="*/ 283 w 368"/>
                    <a:gd name="T29" fmla="*/ 234 h 300"/>
                    <a:gd name="T30" fmla="*/ 291 w 368"/>
                    <a:gd name="T31" fmla="*/ 202 h 300"/>
                    <a:gd name="T32" fmla="*/ 319 w 368"/>
                    <a:gd name="T33" fmla="*/ 217 h 300"/>
                    <a:gd name="T34" fmla="*/ 368 w 368"/>
                    <a:gd name="T35" fmla="*/ 187 h 300"/>
                    <a:gd name="T36" fmla="*/ 359 w 368"/>
                    <a:gd name="T37" fmla="*/ 170 h 300"/>
                    <a:gd name="T38" fmla="*/ 317 w 368"/>
                    <a:gd name="T39" fmla="*/ 175 h 300"/>
                    <a:gd name="T40" fmla="*/ 287 w 368"/>
                    <a:gd name="T41" fmla="*/ 156 h 300"/>
                    <a:gd name="T42" fmla="*/ 253 w 368"/>
                    <a:gd name="T43" fmla="*/ 71 h 300"/>
                    <a:gd name="T44" fmla="*/ 210 w 368"/>
                    <a:gd name="T45" fmla="*/ 28 h 300"/>
                    <a:gd name="T46" fmla="*/ 172 w 368"/>
                    <a:gd name="T47" fmla="*/ 24 h 300"/>
                    <a:gd name="T48" fmla="*/ 183 w 368"/>
                    <a:gd name="T49" fmla="*/ 15 h 300"/>
                    <a:gd name="T50" fmla="*/ 161 w 368"/>
                    <a:gd name="T51" fmla="*/ 0 h 300"/>
                    <a:gd name="T52" fmla="*/ 121 w 368"/>
                    <a:gd name="T53" fmla="*/ 17 h 300"/>
                    <a:gd name="T54" fmla="*/ 102 w 368"/>
                    <a:gd name="T55" fmla="*/ 13 h 300"/>
                    <a:gd name="T56" fmla="*/ 64 w 368"/>
                    <a:gd name="T57" fmla="*/ 37 h 300"/>
                    <a:gd name="T58" fmla="*/ 32 w 368"/>
                    <a:gd name="T59" fmla="*/ 30 h 300"/>
                    <a:gd name="T60" fmla="*/ 45 w 368"/>
                    <a:gd name="T61" fmla="*/ 56 h 300"/>
                    <a:gd name="T62" fmla="*/ 21 w 368"/>
                    <a:gd name="T63" fmla="*/ 85 h 300"/>
                    <a:gd name="T64" fmla="*/ 0 w 368"/>
                    <a:gd name="T65" fmla="*/ 88 h 300"/>
                    <a:gd name="T66" fmla="*/ 0 w 368"/>
                    <a:gd name="T67" fmla="*/ 9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8" h="300">
                      <a:moveTo>
                        <a:pt x="0" y="90"/>
                      </a:moveTo>
                      <a:lnTo>
                        <a:pt x="4" y="102"/>
                      </a:lnTo>
                      <a:lnTo>
                        <a:pt x="13" y="139"/>
                      </a:lnTo>
                      <a:lnTo>
                        <a:pt x="42" y="175"/>
                      </a:lnTo>
                      <a:lnTo>
                        <a:pt x="32" y="183"/>
                      </a:lnTo>
                      <a:lnTo>
                        <a:pt x="49" y="194"/>
                      </a:lnTo>
                      <a:lnTo>
                        <a:pt x="38" y="209"/>
                      </a:lnTo>
                      <a:lnTo>
                        <a:pt x="96" y="256"/>
                      </a:lnTo>
                      <a:lnTo>
                        <a:pt x="132" y="256"/>
                      </a:lnTo>
                      <a:lnTo>
                        <a:pt x="127" y="281"/>
                      </a:lnTo>
                      <a:lnTo>
                        <a:pt x="174" y="300"/>
                      </a:lnTo>
                      <a:lnTo>
                        <a:pt x="187" y="273"/>
                      </a:lnTo>
                      <a:lnTo>
                        <a:pt x="270" y="287"/>
                      </a:lnTo>
                      <a:lnTo>
                        <a:pt x="297" y="270"/>
                      </a:lnTo>
                      <a:lnTo>
                        <a:pt x="283" y="234"/>
                      </a:lnTo>
                      <a:lnTo>
                        <a:pt x="291" y="202"/>
                      </a:lnTo>
                      <a:lnTo>
                        <a:pt x="319" y="217"/>
                      </a:lnTo>
                      <a:lnTo>
                        <a:pt x="368" y="187"/>
                      </a:lnTo>
                      <a:lnTo>
                        <a:pt x="359" y="170"/>
                      </a:lnTo>
                      <a:lnTo>
                        <a:pt x="317" y="175"/>
                      </a:lnTo>
                      <a:lnTo>
                        <a:pt x="287" y="156"/>
                      </a:lnTo>
                      <a:lnTo>
                        <a:pt x="253" y="71"/>
                      </a:lnTo>
                      <a:lnTo>
                        <a:pt x="210" y="28"/>
                      </a:lnTo>
                      <a:lnTo>
                        <a:pt x="172" y="24"/>
                      </a:lnTo>
                      <a:lnTo>
                        <a:pt x="183" y="15"/>
                      </a:lnTo>
                      <a:lnTo>
                        <a:pt x="161" y="0"/>
                      </a:lnTo>
                      <a:lnTo>
                        <a:pt x="121" y="17"/>
                      </a:lnTo>
                      <a:lnTo>
                        <a:pt x="102" y="13"/>
                      </a:lnTo>
                      <a:lnTo>
                        <a:pt x="64" y="37"/>
                      </a:lnTo>
                      <a:lnTo>
                        <a:pt x="32" y="30"/>
                      </a:lnTo>
                      <a:lnTo>
                        <a:pt x="45" y="56"/>
                      </a:lnTo>
                      <a:lnTo>
                        <a:pt x="21" y="85"/>
                      </a:lnTo>
                      <a:lnTo>
                        <a:pt x="0" y="88"/>
                      </a:lnTo>
                      <a:lnTo>
                        <a:pt x="0" y="90"/>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69" name="82">
                  <a:extLst>
                    <a:ext uri="{FF2B5EF4-FFF2-40B4-BE49-F238E27FC236}">
                      <a16:creationId xmlns:a16="http://schemas.microsoft.com/office/drawing/2014/main" id="{591EF8F8-EEE8-46B0-BF24-7CFB3F10C2BB}"/>
                    </a:ext>
                  </a:extLst>
                </p:cNvPr>
                <p:cNvSpPr>
                  <a:spLocks/>
                </p:cNvSpPr>
                <p:nvPr/>
              </p:nvSpPr>
              <p:spPr bwMode="gray">
                <a:xfrm>
                  <a:off x="5872656" y="4998185"/>
                  <a:ext cx="471314" cy="322328"/>
                </a:xfrm>
                <a:custGeom>
                  <a:avLst/>
                  <a:gdLst>
                    <a:gd name="T0" fmla="*/ 0 w 329"/>
                    <a:gd name="T1" fmla="*/ 106 h 225"/>
                    <a:gd name="T2" fmla="*/ 12 w 329"/>
                    <a:gd name="T3" fmla="*/ 87 h 225"/>
                    <a:gd name="T4" fmla="*/ 36 w 329"/>
                    <a:gd name="T5" fmla="*/ 91 h 225"/>
                    <a:gd name="T6" fmla="*/ 29 w 329"/>
                    <a:gd name="T7" fmla="*/ 74 h 225"/>
                    <a:gd name="T8" fmla="*/ 55 w 329"/>
                    <a:gd name="T9" fmla="*/ 40 h 225"/>
                    <a:gd name="T10" fmla="*/ 36 w 329"/>
                    <a:gd name="T11" fmla="*/ 26 h 225"/>
                    <a:gd name="T12" fmla="*/ 42 w 329"/>
                    <a:gd name="T13" fmla="*/ 4 h 225"/>
                    <a:gd name="T14" fmla="*/ 87 w 329"/>
                    <a:gd name="T15" fmla="*/ 2 h 225"/>
                    <a:gd name="T16" fmla="*/ 104 w 329"/>
                    <a:gd name="T17" fmla="*/ 0 h 225"/>
                    <a:gd name="T18" fmla="*/ 91 w 329"/>
                    <a:gd name="T19" fmla="*/ 13 h 225"/>
                    <a:gd name="T20" fmla="*/ 125 w 329"/>
                    <a:gd name="T21" fmla="*/ 43 h 225"/>
                    <a:gd name="T22" fmla="*/ 146 w 329"/>
                    <a:gd name="T23" fmla="*/ 36 h 225"/>
                    <a:gd name="T24" fmla="*/ 144 w 329"/>
                    <a:gd name="T25" fmla="*/ 55 h 225"/>
                    <a:gd name="T26" fmla="*/ 161 w 329"/>
                    <a:gd name="T27" fmla="*/ 68 h 225"/>
                    <a:gd name="T28" fmla="*/ 193 w 329"/>
                    <a:gd name="T29" fmla="*/ 40 h 225"/>
                    <a:gd name="T30" fmla="*/ 212 w 329"/>
                    <a:gd name="T31" fmla="*/ 60 h 225"/>
                    <a:gd name="T32" fmla="*/ 221 w 329"/>
                    <a:gd name="T33" fmla="*/ 34 h 225"/>
                    <a:gd name="T34" fmla="*/ 236 w 329"/>
                    <a:gd name="T35" fmla="*/ 47 h 225"/>
                    <a:gd name="T36" fmla="*/ 299 w 329"/>
                    <a:gd name="T37" fmla="*/ 23 h 225"/>
                    <a:gd name="T38" fmla="*/ 297 w 329"/>
                    <a:gd name="T39" fmla="*/ 40 h 225"/>
                    <a:gd name="T40" fmla="*/ 323 w 329"/>
                    <a:gd name="T41" fmla="*/ 45 h 225"/>
                    <a:gd name="T42" fmla="*/ 301 w 329"/>
                    <a:gd name="T43" fmla="*/ 70 h 225"/>
                    <a:gd name="T44" fmla="*/ 329 w 329"/>
                    <a:gd name="T45" fmla="*/ 91 h 225"/>
                    <a:gd name="T46" fmla="*/ 310 w 329"/>
                    <a:gd name="T47" fmla="*/ 87 h 225"/>
                    <a:gd name="T48" fmla="*/ 272 w 329"/>
                    <a:gd name="T49" fmla="*/ 111 h 225"/>
                    <a:gd name="T50" fmla="*/ 240 w 329"/>
                    <a:gd name="T51" fmla="*/ 104 h 225"/>
                    <a:gd name="T52" fmla="*/ 253 w 329"/>
                    <a:gd name="T53" fmla="*/ 130 h 225"/>
                    <a:gd name="T54" fmla="*/ 229 w 329"/>
                    <a:gd name="T55" fmla="*/ 159 h 225"/>
                    <a:gd name="T56" fmla="*/ 208 w 329"/>
                    <a:gd name="T57" fmla="*/ 162 h 225"/>
                    <a:gd name="T58" fmla="*/ 208 w 329"/>
                    <a:gd name="T59" fmla="*/ 164 h 225"/>
                    <a:gd name="T60" fmla="*/ 212 w 329"/>
                    <a:gd name="T61" fmla="*/ 176 h 225"/>
                    <a:gd name="T62" fmla="*/ 161 w 329"/>
                    <a:gd name="T63" fmla="*/ 183 h 225"/>
                    <a:gd name="T64" fmla="*/ 144 w 329"/>
                    <a:gd name="T65" fmla="*/ 198 h 225"/>
                    <a:gd name="T66" fmla="*/ 159 w 329"/>
                    <a:gd name="T67" fmla="*/ 208 h 225"/>
                    <a:gd name="T68" fmla="*/ 121 w 329"/>
                    <a:gd name="T69" fmla="*/ 225 h 225"/>
                    <a:gd name="T70" fmla="*/ 104 w 329"/>
                    <a:gd name="T71" fmla="*/ 206 h 225"/>
                    <a:gd name="T72" fmla="*/ 51 w 329"/>
                    <a:gd name="T73" fmla="*/ 217 h 225"/>
                    <a:gd name="T74" fmla="*/ 38 w 329"/>
                    <a:gd name="T75" fmla="*/ 217 h 225"/>
                    <a:gd name="T76" fmla="*/ 36 w 329"/>
                    <a:gd name="T77" fmla="*/ 172 h 225"/>
                    <a:gd name="T78" fmla="*/ 2 w 329"/>
                    <a:gd name="T79" fmla="*/ 159 h 225"/>
                    <a:gd name="T80" fmla="*/ 29 w 329"/>
                    <a:gd name="T81" fmla="*/ 123 h 225"/>
                    <a:gd name="T82" fmla="*/ 0 w 329"/>
                    <a:gd name="T83" fmla="*/ 115 h 225"/>
                    <a:gd name="T84" fmla="*/ 0 w 329"/>
                    <a:gd name="T85" fmla="*/ 10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9" h="225">
                      <a:moveTo>
                        <a:pt x="0" y="106"/>
                      </a:moveTo>
                      <a:lnTo>
                        <a:pt x="12" y="87"/>
                      </a:lnTo>
                      <a:lnTo>
                        <a:pt x="36" y="91"/>
                      </a:lnTo>
                      <a:lnTo>
                        <a:pt x="29" y="74"/>
                      </a:lnTo>
                      <a:lnTo>
                        <a:pt x="55" y="40"/>
                      </a:lnTo>
                      <a:lnTo>
                        <a:pt x="36" y="26"/>
                      </a:lnTo>
                      <a:lnTo>
                        <a:pt x="42" y="4"/>
                      </a:lnTo>
                      <a:lnTo>
                        <a:pt x="87" y="2"/>
                      </a:lnTo>
                      <a:lnTo>
                        <a:pt x="104" y="0"/>
                      </a:lnTo>
                      <a:lnTo>
                        <a:pt x="91" y="13"/>
                      </a:lnTo>
                      <a:lnTo>
                        <a:pt x="125" y="43"/>
                      </a:lnTo>
                      <a:lnTo>
                        <a:pt x="146" y="36"/>
                      </a:lnTo>
                      <a:lnTo>
                        <a:pt x="144" y="55"/>
                      </a:lnTo>
                      <a:lnTo>
                        <a:pt x="161" y="68"/>
                      </a:lnTo>
                      <a:lnTo>
                        <a:pt x="193" y="40"/>
                      </a:lnTo>
                      <a:lnTo>
                        <a:pt x="212" y="60"/>
                      </a:lnTo>
                      <a:lnTo>
                        <a:pt x="221" y="34"/>
                      </a:lnTo>
                      <a:lnTo>
                        <a:pt x="236" y="47"/>
                      </a:lnTo>
                      <a:lnTo>
                        <a:pt x="299" y="23"/>
                      </a:lnTo>
                      <a:lnTo>
                        <a:pt x="297" y="40"/>
                      </a:lnTo>
                      <a:lnTo>
                        <a:pt x="323" y="45"/>
                      </a:lnTo>
                      <a:lnTo>
                        <a:pt x="301" y="70"/>
                      </a:lnTo>
                      <a:lnTo>
                        <a:pt x="329" y="91"/>
                      </a:lnTo>
                      <a:lnTo>
                        <a:pt x="310" y="87"/>
                      </a:lnTo>
                      <a:lnTo>
                        <a:pt x="272" y="111"/>
                      </a:lnTo>
                      <a:lnTo>
                        <a:pt x="240" y="104"/>
                      </a:lnTo>
                      <a:lnTo>
                        <a:pt x="253" y="130"/>
                      </a:lnTo>
                      <a:lnTo>
                        <a:pt x="229" y="159"/>
                      </a:lnTo>
                      <a:lnTo>
                        <a:pt x="208" y="162"/>
                      </a:lnTo>
                      <a:lnTo>
                        <a:pt x="208" y="164"/>
                      </a:lnTo>
                      <a:lnTo>
                        <a:pt x="212" y="176"/>
                      </a:lnTo>
                      <a:lnTo>
                        <a:pt x="161" y="183"/>
                      </a:lnTo>
                      <a:lnTo>
                        <a:pt x="144" y="198"/>
                      </a:lnTo>
                      <a:lnTo>
                        <a:pt x="159" y="208"/>
                      </a:lnTo>
                      <a:lnTo>
                        <a:pt x="121" y="225"/>
                      </a:lnTo>
                      <a:lnTo>
                        <a:pt x="104" y="206"/>
                      </a:lnTo>
                      <a:lnTo>
                        <a:pt x="51" y="217"/>
                      </a:lnTo>
                      <a:lnTo>
                        <a:pt x="38" y="217"/>
                      </a:lnTo>
                      <a:lnTo>
                        <a:pt x="36" y="172"/>
                      </a:lnTo>
                      <a:lnTo>
                        <a:pt x="2" y="159"/>
                      </a:lnTo>
                      <a:lnTo>
                        <a:pt x="29" y="123"/>
                      </a:lnTo>
                      <a:lnTo>
                        <a:pt x="0" y="115"/>
                      </a:lnTo>
                      <a:lnTo>
                        <a:pt x="0" y="106"/>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70" name="31">
                  <a:extLst>
                    <a:ext uri="{FF2B5EF4-FFF2-40B4-BE49-F238E27FC236}">
                      <a16:creationId xmlns:a16="http://schemas.microsoft.com/office/drawing/2014/main" id="{ECDF3E13-856D-4D86-9FD0-88867E7240AB}"/>
                    </a:ext>
                  </a:extLst>
                </p:cNvPr>
                <p:cNvSpPr>
                  <a:spLocks/>
                </p:cNvSpPr>
                <p:nvPr/>
              </p:nvSpPr>
              <p:spPr bwMode="gray">
                <a:xfrm>
                  <a:off x="5735129" y="5250317"/>
                  <a:ext cx="624598" cy="631762"/>
                </a:xfrm>
                <a:custGeom>
                  <a:avLst/>
                  <a:gdLst>
                    <a:gd name="T0" fmla="*/ 2 w 436"/>
                    <a:gd name="T1" fmla="*/ 417 h 441"/>
                    <a:gd name="T2" fmla="*/ 11 w 436"/>
                    <a:gd name="T3" fmla="*/ 370 h 441"/>
                    <a:gd name="T4" fmla="*/ 32 w 436"/>
                    <a:gd name="T5" fmla="*/ 377 h 441"/>
                    <a:gd name="T6" fmla="*/ 57 w 436"/>
                    <a:gd name="T7" fmla="*/ 341 h 441"/>
                    <a:gd name="T8" fmla="*/ 47 w 436"/>
                    <a:gd name="T9" fmla="*/ 315 h 441"/>
                    <a:gd name="T10" fmla="*/ 23 w 436"/>
                    <a:gd name="T11" fmla="*/ 324 h 441"/>
                    <a:gd name="T12" fmla="*/ 34 w 436"/>
                    <a:gd name="T13" fmla="*/ 298 h 441"/>
                    <a:gd name="T14" fmla="*/ 4 w 436"/>
                    <a:gd name="T15" fmla="*/ 277 h 441"/>
                    <a:gd name="T16" fmla="*/ 51 w 436"/>
                    <a:gd name="T17" fmla="*/ 213 h 441"/>
                    <a:gd name="T18" fmla="*/ 91 w 436"/>
                    <a:gd name="T19" fmla="*/ 177 h 441"/>
                    <a:gd name="T20" fmla="*/ 155 w 436"/>
                    <a:gd name="T21" fmla="*/ 196 h 441"/>
                    <a:gd name="T22" fmla="*/ 172 w 436"/>
                    <a:gd name="T23" fmla="*/ 132 h 441"/>
                    <a:gd name="T24" fmla="*/ 210 w 436"/>
                    <a:gd name="T25" fmla="*/ 124 h 441"/>
                    <a:gd name="T26" fmla="*/ 147 w 436"/>
                    <a:gd name="T27" fmla="*/ 41 h 441"/>
                    <a:gd name="T28" fmla="*/ 200 w 436"/>
                    <a:gd name="T29" fmla="*/ 30 h 441"/>
                    <a:gd name="T30" fmla="*/ 217 w 436"/>
                    <a:gd name="T31" fmla="*/ 49 h 441"/>
                    <a:gd name="T32" fmla="*/ 255 w 436"/>
                    <a:gd name="T33" fmla="*/ 32 h 441"/>
                    <a:gd name="T34" fmla="*/ 240 w 436"/>
                    <a:gd name="T35" fmla="*/ 22 h 441"/>
                    <a:gd name="T36" fmla="*/ 257 w 436"/>
                    <a:gd name="T37" fmla="*/ 7 h 441"/>
                    <a:gd name="T38" fmla="*/ 308 w 436"/>
                    <a:gd name="T39" fmla="*/ 0 h 441"/>
                    <a:gd name="T40" fmla="*/ 317 w 436"/>
                    <a:gd name="T41" fmla="*/ 37 h 441"/>
                    <a:gd name="T42" fmla="*/ 346 w 436"/>
                    <a:gd name="T43" fmla="*/ 73 h 441"/>
                    <a:gd name="T44" fmla="*/ 336 w 436"/>
                    <a:gd name="T45" fmla="*/ 81 h 441"/>
                    <a:gd name="T46" fmla="*/ 353 w 436"/>
                    <a:gd name="T47" fmla="*/ 92 h 441"/>
                    <a:gd name="T48" fmla="*/ 342 w 436"/>
                    <a:gd name="T49" fmla="*/ 107 h 441"/>
                    <a:gd name="T50" fmla="*/ 400 w 436"/>
                    <a:gd name="T51" fmla="*/ 154 h 441"/>
                    <a:gd name="T52" fmla="*/ 436 w 436"/>
                    <a:gd name="T53" fmla="*/ 154 h 441"/>
                    <a:gd name="T54" fmla="*/ 431 w 436"/>
                    <a:gd name="T55" fmla="*/ 179 h 441"/>
                    <a:gd name="T56" fmla="*/ 397 w 436"/>
                    <a:gd name="T57" fmla="*/ 192 h 441"/>
                    <a:gd name="T58" fmla="*/ 383 w 436"/>
                    <a:gd name="T59" fmla="*/ 175 h 441"/>
                    <a:gd name="T60" fmla="*/ 372 w 436"/>
                    <a:gd name="T61" fmla="*/ 211 h 441"/>
                    <a:gd name="T62" fmla="*/ 351 w 436"/>
                    <a:gd name="T63" fmla="*/ 213 h 441"/>
                    <a:gd name="T64" fmla="*/ 342 w 436"/>
                    <a:gd name="T65" fmla="*/ 232 h 441"/>
                    <a:gd name="T66" fmla="*/ 338 w 436"/>
                    <a:gd name="T67" fmla="*/ 236 h 441"/>
                    <a:gd name="T68" fmla="*/ 325 w 436"/>
                    <a:gd name="T69" fmla="*/ 249 h 441"/>
                    <a:gd name="T70" fmla="*/ 287 w 436"/>
                    <a:gd name="T71" fmla="*/ 228 h 441"/>
                    <a:gd name="T72" fmla="*/ 278 w 436"/>
                    <a:gd name="T73" fmla="*/ 258 h 441"/>
                    <a:gd name="T74" fmla="*/ 240 w 436"/>
                    <a:gd name="T75" fmla="*/ 222 h 441"/>
                    <a:gd name="T76" fmla="*/ 232 w 436"/>
                    <a:gd name="T77" fmla="*/ 234 h 441"/>
                    <a:gd name="T78" fmla="*/ 255 w 436"/>
                    <a:gd name="T79" fmla="*/ 251 h 441"/>
                    <a:gd name="T80" fmla="*/ 215 w 436"/>
                    <a:gd name="T81" fmla="*/ 264 h 441"/>
                    <a:gd name="T82" fmla="*/ 234 w 436"/>
                    <a:gd name="T83" fmla="*/ 287 h 441"/>
                    <a:gd name="T84" fmla="*/ 223 w 436"/>
                    <a:gd name="T85" fmla="*/ 298 h 441"/>
                    <a:gd name="T86" fmla="*/ 168 w 436"/>
                    <a:gd name="T87" fmla="*/ 279 h 441"/>
                    <a:gd name="T88" fmla="*/ 149 w 436"/>
                    <a:gd name="T89" fmla="*/ 294 h 441"/>
                    <a:gd name="T90" fmla="*/ 144 w 436"/>
                    <a:gd name="T91" fmla="*/ 341 h 441"/>
                    <a:gd name="T92" fmla="*/ 104 w 436"/>
                    <a:gd name="T93" fmla="*/ 362 h 441"/>
                    <a:gd name="T94" fmla="*/ 104 w 436"/>
                    <a:gd name="T95" fmla="*/ 364 h 441"/>
                    <a:gd name="T96" fmla="*/ 110 w 436"/>
                    <a:gd name="T97" fmla="*/ 392 h 441"/>
                    <a:gd name="T98" fmla="*/ 64 w 436"/>
                    <a:gd name="T99" fmla="*/ 379 h 441"/>
                    <a:gd name="T100" fmla="*/ 59 w 436"/>
                    <a:gd name="T101" fmla="*/ 441 h 441"/>
                    <a:gd name="T102" fmla="*/ 8 w 436"/>
                    <a:gd name="T103" fmla="*/ 436 h 441"/>
                    <a:gd name="T104" fmla="*/ 0 w 436"/>
                    <a:gd name="T105" fmla="*/ 424 h 441"/>
                    <a:gd name="T106" fmla="*/ 2 w 436"/>
                    <a:gd name="T107" fmla="*/ 417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6" h="441">
                      <a:moveTo>
                        <a:pt x="2" y="417"/>
                      </a:moveTo>
                      <a:lnTo>
                        <a:pt x="11" y="370"/>
                      </a:lnTo>
                      <a:lnTo>
                        <a:pt x="32" y="377"/>
                      </a:lnTo>
                      <a:lnTo>
                        <a:pt x="57" y="341"/>
                      </a:lnTo>
                      <a:lnTo>
                        <a:pt x="47" y="315"/>
                      </a:lnTo>
                      <a:lnTo>
                        <a:pt x="23" y="324"/>
                      </a:lnTo>
                      <a:lnTo>
                        <a:pt x="34" y="298"/>
                      </a:lnTo>
                      <a:lnTo>
                        <a:pt x="4" y="277"/>
                      </a:lnTo>
                      <a:lnTo>
                        <a:pt x="51" y="213"/>
                      </a:lnTo>
                      <a:lnTo>
                        <a:pt x="91" y="177"/>
                      </a:lnTo>
                      <a:lnTo>
                        <a:pt x="155" y="196"/>
                      </a:lnTo>
                      <a:lnTo>
                        <a:pt x="172" y="132"/>
                      </a:lnTo>
                      <a:lnTo>
                        <a:pt x="210" y="124"/>
                      </a:lnTo>
                      <a:lnTo>
                        <a:pt x="147" y="41"/>
                      </a:lnTo>
                      <a:lnTo>
                        <a:pt x="200" y="30"/>
                      </a:lnTo>
                      <a:lnTo>
                        <a:pt x="217" y="49"/>
                      </a:lnTo>
                      <a:lnTo>
                        <a:pt x="255" y="32"/>
                      </a:lnTo>
                      <a:lnTo>
                        <a:pt x="240" y="22"/>
                      </a:lnTo>
                      <a:lnTo>
                        <a:pt x="257" y="7"/>
                      </a:lnTo>
                      <a:lnTo>
                        <a:pt x="308" y="0"/>
                      </a:lnTo>
                      <a:lnTo>
                        <a:pt x="317" y="37"/>
                      </a:lnTo>
                      <a:lnTo>
                        <a:pt x="346" y="73"/>
                      </a:lnTo>
                      <a:lnTo>
                        <a:pt x="336" y="81"/>
                      </a:lnTo>
                      <a:lnTo>
                        <a:pt x="353" y="92"/>
                      </a:lnTo>
                      <a:lnTo>
                        <a:pt x="342" y="107"/>
                      </a:lnTo>
                      <a:lnTo>
                        <a:pt x="400" y="154"/>
                      </a:lnTo>
                      <a:lnTo>
                        <a:pt x="436" y="154"/>
                      </a:lnTo>
                      <a:lnTo>
                        <a:pt x="431" y="179"/>
                      </a:lnTo>
                      <a:lnTo>
                        <a:pt x="397" y="192"/>
                      </a:lnTo>
                      <a:lnTo>
                        <a:pt x="383" y="175"/>
                      </a:lnTo>
                      <a:lnTo>
                        <a:pt x="372" y="211"/>
                      </a:lnTo>
                      <a:lnTo>
                        <a:pt x="351" y="213"/>
                      </a:lnTo>
                      <a:lnTo>
                        <a:pt x="342" y="232"/>
                      </a:lnTo>
                      <a:lnTo>
                        <a:pt x="338" y="236"/>
                      </a:lnTo>
                      <a:lnTo>
                        <a:pt x="325" y="249"/>
                      </a:lnTo>
                      <a:lnTo>
                        <a:pt x="287" y="228"/>
                      </a:lnTo>
                      <a:lnTo>
                        <a:pt x="278" y="258"/>
                      </a:lnTo>
                      <a:lnTo>
                        <a:pt x="240" y="222"/>
                      </a:lnTo>
                      <a:lnTo>
                        <a:pt x="232" y="234"/>
                      </a:lnTo>
                      <a:lnTo>
                        <a:pt x="255" y="251"/>
                      </a:lnTo>
                      <a:lnTo>
                        <a:pt x="215" y="264"/>
                      </a:lnTo>
                      <a:lnTo>
                        <a:pt x="234" y="287"/>
                      </a:lnTo>
                      <a:lnTo>
                        <a:pt x="223" y="298"/>
                      </a:lnTo>
                      <a:lnTo>
                        <a:pt x="168" y="279"/>
                      </a:lnTo>
                      <a:lnTo>
                        <a:pt x="149" y="294"/>
                      </a:lnTo>
                      <a:lnTo>
                        <a:pt x="144" y="341"/>
                      </a:lnTo>
                      <a:lnTo>
                        <a:pt x="104" y="362"/>
                      </a:lnTo>
                      <a:lnTo>
                        <a:pt x="104" y="364"/>
                      </a:lnTo>
                      <a:lnTo>
                        <a:pt x="110" y="392"/>
                      </a:lnTo>
                      <a:lnTo>
                        <a:pt x="64" y="379"/>
                      </a:lnTo>
                      <a:lnTo>
                        <a:pt x="59" y="441"/>
                      </a:lnTo>
                      <a:lnTo>
                        <a:pt x="8" y="436"/>
                      </a:lnTo>
                      <a:lnTo>
                        <a:pt x="0" y="424"/>
                      </a:lnTo>
                      <a:lnTo>
                        <a:pt x="2" y="417"/>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71" name="46">
                  <a:extLst>
                    <a:ext uri="{FF2B5EF4-FFF2-40B4-BE49-F238E27FC236}">
                      <a16:creationId xmlns:a16="http://schemas.microsoft.com/office/drawing/2014/main" id="{9E4346D6-8102-4244-BAFE-E4203BCEBF08}"/>
                    </a:ext>
                  </a:extLst>
                </p:cNvPr>
                <p:cNvSpPr>
                  <a:spLocks/>
                </p:cNvSpPr>
                <p:nvPr/>
              </p:nvSpPr>
              <p:spPr bwMode="gray">
                <a:xfrm>
                  <a:off x="5970070" y="4662965"/>
                  <a:ext cx="459854" cy="432635"/>
                </a:xfrm>
                <a:custGeom>
                  <a:avLst/>
                  <a:gdLst>
                    <a:gd name="T0" fmla="*/ 2 w 321"/>
                    <a:gd name="T1" fmla="*/ 174 h 302"/>
                    <a:gd name="T2" fmla="*/ 23 w 321"/>
                    <a:gd name="T3" fmla="*/ 166 h 302"/>
                    <a:gd name="T4" fmla="*/ 123 w 321"/>
                    <a:gd name="T5" fmla="*/ 58 h 302"/>
                    <a:gd name="T6" fmla="*/ 125 w 321"/>
                    <a:gd name="T7" fmla="*/ 4 h 302"/>
                    <a:gd name="T8" fmla="*/ 172 w 321"/>
                    <a:gd name="T9" fmla="*/ 0 h 302"/>
                    <a:gd name="T10" fmla="*/ 208 w 321"/>
                    <a:gd name="T11" fmla="*/ 41 h 302"/>
                    <a:gd name="T12" fmla="*/ 284 w 321"/>
                    <a:gd name="T13" fmla="*/ 24 h 302"/>
                    <a:gd name="T14" fmla="*/ 287 w 321"/>
                    <a:gd name="T15" fmla="*/ 32 h 302"/>
                    <a:gd name="T16" fmla="*/ 312 w 321"/>
                    <a:gd name="T17" fmla="*/ 92 h 302"/>
                    <a:gd name="T18" fmla="*/ 299 w 321"/>
                    <a:gd name="T19" fmla="*/ 126 h 302"/>
                    <a:gd name="T20" fmla="*/ 321 w 321"/>
                    <a:gd name="T21" fmla="*/ 155 h 302"/>
                    <a:gd name="T22" fmla="*/ 225 w 321"/>
                    <a:gd name="T23" fmla="*/ 204 h 302"/>
                    <a:gd name="T24" fmla="*/ 225 w 321"/>
                    <a:gd name="T25" fmla="*/ 211 h 302"/>
                    <a:gd name="T26" fmla="*/ 231 w 321"/>
                    <a:gd name="T27" fmla="*/ 257 h 302"/>
                    <a:gd name="T28" fmla="*/ 168 w 321"/>
                    <a:gd name="T29" fmla="*/ 281 h 302"/>
                    <a:gd name="T30" fmla="*/ 153 w 321"/>
                    <a:gd name="T31" fmla="*/ 268 h 302"/>
                    <a:gd name="T32" fmla="*/ 144 w 321"/>
                    <a:gd name="T33" fmla="*/ 294 h 302"/>
                    <a:gd name="T34" fmla="*/ 125 w 321"/>
                    <a:gd name="T35" fmla="*/ 274 h 302"/>
                    <a:gd name="T36" fmla="*/ 93 w 321"/>
                    <a:gd name="T37" fmla="*/ 302 h 302"/>
                    <a:gd name="T38" fmla="*/ 76 w 321"/>
                    <a:gd name="T39" fmla="*/ 289 h 302"/>
                    <a:gd name="T40" fmla="*/ 78 w 321"/>
                    <a:gd name="T41" fmla="*/ 270 h 302"/>
                    <a:gd name="T42" fmla="*/ 57 w 321"/>
                    <a:gd name="T43" fmla="*/ 277 h 302"/>
                    <a:gd name="T44" fmla="*/ 23 w 321"/>
                    <a:gd name="T45" fmla="*/ 247 h 302"/>
                    <a:gd name="T46" fmla="*/ 36 w 321"/>
                    <a:gd name="T47" fmla="*/ 234 h 302"/>
                    <a:gd name="T48" fmla="*/ 19 w 321"/>
                    <a:gd name="T49" fmla="*/ 236 h 302"/>
                    <a:gd name="T50" fmla="*/ 0 w 321"/>
                    <a:gd name="T51" fmla="*/ 177 h 302"/>
                    <a:gd name="T52" fmla="*/ 2 w 321"/>
                    <a:gd name="T53" fmla="*/ 17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1" h="302">
                      <a:moveTo>
                        <a:pt x="2" y="174"/>
                      </a:moveTo>
                      <a:lnTo>
                        <a:pt x="23" y="166"/>
                      </a:lnTo>
                      <a:lnTo>
                        <a:pt x="123" y="58"/>
                      </a:lnTo>
                      <a:lnTo>
                        <a:pt x="125" y="4"/>
                      </a:lnTo>
                      <a:lnTo>
                        <a:pt x="172" y="0"/>
                      </a:lnTo>
                      <a:lnTo>
                        <a:pt x="208" y="41"/>
                      </a:lnTo>
                      <a:lnTo>
                        <a:pt x="284" y="24"/>
                      </a:lnTo>
                      <a:lnTo>
                        <a:pt x="287" y="32"/>
                      </a:lnTo>
                      <a:lnTo>
                        <a:pt x="312" y="92"/>
                      </a:lnTo>
                      <a:lnTo>
                        <a:pt x="299" y="126"/>
                      </a:lnTo>
                      <a:lnTo>
                        <a:pt x="321" y="155"/>
                      </a:lnTo>
                      <a:lnTo>
                        <a:pt x="225" y="204"/>
                      </a:lnTo>
                      <a:lnTo>
                        <a:pt x="225" y="211"/>
                      </a:lnTo>
                      <a:lnTo>
                        <a:pt x="231" y="257"/>
                      </a:lnTo>
                      <a:lnTo>
                        <a:pt x="168" y="281"/>
                      </a:lnTo>
                      <a:lnTo>
                        <a:pt x="153" y="268"/>
                      </a:lnTo>
                      <a:lnTo>
                        <a:pt x="144" y="294"/>
                      </a:lnTo>
                      <a:lnTo>
                        <a:pt x="125" y="274"/>
                      </a:lnTo>
                      <a:lnTo>
                        <a:pt x="93" y="302"/>
                      </a:lnTo>
                      <a:lnTo>
                        <a:pt x="76" y="289"/>
                      </a:lnTo>
                      <a:lnTo>
                        <a:pt x="78" y="270"/>
                      </a:lnTo>
                      <a:lnTo>
                        <a:pt x="57" y="277"/>
                      </a:lnTo>
                      <a:lnTo>
                        <a:pt x="23" y="247"/>
                      </a:lnTo>
                      <a:lnTo>
                        <a:pt x="36" y="234"/>
                      </a:lnTo>
                      <a:lnTo>
                        <a:pt x="19" y="236"/>
                      </a:lnTo>
                      <a:lnTo>
                        <a:pt x="0" y="177"/>
                      </a:lnTo>
                      <a:lnTo>
                        <a:pt x="2" y="174"/>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grpSp>
            <p:nvGrpSpPr>
              <p:cNvPr id="458" name="Languedoc Roussillon (Formes)">
                <a:extLst>
                  <a:ext uri="{FF2B5EF4-FFF2-40B4-BE49-F238E27FC236}">
                    <a16:creationId xmlns:a16="http://schemas.microsoft.com/office/drawing/2014/main" id="{5D855DFE-A51F-4AFB-8701-B58321C3B130}"/>
                  </a:ext>
                </a:extLst>
              </p:cNvPr>
              <p:cNvGrpSpPr/>
              <p:nvPr/>
            </p:nvGrpSpPr>
            <p:grpSpPr>
              <a:xfrm>
                <a:off x="6219336" y="4705941"/>
                <a:ext cx="1199056" cy="1379561"/>
                <a:chOff x="6219336" y="4705941"/>
                <a:chExt cx="1199056" cy="1379561"/>
              </a:xfrm>
              <a:grpFill/>
            </p:grpSpPr>
            <p:sp>
              <p:nvSpPr>
                <p:cNvPr id="459" name="11">
                  <a:extLst>
                    <a:ext uri="{FF2B5EF4-FFF2-40B4-BE49-F238E27FC236}">
                      <a16:creationId xmlns:a16="http://schemas.microsoft.com/office/drawing/2014/main" id="{C8CF9450-4F3D-4A73-B942-0E97B1F42F7F}"/>
                    </a:ext>
                  </a:extLst>
                </p:cNvPr>
                <p:cNvSpPr>
                  <a:spLocks/>
                </p:cNvSpPr>
                <p:nvPr/>
              </p:nvSpPr>
              <p:spPr bwMode="gray">
                <a:xfrm>
                  <a:off x="6219336" y="5495285"/>
                  <a:ext cx="593082" cy="416877"/>
                </a:xfrm>
                <a:custGeom>
                  <a:avLst/>
                  <a:gdLst>
                    <a:gd name="T0" fmla="*/ 4 w 414"/>
                    <a:gd name="T1" fmla="*/ 61 h 291"/>
                    <a:gd name="T2" fmla="*/ 13 w 414"/>
                    <a:gd name="T3" fmla="*/ 42 h 291"/>
                    <a:gd name="T4" fmla="*/ 34 w 414"/>
                    <a:gd name="T5" fmla="*/ 40 h 291"/>
                    <a:gd name="T6" fmla="*/ 45 w 414"/>
                    <a:gd name="T7" fmla="*/ 4 h 291"/>
                    <a:gd name="T8" fmla="*/ 59 w 414"/>
                    <a:gd name="T9" fmla="*/ 21 h 291"/>
                    <a:gd name="T10" fmla="*/ 93 w 414"/>
                    <a:gd name="T11" fmla="*/ 8 h 291"/>
                    <a:gd name="T12" fmla="*/ 140 w 414"/>
                    <a:gd name="T13" fmla="*/ 27 h 291"/>
                    <a:gd name="T14" fmla="*/ 153 w 414"/>
                    <a:gd name="T15" fmla="*/ 0 h 291"/>
                    <a:gd name="T16" fmla="*/ 236 w 414"/>
                    <a:gd name="T17" fmla="*/ 14 h 291"/>
                    <a:gd name="T18" fmla="*/ 229 w 414"/>
                    <a:gd name="T19" fmla="*/ 40 h 291"/>
                    <a:gd name="T20" fmla="*/ 227 w 414"/>
                    <a:gd name="T21" fmla="*/ 42 h 291"/>
                    <a:gd name="T22" fmla="*/ 249 w 414"/>
                    <a:gd name="T23" fmla="*/ 63 h 291"/>
                    <a:gd name="T24" fmla="*/ 268 w 414"/>
                    <a:gd name="T25" fmla="*/ 53 h 291"/>
                    <a:gd name="T26" fmla="*/ 285 w 414"/>
                    <a:gd name="T27" fmla="*/ 76 h 291"/>
                    <a:gd name="T28" fmla="*/ 317 w 414"/>
                    <a:gd name="T29" fmla="*/ 31 h 291"/>
                    <a:gd name="T30" fmla="*/ 323 w 414"/>
                    <a:gd name="T31" fmla="*/ 51 h 291"/>
                    <a:gd name="T32" fmla="*/ 414 w 414"/>
                    <a:gd name="T33" fmla="*/ 91 h 291"/>
                    <a:gd name="T34" fmla="*/ 374 w 414"/>
                    <a:gd name="T35" fmla="*/ 146 h 291"/>
                    <a:gd name="T36" fmla="*/ 372 w 414"/>
                    <a:gd name="T37" fmla="*/ 148 h 291"/>
                    <a:gd name="T38" fmla="*/ 359 w 414"/>
                    <a:gd name="T39" fmla="*/ 191 h 291"/>
                    <a:gd name="T40" fmla="*/ 361 w 414"/>
                    <a:gd name="T41" fmla="*/ 229 h 291"/>
                    <a:gd name="T42" fmla="*/ 357 w 414"/>
                    <a:gd name="T43" fmla="*/ 227 h 291"/>
                    <a:gd name="T44" fmla="*/ 342 w 414"/>
                    <a:gd name="T45" fmla="*/ 219 h 291"/>
                    <a:gd name="T46" fmla="*/ 314 w 414"/>
                    <a:gd name="T47" fmla="*/ 199 h 291"/>
                    <a:gd name="T48" fmla="*/ 278 w 414"/>
                    <a:gd name="T49" fmla="*/ 231 h 291"/>
                    <a:gd name="T50" fmla="*/ 181 w 414"/>
                    <a:gd name="T51" fmla="*/ 225 h 291"/>
                    <a:gd name="T52" fmla="*/ 170 w 414"/>
                    <a:gd name="T53" fmla="*/ 229 h 291"/>
                    <a:gd name="T54" fmla="*/ 178 w 414"/>
                    <a:gd name="T55" fmla="*/ 265 h 291"/>
                    <a:gd name="T56" fmla="*/ 125 w 414"/>
                    <a:gd name="T57" fmla="*/ 291 h 291"/>
                    <a:gd name="T58" fmla="*/ 102 w 414"/>
                    <a:gd name="T59" fmla="*/ 257 h 291"/>
                    <a:gd name="T60" fmla="*/ 68 w 414"/>
                    <a:gd name="T61" fmla="*/ 263 h 291"/>
                    <a:gd name="T62" fmla="*/ 42 w 414"/>
                    <a:gd name="T63" fmla="*/ 231 h 291"/>
                    <a:gd name="T64" fmla="*/ 79 w 414"/>
                    <a:gd name="T65" fmla="*/ 212 h 291"/>
                    <a:gd name="T66" fmla="*/ 64 w 414"/>
                    <a:gd name="T67" fmla="*/ 189 h 291"/>
                    <a:gd name="T68" fmla="*/ 83 w 414"/>
                    <a:gd name="T69" fmla="*/ 182 h 291"/>
                    <a:gd name="T70" fmla="*/ 79 w 414"/>
                    <a:gd name="T71" fmla="*/ 155 h 291"/>
                    <a:gd name="T72" fmla="*/ 68 w 414"/>
                    <a:gd name="T73" fmla="*/ 121 h 291"/>
                    <a:gd name="T74" fmla="*/ 6 w 414"/>
                    <a:gd name="T75" fmla="*/ 95 h 291"/>
                    <a:gd name="T76" fmla="*/ 0 w 414"/>
                    <a:gd name="T77" fmla="*/ 65 h 291"/>
                    <a:gd name="T78" fmla="*/ 4 w 414"/>
                    <a:gd name="T79" fmla="*/ 6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4" h="291">
                      <a:moveTo>
                        <a:pt x="4" y="61"/>
                      </a:moveTo>
                      <a:lnTo>
                        <a:pt x="13" y="42"/>
                      </a:lnTo>
                      <a:lnTo>
                        <a:pt x="34" y="40"/>
                      </a:lnTo>
                      <a:lnTo>
                        <a:pt x="45" y="4"/>
                      </a:lnTo>
                      <a:lnTo>
                        <a:pt x="59" y="21"/>
                      </a:lnTo>
                      <a:lnTo>
                        <a:pt x="93" y="8"/>
                      </a:lnTo>
                      <a:lnTo>
                        <a:pt x="140" y="27"/>
                      </a:lnTo>
                      <a:lnTo>
                        <a:pt x="153" y="0"/>
                      </a:lnTo>
                      <a:lnTo>
                        <a:pt x="236" y="14"/>
                      </a:lnTo>
                      <a:lnTo>
                        <a:pt x="229" y="40"/>
                      </a:lnTo>
                      <a:lnTo>
                        <a:pt x="227" y="42"/>
                      </a:lnTo>
                      <a:lnTo>
                        <a:pt x="249" y="63"/>
                      </a:lnTo>
                      <a:lnTo>
                        <a:pt x="268" y="53"/>
                      </a:lnTo>
                      <a:lnTo>
                        <a:pt x="285" y="76"/>
                      </a:lnTo>
                      <a:lnTo>
                        <a:pt x="317" y="31"/>
                      </a:lnTo>
                      <a:lnTo>
                        <a:pt x="323" y="51"/>
                      </a:lnTo>
                      <a:lnTo>
                        <a:pt x="414" y="91"/>
                      </a:lnTo>
                      <a:lnTo>
                        <a:pt x="374" y="146"/>
                      </a:lnTo>
                      <a:lnTo>
                        <a:pt x="372" y="148"/>
                      </a:lnTo>
                      <a:lnTo>
                        <a:pt x="359" y="191"/>
                      </a:lnTo>
                      <a:lnTo>
                        <a:pt x="361" y="229"/>
                      </a:lnTo>
                      <a:lnTo>
                        <a:pt x="357" y="227"/>
                      </a:lnTo>
                      <a:lnTo>
                        <a:pt x="342" y="219"/>
                      </a:lnTo>
                      <a:lnTo>
                        <a:pt x="314" y="199"/>
                      </a:lnTo>
                      <a:lnTo>
                        <a:pt x="278" y="231"/>
                      </a:lnTo>
                      <a:lnTo>
                        <a:pt x="181" y="225"/>
                      </a:lnTo>
                      <a:lnTo>
                        <a:pt x="170" y="229"/>
                      </a:lnTo>
                      <a:lnTo>
                        <a:pt x="178" y="265"/>
                      </a:lnTo>
                      <a:lnTo>
                        <a:pt x="125" y="291"/>
                      </a:lnTo>
                      <a:lnTo>
                        <a:pt x="102" y="257"/>
                      </a:lnTo>
                      <a:lnTo>
                        <a:pt x="68" y="263"/>
                      </a:lnTo>
                      <a:lnTo>
                        <a:pt x="42" y="231"/>
                      </a:lnTo>
                      <a:lnTo>
                        <a:pt x="79" y="212"/>
                      </a:lnTo>
                      <a:lnTo>
                        <a:pt x="64" y="189"/>
                      </a:lnTo>
                      <a:lnTo>
                        <a:pt x="83" y="182"/>
                      </a:lnTo>
                      <a:lnTo>
                        <a:pt x="79" y="155"/>
                      </a:lnTo>
                      <a:lnTo>
                        <a:pt x="68" y="121"/>
                      </a:lnTo>
                      <a:lnTo>
                        <a:pt x="6" y="95"/>
                      </a:lnTo>
                      <a:lnTo>
                        <a:pt x="0" y="65"/>
                      </a:lnTo>
                      <a:lnTo>
                        <a:pt x="4" y="61"/>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60" name="48">
                  <a:extLst>
                    <a:ext uri="{FF2B5EF4-FFF2-40B4-BE49-F238E27FC236}">
                      <a16:creationId xmlns:a16="http://schemas.microsoft.com/office/drawing/2014/main" id="{4C2FBA83-BAEC-4479-AE19-E0BFEC58C24E}"/>
                    </a:ext>
                  </a:extLst>
                </p:cNvPr>
                <p:cNvSpPr>
                  <a:spLocks/>
                </p:cNvSpPr>
                <p:nvPr/>
              </p:nvSpPr>
              <p:spPr bwMode="gray">
                <a:xfrm>
                  <a:off x="6715003" y="4705941"/>
                  <a:ext cx="383927" cy="446960"/>
                </a:xfrm>
                <a:custGeom>
                  <a:avLst/>
                  <a:gdLst>
                    <a:gd name="T0" fmla="*/ 5 w 268"/>
                    <a:gd name="T1" fmla="*/ 113 h 312"/>
                    <a:gd name="T2" fmla="*/ 32 w 268"/>
                    <a:gd name="T3" fmla="*/ 32 h 312"/>
                    <a:gd name="T4" fmla="*/ 54 w 268"/>
                    <a:gd name="T5" fmla="*/ 38 h 312"/>
                    <a:gd name="T6" fmla="*/ 68 w 268"/>
                    <a:gd name="T7" fmla="*/ 11 h 312"/>
                    <a:gd name="T8" fmla="*/ 100 w 268"/>
                    <a:gd name="T9" fmla="*/ 0 h 312"/>
                    <a:gd name="T10" fmla="*/ 130 w 268"/>
                    <a:gd name="T11" fmla="*/ 59 h 312"/>
                    <a:gd name="T12" fmla="*/ 175 w 268"/>
                    <a:gd name="T13" fmla="*/ 34 h 312"/>
                    <a:gd name="T14" fmla="*/ 230 w 268"/>
                    <a:gd name="T15" fmla="*/ 83 h 312"/>
                    <a:gd name="T16" fmla="*/ 230 w 268"/>
                    <a:gd name="T17" fmla="*/ 93 h 312"/>
                    <a:gd name="T18" fmla="*/ 232 w 268"/>
                    <a:gd name="T19" fmla="*/ 100 h 312"/>
                    <a:gd name="T20" fmla="*/ 268 w 268"/>
                    <a:gd name="T21" fmla="*/ 185 h 312"/>
                    <a:gd name="T22" fmla="*/ 238 w 268"/>
                    <a:gd name="T23" fmla="*/ 212 h 312"/>
                    <a:gd name="T24" fmla="*/ 255 w 268"/>
                    <a:gd name="T25" fmla="*/ 232 h 312"/>
                    <a:gd name="T26" fmla="*/ 260 w 268"/>
                    <a:gd name="T27" fmla="*/ 293 h 312"/>
                    <a:gd name="T28" fmla="*/ 215 w 268"/>
                    <a:gd name="T29" fmla="*/ 308 h 312"/>
                    <a:gd name="T30" fmla="*/ 183 w 268"/>
                    <a:gd name="T31" fmla="*/ 287 h 312"/>
                    <a:gd name="T32" fmla="*/ 170 w 268"/>
                    <a:gd name="T33" fmla="*/ 310 h 312"/>
                    <a:gd name="T34" fmla="*/ 149 w 268"/>
                    <a:gd name="T35" fmla="*/ 312 h 312"/>
                    <a:gd name="T36" fmla="*/ 102 w 268"/>
                    <a:gd name="T37" fmla="*/ 293 h 312"/>
                    <a:gd name="T38" fmla="*/ 58 w 268"/>
                    <a:gd name="T39" fmla="*/ 285 h 312"/>
                    <a:gd name="T40" fmla="*/ 64 w 268"/>
                    <a:gd name="T41" fmla="*/ 270 h 312"/>
                    <a:gd name="T42" fmla="*/ 37 w 268"/>
                    <a:gd name="T43" fmla="*/ 259 h 312"/>
                    <a:gd name="T44" fmla="*/ 43 w 268"/>
                    <a:gd name="T45" fmla="*/ 193 h 312"/>
                    <a:gd name="T46" fmla="*/ 0 w 268"/>
                    <a:gd name="T47" fmla="*/ 119 h 312"/>
                    <a:gd name="T48" fmla="*/ 5 w 268"/>
                    <a:gd name="T49" fmla="*/ 113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8" h="312">
                      <a:moveTo>
                        <a:pt x="5" y="113"/>
                      </a:moveTo>
                      <a:lnTo>
                        <a:pt x="32" y="32"/>
                      </a:lnTo>
                      <a:lnTo>
                        <a:pt x="54" y="38"/>
                      </a:lnTo>
                      <a:lnTo>
                        <a:pt x="68" y="11"/>
                      </a:lnTo>
                      <a:lnTo>
                        <a:pt x="100" y="0"/>
                      </a:lnTo>
                      <a:lnTo>
                        <a:pt x="130" y="59"/>
                      </a:lnTo>
                      <a:lnTo>
                        <a:pt x="175" y="34"/>
                      </a:lnTo>
                      <a:lnTo>
                        <a:pt x="230" y="83"/>
                      </a:lnTo>
                      <a:lnTo>
                        <a:pt x="230" y="93"/>
                      </a:lnTo>
                      <a:lnTo>
                        <a:pt x="232" y="100"/>
                      </a:lnTo>
                      <a:lnTo>
                        <a:pt x="268" y="185"/>
                      </a:lnTo>
                      <a:lnTo>
                        <a:pt x="238" y="212"/>
                      </a:lnTo>
                      <a:lnTo>
                        <a:pt x="255" y="232"/>
                      </a:lnTo>
                      <a:lnTo>
                        <a:pt x="260" y="293"/>
                      </a:lnTo>
                      <a:lnTo>
                        <a:pt x="215" y="308"/>
                      </a:lnTo>
                      <a:lnTo>
                        <a:pt x="183" y="287"/>
                      </a:lnTo>
                      <a:lnTo>
                        <a:pt x="170" y="310"/>
                      </a:lnTo>
                      <a:lnTo>
                        <a:pt x="149" y="312"/>
                      </a:lnTo>
                      <a:lnTo>
                        <a:pt x="102" y="293"/>
                      </a:lnTo>
                      <a:lnTo>
                        <a:pt x="58" y="285"/>
                      </a:lnTo>
                      <a:lnTo>
                        <a:pt x="64" y="270"/>
                      </a:lnTo>
                      <a:lnTo>
                        <a:pt x="37" y="259"/>
                      </a:lnTo>
                      <a:lnTo>
                        <a:pt x="43" y="193"/>
                      </a:lnTo>
                      <a:lnTo>
                        <a:pt x="0" y="119"/>
                      </a:lnTo>
                      <a:lnTo>
                        <a:pt x="5" y="113"/>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61" name="30">
                  <a:extLst>
                    <a:ext uri="{FF2B5EF4-FFF2-40B4-BE49-F238E27FC236}">
                      <a16:creationId xmlns:a16="http://schemas.microsoft.com/office/drawing/2014/main" id="{A53162AB-A495-4594-BF51-2FFF50F9643B}"/>
                    </a:ext>
                  </a:extLst>
                </p:cNvPr>
                <p:cNvSpPr>
                  <a:spLocks/>
                </p:cNvSpPr>
                <p:nvPr/>
              </p:nvSpPr>
              <p:spPr bwMode="gray">
                <a:xfrm>
                  <a:off x="6822445" y="4970965"/>
                  <a:ext cx="595947" cy="527184"/>
                </a:xfrm>
                <a:custGeom>
                  <a:avLst/>
                  <a:gdLst>
                    <a:gd name="T0" fmla="*/ 2 w 416"/>
                    <a:gd name="T1" fmla="*/ 134 h 368"/>
                    <a:gd name="T2" fmla="*/ 27 w 416"/>
                    <a:gd name="T3" fmla="*/ 108 h 368"/>
                    <a:gd name="T4" fmla="*/ 74 w 416"/>
                    <a:gd name="T5" fmla="*/ 127 h 368"/>
                    <a:gd name="T6" fmla="*/ 95 w 416"/>
                    <a:gd name="T7" fmla="*/ 125 h 368"/>
                    <a:gd name="T8" fmla="*/ 108 w 416"/>
                    <a:gd name="T9" fmla="*/ 102 h 368"/>
                    <a:gd name="T10" fmla="*/ 140 w 416"/>
                    <a:gd name="T11" fmla="*/ 123 h 368"/>
                    <a:gd name="T12" fmla="*/ 185 w 416"/>
                    <a:gd name="T13" fmla="*/ 108 h 368"/>
                    <a:gd name="T14" fmla="*/ 180 w 416"/>
                    <a:gd name="T15" fmla="*/ 47 h 368"/>
                    <a:gd name="T16" fmla="*/ 163 w 416"/>
                    <a:gd name="T17" fmla="*/ 27 h 368"/>
                    <a:gd name="T18" fmla="*/ 193 w 416"/>
                    <a:gd name="T19" fmla="*/ 0 h 368"/>
                    <a:gd name="T20" fmla="*/ 212 w 416"/>
                    <a:gd name="T21" fmla="*/ 21 h 368"/>
                    <a:gd name="T22" fmla="*/ 208 w 416"/>
                    <a:gd name="T23" fmla="*/ 53 h 368"/>
                    <a:gd name="T24" fmla="*/ 227 w 416"/>
                    <a:gd name="T25" fmla="*/ 47 h 368"/>
                    <a:gd name="T26" fmla="*/ 263 w 416"/>
                    <a:gd name="T27" fmla="*/ 72 h 368"/>
                    <a:gd name="T28" fmla="*/ 280 w 416"/>
                    <a:gd name="T29" fmla="*/ 45 h 368"/>
                    <a:gd name="T30" fmla="*/ 295 w 416"/>
                    <a:gd name="T31" fmla="*/ 40 h 368"/>
                    <a:gd name="T32" fmla="*/ 310 w 416"/>
                    <a:gd name="T33" fmla="*/ 64 h 368"/>
                    <a:gd name="T34" fmla="*/ 325 w 416"/>
                    <a:gd name="T35" fmla="*/ 42 h 368"/>
                    <a:gd name="T36" fmla="*/ 363 w 416"/>
                    <a:gd name="T37" fmla="*/ 66 h 368"/>
                    <a:gd name="T38" fmla="*/ 385 w 416"/>
                    <a:gd name="T39" fmla="*/ 98 h 368"/>
                    <a:gd name="T40" fmla="*/ 380 w 416"/>
                    <a:gd name="T41" fmla="*/ 127 h 368"/>
                    <a:gd name="T42" fmla="*/ 416 w 416"/>
                    <a:gd name="T43" fmla="*/ 161 h 368"/>
                    <a:gd name="T44" fmla="*/ 391 w 416"/>
                    <a:gd name="T45" fmla="*/ 195 h 368"/>
                    <a:gd name="T46" fmla="*/ 365 w 416"/>
                    <a:gd name="T47" fmla="*/ 215 h 368"/>
                    <a:gd name="T48" fmla="*/ 361 w 416"/>
                    <a:gd name="T49" fmla="*/ 280 h 368"/>
                    <a:gd name="T50" fmla="*/ 325 w 416"/>
                    <a:gd name="T51" fmla="*/ 278 h 368"/>
                    <a:gd name="T52" fmla="*/ 310 w 416"/>
                    <a:gd name="T53" fmla="*/ 306 h 368"/>
                    <a:gd name="T54" fmla="*/ 321 w 416"/>
                    <a:gd name="T55" fmla="*/ 317 h 368"/>
                    <a:gd name="T56" fmla="*/ 259 w 416"/>
                    <a:gd name="T57" fmla="*/ 355 h 368"/>
                    <a:gd name="T58" fmla="*/ 257 w 416"/>
                    <a:gd name="T59" fmla="*/ 368 h 368"/>
                    <a:gd name="T60" fmla="*/ 231 w 416"/>
                    <a:gd name="T61" fmla="*/ 357 h 368"/>
                    <a:gd name="T62" fmla="*/ 223 w 416"/>
                    <a:gd name="T63" fmla="*/ 332 h 368"/>
                    <a:gd name="T64" fmla="*/ 221 w 416"/>
                    <a:gd name="T65" fmla="*/ 323 h 368"/>
                    <a:gd name="T66" fmla="*/ 221 w 416"/>
                    <a:gd name="T67" fmla="*/ 319 h 368"/>
                    <a:gd name="T68" fmla="*/ 248 w 416"/>
                    <a:gd name="T69" fmla="*/ 300 h 368"/>
                    <a:gd name="T70" fmla="*/ 234 w 416"/>
                    <a:gd name="T71" fmla="*/ 268 h 368"/>
                    <a:gd name="T72" fmla="*/ 183 w 416"/>
                    <a:gd name="T73" fmla="*/ 240 h 368"/>
                    <a:gd name="T74" fmla="*/ 172 w 416"/>
                    <a:gd name="T75" fmla="*/ 212 h 368"/>
                    <a:gd name="T76" fmla="*/ 140 w 416"/>
                    <a:gd name="T77" fmla="*/ 210 h 368"/>
                    <a:gd name="T78" fmla="*/ 138 w 416"/>
                    <a:gd name="T79" fmla="*/ 183 h 368"/>
                    <a:gd name="T80" fmla="*/ 110 w 416"/>
                    <a:gd name="T81" fmla="*/ 187 h 368"/>
                    <a:gd name="T82" fmla="*/ 83 w 416"/>
                    <a:gd name="T83" fmla="*/ 225 h 368"/>
                    <a:gd name="T84" fmla="*/ 25 w 416"/>
                    <a:gd name="T85" fmla="*/ 202 h 368"/>
                    <a:gd name="T86" fmla="*/ 49 w 416"/>
                    <a:gd name="T87" fmla="*/ 164 h 368"/>
                    <a:gd name="T88" fmla="*/ 0 w 416"/>
                    <a:gd name="T89" fmla="*/ 136 h 368"/>
                    <a:gd name="T90" fmla="*/ 2 w 416"/>
                    <a:gd name="T91" fmla="*/ 13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6" h="368">
                      <a:moveTo>
                        <a:pt x="2" y="134"/>
                      </a:moveTo>
                      <a:lnTo>
                        <a:pt x="27" y="108"/>
                      </a:lnTo>
                      <a:lnTo>
                        <a:pt x="74" y="127"/>
                      </a:lnTo>
                      <a:lnTo>
                        <a:pt x="95" y="125"/>
                      </a:lnTo>
                      <a:lnTo>
                        <a:pt x="108" y="102"/>
                      </a:lnTo>
                      <a:lnTo>
                        <a:pt x="140" y="123"/>
                      </a:lnTo>
                      <a:lnTo>
                        <a:pt x="185" y="108"/>
                      </a:lnTo>
                      <a:lnTo>
                        <a:pt x="180" y="47"/>
                      </a:lnTo>
                      <a:lnTo>
                        <a:pt x="163" y="27"/>
                      </a:lnTo>
                      <a:lnTo>
                        <a:pt x="193" y="0"/>
                      </a:lnTo>
                      <a:lnTo>
                        <a:pt x="212" y="21"/>
                      </a:lnTo>
                      <a:lnTo>
                        <a:pt x="208" y="53"/>
                      </a:lnTo>
                      <a:lnTo>
                        <a:pt x="227" y="47"/>
                      </a:lnTo>
                      <a:lnTo>
                        <a:pt x="263" y="72"/>
                      </a:lnTo>
                      <a:lnTo>
                        <a:pt x="280" y="45"/>
                      </a:lnTo>
                      <a:lnTo>
                        <a:pt x="295" y="40"/>
                      </a:lnTo>
                      <a:lnTo>
                        <a:pt x="310" y="64"/>
                      </a:lnTo>
                      <a:lnTo>
                        <a:pt x="325" y="42"/>
                      </a:lnTo>
                      <a:lnTo>
                        <a:pt x="363" y="66"/>
                      </a:lnTo>
                      <a:lnTo>
                        <a:pt x="385" y="98"/>
                      </a:lnTo>
                      <a:lnTo>
                        <a:pt x="380" y="127"/>
                      </a:lnTo>
                      <a:lnTo>
                        <a:pt x="416" y="161"/>
                      </a:lnTo>
                      <a:lnTo>
                        <a:pt x="391" y="195"/>
                      </a:lnTo>
                      <a:lnTo>
                        <a:pt x="365" y="215"/>
                      </a:lnTo>
                      <a:lnTo>
                        <a:pt x="361" y="280"/>
                      </a:lnTo>
                      <a:lnTo>
                        <a:pt x="325" y="278"/>
                      </a:lnTo>
                      <a:lnTo>
                        <a:pt x="310" y="306"/>
                      </a:lnTo>
                      <a:lnTo>
                        <a:pt x="321" y="317"/>
                      </a:lnTo>
                      <a:lnTo>
                        <a:pt x="259" y="355"/>
                      </a:lnTo>
                      <a:lnTo>
                        <a:pt x="257" y="368"/>
                      </a:lnTo>
                      <a:lnTo>
                        <a:pt x="231" y="357"/>
                      </a:lnTo>
                      <a:lnTo>
                        <a:pt x="223" y="332"/>
                      </a:lnTo>
                      <a:lnTo>
                        <a:pt x="221" y="323"/>
                      </a:lnTo>
                      <a:lnTo>
                        <a:pt x="221" y="319"/>
                      </a:lnTo>
                      <a:lnTo>
                        <a:pt x="248" y="300"/>
                      </a:lnTo>
                      <a:lnTo>
                        <a:pt x="234" y="268"/>
                      </a:lnTo>
                      <a:lnTo>
                        <a:pt x="183" y="240"/>
                      </a:lnTo>
                      <a:lnTo>
                        <a:pt x="172" y="212"/>
                      </a:lnTo>
                      <a:lnTo>
                        <a:pt x="140" y="210"/>
                      </a:lnTo>
                      <a:lnTo>
                        <a:pt x="138" y="183"/>
                      </a:lnTo>
                      <a:lnTo>
                        <a:pt x="110" y="187"/>
                      </a:lnTo>
                      <a:lnTo>
                        <a:pt x="83" y="225"/>
                      </a:lnTo>
                      <a:lnTo>
                        <a:pt x="25" y="202"/>
                      </a:lnTo>
                      <a:lnTo>
                        <a:pt x="49" y="164"/>
                      </a:lnTo>
                      <a:lnTo>
                        <a:pt x="0" y="136"/>
                      </a:lnTo>
                      <a:lnTo>
                        <a:pt x="2" y="134"/>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62" name="34">
                  <a:extLst>
                    <a:ext uri="{FF2B5EF4-FFF2-40B4-BE49-F238E27FC236}">
                      <a16:creationId xmlns:a16="http://schemas.microsoft.com/office/drawing/2014/main" id="{45488C40-0CEB-4785-BD08-1EED5259EDB3}"/>
                    </a:ext>
                  </a:extLst>
                </p:cNvPr>
                <p:cNvSpPr>
                  <a:spLocks/>
                </p:cNvSpPr>
                <p:nvPr/>
              </p:nvSpPr>
              <p:spPr bwMode="gray">
                <a:xfrm>
                  <a:off x="6544528" y="5233125"/>
                  <a:ext cx="633194" cy="392523"/>
                </a:xfrm>
                <a:custGeom>
                  <a:avLst/>
                  <a:gdLst>
                    <a:gd name="T0" fmla="*/ 2 w 442"/>
                    <a:gd name="T1" fmla="*/ 223 h 274"/>
                    <a:gd name="T2" fmla="*/ 9 w 442"/>
                    <a:gd name="T3" fmla="*/ 197 h 274"/>
                    <a:gd name="T4" fmla="*/ 36 w 442"/>
                    <a:gd name="T5" fmla="*/ 180 h 274"/>
                    <a:gd name="T6" fmla="*/ 22 w 442"/>
                    <a:gd name="T7" fmla="*/ 144 h 274"/>
                    <a:gd name="T8" fmla="*/ 30 w 442"/>
                    <a:gd name="T9" fmla="*/ 112 h 274"/>
                    <a:gd name="T10" fmla="*/ 58 w 442"/>
                    <a:gd name="T11" fmla="*/ 127 h 274"/>
                    <a:gd name="T12" fmla="*/ 107 w 442"/>
                    <a:gd name="T13" fmla="*/ 97 h 274"/>
                    <a:gd name="T14" fmla="*/ 139 w 442"/>
                    <a:gd name="T15" fmla="*/ 97 h 274"/>
                    <a:gd name="T16" fmla="*/ 141 w 442"/>
                    <a:gd name="T17" fmla="*/ 46 h 274"/>
                    <a:gd name="T18" fmla="*/ 183 w 442"/>
                    <a:gd name="T19" fmla="*/ 53 h 274"/>
                    <a:gd name="T20" fmla="*/ 194 w 442"/>
                    <a:gd name="T21" fmla="*/ 25 h 274"/>
                    <a:gd name="T22" fmla="*/ 219 w 442"/>
                    <a:gd name="T23" fmla="*/ 19 h 274"/>
                    <a:gd name="T24" fmla="*/ 277 w 442"/>
                    <a:gd name="T25" fmla="*/ 42 h 274"/>
                    <a:gd name="T26" fmla="*/ 304 w 442"/>
                    <a:gd name="T27" fmla="*/ 4 h 274"/>
                    <a:gd name="T28" fmla="*/ 332 w 442"/>
                    <a:gd name="T29" fmla="*/ 0 h 274"/>
                    <a:gd name="T30" fmla="*/ 334 w 442"/>
                    <a:gd name="T31" fmla="*/ 27 h 274"/>
                    <a:gd name="T32" fmla="*/ 366 w 442"/>
                    <a:gd name="T33" fmla="*/ 29 h 274"/>
                    <a:gd name="T34" fmla="*/ 377 w 442"/>
                    <a:gd name="T35" fmla="*/ 57 h 274"/>
                    <a:gd name="T36" fmla="*/ 428 w 442"/>
                    <a:gd name="T37" fmla="*/ 85 h 274"/>
                    <a:gd name="T38" fmla="*/ 442 w 442"/>
                    <a:gd name="T39" fmla="*/ 117 h 274"/>
                    <a:gd name="T40" fmla="*/ 415 w 442"/>
                    <a:gd name="T41" fmla="*/ 136 h 274"/>
                    <a:gd name="T42" fmla="*/ 415 w 442"/>
                    <a:gd name="T43" fmla="*/ 140 h 274"/>
                    <a:gd name="T44" fmla="*/ 417 w 442"/>
                    <a:gd name="T45" fmla="*/ 149 h 274"/>
                    <a:gd name="T46" fmla="*/ 366 w 442"/>
                    <a:gd name="T47" fmla="*/ 163 h 274"/>
                    <a:gd name="T48" fmla="*/ 260 w 442"/>
                    <a:gd name="T49" fmla="*/ 255 h 274"/>
                    <a:gd name="T50" fmla="*/ 238 w 442"/>
                    <a:gd name="T51" fmla="*/ 248 h 274"/>
                    <a:gd name="T52" fmla="*/ 187 w 442"/>
                    <a:gd name="T53" fmla="*/ 274 h 274"/>
                    <a:gd name="T54" fmla="*/ 96 w 442"/>
                    <a:gd name="T55" fmla="*/ 234 h 274"/>
                    <a:gd name="T56" fmla="*/ 90 w 442"/>
                    <a:gd name="T57" fmla="*/ 214 h 274"/>
                    <a:gd name="T58" fmla="*/ 58 w 442"/>
                    <a:gd name="T59" fmla="*/ 259 h 274"/>
                    <a:gd name="T60" fmla="*/ 41 w 442"/>
                    <a:gd name="T61" fmla="*/ 236 h 274"/>
                    <a:gd name="T62" fmla="*/ 22 w 442"/>
                    <a:gd name="T63" fmla="*/ 246 h 274"/>
                    <a:gd name="T64" fmla="*/ 0 w 442"/>
                    <a:gd name="T65" fmla="*/ 225 h 274"/>
                    <a:gd name="T66" fmla="*/ 2 w 442"/>
                    <a:gd name="T67" fmla="*/ 2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2" h="274">
                      <a:moveTo>
                        <a:pt x="2" y="223"/>
                      </a:moveTo>
                      <a:lnTo>
                        <a:pt x="9" y="197"/>
                      </a:lnTo>
                      <a:lnTo>
                        <a:pt x="36" y="180"/>
                      </a:lnTo>
                      <a:lnTo>
                        <a:pt x="22" y="144"/>
                      </a:lnTo>
                      <a:lnTo>
                        <a:pt x="30" y="112"/>
                      </a:lnTo>
                      <a:lnTo>
                        <a:pt x="58" y="127"/>
                      </a:lnTo>
                      <a:lnTo>
                        <a:pt x="107" y="97"/>
                      </a:lnTo>
                      <a:lnTo>
                        <a:pt x="139" y="97"/>
                      </a:lnTo>
                      <a:lnTo>
                        <a:pt x="141" y="46"/>
                      </a:lnTo>
                      <a:lnTo>
                        <a:pt x="183" y="53"/>
                      </a:lnTo>
                      <a:lnTo>
                        <a:pt x="194" y="25"/>
                      </a:lnTo>
                      <a:lnTo>
                        <a:pt x="219" y="19"/>
                      </a:lnTo>
                      <a:lnTo>
                        <a:pt x="277" y="42"/>
                      </a:lnTo>
                      <a:lnTo>
                        <a:pt x="304" y="4"/>
                      </a:lnTo>
                      <a:lnTo>
                        <a:pt x="332" y="0"/>
                      </a:lnTo>
                      <a:lnTo>
                        <a:pt x="334" y="27"/>
                      </a:lnTo>
                      <a:lnTo>
                        <a:pt x="366" y="29"/>
                      </a:lnTo>
                      <a:lnTo>
                        <a:pt x="377" y="57"/>
                      </a:lnTo>
                      <a:lnTo>
                        <a:pt x="428" y="85"/>
                      </a:lnTo>
                      <a:lnTo>
                        <a:pt x="442" y="117"/>
                      </a:lnTo>
                      <a:lnTo>
                        <a:pt x="415" y="136"/>
                      </a:lnTo>
                      <a:lnTo>
                        <a:pt x="415" y="140"/>
                      </a:lnTo>
                      <a:lnTo>
                        <a:pt x="417" y="149"/>
                      </a:lnTo>
                      <a:lnTo>
                        <a:pt x="366" y="163"/>
                      </a:lnTo>
                      <a:lnTo>
                        <a:pt x="260" y="255"/>
                      </a:lnTo>
                      <a:lnTo>
                        <a:pt x="238" y="248"/>
                      </a:lnTo>
                      <a:lnTo>
                        <a:pt x="187" y="274"/>
                      </a:lnTo>
                      <a:lnTo>
                        <a:pt x="96" y="234"/>
                      </a:lnTo>
                      <a:lnTo>
                        <a:pt x="90" y="214"/>
                      </a:lnTo>
                      <a:lnTo>
                        <a:pt x="58" y="259"/>
                      </a:lnTo>
                      <a:lnTo>
                        <a:pt x="41" y="236"/>
                      </a:lnTo>
                      <a:lnTo>
                        <a:pt x="22" y="246"/>
                      </a:lnTo>
                      <a:lnTo>
                        <a:pt x="0" y="225"/>
                      </a:lnTo>
                      <a:lnTo>
                        <a:pt x="2" y="223"/>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63" name="66">
                  <a:extLst>
                    <a:ext uri="{FF2B5EF4-FFF2-40B4-BE49-F238E27FC236}">
                      <a16:creationId xmlns:a16="http://schemas.microsoft.com/office/drawing/2014/main" id="{61257164-B826-48B5-BC53-AA1C562FC38F}"/>
                    </a:ext>
                  </a:extLst>
                </p:cNvPr>
                <p:cNvSpPr>
                  <a:spLocks/>
                </p:cNvSpPr>
                <p:nvPr/>
              </p:nvSpPr>
              <p:spPr bwMode="gray">
                <a:xfrm>
                  <a:off x="6227932" y="5780366"/>
                  <a:ext cx="560134" cy="305136"/>
                </a:xfrm>
                <a:custGeom>
                  <a:avLst/>
                  <a:gdLst>
                    <a:gd name="T0" fmla="*/ 0 w 391"/>
                    <a:gd name="T1" fmla="*/ 151 h 213"/>
                    <a:gd name="T2" fmla="*/ 53 w 391"/>
                    <a:gd name="T3" fmla="*/ 168 h 213"/>
                    <a:gd name="T4" fmla="*/ 77 w 391"/>
                    <a:gd name="T5" fmla="*/ 207 h 213"/>
                    <a:gd name="T6" fmla="*/ 143 w 391"/>
                    <a:gd name="T7" fmla="*/ 175 h 213"/>
                    <a:gd name="T8" fmla="*/ 219 w 391"/>
                    <a:gd name="T9" fmla="*/ 213 h 213"/>
                    <a:gd name="T10" fmla="*/ 255 w 391"/>
                    <a:gd name="T11" fmla="*/ 211 h 213"/>
                    <a:gd name="T12" fmla="*/ 257 w 391"/>
                    <a:gd name="T13" fmla="*/ 187 h 213"/>
                    <a:gd name="T14" fmla="*/ 330 w 391"/>
                    <a:gd name="T15" fmla="*/ 162 h 213"/>
                    <a:gd name="T16" fmla="*/ 391 w 391"/>
                    <a:gd name="T17" fmla="*/ 177 h 213"/>
                    <a:gd name="T18" fmla="*/ 381 w 391"/>
                    <a:gd name="T19" fmla="*/ 149 h 213"/>
                    <a:gd name="T20" fmla="*/ 360 w 391"/>
                    <a:gd name="T21" fmla="*/ 139 h 213"/>
                    <a:gd name="T22" fmla="*/ 355 w 391"/>
                    <a:gd name="T23" fmla="*/ 30 h 213"/>
                    <a:gd name="T24" fmla="*/ 351 w 391"/>
                    <a:gd name="T25" fmla="*/ 28 h 213"/>
                    <a:gd name="T26" fmla="*/ 336 w 391"/>
                    <a:gd name="T27" fmla="*/ 20 h 213"/>
                    <a:gd name="T28" fmla="*/ 308 w 391"/>
                    <a:gd name="T29" fmla="*/ 0 h 213"/>
                    <a:gd name="T30" fmla="*/ 272 w 391"/>
                    <a:gd name="T31" fmla="*/ 32 h 213"/>
                    <a:gd name="T32" fmla="*/ 175 w 391"/>
                    <a:gd name="T33" fmla="*/ 26 h 213"/>
                    <a:gd name="T34" fmla="*/ 164 w 391"/>
                    <a:gd name="T35" fmla="*/ 30 h 213"/>
                    <a:gd name="T36" fmla="*/ 172 w 391"/>
                    <a:gd name="T37" fmla="*/ 66 h 213"/>
                    <a:gd name="T38" fmla="*/ 119 w 391"/>
                    <a:gd name="T39" fmla="*/ 92 h 213"/>
                    <a:gd name="T40" fmla="*/ 75 w 391"/>
                    <a:gd name="T41" fmla="*/ 92 h 213"/>
                    <a:gd name="T42" fmla="*/ 15 w 391"/>
                    <a:gd name="T43" fmla="*/ 124 h 213"/>
                    <a:gd name="T44" fmla="*/ 0 w 391"/>
                    <a:gd name="T45" fmla="*/ 15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1" h="213">
                      <a:moveTo>
                        <a:pt x="0" y="151"/>
                      </a:moveTo>
                      <a:lnTo>
                        <a:pt x="53" y="168"/>
                      </a:lnTo>
                      <a:lnTo>
                        <a:pt x="77" y="207"/>
                      </a:lnTo>
                      <a:lnTo>
                        <a:pt x="143" y="175"/>
                      </a:lnTo>
                      <a:lnTo>
                        <a:pt x="219" y="213"/>
                      </a:lnTo>
                      <a:lnTo>
                        <a:pt x="255" y="211"/>
                      </a:lnTo>
                      <a:lnTo>
                        <a:pt x="257" y="187"/>
                      </a:lnTo>
                      <a:lnTo>
                        <a:pt x="330" y="162"/>
                      </a:lnTo>
                      <a:lnTo>
                        <a:pt x="391" y="177"/>
                      </a:lnTo>
                      <a:lnTo>
                        <a:pt x="381" y="149"/>
                      </a:lnTo>
                      <a:lnTo>
                        <a:pt x="360" y="139"/>
                      </a:lnTo>
                      <a:lnTo>
                        <a:pt x="355" y="30"/>
                      </a:lnTo>
                      <a:lnTo>
                        <a:pt x="351" y="28"/>
                      </a:lnTo>
                      <a:lnTo>
                        <a:pt x="336" y="20"/>
                      </a:lnTo>
                      <a:lnTo>
                        <a:pt x="308" y="0"/>
                      </a:lnTo>
                      <a:lnTo>
                        <a:pt x="272" y="32"/>
                      </a:lnTo>
                      <a:lnTo>
                        <a:pt x="175" y="26"/>
                      </a:lnTo>
                      <a:lnTo>
                        <a:pt x="164" y="30"/>
                      </a:lnTo>
                      <a:lnTo>
                        <a:pt x="172" y="66"/>
                      </a:lnTo>
                      <a:lnTo>
                        <a:pt x="119" y="92"/>
                      </a:lnTo>
                      <a:lnTo>
                        <a:pt x="75" y="92"/>
                      </a:lnTo>
                      <a:lnTo>
                        <a:pt x="15" y="124"/>
                      </a:lnTo>
                      <a:lnTo>
                        <a:pt x="0" y="151"/>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grpSp>
        <p:grpSp>
          <p:nvGrpSpPr>
            <p:cNvPr id="288" name="Ile de France (Formes)">
              <a:extLst>
                <a:ext uri="{FF2B5EF4-FFF2-40B4-BE49-F238E27FC236}">
                  <a16:creationId xmlns:a16="http://schemas.microsoft.com/office/drawing/2014/main" id="{16D17889-4EAB-4BC9-B146-E9F951DB8C33}"/>
                </a:ext>
              </a:extLst>
            </p:cNvPr>
            <p:cNvGrpSpPr/>
            <p:nvPr/>
          </p:nvGrpSpPr>
          <p:grpSpPr>
            <a:xfrm>
              <a:off x="6954168" y="2294592"/>
              <a:ext cx="724878" cy="584488"/>
              <a:chOff x="6200712" y="2463977"/>
              <a:chExt cx="724878" cy="584488"/>
            </a:xfrm>
            <a:solidFill>
              <a:schemeClr val="tx2">
                <a:lumMod val="60000"/>
                <a:lumOff val="40000"/>
              </a:schemeClr>
            </a:solidFill>
          </p:grpSpPr>
          <p:sp>
            <p:nvSpPr>
              <p:cNvPr id="434" name="93">
                <a:extLst>
                  <a:ext uri="{FF2B5EF4-FFF2-40B4-BE49-F238E27FC236}">
                    <a16:creationId xmlns:a16="http://schemas.microsoft.com/office/drawing/2014/main" id="{1763C85B-7BCE-43E3-9164-25EC685FC218}"/>
                  </a:ext>
                </a:extLst>
              </p:cNvPr>
              <p:cNvSpPr>
                <a:spLocks/>
              </p:cNvSpPr>
              <p:nvPr/>
            </p:nvSpPr>
            <p:spPr bwMode="gray">
              <a:xfrm>
                <a:off x="6441383" y="2615829"/>
                <a:ext cx="61600" cy="107443"/>
              </a:xfrm>
              <a:custGeom>
                <a:avLst/>
                <a:gdLst>
                  <a:gd name="T0" fmla="*/ 0 w 43"/>
                  <a:gd name="T1" fmla="*/ 43 h 75"/>
                  <a:gd name="T2" fmla="*/ 17 w 43"/>
                  <a:gd name="T3" fmla="*/ 64 h 75"/>
                  <a:gd name="T4" fmla="*/ 40 w 43"/>
                  <a:gd name="T5" fmla="*/ 75 h 75"/>
                  <a:gd name="T6" fmla="*/ 38 w 43"/>
                  <a:gd name="T7" fmla="*/ 73 h 75"/>
                  <a:gd name="T8" fmla="*/ 40 w 43"/>
                  <a:gd name="T9" fmla="*/ 69 h 75"/>
                  <a:gd name="T10" fmla="*/ 43 w 43"/>
                  <a:gd name="T11" fmla="*/ 49 h 75"/>
                  <a:gd name="T12" fmla="*/ 19 w 43"/>
                  <a:gd name="T13" fmla="*/ 37 h 75"/>
                  <a:gd name="T14" fmla="*/ 17 w 43"/>
                  <a:gd name="T15" fmla="*/ 34 h 75"/>
                  <a:gd name="T16" fmla="*/ 40 w 43"/>
                  <a:gd name="T17" fmla="*/ 20 h 75"/>
                  <a:gd name="T18" fmla="*/ 34 w 43"/>
                  <a:gd name="T19" fmla="*/ 0 h 75"/>
                  <a:gd name="T20" fmla="*/ 13 w 43"/>
                  <a:gd name="T21" fmla="*/ 15 h 75"/>
                  <a:gd name="T22" fmla="*/ 0 w 43"/>
                  <a:gd name="T23" fmla="*/ 41 h 75"/>
                  <a:gd name="T24" fmla="*/ 0 w 43"/>
                  <a:gd name="T25" fmla="*/ 4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5">
                    <a:moveTo>
                      <a:pt x="0" y="43"/>
                    </a:moveTo>
                    <a:lnTo>
                      <a:pt x="17" y="64"/>
                    </a:lnTo>
                    <a:lnTo>
                      <a:pt x="40" y="75"/>
                    </a:lnTo>
                    <a:lnTo>
                      <a:pt x="38" y="73"/>
                    </a:lnTo>
                    <a:lnTo>
                      <a:pt x="40" y="69"/>
                    </a:lnTo>
                    <a:lnTo>
                      <a:pt x="43" y="49"/>
                    </a:lnTo>
                    <a:lnTo>
                      <a:pt x="19" y="37"/>
                    </a:lnTo>
                    <a:lnTo>
                      <a:pt x="17" y="34"/>
                    </a:lnTo>
                    <a:lnTo>
                      <a:pt x="40" y="20"/>
                    </a:lnTo>
                    <a:lnTo>
                      <a:pt x="34" y="0"/>
                    </a:lnTo>
                    <a:lnTo>
                      <a:pt x="13" y="15"/>
                    </a:lnTo>
                    <a:lnTo>
                      <a:pt x="0" y="41"/>
                    </a:lnTo>
                    <a:lnTo>
                      <a:pt x="0" y="43"/>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35" name="78">
                <a:extLst>
                  <a:ext uri="{FF2B5EF4-FFF2-40B4-BE49-F238E27FC236}">
                    <a16:creationId xmlns:a16="http://schemas.microsoft.com/office/drawing/2014/main" id="{85D1ACCB-A50C-4E17-8B45-2C4FF0BAD272}"/>
                  </a:ext>
                </a:extLst>
              </p:cNvPr>
              <p:cNvSpPr>
                <a:spLocks/>
              </p:cNvSpPr>
              <p:nvPr/>
            </p:nvSpPr>
            <p:spPr bwMode="gray">
              <a:xfrm>
                <a:off x="6200712" y="2542769"/>
                <a:ext cx="265025" cy="329490"/>
              </a:xfrm>
              <a:custGeom>
                <a:avLst/>
                <a:gdLst>
                  <a:gd name="T0" fmla="*/ 0 w 185"/>
                  <a:gd name="T1" fmla="*/ 9 h 230"/>
                  <a:gd name="T2" fmla="*/ 41 w 185"/>
                  <a:gd name="T3" fmla="*/ 0 h 230"/>
                  <a:gd name="T4" fmla="*/ 41 w 185"/>
                  <a:gd name="T5" fmla="*/ 5 h 230"/>
                  <a:gd name="T6" fmla="*/ 75 w 185"/>
                  <a:gd name="T7" fmla="*/ 9 h 230"/>
                  <a:gd name="T8" fmla="*/ 77 w 185"/>
                  <a:gd name="T9" fmla="*/ 9 h 230"/>
                  <a:gd name="T10" fmla="*/ 81 w 185"/>
                  <a:gd name="T11" fmla="*/ 11 h 230"/>
                  <a:gd name="T12" fmla="*/ 83 w 185"/>
                  <a:gd name="T13" fmla="*/ 11 h 230"/>
                  <a:gd name="T14" fmla="*/ 140 w 185"/>
                  <a:gd name="T15" fmla="*/ 34 h 230"/>
                  <a:gd name="T16" fmla="*/ 162 w 185"/>
                  <a:gd name="T17" fmla="*/ 28 h 230"/>
                  <a:gd name="T18" fmla="*/ 181 w 185"/>
                  <a:gd name="T19" fmla="*/ 66 h 230"/>
                  <a:gd name="T20" fmla="*/ 168 w 185"/>
                  <a:gd name="T21" fmla="*/ 92 h 230"/>
                  <a:gd name="T22" fmla="*/ 168 w 185"/>
                  <a:gd name="T23" fmla="*/ 94 h 230"/>
                  <a:gd name="T24" fmla="*/ 185 w 185"/>
                  <a:gd name="T25" fmla="*/ 115 h 230"/>
                  <a:gd name="T26" fmla="*/ 132 w 185"/>
                  <a:gd name="T27" fmla="*/ 158 h 230"/>
                  <a:gd name="T28" fmla="*/ 145 w 185"/>
                  <a:gd name="T29" fmla="*/ 173 h 230"/>
                  <a:gd name="T30" fmla="*/ 134 w 185"/>
                  <a:gd name="T31" fmla="*/ 194 h 230"/>
                  <a:gd name="T32" fmla="*/ 115 w 185"/>
                  <a:gd name="T33" fmla="*/ 192 h 230"/>
                  <a:gd name="T34" fmla="*/ 126 w 185"/>
                  <a:gd name="T35" fmla="*/ 202 h 230"/>
                  <a:gd name="T36" fmla="*/ 109 w 185"/>
                  <a:gd name="T37" fmla="*/ 226 h 230"/>
                  <a:gd name="T38" fmla="*/ 111 w 185"/>
                  <a:gd name="T39" fmla="*/ 230 h 230"/>
                  <a:gd name="T40" fmla="*/ 83 w 185"/>
                  <a:gd name="T41" fmla="*/ 226 h 230"/>
                  <a:gd name="T42" fmla="*/ 77 w 185"/>
                  <a:gd name="T43" fmla="*/ 194 h 230"/>
                  <a:gd name="T44" fmla="*/ 34 w 185"/>
                  <a:gd name="T45" fmla="*/ 154 h 230"/>
                  <a:gd name="T46" fmla="*/ 34 w 185"/>
                  <a:gd name="T47" fmla="*/ 90 h 230"/>
                  <a:gd name="T48" fmla="*/ 13 w 185"/>
                  <a:gd name="T49" fmla="*/ 51 h 230"/>
                  <a:gd name="T50" fmla="*/ 0 w 185"/>
                  <a:gd name="T51" fmla="*/ 11 h 230"/>
                  <a:gd name="T52" fmla="*/ 0 w 185"/>
                  <a:gd name="T53" fmla="*/ 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5" h="230">
                    <a:moveTo>
                      <a:pt x="0" y="9"/>
                    </a:moveTo>
                    <a:lnTo>
                      <a:pt x="41" y="0"/>
                    </a:lnTo>
                    <a:lnTo>
                      <a:pt x="41" y="5"/>
                    </a:lnTo>
                    <a:lnTo>
                      <a:pt x="75" y="9"/>
                    </a:lnTo>
                    <a:lnTo>
                      <a:pt x="77" y="9"/>
                    </a:lnTo>
                    <a:lnTo>
                      <a:pt x="81" y="11"/>
                    </a:lnTo>
                    <a:lnTo>
                      <a:pt x="83" y="11"/>
                    </a:lnTo>
                    <a:lnTo>
                      <a:pt x="140" y="34"/>
                    </a:lnTo>
                    <a:lnTo>
                      <a:pt x="162" y="28"/>
                    </a:lnTo>
                    <a:lnTo>
                      <a:pt x="181" y="66"/>
                    </a:lnTo>
                    <a:lnTo>
                      <a:pt x="168" y="92"/>
                    </a:lnTo>
                    <a:lnTo>
                      <a:pt x="168" y="94"/>
                    </a:lnTo>
                    <a:lnTo>
                      <a:pt x="185" y="115"/>
                    </a:lnTo>
                    <a:lnTo>
                      <a:pt x="132" y="158"/>
                    </a:lnTo>
                    <a:lnTo>
                      <a:pt x="145" y="173"/>
                    </a:lnTo>
                    <a:lnTo>
                      <a:pt x="134" y="194"/>
                    </a:lnTo>
                    <a:lnTo>
                      <a:pt x="115" y="192"/>
                    </a:lnTo>
                    <a:lnTo>
                      <a:pt x="126" y="202"/>
                    </a:lnTo>
                    <a:lnTo>
                      <a:pt x="109" y="226"/>
                    </a:lnTo>
                    <a:lnTo>
                      <a:pt x="111" y="230"/>
                    </a:lnTo>
                    <a:lnTo>
                      <a:pt x="83" y="226"/>
                    </a:lnTo>
                    <a:lnTo>
                      <a:pt x="77" y="194"/>
                    </a:lnTo>
                    <a:lnTo>
                      <a:pt x="34" y="154"/>
                    </a:lnTo>
                    <a:lnTo>
                      <a:pt x="34" y="90"/>
                    </a:lnTo>
                    <a:lnTo>
                      <a:pt x="13" y="51"/>
                    </a:lnTo>
                    <a:lnTo>
                      <a:pt x="0" y="11"/>
                    </a:lnTo>
                    <a:lnTo>
                      <a:pt x="0" y="9"/>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36" name="91">
                <a:extLst>
                  <a:ext uri="{FF2B5EF4-FFF2-40B4-BE49-F238E27FC236}">
                    <a16:creationId xmlns:a16="http://schemas.microsoft.com/office/drawing/2014/main" id="{94DE0EE4-015B-4118-A5A6-D954E1E24B91}"/>
                  </a:ext>
                </a:extLst>
              </p:cNvPr>
              <p:cNvSpPr>
                <a:spLocks/>
              </p:cNvSpPr>
              <p:nvPr/>
            </p:nvSpPr>
            <p:spPr bwMode="gray">
              <a:xfrm>
                <a:off x="6356862" y="2702439"/>
                <a:ext cx="230643" cy="261503"/>
              </a:xfrm>
              <a:custGeom>
                <a:avLst/>
                <a:gdLst>
                  <a:gd name="T0" fmla="*/ 2 w 161"/>
                  <a:gd name="T1" fmla="*/ 115 h 179"/>
                  <a:gd name="T2" fmla="*/ 17 w 161"/>
                  <a:gd name="T3" fmla="*/ 179 h 179"/>
                  <a:gd name="T4" fmla="*/ 70 w 161"/>
                  <a:gd name="T5" fmla="*/ 160 h 179"/>
                  <a:gd name="T6" fmla="*/ 78 w 161"/>
                  <a:gd name="T7" fmla="*/ 175 h 179"/>
                  <a:gd name="T8" fmla="*/ 116 w 161"/>
                  <a:gd name="T9" fmla="*/ 168 h 179"/>
                  <a:gd name="T10" fmla="*/ 116 w 161"/>
                  <a:gd name="T11" fmla="*/ 162 h 179"/>
                  <a:gd name="T12" fmla="*/ 150 w 161"/>
                  <a:gd name="T13" fmla="*/ 136 h 179"/>
                  <a:gd name="T14" fmla="*/ 142 w 161"/>
                  <a:gd name="T15" fmla="*/ 96 h 179"/>
                  <a:gd name="T16" fmla="*/ 161 w 161"/>
                  <a:gd name="T17" fmla="*/ 32 h 179"/>
                  <a:gd name="T18" fmla="*/ 99 w 161"/>
                  <a:gd name="T19" fmla="*/ 11 h 179"/>
                  <a:gd name="T20" fmla="*/ 76 w 161"/>
                  <a:gd name="T21" fmla="*/ 0 h 179"/>
                  <a:gd name="T22" fmla="*/ 23 w 161"/>
                  <a:gd name="T23" fmla="*/ 43 h 179"/>
                  <a:gd name="T24" fmla="*/ 36 w 161"/>
                  <a:gd name="T25" fmla="*/ 58 h 179"/>
                  <a:gd name="T26" fmla="*/ 25 w 161"/>
                  <a:gd name="T27" fmla="*/ 79 h 179"/>
                  <a:gd name="T28" fmla="*/ 6 w 161"/>
                  <a:gd name="T29" fmla="*/ 77 h 179"/>
                  <a:gd name="T30" fmla="*/ 17 w 161"/>
                  <a:gd name="T31" fmla="*/ 87 h 179"/>
                  <a:gd name="T32" fmla="*/ 0 w 161"/>
                  <a:gd name="T33" fmla="*/ 111 h 179"/>
                  <a:gd name="T34" fmla="*/ 2 w 161"/>
                  <a:gd name="T35" fmla="*/ 11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1" h="179">
                    <a:moveTo>
                      <a:pt x="2" y="115"/>
                    </a:moveTo>
                    <a:lnTo>
                      <a:pt x="17" y="179"/>
                    </a:lnTo>
                    <a:lnTo>
                      <a:pt x="70" y="160"/>
                    </a:lnTo>
                    <a:lnTo>
                      <a:pt x="78" y="175"/>
                    </a:lnTo>
                    <a:lnTo>
                      <a:pt x="116" y="168"/>
                    </a:lnTo>
                    <a:lnTo>
                      <a:pt x="116" y="162"/>
                    </a:lnTo>
                    <a:lnTo>
                      <a:pt x="150" y="136"/>
                    </a:lnTo>
                    <a:lnTo>
                      <a:pt x="142" y="96"/>
                    </a:lnTo>
                    <a:lnTo>
                      <a:pt x="161" y="32"/>
                    </a:lnTo>
                    <a:lnTo>
                      <a:pt x="99" y="11"/>
                    </a:lnTo>
                    <a:lnTo>
                      <a:pt x="76" y="0"/>
                    </a:lnTo>
                    <a:lnTo>
                      <a:pt x="23" y="43"/>
                    </a:lnTo>
                    <a:lnTo>
                      <a:pt x="36" y="58"/>
                    </a:lnTo>
                    <a:lnTo>
                      <a:pt x="25" y="79"/>
                    </a:lnTo>
                    <a:lnTo>
                      <a:pt x="6" y="77"/>
                    </a:lnTo>
                    <a:lnTo>
                      <a:pt x="17" y="87"/>
                    </a:lnTo>
                    <a:lnTo>
                      <a:pt x="0" y="111"/>
                    </a:lnTo>
                    <a:lnTo>
                      <a:pt x="2" y="115"/>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37" name="92">
                <a:extLst>
                  <a:ext uri="{FF2B5EF4-FFF2-40B4-BE49-F238E27FC236}">
                    <a16:creationId xmlns:a16="http://schemas.microsoft.com/office/drawing/2014/main" id="{B2E2F7B7-68B6-486E-A169-16B5A0204C6E}"/>
                  </a:ext>
                </a:extLst>
              </p:cNvPr>
              <p:cNvSpPr>
                <a:spLocks/>
              </p:cNvSpPr>
              <p:nvPr/>
            </p:nvSpPr>
            <p:spPr bwMode="gray">
              <a:xfrm>
                <a:off x="6490090" y="2585745"/>
                <a:ext cx="103145" cy="107443"/>
              </a:xfrm>
              <a:custGeom>
                <a:avLst/>
                <a:gdLst>
                  <a:gd name="T0" fmla="*/ 0 w 72"/>
                  <a:gd name="T1" fmla="*/ 21 h 75"/>
                  <a:gd name="T2" fmla="*/ 0 w 72"/>
                  <a:gd name="T3" fmla="*/ 21 h 75"/>
                  <a:gd name="T4" fmla="*/ 6 w 72"/>
                  <a:gd name="T5" fmla="*/ 41 h 75"/>
                  <a:gd name="T6" fmla="*/ 30 w 72"/>
                  <a:gd name="T7" fmla="*/ 60 h 75"/>
                  <a:gd name="T8" fmla="*/ 72 w 72"/>
                  <a:gd name="T9" fmla="*/ 75 h 75"/>
                  <a:gd name="T10" fmla="*/ 64 w 72"/>
                  <a:gd name="T11" fmla="*/ 0 h 75"/>
                  <a:gd name="T12" fmla="*/ 40 w 72"/>
                  <a:gd name="T13" fmla="*/ 19 h 75"/>
                  <a:gd name="T14" fmla="*/ 0 w 72"/>
                  <a:gd name="T15" fmla="*/ 19 h 75"/>
                  <a:gd name="T16" fmla="*/ 0 w 72"/>
                  <a:gd name="T17" fmla="*/ 2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75">
                    <a:moveTo>
                      <a:pt x="0" y="21"/>
                    </a:moveTo>
                    <a:lnTo>
                      <a:pt x="0" y="21"/>
                    </a:lnTo>
                    <a:lnTo>
                      <a:pt x="6" y="41"/>
                    </a:lnTo>
                    <a:lnTo>
                      <a:pt x="30" y="60"/>
                    </a:lnTo>
                    <a:lnTo>
                      <a:pt x="72" y="75"/>
                    </a:lnTo>
                    <a:lnTo>
                      <a:pt x="64" y="0"/>
                    </a:lnTo>
                    <a:lnTo>
                      <a:pt x="40" y="19"/>
                    </a:lnTo>
                    <a:lnTo>
                      <a:pt x="0" y="19"/>
                    </a:lnTo>
                    <a:lnTo>
                      <a:pt x="0" y="21"/>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38" name="94">
                <a:extLst>
                  <a:ext uri="{FF2B5EF4-FFF2-40B4-BE49-F238E27FC236}">
                    <a16:creationId xmlns:a16="http://schemas.microsoft.com/office/drawing/2014/main" id="{4FF2EAAD-0C87-4BB1-AE0D-2F6F135CEE6E}"/>
                  </a:ext>
                </a:extLst>
              </p:cNvPr>
              <p:cNvSpPr>
                <a:spLocks/>
              </p:cNvSpPr>
              <p:nvPr/>
            </p:nvSpPr>
            <p:spPr bwMode="gray">
              <a:xfrm>
                <a:off x="6495821" y="2671699"/>
                <a:ext cx="97414" cy="81657"/>
              </a:xfrm>
              <a:custGeom>
                <a:avLst/>
                <a:gdLst>
                  <a:gd name="T0" fmla="*/ 2 w 68"/>
                  <a:gd name="T1" fmla="*/ 30 h 57"/>
                  <a:gd name="T2" fmla="*/ 5 w 68"/>
                  <a:gd name="T3" fmla="*/ 10 h 57"/>
                  <a:gd name="T4" fmla="*/ 36 w 68"/>
                  <a:gd name="T5" fmla="*/ 10 h 57"/>
                  <a:gd name="T6" fmla="*/ 26 w 68"/>
                  <a:gd name="T7" fmla="*/ 0 h 57"/>
                  <a:gd name="T8" fmla="*/ 68 w 68"/>
                  <a:gd name="T9" fmla="*/ 15 h 57"/>
                  <a:gd name="T10" fmla="*/ 64 w 68"/>
                  <a:gd name="T11" fmla="*/ 57 h 57"/>
                  <a:gd name="T12" fmla="*/ 2 w 68"/>
                  <a:gd name="T13" fmla="*/ 36 h 57"/>
                  <a:gd name="T14" fmla="*/ 0 w 68"/>
                  <a:gd name="T15" fmla="*/ 34 h 57"/>
                  <a:gd name="T16" fmla="*/ 2 w 68"/>
                  <a:gd name="T17" fmla="*/ 3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7">
                    <a:moveTo>
                      <a:pt x="2" y="30"/>
                    </a:moveTo>
                    <a:lnTo>
                      <a:pt x="5" y="10"/>
                    </a:lnTo>
                    <a:lnTo>
                      <a:pt x="36" y="10"/>
                    </a:lnTo>
                    <a:lnTo>
                      <a:pt x="26" y="0"/>
                    </a:lnTo>
                    <a:lnTo>
                      <a:pt x="68" y="15"/>
                    </a:lnTo>
                    <a:lnTo>
                      <a:pt x="64" y="57"/>
                    </a:lnTo>
                    <a:lnTo>
                      <a:pt x="2" y="36"/>
                    </a:lnTo>
                    <a:lnTo>
                      <a:pt x="0" y="34"/>
                    </a:lnTo>
                    <a:lnTo>
                      <a:pt x="2" y="30"/>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39" name="75">
                <a:extLst>
                  <a:ext uri="{FF2B5EF4-FFF2-40B4-BE49-F238E27FC236}">
                    <a16:creationId xmlns:a16="http://schemas.microsoft.com/office/drawing/2014/main" id="{CC9FEF0C-0F65-46EA-9C2D-7AF71A93A815}"/>
                  </a:ext>
                </a:extLst>
              </p:cNvPr>
              <p:cNvSpPr>
                <a:spLocks/>
              </p:cNvSpPr>
              <p:nvPr/>
            </p:nvSpPr>
            <p:spPr bwMode="gray">
              <a:xfrm>
                <a:off x="6465737" y="2644480"/>
                <a:ext cx="81657" cy="41545"/>
              </a:xfrm>
              <a:custGeom>
                <a:avLst/>
                <a:gdLst>
                  <a:gd name="T0" fmla="*/ 2 w 57"/>
                  <a:gd name="T1" fmla="*/ 17 h 29"/>
                  <a:gd name="T2" fmla="*/ 26 w 57"/>
                  <a:gd name="T3" fmla="*/ 29 h 29"/>
                  <a:gd name="T4" fmla="*/ 57 w 57"/>
                  <a:gd name="T5" fmla="*/ 29 h 29"/>
                  <a:gd name="T6" fmla="*/ 47 w 57"/>
                  <a:gd name="T7" fmla="*/ 19 h 29"/>
                  <a:gd name="T8" fmla="*/ 23 w 57"/>
                  <a:gd name="T9" fmla="*/ 0 h 29"/>
                  <a:gd name="T10" fmla="*/ 0 w 57"/>
                  <a:gd name="T11" fmla="*/ 14 h 29"/>
                  <a:gd name="T12" fmla="*/ 2 w 57"/>
                  <a:gd name="T13" fmla="*/ 17 h 29"/>
                </a:gdLst>
                <a:ahLst/>
                <a:cxnLst>
                  <a:cxn ang="0">
                    <a:pos x="T0" y="T1"/>
                  </a:cxn>
                  <a:cxn ang="0">
                    <a:pos x="T2" y="T3"/>
                  </a:cxn>
                  <a:cxn ang="0">
                    <a:pos x="T4" y="T5"/>
                  </a:cxn>
                  <a:cxn ang="0">
                    <a:pos x="T6" y="T7"/>
                  </a:cxn>
                  <a:cxn ang="0">
                    <a:pos x="T8" y="T9"/>
                  </a:cxn>
                  <a:cxn ang="0">
                    <a:pos x="T10" y="T11"/>
                  </a:cxn>
                  <a:cxn ang="0">
                    <a:pos x="T12" y="T13"/>
                  </a:cxn>
                </a:cxnLst>
                <a:rect l="0" t="0" r="r" b="b"/>
                <a:pathLst>
                  <a:path w="57" h="29">
                    <a:moveTo>
                      <a:pt x="2" y="17"/>
                    </a:moveTo>
                    <a:lnTo>
                      <a:pt x="26" y="29"/>
                    </a:lnTo>
                    <a:lnTo>
                      <a:pt x="57" y="29"/>
                    </a:lnTo>
                    <a:lnTo>
                      <a:pt x="47" y="19"/>
                    </a:lnTo>
                    <a:lnTo>
                      <a:pt x="23" y="0"/>
                    </a:lnTo>
                    <a:lnTo>
                      <a:pt x="0" y="14"/>
                    </a:lnTo>
                    <a:lnTo>
                      <a:pt x="2" y="17"/>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40" name="77">
                <a:extLst>
                  <a:ext uri="{FF2B5EF4-FFF2-40B4-BE49-F238E27FC236}">
                    <a16:creationId xmlns:a16="http://schemas.microsoft.com/office/drawing/2014/main" id="{60679D06-7CFC-4035-B146-D92FA935B2A2}"/>
                  </a:ext>
                </a:extLst>
              </p:cNvPr>
              <p:cNvSpPr>
                <a:spLocks/>
              </p:cNvSpPr>
              <p:nvPr/>
            </p:nvSpPr>
            <p:spPr bwMode="gray">
              <a:xfrm>
                <a:off x="6523039" y="2534173"/>
                <a:ext cx="402551" cy="514292"/>
              </a:xfrm>
              <a:custGeom>
                <a:avLst/>
                <a:gdLst>
                  <a:gd name="T0" fmla="*/ 0 w 281"/>
                  <a:gd name="T1" fmla="*/ 289 h 359"/>
                  <a:gd name="T2" fmla="*/ 30 w 281"/>
                  <a:gd name="T3" fmla="*/ 334 h 359"/>
                  <a:gd name="T4" fmla="*/ 15 w 281"/>
                  <a:gd name="T5" fmla="*/ 359 h 359"/>
                  <a:gd name="T6" fmla="*/ 132 w 281"/>
                  <a:gd name="T7" fmla="*/ 347 h 359"/>
                  <a:gd name="T8" fmla="*/ 158 w 281"/>
                  <a:gd name="T9" fmla="*/ 315 h 359"/>
                  <a:gd name="T10" fmla="*/ 158 w 281"/>
                  <a:gd name="T11" fmla="*/ 276 h 359"/>
                  <a:gd name="T12" fmla="*/ 247 w 281"/>
                  <a:gd name="T13" fmla="*/ 264 h 359"/>
                  <a:gd name="T14" fmla="*/ 245 w 281"/>
                  <a:gd name="T15" fmla="*/ 242 h 359"/>
                  <a:gd name="T16" fmla="*/ 241 w 281"/>
                  <a:gd name="T17" fmla="*/ 232 h 359"/>
                  <a:gd name="T18" fmla="*/ 281 w 281"/>
                  <a:gd name="T19" fmla="*/ 183 h 359"/>
                  <a:gd name="T20" fmla="*/ 258 w 281"/>
                  <a:gd name="T21" fmla="*/ 174 h 359"/>
                  <a:gd name="T22" fmla="*/ 260 w 281"/>
                  <a:gd name="T23" fmla="*/ 138 h 359"/>
                  <a:gd name="T24" fmla="*/ 245 w 281"/>
                  <a:gd name="T25" fmla="*/ 132 h 359"/>
                  <a:gd name="T26" fmla="*/ 245 w 281"/>
                  <a:gd name="T27" fmla="*/ 128 h 359"/>
                  <a:gd name="T28" fmla="*/ 264 w 281"/>
                  <a:gd name="T29" fmla="*/ 96 h 359"/>
                  <a:gd name="T30" fmla="*/ 211 w 281"/>
                  <a:gd name="T31" fmla="*/ 64 h 359"/>
                  <a:gd name="T32" fmla="*/ 188 w 281"/>
                  <a:gd name="T33" fmla="*/ 34 h 359"/>
                  <a:gd name="T34" fmla="*/ 188 w 281"/>
                  <a:gd name="T35" fmla="*/ 6 h 359"/>
                  <a:gd name="T36" fmla="*/ 166 w 281"/>
                  <a:gd name="T37" fmla="*/ 0 h 359"/>
                  <a:gd name="T38" fmla="*/ 145 w 281"/>
                  <a:gd name="T39" fmla="*/ 15 h 359"/>
                  <a:gd name="T40" fmla="*/ 49 w 281"/>
                  <a:gd name="T41" fmla="*/ 13 h 359"/>
                  <a:gd name="T42" fmla="*/ 41 w 281"/>
                  <a:gd name="T43" fmla="*/ 36 h 359"/>
                  <a:gd name="T44" fmla="*/ 49 w 281"/>
                  <a:gd name="T45" fmla="*/ 111 h 359"/>
                  <a:gd name="T46" fmla="*/ 45 w 281"/>
                  <a:gd name="T47" fmla="*/ 153 h 359"/>
                  <a:gd name="T48" fmla="*/ 26 w 281"/>
                  <a:gd name="T49" fmla="*/ 217 h 359"/>
                  <a:gd name="T50" fmla="*/ 34 w 281"/>
                  <a:gd name="T51" fmla="*/ 257 h 359"/>
                  <a:gd name="T52" fmla="*/ 0 w 281"/>
                  <a:gd name="T53" fmla="*/ 283 h 359"/>
                  <a:gd name="T54" fmla="*/ 0 w 281"/>
                  <a:gd name="T55" fmla="*/ 28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1" h="359">
                    <a:moveTo>
                      <a:pt x="0" y="289"/>
                    </a:moveTo>
                    <a:lnTo>
                      <a:pt x="30" y="334"/>
                    </a:lnTo>
                    <a:lnTo>
                      <a:pt x="15" y="359"/>
                    </a:lnTo>
                    <a:lnTo>
                      <a:pt x="132" y="347"/>
                    </a:lnTo>
                    <a:lnTo>
                      <a:pt x="158" y="315"/>
                    </a:lnTo>
                    <a:lnTo>
                      <a:pt x="158" y="276"/>
                    </a:lnTo>
                    <a:lnTo>
                      <a:pt x="247" y="264"/>
                    </a:lnTo>
                    <a:lnTo>
                      <a:pt x="245" y="242"/>
                    </a:lnTo>
                    <a:lnTo>
                      <a:pt x="241" y="232"/>
                    </a:lnTo>
                    <a:lnTo>
                      <a:pt x="281" y="183"/>
                    </a:lnTo>
                    <a:lnTo>
                      <a:pt x="258" y="174"/>
                    </a:lnTo>
                    <a:lnTo>
                      <a:pt x="260" y="138"/>
                    </a:lnTo>
                    <a:lnTo>
                      <a:pt x="245" y="132"/>
                    </a:lnTo>
                    <a:lnTo>
                      <a:pt x="245" y="128"/>
                    </a:lnTo>
                    <a:lnTo>
                      <a:pt x="264" y="96"/>
                    </a:lnTo>
                    <a:lnTo>
                      <a:pt x="211" y="64"/>
                    </a:lnTo>
                    <a:lnTo>
                      <a:pt x="188" y="34"/>
                    </a:lnTo>
                    <a:lnTo>
                      <a:pt x="188" y="6"/>
                    </a:lnTo>
                    <a:lnTo>
                      <a:pt x="166" y="0"/>
                    </a:lnTo>
                    <a:lnTo>
                      <a:pt x="145" y="15"/>
                    </a:lnTo>
                    <a:lnTo>
                      <a:pt x="49" y="13"/>
                    </a:lnTo>
                    <a:lnTo>
                      <a:pt x="41" y="36"/>
                    </a:lnTo>
                    <a:lnTo>
                      <a:pt x="49" y="111"/>
                    </a:lnTo>
                    <a:lnTo>
                      <a:pt x="45" y="153"/>
                    </a:lnTo>
                    <a:lnTo>
                      <a:pt x="26" y="217"/>
                    </a:lnTo>
                    <a:lnTo>
                      <a:pt x="34" y="257"/>
                    </a:lnTo>
                    <a:lnTo>
                      <a:pt x="0" y="283"/>
                    </a:lnTo>
                    <a:lnTo>
                      <a:pt x="0" y="289"/>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41" name="95">
                <a:extLst>
                  <a:ext uri="{FF2B5EF4-FFF2-40B4-BE49-F238E27FC236}">
                    <a16:creationId xmlns:a16="http://schemas.microsoft.com/office/drawing/2014/main" id="{956281D5-75D2-42D8-B9D3-3804F8623084}"/>
                  </a:ext>
                </a:extLst>
              </p:cNvPr>
              <p:cNvSpPr>
                <a:spLocks/>
              </p:cNvSpPr>
              <p:nvPr/>
            </p:nvSpPr>
            <p:spPr bwMode="gray">
              <a:xfrm>
                <a:off x="6259447" y="2463977"/>
                <a:ext cx="333788" cy="173341"/>
              </a:xfrm>
              <a:custGeom>
                <a:avLst/>
                <a:gdLst>
                  <a:gd name="T0" fmla="*/ 0 w 233"/>
                  <a:gd name="T1" fmla="*/ 60 h 121"/>
                  <a:gd name="T2" fmla="*/ 34 w 233"/>
                  <a:gd name="T3" fmla="*/ 64 h 121"/>
                  <a:gd name="T4" fmla="*/ 36 w 233"/>
                  <a:gd name="T5" fmla="*/ 64 h 121"/>
                  <a:gd name="T6" fmla="*/ 40 w 233"/>
                  <a:gd name="T7" fmla="*/ 66 h 121"/>
                  <a:gd name="T8" fmla="*/ 42 w 233"/>
                  <a:gd name="T9" fmla="*/ 66 h 121"/>
                  <a:gd name="T10" fmla="*/ 99 w 233"/>
                  <a:gd name="T11" fmla="*/ 89 h 121"/>
                  <a:gd name="T12" fmla="*/ 121 w 233"/>
                  <a:gd name="T13" fmla="*/ 83 h 121"/>
                  <a:gd name="T14" fmla="*/ 140 w 233"/>
                  <a:gd name="T15" fmla="*/ 121 h 121"/>
                  <a:gd name="T16" fmla="*/ 161 w 233"/>
                  <a:gd name="T17" fmla="*/ 106 h 121"/>
                  <a:gd name="T18" fmla="*/ 161 w 233"/>
                  <a:gd name="T19" fmla="*/ 106 h 121"/>
                  <a:gd name="T20" fmla="*/ 161 w 233"/>
                  <a:gd name="T21" fmla="*/ 104 h 121"/>
                  <a:gd name="T22" fmla="*/ 201 w 233"/>
                  <a:gd name="T23" fmla="*/ 104 h 121"/>
                  <a:gd name="T24" fmla="*/ 225 w 233"/>
                  <a:gd name="T25" fmla="*/ 85 h 121"/>
                  <a:gd name="T26" fmla="*/ 233 w 233"/>
                  <a:gd name="T27" fmla="*/ 62 h 121"/>
                  <a:gd name="T28" fmla="*/ 170 w 233"/>
                  <a:gd name="T29" fmla="*/ 21 h 121"/>
                  <a:gd name="T30" fmla="*/ 144 w 233"/>
                  <a:gd name="T31" fmla="*/ 32 h 121"/>
                  <a:gd name="T32" fmla="*/ 112 w 233"/>
                  <a:gd name="T33" fmla="*/ 13 h 121"/>
                  <a:gd name="T34" fmla="*/ 65 w 233"/>
                  <a:gd name="T35" fmla="*/ 28 h 121"/>
                  <a:gd name="T36" fmla="*/ 31 w 233"/>
                  <a:gd name="T37" fmla="*/ 21 h 121"/>
                  <a:gd name="T38" fmla="*/ 23 w 233"/>
                  <a:gd name="T39" fmla="*/ 0 h 121"/>
                  <a:gd name="T40" fmla="*/ 0 w 233"/>
                  <a:gd name="T41" fmla="*/ 55 h 121"/>
                  <a:gd name="T42" fmla="*/ 0 w 233"/>
                  <a:gd name="T43" fmla="*/ 6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3" h="121">
                    <a:moveTo>
                      <a:pt x="0" y="60"/>
                    </a:moveTo>
                    <a:lnTo>
                      <a:pt x="34" y="64"/>
                    </a:lnTo>
                    <a:lnTo>
                      <a:pt x="36" y="64"/>
                    </a:lnTo>
                    <a:lnTo>
                      <a:pt x="40" y="66"/>
                    </a:lnTo>
                    <a:lnTo>
                      <a:pt x="42" y="66"/>
                    </a:lnTo>
                    <a:lnTo>
                      <a:pt x="99" y="89"/>
                    </a:lnTo>
                    <a:lnTo>
                      <a:pt x="121" y="83"/>
                    </a:lnTo>
                    <a:lnTo>
                      <a:pt x="140" y="121"/>
                    </a:lnTo>
                    <a:lnTo>
                      <a:pt x="161" y="106"/>
                    </a:lnTo>
                    <a:lnTo>
                      <a:pt x="161" y="106"/>
                    </a:lnTo>
                    <a:lnTo>
                      <a:pt x="161" y="104"/>
                    </a:lnTo>
                    <a:lnTo>
                      <a:pt x="201" y="104"/>
                    </a:lnTo>
                    <a:lnTo>
                      <a:pt x="225" y="85"/>
                    </a:lnTo>
                    <a:lnTo>
                      <a:pt x="233" y="62"/>
                    </a:lnTo>
                    <a:lnTo>
                      <a:pt x="170" y="21"/>
                    </a:lnTo>
                    <a:lnTo>
                      <a:pt x="144" y="32"/>
                    </a:lnTo>
                    <a:lnTo>
                      <a:pt x="112" y="13"/>
                    </a:lnTo>
                    <a:lnTo>
                      <a:pt x="65" y="28"/>
                    </a:lnTo>
                    <a:lnTo>
                      <a:pt x="31" y="21"/>
                    </a:lnTo>
                    <a:lnTo>
                      <a:pt x="23" y="0"/>
                    </a:lnTo>
                    <a:lnTo>
                      <a:pt x="0" y="55"/>
                    </a:lnTo>
                    <a:lnTo>
                      <a:pt x="0" y="60"/>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sp>
          <p:nvSpPr>
            <p:cNvPr id="290" name="Corse (Forme)">
              <a:extLst>
                <a:ext uri="{FF2B5EF4-FFF2-40B4-BE49-F238E27FC236}">
                  <a16:creationId xmlns:a16="http://schemas.microsoft.com/office/drawing/2014/main" id="{2B218DCE-6BB2-410D-9CF2-2E777B229C30}"/>
                </a:ext>
              </a:extLst>
            </p:cNvPr>
            <p:cNvSpPr>
              <a:spLocks/>
            </p:cNvSpPr>
            <p:nvPr/>
          </p:nvSpPr>
          <p:spPr bwMode="gray">
            <a:xfrm>
              <a:off x="9439077" y="5132410"/>
              <a:ext cx="338459" cy="865112"/>
            </a:xfrm>
            <a:custGeom>
              <a:avLst/>
              <a:gdLst>
                <a:gd name="T0" fmla="*/ 94 w 98"/>
                <a:gd name="T1" fmla="*/ 81 h 251"/>
                <a:gd name="T2" fmla="*/ 85 w 98"/>
                <a:gd name="T3" fmla="*/ 45 h 251"/>
                <a:gd name="T4" fmla="*/ 84 w 98"/>
                <a:gd name="T5" fmla="*/ 4 h 251"/>
                <a:gd name="T6" fmla="*/ 72 w 98"/>
                <a:gd name="T7" fmla="*/ 5 h 251"/>
                <a:gd name="T8" fmla="*/ 71 w 98"/>
                <a:gd name="T9" fmla="*/ 20 h 251"/>
                <a:gd name="T10" fmla="*/ 70 w 98"/>
                <a:gd name="T11" fmla="*/ 48 h 251"/>
                <a:gd name="T12" fmla="*/ 51 w 98"/>
                <a:gd name="T13" fmla="*/ 42 h 251"/>
                <a:gd name="T14" fmla="*/ 40 w 98"/>
                <a:gd name="T15" fmla="*/ 55 h 251"/>
                <a:gd name="T16" fmla="*/ 29 w 98"/>
                <a:gd name="T17" fmla="*/ 60 h 251"/>
                <a:gd name="T18" fmla="*/ 21 w 98"/>
                <a:gd name="T19" fmla="*/ 68 h 251"/>
                <a:gd name="T20" fmla="*/ 14 w 98"/>
                <a:gd name="T21" fmla="*/ 70 h 251"/>
                <a:gd name="T22" fmla="*/ 11 w 98"/>
                <a:gd name="T23" fmla="*/ 80 h 251"/>
                <a:gd name="T24" fmla="*/ 10 w 98"/>
                <a:gd name="T25" fmla="*/ 88 h 251"/>
                <a:gd name="T26" fmla="*/ 0 w 98"/>
                <a:gd name="T27" fmla="*/ 93 h 251"/>
                <a:gd name="T28" fmla="*/ 5 w 98"/>
                <a:gd name="T29" fmla="*/ 99 h 251"/>
                <a:gd name="T30" fmla="*/ 14 w 98"/>
                <a:gd name="T31" fmla="*/ 110 h 251"/>
                <a:gd name="T32" fmla="*/ 3 w 98"/>
                <a:gd name="T33" fmla="*/ 129 h 251"/>
                <a:gd name="T34" fmla="*/ 10 w 98"/>
                <a:gd name="T35" fmla="*/ 134 h 251"/>
                <a:gd name="T36" fmla="*/ 16 w 98"/>
                <a:gd name="T37" fmla="*/ 136 h 251"/>
                <a:gd name="T38" fmla="*/ 17 w 98"/>
                <a:gd name="T39" fmla="*/ 147 h 251"/>
                <a:gd name="T40" fmla="*/ 8 w 98"/>
                <a:gd name="T41" fmla="*/ 157 h 251"/>
                <a:gd name="T42" fmla="*/ 19 w 98"/>
                <a:gd name="T43" fmla="*/ 165 h 251"/>
                <a:gd name="T44" fmla="*/ 29 w 98"/>
                <a:gd name="T45" fmla="*/ 167 h 251"/>
                <a:gd name="T46" fmla="*/ 24 w 98"/>
                <a:gd name="T47" fmla="*/ 175 h 251"/>
                <a:gd name="T48" fmla="*/ 20 w 98"/>
                <a:gd name="T49" fmla="*/ 183 h 251"/>
                <a:gd name="T50" fmla="*/ 14 w 98"/>
                <a:gd name="T51" fmla="*/ 189 h 251"/>
                <a:gd name="T52" fmla="*/ 25 w 98"/>
                <a:gd name="T53" fmla="*/ 191 h 251"/>
                <a:gd name="T54" fmla="*/ 37 w 98"/>
                <a:gd name="T55" fmla="*/ 202 h 251"/>
                <a:gd name="T56" fmla="*/ 29 w 98"/>
                <a:gd name="T57" fmla="*/ 220 h 251"/>
                <a:gd name="T58" fmla="*/ 39 w 98"/>
                <a:gd name="T59" fmla="*/ 231 h 251"/>
                <a:gd name="T60" fmla="*/ 52 w 98"/>
                <a:gd name="T61" fmla="*/ 236 h 251"/>
                <a:gd name="T62" fmla="*/ 56 w 98"/>
                <a:gd name="T63" fmla="*/ 237 h 251"/>
                <a:gd name="T64" fmla="*/ 57 w 98"/>
                <a:gd name="T65" fmla="*/ 243 h 251"/>
                <a:gd name="T66" fmla="*/ 70 w 98"/>
                <a:gd name="T67" fmla="*/ 251 h 251"/>
                <a:gd name="T68" fmla="*/ 72 w 98"/>
                <a:gd name="T69" fmla="*/ 239 h 251"/>
                <a:gd name="T70" fmla="*/ 76 w 98"/>
                <a:gd name="T71" fmla="*/ 224 h 251"/>
                <a:gd name="T72" fmla="*/ 83 w 98"/>
                <a:gd name="T73" fmla="*/ 213 h 251"/>
                <a:gd name="T74" fmla="*/ 78 w 98"/>
                <a:gd name="T75" fmla="*/ 210 h 251"/>
                <a:gd name="T76" fmla="*/ 88 w 98"/>
                <a:gd name="T77" fmla="*/ 195 h 251"/>
                <a:gd name="T78" fmla="*/ 98 w 98"/>
                <a:gd name="T79" fmla="*/ 134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8" h="251">
                  <a:moveTo>
                    <a:pt x="98" y="134"/>
                  </a:moveTo>
                  <a:cubicBezTo>
                    <a:pt x="98" y="134"/>
                    <a:pt x="92" y="82"/>
                    <a:pt x="94" y="81"/>
                  </a:cubicBezTo>
                  <a:cubicBezTo>
                    <a:pt x="95" y="79"/>
                    <a:pt x="94" y="72"/>
                    <a:pt x="94" y="69"/>
                  </a:cubicBezTo>
                  <a:cubicBezTo>
                    <a:pt x="84" y="61"/>
                    <a:pt x="87" y="46"/>
                    <a:pt x="85" y="45"/>
                  </a:cubicBezTo>
                  <a:cubicBezTo>
                    <a:pt x="88" y="40"/>
                    <a:pt x="87" y="17"/>
                    <a:pt x="84" y="12"/>
                  </a:cubicBezTo>
                  <a:cubicBezTo>
                    <a:pt x="82" y="7"/>
                    <a:pt x="84" y="4"/>
                    <a:pt x="84" y="4"/>
                  </a:cubicBezTo>
                  <a:cubicBezTo>
                    <a:pt x="79" y="0"/>
                    <a:pt x="79" y="0"/>
                    <a:pt x="79" y="0"/>
                  </a:cubicBezTo>
                  <a:cubicBezTo>
                    <a:pt x="79" y="0"/>
                    <a:pt x="74" y="2"/>
                    <a:pt x="72" y="5"/>
                  </a:cubicBezTo>
                  <a:cubicBezTo>
                    <a:pt x="70" y="8"/>
                    <a:pt x="71" y="8"/>
                    <a:pt x="73" y="11"/>
                  </a:cubicBezTo>
                  <a:cubicBezTo>
                    <a:pt x="75" y="15"/>
                    <a:pt x="70" y="16"/>
                    <a:pt x="71" y="20"/>
                  </a:cubicBezTo>
                  <a:cubicBezTo>
                    <a:pt x="71" y="23"/>
                    <a:pt x="71" y="28"/>
                    <a:pt x="71" y="28"/>
                  </a:cubicBezTo>
                  <a:cubicBezTo>
                    <a:pt x="75" y="34"/>
                    <a:pt x="70" y="48"/>
                    <a:pt x="70" y="48"/>
                  </a:cubicBezTo>
                  <a:cubicBezTo>
                    <a:pt x="62" y="43"/>
                    <a:pt x="62" y="43"/>
                    <a:pt x="62" y="43"/>
                  </a:cubicBezTo>
                  <a:cubicBezTo>
                    <a:pt x="51" y="42"/>
                    <a:pt x="51" y="42"/>
                    <a:pt x="51" y="42"/>
                  </a:cubicBezTo>
                  <a:cubicBezTo>
                    <a:pt x="46" y="51"/>
                    <a:pt x="46" y="51"/>
                    <a:pt x="46" y="51"/>
                  </a:cubicBezTo>
                  <a:cubicBezTo>
                    <a:pt x="40" y="55"/>
                    <a:pt x="40" y="55"/>
                    <a:pt x="40" y="55"/>
                  </a:cubicBezTo>
                  <a:cubicBezTo>
                    <a:pt x="33" y="55"/>
                    <a:pt x="33" y="55"/>
                    <a:pt x="33" y="55"/>
                  </a:cubicBezTo>
                  <a:cubicBezTo>
                    <a:pt x="29" y="60"/>
                    <a:pt x="29" y="60"/>
                    <a:pt x="29" y="60"/>
                  </a:cubicBezTo>
                  <a:cubicBezTo>
                    <a:pt x="23" y="60"/>
                    <a:pt x="23" y="60"/>
                    <a:pt x="23" y="60"/>
                  </a:cubicBezTo>
                  <a:cubicBezTo>
                    <a:pt x="21" y="68"/>
                    <a:pt x="21" y="68"/>
                    <a:pt x="21" y="68"/>
                  </a:cubicBezTo>
                  <a:cubicBezTo>
                    <a:pt x="15" y="64"/>
                    <a:pt x="15" y="64"/>
                    <a:pt x="15" y="64"/>
                  </a:cubicBezTo>
                  <a:cubicBezTo>
                    <a:pt x="14" y="70"/>
                    <a:pt x="14" y="70"/>
                    <a:pt x="14" y="70"/>
                  </a:cubicBezTo>
                  <a:cubicBezTo>
                    <a:pt x="8" y="79"/>
                    <a:pt x="8" y="79"/>
                    <a:pt x="8" y="79"/>
                  </a:cubicBezTo>
                  <a:cubicBezTo>
                    <a:pt x="8" y="79"/>
                    <a:pt x="9" y="78"/>
                    <a:pt x="11" y="80"/>
                  </a:cubicBezTo>
                  <a:cubicBezTo>
                    <a:pt x="14" y="82"/>
                    <a:pt x="10" y="83"/>
                    <a:pt x="10" y="83"/>
                  </a:cubicBezTo>
                  <a:cubicBezTo>
                    <a:pt x="10" y="88"/>
                    <a:pt x="10" y="88"/>
                    <a:pt x="10" y="88"/>
                  </a:cubicBezTo>
                  <a:cubicBezTo>
                    <a:pt x="5" y="89"/>
                    <a:pt x="5" y="89"/>
                    <a:pt x="5" y="89"/>
                  </a:cubicBezTo>
                  <a:cubicBezTo>
                    <a:pt x="5" y="92"/>
                    <a:pt x="0" y="93"/>
                    <a:pt x="0" y="93"/>
                  </a:cubicBezTo>
                  <a:cubicBezTo>
                    <a:pt x="0" y="100"/>
                    <a:pt x="0" y="100"/>
                    <a:pt x="0" y="100"/>
                  </a:cubicBezTo>
                  <a:cubicBezTo>
                    <a:pt x="0" y="100"/>
                    <a:pt x="3" y="99"/>
                    <a:pt x="5" y="99"/>
                  </a:cubicBezTo>
                  <a:cubicBezTo>
                    <a:pt x="8" y="99"/>
                    <a:pt x="6" y="104"/>
                    <a:pt x="7" y="104"/>
                  </a:cubicBezTo>
                  <a:cubicBezTo>
                    <a:pt x="8" y="104"/>
                    <a:pt x="14" y="110"/>
                    <a:pt x="14" y="110"/>
                  </a:cubicBezTo>
                  <a:cubicBezTo>
                    <a:pt x="6" y="111"/>
                    <a:pt x="3" y="116"/>
                    <a:pt x="3" y="116"/>
                  </a:cubicBezTo>
                  <a:cubicBezTo>
                    <a:pt x="3" y="129"/>
                    <a:pt x="3" y="129"/>
                    <a:pt x="3" y="129"/>
                  </a:cubicBezTo>
                  <a:cubicBezTo>
                    <a:pt x="5" y="132"/>
                    <a:pt x="5" y="132"/>
                    <a:pt x="5" y="132"/>
                  </a:cubicBezTo>
                  <a:cubicBezTo>
                    <a:pt x="10" y="134"/>
                    <a:pt x="10" y="134"/>
                    <a:pt x="10" y="134"/>
                  </a:cubicBezTo>
                  <a:cubicBezTo>
                    <a:pt x="10" y="134"/>
                    <a:pt x="11" y="135"/>
                    <a:pt x="13" y="137"/>
                  </a:cubicBezTo>
                  <a:cubicBezTo>
                    <a:pt x="14" y="134"/>
                    <a:pt x="15" y="137"/>
                    <a:pt x="16" y="136"/>
                  </a:cubicBezTo>
                  <a:cubicBezTo>
                    <a:pt x="16" y="141"/>
                    <a:pt x="21" y="143"/>
                    <a:pt x="21" y="143"/>
                  </a:cubicBezTo>
                  <a:cubicBezTo>
                    <a:pt x="17" y="147"/>
                    <a:pt x="17" y="147"/>
                    <a:pt x="17" y="147"/>
                  </a:cubicBezTo>
                  <a:cubicBezTo>
                    <a:pt x="12" y="148"/>
                    <a:pt x="13" y="156"/>
                    <a:pt x="13" y="156"/>
                  </a:cubicBezTo>
                  <a:cubicBezTo>
                    <a:pt x="8" y="157"/>
                    <a:pt x="8" y="157"/>
                    <a:pt x="8" y="157"/>
                  </a:cubicBezTo>
                  <a:cubicBezTo>
                    <a:pt x="9" y="166"/>
                    <a:pt x="9" y="166"/>
                    <a:pt x="9" y="166"/>
                  </a:cubicBezTo>
                  <a:cubicBezTo>
                    <a:pt x="19" y="165"/>
                    <a:pt x="19" y="165"/>
                    <a:pt x="19" y="165"/>
                  </a:cubicBezTo>
                  <a:cubicBezTo>
                    <a:pt x="23" y="163"/>
                    <a:pt x="23" y="163"/>
                    <a:pt x="23" y="163"/>
                  </a:cubicBezTo>
                  <a:cubicBezTo>
                    <a:pt x="29" y="167"/>
                    <a:pt x="29" y="167"/>
                    <a:pt x="29" y="167"/>
                  </a:cubicBezTo>
                  <a:cubicBezTo>
                    <a:pt x="27" y="169"/>
                    <a:pt x="27" y="169"/>
                    <a:pt x="27" y="169"/>
                  </a:cubicBezTo>
                  <a:cubicBezTo>
                    <a:pt x="24" y="175"/>
                    <a:pt x="24" y="175"/>
                    <a:pt x="24" y="175"/>
                  </a:cubicBezTo>
                  <a:cubicBezTo>
                    <a:pt x="24" y="179"/>
                    <a:pt x="24" y="179"/>
                    <a:pt x="24" y="179"/>
                  </a:cubicBezTo>
                  <a:cubicBezTo>
                    <a:pt x="20" y="183"/>
                    <a:pt x="20" y="183"/>
                    <a:pt x="20" y="183"/>
                  </a:cubicBezTo>
                  <a:cubicBezTo>
                    <a:pt x="21" y="186"/>
                    <a:pt x="21" y="186"/>
                    <a:pt x="21" y="186"/>
                  </a:cubicBezTo>
                  <a:cubicBezTo>
                    <a:pt x="14" y="189"/>
                    <a:pt x="14" y="189"/>
                    <a:pt x="14" y="189"/>
                  </a:cubicBezTo>
                  <a:cubicBezTo>
                    <a:pt x="20" y="194"/>
                    <a:pt x="20" y="194"/>
                    <a:pt x="20" y="194"/>
                  </a:cubicBezTo>
                  <a:cubicBezTo>
                    <a:pt x="25" y="191"/>
                    <a:pt x="25" y="191"/>
                    <a:pt x="25" y="191"/>
                  </a:cubicBezTo>
                  <a:cubicBezTo>
                    <a:pt x="27" y="196"/>
                    <a:pt x="27" y="196"/>
                    <a:pt x="27" y="196"/>
                  </a:cubicBezTo>
                  <a:cubicBezTo>
                    <a:pt x="27" y="196"/>
                    <a:pt x="37" y="199"/>
                    <a:pt x="37" y="202"/>
                  </a:cubicBezTo>
                  <a:cubicBezTo>
                    <a:pt x="37" y="204"/>
                    <a:pt x="29" y="208"/>
                    <a:pt x="29" y="208"/>
                  </a:cubicBezTo>
                  <a:cubicBezTo>
                    <a:pt x="29" y="208"/>
                    <a:pt x="29" y="218"/>
                    <a:pt x="29" y="220"/>
                  </a:cubicBezTo>
                  <a:cubicBezTo>
                    <a:pt x="29" y="221"/>
                    <a:pt x="33" y="227"/>
                    <a:pt x="35" y="226"/>
                  </a:cubicBezTo>
                  <a:cubicBezTo>
                    <a:pt x="37" y="223"/>
                    <a:pt x="39" y="231"/>
                    <a:pt x="39" y="231"/>
                  </a:cubicBezTo>
                  <a:cubicBezTo>
                    <a:pt x="47" y="231"/>
                    <a:pt x="47" y="231"/>
                    <a:pt x="47" y="231"/>
                  </a:cubicBezTo>
                  <a:cubicBezTo>
                    <a:pt x="52" y="236"/>
                    <a:pt x="52" y="236"/>
                    <a:pt x="52" y="236"/>
                  </a:cubicBezTo>
                  <a:cubicBezTo>
                    <a:pt x="56" y="232"/>
                    <a:pt x="56" y="232"/>
                    <a:pt x="56" y="232"/>
                  </a:cubicBezTo>
                  <a:cubicBezTo>
                    <a:pt x="56" y="237"/>
                    <a:pt x="56" y="237"/>
                    <a:pt x="56" y="237"/>
                  </a:cubicBezTo>
                  <a:cubicBezTo>
                    <a:pt x="61" y="238"/>
                    <a:pt x="61" y="238"/>
                    <a:pt x="61" y="238"/>
                  </a:cubicBezTo>
                  <a:cubicBezTo>
                    <a:pt x="57" y="243"/>
                    <a:pt x="57" y="243"/>
                    <a:pt x="57" y="243"/>
                  </a:cubicBezTo>
                  <a:cubicBezTo>
                    <a:pt x="57" y="243"/>
                    <a:pt x="60" y="249"/>
                    <a:pt x="60" y="246"/>
                  </a:cubicBezTo>
                  <a:cubicBezTo>
                    <a:pt x="60" y="243"/>
                    <a:pt x="70" y="251"/>
                    <a:pt x="70" y="251"/>
                  </a:cubicBezTo>
                  <a:cubicBezTo>
                    <a:pt x="74" y="242"/>
                    <a:pt x="74" y="242"/>
                    <a:pt x="74" y="242"/>
                  </a:cubicBezTo>
                  <a:cubicBezTo>
                    <a:pt x="74" y="242"/>
                    <a:pt x="71" y="239"/>
                    <a:pt x="72" y="239"/>
                  </a:cubicBezTo>
                  <a:cubicBezTo>
                    <a:pt x="74" y="239"/>
                    <a:pt x="77" y="232"/>
                    <a:pt x="77" y="232"/>
                  </a:cubicBezTo>
                  <a:cubicBezTo>
                    <a:pt x="76" y="224"/>
                    <a:pt x="76" y="224"/>
                    <a:pt x="76" y="224"/>
                  </a:cubicBezTo>
                  <a:cubicBezTo>
                    <a:pt x="76" y="224"/>
                    <a:pt x="78" y="223"/>
                    <a:pt x="82" y="221"/>
                  </a:cubicBezTo>
                  <a:cubicBezTo>
                    <a:pt x="86" y="219"/>
                    <a:pt x="84" y="215"/>
                    <a:pt x="83" y="213"/>
                  </a:cubicBezTo>
                  <a:cubicBezTo>
                    <a:pt x="81" y="212"/>
                    <a:pt x="77" y="216"/>
                    <a:pt x="76" y="217"/>
                  </a:cubicBezTo>
                  <a:cubicBezTo>
                    <a:pt x="75" y="217"/>
                    <a:pt x="78" y="210"/>
                    <a:pt x="78" y="210"/>
                  </a:cubicBezTo>
                  <a:cubicBezTo>
                    <a:pt x="78" y="210"/>
                    <a:pt x="85" y="210"/>
                    <a:pt x="85" y="206"/>
                  </a:cubicBezTo>
                  <a:cubicBezTo>
                    <a:pt x="85" y="203"/>
                    <a:pt x="88" y="195"/>
                    <a:pt x="88" y="195"/>
                  </a:cubicBezTo>
                  <a:cubicBezTo>
                    <a:pt x="88" y="195"/>
                    <a:pt x="87" y="161"/>
                    <a:pt x="86" y="160"/>
                  </a:cubicBezTo>
                  <a:cubicBezTo>
                    <a:pt x="92" y="155"/>
                    <a:pt x="98" y="134"/>
                    <a:pt x="98" y="134"/>
                  </a:cubicBezTo>
                  <a:close/>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503078"/>
                </a:solidFill>
                <a:latin typeface="Tahoma"/>
              </a:endParaRPr>
            </a:p>
          </p:txBody>
        </p:sp>
        <p:grpSp>
          <p:nvGrpSpPr>
            <p:cNvPr id="292" name="Centre (Formes)">
              <a:extLst>
                <a:ext uri="{FF2B5EF4-FFF2-40B4-BE49-F238E27FC236}">
                  <a16:creationId xmlns:a16="http://schemas.microsoft.com/office/drawing/2014/main" id="{92969565-35CE-44B4-A897-5D8C9CBFC2EC}"/>
                </a:ext>
              </a:extLst>
            </p:cNvPr>
            <p:cNvGrpSpPr/>
            <p:nvPr/>
          </p:nvGrpSpPr>
          <p:grpSpPr>
            <a:xfrm>
              <a:off x="6434148" y="2446444"/>
              <a:ext cx="1095911" cy="1356640"/>
              <a:chOff x="5680692" y="2615829"/>
              <a:chExt cx="1095911" cy="1356640"/>
            </a:xfrm>
            <a:solidFill>
              <a:srgbClr val="048B9A"/>
            </a:solidFill>
          </p:grpSpPr>
          <p:sp>
            <p:nvSpPr>
              <p:cNvPr id="422" name="37">
                <a:extLst>
                  <a:ext uri="{FF2B5EF4-FFF2-40B4-BE49-F238E27FC236}">
                    <a16:creationId xmlns:a16="http://schemas.microsoft.com/office/drawing/2014/main" id="{FA3B075F-263B-4685-83BE-E8252CF32196}"/>
                  </a:ext>
                </a:extLst>
              </p:cNvPr>
              <p:cNvSpPr>
                <a:spLocks/>
              </p:cNvSpPr>
              <p:nvPr/>
            </p:nvSpPr>
            <p:spPr bwMode="gray">
              <a:xfrm>
                <a:off x="5680692" y="3259051"/>
                <a:ext cx="462719" cy="497100"/>
              </a:xfrm>
              <a:custGeom>
                <a:avLst/>
                <a:gdLst>
                  <a:gd name="T0" fmla="*/ 0 w 323"/>
                  <a:gd name="T1" fmla="*/ 191 h 347"/>
                  <a:gd name="T2" fmla="*/ 32 w 323"/>
                  <a:gd name="T3" fmla="*/ 208 h 347"/>
                  <a:gd name="T4" fmla="*/ 27 w 323"/>
                  <a:gd name="T5" fmla="*/ 228 h 347"/>
                  <a:gd name="T6" fmla="*/ 59 w 323"/>
                  <a:gd name="T7" fmla="*/ 232 h 347"/>
                  <a:gd name="T8" fmla="*/ 63 w 323"/>
                  <a:gd name="T9" fmla="*/ 276 h 347"/>
                  <a:gd name="T10" fmla="*/ 131 w 323"/>
                  <a:gd name="T11" fmla="*/ 268 h 347"/>
                  <a:gd name="T12" fmla="*/ 125 w 323"/>
                  <a:gd name="T13" fmla="*/ 251 h 347"/>
                  <a:gd name="T14" fmla="*/ 155 w 323"/>
                  <a:gd name="T15" fmla="*/ 264 h 347"/>
                  <a:gd name="T16" fmla="*/ 197 w 323"/>
                  <a:gd name="T17" fmla="*/ 347 h 347"/>
                  <a:gd name="T18" fmla="*/ 231 w 323"/>
                  <a:gd name="T19" fmla="*/ 344 h 347"/>
                  <a:gd name="T20" fmla="*/ 246 w 323"/>
                  <a:gd name="T21" fmla="*/ 259 h 347"/>
                  <a:gd name="T22" fmla="*/ 272 w 323"/>
                  <a:gd name="T23" fmla="*/ 245 h 347"/>
                  <a:gd name="T24" fmla="*/ 297 w 323"/>
                  <a:gd name="T25" fmla="*/ 251 h 347"/>
                  <a:gd name="T26" fmla="*/ 323 w 323"/>
                  <a:gd name="T27" fmla="*/ 219 h 347"/>
                  <a:gd name="T28" fmla="*/ 319 w 323"/>
                  <a:gd name="T29" fmla="*/ 191 h 347"/>
                  <a:gd name="T30" fmla="*/ 297 w 323"/>
                  <a:gd name="T31" fmla="*/ 153 h 347"/>
                  <a:gd name="T32" fmla="*/ 263 w 323"/>
                  <a:gd name="T33" fmla="*/ 149 h 347"/>
                  <a:gd name="T34" fmla="*/ 272 w 323"/>
                  <a:gd name="T35" fmla="*/ 96 h 347"/>
                  <a:gd name="T36" fmla="*/ 248 w 323"/>
                  <a:gd name="T37" fmla="*/ 36 h 347"/>
                  <a:gd name="T38" fmla="*/ 221 w 323"/>
                  <a:gd name="T39" fmla="*/ 26 h 347"/>
                  <a:gd name="T40" fmla="*/ 206 w 323"/>
                  <a:gd name="T41" fmla="*/ 36 h 347"/>
                  <a:gd name="T42" fmla="*/ 206 w 323"/>
                  <a:gd name="T43" fmla="*/ 6 h 347"/>
                  <a:gd name="T44" fmla="*/ 146 w 323"/>
                  <a:gd name="T45" fmla="*/ 0 h 347"/>
                  <a:gd name="T46" fmla="*/ 104 w 323"/>
                  <a:gd name="T47" fmla="*/ 26 h 347"/>
                  <a:gd name="T48" fmla="*/ 89 w 323"/>
                  <a:gd name="T49" fmla="*/ 17 h 347"/>
                  <a:gd name="T50" fmla="*/ 85 w 323"/>
                  <a:gd name="T51" fmla="*/ 43 h 347"/>
                  <a:gd name="T52" fmla="*/ 49 w 323"/>
                  <a:gd name="T53" fmla="*/ 28 h 347"/>
                  <a:gd name="T54" fmla="*/ 0 w 323"/>
                  <a:gd name="T55" fmla="*/ 187 h 347"/>
                  <a:gd name="T56" fmla="*/ 0 w 323"/>
                  <a:gd name="T57" fmla="*/ 19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3" h="347">
                    <a:moveTo>
                      <a:pt x="0" y="191"/>
                    </a:moveTo>
                    <a:lnTo>
                      <a:pt x="32" y="208"/>
                    </a:lnTo>
                    <a:lnTo>
                      <a:pt x="27" y="228"/>
                    </a:lnTo>
                    <a:lnTo>
                      <a:pt x="59" y="232"/>
                    </a:lnTo>
                    <a:lnTo>
                      <a:pt x="63" y="276"/>
                    </a:lnTo>
                    <a:lnTo>
                      <a:pt x="131" y="268"/>
                    </a:lnTo>
                    <a:lnTo>
                      <a:pt x="125" y="251"/>
                    </a:lnTo>
                    <a:lnTo>
                      <a:pt x="155" y="264"/>
                    </a:lnTo>
                    <a:lnTo>
                      <a:pt x="197" y="347"/>
                    </a:lnTo>
                    <a:lnTo>
                      <a:pt x="231" y="344"/>
                    </a:lnTo>
                    <a:lnTo>
                      <a:pt x="246" y="259"/>
                    </a:lnTo>
                    <a:lnTo>
                      <a:pt x="272" y="245"/>
                    </a:lnTo>
                    <a:lnTo>
                      <a:pt x="297" y="251"/>
                    </a:lnTo>
                    <a:lnTo>
                      <a:pt x="323" y="219"/>
                    </a:lnTo>
                    <a:lnTo>
                      <a:pt x="319" y="191"/>
                    </a:lnTo>
                    <a:lnTo>
                      <a:pt x="297" y="153"/>
                    </a:lnTo>
                    <a:lnTo>
                      <a:pt x="263" y="149"/>
                    </a:lnTo>
                    <a:lnTo>
                      <a:pt x="272" y="96"/>
                    </a:lnTo>
                    <a:lnTo>
                      <a:pt x="248" y="36"/>
                    </a:lnTo>
                    <a:lnTo>
                      <a:pt x="221" y="26"/>
                    </a:lnTo>
                    <a:lnTo>
                      <a:pt x="206" y="36"/>
                    </a:lnTo>
                    <a:lnTo>
                      <a:pt x="206" y="6"/>
                    </a:lnTo>
                    <a:lnTo>
                      <a:pt x="146" y="0"/>
                    </a:lnTo>
                    <a:lnTo>
                      <a:pt x="104" y="26"/>
                    </a:lnTo>
                    <a:lnTo>
                      <a:pt x="89" y="17"/>
                    </a:lnTo>
                    <a:lnTo>
                      <a:pt x="85" y="43"/>
                    </a:lnTo>
                    <a:lnTo>
                      <a:pt x="49" y="28"/>
                    </a:lnTo>
                    <a:lnTo>
                      <a:pt x="0" y="187"/>
                    </a:lnTo>
                    <a:lnTo>
                      <a:pt x="0" y="191"/>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23" name="41">
                <a:extLst>
                  <a:ext uri="{FF2B5EF4-FFF2-40B4-BE49-F238E27FC236}">
                    <a16:creationId xmlns:a16="http://schemas.microsoft.com/office/drawing/2014/main" id="{41A21791-B882-4622-9DE6-66D21C636870}"/>
                  </a:ext>
                </a:extLst>
              </p:cNvPr>
              <p:cNvSpPr>
                <a:spLocks/>
              </p:cNvSpPr>
              <p:nvPr/>
            </p:nvSpPr>
            <p:spPr bwMode="gray">
              <a:xfrm>
                <a:off x="5878385" y="3034137"/>
                <a:ext cx="584487" cy="498532"/>
              </a:xfrm>
              <a:custGeom>
                <a:avLst/>
                <a:gdLst>
                  <a:gd name="T0" fmla="*/ 4 w 408"/>
                  <a:gd name="T1" fmla="*/ 159 h 348"/>
                  <a:gd name="T2" fmla="*/ 8 w 408"/>
                  <a:gd name="T3" fmla="*/ 157 h 348"/>
                  <a:gd name="T4" fmla="*/ 68 w 408"/>
                  <a:gd name="T5" fmla="*/ 163 h 348"/>
                  <a:gd name="T6" fmla="*/ 68 w 408"/>
                  <a:gd name="T7" fmla="*/ 193 h 348"/>
                  <a:gd name="T8" fmla="*/ 83 w 408"/>
                  <a:gd name="T9" fmla="*/ 183 h 348"/>
                  <a:gd name="T10" fmla="*/ 110 w 408"/>
                  <a:gd name="T11" fmla="*/ 193 h 348"/>
                  <a:gd name="T12" fmla="*/ 134 w 408"/>
                  <a:gd name="T13" fmla="*/ 253 h 348"/>
                  <a:gd name="T14" fmla="*/ 125 w 408"/>
                  <a:gd name="T15" fmla="*/ 306 h 348"/>
                  <a:gd name="T16" fmla="*/ 159 w 408"/>
                  <a:gd name="T17" fmla="*/ 310 h 348"/>
                  <a:gd name="T18" fmla="*/ 181 w 408"/>
                  <a:gd name="T19" fmla="*/ 348 h 348"/>
                  <a:gd name="T20" fmla="*/ 246 w 408"/>
                  <a:gd name="T21" fmla="*/ 317 h 348"/>
                  <a:gd name="T22" fmla="*/ 306 w 408"/>
                  <a:gd name="T23" fmla="*/ 340 h 348"/>
                  <a:gd name="T24" fmla="*/ 323 w 408"/>
                  <a:gd name="T25" fmla="*/ 338 h 348"/>
                  <a:gd name="T26" fmla="*/ 331 w 408"/>
                  <a:gd name="T27" fmla="*/ 314 h 348"/>
                  <a:gd name="T28" fmla="*/ 385 w 408"/>
                  <a:gd name="T29" fmla="*/ 312 h 348"/>
                  <a:gd name="T30" fmla="*/ 376 w 408"/>
                  <a:gd name="T31" fmla="*/ 268 h 348"/>
                  <a:gd name="T32" fmla="*/ 404 w 408"/>
                  <a:gd name="T33" fmla="*/ 274 h 348"/>
                  <a:gd name="T34" fmla="*/ 408 w 408"/>
                  <a:gd name="T35" fmla="*/ 242 h 348"/>
                  <a:gd name="T36" fmla="*/ 378 w 408"/>
                  <a:gd name="T37" fmla="*/ 208 h 348"/>
                  <a:gd name="T38" fmla="*/ 408 w 408"/>
                  <a:gd name="T39" fmla="*/ 193 h 348"/>
                  <a:gd name="T40" fmla="*/ 399 w 408"/>
                  <a:gd name="T41" fmla="*/ 174 h 348"/>
                  <a:gd name="T42" fmla="*/ 368 w 408"/>
                  <a:gd name="T43" fmla="*/ 172 h 348"/>
                  <a:gd name="T44" fmla="*/ 312 w 408"/>
                  <a:gd name="T45" fmla="*/ 168 h 348"/>
                  <a:gd name="T46" fmla="*/ 297 w 408"/>
                  <a:gd name="T47" fmla="*/ 187 h 348"/>
                  <a:gd name="T48" fmla="*/ 278 w 408"/>
                  <a:gd name="T49" fmla="*/ 151 h 348"/>
                  <a:gd name="T50" fmla="*/ 259 w 408"/>
                  <a:gd name="T51" fmla="*/ 140 h 348"/>
                  <a:gd name="T52" fmla="*/ 246 w 408"/>
                  <a:gd name="T53" fmla="*/ 153 h 348"/>
                  <a:gd name="T54" fmla="*/ 236 w 408"/>
                  <a:gd name="T55" fmla="*/ 115 h 348"/>
                  <a:gd name="T56" fmla="*/ 251 w 408"/>
                  <a:gd name="T57" fmla="*/ 95 h 348"/>
                  <a:gd name="T58" fmla="*/ 234 w 408"/>
                  <a:gd name="T59" fmla="*/ 57 h 348"/>
                  <a:gd name="T60" fmla="*/ 212 w 408"/>
                  <a:gd name="T61" fmla="*/ 49 h 348"/>
                  <a:gd name="T62" fmla="*/ 195 w 408"/>
                  <a:gd name="T63" fmla="*/ 68 h 348"/>
                  <a:gd name="T64" fmla="*/ 155 w 408"/>
                  <a:gd name="T65" fmla="*/ 61 h 348"/>
                  <a:gd name="T66" fmla="*/ 134 w 408"/>
                  <a:gd name="T67" fmla="*/ 21 h 348"/>
                  <a:gd name="T68" fmla="*/ 108 w 408"/>
                  <a:gd name="T69" fmla="*/ 17 h 348"/>
                  <a:gd name="T70" fmla="*/ 115 w 408"/>
                  <a:gd name="T71" fmla="*/ 0 h 348"/>
                  <a:gd name="T72" fmla="*/ 70 w 408"/>
                  <a:gd name="T73" fmla="*/ 8 h 348"/>
                  <a:gd name="T74" fmla="*/ 55 w 408"/>
                  <a:gd name="T75" fmla="*/ 23 h 348"/>
                  <a:gd name="T76" fmla="*/ 61 w 408"/>
                  <a:gd name="T77" fmla="*/ 85 h 348"/>
                  <a:gd name="T78" fmla="*/ 44 w 408"/>
                  <a:gd name="T79" fmla="*/ 85 h 348"/>
                  <a:gd name="T80" fmla="*/ 47 w 408"/>
                  <a:gd name="T81" fmla="*/ 108 h 348"/>
                  <a:gd name="T82" fmla="*/ 0 w 408"/>
                  <a:gd name="T83" fmla="*/ 151 h 348"/>
                  <a:gd name="T84" fmla="*/ 4 w 408"/>
                  <a:gd name="T85" fmla="*/ 15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8" h="348">
                    <a:moveTo>
                      <a:pt x="4" y="159"/>
                    </a:moveTo>
                    <a:lnTo>
                      <a:pt x="8" y="157"/>
                    </a:lnTo>
                    <a:lnTo>
                      <a:pt x="68" y="163"/>
                    </a:lnTo>
                    <a:lnTo>
                      <a:pt x="68" y="193"/>
                    </a:lnTo>
                    <a:lnTo>
                      <a:pt x="83" y="183"/>
                    </a:lnTo>
                    <a:lnTo>
                      <a:pt x="110" y="193"/>
                    </a:lnTo>
                    <a:lnTo>
                      <a:pt x="134" y="253"/>
                    </a:lnTo>
                    <a:lnTo>
                      <a:pt x="125" y="306"/>
                    </a:lnTo>
                    <a:lnTo>
                      <a:pt x="159" y="310"/>
                    </a:lnTo>
                    <a:lnTo>
                      <a:pt x="181" y="348"/>
                    </a:lnTo>
                    <a:lnTo>
                      <a:pt x="246" y="317"/>
                    </a:lnTo>
                    <a:lnTo>
                      <a:pt x="306" y="340"/>
                    </a:lnTo>
                    <a:lnTo>
                      <a:pt x="323" y="338"/>
                    </a:lnTo>
                    <a:lnTo>
                      <a:pt x="331" y="314"/>
                    </a:lnTo>
                    <a:lnTo>
                      <a:pt x="385" y="312"/>
                    </a:lnTo>
                    <a:lnTo>
                      <a:pt x="376" y="268"/>
                    </a:lnTo>
                    <a:lnTo>
                      <a:pt x="404" y="274"/>
                    </a:lnTo>
                    <a:lnTo>
                      <a:pt x="408" y="242"/>
                    </a:lnTo>
                    <a:lnTo>
                      <a:pt x="378" y="208"/>
                    </a:lnTo>
                    <a:lnTo>
                      <a:pt x="408" y="193"/>
                    </a:lnTo>
                    <a:lnTo>
                      <a:pt x="399" y="174"/>
                    </a:lnTo>
                    <a:lnTo>
                      <a:pt x="368" y="172"/>
                    </a:lnTo>
                    <a:lnTo>
                      <a:pt x="312" y="168"/>
                    </a:lnTo>
                    <a:lnTo>
                      <a:pt x="297" y="187"/>
                    </a:lnTo>
                    <a:lnTo>
                      <a:pt x="278" y="151"/>
                    </a:lnTo>
                    <a:lnTo>
                      <a:pt x="259" y="140"/>
                    </a:lnTo>
                    <a:lnTo>
                      <a:pt x="246" y="153"/>
                    </a:lnTo>
                    <a:lnTo>
                      <a:pt x="236" y="115"/>
                    </a:lnTo>
                    <a:lnTo>
                      <a:pt x="251" y="95"/>
                    </a:lnTo>
                    <a:lnTo>
                      <a:pt x="234" y="57"/>
                    </a:lnTo>
                    <a:lnTo>
                      <a:pt x="212" y="49"/>
                    </a:lnTo>
                    <a:lnTo>
                      <a:pt x="195" y="68"/>
                    </a:lnTo>
                    <a:lnTo>
                      <a:pt x="155" y="61"/>
                    </a:lnTo>
                    <a:lnTo>
                      <a:pt x="134" y="21"/>
                    </a:lnTo>
                    <a:lnTo>
                      <a:pt x="108" y="17"/>
                    </a:lnTo>
                    <a:lnTo>
                      <a:pt x="115" y="0"/>
                    </a:lnTo>
                    <a:lnTo>
                      <a:pt x="70" y="8"/>
                    </a:lnTo>
                    <a:lnTo>
                      <a:pt x="55" y="23"/>
                    </a:lnTo>
                    <a:lnTo>
                      <a:pt x="61" y="85"/>
                    </a:lnTo>
                    <a:lnTo>
                      <a:pt x="44" y="85"/>
                    </a:lnTo>
                    <a:lnTo>
                      <a:pt x="47" y="108"/>
                    </a:lnTo>
                    <a:lnTo>
                      <a:pt x="0" y="151"/>
                    </a:lnTo>
                    <a:lnTo>
                      <a:pt x="4" y="159"/>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24" name="28">
                <a:extLst>
                  <a:ext uri="{FF2B5EF4-FFF2-40B4-BE49-F238E27FC236}">
                    <a16:creationId xmlns:a16="http://schemas.microsoft.com/office/drawing/2014/main" id="{007885BD-FAD4-47EE-86B2-928033CB2975}"/>
                  </a:ext>
                </a:extLst>
              </p:cNvPr>
              <p:cNvSpPr>
                <a:spLocks/>
              </p:cNvSpPr>
              <p:nvPr/>
            </p:nvSpPr>
            <p:spPr bwMode="gray">
              <a:xfrm>
                <a:off x="5951445" y="2615829"/>
                <a:ext cx="429769" cy="515724"/>
              </a:xfrm>
              <a:custGeom>
                <a:avLst/>
                <a:gdLst>
                  <a:gd name="T0" fmla="*/ 2 w 300"/>
                  <a:gd name="T1" fmla="*/ 230 h 360"/>
                  <a:gd name="T2" fmla="*/ 6 w 300"/>
                  <a:gd name="T3" fmla="*/ 268 h 360"/>
                  <a:gd name="T4" fmla="*/ 36 w 300"/>
                  <a:gd name="T5" fmla="*/ 285 h 360"/>
                  <a:gd name="T6" fmla="*/ 19 w 300"/>
                  <a:gd name="T7" fmla="*/ 300 h 360"/>
                  <a:gd name="T8" fmla="*/ 64 w 300"/>
                  <a:gd name="T9" fmla="*/ 292 h 360"/>
                  <a:gd name="T10" fmla="*/ 57 w 300"/>
                  <a:gd name="T11" fmla="*/ 309 h 360"/>
                  <a:gd name="T12" fmla="*/ 83 w 300"/>
                  <a:gd name="T13" fmla="*/ 313 h 360"/>
                  <a:gd name="T14" fmla="*/ 104 w 300"/>
                  <a:gd name="T15" fmla="*/ 353 h 360"/>
                  <a:gd name="T16" fmla="*/ 144 w 300"/>
                  <a:gd name="T17" fmla="*/ 360 h 360"/>
                  <a:gd name="T18" fmla="*/ 161 w 300"/>
                  <a:gd name="T19" fmla="*/ 341 h 360"/>
                  <a:gd name="T20" fmla="*/ 183 w 300"/>
                  <a:gd name="T21" fmla="*/ 349 h 360"/>
                  <a:gd name="T22" fmla="*/ 185 w 300"/>
                  <a:gd name="T23" fmla="*/ 341 h 360"/>
                  <a:gd name="T24" fmla="*/ 215 w 300"/>
                  <a:gd name="T25" fmla="*/ 317 h 360"/>
                  <a:gd name="T26" fmla="*/ 268 w 300"/>
                  <a:gd name="T27" fmla="*/ 315 h 360"/>
                  <a:gd name="T28" fmla="*/ 293 w 300"/>
                  <a:gd name="T29" fmla="*/ 283 h 360"/>
                  <a:gd name="T30" fmla="*/ 300 w 300"/>
                  <a:gd name="T31" fmla="*/ 243 h 360"/>
                  <a:gd name="T32" fmla="*/ 285 w 300"/>
                  <a:gd name="T33" fmla="*/ 179 h 360"/>
                  <a:gd name="T34" fmla="*/ 257 w 300"/>
                  <a:gd name="T35" fmla="*/ 175 h 360"/>
                  <a:gd name="T36" fmla="*/ 251 w 300"/>
                  <a:gd name="T37" fmla="*/ 143 h 360"/>
                  <a:gd name="T38" fmla="*/ 208 w 300"/>
                  <a:gd name="T39" fmla="*/ 103 h 360"/>
                  <a:gd name="T40" fmla="*/ 208 w 300"/>
                  <a:gd name="T41" fmla="*/ 39 h 360"/>
                  <a:gd name="T42" fmla="*/ 187 w 300"/>
                  <a:gd name="T43" fmla="*/ 0 h 360"/>
                  <a:gd name="T44" fmla="*/ 144 w 300"/>
                  <a:gd name="T45" fmla="*/ 64 h 360"/>
                  <a:gd name="T46" fmla="*/ 93 w 300"/>
                  <a:gd name="T47" fmla="*/ 54 h 360"/>
                  <a:gd name="T48" fmla="*/ 17 w 300"/>
                  <a:gd name="T49" fmla="*/ 94 h 360"/>
                  <a:gd name="T50" fmla="*/ 53 w 300"/>
                  <a:gd name="T51" fmla="*/ 179 h 360"/>
                  <a:gd name="T52" fmla="*/ 0 w 300"/>
                  <a:gd name="T53" fmla="*/ 230 h 360"/>
                  <a:gd name="T54" fmla="*/ 2 w 300"/>
                  <a:gd name="T55" fmla="*/ 23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0" h="360">
                    <a:moveTo>
                      <a:pt x="2" y="230"/>
                    </a:moveTo>
                    <a:lnTo>
                      <a:pt x="6" y="268"/>
                    </a:lnTo>
                    <a:lnTo>
                      <a:pt x="36" y="285"/>
                    </a:lnTo>
                    <a:lnTo>
                      <a:pt x="19" y="300"/>
                    </a:lnTo>
                    <a:lnTo>
                      <a:pt x="64" y="292"/>
                    </a:lnTo>
                    <a:lnTo>
                      <a:pt x="57" y="309"/>
                    </a:lnTo>
                    <a:lnTo>
                      <a:pt x="83" y="313"/>
                    </a:lnTo>
                    <a:lnTo>
                      <a:pt x="104" y="353"/>
                    </a:lnTo>
                    <a:lnTo>
                      <a:pt x="144" y="360"/>
                    </a:lnTo>
                    <a:lnTo>
                      <a:pt x="161" y="341"/>
                    </a:lnTo>
                    <a:lnTo>
                      <a:pt x="183" y="349"/>
                    </a:lnTo>
                    <a:lnTo>
                      <a:pt x="185" y="341"/>
                    </a:lnTo>
                    <a:lnTo>
                      <a:pt x="215" y="317"/>
                    </a:lnTo>
                    <a:lnTo>
                      <a:pt x="268" y="315"/>
                    </a:lnTo>
                    <a:lnTo>
                      <a:pt x="293" y="283"/>
                    </a:lnTo>
                    <a:lnTo>
                      <a:pt x="300" y="243"/>
                    </a:lnTo>
                    <a:lnTo>
                      <a:pt x="285" y="179"/>
                    </a:lnTo>
                    <a:lnTo>
                      <a:pt x="257" y="175"/>
                    </a:lnTo>
                    <a:lnTo>
                      <a:pt x="251" y="143"/>
                    </a:lnTo>
                    <a:lnTo>
                      <a:pt x="208" y="103"/>
                    </a:lnTo>
                    <a:lnTo>
                      <a:pt x="208" y="39"/>
                    </a:lnTo>
                    <a:lnTo>
                      <a:pt x="187" y="0"/>
                    </a:lnTo>
                    <a:lnTo>
                      <a:pt x="144" y="64"/>
                    </a:lnTo>
                    <a:lnTo>
                      <a:pt x="93" y="54"/>
                    </a:lnTo>
                    <a:lnTo>
                      <a:pt x="17" y="94"/>
                    </a:lnTo>
                    <a:lnTo>
                      <a:pt x="53" y="179"/>
                    </a:lnTo>
                    <a:lnTo>
                      <a:pt x="0" y="230"/>
                    </a:lnTo>
                    <a:lnTo>
                      <a:pt x="2" y="230"/>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25" name="18">
                <a:extLst>
                  <a:ext uri="{FF2B5EF4-FFF2-40B4-BE49-F238E27FC236}">
                    <a16:creationId xmlns:a16="http://schemas.microsoft.com/office/drawing/2014/main" id="{97D4DE3D-E1A7-4D9C-A51D-0DDA62C2B02F}"/>
                  </a:ext>
                </a:extLst>
              </p:cNvPr>
              <p:cNvSpPr>
                <a:spLocks/>
              </p:cNvSpPr>
              <p:nvPr/>
            </p:nvSpPr>
            <p:spPr bwMode="gray">
              <a:xfrm>
                <a:off x="6292396" y="3310623"/>
                <a:ext cx="465585" cy="630329"/>
              </a:xfrm>
              <a:custGeom>
                <a:avLst/>
                <a:gdLst>
                  <a:gd name="T0" fmla="*/ 2 w 325"/>
                  <a:gd name="T1" fmla="*/ 177 h 440"/>
                  <a:gd name="T2" fmla="*/ 17 w 325"/>
                  <a:gd name="T3" fmla="*/ 147 h 440"/>
                  <a:gd name="T4" fmla="*/ 34 w 325"/>
                  <a:gd name="T5" fmla="*/ 145 h 440"/>
                  <a:gd name="T6" fmla="*/ 42 w 325"/>
                  <a:gd name="T7" fmla="*/ 121 h 440"/>
                  <a:gd name="T8" fmla="*/ 96 w 325"/>
                  <a:gd name="T9" fmla="*/ 119 h 440"/>
                  <a:gd name="T10" fmla="*/ 87 w 325"/>
                  <a:gd name="T11" fmla="*/ 75 h 440"/>
                  <a:gd name="T12" fmla="*/ 115 w 325"/>
                  <a:gd name="T13" fmla="*/ 81 h 440"/>
                  <a:gd name="T14" fmla="*/ 119 w 325"/>
                  <a:gd name="T15" fmla="*/ 49 h 440"/>
                  <a:gd name="T16" fmla="*/ 89 w 325"/>
                  <a:gd name="T17" fmla="*/ 15 h 440"/>
                  <a:gd name="T18" fmla="*/ 119 w 325"/>
                  <a:gd name="T19" fmla="*/ 0 h 440"/>
                  <a:gd name="T20" fmla="*/ 193 w 325"/>
                  <a:gd name="T21" fmla="*/ 19 h 440"/>
                  <a:gd name="T22" fmla="*/ 223 w 325"/>
                  <a:gd name="T23" fmla="*/ 53 h 440"/>
                  <a:gd name="T24" fmla="*/ 240 w 325"/>
                  <a:gd name="T25" fmla="*/ 34 h 440"/>
                  <a:gd name="T26" fmla="*/ 259 w 325"/>
                  <a:gd name="T27" fmla="*/ 49 h 440"/>
                  <a:gd name="T28" fmla="*/ 274 w 325"/>
                  <a:gd name="T29" fmla="*/ 41 h 440"/>
                  <a:gd name="T30" fmla="*/ 289 w 325"/>
                  <a:gd name="T31" fmla="*/ 72 h 440"/>
                  <a:gd name="T32" fmla="*/ 274 w 325"/>
                  <a:gd name="T33" fmla="*/ 109 h 440"/>
                  <a:gd name="T34" fmla="*/ 302 w 325"/>
                  <a:gd name="T35" fmla="*/ 136 h 440"/>
                  <a:gd name="T36" fmla="*/ 325 w 325"/>
                  <a:gd name="T37" fmla="*/ 219 h 440"/>
                  <a:gd name="T38" fmla="*/ 310 w 325"/>
                  <a:gd name="T39" fmla="*/ 304 h 440"/>
                  <a:gd name="T40" fmla="*/ 283 w 325"/>
                  <a:gd name="T41" fmla="*/ 306 h 440"/>
                  <a:gd name="T42" fmla="*/ 266 w 325"/>
                  <a:gd name="T43" fmla="*/ 330 h 440"/>
                  <a:gd name="T44" fmla="*/ 229 w 325"/>
                  <a:gd name="T45" fmla="*/ 325 h 440"/>
                  <a:gd name="T46" fmla="*/ 198 w 325"/>
                  <a:gd name="T47" fmla="*/ 353 h 440"/>
                  <a:gd name="T48" fmla="*/ 208 w 325"/>
                  <a:gd name="T49" fmla="*/ 394 h 440"/>
                  <a:gd name="T50" fmla="*/ 144 w 325"/>
                  <a:gd name="T51" fmla="*/ 406 h 440"/>
                  <a:gd name="T52" fmla="*/ 119 w 325"/>
                  <a:gd name="T53" fmla="*/ 440 h 440"/>
                  <a:gd name="T54" fmla="*/ 93 w 325"/>
                  <a:gd name="T55" fmla="*/ 438 h 440"/>
                  <a:gd name="T56" fmla="*/ 100 w 325"/>
                  <a:gd name="T57" fmla="*/ 357 h 440"/>
                  <a:gd name="T58" fmla="*/ 70 w 325"/>
                  <a:gd name="T59" fmla="*/ 323 h 440"/>
                  <a:gd name="T60" fmla="*/ 83 w 325"/>
                  <a:gd name="T61" fmla="*/ 311 h 440"/>
                  <a:gd name="T62" fmla="*/ 66 w 325"/>
                  <a:gd name="T63" fmla="*/ 289 h 440"/>
                  <a:gd name="T64" fmla="*/ 93 w 325"/>
                  <a:gd name="T65" fmla="*/ 262 h 440"/>
                  <a:gd name="T66" fmla="*/ 72 w 325"/>
                  <a:gd name="T67" fmla="*/ 251 h 440"/>
                  <a:gd name="T68" fmla="*/ 83 w 325"/>
                  <a:gd name="T69" fmla="*/ 228 h 440"/>
                  <a:gd name="T70" fmla="*/ 55 w 325"/>
                  <a:gd name="T71" fmla="*/ 181 h 440"/>
                  <a:gd name="T72" fmla="*/ 0 w 325"/>
                  <a:gd name="T73" fmla="*/ 179 h 440"/>
                  <a:gd name="T74" fmla="*/ 2 w 325"/>
                  <a:gd name="T75" fmla="*/ 177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5" h="440">
                    <a:moveTo>
                      <a:pt x="2" y="177"/>
                    </a:moveTo>
                    <a:lnTo>
                      <a:pt x="17" y="147"/>
                    </a:lnTo>
                    <a:lnTo>
                      <a:pt x="34" y="145"/>
                    </a:lnTo>
                    <a:lnTo>
                      <a:pt x="42" y="121"/>
                    </a:lnTo>
                    <a:lnTo>
                      <a:pt x="96" y="119"/>
                    </a:lnTo>
                    <a:lnTo>
                      <a:pt x="87" y="75"/>
                    </a:lnTo>
                    <a:lnTo>
                      <a:pt x="115" y="81"/>
                    </a:lnTo>
                    <a:lnTo>
                      <a:pt x="119" y="49"/>
                    </a:lnTo>
                    <a:lnTo>
                      <a:pt x="89" y="15"/>
                    </a:lnTo>
                    <a:lnTo>
                      <a:pt x="119" y="0"/>
                    </a:lnTo>
                    <a:lnTo>
                      <a:pt x="193" y="19"/>
                    </a:lnTo>
                    <a:lnTo>
                      <a:pt x="223" y="53"/>
                    </a:lnTo>
                    <a:lnTo>
                      <a:pt x="240" y="34"/>
                    </a:lnTo>
                    <a:lnTo>
                      <a:pt x="259" y="49"/>
                    </a:lnTo>
                    <a:lnTo>
                      <a:pt x="274" y="41"/>
                    </a:lnTo>
                    <a:lnTo>
                      <a:pt x="289" y="72"/>
                    </a:lnTo>
                    <a:lnTo>
                      <a:pt x="274" y="109"/>
                    </a:lnTo>
                    <a:lnTo>
                      <a:pt x="302" y="136"/>
                    </a:lnTo>
                    <a:lnTo>
                      <a:pt x="325" y="219"/>
                    </a:lnTo>
                    <a:lnTo>
                      <a:pt x="310" y="304"/>
                    </a:lnTo>
                    <a:lnTo>
                      <a:pt x="283" y="306"/>
                    </a:lnTo>
                    <a:lnTo>
                      <a:pt x="266" y="330"/>
                    </a:lnTo>
                    <a:lnTo>
                      <a:pt x="229" y="325"/>
                    </a:lnTo>
                    <a:lnTo>
                      <a:pt x="198" y="353"/>
                    </a:lnTo>
                    <a:lnTo>
                      <a:pt x="208" y="394"/>
                    </a:lnTo>
                    <a:lnTo>
                      <a:pt x="144" y="406"/>
                    </a:lnTo>
                    <a:lnTo>
                      <a:pt x="119" y="440"/>
                    </a:lnTo>
                    <a:lnTo>
                      <a:pt x="93" y="438"/>
                    </a:lnTo>
                    <a:lnTo>
                      <a:pt x="100" y="357"/>
                    </a:lnTo>
                    <a:lnTo>
                      <a:pt x="70" y="323"/>
                    </a:lnTo>
                    <a:lnTo>
                      <a:pt x="83" y="311"/>
                    </a:lnTo>
                    <a:lnTo>
                      <a:pt x="66" y="289"/>
                    </a:lnTo>
                    <a:lnTo>
                      <a:pt x="93" y="262"/>
                    </a:lnTo>
                    <a:lnTo>
                      <a:pt x="72" y="251"/>
                    </a:lnTo>
                    <a:lnTo>
                      <a:pt x="83" y="228"/>
                    </a:lnTo>
                    <a:lnTo>
                      <a:pt x="55" y="181"/>
                    </a:lnTo>
                    <a:lnTo>
                      <a:pt x="0" y="179"/>
                    </a:lnTo>
                    <a:lnTo>
                      <a:pt x="2" y="177"/>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26" name="36">
                <a:extLst>
                  <a:ext uri="{FF2B5EF4-FFF2-40B4-BE49-F238E27FC236}">
                    <a16:creationId xmlns:a16="http://schemas.microsoft.com/office/drawing/2014/main" id="{BDE4F430-E1D1-485A-A02C-EBB3EB2A460B}"/>
                  </a:ext>
                </a:extLst>
              </p:cNvPr>
              <p:cNvSpPr>
                <a:spLocks/>
              </p:cNvSpPr>
              <p:nvPr/>
            </p:nvSpPr>
            <p:spPr bwMode="gray">
              <a:xfrm>
                <a:off x="5962906" y="3488262"/>
                <a:ext cx="472746" cy="484207"/>
              </a:xfrm>
              <a:custGeom>
                <a:avLst/>
                <a:gdLst>
                  <a:gd name="T0" fmla="*/ 2 w 330"/>
                  <a:gd name="T1" fmla="*/ 191 h 338"/>
                  <a:gd name="T2" fmla="*/ 9 w 330"/>
                  <a:gd name="T3" fmla="*/ 244 h 338"/>
                  <a:gd name="T4" fmla="*/ 68 w 330"/>
                  <a:gd name="T5" fmla="*/ 278 h 338"/>
                  <a:gd name="T6" fmla="*/ 68 w 330"/>
                  <a:gd name="T7" fmla="*/ 299 h 338"/>
                  <a:gd name="T8" fmla="*/ 83 w 330"/>
                  <a:gd name="T9" fmla="*/ 306 h 338"/>
                  <a:gd name="T10" fmla="*/ 75 w 330"/>
                  <a:gd name="T11" fmla="*/ 323 h 338"/>
                  <a:gd name="T12" fmla="*/ 119 w 330"/>
                  <a:gd name="T13" fmla="*/ 318 h 338"/>
                  <a:gd name="T14" fmla="*/ 136 w 330"/>
                  <a:gd name="T15" fmla="*/ 338 h 338"/>
                  <a:gd name="T16" fmla="*/ 162 w 330"/>
                  <a:gd name="T17" fmla="*/ 310 h 338"/>
                  <a:gd name="T18" fmla="*/ 211 w 330"/>
                  <a:gd name="T19" fmla="*/ 325 h 338"/>
                  <a:gd name="T20" fmla="*/ 230 w 330"/>
                  <a:gd name="T21" fmla="*/ 301 h 338"/>
                  <a:gd name="T22" fmla="*/ 323 w 330"/>
                  <a:gd name="T23" fmla="*/ 314 h 338"/>
                  <a:gd name="T24" fmla="*/ 330 w 330"/>
                  <a:gd name="T25" fmla="*/ 233 h 338"/>
                  <a:gd name="T26" fmla="*/ 300 w 330"/>
                  <a:gd name="T27" fmla="*/ 199 h 338"/>
                  <a:gd name="T28" fmla="*/ 313 w 330"/>
                  <a:gd name="T29" fmla="*/ 187 h 338"/>
                  <a:gd name="T30" fmla="*/ 296 w 330"/>
                  <a:gd name="T31" fmla="*/ 165 h 338"/>
                  <a:gd name="T32" fmla="*/ 323 w 330"/>
                  <a:gd name="T33" fmla="*/ 138 h 338"/>
                  <a:gd name="T34" fmla="*/ 302 w 330"/>
                  <a:gd name="T35" fmla="*/ 127 h 338"/>
                  <a:gd name="T36" fmla="*/ 313 w 330"/>
                  <a:gd name="T37" fmla="*/ 104 h 338"/>
                  <a:gd name="T38" fmla="*/ 285 w 330"/>
                  <a:gd name="T39" fmla="*/ 57 h 338"/>
                  <a:gd name="T40" fmla="*/ 230 w 330"/>
                  <a:gd name="T41" fmla="*/ 55 h 338"/>
                  <a:gd name="T42" fmla="*/ 232 w 330"/>
                  <a:gd name="T43" fmla="*/ 53 h 338"/>
                  <a:gd name="T44" fmla="*/ 247 w 330"/>
                  <a:gd name="T45" fmla="*/ 23 h 338"/>
                  <a:gd name="T46" fmla="*/ 187 w 330"/>
                  <a:gd name="T47" fmla="*/ 0 h 338"/>
                  <a:gd name="T48" fmla="*/ 122 w 330"/>
                  <a:gd name="T49" fmla="*/ 31 h 338"/>
                  <a:gd name="T50" fmla="*/ 126 w 330"/>
                  <a:gd name="T51" fmla="*/ 59 h 338"/>
                  <a:gd name="T52" fmla="*/ 100 w 330"/>
                  <a:gd name="T53" fmla="*/ 91 h 338"/>
                  <a:gd name="T54" fmla="*/ 75 w 330"/>
                  <a:gd name="T55" fmla="*/ 85 h 338"/>
                  <a:gd name="T56" fmla="*/ 49 w 330"/>
                  <a:gd name="T57" fmla="*/ 99 h 338"/>
                  <a:gd name="T58" fmla="*/ 34 w 330"/>
                  <a:gd name="T59" fmla="*/ 184 h 338"/>
                  <a:gd name="T60" fmla="*/ 0 w 330"/>
                  <a:gd name="T61" fmla="*/ 187 h 338"/>
                  <a:gd name="T62" fmla="*/ 2 w 330"/>
                  <a:gd name="T63" fmla="*/ 19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0" h="338">
                    <a:moveTo>
                      <a:pt x="2" y="191"/>
                    </a:moveTo>
                    <a:lnTo>
                      <a:pt x="9" y="244"/>
                    </a:lnTo>
                    <a:lnTo>
                      <a:pt x="68" y="278"/>
                    </a:lnTo>
                    <a:lnTo>
                      <a:pt x="68" y="299"/>
                    </a:lnTo>
                    <a:lnTo>
                      <a:pt x="83" y="306"/>
                    </a:lnTo>
                    <a:lnTo>
                      <a:pt x="75" y="323"/>
                    </a:lnTo>
                    <a:lnTo>
                      <a:pt x="119" y="318"/>
                    </a:lnTo>
                    <a:lnTo>
                      <a:pt x="136" y="338"/>
                    </a:lnTo>
                    <a:lnTo>
                      <a:pt x="162" y="310"/>
                    </a:lnTo>
                    <a:lnTo>
                      <a:pt x="211" y="325"/>
                    </a:lnTo>
                    <a:lnTo>
                      <a:pt x="230" y="301"/>
                    </a:lnTo>
                    <a:lnTo>
                      <a:pt x="323" y="314"/>
                    </a:lnTo>
                    <a:lnTo>
                      <a:pt x="330" y="233"/>
                    </a:lnTo>
                    <a:lnTo>
                      <a:pt x="300" y="199"/>
                    </a:lnTo>
                    <a:lnTo>
                      <a:pt x="313" y="187"/>
                    </a:lnTo>
                    <a:lnTo>
                      <a:pt x="296" y="165"/>
                    </a:lnTo>
                    <a:lnTo>
                      <a:pt x="323" y="138"/>
                    </a:lnTo>
                    <a:lnTo>
                      <a:pt x="302" y="127"/>
                    </a:lnTo>
                    <a:lnTo>
                      <a:pt x="313" y="104"/>
                    </a:lnTo>
                    <a:lnTo>
                      <a:pt x="285" y="57"/>
                    </a:lnTo>
                    <a:lnTo>
                      <a:pt x="230" y="55"/>
                    </a:lnTo>
                    <a:lnTo>
                      <a:pt x="232" y="53"/>
                    </a:lnTo>
                    <a:lnTo>
                      <a:pt x="247" y="23"/>
                    </a:lnTo>
                    <a:lnTo>
                      <a:pt x="187" y="0"/>
                    </a:lnTo>
                    <a:lnTo>
                      <a:pt x="122" y="31"/>
                    </a:lnTo>
                    <a:lnTo>
                      <a:pt x="126" y="59"/>
                    </a:lnTo>
                    <a:lnTo>
                      <a:pt x="100" y="91"/>
                    </a:lnTo>
                    <a:lnTo>
                      <a:pt x="75" y="85"/>
                    </a:lnTo>
                    <a:lnTo>
                      <a:pt x="49" y="99"/>
                    </a:lnTo>
                    <a:lnTo>
                      <a:pt x="34" y="184"/>
                    </a:lnTo>
                    <a:lnTo>
                      <a:pt x="0" y="187"/>
                    </a:lnTo>
                    <a:lnTo>
                      <a:pt x="2" y="191"/>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27" name="45">
                <a:extLst>
                  <a:ext uri="{FF2B5EF4-FFF2-40B4-BE49-F238E27FC236}">
                    <a16:creationId xmlns:a16="http://schemas.microsoft.com/office/drawing/2014/main" id="{686E86BD-4F73-437D-8CB5-D6D40998FECB}"/>
                  </a:ext>
                </a:extLst>
              </p:cNvPr>
              <p:cNvSpPr>
                <a:spLocks/>
              </p:cNvSpPr>
              <p:nvPr/>
            </p:nvSpPr>
            <p:spPr bwMode="gray">
              <a:xfrm>
                <a:off x="6213605" y="2936723"/>
                <a:ext cx="562998" cy="449825"/>
              </a:xfrm>
              <a:custGeom>
                <a:avLst/>
                <a:gdLst>
                  <a:gd name="T0" fmla="*/ 2 w 393"/>
                  <a:gd name="T1" fmla="*/ 117 h 314"/>
                  <a:gd name="T2" fmla="*/ 32 w 393"/>
                  <a:gd name="T3" fmla="*/ 93 h 314"/>
                  <a:gd name="T4" fmla="*/ 85 w 393"/>
                  <a:gd name="T5" fmla="*/ 91 h 314"/>
                  <a:gd name="T6" fmla="*/ 110 w 393"/>
                  <a:gd name="T7" fmla="*/ 59 h 314"/>
                  <a:gd name="T8" fmla="*/ 117 w 393"/>
                  <a:gd name="T9" fmla="*/ 19 h 314"/>
                  <a:gd name="T10" fmla="*/ 170 w 393"/>
                  <a:gd name="T11" fmla="*/ 0 h 314"/>
                  <a:gd name="T12" fmla="*/ 178 w 393"/>
                  <a:gd name="T13" fmla="*/ 15 h 314"/>
                  <a:gd name="T14" fmla="*/ 216 w 393"/>
                  <a:gd name="T15" fmla="*/ 8 h 314"/>
                  <a:gd name="T16" fmla="*/ 246 w 393"/>
                  <a:gd name="T17" fmla="*/ 53 h 314"/>
                  <a:gd name="T18" fmla="*/ 231 w 393"/>
                  <a:gd name="T19" fmla="*/ 78 h 314"/>
                  <a:gd name="T20" fmla="*/ 348 w 393"/>
                  <a:gd name="T21" fmla="*/ 66 h 314"/>
                  <a:gd name="T22" fmla="*/ 370 w 393"/>
                  <a:gd name="T23" fmla="*/ 76 h 314"/>
                  <a:gd name="T24" fmla="*/ 393 w 393"/>
                  <a:gd name="T25" fmla="*/ 138 h 314"/>
                  <a:gd name="T26" fmla="*/ 363 w 393"/>
                  <a:gd name="T27" fmla="*/ 166 h 314"/>
                  <a:gd name="T28" fmla="*/ 367 w 393"/>
                  <a:gd name="T29" fmla="*/ 204 h 314"/>
                  <a:gd name="T30" fmla="*/ 325 w 393"/>
                  <a:gd name="T31" fmla="*/ 225 h 314"/>
                  <a:gd name="T32" fmla="*/ 325 w 393"/>
                  <a:gd name="T33" fmla="*/ 229 h 314"/>
                  <a:gd name="T34" fmla="*/ 355 w 393"/>
                  <a:gd name="T35" fmla="*/ 282 h 314"/>
                  <a:gd name="T36" fmla="*/ 327 w 393"/>
                  <a:gd name="T37" fmla="*/ 291 h 314"/>
                  <a:gd name="T38" fmla="*/ 323 w 393"/>
                  <a:gd name="T39" fmla="*/ 291 h 314"/>
                  <a:gd name="T40" fmla="*/ 329 w 393"/>
                  <a:gd name="T41" fmla="*/ 302 h 314"/>
                  <a:gd name="T42" fmla="*/ 314 w 393"/>
                  <a:gd name="T43" fmla="*/ 310 h 314"/>
                  <a:gd name="T44" fmla="*/ 295 w 393"/>
                  <a:gd name="T45" fmla="*/ 295 h 314"/>
                  <a:gd name="T46" fmla="*/ 278 w 393"/>
                  <a:gd name="T47" fmla="*/ 314 h 314"/>
                  <a:gd name="T48" fmla="*/ 248 w 393"/>
                  <a:gd name="T49" fmla="*/ 280 h 314"/>
                  <a:gd name="T50" fmla="*/ 174 w 393"/>
                  <a:gd name="T51" fmla="*/ 261 h 314"/>
                  <a:gd name="T52" fmla="*/ 165 w 393"/>
                  <a:gd name="T53" fmla="*/ 242 h 314"/>
                  <a:gd name="T54" fmla="*/ 134 w 393"/>
                  <a:gd name="T55" fmla="*/ 240 h 314"/>
                  <a:gd name="T56" fmla="*/ 78 w 393"/>
                  <a:gd name="T57" fmla="*/ 236 h 314"/>
                  <a:gd name="T58" fmla="*/ 63 w 393"/>
                  <a:gd name="T59" fmla="*/ 255 h 314"/>
                  <a:gd name="T60" fmla="*/ 44 w 393"/>
                  <a:gd name="T61" fmla="*/ 219 h 314"/>
                  <a:gd name="T62" fmla="*/ 25 w 393"/>
                  <a:gd name="T63" fmla="*/ 208 h 314"/>
                  <a:gd name="T64" fmla="*/ 12 w 393"/>
                  <a:gd name="T65" fmla="*/ 221 h 314"/>
                  <a:gd name="T66" fmla="*/ 2 w 393"/>
                  <a:gd name="T67" fmla="*/ 183 h 314"/>
                  <a:gd name="T68" fmla="*/ 17 w 393"/>
                  <a:gd name="T69" fmla="*/ 163 h 314"/>
                  <a:gd name="T70" fmla="*/ 0 w 393"/>
                  <a:gd name="T71" fmla="*/ 125 h 314"/>
                  <a:gd name="T72" fmla="*/ 2 w 393"/>
                  <a:gd name="T73" fmla="*/ 11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3" h="314">
                    <a:moveTo>
                      <a:pt x="2" y="117"/>
                    </a:moveTo>
                    <a:lnTo>
                      <a:pt x="32" y="93"/>
                    </a:lnTo>
                    <a:lnTo>
                      <a:pt x="85" y="91"/>
                    </a:lnTo>
                    <a:lnTo>
                      <a:pt x="110" y="59"/>
                    </a:lnTo>
                    <a:lnTo>
                      <a:pt x="117" y="19"/>
                    </a:lnTo>
                    <a:lnTo>
                      <a:pt x="170" y="0"/>
                    </a:lnTo>
                    <a:lnTo>
                      <a:pt x="178" y="15"/>
                    </a:lnTo>
                    <a:lnTo>
                      <a:pt x="216" y="8"/>
                    </a:lnTo>
                    <a:lnTo>
                      <a:pt x="246" y="53"/>
                    </a:lnTo>
                    <a:lnTo>
                      <a:pt x="231" y="78"/>
                    </a:lnTo>
                    <a:lnTo>
                      <a:pt x="348" y="66"/>
                    </a:lnTo>
                    <a:lnTo>
                      <a:pt x="370" y="76"/>
                    </a:lnTo>
                    <a:lnTo>
                      <a:pt x="393" y="138"/>
                    </a:lnTo>
                    <a:lnTo>
                      <a:pt x="363" y="166"/>
                    </a:lnTo>
                    <a:lnTo>
                      <a:pt x="367" y="204"/>
                    </a:lnTo>
                    <a:lnTo>
                      <a:pt x="325" y="225"/>
                    </a:lnTo>
                    <a:lnTo>
                      <a:pt x="325" y="229"/>
                    </a:lnTo>
                    <a:lnTo>
                      <a:pt x="355" y="282"/>
                    </a:lnTo>
                    <a:lnTo>
                      <a:pt x="327" y="291"/>
                    </a:lnTo>
                    <a:lnTo>
                      <a:pt x="323" y="291"/>
                    </a:lnTo>
                    <a:lnTo>
                      <a:pt x="329" y="302"/>
                    </a:lnTo>
                    <a:lnTo>
                      <a:pt x="314" y="310"/>
                    </a:lnTo>
                    <a:lnTo>
                      <a:pt x="295" y="295"/>
                    </a:lnTo>
                    <a:lnTo>
                      <a:pt x="278" y="314"/>
                    </a:lnTo>
                    <a:lnTo>
                      <a:pt x="248" y="280"/>
                    </a:lnTo>
                    <a:lnTo>
                      <a:pt x="174" y="261"/>
                    </a:lnTo>
                    <a:lnTo>
                      <a:pt x="165" y="242"/>
                    </a:lnTo>
                    <a:lnTo>
                      <a:pt x="134" y="240"/>
                    </a:lnTo>
                    <a:lnTo>
                      <a:pt x="78" y="236"/>
                    </a:lnTo>
                    <a:lnTo>
                      <a:pt x="63" y="255"/>
                    </a:lnTo>
                    <a:lnTo>
                      <a:pt x="44" y="219"/>
                    </a:lnTo>
                    <a:lnTo>
                      <a:pt x="25" y="208"/>
                    </a:lnTo>
                    <a:lnTo>
                      <a:pt x="12" y="221"/>
                    </a:lnTo>
                    <a:lnTo>
                      <a:pt x="2" y="183"/>
                    </a:lnTo>
                    <a:lnTo>
                      <a:pt x="17" y="163"/>
                    </a:lnTo>
                    <a:lnTo>
                      <a:pt x="0" y="125"/>
                    </a:lnTo>
                    <a:lnTo>
                      <a:pt x="2" y="117"/>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grpSp>
          <p:nvGrpSpPr>
            <p:cNvPr id="294" name="Bretagne (Formes)">
              <a:extLst>
                <a:ext uri="{FF2B5EF4-FFF2-40B4-BE49-F238E27FC236}">
                  <a16:creationId xmlns:a16="http://schemas.microsoft.com/office/drawing/2014/main" id="{5E6C8293-12E7-4931-8E25-E1E6A8DDDEC5}"/>
                </a:ext>
              </a:extLst>
            </p:cNvPr>
            <p:cNvGrpSpPr/>
            <p:nvPr/>
          </p:nvGrpSpPr>
          <p:grpSpPr>
            <a:xfrm>
              <a:off x="4773804" y="2392006"/>
              <a:ext cx="1303634" cy="764991"/>
              <a:chOff x="4020348" y="2561391"/>
              <a:chExt cx="1303634" cy="764991"/>
            </a:xfrm>
            <a:solidFill>
              <a:srgbClr val="667E76"/>
            </a:solidFill>
          </p:grpSpPr>
          <p:sp>
            <p:nvSpPr>
              <p:cNvPr id="412" name="29">
                <a:extLst>
                  <a:ext uri="{FF2B5EF4-FFF2-40B4-BE49-F238E27FC236}">
                    <a16:creationId xmlns:a16="http://schemas.microsoft.com/office/drawing/2014/main" id="{9D2FCAA2-9F91-4CD4-8F78-27BCB091C64B}"/>
                  </a:ext>
                </a:extLst>
              </p:cNvPr>
              <p:cNvSpPr>
                <a:spLocks/>
              </p:cNvSpPr>
              <p:nvPr/>
            </p:nvSpPr>
            <p:spPr bwMode="gray">
              <a:xfrm>
                <a:off x="4020348" y="2612964"/>
                <a:ext cx="469881" cy="518589"/>
              </a:xfrm>
              <a:custGeom>
                <a:avLst/>
                <a:gdLst>
                  <a:gd name="T0" fmla="*/ 111 w 328"/>
                  <a:gd name="T1" fmla="*/ 224 h 362"/>
                  <a:gd name="T2" fmla="*/ 119 w 328"/>
                  <a:gd name="T3" fmla="*/ 204 h 362"/>
                  <a:gd name="T4" fmla="*/ 79 w 328"/>
                  <a:gd name="T5" fmla="*/ 170 h 362"/>
                  <a:gd name="T6" fmla="*/ 51 w 328"/>
                  <a:gd name="T7" fmla="*/ 192 h 362"/>
                  <a:gd name="T8" fmla="*/ 55 w 328"/>
                  <a:gd name="T9" fmla="*/ 160 h 362"/>
                  <a:gd name="T10" fmla="*/ 36 w 328"/>
                  <a:gd name="T11" fmla="*/ 158 h 362"/>
                  <a:gd name="T12" fmla="*/ 58 w 328"/>
                  <a:gd name="T13" fmla="*/ 130 h 362"/>
                  <a:gd name="T14" fmla="*/ 68 w 328"/>
                  <a:gd name="T15" fmla="*/ 151 h 362"/>
                  <a:gd name="T16" fmla="*/ 117 w 328"/>
                  <a:gd name="T17" fmla="*/ 149 h 362"/>
                  <a:gd name="T18" fmla="*/ 109 w 328"/>
                  <a:gd name="T19" fmla="*/ 134 h 362"/>
                  <a:gd name="T20" fmla="*/ 81 w 328"/>
                  <a:gd name="T21" fmla="*/ 136 h 362"/>
                  <a:gd name="T22" fmla="*/ 92 w 328"/>
                  <a:gd name="T23" fmla="*/ 113 h 362"/>
                  <a:gd name="T24" fmla="*/ 4 w 328"/>
                  <a:gd name="T25" fmla="*/ 128 h 362"/>
                  <a:gd name="T26" fmla="*/ 24 w 328"/>
                  <a:gd name="T27" fmla="*/ 45 h 362"/>
                  <a:gd name="T28" fmla="*/ 72 w 328"/>
                  <a:gd name="T29" fmla="*/ 22 h 362"/>
                  <a:gd name="T30" fmla="*/ 126 w 328"/>
                  <a:gd name="T31" fmla="*/ 13 h 362"/>
                  <a:gd name="T32" fmla="*/ 130 w 328"/>
                  <a:gd name="T33" fmla="*/ 26 h 362"/>
                  <a:gd name="T34" fmla="*/ 204 w 328"/>
                  <a:gd name="T35" fmla="*/ 0 h 362"/>
                  <a:gd name="T36" fmla="*/ 236 w 328"/>
                  <a:gd name="T37" fmla="*/ 39 h 362"/>
                  <a:gd name="T38" fmla="*/ 249 w 328"/>
                  <a:gd name="T39" fmla="*/ 11 h 362"/>
                  <a:gd name="T40" fmla="*/ 291 w 328"/>
                  <a:gd name="T41" fmla="*/ 26 h 362"/>
                  <a:gd name="T42" fmla="*/ 283 w 328"/>
                  <a:gd name="T43" fmla="*/ 36 h 362"/>
                  <a:gd name="T44" fmla="*/ 285 w 328"/>
                  <a:gd name="T45" fmla="*/ 39 h 362"/>
                  <a:gd name="T46" fmla="*/ 308 w 328"/>
                  <a:gd name="T47" fmla="*/ 81 h 362"/>
                  <a:gd name="T48" fmla="*/ 294 w 328"/>
                  <a:gd name="T49" fmla="*/ 102 h 362"/>
                  <a:gd name="T50" fmla="*/ 304 w 328"/>
                  <a:gd name="T51" fmla="*/ 113 h 362"/>
                  <a:gd name="T52" fmla="*/ 289 w 328"/>
                  <a:gd name="T53" fmla="*/ 134 h 362"/>
                  <a:gd name="T54" fmla="*/ 308 w 328"/>
                  <a:gd name="T55" fmla="*/ 162 h 362"/>
                  <a:gd name="T56" fmla="*/ 291 w 328"/>
                  <a:gd name="T57" fmla="*/ 207 h 362"/>
                  <a:gd name="T58" fmla="*/ 251 w 328"/>
                  <a:gd name="T59" fmla="*/ 226 h 362"/>
                  <a:gd name="T60" fmla="*/ 249 w 328"/>
                  <a:gd name="T61" fmla="*/ 236 h 362"/>
                  <a:gd name="T62" fmla="*/ 268 w 328"/>
                  <a:gd name="T63" fmla="*/ 277 h 362"/>
                  <a:gd name="T64" fmla="*/ 328 w 328"/>
                  <a:gd name="T65" fmla="*/ 296 h 362"/>
                  <a:gd name="T66" fmla="*/ 321 w 328"/>
                  <a:gd name="T67" fmla="*/ 328 h 362"/>
                  <a:gd name="T68" fmla="*/ 291 w 328"/>
                  <a:gd name="T69" fmla="*/ 334 h 362"/>
                  <a:gd name="T70" fmla="*/ 285 w 328"/>
                  <a:gd name="T71" fmla="*/ 362 h 362"/>
                  <a:gd name="T72" fmla="*/ 208 w 328"/>
                  <a:gd name="T73" fmla="*/ 345 h 362"/>
                  <a:gd name="T74" fmla="*/ 185 w 328"/>
                  <a:gd name="T75" fmla="*/ 302 h 362"/>
                  <a:gd name="T76" fmla="*/ 179 w 328"/>
                  <a:gd name="T77" fmla="*/ 319 h 362"/>
                  <a:gd name="T78" fmla="*/ 138 w 328"/>
                  <a:gd name="T79" fmla="*/ 315 h 362"/>
                  <a:gd name="T80" fmla="*/ 130 w 328"/>
                  <a:gd name="T81" fmla="*/ 334 h 362"/>
                  <a:gd name="T82" fmla="*/ 83 w 328"/>
                  <a:gd name="T83" fmla="*/ 330 h 362"/>
                  <a:gd name="T84" fmla="*/ 89 w 328"/>
                  <a:gd name="T85" fmla="*/ 306 h 362"/>
                  <a:gd name="T86" fmla="*/ 66 w 328"/>
                  <a:gd name="T87" fmla="*/ 258 h 362"/>
                  <a:gd name="T88" fmla="*/ 0 w 328"/>
                  <a:gd name="T89" fmla="*/ 234 h 362"/>
                  <a:gd name="T90" fmla="*/ 111 w 328"/>
                  <a:gd name="T91" fmla="*/ 224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8" h="362">
                    <a:moveTo>
                      <a:pt x="111" y="224"/>
                    </a:moveTo>
                    <a:lnTo>
                      <a:pt x="119" y="204"/>
                    </a:lnTo>
                    <a:lnTo>
                      <a:pt x="79" y="170"/>
                    </a:lnTo>
                    <a:lnTo>
                      <a:pt x="51" y="192"/>
                    </a:lnTo>
                    <a:lnTo>
                      <a:pt x="55" y="160"/>
                    </a:lnTo>
                    <a:lnTo>
                      <a:pt x="36" y="158"/>
                    </a:lnTo>
                    <a:lnTo>
                      <a:pt x="58" y="130"/>
                    </a:lnTo>
                    <a:lnTo>
                      <a:pt x="68" y="151"/>
                    </a:lnTo>
                    <a:lnTo>
                      <a:pt x="117" y="149"/>
                    </a:lnTo>
                    <a:lnTo>
                      <a:pt x="109" y="134"/>
                    </a:lnTo>
                    <a:lnTo>
                      <a:pt x="81" y="136"/>
                    </a:lnTo>
                    <a:lnTo>
                      <a:pt x="92" y="113"/>
                    </a:lnTo>
                    <a:lnTo>
                      <a:pt x="4" y="128"/>
                    </a:lnTo>
                    <a:lnTo>
                      <a:pt x="24" y="45"/>
                    </a:lnTo>
                    <a:lnTo>
                      <a:pt x="72" y="22"/>
                    </a:lnTo>
                    <a:lnTo>
                      <a:pt x="126" y="13"/>
                    </a:lnTo>
                    <a:lnTo>
                      <a:pt x="130" y="26"/>
                    </a:lnTo>
                    <a:lnTo>
                      <a:pt x="204" y="0"/>
                    </a:lnTo>
                    <a:lnTo>
                      <a:pt x="236" y="39"/>
                    </a:lnTo>
                    <a:lnTo>
                      <a:pt x="249" y="11"/>
                    </a:lnTo>
                    <a:lnTo>
                      <a:pt x="291" y="26"/>
                    </a:lnTo>
                    <a:lnTo>
                      <a:pt x="283" y="36"/>
                    </a:lnTo>
                    <a:lnTo>
                      <a:pt x="285" y="39"/>
                    </a:lnTo>
                    <a:lnTo>
                      <a:pt x="308" y="81"/>
                    </a:lnTo>
                    <a:lnTo>
                      <a:pt x="294" y="102"/>
                    </a:lnTo>
                    <a:lnTo>
                      <a:pt x="304" y="113"/>
                    </a:lnTo>
                    <a:lnTo>
                      <a:pt x="289" y="134"/>
                    </a:lnTo>
                    <a:lnTo>
                      <a:pt x="308" y="162"/>
                    </a:lnTo>
                    <a:lnTo>
                      <a:pt x="291" y="207"/>
                    </a:lnTo>
                    <a:lnTo>
                      <a:pt x="251" y="226"/>
                    </a:lnTo>
                    <a:lnTo>
                      <a:pt x="249" y="236"/>
                    </a:lnTo>
                    <a:lnTo>
                      <a:pt x="268" y="277"/>
                    </a:lnTo>
                    <a:lnTo>
                      <a:pt x="328" y="296"/>
                    </a:lnTo>
                    <a:lnTo>
                      <a:pt x="321" y="328"/>
                    </a:lnTo>
                    <a:lnTo>
                      <a:pt x="291" y="334"/>
                    </a:lnTo>
                    <a:lnTo>
                      <a:pt x="285" y="362"/>
                    </a:lnTo>
                    <a:lnTo>
                      <a:pt x="208" y="345"/>
                    </a:lnTo>
                    <a:lnTo>
                      <a:pt x="185" y="302"/>
                    </a:lnTo>
                    <a:lnTo>
                      <a:pt x="179" y="319"/>
                    </a:lnTo>
                    <a:lnTo>
                      <a:pt x="138" y="315"/>
                    </a:lnTo>
                    <a:lnTo>
                      <a:pt x="130" y="334"/>
                    </a:lnTo>
                    <a:lnTo>
                      <a:pt x="83" y="330"/>
                    </a:lnTo>
                    <a:lnTo>
                      <a:pt x="89" y="306"/>
                    </a:lnTo>
                    <a:lnTo>
                      <a:pt x="66" y="258"/>
                    </a:lnTo>
                    <a:lnTo>
                      <a:pt x="0" y="234"/>
                    </a:lnTo>
                    <a:lnTo>
                      <a:pt x="111" y="224"/>
                    </a:lnTo>
                  </a:path>
                </a:pathLst>
              </a:custGeom>
              <a:solidFill>
                <a:schemeClr val="bg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a:solidFill>
                    <a:srgbClr val="503078"/>
                  </a:solidFill>
                  <a:latin typeface="Tahoma"/>
                </a:endParaRPr>
              </a:p>
            </p:txBody>
          </p:sp>
          <p:sp>
            <p:nvSpPr>
              <p:cNvPr id="413" name="22">
                <a:extLst>
                  <a:ext uri="{FF2B5EF4-FFF2-40B4-BE49-F238E27FC236}">
                    <a16:creationId xmlns:a16="http://schemas.microsoft.com/office/drawing/2014/main" id="{6086BB11-541F-49E8-AF00-00AE81A97D0D}"/>
                  </a:ext>
                </a:extLst>
              </p:cNvPr>
              <p:cNvSpPr>
                <a:spLocks/>
              </p:cNvSpPr>
              <p:nvPr/>
            </p:nvSpPr>
            <p:spPr bwMode="gray">
              <a:xfrm>
                <a:off x="4425764" y="2561391"/>
                <a:ext cx="600245" cy="454123"/>
              </a:xfrm>
              <a:custGeom>
                <a:avLst/>
                <a:gdLst>
                  <a:gd name="T0" fmla="*/ 2 w 419"/>
                  <a:gd name="T1" fmla="*/ 75 h 317"/>
                  <a:gd name="T2" fmla="*/ 25 w 419"/>
                  <a:gd name="T3" fmla="*/ 117 h 317"/>
                  <a:gd name="T4" fmla="*/ 11 w 419"/>
                  <a:gd name="T5" fmla="*/ 138 h 317"/>
                  <a:gd name="T6" fmla="*/ 21 w 419"/>
                  <a:gd name="T7" fmla="*/ 149 h 317"/>
                  <a:gd name="T8" fmla="*/ 6 w 419"/>
                  <a:gd name="T9" fmla="*/ 170 h 317"/>
                  <a:gd name="T10" fmla="*/ 25 w 419"/>
                  <a:gd name="T11" fmla="*/ 198 h 317"/>
                  <a:gd name="T12" fmla="*/ 8 w 419"/>
                  <a:gd name="T13" fmla="*/ 243 h 317"/>
                  <a:gd name="T14" fmla="*/ 79 w 419"/>
                  <a:gd name="T15" fmla="*/ 268 h 317"/>
                  <a:gd name="T16" fmla="*/ 130 w 419"/>
                  <a:gd name="T17" fmla="*/ 245 h 317"/>
                  <a:gd name="T18" fmla="*/ 191 w 419"/>
                  <a:gd name="T19" fmla="*/ 272 h 317"/>
                  <a:gd name="T20" fmla="*/ 200 w 419"/>
                  <a:gd name="T21" fmla="*/ 296 h 317"/>
                  <a:gd name="T22" fmla="*/ 229 w 419"/>
                  <a:gd name="T23" fmla="*/ 285 h 317"/>
                  <a:gd name="T24" fmla="*/ 225 w 419"/>
                  <a:gd name="T25" fmla="*/ 317 h 317"/>
                  <a:gd name="T26" fmla="*/ 255 w 419"/>
                  <a:gd name="T27" fmla="*/ 304 h 317"/>
                  <a:gd name="T28" fmla="*/ 261 w 419"/>
                  <a:gd name="T29" fmla="*/ 274 h 317"/>
                  <a:gd name="T30" fmla="*/ 319 w 419"/>
                  <a:gd name="T31" fmla="*/ 289 h 317"/>
                  <a:gd name="T32" fmla="*/ 346 w 419"/>
                  <a:gd name="T33" fmla="*/ 247 h 317"/>
                  <a:gd name="T34" fmla="*/ 404 w 419"/>
                  <a:gd name="T35" fmla="*/ 238 h 317"/>
                  <a:gd name="T36" fmla="*/ 412 w 419"/>
                  <a:gd name="T37" fmla="*/ 215 h 317"/>
                  <a:gd name="T38" fmla="*/ 419 w 419"/>
                  <a:gd name="T39" fmla="*/ 147 h 317"/>
                  <a:gd name="T40" fmla="*/ 370 w 419"/>
                  <a:gd name="T41" fmla="*/ 121 h 317"/>
                  <a:gd name="T42" fmla="*/ 349 w 419"/>
                  <a:gd name="T43" fmla="*/ 128 h 317"/>
                  <a:gd name="T44" fmla="*/ 340 w 419"/>
                  <a:gd name="T45" fmla="*/ 102 h 317"/>
                  <a:gd name="T46" fmla="*/ 321 w 419"/>
                  <a:gd name="T47" fmla="*/ 111 h 317"/>
                  <a:gd name="T48" fmla="*/ 334 w 419"/>
                  <a:gd name="T49" fmla="*/ 94 h 317"/>
                  <a:gd name="T50" fmla="*/ 325 w 419"/>
                  <a:gd name="T51" fmla="*/ 85 h 317"/>
                  <a:gd name="T52" fmla="*/ 285 w 419"/>
                  <a:gd name="T53" fmla="*/ 98 h 317"/>
                  <a:gd name="T54" fmla="*/ 232 w 419"/>
                  <a:gd name="T55" fmla="*/ 147 h 317"/>
                  <a:gd name="T56" fmla="*/ 181 w 419"/>
                  <a:gd name="T57" fmla="*/ 49 h 317"/>
                  <a:gd name="T58" fmla="*/ 149 w 419"/>
                  <a:gd name="T59" fmla="*/ 24 h 317"/>
                  <a:gd name="T60" fmla="*/ 151 w 419"/>
                  <a:gd name="T61" fmla="*/ 0 h 317"/>
                  <a:gd name="T62" fmla="*/ 119 w 419"/>
                  <a:gd name="T63" fmla="*/ 17 h 317"/>
                  <a:gd name="T64" fmla="*/ 113 w 419"/>
                  <a:gd name="T65" fmla="*/ 2 h 317"/>
                  <a:gd name="T66" fmla="*/ 79 w 419"/>
                  <a:gd name="T67" fmla="*/ 17 h 317"/>
                  <a:gd name="T68" fmla="*/ 51 w 419"/>
                  <a:gd name="T69" fmla="*/ 9 h 317"/>
                  <a:gd name="T70" fmla="*/ 25 w 419"/>
                  <a:gd name="T71" fmla="*/ 26 h 317"/>
                  <a:gd name="T72" fmla="*/ 23 w 419"/>
                  <a:gd name="T73" fmla="*/ 66 h 317"/>
                  <a:gd name="T74" fmla="*/ 8 w 419"/>
                  <a:gd name="T75" fmla="*/ 62 h 317"/>
                  <a:gd name="T76" fmla="*/ 0 w 419"/>
                  <a:gd name="T77" fmla="*/ 72 h 317"/>
                  <a:gd name="T78" fmla="*/ 2 w 419"/>
                  <a:gd name="T79" fmla="*/ 75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9" h="317">
                    <a:moveTo>
                      <a:pt x="2" y="75"/>
                    </a:moveTo>
                    <a:lnTo>
                      <a:pt x="25" y="117"/>
                    </a:lnTo>
                    <a:lnTo>
                      <a:pt x="11" y="138"/>
                    </a:lnTo>
                    <a:lnTo>
                      <a:pt x="21" y="149"/>
                    </a:lnTo>
                    <a:lnTo>
                      <a:pt x="6" y="170"/>
                    </a:lnTo>
                    <a:lnTo>
                      <a:pt x="25" y="198"/>
                    </a:lnTo>
                    <a:lnTo>
                      <a:pt x="8" y="243"/>
                    </a:lnTo>
                    <a:lnTo>
                      <a:pt x="79" y="268"/>
                    </a:lnTo>
                    <a:lnTo>
                      <a:pt x="130" y="245"/>
                    </a:lnTo>
                    <a:lnTo>
                      <a:pt x="191" y="272"/>
                    </a:lnTo>
                    <a:lnTo>
                      <a:pt x="200" y="296"/>
                    </a:lnTo>
                    <a:lnTo>
                      <a:pt x="229" y="285"/>
                    </a:lnTo>
                    <a:lnTo>
                      <a:pt x="225" y="317"/>
                    </a:lnTo>
                    <a:lnTo>
                      <a:pt x="255" y="304"/>
                    </a:lnTo>
                    <a:lnTo>
                      <a:pt x="261" y="274"/>
                    </a:lnTo>
                    <a:lnTo>
                      <a:pt x="319" y="289"/>
                    </a:lnTo>
                    <a:lnTo>
                      <a:pt x="346" y="247"/>
                    </a:lnTo>
                    <a:lnTo>
                      <a:pt x="404" y="238"/>
                    </a:lnTo>
                    <a:lnTo>
                      <a:pt x="412" y="215"/>
                    </a:lnTo>
                    <a:lnTo>
                      <a:pt x="419" y="147"/>
                    </a:lnTo>
                    <a:lnTo>
                      <a:pt x="370" y="121"/>
                    </a:lnTo>
                    <a:lnTo>
                      <a:pt x="349" y="128"/>
                    </a:lnTo>
                    <a:lnTo>
                      <a:pt x="340" y="102"/>
                    </a:lnTo>
                    <a:lnTo>
                      <a:pt x="321" y="111"/>
                    </a:lnTo>
                    <a:lnTo>
                      <a:pt x="334" y="94"/>
                    </a:lnTo>
                    <a:lnTo>
                      <a:pt x="325" y="85"/>
                    </a:lnTo>
                    <a:lnTo>
                      <a:pt x="285" y="98"/>
                    </a:lnTo>
                    <a:lnTo>
                      <a:pt x="232" y="147"/>
                    </a:lnTo>
                    <a:lnTo>
                      <a:pt x="181" y="49"/>
                    </a:lnTo>
                    <a:lnTo>
                      <a:pt x="149" y="24"/>
                    </a:lnTo>
                    <a:lnTo>
                      <a:pt x="151" y="0"/>
                    </a:lnTo>
                    <a:lnTo>
                      <a:pt x="119" y="17"/>
                    </a:lnTo>
                    <a:lnTo>
                      <a:pt x="113" y="2"/>
                    </a:lnTo>
                    <a:lnTo>
                      <a:pt x="79" y="17"/>
                    </a:lnTo>
                    <a:lnTo>
                      <a:pt x="51" y="9"/>
                    </a:lnTo>
                    <a:lnTo>
                      <a:pt x="25" y="26"/>
                    </a:lnTo>
                    <a:lnTo>
                      <a:pt x="23" y="66"/>
                    </a:lnTo>
                    <a:lnTo>
                      <a:pt x="8" y="62"/>
                    </a:lnTo>
                    <a:lnTo>
                      <a:pt x="0" y="72"/>
                    </a:lnTo>
                    <a:lnTo>
                      <a:pt x="2" y="75"/>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14" name="56">
                <a:extLst>
                  <a:ext uri="{FF2B5EF4-FFF2-40B4-BE49-F238E27FC236}">
                    <a16:creationId xmlns:a16="http://schemas.microsoft.com/office/drawing/2014/main" id="{731C7A91-CE2B-4405-94A3-B89F6AA3CE66}"/>
                  </a:ext>
                </a:extLst>
              </p:cNvPr>
              <p:cNvSpPr>
                <a:spLocks/>
              </p:cNvSpPr>
              <p:nvPr/>
            </p:nvSpPr>
            <p:spPr bwMode="gray">
              <a:xfrm>
                <a:off x="4377057" y="2909505"/>
                <a:ext cx="578756" cy="416877"/>
              </a:xfrm>
              <a:custGeom>
                <a:avLst/>
                <a:gdLst>
                  <a:gd name="T0" fmla="*/ 2 w 404"/>
                  <a:gd name="T1" fmla="*/ 19 h 291"/>
                  <a:gd name="T2" fmla="*/ 42 w 404"/>
                  <a:gd name="T3" fmla="*/ 0 h 291"/>
                  <a:gd name="T4" fmla="*/ 113 w 404"/>
                  <a:gd name="T5" fmla="*/ 25 h 291"/>
                  <a:gd name="T6" fmla="*/ 164 w 404"/>
                  <a:gd name="T7" fmla="*/ 2 h 291"/>
                  <a:gd name="T8" fmla="*/ 225 w 404"/>
                  <a:gd name="T9" fmla="*/ 29 h 291"/>
                  <a:gd name="T10" fmla="*/ 234 w 404"/>
                  <a:gd name="T11" fmla="*/ 53 h 291"/>
                  <a:gd name="T12" fmla="*/ 263 w 404"/>
                  <a:gd name="T13" fmla="*/ 42 h 291"/>
                  <a:gd name="T14" fmla="*/ 259 w 404"/>
                  <a:gd name="T15" fmla="*/ 74 h 291"/>
                  <a:gd name="T16" fmla="*/ 289 w 404"/>
                  <a:gd name="T17" fmla="*/ 61 h 291"/>
                  <a:gd name="T18" fmla="*/ 295 w 404"/>
                  <a:gd name="T19" fmla="*/ 31 h 291"/>
                  <a:gd name="T20" fmla="*/ 353 w 404"/>
                  <a:gd name="T21" fmla="*/ 46 h 291"/>
                  <a:gd name="T22" fmla="*/ 359 w 404"/>
                  <a:gd name="T23" fmla="*/ 72 h 291"/>
                  <a:gd name="T24" fmla="*/ 380 w 404"/>
                  <a:gd name="T25" fmla="*/ 68 h 291"/>
                  <a:gd name="T26" fmla="*/ 353 w 404"/>
                  <a:gd name="T27" fmla="*/ 89 h 291"/>
                  <a:gd name="T28" fmla="*/ 351 w 404"/>
                  <a:gd name="T29" fmla="*/ 95 h 291"/>
                  <a:gd name="T30" fmla="*/ 385 w 404"/>
                  <a:gd name="T31" fmla="*/ 102 h 291"/>
                  <a:gd name="T32" fmla="*/ 397 w 404"/>
                  <a:gd name="T33" fmla="*/ 125 h 291"/>
                  <a:gd name="T34" fmla="*/ 387 w 404"/>
                  <a:gd name="T35" fmla="*/ 151 h 291"/>
                  <a:gd name="T36" fmla="*/ 404 w 404"/>
                  <a:gd name="T37" fmla="*/ 151 h 291"/>
                  <a:gd name="T38" fmla="*/ 383 w 404"/>
                  <a:gd name="T39" fmla="*/ 180 h 291"/>
                  <a:gd name="T40" fmla="*/ 400 w 404"/>
                  <a:gd name="T41" fmla="*/ 189 h 291"/>
                  <a:gd name="T42" fmla="*/ 380 w 404"/>
                  <a:gd name="T43" fmla="*/ 197 h 291"/>
                  <a:gd name="T44" fmla="*/ 385 w 404"/>
                  <a:gd name="T45" fmla="*/ 231 h 291"/>
                  <a:gd name="T46" fmla="*/ 368 w 404"/>
                  <a:gd name="T47" fmla="*/ 280 h 291"/>
                  <a:gd name="T48" fmla="*/ 334 w 404"/>
                  <a:gd name="T49" fmla="*/ 272 h 291"/>
                  <a:gd name="T50" fmla="*/ 329 w 404"/>
                  <a:gd name="T51" fmla="*/ 289 h 291"/>
                  <a:gd name="T52" fmla="*/ 291 w 404"/>
                  <a:gd name="T53" fmla="*/ 291 h 291"/>
                  <a:gd name="T54" fmla="*/ 283 w 404"/>
                  <a:gd name="T55" fmla="*/ 276 h 291"/>
                  <a:gd name="T56" fmla="*/ 302 w 404"/>
                  <a:gd name="T57" fmla="*/ 274 h 291"/>
                  <a:gd name="T58" fmla="*/ 283 w 404"/>
                  <a:gd name="T59" fmla="*/ 263 h 291"/>
                  <a:gd name="T60" fmla="*/ 210 w 404"/>
                  <a:gd name="T61" fmla="*/ 272 h 291"/>
                  <a:gd name="T62" fmla="*/ 183 w 404"/>
                  <a:gd name="T63" fmla="*/ 248 h 291"/>
                  <a:gd name="T64" fmla="*/ 229 w 404"/>
                  <a:gd name="T65" fmla="*/ 253 h 291"/>
                  <a:gd name="T66" fmla="*/ 234 w 404"/>
                  <a:gd name="T67" fmla="*/ 231 h 291"/>
                  <a:gd name="T68" fmla="*/ 198 w 404"/>
                  <a:gd name="T69" fmla="*/ 221 h 291"/>
                  <a:gd name="T70" fmla="*/ 185 w 404"/>
                  <a:gd name="T71" fmla="*/ 233 h 291"/>
                  <a:gd name="T72" fmla="*/ 174 w 404"/>
                  <a:gd name="T73" fmla="*/ 216 h 291"/>
                  <a:gd name="T74" fmla="*/ 176 w 404"/>
                  <a:gd name="T75" fmla="*/ 244 h 291"/>
                  <a:gd name="T76" fmla="*/ 134 w 404"/>
                  <a:gd name="T77" fmla="*/ 227 h 291"/>
                  <a:gd name="T78" fmla="*/ 138 w 404"/>
                  <a:gd name="T79" fmla="*/ 272 h 291"/>
                  <a:gd name="T80" fmla="*/ 127 w 404"/>
                  <a:gd name="T81" fmla="*/ 270 h 291"/>
                  <a:gd name="T82" fmla="*/ 125 w 404"/>
                  <a:gd name="T83" fmla="*/ 221 h 291"/>
                  <a:gd name="T84" fmla="*/ 79 w 404"/>
                  <a:gd name="T85" fmla="*/ 187 h 291"/>
                  <a:gd name="T86" fmla="*/ 96 w 404"/>
                  <a:gd name="T87" fmla="*/ 185 h 291"/>
                  <a:gd name="T88" fmla="*/ 55 w 404"/>
                  <a:gd name="T89" fmla="*/ 180 h 291"/>
                  <a:gd name="T90" fmla="*/ 36 w 404"/>
                  <a:gd name="T91" fmla="*/ 155 h 291"/>
                  <a:gd name="T92" fmla="*/ 42 w 404"/>
                  <a:gd name="T93" fmla="*/ 127 h 291"/>
                  <a:gd name="T94" fmla="*/ 72 w 404"/>
                  <a:gd name="T95" fmla="*/ 121 h 291"/>
                  <a:gd name="T96" fmla="*/ 79 w 404"/>
                  <a:gd name="T97" fmla="*/ 89 h 291"/>
                  <a:gd name="T98" fmla="*/ 19 w 404"/>
                  <a:gd name="T99" fmla="*/ 70 h 291"/>
                  <a:gd name="T100" fmla="*/ 0 w 404"/>
                  <a:gd name="T101" fmla="*/ 29 h 291"/>
                  <a:gd name="T102" fmla="*/ 2 w 404"/>
                  <a:gd name="T103" fmla="*/ 1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4" h="291">
                    <a:moveTo>
                      <a:pt x="2" y="19"/>
                    </a:moveTo>
                    <a:lnTo>
                      <a:pt x="42" y="0"/>
                    </a:lnTo>
                    <a:lnTo>
                      <a:pt x="113" y="25"/>
                    </a:lnTo>
                    <a:lnTo>
                      <a:pt x="164" y="2"/>
                    </a:lnTo>
                    <a:lnTo>
                      <a:pt x="225" y="29"/>
                    </a:lnTo>
                    <a:lnTo>
                      <a:pt x="234" y="53"/>
                    </a:lnTo>
                    <a:lnTo>
                      <a:pt x="263" y="42"/>
                    </a:lnTo>
                    <a:lnTo>
                      <a:pt x="259" y="74"/>
                    </a:lnTo>
                    <a:lnTo>
                      <a:pt x="289" y="61"/>
                    </a:lnTo>
                    <a:lnTo>
                      <a:pt x="295" y="31"/>
                    </a:lnTo>
                    <a:lnTo>
                      <a:pt x="353" y="46"/>
                    </a:lnTo>
                    <a:lnTo>
                      <a:pt x="359" y="72"/>
                    </a:lnTo>
                    <a:lnTo>
                      <a:pt x="380" y="68"/>
                    </a:lnTo>
                    <a:lnTo>
                      <a:pt x="353" y="89"/>
                    </a:lnTo>
                    <a:lnTo>
                      <a:pt x="351" y="95"/>
                    </a:lnTo>
                    <a:lnTo>
                      <a:pt x="385" y="102"/>
                    </a:lnTo>
                    <a:lnTo>
                      <a:pt x="397" y="125"/>
                    </a:lnTo>
                    <a:lnTo>
                      <a:pt x="387" y="151"/>
                    </a:lnTo>
                    <a:lnTo>
                      <a:pt x="404" y="151"/>
                    </a:lnTo>
                    <a:lnTo>
                      <a:pt x="383" y="180"/>
                    </a:lnTo>
                    <a:lnTo>
                      <a:pt x="400" y="189"/>
                    </a:lnTo>
                    <a:lnTo>
                      <a:pt x="380" y="197"/>
                    </a:lnTo>
                    <a:lnTo>
                      <a:pt x="385" y="231"/>
                    </a:lnTo>
                    <a:lnTo>
                      <a:pt x="368" y="280"/>
                    </a:lnTo>
                    <a:lnTo>
                      <a:pt x="334" y="272"/>
                    </a:lnTo>
                    <a:lnTo>
                      <a:pt x="329" y="289"/>
                    </a:lnTo>
                    <a:lnTo>
                      <a:pt x="291" y="291"/>
                    </a:lnTo>
                    <a:lnTo>
                      <a:pt x="283" y="276"/>
                    </a:lnTo>
                    <a:lnTo>
                      <a:pt x="302" y="274"/>
                    </a:lnTo>
                    <a:lnTo>
                      <a:pt x="283" y="263"/>
                    </a:lnTo>
                    <a:lnTo>
                      <a:pt x="210" y="272"/>
                    </a:lnTo>
                    <a:lnTo>
                      <a:pt x="183" y="248"/>
                    </a:lnTo>
                    <a:lnTo>
                      <a:pt x="229" y="253"/>
                    </a:lnTo>
                    <a:lnTo>
                      <a:pt x="234" y="231"/>
                    </a:lnTo>
                    <a:lnTo>
                      <a:pt x="198" y="221"/>
                    </a:lnTo>
                    <a:lnTo>
                      <a:pt x="185" y="233"/>
                    </a:lnTo>
                    <a:lnTo>
                      <a:pt x="174" y="216"/>
                    </a:lnTo>
                    <a:lnTo>
                      <a:pt x="176" y="244"/>
                    </a:lnTo>
                    <a:lnTo>
                      <a:pt x="134" y="227"/>
                    </a:lnTo>
                    <a:lnTo>
                      <a:pt x="138" y="272"/>
                    </a:lnTo>
                    <a:lnTo>
                      <a:pt x="127" y="270"/>
                    </a:lnTo>
                    <a:lnTo>
                      <a:pt x="125" y="221"/>
                    </a:lnTo>
                    <a:lnTo>
                      <a:pt x="79" y="187"/>
                    </a:lnTo>
                    <a:lnTo>
                      <a:pt x="96" y="185"/>
                    </a:lnTo>
                    <a:lnTo>
                      <a:pt x="55" y="180"/>
                    </a:lnTo>
                    <a:lnTo>
                      <a:pt x="36" y="155"/>
                    </a:lnTo>
                    <a:lnTo>
                      <a:pt x="42" y="127"/>
                    </a:lnTo>
                    <a:lnTo>
                      <a:pt x="72" y="121"/>
                    </a:lnTo>
                    <a:lnTo>
                      <a:pt x="79" y="89"/>
                    </a:lnTo>
                    <a:lnTo>
                      <a:pt x="19" y="70"/>
                    </a:lnTo>
                    <a:lnTo>
                      <a:pt x="0" y="29"/>
                    </a:lnTo>
                    <a:lnTo>
                      <a:pt x="2" y="19"/>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15" name="35">
                <a:extLst>
                  <a:ext uri="{FF2B5EF4-FFF2-40B4-BE49-F238E27FC236}">
                    <a16:creationId xmlns:a16="http://schemas.microsoft.com/office/drawing/2014/main" id="{E0B03BC0-ACEB-4CF5-A561-EAF9430C4D8F}"/>
                  </a:ext>
                </a:extLst>
              </p:cNvPr>
              <p:cNvSpPr>
                <a:spLocks/>
              </p:cNvSpPr>
              <p:nvPr/>
            </p:nvSpPr>
            <p:spPr bwMode="gray">
              <a:xfrm>
                <a:off x="4879887" y="2683160"/>
                <a:ext cx="444095" cy="557268"/>
              </a:xfrm>
              <a:custGeom>
                <a:avLst/>
                <a:gdLst>
                  <a:gd name="T0" fmla="*/ 2 w 310"/>
                  <a:gd name="T1" fmla="*/ 247 h 389"/>
                  <a:gd name="T2" fmla="*/ 29 w 310"/>
                  <a:gd name="T3" fmla="*/ 226 h 389"/>
                  <a:gd name="T4" fmla="*/ 8 w 310"/>
                  <a:gd name="T5" fmla="*/ 230 h 389"/>
                  <a:gd name="T6" fmla="*/ 2 w 310"/>
                  <a:gd name="T7" fmla="*/ 204 h 389"/>
                  <a:gd name="T8" fmla="*/ 29 w 310"/>
                  <a:gd name="T9" fmla="*/ 162 h 389"/>
                  <a:gd name="T10" fmla="*/ 87 w 310"/>
                  <a:gd name="T11" fmla="*/ 153 h 389"/>
                  <a:gd name="T12" fmla="*/ 95 w 310"/>
                  <a:gd name="T13" fmla="*/ 130 h 389"/>
                  <a:gd name="T14" fmla="*/ 102 w 310"/>
                  <a:gd name="T15" fmla="*/ 62 h 389"/>
                  <a:gd name="T16" fmla="*/ 53 w 310"/>
                  <a:gd name="T17" fmla="*/ 36 h 389"/>
                  <a:gd name="T18" fmla="*/ 49 w 310"/>
                  <a:gd name="T19" fmla="*/ 24 h 389"/>
                  <a:gd name="T20" fmla="*/ 123 w 310"/>
                  <a:gd name="T21" fmla="*/ 0 h 389"/>
                  <a:gd name="T22" fmla="*/ 121 w 310"/>
                  <a:gd name="T23" fmla="*/ 34 h 389"/>
                  <a:gd name="T24" fmla="*/ 189 w 310"/>
                  <a:gd name="T25" fmla="*/ 34 h 389"/>
                  <a:gd name="T26" fmla="*/ 219 w 310"/>
                  <a:gd name="T27" fmla="*/ 98 h 389"/>
                  <a:gd name="T28" fmla="*/ 265 w 310"/>
                  <a:gd name="T29" fmla="*/ 70 h 389"/>
                  <a:gd name="T30" fmla="*/ 306 w 310"/>
                  <a:gd name="T31" fmla="*/ 87 h 389"/>
                  <a:gd name="T32" fmla="*/ 308 w 310"/>
                  <a:gd name="T33" fmla="*/ 153 h 389"/>
                  <a:gd name="T34" fmla="*/ 295 w 310"/>
                  <a:gd name="T35" fmla="*/ 175 h 389"/>
                  <a:gd name="T36" fmla="*/ 310 w 310"/>
                  <a:gd name="T37" fmla="*/ 266 h 389"/>
                  <a:gd name="T38" fmla="*/ 276 w 310"/>
                  <a:gd name="T39" fmla="*/ 281 h 389"/>
                  <a:gd name="T40" fmla="*/ 250 w 310"/>
                  <a:gd name="T41" fmla="*/ 336 h 389"/>
                  <a:gd name="T42" fmla="*/ 250 w 310"/>
                  <a:gd name="T43" fmla="*/ 338 h 389"/>
                  <a:gd name="T44" fmla="*/ 246 w 310"/>
                  <a:gd name="T45" fmla="*/ 351 h 389"/>
                  <a:gd name="T46" fmla="*/ 195 w 310"/>
                  <a:gd name="T47" fmla="*/ 326 h 389"/>
                  <a:gd name="T48" fmla="*/ 144 w 310"/>
                  <a:gd name="T49" fmla="*/ 366 h 389"/>
                  <a:gd name="T50" fmla="*/ 68 w 310"/>
                  <a:gd name="T51" fmla="*/ 370 h 389"/>
                  <a:gd name="T52" fmla="*/ 34 w 310"/>
                  <a:gd name="T53" fmla="*/ 389 h 389"/>
                  <a:gd name="T54" fmla="*/ 29 w 310"/>
                  <a:gd name="T55" fmla="*/ 355 h 389"/>
                  <a:gd name="T56" fmla="*/ 49 w 310"/>
                  <a:gd name="T57" fmla="*/ 347 h 389"/>
                  <a:gd name="T58" fmla="*/ 32 w 310"/>
                  <a:gd name="T59" fmla="*/ 338 h 389"/>
                  <a:gd name="T60" fmla="*/ 53 w 310"/>
                  <a:gd name="T61" fmla="*/ 309 h 389"/>
                  <a:gd name="T62" fmla="*/ 36 w 310"/>
                  <a:gd name="T63" fmla="*/ 309 h 389"/>
                  <a:gd name="T64" fmla="*/ 46 w 310"/>
                  <a:gd name="T65" fmla="*/ 283 h 389"/>
                  <a:gd name="T66" fmla="*/ 34 w 310"/>
                  <a:gd name="T67" fmla="*/ 260 h 389"/>
                  <a:gd name="T68" fmla="*/ 0 w 310"/>
                  <a:gd name="T69" fmla="*/ 253 h 389"/>
                  <a:gd name="T70" fmla="*/ 2 w 310"/>
                  <a:gd name="T71" fmla="*/ 247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0" h="389">
                    <a:moveTo>
                      <a:pt x="2" y="247"/>
                    </a:moveTo>
                    <a:lnTo>
                      <a:pt x="29" y="226"/>
                    </a:lnTo>
                    <a:lnTo>
                      <a:pt x="8" y="230"/>
                    </a:lnTo>
                    <a:lnTo>
                      <a:pt x="2" y="204"/>
                    </a:lnTo>
                    <a:lnTo>
                      <a:pt x="29" y="162"/>
                    </a:lnTo>
                    <a:lnTo>
                      <a:pt x="87" y="153"/>
                    </a:lnTo>
                    <a:lnTo>
                      <a:pt x="95" y="130"/>
                    </a:lnTo>
                    <a:lnTo>
                      <a:pt x="102" y="62"/>
                    </a:lnTo>
                    <a:lnTo>
                      <a:pt x="53" y="36"/>
                    </a:lnTo>
                    <a:lnTo>
                      <a:pt x="49" y="24"/>
                    </a:lnTo>
                    <a:lnTo>
                      <a:pt x="123" y="0"/>
                    </a:lnTo>
                    <a:lnTo>
                      <a:pt x="121" y="34"/>
                    </a:lnTo>
                    <a:lnTo>
                      <a:pt x="189" y="34"/>
                    </a:lnTo>
                    <a:lnTo>
                      <a:pt x="219" y="98"/>
                    </a:lnTo>
                    <a:lnTo>
                      <a:pt x="265" y="70"/>
                    </a:lnTo>
                    <a:lnTo>
                      <a:pt x="306" y="87"/>
                    </a:lnTo>
                    <a:lnTo>
                      <a:pt x="308" y="153"/>
                    </a:lnTo>
                    <a:lnTo>
                      <a:pt x="295" y="175"/>
                    </a:lnTo>
                    <a:lnTo>
                      <a:pt x="310" y="266"/>
                    </a:lnTo>
                    <a:lnTo>
                      <a:pt x="276" y="281"/>
                    </a:lnTo>
                    <a:lnTo>
                      <a:pt x="250" y="336"/>
                    </a:lnTo>
                    <a:lnTo>
                      <a:pt x="250" y="338"/>
                    </a:lnTo>
                    <a:lnTo>
                      <a:pt x="246" y="351"/>
                    </a:lnTo>
                    <a:lnTo>
                      <a:pt x="195" y="326"/>
                    </a:lnTo>
                    <a:lnTo>
                      <a:pt x="144" y="366"/>
                    </a:lnTo>
                    <a:lnTo>
                      <a:pt x="68" y="370"/>
                    </a:lnTo>
                    <a:lnTo>
                      <a:pt x="34" y="389"/>
                    </a:lnTo>
                    <a:lnTo>
                      <a:pt x="29" y="355"/>
                    </a:lnTo>
                    <a:lnTo>
                      <a:pt x="49" y="347"/>
                    </a:lnTo>
                    <a:lnTo>
                      <a:pt x="32" y="338"/>
                    </a:lnTo>
                    <a:lnTo>
                      <a:pt x="53" y="309"/>
                    </a:lnTo>
                    <a:lnTo>
                      <a:pt x="36" y="309"/>
                    </a:lnTo>
                    <a:lnTo>
                      <a:pt x="46" y="283"/>
                    </a:lnTo>
                    <a:lnTo>
                      <a:pt x="34" y="260"/>
                    </a:lnTo>
                    <a:lnTo>
                      <a:pt x="0" y="253"/>
                    </a:lnTo>
                    <a:lnTo>
                      <a:pt x="2" y="247"/>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grpSp>
          <p:nvGrpSpPr>
            <p:cNvPr id="296" name="Bourgogne Franche Comté (Formes)">
              <a:extLst>
                <a:ext uri="{FF2B5EF4-FFF2-40B4-BE49-F238E27FC236}">
                  <a16:creationId xmlns:a16="http://schemas.microsoft.com/office/drawing/2014/main" id="{4D9BE8C9-FC45-426F-9D34-283FFCE4D3FB}"/>
                </a:ext>
              </a:extLst>
            </p:cNvPr>
            <p:cNvGrpSpPr/>
            <p:nvPr/>
          </p:nvGrpSpPr>
          <p:grpSpPr>
            <a:xfrm>
              <a:off x="7429779" y="2742985"/>
              <a:ext cx="1518520" cy="1168973"/>
              <a:chOff x="6676323" y="2912370"/>
              <a:chExt cx="1518520" cy="1168973"/>
            </a:xfrm>
            <a:solidFill>
              <a:srgbClr val="667E76"/>
            </a:solidFill>
          </p:grpSpPr>
          <p:grpSp>
            <p:nvGrpSpPr>
              <p:cNvPr id="398" name="Franche Comté (Formes)">
                <a:extLst>
                  <a:ext uri="{FF2B5EF4-FFF2-40B4-BE49-F238E27FC236}">
                    <a16:creationId xmlns:a16="http://schemas.microsoft.com/office/drawing/2014/main" id="{93B453BC-7BA5-484B-9518-006BF128A7CA}"/>
                  </a:ext>
                </a:extLst>
              </p:cNvPr>
              <p:cNvGrpSpPr/>
              <p:nvPr/>
            </p:nvGrpSpPr>
            <p:grpSpPr>
              <a:xfrm>
                <a:off x="7537296" y="3088575"/>
                <a:ext cx="657547" cy="928301"/>
                <a:chOff x="7537296" y="3088575"/>
                <a:chExt cx="657547" cy="928301"/>
              </a:xfrm>
              <a:grpFill/>
            </p:grpSpPr>
            <p:sp>
              <p:nvSpPr>
                <p:cNvPr id="404" name="90">
                  <a:extLst>
                    <a:ext uri="{FF2B5EF4-FFF2-40B4-BE49-F238E27FC236}">
                      <a16:creationId xmlns:a16="http://schemas.microsoft.com/office/drawing/2014/main" id="{5256BD1F-631B-48B4-B9C1-831E358E5724}"/>
                    </a:ext>
                  </a:extLst>
                </p:cNvPr>
                <p:cNvSpPr>
                  <a:spLocks/>
                </p:cNvSpPr>
                <p:nvPr/>
              </p:nvSpPr>
              <p:spPr bwMode="gray">
                <a:xfrm>
                  <a:off x="8055884" y="3185989"/>
                  <a:ext cx="138959" cy="200559"/>
                </a:xfrm>
                <a:custGeom>
                  <a:avLst/>
                  <a:gdLst>
                    <a:gd name="T0" fmla="*/ 2 w 97"/>
                    <a:gd name="T1" fmla="*/ 32 h 140"/>
                    <a:gd name="T2" fmla="*/ 17 w 97"/>
                    <a:gd name="T3" fmla="*/ 96 h 140"/>
                    <a:gd name="T4" fmla="*/ 51 w 97"/>
                    <a:gd name="T5" fmla="*/ 113 h 140"/>
                    <a:gd name="T6" fmla="*/ 40 w 97"/>
                    <a:gd name="T7" fmla="*/ 119 h 140"/>
                    <a:gd name="T8" fmla="*/ 51 w 97"/>
                    <a:gd name="T9" fmla="*/ 140 h 140"/>
                    <a:gd name="T10" fmla="*/ 61 w 97"/>
                    <a:gd name="T11" fmla="*/ 119 h 140"/>
                    <a:gd name="T12" fmla="*/ 97 w 97"/>
                    <a:gd name="T13" fmla="*/ 115 h 140"/>
                    <a:gd name="T14" fmla="*/ 83 w 97"/>
                    <a:gd name="T15" fmla="*/ 79 h 140"/>
                    <a:gd name="T16" fmla="*/ 63 w 97"/>
                    <a:gd name="T17" fmla="*/ 81 h 140"/>
                    <a:gd name="T18" fmla="*/ 70 w 97"/>
                    <a:gd name="T19" fmla="*/ 36 h 140"/>
                    <a:gd name="T20" fmla="*/ 23 w 97"/>
                    <a:gd name="T21" fmla="*/ 4 h 140"/>
                    <a:gd name="T22" fmla="*/ 21 w 97"/>
                    <a:gd name="T23" fmla="*/ 0 h 140"/>
                    <a:gd name="T24" fmla="*/ 15 w 97"/>
                    <a:gd name="T25" fmla="*/ 2 h 140"/>
                    <a:gd name="T26" fmla="*/ 0 w 97"/>
                    <a:gd name="T27" fmla="*/ 28 h 140"/>
                    <a:gd name="T28" fmla="*/ 2 w 97"/>
                    <a:gd name="T29" fmla="*/ 3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140">
                      <a:moveTo>
                        <a:pt x="2" y="32"/>
                      </a:moveTo>
                      <a:lnTo>
                        <a:pt x="17" y="96"/>
                      </a:lnTo>
                      <a:lnTo>
                        <a:pt x="51" y="113"/>
                      </a:lnTo>
                      <a:lnTo>
                        <a:pt x="40" y="119"/>
                      </a:lnTo>
                      <a:lnTo>
                        <a:pt x="51" y="140"/>
                      </a:lnTo>
                      <a:lnTo>
                        <a:pt x="61" y="119"/>
                      </a:lnTo>
                      <a:lnTo>
                        <a:pt x="97" y="115"/>
                      </a:lnTo>
                      <a:lnTo>
                        <a:pt x="83" y="79"/>
                      </a:lnTo>
                      <a:lnTo>
                        <a:pt x="63" y="81"/>
                      </a:lnTo>
                      <a:lnTo>
                        <a:pt x="70" y="36"/>
                      </a:lnTo>
                      <a:lnTo>
                        <a:pt x="23" y="4"/>
                      </a:lnTo>
                      <a:lnTo>
                        <a:pt x="21" y="0"/>
                      </a:lnTo>
                      <a:lnTo>
                        <a:pt x="15" y="2"/>
                      </a:lnTo>
                      <a:lnTo>
                        <a:pt x="0" y="28"/>
                      </a:lnTo>
                      <a:lnTo>
                        <a:pt x="2" y="32"/>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05" name="89">
                  <a:extLst>
                    <a:ext uri="{FF2B5EF4-FFF2-40B4-BE49-F238E27FC236}">
                      <a16:creationId xmlns:a16="http://schemas.microsoft.com/office/drawing/2014/main" id="{A771BFD1-4DE4-4B1D-8BD3-7D58F516E02A}"/>
                    </a:ext>
                  </a:extLst>
                </p:cNvPr>
                <p:cNvSpPr>
                  <a:spLocks/>
                </p:cNvSpPr>
                <p:nvPr/>
              </p:nvSpPr>
              <p:spPr bwMode="gray">
                <a:xfrm>
                  <a:off x="7537296" y="3472502"/>
                  <a:ext cx="345249" cy="544374"/>
                </a:xfrm>
                <a:custGeom>
                  <a:avLst/>
                  <a:gdLst>
                    <a:gd name="T0" fmla="*/ 2 w 241"/>
                    <a:gd name="T1" fmla="*/ 132 h 380"/>
                    <a:gd name="T2" fmla="*/ 0 w 241"/>
                    <a:gd name="T3" fmla="*/ 121 h 380"/>
                    <a:gd name="T4" fmla="*/ 45 w 241"/>
                    <a:gd name="T5" fmla="*/ 59 h 380"/>
                    <a:gd name="T6" fmla="*/ 64 w 241"/>
                    <a:gd name="T7" fmla="*/ 0 h 380"/>
                    <a:gd name="T8" fmla="*/ 79 w 241"/>
                    <a:gd name="T9" fmla="*/ 19 h 380"/>
                    <a:gd name="T10" fmla="*/ 109 w 241"/>
                    <a:gd name="T11" fmla="*/ 13 h 380"/>
                    <a:gd name="T12" fmla="*/ 141 w 241"/>
                    <a:gd name="T13" fmla="*/ 57 h 380"/>
                    <a:gd name="T14" fmla="*/ 124 w 241"/>
                    <a:gd name="T15" fmla="*/ 102 h 380"/>
                    <a:gd name="T16" fmla="*/ 138 w 241"/>
                    <a:gd name="T17" fmla="*/ 91 h 380"/>
                    <a:gd name="T18" fmla="*/ 164 w 241"/>
                    <a:gd name="T19" fmla="*/ 102 h 380"/>
                    <a:gd name="T20" fmla="*/ 194 w 241"/>
                    <a:gd name="T21" fmla="*/ 161 h 380"/>
                    <a:gd name="T22" fmla="*/ 241 w 241"/>
                    <a:gd name="T23" fmla="*/ 189 h 380"/>
                    <a:gd name="T24" fmla="*/ 209 w 241"/>
                    <a:gd name="T25" fmla="*/ 221 h 380"/>
                    <a:gd name="T26" fmla="*/ 202 w 241"/>
                    <a:gd name="T27" fmla="*/ 253 h 380"/>
                    <a:gd name="T28" fmla="*/ 226 w 241"/>
                    <a:gd name="T29" fmla="*/ 270 h 380"/>
                    <a:gd name="T30" fmla="*/ 209 w 241"/>
                    <a:gd name="T31" fmla="*/ 321 h 380"/>
                    <a:gd name="T32" fmla="*/ 162 w 241"/>
                    <a:gd name="T33" fmla="*/ 378 h 380"/>
                    <a:gd name="T34" fmla="*/ 126 w 241"/>
                    <a:gd name="T35" fmla="*/ 380 h 380"/>
                    <a:gd name="T36" fmla="*/ 104 w 241"/>
                    <a:gd name="T37" fmla="*/ 353 h 380"/>
                    <a:gd name="T38" fmla="*/ 70 w 241"/>
                    <a:gd name="T39" fmla="*/ 380 h 380"/>
                    <a:gd name="T40" fmla="*/ 49 w 241"/>
                    <a:gd name="T41" fmla="*/ 351 h 380"/>
                    <a:gd name="T42" fmla="*/ 43 w 241"/>
                    <a:gd name="T43" fmla="*/ 363 h 380"/>
                    <a:gd name="T44" fmla="*/ 19 w 241"/>
                    <a:gd name="T45" fmla="*/ 315 h 380"/>
                    <a:gd name="T46" fmla="*/ 45 w 241"/>
                    <a:gd name="T47" fmla="*/ 302 h 380"/>
                    <a:gd name="T48" fmla="*/ 30 w 241"/>
                    <a:gd name="T49" fmla="*/ 274 h 380"/>
                    <a:gd name="T50" fmla="*/ 49 w 241"/>
                    <a:gd name="T51" fmla="*/ 244 h 380"/>
                    <a:gd name="T52" fmla="*/ 19 w 241"/>
                    <a:gd name="T53" fmla="*/ 183 h 380"/>
                    <a:gd name="T54" fmla="*/ 53 w 241"/>
                    <a:gd name="T55" fmla="*/ 166 h 380"/>
                    <a:gd name="T56" fmla="*/ 0 w 241"/>
                    <a:gd name="T57" fmla="*/ 134 h 380"/>
                    <a:gd name="T58" fmla="*/ 2 w 241"/>
                    <a:gd name="T59" fmla="*/ 13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1" h="380">
                      <a:moveTo>
                        <a:pt x="2" y="132"/>
                      </a:moveTo>
                      <a:lnTo>
                        <a:pt x="0" y="121"/>
                      </a:lnTo>
                      <a:lnTo>
                        <a:pt x="45" y="59"/>
                      </a:lnTo>
                      <a:lnTo>
                        <a:pt x="64" y="0"/>
                      </a:lnTo>
                      <a:lnTo>
                        <a:pt x="79" y="19"/>
                      </a:lnTo>
                      <a:lnTo>
                        <a:pt x="109" y="13"/>
                      </a:lnTo>
                      <a:lnTo>
                        <a:pt x="141" y="57"/>
                      </a:lnTo>
                      <a:lnTo>
                        <a:pt x="124" y="102"/>
                      </a:lnTo>
                      <a:lnTo>
                        <a:pt x="138" y="91"/>
                      </a:lnTo>
                      <a:lnTo>
                        <a:pt x="164" y="102"/>
                      </a:lnTo>
                      <a:lnTo>
                        <a:pt x="194" y="161"/>
                      </a:lnTo>
                      <a:lnTo>
                        <a:pt x="241" y="189"/>
                      </a:lnTo>
                      <a:lnTo>
                        <a:pt x="209" y="221"/>
                      </a:lnTo>
                      <a:lnTo>
                        <a:pt x="202" y="253"/>
                      </a:lnTo>
                      <a:lnTo>
                        <a:pt x="226" y="270"/>
                      </a:lnTo>
                      <a:lnTo>
                        <a:pt x="209" y="321"/>
                      </a:lnTo>
                      <a:lnTo>
                        <a:pt x="162" y="378"/>
                      </a:lnTo>
                      <a:lnTo>
                        <a:pt x="126" y="380"/>
                      </a:lnTo>
                      <a:lnTo>
                        <a:pt x="104" y="353"/>
                      </a:lnTo>
                      <a:lnTo>
                        <a:pt x="70" y="380"/>
                      </a:lnTo>
                      <a:lnTo>
                        <a:pt x="49" y="351"/>
                      </a:lnTo>
                      <a:lnTo>
                        <a:pt x="43" y="363"/>
                      </a:lnTo>
                      <a:lnTo>
                        <a:pt x="19" y="315"/>
                      </a:lnTo>
                      <a:lnTo>
                        <a:pt x="45" y="302"/>
                      </a:lnTo>
                      <a:lnTo>
                        <a:pt x="30" y="274"/>
                      </a:lnTo>
                      <a:lnTo>
                        <a:pt x="49" y="244"/>
                      </a:lnTo>
                      <a:lnTo>
                        <a:pt x="19" y="183"/>
                      </a:lnTo>
                      <a:lnTo>
                        <a:pt x="53" y="166"/>
                      </a:lnTo>
                      <a:lnTo>
                        <a:pt x="0" y="134"/>
                      </a:lnTo>
                      <a:lnTo>
                        <a:pt x="2" y="132"/>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06" name="70">
                  <a:extLst>
                    <a:ext uri="{FF2B5EF4-FFF2-40B4-BE49-F238E27FC236}">
                      <a16:creationId xmlns:a16="http://schemas.microsoft.com/office/drawing/2014/main" id="{CCC7BFA9-BE33-4D86-972B-5673168FC5B2}"/>
                    </a:ext>
                  </a:extLst>
                </p:cNvPr>
                <p:cNvSpPr>
                  <a:spLocks/>
                </p:cNvSpPr>
                <p:nvPr/>
              </p:nvSpPr>
              <p:spPr bwMode="gray">
                <a:xfrm>
                  <a:off x="7571678" y="3088575"/>
                  <a:ext cx="508561" cy="411147"/>
                </a:xfrm>
                <a:custGeom>
                  <a:avLst/>
                  <a:gdLst>
                    <a:gd name="T0" fmla="*/ 0 w 355"/>
                    <a:gd name="T1" fmla="*/ 159 h 287"/>
                    <a:gd name="T2" fmla="*/ 27 w 355"/>
                    <a:gd name="T3" fmla="*/ 159 h 287"/>
                    <a:gd name="T4" fmla="*/ 27 w 355"/>
                    <a:gd name="T5" fmla="*/ 187 h 287"/>
                    <a:gd name="T6" fmla="*/ 2 w 355"/>
                    <a:gd name="T7" fmla="*/ 210 h 287"/>
                    <a:gd name="T8" fmla="*/ 32 w 355"/>
                    <a:gd name="T9" fmla="*/ 236 h 287"/>
                    <a:gd name="T10" fmla="*/ 40 w 355"/>
                    <a:gd name="T11" fmla="*/ 268 h 287"/>
                    <a:gd name="T12" fmla="*/ 55 w 355"/>
                    <a:gd name="T13" fmla="*/ 287 h 287"/>
                    <a:gd name="T14" fmla="*/ 85 w 355"/>
                    <a:gd name="T15" fmla="*/ 281 h 287"/>
                    <a:gd name="T16" fmla="*/ 87 w 355"/>
                    <a:gd name="T17" fmla="*/ 279 h 287"/>
                    <a:gd name="T18" fmla="*/ 217 w 355"/>
                    <a:gd name="T19" fmla="*/ 223 h 287"/>
                    <a:gd name="T20" fmla="*/ 238 w 355"/>
                    <a:gd name="T21" fmla="*/ 189 h 287"/>
                    <a:gd name="T22" fmla="*/ 293 w 355"/>
                    <a:gd name="T23" fmla="*/ 191 h 287"/>
                    <a:gd name="T24" fmla="*/ 319 w 355"/>
                    <a:gd name="T25" fmla="*/ 159 h 287"/>
                    <a:gd name="T26" fmla="*/ 355 w 355"/>
                    <a:gd name="T27" fmla="*/ 164 h 287"/>
                    <a:gd name="T28" fmla="*/ 340 w 355"/>
                    <a:gd name="T29" fmla="*/ 100 h 287"/>
                    <a:gd name="T30" fmla="*/ 338 w 355"/>
                    <a:gd name="T31" fmla="*/ 96 h 287"/>
                    <a:gd name="T32" fmla="*/ 353 w 355"/>
                    <a:gd name="T33" fmla="*/ 70 h 287"/>
                    <a:gd name="T34" fmla="*/ 297 w 355"/>
                    <a:gd name="T35" fmla="*/ 26 h 287"/>
                    <a:gd name="T36" fmla="*/ 268 w 355"/>
                    <a:gd name="T37" fmla="*/ 47 h 287"/>
                    <a:gd name="T38" fmla="*/ 251 w 355"/>
                    <a:gd name="T39" fmla="*/ 28 h 287"/>
                    <a:gd name="T40" fmla="*/ 251 w 355"/>
                    <a:gd name="T41" fmla="*/ 28 h 287"/>
                    <a:gd name="T42" fmla="*/ 202 w 355"/>
                    <a:gd name="T43" fmla="*/ 34 h 287"/>
                    <a:gd name="T44" fmla="*/ 180 w 355"/>
                    <a:gd name="T45" fmla="*/ 0 h 287"/>
                    <a:gd name="T46" fmla="*/ 123 w 355"/>
                    <a:gd name="T47" fmla="*/ 38 h 287"/>
                    <a:gd name="T48" fmla="*/ 108 w 355"/>
                    <a:gd name="T49" fmla="*/ 68 h 287"/>
                    <a:gd name="T50" fmla="*/ 74 w 355"/>
                    <a:gd name="T51" fmla="*/ 81 h 287"/>
                    <a:gd name="T52" fmla="*/ 78 w 355"/>
                    <a:gd name="T53" fmla="*/ 128 h 287"/>
                    <a:gd name="T54" fmla="*/ 12 w 355"/>
                    <a:gd name="T55" fmla="*/ 132 h 287"/>
                    <a:gd name="T56" fmla="*/ 0 w 355"/>
                    <a:gd name="T57" fmla="*/ 153 h 287"/>
                    <a:gd name="T58" fmla="*/ 0 w 355"/>
                    <a:gd name="T59" fmla="*/ 159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5" h="287">
                      <a:moveTo>
                        <a:pt x="0" y="159"/>
                      </a:moveTo>
                      <a:lnTo>
                        <a:pt x="27" y="159"/>
                      </a:lnTo>
                      <a:lnTo>
                        <a:pt x="27" y="187"/>
                      </a:lnTo>
                      <a:lnTo>
                        <a:pt x="2" y="210"/>
                      </a:lnTo>
                      <a:lnTo>
                        <a:pt x="32" y="236"/>
                      </a:lnTo>
                      <a:lnTo>
                        <a:pt x="40" y="268"/>
                      </a:lnTo>
                      <a:lnTo>
                        <a:pt x="55" y="287"/>
                      </a:lnTo>
                      <a:lnTo>
                        <a:pt x="85" y="281"/>
                      </a:lnTo>
                      <a:lnTo>
                        <a:pt x="87" y="279"/>
                      </a:lnTo>
                      <a:lnTo>
                        <a:pt x="217" y="223"/>
                      </a:lnTo>
                      <a:lnTo>
                        <a:pt x="238" y="189"/>
                      </a:lnTo>
                      <a:lnTo>
                        <a:pt x="293" y="191"/>
                      </a:lnTo>
                      <a:lnTo>
                        <a:pt x="319" y="159"/>
                      </a:lnTo>
                      <a:lnTo>
                        <a:pt x="355" y="164"/>
                      </a:lnTo>
                      <a:lnTo>
                        <a:pt x="340" y="100"/>
                      </a:lnTo>
                      <a:lnTo>
                        <a:pt x="338" y="96"/>
                      </a:lnTo>
                      <a:lnTo>
                        <a:pt x="353" y="70"/>
                      </a:lnTo>
                      <a:lnTo>
                        <a:pt x="297" y="26"/>
                      </a:lnTo>
                      <a:lnTo>
                        <a:pt x="268" y="47"/>
                      </a:lnTo>
                      <a:lnTo>
                        <a:pt x="251" y="28"/>
                      </a:lnTo>
                      <a:lnTo>
                        <a:pt x="251" y="28"/>
                      </a:lnTo>
                      <a:lnTo>
                        <a:pt x="202" y="34"/>
                      </a:lnTo>
                      <a:lnTo>
                        <a:pt x="180" y="0"/>
                      </a:lnTo>
                      <a:lnTo>
                        <a:pt x="123" y="38"/>
                      </a:lnTo>
                      <a:lnTo>
                        <a:pt x="108" y="68"/>
                      </a:lnTo>
                      <a:lnTo>
                        <a:pt x="74" y="81"/>
                      </a:lnTo>
                      <a:lnTo>
                        <a:pt x="78" y="128"/>
                      </a:lnTo>
                      <a:lnTo>
                        <a:pt x="12" y="132"/>
                      </a:lnTo>
                      <a:lnTo>
                        <a:pt x="0" y="153"/>
                      </a:lnTo>
                      <a:lnTo>
                        <a:pt x="0" y="159"/>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07" name="25">
                  <a:extLst>
                    <a:ext uri="{FF2B5EF4-FFF2-40B4-BE49-F238E27FC236}">
                      <a16:creationId xmlns:a16="http://schemas.microsoft.com/office/drawing/2014/main" id="{13D8E172-914D-43EB-9880-7B498824796A}"/>
                    </a:ext>
                  </a:extLst>
                </p:cNvPr>
                <p:cNvSpPr>
                  <a:spLocks/>
                </p:cNvSpPr>
                <p:nvPr/>
              </p:nvSpPr>
              <p:spPr bwMode="gray">
                <a:xfrm>
                  <a:off x="7693445" y="3316354"/>
                  <a:ext cx="481342" cy="542943"/>
                </a:xfrm>
                <a:custGeom>
                  <a:avLst/>
                  <a:gdLst>
                    <a:gd name="T0" fmla="*/ 2 w 336"/>
                    <a:gd name="T1" fmla="*/ 120 h 379"/>
                    <a:gd name="T2" fmla="*/ 132 w 336"/>
                    <a:gd name="T3" fmla="*/ 64 h 379"/>
                    <a:gd name="T4" fmla="*/ 153 w 336"/>
                    <a:gd name="T5" fmla="*/ 30 h 379"/>
                    <a:gd name="T6" fmla="*/ 208 w 336"/>
                    <a:gd name="T7" fmla="*/ 32 h 379"/>
                    <a:gd name="T8" fmla="*/ 234 w 336"/>
                    <a:gd name="T9" fmla="*/ 0 h 379"/>
                    <a:gd name="T10" fmla="*/ 270 w 336"/>
                    <a:gd name="T11" fmla="*/ 5 h 379"/>
                    <a:gd name="T12" fmla="*/ 304 w 336"/>
                    <a:gd name="T13" fmla="*/ 22 h 379"/>
                    <a:gd name="T14" fmla="*/ 293 w 336"/>
                    <a:gd name="T15" fmla="*/ 28 h 379"/>
                    <a:gd name="T16" fmla="*/ 304 w 336"/>
                    <a:gd name="T17" fmla="*/ 49 h 379"/>
                    <a:gd name="T18" fmla="*/ 291 w 336"/>
                    <a:gd name="T19" fmla="*/ 79 h 379"/>
                    <a:gd name="T20" fmla="*/ 336 w 336"/>
                    <a:gd name="T21" fmla="*/ 81 h 379"/>
                    <a:gd name="T22" fmla="*/ 251 w 336"/>
                    <a:gd name="T23" fmla="*/ 196 h 379"/>
                    <a:gd name="T24" fmla="*/ 187 w 336"/>
                    <a:gd name="T25" fmla="*/ 241 h 379"/>
                    <a:gd name="T26" fmla="*/ 189 w 336"/>
                    <a:gd name="T27" fmla="*/ 300 h 379"/>
                    <a:gd name="T28" fmla="*/ 117 w 336"/>
                    <a:gd name="T29" fmla="*/ 379 h 379"/>
                    <a:gd name="T30" fmla="*/ 93 w 336"/>
                    <a:gd name="T31" fmla="*/ 362 h 379"/>
                    <a:gd name="T32" fmla="*/ 100 w 336"/>
                    <a:gd name="T33" fmla="*/ 330 h 379"/>
                    <a:gd name="T34" fmla="*/ 132 w 336"/>
                    <a:gd name="T35" fmla="*/ 298 h 379"/>
                    <a:gd name="T36" fmla="*/ 85 w 336"/>
                    <a:gd name="T37" fmla="*/ 270 h 379"/>
                    <a:gd name="T38" fmla="*/ 55 w 336"/>
                    <a:gd name="T39" fmla="*/ 211 h 379"/>
                    <a:gd name="T40" fmla="*/ 29 w 336"/>
                    <a:gd name="T41" fmla="*/ 200 h 379"/>
                    <a:gd name="T42" fmla="*/ 15 w 336"/>
                    <a:gd name="T43" fmla="*/ 211 h 379"/>
                    <a:gd name="T44" fmla="*/ 32 w 336"/>
                    <a:gd name="T45" fmla="*/ 166 h 379"/>
                    <a:gd name="T46" fmla="*/ 0 w 336"/>
                    <a:gd name="T47" fmla="*/ 122 h 379"/>
                    <a:gd name="T48" fmla="*/ 2 w 336"/>
                    <a:gd name="T49" fmla="*/ 12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6" h="379">
                      <a:moveTo>
                        <a:pt x="2" y="120"/>
                      </a:moveTo>
                      <a:lnTo>
                        <a:pt x="132" y="64"/>
                      </a:lnTo>
                      <a:lnTo>
                        <a:pt x="153" y="30"/>
                      </a:lnTo>
                      <a:lnTo>
                        <a:pt x="208" y="32"/>
                      </a:lnTo>
                      <a:lnTo>
                        <a:pt x="234" y="0"/>
                      </a:lnTo>
                      <a:lnTo>
                        <a:pt x="270" y="5"/>
                      </a:lnTo>
                      <a:lnTo>
                        <a:pt x="304" y="22"/>
                      </a:lnTo>
                      <a:lnTo>
                        <a:pt x="293" y="28"/>
                      </a:lnTo>
                      <a:lnTo>
                        <a:pt x="304" y="49"/>
                      </a:lnTo>
                      <a:lnTo>
                        <a:pt x="291" y="79"/>
                      </a:lnTo>
                      <a:lnTo>
                        <a:pt x="336" y="81"/>
                      </a:lnTo>
                      <a:lnTo>
                        <a:pt x="251" y="196"/>
                      </a:lnTo>
                      <a:lnTo>
                        <a:pt x="187" y="241"/>
                      </a:lnTo>
                      <a:lnTo>
                        <a:pt x="189" y="300"/>
                      </a:lnTo>
                      <a:lnTo>
                        <a:pt x="117" y="379"/>
                      </a:lnTo>
                      <a:lnTo>
                        <a:pt x="93" y="362"/>
                      </a:lnTo>
                      <a:lnTo>
                        <a:pt x="100" y="330"/>
                      </a:lnTo>
                      <a:lnTo>
                        <a:pt x="132" y="298"/>
                      </a:lnTo>
                      <a:lnTo>
                        <a:pt x="85" y="270"/>
                      </a:lnTo>
                      <a:lnTo>
                        <a:pt x="55" y="211"/>
                      </a:lnTo>
                      <a:lnTo>
                        <a:pt x="29" y="200"/>
                      </a:lnTo>
                      <a:lnTo>
                        <a:pt x="15" y="211"/>
                      </a:lnTo>
                      <a:lnTo>
                        <a:pt x="32" y="166"/>
                      </a:lnTo>
                      <a:lnTo>
                        <a:pt x="0" y="122"/>
                      </a:lnTo>
                      <a:lnTo>
                        <a:pt x="2" y="120"/>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grpSp>
            <p:nvGrpSpPr>
              <p:cNvPr id="399" name="Bourgogne (Formes)">
                <a:extLst>
                  <a:ext uri="{FF2B5EF4-FFF2-40B4-BE49-F238E27FC236}">
                    <a16:creationId xmlns:a16="http://schemas.microsoft.com/office/drawing/2014/main" id="{4612A4C6-B830-48C7-8BED-3997DB20A32A}"/>
                  </a:ext>
                </a:extLst>
              </p:cNvPr>
              <p:cNvGrpSpPr/>
              <p:nvPr/>
            </p:nvGrpSpPr>
            <p:grpSpPr>
              <a:xfrm>
                <a:off x="6676323" y="2912370"/>
                <a:ext cx="952657" cy="1168973"/>
                <a:chOff x="6676323" y="2912370"/>
                <a:chExt cx="952657" cy="1168973"/>
              </a:xfrm>
              <a:grpFill/>
            </p:grpSpPr>
            <p:sp>
              <p:nvSpPr>
                <p:cNvPr id="400" name="58">
                  <a:extLst>
                    <a:ext uri="{FF2B5EF4-FFF2-40B4-BE49-F238E27FC236}">
                      <a16:creationId xmlns:a16="http://schemas.microsoft.com/office/drawing/2014/main" id="{92123AF8-7FDE-413D-878E-84B4EB71FEE8}"/>
                    </a:ext>
                  </a:extLst>
                </p:cNvPr>
                <p:cNvSpPr>
                  <a:spLocks/>
                </p:cNvSpPr>
                <p:nvPr/>
              </p:nvSpPr>
              <p:spPr bwMode="gray">
                <a:xfrm>
                  <a:off x="6676323" y="3334976"/>
                  <a:ext cx="492802" cy="489937"/>
                </a:xfrm>
                <a:custGeom>
                  <a:avLst/>
                  <a:gdLst>
                    <a:gd name="T0" fmla="*/ 4 w 344"/>
                    <a:gd name="T1" fmla="*/ 13 h 342"/>
                    <a:gd name="T2" fmla="*/ 32 w 344"/>
                    <a:gd name="T3" fmla="*/ 4 h 342"/>
                    <a:gd name="T4" fmla="*/ 66 w 344"/>
                    <a:gd name="T5" fmla="*/ 0 h 342"/>
                    <a:gd name="T6" fmla="*/ 81 w 344"/>
                    <a:gd name="T7" fmla="*/ 24 h 342"/>
                    <a:gd name="T8" fmla="*/ 81 w 344"/>
                    <a:gd name="T9" fmla="*/ 24 h 342"/>
                    <a:gd name="T10" fmla="*/ 125 w 344"/>
                    <a:gd name="T11" fmla="*/ 43 h 342"/>
                    <a:gd name="T12" fmla="*/ 136 w 344"/>
                    <a:gd name="T13" fmla="*/ 28 h 342"/>
                    <a:gd name="T14" fmla="*/ 159 w 344"/>
                    <a:gd name="T15" fmla="*/ 34 h 342"/>
                    <a:gd name="T16" fmla="*/ 161 w 344"/>
                    <a:gd name="T17" fmla="*/ 9 h 342"/>
                    <a:gd name="T18" fmla="*/ 221 w 344"/>
                    <a:gd name="T19" fmla="*/ 68 h 342"/>
                    <a:gd name="T20" fmla="*/ 242 w 344"/>
                    <a:gd name="T21" fmla="*/ 75 h 342"/>
                    <a:gd name="T22" fmla="*/ 255 w 344"/>
                    <a:gd name="T23" fmla="*/ 58 h 342"/>
                    <a:gd name="T24" fmla="*/ 255 w 344"/>
                    <a:gd name="T25" fmla="*/ 79 h 342"/>
                    <a:gd name="T26" fmla="*/ 276 w 344"/>
                    <a:gd name="T27" fmla="*/ 72 h 342"/>
                    <a:gd name="T28" fmla="*/ 289 w 344"/>
                    <a:gd name="T29" fmla="*/ 100 h 342"/>
                    <a:gd name="T30" fmla="*/ 312 w 344"/>
                    <a:gd name="T31" fmla="*/ 89 h 342"/>
                    <a:gd name="T32" fmla="*/ 321 w 344"/>
                    <a:gd name="T33" fmla="*/ 126 h 342"/>
                    <a:gd name="T34" fmla="*/ 344 w 344"/>
                    <a:gd name="T35" fmla="*/ 138 h 342"/>
                    <a:gd name="T36" fmla="*/ 340 w 344"/>
                    <a:gd name="T37" fmla="*/ 158 h 342"/>
                    <a:gd name="T38" fmla="*/ 331 w 344"/>
                    <a:gd name="T39" fmla="*/ 160 h 342"/>
                    <a:gd name="T40" fmla="*/ 316 w 344"/>
                    <a:gd name="T41" fmla="*/ 160 h 342"/>
                    <a:gd name="T42" fmla="*/ 316 w 344"/>
                    <a:gd name="T43" fmla="*/ 168 h 342"/>
                    <a:gd name="T44" fmla="*/ 299 w 344"/>
                    <a:gd name="T45" fmla="*/ 172 h 342"/>
                    <a:gd name="T46" fmla="*/ 306 w 344"/>
                    <a:gd name="T47" fmla="*/ 194 h 342"/>
                    <a:gd name="T48" fmla="*/ 287 w 344"/>
                    <a:gd name="T49" fmla="*/ 221 h 342"/>
                    <a:gd name="T50" fmla="*/ 312 w 344"/>
                    <a:gd name="T51" fmla="*/ 264 h 342"/>
                    <a:gd name="T52" fmla="*/ 304 w 344"/>
                    <a:gd name="T53" fmla="*/ 289 h 342"/>
                    <a:gd name="T54" fmla="*/ 242 w 344"/>
                    <a:gd name="T55" fmla="*/ 323 h 342"/>
                    <a:gd name="T56" fmla="*/ 195 w 344"/>
                    <a:gd name="T57" fmla="*/ 306 h 342"/>
                    <a:gd name="T58" fmla="*/ 151 w 344"/>
                    <a:gd name="T59" fmla="*/ 342 h 342"/>
                    <a:gd name="T60" fmla="*/ 134 w 344"/>
                    <a:gd name="T61" fmla="*/ 317 h 342"/>
                    <a:gd name="T62" fmla="*/ 87 w 344"/>
                    <a:gd name="T63" fmla="*/ 332 h 342"/>
                    <a:gd name="T64" fmla="*/ 42 w 344"/>
                    <a:gd name="T65" fmla="*/ 287 h 342"/>
                    <a:gd name="T66" fmla="*/ 57 w 344"/>
                    <a:gd name="T67" fmla="*/ 202 h 342"/>
                    <a:gd name="T68" fmla="*/ 34 w 344"/>
                    <a:gd name="T69" fmla="*/ 119 h 342"/>
                    <a:gd name="T70" fmla="*/ 6 w 344"/>
                    <a:gd name="T71" fmla="*/ 92 h 342"/>
                    <a:gd name="T72" fmla="*/ 21 w 344"/>
                    <a:gd name="T73" fmla="*/ 55 h 342"/>
                    <a:gd name="T74" fmla="*/ 6 w 344"/>
                    <a:gd name="T75" fmla="*/ 24 h 342"/>
                    <a:gd name="T76" fmla="*/ 0 w 344"/>
                    <a:gd name="T77" fmla="*/ 13 h 342"/>
                    <a:gd name="T78" fmla="*/ 4 w 344"/>
                    <a:gd name="T79" fmla="*/ 13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4" h="342">
                      <a:moveTo>
                        <a:pt x="4" y="13"/>
                      </a:moveTo>
                      <a:lnTo>
                        <a:pt x="32" y="4"/>
                      </a:lnTo>
                      <a:lnTo>
                        <a:pt x="66" y="0"/>
                      </a:lnTo>
                      <a:lnTo>
                        <a:pt x="81" y="24"/>
                      </a:lnTo>
                      <a:lnTo>
                        <a:pt x="81" y="24"/>
                      </a:lnTo>
                      <a:lnTo>
                        <a:pt x="125" y="43"/>
                      </a:lnTo>
                      <a:lnTo>
                        <a:pt x="136" y="28"/>
                      </a:lnTo>
                      <a:lnTo>
                        <a:pt x="159" y="34"/>
                      </a:lnTo>
                      <a:lnTo>
                        <a:pt x="161" y="9"/>
                      </a:lnTo>
                      <a:lnTo>
                        <a:pt x="221" y="68"/>
                      </a:lnTo>
                      <a:lnTo>
                        <a:pt x="242" y="75"/>
                      </a:lnTo>
                      <a:lnTo>
                        <a:pt x="255" y="58"/>
                      </a:lnTo>
                      <a:lnTo>
                        <a:pt x="255" y="79"/>
                      </a:lnTo>
                      <a:lnTo>
                        <a:pt x="276" y="72"/>
                      </a:lnTo>
                      <a:lnTo>
                        <a:pt x="289" y="100"/>
                      </a:lnTo>
                      <a:lnTo>
                        <a:pt x="312" y="89"/>
                      </a:lnTo>
                      <a:lnTo>
                        <a:pt x="321" y="126"/>
                      </a:lnTo>
                      <a:lnTo>
                        <a:pt x="344" y="138"/>
                      </a:lnTo>
                      <a:lnTo>
                        <a:pt x="340" y="158"/>
                      </a:lnTo>
                      <a:lnTo>
                        <a:pt x="331" y="160"/>
                      </a:lnTo>
                      <a:lnTo>
                        <a:pt x="316" y="160"/>
                      </a:lnTo>
                      <a:lnTo>
                        <a:pt x="316" y="168"/>
                      </a:lnTo>
                      <a:lnTo>
                        <a:pt x="299" y="172"/>
                      </a:lnTo>
                      <a:lnTo>
                        <a:pt x="306" y="194"/>
                      </a:lnTo>
                      <a:lnTo>
                        <a:pt x="287" y="221"/>
                      </a:lnTo>
                      <a:lnTo>
                        <a:pt x="312" y="264"/>
                      </a:lnTo>
                      <a:lnTo>
                        <a:pt x="304" y="289"/>
                      </a:lnTo>
                      <a:lnTo>
                        <a:pt x="242" y="323"/>
                      </a:lnTo>
                      <a:lnTo>
                        <a:pt x="195" y="306"/>
                      </a:lnTo>
                      <a:lnTo>
                        <a:pt x="151" y="342"/>
                      </a:lnTo>
                      <a:lnTo>
                        <a:pt x="134" y="317"/>
                      </a:lnTo>
                      <a:lnTo>
                        <a:pt x="87" y="332"/>
                      </a:lnTo>
                      <a:lnTo>
                        <a:pt x="42" y="287"/>
                      </a:lnTo>
                      <a:lnTo>
                        <a:pt x="57" y="202"/>
                      </a:lnTo>
                      <a:lnTo>
                        <a:pt x="34" y="119"/>
                      </a:lnTo>
                      <a:lnTo>
                        <a:pt x="6" y="92"/>
                      </a:lnTo>
                      <a:lnTo>
                        <a:pt x="21" y="55"/>
                      </a:lnTo>
                      <a:lnTo>
                        <a:pt x="6" y="24"/>
                      </a:lnTo>
                      <a:lnTo>
                        <a:pt x="0" y="13"/>
                      </a:lnTo>
                      <a:lnTo>
                        <a:pt x="4" y="13"/>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01" name="71">
                  <a:extLst>
                    <a:ext uri="{FF2B5EF4-FFF2-40B4-BE49-F238E27FC236}">
                      <a16:creationId xmlns:a16="http://schemas.microsoft.com/office/drawing/2014/main" id="{39A09E40-9A48-4EDD-87D1-72C3D68C782C}"/>
                    </a:ext>
                  </a:extLst>
                </p:cNvPr>
                <p:cNvSpPr>
                  <a:spLocks/>
                </p:cNvSpPr>
                <p:nvPr/>
              </p:nvSpPr>
              <p:spPr bwMode="gray">
                <a:xfrm>
                  <a:off x="6952810" y="3561322"/>
                  <a:ext cx="660413" cy="520021"/>
                </a:xfrm>
                <a:custGeom>
                  <a:avLst/>
                  <a:gdLst>
                    <a:gd name="T0" fmla="*/ 2 w 461"/>
                    <a:gd name="T1" fmla="*/ 148 h 363"/>
                    <a:gd name="T2" fmla="*/ 49 w 461"/>
                    <a:gd name="T3" fmla="*/ 165 h 363"/>
                    <a:gd name="T4" fmla="*/ 111 w 461"/>
                    <a:gd name="T5" fmla="*/ 131 h 363"/>
                    <a:gd name="T6" fmla="*/ 119 w 461"/>
                    <a:gd name="T7" fmla="*/ 106 h 363"/>
                    <a:gd name="T8" fmla="*/ 94 w 461"/>
                    <a:gd name="T9" fmla="*/ 63 h 363"/>
                    <a:gd name="T10" fmla="*/ 113 w 461"/>
                    <a:gd name="T11" fmla="*/ 36 h 363"/>
                    <a:gd name="T12" fmla="*/ 106 w 461"/>
                    <a:gd name="T13" fmla="*/ 14 h 363"/>
                    <a:gd name="T14" fmla="*/ 123 w 461"/>
                    <a:gd name="T15" fmla="*/ 10 h 363"/>
                    <a:gd name="T16" fmla="*/ 138 w 461"/>
                    <a:gd name="T17" fmla="*/ 2 h 363"/>
                    <a:gd name="T18" fmla="*/ 147 w 461"/>
                    <a:gd name="T19" fmla="*/ 0 h 363"/>
                    <a:gd name="T20" fmla="*/ 232 w 461"/>
                    <a:gd name="T21" fmla="*/ 48 h 363"/>
                    <a:gd name="T22" fmla="*/ 268 w 461"/>
                    <a:gd name="T23" fmla="*/ 91 h 363"/>
                    <a:gd name="T24" fmla="*/ 323 w 461"/>
                    <a:gd name="T25" fmla="*/ 65 h 363"/>
                    <a:gd name="T26" fmla="*/ 408 w 461"/>
                    <a:gd name="T27" fmla="*/ 59 h 363"/>
                    <a:gd name="T28" fmla="*/ 410 w 461"/>
                    <a:gd name="T29" fmla="*/ 70 h 363"/>
                    <a:gd name="T30" fmla="*/ 408 w 461"/>
                    <a:gd name="T31" fmla="*/ 72 h 363"/>
                    <a:gd name="T32" fmla="*/ 461 w 461"/>
                    <a:gd name="T33" fmla="*/ 104 h 363"/>
                    <a:gd name="T34" fmla="*/ 427 w 461"/>
                    <a:gd name="T35" fmla="*/ 121 h 363"/>
                    <a:gd name="T36" fmla="*/ 457 w 461"/>
                    <a:gd name="T37" fmla="*/ 182 h 363"/>
                    <a:gd name="T38" fmla="*/ 438 w 461"/>
                    <a:gd name="T39" fmla="*/ 212 h 363"/>
                    <a:gd name="T40" fmla="*/ 453 w 461"/>
                    <a:gd name="T41" fmla="*/ 240 h 363"/>
                    <a:gd name="T42" fmla="*/ 427 w 461"/>
                    <a:gd name="T43" fmla="*/ 253 h 363"/>
                    <a:gd name="T44" fmla="*/ 391 w 461"/>
                    <a:gd name="T45" fmla="*/ 227 h 363"/>
                    <a:gd name="T46" fmla="*/ 362 w 461"/>
                    <a:gd name="T47" fmla="*/ 242 h 363"/>
                    <a:gd name="T48" fmla="*/ 332 w 461"/>
                    <a:gd name="T49" fmla="*/ 231 h 363"/>
                    <a:gd name="T50" fmla="*/ 294 w 461"/>
                    <a:gd name="T51" fmla="*/ 355 h 363"/>
                    <a:gd name="T52" fmla="*/ 281 w 461"/>
                    <a:gd name="T53" fmla="*/ 352 h 363"/>
                    <a:gd name="T54" fmla="*/ 270 w 461"/>
                    <a:gd name="T55" fmla="*/ 308 h 363"/>
                    <a:gd name="T56" fmla="*/ 253 w 461"/>
                    <a:gd name="T57" fmla="*/ 323 h 363"/>
                    <a:gd name="T58" fmla="*/ 204 w 461"/>
                    <a:gd name="T59" fmla="*/ 310 h 363"/>
                    <a:gd name="T60" fmla="*/ 194 w 461"/>
                    <a:gd name="T61" fmla="*/ 340 h 363"/>
                    <a:gd name="T62" fmla="*/ 168 w 461"/>
                    <a:gd name="T63" fmla="*/ 363 h 363"/>
                    <a:gd name="T64" fmla="*/ 123 w 461"/>
                    <a:gd name="T65" fmla="*/ 348 h 363"/>
                    <a:gd name="T66" fmla="*/ 92 w 461"/>
                    <a:gd name="T67" fmla="*/ 359 h 363"/>
                    <a:gd name="T68" fmla="*/ 70 w 461"/>
                    <a:gd name="T69" fmla="*/ 344 h 363"/>
                    <a:gd name="T70" fmla="*/ 70 w 461"/>
                    <a:gd name="T71" fmla="*/ 321 h 363"/>
                    <a:gd name="T72" fmla="*/ 96 w 461"/>
                    <a:gd name="T73" fmla="*/ 304 h 363"/>
                    <a:gd name="T74" fmla="*/ 96 w 461"/>
                    <a:gd name="T75" fmla="*/ 259 h 363"/>
                    <a:gd name="T76" fmla="*/ 30 w 461"/>
                    <a:gd name="T77" fmla="*/ 225 h 363"/>
                    <a:gd name="T78" fmla="*/ 0 w 461"/>
                    <a:gd name="T79" fmla="*/ 150 h 363"/>
                    <a:gd name="T80" fmla="*/ 2 w 461"/>
                    <a:gd name="T81" fmla="*/ 148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1" h="363">
                      <a:moveTo>
                        <a:pt x="2" y="148"/>
                      </a:moveTo>
                      <a:lnTo>
                        <a:pt x="49" y="165"/>
                      </a:lnTo>
                      <a:lnTo>
                        <a:pt x="111" y="131"/>
                      </a:lnTo>
                      <a:lnTo>
                        <a:pt x="119" y="106"/>
                      </a:lnTo>
                      <a:lnTo>
                        <a:pt x="94" y="63"/>
                      </a:lnTo>
                      <a:lnTo>
                        <a:pt x="113" y="36"/>
                      </a:lnTo>
                      <a:lnTo>
                        <a:pt x="106" y="14"/>
                      </a:lnTo>
                      <a:lnTo>
                        <a:pt x="123" y="10"/>
                      </a:lnTo>
                      <a:lnTo>
                        <a:pt x="138" y="2"/>
                      </a:lnTo>
                      <a:lnTo>
                        <a:pt x="147" y="0"/>
                      </a:lnTo>
                      <a:lnTo>
                        <a:pt x="232" y="48"/>
                      </a:lnTo>
                      <a:lnTo>
                        <a:pt x="268" y="91"/>
                      </a:lnTo>
                      <a:lnTo>
                        <a:pt x="323" y="65"/>
                      </a:lnTo>
                      <a:lnTo>
                        <a:pt x="408" y="59"/>
                      </a:lnTo>
                      <a:lnTo>
                        <a:pt x="410" y="70"/>
                      </a:lnTo>
                      <a:lnTo>
                        <a:pt x="408" y="72"/>
                      </a:lnTo>
                      <a:lnTo>
                        <a:pt x="461" y="104"/>
                      </a:lnTo>
                      <a:lnTo>
                        <a:pt x="427" y="121"/>
                      </a:lnTo>
                      <a:lnTo>
                        <a:pt x="457" y="182"/>
                      </a:lnTo>
                      <a:lnTo>
                        <a:pt x="438" y="212"/>
                      </a:lnTo>
                      <a:lnTo>
                        <a:pt x="453" y="240"/>
                      </a:lnTo>
                      <a:lnTo>
                        <a:pt x="427" y="253"/>
                      </a:lnTo>
                      <a:lnTo>
                        <a:pt x="391" y="227"/>
                      </a:lnTo>
                      <a:lnTo>
                        <a:pt x="362" y="242"/>
                      </a:lnTo>
                      <a:lnTo>
                        <a:pt x="332" y="231"/>
                      </a:lnTo>
                      <a:lnTo>
                        <a:pt x="294" y="355"/>
                      </a:lnTo>
                      <a:lnTo>
                        <a:pt x="281" y="352"/>
                      </a:lnTo>
                      <a:lnTo>
                        <a:pt x="270" y="308"/>
                      </a:lnTo>
                      <a:lnTo>
                        <a:pt x="253" y="323"/>
                      </a:lnTo>
                      <a:lnTo>
                        <a:pt x="204" y="310"/>
                      </a:lnTo>
                      <a:lnTo>
                        <a:pt x="194" y="340"/>
                      </a:lnTo>
                      <a:lnTo>
                        <a:pt x="168" y="363"/>
                      </a:lnTo>
                      <a:lnTo>
                        <a:pt x="123" y="348"/>
                      </a:lnTo>
                      <a:lnTo>
                        <a:pt x="92" y="359"/>
                      </a:lnTo>
                      <a:lnTo>
                        <a:pt x="70" y="344"/>
                      </a:lnTo>
                      <a:lnTo>
                        <a:pt x="70" y="321"/>
                      </a:lnTo>
                      <a:lnTo>
                        <a:pt x="96" y="304"/>
                      </a:lnTo>
                      <a:lnTo>
                        <a:pt x="96" y="259"/>
                      </a:lnTo>
                      <a:lnTo>
                        <a:pt x="30" y="225"/>
                      </a:lnTo>
                      <a:lnTo>
                        <a:pt x="0" y="150"/>
                      </a:lnTo>
                      <a:lnTo>
                        <a:pt x="2" y="148"/>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02" name="21">
                  <a:extLst>
                    <a:ext uri="{FF2B5EF4-FFF2-40B4-BE49-F238E27FC236}">
                      <a16:creationId xmlns:a16="http://schemas.microsoft.com/office/drawing/2014/main" id="{306C663C-FA01-4204-BD62-AFDEB7ACE0E5}"/>
                    </a:ext>
                  </a:extLst>
                </p:cNvPr>
                <p:cNvSpPr>
                  <a:spLocks/>
                </p:cNvSpPr>
                <p:nvPr/>
              </p:nvSpPr>
              <p:spPr bwMode="gray">
                <a:xfrm>
                  <a:off x="7111824" y="3101469"/>
                  <a:ext cx="517156" cy="590217"/>
                </a:xfrm>
                <a:custGeom>
                  <a:avLst/>
                  <a:gdLst>
                    <a:gd name="T0" fmla="*/ 0 w 361"/>
                    <a:gd name="T1" fmla="*/ 231 h 412"/>
                    <a:gd name="T2" fmla="*/ 8 w 361"/>
                    <a:gd name="T3" fmla="*/ 252 h 412"/>
                    <a:gd name="T4" fmla="*/ 17 w 361"/>
                    <a:gd name="T5" fmla="*/ 289 h 412"/>
                    <a:gd name="T6" fmla="*/ 40 w 361"/>
                    <a:gd name="T7" fmla="*/ 301 h 412"/>
                    <a:gd name="T8" fmla="*/ 36 w 361"/>
                    <a:gd name="T9" fmla="*/ 321 h 412"/>
                    <a:gd name="T10" fmla="*/ 121 w 361"/>
                    <a:gd name="T11" fmla="*/ 369 h 412"/>
                    <a:gd name="T12" fmla="*/ 157 w 361"/>
                    <a:gd name="T13" fmla="*/ 412 h 412"/>
                    <a:gd name="T14" fmla="*/ 212 w 361"/>
                    <a:gd name="T15" fmla="*/ 386 h 412"/>
                    <a:gd name="T16" fmla="*/ 297 w 361"/>
                    <a:gd name="T17" fmla="*/ 380 h 412"/>
                    <a:gd name="T18" fmla="*/ 342 w 361"/>
                    <a:gd name="T19" fmla="*/ 318 h 412"/>
                    <a:gd name="T20" fmla="*/ 361 w 361"/>
                    <a:gd name="T21" fmla="*/ 259 h 412"/>
                    <a:gd name="T22" fmla="*/ 353 w 361"/>
                    <a:gd name="T23" fmla="*/ 227 h 412"/>
                    <a:gd name="T24" fmla="*/ 323 w 361"/>
                    <a:gd name="T25" fmla="*/ 201 h 412"/>
                    <a:gd name="T26" fmla="*/ 348 w 361"/>
                    <a:gd name="T27" fmla="*/ 178 h 412"/>
                    <a:gd name="T28" fmla="*/ 348 w 361"/>
                    <a:gd name="T29" fmla="*/ 150 h 412"/>
                    <a:gd name="T30" fmla="*/ 321 w 361"/>
                    <a:gd name="T31" fmla="*/ 150 h 412"/>
                    <a:gd name="T32" fmla="*/ 293 w 361"/>
                    <a:gd name="T33" fmla="*/ 161 h 412"/>
                    <a:gd name="T34" fmla="*/ 272 w 361"/>
                    <a:gd name="T35" fmla="*/ 125 h 412"/>
                    <a:gd name="T36" fmla="*/ 257 w 361"/>
                    <a:gd name="T37" fmla="*/ 136 h 412"/>
                    <a:gd name="T38" fmla="*/ 234 w 361"/>
                    <a:gd name="T39" fmla="*/ 114 h 412"/>
                    <a:gd name="T40" fmla="*/ 217 w 361"/>
                    <a:gd name="T41" fmla="*/ 119 h 412"/>
                    <a:gd name="T42" fmla="*/ 208 w 361"/>
                    <a:gd name="T43" fmla="*/ 89 h 412"/>
                    <a:gd name="T44" fmla="*/ 225 w 361"/>
                    <a:gd name="T45" fmla="*/ 74 h 412"/>
                    <a:gd name="T46" fmla="*/ 202 w 361"/>
                    <a:gd name="T47" fmla="*/ 38 h 412"/>
                    <a:gd name="T48" fmla="*/ 185 w 361"/>
                    <a:gd name="T49" fmla="*/ 40 h 412"/>
                    <a:gd name="T50" fmla="*/ 180 w 361"/>
                    <a:gd name="T51" fmla="*/ 12 h 412"/>
                    <a:gd name="T52" fmla="*/ 153 w 361"/>
                    <a:gd name="T53" fmla="*/ 2 h 412"/>
                    <a:gd name="T54" fmla="*/ 123 w 361"/>
                    <a:gd name="T55" fmla="*/ 0 h 412"/>
                    <a:gd name="T56" fmla="*/ 117 w 361"/>
                    <a:gd name="T57" fmla="*/ 21 h 412"/>
                    <a:gd name="T58" fmla="*/ 59 w 361"/>
                    <a:gd name="T59" fmla="*/ 25 h 412"/>
                    <a:gd name="T60" fmla="*/ 53 w 361"/>
                    <a:gd name="T61" fmla="*/ 38 h 412"/>
                    <a:gd name="T62" fmla="*/ 42 w 361"/>
                    <a:gd name="T63" fmla="*/ 55 h 412"/>
                    <a:gd name="T64" fmla="*/ 61 w 361"/>
                    <a:gd name="T65" fmla="*/ 65 h 412"/>
                    <a:gd name="T66" fmla="*/ 63 w 361"/>
                    <a:gd name="T67" fmla="*/ 99 h 412"/>
                    <a:gd name="T68" fmla="*/ 40 w 361"/>
                    <a:gd name="T69" fmla="*/ 110 h 412"/>
                    <a:gd name="T70" fmla="*/ 51 w 361"/>
                    <a:gd name="T71" fmla="*/ 125 h 412"/>
                    <a:gd name="T72" fmla="*/ 36 w 361"/>
                    <a:gd name="T73" fmla="*/ 129 h 412"/>
                    <a:gd name="T74" fmla="*/ 0 w 361"/>
                    <a:gd name="T75" fmla="*/ 229 h 412"/>
                    <a:gd name="T76" fmla="*/ 0 w 361"/>
                    <a:gd name="T77" fmla="*/ 231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412">
                      <a:moveTo>
                        <a:pt x="0" y="231"/>
                      </a:moveTo>
                      <a:lnTo>
                        <a:pt x="8" y="252"/>
                      </a:lnTo>
                      <a:lnTo>
                        <a:pt x="17" y="289"/>
                      </a:lnTo>
                      <a:lnTo>
                        <a:pt x="40" y="301"/>
                      </a:lnTo>
                      <a:lnTo>
                        <a:pt x="36" y="321"/>
                      </a:lnTo>
                      <a:lnTo>
                        <a:pt x="121" y="369"/>
                      </a:lnTo>
                      <a:lnTo>
                        <a:pt x="157" y="412"/>
                      </a:lnTo>
                      <a:lnTo>
                        <a:pt x="212" y="386"/>
                      </a:lnTo>
                      <a:lnTo>
                        <a:pt x="297" y="380"/>
                      </a:lnTo>
                      <a:lnTo>
                        <a:pt x="342" y="318"/>
                      </a:lnTo>
                      <a:lnTo>
                        <a:pt x="361" y="259"/>
                      </a:lnTo>
                      <a:lnTo>
                        <a:pt x="353" y="227"/>
                      </a:lnTo>
                      <a:lnTo>
                        <a:pt x="323" y="201"/>
                      </a:lnTo>
                      <a:lnTo>
                        <a:pt x="348" y="178"/>
                      </a:lnTo>
                      <a:lnTo>
                        <a:pt x="348" y="150"/>
                      </a:lnTo>
                      <a:lnTo>
                        <a:pt x="321" y="150"/>
                      </a:lnTo>
                      <a:lnTo>
                        <a:pt x="293" y="161"/>
                      </a:lnTo>
                      <a:lnTo>
                        <a:pt x="272" y="125"/>
                      </a:lnTo>
                      <a:lnTo>
                        <a:pt x="257" y="136"/>
                      </a:lnTo>
                      <a:lnTo>
                        <a:pt x="234" y="114"/>
                      </a:lnTo>
                      <a:lnTo>
                        <a:pt x="217" y="119"/>
                      </a:lnTo>
                      <a:lnTo>
                        <a:pt x="208" y="89"/>
                      </a:lnTo>
                      <a:lnTo>
                        <a:pt x="225" y="74"/>
                      </a:lnTo>
                      <a:lnTo>
                        <a:pt x="202" y="38"/>
                      </a:lnTo>
                      <a:lnTo>
                        <a:pt x="185" y="40"/>
                      </a:lnTo>
                      <a:lnTo>
                        <a:pt x="180" y="12"/>
                      </a:lnTo>
                      <a:lnTo>
                        <a:pt x="153" y="2"/>
                      </a:lnTo>
                      <a:lnTo>
                        <a:pt x="123" y="0"/>
                      </a:lnTo>
                      <a:lnTo>
                        <a:pt x="117" y="21"/>
                      </a:lnTo>
                      <a:lnTo>
                        <a:pt x="59" y="25"/>
                      </a:lnTo>
                      <a:lnTo>
                        <a:pt x="53" y="38"/>
                      </a:lnTo>
                      <a:lnTo>
                        <a:pt x="42" y="55"/>
                      </a:lnTo>
                      <a:lnTo>
                        <a:pt x="61" y="65"/>
                      </a:lnTo>
                      <a:lnTo>
                        <a:pt x="63" y="99"/>
                      </a:lnTo>
                      <a:lnTo>
                        <a:pt x="40" y="110"/>
                      </a:lnTo>
                      <a:lnTo>
                        <a:pt x="51" y="125"/>
                      </a:lnTo>
                      <a:lnTo>
                        <a:pt x="36" y="129"/>
                      </a:lnTo>
                      <a:lnTo>
                        <a:pt x="0" y="229"/>
                      </a:lnTo>
                      <a:lnTo>
                        <a:pt x="0" y="231"/>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403" name="89">
                  <a:extLst>
                    <a:ext uri="{FF2B5EF4-FFF2-40B4-BE49-F238E27FC236}">
                      <a16:creationId xmlns:a16="http://schemas.microsoft.com/office/drawing/2014/main" id="{C47A01AA-B43B-4F50-B1AB-6D7EFE3468F6}"/>
                    </a:ext>
                  </a:extLst>
                </p:cNvPr>
                <p:cNvSpPr>
                  <a:spLocks/>
                </p:cNvSpPr>
                <p:nvPr/>
              </p:nvSpPr>
              <p:spPr bwMode="gray">
                <a:xfrm>
                  <a:off x="6679189" y="2912370"/>
                  <a:ext cx="522887" cy="565864"/>
                </a:xfrm>
                <a:custGeom>
                  <a:avLst/>
                  <a:gdLst>
                    <a:gd name="T0" fmla="*/ 0 w 365"/>
                    <a:gd name="T1" fmla="*/ 246 h 395"/>
                    <a:gd name="T2" fmla="*/ 30 w 365"/>
                    <a:gd name="T3" fmla="*/ 299 h 395"/>
                    <a:gd name="T4" fmla="*/ 64 w 365"/>
                    <a:gd name="T5" fmla="*/ 295 h 395"/>
                    <a:gd name="T6" fmla="*/ 79 w 365"/>
                    <a:gd name="T7" fmla="*/ 319 h 395"/>
                    <a:gd name="T8" fmla="*/ 79 w 365"/>
                    <a:gd name="T9" fmla="*/ 319 h 395"/>
                    <a:gd name="T10" fmla="*/ 123 w 365"/>
                    <a:gd name="T11" fmla="*/ 338 h 395"/>
                    <a:gd name="T12" fmla="*/ 134 w 365"/>
                    <a:gd name="T13" fmla="*/ 323 h 395"/>
                    <a:gd name="T14" fmla="*/ 157 w 365"/>
                    <a:gd name="T15" fmla="*/ 329 h 395"/>
                    <a:gd name="T16" fmla="*/ 159 w 365"/>
                    <a:gd name="T17" fmla="*/ 304 h 395"/>
                    <a:gd name="T18" fmla="*/ 219 w 365"/>
                    <a:gd name="T19" fmla="*/ 363 h 395"/>
                    <a:gd name="T20" fmla="*/ 240 w 365"/>
                    <a:gd name="T21" fmla="*/ 370 h 395"/>
                    <a:gd name="T22" fmla="*/ 253 w 365"/>
                    <a:gd name="T23" fmla="*/ 353 h 395"/>
                    <a:gd name="T24" fmla="*/ 253 w 365"/>
                    <a:gd name="T25" fmla="*/ 374 h 395"/>
                    <a:gd name="T26" fmla="*/ 274 w 365"/>
                    <a:gd name="T27" fmla="*/ 367 h 395"/>
                    <a:gd name="T28" fmla="*/ 287 w 365"/>
                    <a:gd name="T29" fmla="*/ 395 h 395"/>
                    <a:gd name="T30" fmla="*/ 310 w 365"/>
                    <a:gd name="T31" fmla="*/ 384 h 395"/>
                    <a:gd name="T32" fmla="*/ 302 w 365"/>
                    <a:gd name="T33" fmla="*/ 363 h 395"/>
                    <a:gd name="T34" fmla="*/ 302 w 365"/>
                    <a:gd name="T35" fmla="*/ 361 h 395"/>
                    <a:gd name="T36" fmla="*/ 338 w 365"/>
                    <a:gd name="T37" fmla="*/ 261 h 395"/>
                    <a:gd name="T38" fmla="*/ 353 w 365"/>
                    <a:gd name="T39" fmla="*/ 257 h 395"/>
                    <a:gd name="T40" fmla="*/ 342 w 365"/>
                    <a:gd name="T41" fmla="*/ 242 h 395"/>
                    <a:gd name="T42" fmla="*/ 365 w 365"/>
                    <a:gd name="T43" fmla="*/ 231 h 395"/>
                    <a:gd name="T44" fmla="*/ 363 w 365"/>
                    <a:gd name="T45" fmla="*/ 197 h 395"/>
                    <a:gd name="T46" fmla="*/ 344 w 365"/>
                    <a:gd name="T47" fmla="*/ 187 h 395"/>
                    <a:gd name="T48" fmla="*/ 355 w 365"/>
                    <a:gd name="T49" fmla="*/ 170 h 395"/>
                    <a:gd name="T50" fmla="*/ 331 w 365"/>
                    <a:gd name="T51" fmla="*/ 153 h 395"/>
                    <a:gd name="T52" fmla="*/ 312 w 365"/>
                    <a:gd name="T53" fmla="*/ 168 h 395"/>
                    <a:gd name="T54" fmla="*/ 257 w 365"/>
                    <a:gd name="T55" fmla="*/ 170 h 395"/>
                    <a:gd name="T56" fmla="*/ 259 w 365"/>
                    <a:gd name="T57" fmla="*/ 146 h 395"/>
                    <a:gd name="T58" fmla="*/ 244 w 365"/>
                    <a:gd name="T59" fmla="*/ 149 h 395"/>
                    <a:gd name="T60" fmla="*/ 219 w 365"/>
                    <a:gd name="T61" fmla="*/ 80 h 395"/>
                    <a:gd name="T62" fmla="*/ 202 w 365"/>
                    <a:gd name="T63" fmla="*/ 91 h 395"/>
                    <a:gd name="T64" fmla="*/ 178 w 365"/>
                    <a:gd name="T65" fmla="*/ 74 h 395"/>
                    <a:gd name="T66" fmla="*/ 191 w 365"/>
                    <a:gd name="T67" fmla="*/ 49 h 395"/>
                    <a:gd name="T68" fmla="*/ 138 w 365"/>
                    <a:gd name="T69" fmla="*/ 0 h 395"/>
                    <a:gd name="T70" fmla="*/ 49 w 365"/>
                    <a:gd name="T71" fmla="*/ 12 h 395"/>
                    <a:gd name="T72" fmla="*/ 49 w 365"/>
                    <a:gd name="T73" fmla="*/ 51 h 395"/>
                    <a:gd name="T74" fmla="*/ 23 w 365"/>
                    <a:gd name="T75" fmla="*/ 83 h 395"/>
                    <a:gd name="T76" fmla="*/ 45 w 365"/>
                    <a:gd name="T77" fmla="*/ 93 h 395"/>
                    <a:gd name="T78" fmla="*/ 68 w 365"/>
                    <a:gd name="T79" fmla="*/ 155 h 395"/>
                    <a:gd name="T80" fmla="*/ 38 w 365"/>
                    <a:gd name="T81" fmla="*/ 183 h 395"/>
                    <a:gd name="T82" fmla="*/ 42 w 365"/>
                    <a:gd name="T83" fmla="*/ 221 h 395"/>
                    <a:gd name="T84" fmla="*/ 0 w 365"/>
                    <a:gd name="T85" fmla="*/ 242 h 395"/>
                    <a:gd name="T86" fmla="*/ 0 w 365"/>
                    <a:gd name="T87" fmla="*/ 246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5" h="395">
                      <a:moveTo>
                        <a:pt x="0" y="246"/>
                      </a:moveTo>
                      <a:lnTo>
                        <a:pt x="30" y="299"/>
                      </a:lnTo>
                      <a:lnTo>
                        <a:pt x="64" y="295"/>
                      </a:lnTo>
                      <a:lnTo>
                        <a:pt x="79" y="319"/>
                      </a:lnTo>
                      <a:lnTo>
                        <a:pt x="79" y="319"/>
                      </a:lnTo>
                      <a:lnTo>
                        <a:pt x="123" y="338"/>
                      </a:lnTo>
                      <a:lnTo>
                        <a:pt x="134" y="323"/>
                      </a:lnTo>
                      <a:lnTo>
                        <a:pt x="157" y="329"/>
                      </a:lnTo>
                      <a:lnTo>
                        <a:pt x="159" y="304"/>
                      </a:lnTo>
                      <a:lnTo>
                        <a:pt x="219" y="363"/>
                      </a:lnTo>
                      <a:lnTo>
                        <a:pt x="240" y="370"/>
                      </a:lnTo>
                      <a:lnTo>
                        <a:pt x="253" y="353"/>
                      </a:lnTo>
                      <a:lnTo>
                        <a:pt x="253" y="374"/>
                      </a:lnTo>
                      <a:lnTo>
                        <a:pt x="274" y="367"/>
                      </a:lnTo>
                      <a:lnTo>
                        <a:pt x="287" y="395"/>
                      </a:lnTo>
                      <a:lnTo>
                        <a:pt x="310" y="384"/>
                      </a:lnTo>
                      <a:lnTo>
                        <a:pt x="302" y="363"/>
                      </a:lnTo>
                      <a:lnTo>
                        <a:pt x="302" y="361"/>
                      </a:lnTo>
                      <a:lnTo>
                        <a:pt x="338" y="261"/>
                      </a:lnTo>
                      <a:lnTo>
                        <a:pt x="353" y="257"/>
                      </a:lnTo>
                      <a:lnTo>
                        <a:pt x="342" y="242"/>
                      </a:lnTo>
                      <a:lnTo>
                        <a:pt x="365" y="231"/>
                      </a:lnTo>
                      <a:lnTo>
                        <a:pt x="363" y="197"/>
                      </a:lnTo>
                      <a:lnTo>
                        <a:pt x="344" y="187"/>
                      </a:lnTo>
                      <a:lnTo>
                        <a:pt x="355" y="170"/>
                      </a:lnTo>
                      <a:lnTo>
                        <a:pt x="331" y="153"/>
                      </a:lnTo>
                      <a:lnTo>
                        <a:pt x="312" y="168"/>
                      </a:lnTo>
                      <a:lnTo>
                        <a:pt x="257" y="170"/>
                      </a:lnTo>
                      <a:lnTo>
                        <a:pt x="259" y="146"/>
                      </a:lnTo>
                      <a:lnTo>
                        <a:pt x="244" y="149"/>
                      </a:lnTo>
                      <a:lnTo>
                        <a:pt x="219" y="80"/>
                      </a:lnTo>
                      <a:lnTo>
                        <a:pt x="202" y="91"/>
                      </a:lnTo>
                      <a:lnTo>
                        <a:pt x="178" y="74"/>
                      </a:lnTo>
                      <a:lnTo>
                        <a:pt x="191" y="49"/>
                      </a:lnTo>
                      <a:lnTo>
                        <a:pt x="138" y="0"/>
                      </a:lnTo>
                      <a:lnTo>
                        <a:pt x="49" y="12"/>
                      </a:lnTo>
                      <a:lnTo>
                        <a:pt x="49" y="51"/>
                      </a:lnTo>
                      <a:lnTo>
                        <a:pt x="23" y="83"/>
                      </a:lnTo>
                      <a:lnTo>
                        <a:pt x="45" y="93"/>
                      </a:lnTo>
                      <a:lnTo>
                        <a:pt x="68" y="155"/>
                      </a:lnTo>
                      <a:lnTo>
                        <a:pt x="38" y="183"/>
                      </a:lnTo>
                      <a:lnTo>
                        <a:pt x="42" y="221"/>
                      </a:lnTo>
                      <a:lnTo>
                        <a:pt x="0" y="242"/>
                      </a:lnTo>
                      <a:lnTo>
                        <a:pt x="0" y="246"/>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grpSp>
        <p:grpSp>
          <p:nvGrpSpPr>
            <p:cNvPr id="298" name="Auvergne Rhône Alpes (Formes)">
              <a:extLst>
                <a:ext uri="{FF2B5EF4-FFF2-40B4-BE49-F238E27FC236}">
                  <a16:creationId xmlns:a16="http://schemas.microsoft.com/office/drawing/2014/main" id="{5577619F-5296-477F-89C2-10000DA4519F}"/>
                </a:ext>
              </a:extLst>
            </p:cNvPr>
            <p:cNvGrpSpPr/>
            <p:nvPr/>
          </p:nvGrpSpPr>
          <p:grpSpPr>
            <a:xfrm>
              <a:off x="7130375" y="3576738"/>
              <a:ext cx="1890985" cy="1398184"/>
              <a:chOff x="6376919" y="3746123"/>
              <a:chExt cx="1890985" cy="1398184"/>
            </a:xfrm>
            <a:solidFill>
              <a:srgbClr val="8C9B9C"/>
            </a:solidFill>
          </p:grpSpPr>
          <p:grpSp>
            <p:nvGrpSpPr>
              <p:cNvPr id="374" name="Rhône Alpes (Formes)">
                <a:extLst>
                  <a:ext uri="{FF2B5EF4-FFF2-40B4-BE49-F238E27FC236}">
                    <a16:creationId xmlns:a16="http://schemas.microsoft.com/office/drawing/2014/main" id="{366C99D6-D8F0-4CF2-917F-5F2C50309D30}"/>
                  </a:ext>
                </a:extLst>
              </p:cNvPr>
              <p:cNvGrpSpPr/>
              <p:nvPr/>
            </p:nvGrpSpPr>
            <p:grpSpPr>
              <a:xfrm>
                <a:off x="6977163" y="3886514"/>
                <a:ext cx="1290741" cy="1257793"/>
                <a:chOff x="6977163" y="3886514"/>
                <a:chExt cx="1290741" cy="1257793"/>
              </a:xfrm>
              <a:grpFill/>
            </p:grpSpPr>
            <p:sp>
              <p:nvSpPr>
                <p:cNvPr id="380" name="26">
                  <a:extLst>
                    <a:ext uri="{FF2B5EF4-FFF2-40B4-BE49-F238E27FC236}">
                      <a16:creationId xmlns:a16="http://schemas.microsoft.com/office/drawing/2014/main" id="{EE14EFE5-E70F-4C96-A343-BCECB2CFE317}"/>
                    </a:ext>
                  </a:extLst>
                </p:cNvPr>
                <p:cNvSpPr>
                  <a:spLocks/>
                </p:cNvSpPr>
                <p:nvPr/>
              </p:nvSpPr>
              <p:spPr bwMode="gray">
                <a:xfrm>
                  <a:off x="7342467" y="4505383"/>
                  <a:ext cx="429769" cy="638924"/>
                </a:xfrm>
                <a:custGeom>
                  <a:avLst/>
                  <a:gdLst>
                    <a:gd name="T0" fmla="*/ 0 w 300"/>
                    <a:gd name="T1" fmla="*/ 363 h 446"/>
                    <a:gd name="T2" fmla="*/ 13 w 300"/>
                    <a:gd name="T3" fmla="*/ 284 h 446"/>
                    <a:gd name="T4" fmla="*/ 34 w 300"/>
                    <a:gd name="T5" fmla="*/ 253 h 446"/>
                    <a:gd name="T6" fmla="*/ 28 w 300"/>
                    <a:gd name="T7" fmla="*/ 210 h 446"/>
                    <a:gd name="T8" fmla="*/ 58 w 300"/>
                    <a:gd name="T9" fmla="*/ 148 h 446"/>
                    <a:gd name="T10" fmla="*/ 34 w 300"/>
                    <a:gd name="T11" fmla="*/ 17 h 446"/>
                    <a:gd name="T12" fmla="*/ 87 w 300"/>
                    <a:gd name="T13" fmla="*/ 0 h 446"/>
                    <a:gd name="T14" fmla="*/ 104 w 300"/>
                    <a:gd name="T15" fmla="*/ 21 h 446"/>
                    <a:gd name="T16" fmla="*/ 119 w 300"/>
                    <a:gd name="T17" fmla="*/ 17 h 446"/>
                    <a:gd name="T18" fmla="*/ 117 w 300"/>
                    <a:gd name="T19" fmla="*/ 34 h 446"/>
                    <a:gd name="T20" fmla="*/ 136 w 300"/>
                    <a:gd name="T21" fmla="*/ 44 h 446"/>
                    <a:gd name="T22" fmla="*/ 121 w 300"/>
                    <a:gd name="T23" fmla="*/ 97 h 446"/>
                    <a:gd name="T24" fmla="*/ 187 w 300"/>
                    <a:gd name="T25" fmla="*/ 110 h 446"/>
                    <a:gd name="T26" fmla="*/ 213 w 300"/>
                    <a:gd name="T27" fmla="*/ 93 h 446"/>
                    <a:gd name="T28" fmla="*/ 209 w 300"/>
                    <a:gd name="T29" fmla="*/ 195 h 446"/>
                    <a:gd name="T30" fmla="*/ 300 w 300"/>
                    <a:gd name="T31" fmla="*/ 227 h 446"/>
                    <a:gd name="T32" fmla="*/ 296 w 300"/>
                    <a:gd name="T33" fmla="*/ 246 h 446"/>
                    <a:gd name="T34" fmla="*/ 257 w 300"/>
                    <a:gd name="T35" fmla="*/ 248 h 446"/>
                    <a:gd name="T36" fmla="*/ 247 w 300"/>
                    <a:gd name="T37" fmla="*/ 287 h 446"/>
                    <a:gd name="T38" fmla="*/ 264 w 300"/>
                    <a:gd name="T39" fmla="*/ 301 h 446"/>
                    <a:gd name="T40" fmla="*/ 251 w 300"/>
                    <a:gd name="T41" fmla="*/ 314 h 446"/>
                    <a:gd name="T42" fmla="*/ 211 w 300"/>
                    <a:gd name="T43" fmla="*/ 306 h 446"/>
                    <a:gd name="T44" fmla="*/ 221 w 300"/>
                    <a:gd name="T45" fmla="*/ 331 h 446"/>
                    <a:gd name="T46" fmla="*/ 202 w 300"/>
                    <a:gd name="T47" fmla="*/ 333 h 446"/>
                    <a:gd name="T48" fmla="*/ 206 w 300"/>
                    <a:gd name="T49" fmla="*/ 338 h 446"/>
                    <a:gd name="T50" fmla="*/ 223 w 300"/>
                    <a:gd name="T51" fmla="*/ 363 h 446"/>
                    <a:gd name="T52" fmla="*/ 257 w 300"/>
                    <a:gd name="T53" fmla="*/ 363 h 446"/>
                    <a:gd name="T54" fmla="*/ 272 w 300"/>
                    <a:gd name="T55" fmla="*/ 416 h 446"/>
                    <a:gd name="T56" fmla="*/ 274 w 300"/>
                    <a:gd name="T57" fmla="*/ 431 h 446"/>
                    <a:gd name="T58" fmla="*/ 247 w 300"/>
                    <a:gd name="T59" fmla="*/ 416 h 446"/>
                    <a:gd name="T60" fmla="*/ 226 w 300"/>
                    <a:gd name="T61" fmla="*/ 446 h 446"/>
                    <a:gd name="T62" fmla="*/ 187 w 300"/>
                    <a:gd name="T63" fmla="*/ 410 h 446"/>
                    <a:gd name="T64" fmla="*/ 138 w 300"/>
                    <a:gd name="T65" fmla="*/ 408 h 446"/>
                    <a:gd name="T66" fmla="*/ 136 w 300"/>
                    <a:gd name="T67" fmla="*/ 376 h 446"/>
                    <a:gd name="T68" fmla="*/ 47 w 300"/>
                    <a:gd name="T69" fmla="*/ 408 h 446"/>
                    <a:gd name="T70" fmla="*/ 43 w 300"/>
                    <a:gd name="T71" fmla="*/ 380 h 446"/>
                    <a:gd name="T72" fmla="*/ 2 w 300"/>
                    <a:gd name="T73" fmla="*/ 372 h 446"/>
                    <a:gd name="T74" fmla="*/ 0 w 300"/>
                    <a:gd name="T75" fmla="*/ 370 h 446"/>
                    <a:gd name="T76" fmla="*/ 0 w 300"/>
                    <a:gd name="T77" fmla="*/ 363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0" h="446">
                      <a:moveTo>
                        <a:pt x="0" y="363"/>
                      </a:moveTo>
                      <a:lnTo>
                        <a:pt x="13" y="284"/>
                      </a:lnTo>
                      <a:lnTo>
                        <a:pt x="34" y="253"/>
                      </a:lnTo>
                      <a:lnTo>
                        <a:pt x="28" y="210"/>
                      </a:lnTo>
                      <a:lnTo>
                        <a:pt x="58" y="148"/>
                      </a:lnTo>
                      <a:lnTo>
                        <a:pt x="34" y="17"/>
                      </a:lnTo>
                      <a:lnTo>
                        <a:pt x="87" y="0"/>
                      </a:lnTo>
                      <a:lnTo>
                        <a:pt x="104" y="21"/>
                      </a:lnTo>
                      <a:lnTo>
                        <a:pt x="119" y="17"/>
                      </a:lnTo>
                      <a:lnTo>
                        <a:pt x="117" y="34"/>
                      </a:lnTo>
                      <a:lnTo>
                        <a:pt x="136" y="44"/>
                      </a:lnTo>
                      <a:lnTo>
                        <a:pt x="121" y="97"/>
                      </a:lnTo>
                      <a:lnTo>
                        <a:pt x="187" y="110"/>
                      </a:lnTo>
                      <a:lnTo>
                        <a:pt x="213" y="93"/>
                      </a:lnTo>
                      <a:lnTo>
                        <a:pt x="209" y="195"/>
                      </a:lnTo>
                      <a:lnTo>
                        <a:pt x="300" y="227"/>
                      </a:lnTo>
                      <a:lnTo>
                        <a:pt x="296" y="246"/>
                      </a:lnTo>
                      <a:lnTo>
                        <a:pt x="257" y="248"/>
                      </a:lnTo>
                      <a:lnTo>
                        <a:pt x="247" y="287"/>
                      </a:lnTo>
                      <a:lnTo>
                        <a:pt x="264" y="301"/>
                      </a:lnTo>
                      <a:lnTo>
                        <a:pt x="251" y="314"/>
                      </a:lnTo>
                      <a:lnTo>
                        <a:pt x="211" y="306"/>
                      </a:lnTo>
                      <a:lnTo>
                        <a:pt x="221" y="331"/>
                      </a:lnTo>
                      <a:lnTo>
                        <a:pt x="202" y="333"/>
                      </a:lnTo>
                      <a:lnTo>
                        <a:pt x="206" y="338"/>
                      </a:lnTo>
                      <a:lnTo>
                        <a:pt x="223" y="363"/>
                      </a:lnTo>
                      <a:lnTo>
                        <a:pt x="257" y="363"/>
                      </a:lnTo>
                      <a:lnTo>
                        <a:pt x="272" y="416"/>
                      </a:lnTo>
                      <a:lnTo>
                        <a:pt x="274" y="431"/>
                      </a:lnTo>
                      <a:lnTo>
                        <a:pt x="247" y="416"/>
                      </a:lnTo>
                      <a:lnTo>
                        <a:pt x="226" y="446"/>
                      </a:lnTo>
                      <a:lnTo>
                        <a:pt x="187" y="410"/>
                      </a:lnTo>
                      <a:lnTo>
                        <a:pt x="138" y="408"/>
                      </a:lnTo>
                      <a:lnTo>
                        <a:pt x="136" y="376"/>
                      </a:lnTo>
                      <a:lnTo>
                        <a:pt x="47" y="408"/>
                      </a:lnTo>
                      <a:lnTo>
                        <a:pt x="43" y="380"/>
                      </a:lnTo>
                      <a:lnTo>
                        <a:pt x="2" y="372"/>
                      </a:lnTo>
                      <a:lnTo>
                        <a:pt x="0" y="370"/>
                      </a:lnTo>
                      <a:lnTo>
                        <a:pt x="0" y="363"/>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81" name="42">
                  <a:extLst>
                    <a:ext uri="{FF2B5EF4-FFF2-40B4-BE49-F238E27FC236}">
                      <a16:creationId xmlns:a16="http://schemas.microsoft.com/office/drawing/2014/main" id="{6EAC114E-8144-4809-BB82-C85C27882D5E}"/>
                    </a:ext>
                  </a:extLst>
                </p:cNvPr>
                <p:cNvSpPr>
                  <a:spLocks/>
                </p:cNvSpPr>
                <p:nvPr/>
              </p:nvSpPr>
              <p:spPr bwMode="gray">
                <a:xfrm>
                  <a:off x="6977163" y="4021176"/>
                  <a:ext cx="396821" cy="544374"/>
                </a:xfrm>
                <a:custGeom>
                  <a:avLst/>
                  <a:gdLst>
                    <a:gd name="T0" fmla="*/ 2 w 277"/>
                    <a:gd name="T1" fmla="*/ 123 h 380"/>
                    <a:gd name="T2" fmla="*/ 34 w 277"/>
                    <a:gd name="T3" fmla="*/ 104 h 380"/>
                    <a:gd name="T4" fmla="*/ 21 w 277"/>
                    <a:gd name="T5" fmla="*/ 19 h 380"/>
                    <a:gd name="T6" fmla="*/ 53 w 277"/>
                    <a:gd name="T7" fmla="*/ 0 h 380"/>
                    <a:gd name="T8" fmla="*/ 53 w 277"/>
                    <a:gd name="T9" fmla="*/ 23 h 380"/>
                    <a:gd name="T10" fmla="*/ 75 w 277"/>
                    <a:gd name="T11" fmla="*/ 38 h 380"/>
                    <a:gd name="T12" fmla="*/ 106 w 277"/>
                    <a:gd name="T13" fmla="*/ 27 h 380"/>
                    <a:gd name="T14" fmla="*/ 151 w 277"/>
                    <a:gd name="T15" fmla="*/ 42 h 380"/>
                    <a:gd name="T16" fmla="*/ 177 w 277"/>
                    <a:gd name="T17" fmla="*/ 19 h 380"/>
                    <a:gd name="T18" fmla="*/ 191 w 277"/>
                    <a:gd name="T19" fmla="*/ 36 h 380"/>
                    <a:gd name="T20" fmla="*/ 160 w 277"/>
                    <a:gd name="T21" fmla="*/ 51 h 380"/>
                    <a:gd name="T22" fmla="*/ 143 w 277"/>
                    <a:gd name="T23" fmla="*/ 82 h 380"/>
                    <a:gd name="T24" fmla="*/ 160 w 277"/>
                    <a:gd name="T25" fmla="*/ 95 h 380"/>
                    <a:gd name="T26" fmla="*/ 143 w 277"/>
                    <a:gd name="T27" fmla="*/ 102 h 380"/>
                    <a:gd name="T28" fmla="*/ 145 w 277"/>
                    <a:gd name="T29" fmla="*/ 104 h 380"/>
                    <a:gd name="T30" fmla="*/ 183 w 277"/>
                    <a:gd name="T31" fmla="*/ 153 h 380"/>
                    <a:gd name="T32" fmla="*/ 174 w 277"/>
                    <a:gd name="T33" fmla="*/ 219 h 380"/>
                    <a:gd name="T34" fmla="*/ 202 w 277"/>
                    <a:gd name="T35" fmla="*/ 250 h 380"/>
                    <a:gd name="T36" fmla="*/ 257 w 277"/>
                    <a:gd name="T37" fmla="*/ 259 h 380"/>
                    <a:gd name="T38" fmla="*/ 247 w 277"/>
                    <a:gd name="T39" fmla="*/ 282 h 380"/>
                    <a:gd name="T40" fmla="*/ 277 w 277"/>
                    <a:gd name="T41" fmla="*/ 295 h 380"/>
                    <a:gd name="T42" fmla="*/ 274 w 277"/>
                    <a:gd name="T43" fmla="*/ 310 h 380"/>
                    <a:gd name="T44" fmla="*/ 274 w 277"/>
                    <a:gd name="T45" fmla="*/ 314 h 380"/>
                    <a:gd name="T46" fmla="*/ 277 w 277"/>
                    <a:gd name="T47" fmla="*/ 331 h 380"/>
                    <a:gd name="T48" fmla="*/ 240 w 277"/>
                    <a:gd name="T49" fmla="*/ 350 h 380"/>
                    <a:gd name="T50" fmla="*/ 234 w 277"/>
                    <a:gd name="T51" fmla="*/ 376 h 380"/>
                    <a:gd name="T52" fmla="*/ 209 w 277"/>
                    <a:gd name="T53" fmla="*/ 380 h 380"/>
                    <a:gd name="T54" fmla="*/ 172 w 277"/>
                    <a:gd name="T55" fmla="*/ 363 h 380"/>
                    <a:gd name="T56" fmla="*/ 168 w 277"/>
                    <a:gd name="T57" fmla="*/ 331 h 380"/>
                    <a:gd name="T58" fmla="*/ 126 w 277"/>
                    <a:gd name="T59" fmla="*/ 323 h 380"/>
                    <a:gd name="T60" fmla="*/ 100 w 277"/>
                    <a:gd name="T61" fmla="*/ 342 h 380"/>
                    <a:gd name="T62" fmla="*/ 55 w 277"/>
                    <a:gd name="T63" fmla="*/ 338 h 380"/>
                    <a:gd name="T64" fmla="*/ 77 w 277"/>
                    <a:gd name="T65" fmla="*/ 287 h 380"/>
                    <a:gd name="T66" fmla="*/ 2 w 277"/>
                    <a:gd name="T67" fmla="*/ 176 h 380"/>
                    <a:gd name="T68" fmla="*/ 17 w 277"/>
                    <a:gd name="T69" fmla="*/ 142 h 380"/>
                    <a:gd name="T70" fmla="*/ 0 w 277"/>
                    <a:gd name="T71" fmla="*/ 125 h 380"/>
                    <a:gd name="T72" fmla="*/ 2 w 277"/>
                    <a:gd name="T73" fmla="*/ 123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7" h="380">
                      <a:moveTo>
                        <a:pt x="2" y="123"/>
                      </a:moveTo>
                      <a:lnTo>
                        <a:pt x="34" y="104"/>
                      </a:lnTo>
                      <a:lnTo>
                        <a:pt x="21" y="19"/>
                      </a:lnTo>
                      <a:lnTo>
                        <a:pt x="53" y="0"/>
                      </a:lnTo>
                      <a:lnTo>
                        <a:pt x="53" y="23"/>
                      </a:lnTo>
                      <a:lnTo>
                        <a:pt x="75" y="38"/>
                      </a:lnTo>
                      <a:lnTo>
                        <a:pt x="106" y="27"/>
                      </a:lnTo>
                      <a:lnTo>
                        <a:pt x="151" y="42"/>
                      </a:lnTo>
                      <a:lnTo>
                        <a:pt x="177" y="19"/>
                      </a:lnTo>
                      <a:lnTo>
                        <a:pt x="191" y="36"/>
                      </a:lnTo>
                      <a:lnTo>
                        <a:pt x="160" y="51"/>
                      </a:lnTo>
                      <a:lnTo>
                        <a:pt x="143" y="82"/>
                      </a:lnTo>
                      <a:lnTo>
                        <a:pt x="160" y="95"/>
                      </a:lnTo>
                      <a:lnTo>
                        <a:pt x="143" y="102"/>
                      </a:lnTo>
                      <a:lnTo>
                        <a:pt x="145" y="104"/>
                      </a:lnTo>
                      <a:lnTo>
                        <a:pt x="183" y="153"/>
                      </a:lnTo>
                      <a:lnTo>
                        <a:pt x="174" y="219"/>
                      </a:lnTo>
                      <a:lnTo>
                        <a:pt x="202" y="250"/>
                      </a:lnTo>
                      <a:lnTo>
                        <a:pt x="257" y="259"/>
                      </a:lnTo>
                      <a:lnTo>
                        <a:pt x="247" y="282"/>
                      </a:lnTo>
                      <a:lnTo>
                        <a:pt x="277" y="295"/>
                      </a:lnTo>
                      <a:lnTo>
                        <a:pt x="274" y="310"/>
                      </a:lnTo>
                      <a:lnTo>
                        <a:pt x="274" y="314"/>
                      </a:lnTo>
                      <a:lnTo>
                        <a:pt x="277" y="331"/>
                      </a:lnTo>
                      <a:lnTo>
                        <a:pt x="240" y="350"/>
                      </a:lnTo>
                      <a:lnTo>
                        <a:pt x="234" y="376"/>
                      </a:lnTo>
                      <a:lnTo>
                        <a:pt x="209" y="380"/>
                      </a:lnTo>
                      <a:lnTo>
                        <a:pt x="172" y="363"/>
                      </a:lnTo>
                      <a:lnTo>
                        <a:pt x="168" y="331"/>
                      </a:lnTo>
                      <a:lnTo>
                        <a:pt x="126" y="323"/>
                      </a:lnTo>
                      <a:lnTo>
                        <a:pt x="100" y="342"/>
                      </a:lnTo>
                      <a:lnTo>
                        <a:pt x="55" y="338"/>
                      </a:lnTo>
                      <a:lnTo>
                        <a:pt x="77" y="287"/>
                      </a:lnTo>
                      <a:lnTo>
                        <a:pt x="2" y="176"/>
                      </a:lnTo>
                      <a:lnTo>
                        <a:pt x="17" y="142"/>
                      </a:lnTo>
                      <a:lnTo>
                        <a:pt x="0" y="125"/>
                      </a:lnTo>
                      <a:lnTo>
                        <a:pt x="2" y="123"/>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82" name="69">
                  <a:extLst>
                    <a:ext uri="{FF2B5EF4-FFF2-40B4-BE49-F238E27FC236}">
                      <a16:creationId xmlns:a16="http://schemas.microsoft.com/office/drawing/2014/main" id="{623EEFFE-2265-4587-B13E-6346465F7A4D}"/>
                    </a:ext>
                  </a:extLst>
                </p:cNvPr>
                <p:cNvSpPr>
                  <a:spLocks/>
                </p:cNvSpPr>
                <p:nvPr/>
              </p:nvSpPr>
              <p:spPr bwMode="gray">
                <a:xfrm>
                  <a:off x="7182020" y="4002551"/>
                  <a:ext cx="338085" cy="441230"/>
                </a:xfrm>
                <a:custGeom>
                  <a:avLst/>
                  <a:gdLst>
                    <a:gd name="T0" fmla="*/ 2 w 236"/>
                    <a:gd name="T1" fmla="*/ 117 h 308"/>
                    <a:gd name="T2" fmla="*/ 40 w 236"/>
                    <a:gd name="T3" fmla="*/ 166 h 308"/>
                    <a:gd name="T4" fmla="*/ 31 w 236"/>
                    <a:gd name="T5" fmla="*/ 232 h 308"/>
                    <a:gd name="T6" fmla="*/ 59 w 236"/>
                    <a:gd name="T7" fmla="*/ 263 h 308"/>
                    <a:gd name="T8" fmla="*/ 114 w 236"/>
                    <a:gd name="T9" fmla="*/ 272 h 308"/>
                    <a:gd name="T10" fmla="*/ 104 w 236"/>
                    <a:gd name="T11" fmla="*/ 295 h 308"/>
                    <a:gd name="T12" fmla="*/ 134 w 236"/>
                    <a:gd name="T13" fmla="*/ 308 h 308"/>
                    <a:gd name="T14" fmla="*/ 163 w 236"/>
                    <a:gd name="T15" fmla="*/ 283 h 308"/>
                    <a:gd name="T16" fmla="*/ 140 w 236"/>
                    <a:gd name="T17" fmla="*/ 263 h 308"/>
                    <a:gd name="T18" fmla="*/ 204 w 236"/>
                    <a:gd name="T19" fmla="*/ 251 h 308"/>
                    <a:gd name="T20" fmla="*/ 236 w 236"/>
                    <a:gd name="T21" fmla="*/ 215 h 308"/>
                    <a:gd name="T22" fmla="*/ 208 w 236"/>
                    <a:gd name="T23" fmla="*/ 191 h 308"/>
                    <a:gd name="T24" fmla="*/ 219 w 236"/>
                    <a:gd name="T25" fmla="*/ 178 h 308"/>
                    <a:gd name="T26" fmla="*/ 172 w 236"/>
                    <a:gd name="T27" fmla="*/ 181 h 308"/>
                    <a:gd name="T28" fmla="*/ 161 w 236"/>
                    <a:gd name="T29" fmla="*/ 146 h 308"/>
                    <a:gd name="T30" fmla="*/ 125 w 236"/>
                    <a:gd name="T31" fmla="*/ 134 h 308"/>
                    <a:gd name="T32" fmla="*/ 134 w 236"/>
                    <a:gd name="T33" fmla="*/ 47 h 308"/>
                    <a:gd name="T34" fmla="*/ 121 w 236"/>
                    <a:gd name="T35" fmla="*/ 44 h 308"/>
                    <a:gd name="T36" fmla="*/ 110 w 236"/>
                    <a:gd name="T37" fmla="*/ 0 h 308"/>
                    <a:gd name="T38" fmla="*/ 93 w 236"/>
                    <a:gd name="T39" fmla="*/ 15 h 308"/>
                    <a:gd name="T40" fmla="*/ 44 w 236"/>
                    <a:gd name="T41" fmla="*/ 2 h 308"/>
                    <a:gd name="T42" fmla="*/ 34 w 236"/>
                    <a:gd name="T43" fmla="*/ 32 h 308"/>
                    <a:gd name="T44" fmla="*/ 48 w 236"/>
                    <a:gd name="T45" fmla="*/ 49 h 308"/>
                    <a:gd name="T46" fmla="*/ 17 w 236"/>
                    <a:gd name="T47" fmla="*/ 64 h 308"/>
                    <a:gd name="T48" fmla="*/ 0 w 236"/>
                    <a:gd name="T49" fmla="*/ 95 h 308"/>
                    <a:gd name="T50" fmla="*/ 17 w 236"/>
                    <a:gd name="T51" fmla="*/ 108 h 308"/>
                    <a:gd name="T52" fmla="*/ 0 w 236"/>
                    <a:gd name="T53" fmla="*/ 115 h 308"/>
                    <a:gd name="T54" fmla="*/ 2 w 236"/>
                    <a:gd name="T55" fmla="*/ 117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6" h="308">
                      <a:moveTo>
                        <a:pt x="2" y="117"/>
                      </a:moveTo>
                      <a:lnTo>
                        <a:pt x="40" y="166"/>
                      </a:lnTo>
                      <a:lnTo>
                        <a:pt x="31" y="232"/>
                      </a:lnTo>
                      <a:lnTo>
                        <a:pt x="59" y="263"/>
                      </a:lnTo>
                      <a:lnTo>
                        <a:pt x="114" y="272"/>
                      </a:lnTo>
                      <a:lnTo>
                        <a:pt x="104" y="295"/>
                      </a:lnTo>
                      <a:lnTo>
                        <a:pt x="134" y="308"/>
                      </a:lnTo>
                      <a:lnTo>
                        <a:pt x="163" y="283"/>
                      </a:lnTo>
                      <a:lnTo>
                        <a:pt x="140" y="263"/>
                      </a:lnTo>
                      <a:lnTo>
                        <a:pt x="204" y="251"/>
                      </a:lnTo>
                      <a:lnTo>
                        <a:pt x="236" y="215"/>
                      </a:lnTo>
                      <a:lnTo>
                        <a:pt x="208" y="191"/>
                      </a:lnTo>
                      <a:lnTo>
                        <a:pt x="219" y="178"/>
                      </a:lnTo>
                      <a:lnTo>
                        <a:pt x="172" y="181"/>
                      </a:lnTo>
                      <a:lnTo>
                        <a:pt x="161" y="146"/>
                      </a:lnTo>
                      <a:lnTo>
                        <a:pt x="125" y="134"/>
                      </a:lnTo>
                      <a:lnTo>
                        <a:pt x="134" y="47"/>
                      </a:lnTo>
                      <a:lnTo>
                        <a:pt x="121" y="44"/>
                      </a:lnTo>
                      <a:lnTo>
                        <a:pt x="110" y="0"/>
                      </a:lnTo>
                      <a:lnTo>
                        <a:pt x="93" y="15"/>
                      </a:lnTo>
                      <a:lnTo>
                        <a:pt x="44" y="2"/>
                      </a:lnTo>
                      <a:lnTo>
                        <a:pt x="34" y="32"/>
                      </a:lnTo>
                      <a:lnTo>
                        <a:pt x="48" y="49"/>
                      </a:lnTo>
                      <a:lnTo>
                        <a:pt x="17" y="64"/>
                      </a:lnTo>
                      <a:lnTo>
                        <a:pt x="0" y="95"/>
                      </a:lnTo>
                      <a:lnTo>
                        <a:pt x="17" y="108"/>
                      </a:lnTo>
                      <a:lnTo>
                        <a:pt x="0" y="115"/>
                      </a:lnTo>
                      <a:lnTo>
                        <a:pt x="2" y="117"/>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83" name="73">
                  <a:extLst>
                    <a:ext uri="{FF2B5EF4-FFF2-40B4-BE49-F238E27FC236}">
                      <a16:creationId xmlns:a16="http://schemas.microsoft.com/office/drawing/2014/main" id="{038500B6-AC02-45EC-916B-5E19BF6E6052}"/>
                    </a:ext>
                  </a:extLst>
                </p:cNvPr>
                <p:cNvSpPr>
                  <a:spLocks/>
                </p:cNvSpPr>
                <p:nvPr/>
              </p:nvSpPr>
              <p:spPr bwMode="gray">
                <a:xfrm>
                  <a:off x="7690580" y="4184488"/>
                  <a:ext cx="577324" cy="454123"/>
                </a:xfrm>
                <a:custGeom>
                  <a:avLst/>
                  <a:gdLst>
                    <a:gd name="T0" fmla="*/ 0 w 403"/>
                    <a:gd name="T1" fmla="*/ 119 h 317"/>
                    <a:gd name="T2" fmla="*/ 36 w 403"/>
                    <a:gd name="T3" fmla="*/ 81 h 317"/>
                    <a:gd name="T4" fmla="*/ 48 w 403"/>
                    <a:gd name="T5" fmla="*/ 0 h 317"/>
                    <a:gd name="T6" fmla="*/ 93 w 403"/>
                    <a:gd name="T7" fmla="*/ 68 h 317"/>
                    <a:gd name="T8" fmla="*/ 136 w 403"/>
                    <a:gd name="T9" fmla="*/ 64 h 317"/>
                    <a:gd name="T10" fmla="*/ 161 w 403"/>
                    <a:gd name="T11" fmla="*/ 90 h 317"/>
                    <a:gd name="T12" fmla="*/ 178 w 403"/>
                    <a:gd name="T13" fmla="*/ 85 h 317"/>
                    <a:gd name="T14" fmla="*/ 223 w 403"/>
                    <a:gd name="T15" fmla="*/ 7 h 317"/>
                    <a:gd name="T16" fmla="*/ 272 w 403"/>
                    <a:gd name="T17" fmla="*/ 68 h 317"/>
                    <a:gd name="T18" fmla="*/ 297 w 403"/>
                    <a:gd name="T19" fmla="*/ 49 h 317"/>
                    <a:gd name="T20" fmla="*/ 312 w 403"/>
                    <a:gd name="T21" fmla="*/ 81 h 317"/>
                    <a:gd name="T22" fmla="*/ 352 w 403"/>
                    <a:gd name="T23" fmla="*/ 98 h 317"/>
                    <a:gd name="T24" fmla="*/ 355 w 403"/>
                    <a:gd name="T25" fmla="*/ 147 h 317"/>
                    <a:gd name="T26" fmla="*/ 403 w 403"/>
                    <a:gd name="T27" fmla="*/ 181 h 317"/>
                    <a:gd name="T28" fmla="*/ 378 w 403"/>
                    <a:gd name="T29" fmla="*/ 251 h 317"/>
                    <a:gd name="T30" fmla="*/ 348 w 403"/>
                    <a:gd name="T31" fmla="*/ 255 h 317"/>
                    <a:gd name="T32" fmla="*/ 325 w 403"/>
                    <a:gd name="T33" fmla="*/ 285 h 317"/>
                    <a:gd name="T34" fmla="*/ 301 w 403"/>
                    <a:gd name="T35" fmla="*/ 275 h 317"/>
                    <a:gd name="T36" fmla="*/ 265 w 403"/>
                    <a:gd name="T37" fmla="*/ 294 h 317"/>
                    <a:gd name="T38" fmla="*/ 233 w 403"/>
                    <a:gd name="T39" fmla="*/ 298 h 317"/>
                    <a:gd name="T40" fmla="*/ 221 w 403"/>
                    <a:gd name="T41" fmla="*/ 317 h 317"/>
                    <a:gd name="T42" fmla="*/ 170 w 403"/>
                    <a:gd name="T43" fmla="*/ 292 h 317"/>
                    <a:gd name="T44" fmla="*/ 140 w 403"/>
                    <a:gd name="T45" fmla="*/ 283 h 317"/>
                    <a:gd name="T46" fmla="*/ 134 w 403"/>
                    <a:gd name="T47" fmla="*/ 236 h 317"/>
                    <a:gd name="T48" fmla="*/ 148 w 403"/>
                    <a:gd name="T49" fmla="*/ 211 h 317"/>
                    <a:gd name="T50" fmla="*/ 129 w 403"/>
                    <a:gd name="T51" fmla="*/ 181 h 317"/>
                    <a:gd name="T52" fmla="*/ 89 w 403"/>
                    <a:gd name="T53" fmla="*/ 164 h 317"/>
                    <a:gd name="T54" fmla="*/ 72 w 403"/>
                    <a:gd name="T55" fmla="*/ 200 h 317"/>
                    <a:gd name="T56" fmla="*/ 31 w 403"/>
                    <a:gd name="T57" fmla="*/ 185 h 317"/>
                    <a:gd name="T58" fmla="*/ 0 w 403"/>
                    <a:gd name="T59" fmla="*/ 124 h 317"/>
                    <a:gd name="T60" fmla="*/ 0 w 403"/>
                    <a:gd name="T61" fmla="*/ 11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3" h="317">
                      <a:moveTo>
                        <a:pt x="0" y="119"/>
                      </a:moveTo>
                      <a:lnTo>
                        <a:pt x="36" y="81"/>
                      </a:lnTo>
                      <a:lnTo>
                        <a:pt x="48" y="0"/>
                      </a:lnTo>
                      <a:lnTo>
                        <a:pt x="93" y="68"/>
                      </a:lnTo>
                      <a:lnTo>
                        <a:pt x="136" y="64"/>
                      </a:lnTo>
                      <a:lnTo>
                        <a:pt x="161" y="90"/>
                      </a:lnTo>
                      <a:lnTo>
                        <a:pt x="178" y="85"/>
                      </a:lnTo>
                      <a:lnTo>
                        <a:pt x="223" y="7"/>
                      </a:lnTo>
                      <a:lnTo>
                        <a:pt x="272" y="68"/>
                      </a:lnTo>
                      <a:lnTo>
                        <a:pt x="297" y="49"/>
                      </a:lnTo>
                      <a:lnTo>
                        <a:pt x="312" y="81"/>
                      </a:lnTo>
                      <a:lnTo>
                        <a:pt x="352" y="98"/>
                      </a:lnTo>
                      <a:lnTo>
                        <a:pt x="355" y="147"/>
                      </a:lnTo>
                      <a:lnTo>
                        <a:pt x="403" y="181"/>
                      </a:lnTo>
                      <a:lnTo>
                        <a:pt x="378" y="251"/>
                      </a:lnTo>
                      <a:lnTo>
                        <a:pt x="348" y="255"/>
                      </a:lnTo>
                      <a:lnTo>
                        <a:pt x="325" y="285"/>
                      </a:lnTo>
                      <a:lnTo>
                        <a:pt x="301" y="275"/>
                      </a:lnTo>
                      <a:lnTo>
                        <a:pt x="265" y="294"/>
                      </a:lnTo>
                      <a:lnTo>
                        <a:pt x="233" y="298"/>
                      </a:lnTo>
                      <a:lnTo>
                        <a:pt x="221" y="317"/>
                      </a:lnTo>
                      <a:lnTo>
                        <a:pt x="170" y="292"/>
                      </a:lnTo>
                      <a:lnTo>
                        <a:pt x="140" y="283"/>
                      </a:lnTo>
                      <a:lnTo>
                        <a:pt x="134" y="236"/>
                      </a:lnTo>
                      <a:lnTo>
                        <a:pt x="148" y="211"/>
                      </a:lnTo>
                      <a:lnTo>
                        <a:pt x="129" y="181"/>
                      </a:lnTo>
                      <a:lnTo>
                        <a:pt x="89" y="164"/>
                      </a:lnTo>
                      <a:lnTo>
                        <a:pt x="72" y="200"/>
                      </a:lnTo>
                      <a:lnTo>
                        <a:pt x="31" y="185"/>
                      </a:lnTo>
                      <a:lnTo>
                        <a:pt x="0" y="124"/>
                      </a:lnTo>
                      <a:lnTo>
                        <a:pt x="0" y="119"/>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84" name="38">
                  <a:extLst>
                    <a:ext uri="{FF2B5EF4-FFF2-40B4-BE49-F238E27FC236}">
                      <a16:creationId xmlns:a16="http://schemas.microsoft.com/office/drawing/2014/main" id="{E3EA80E1-D18E-49CB-A786-25788FBD631C}"/>
                    </a:ext>
                  </a:extLst>
                </p:cNvPr>
                <p:cNvSpPr>
                  <a:spLocks/>
                </p:cNvSpPr>
                <p:nvPr/>
              </p:nvSpPr>
              <p:spPr bwMode="gray">
                <a:xfrm>
                  <a:off x="7369685" y="4218869"/>
                  <a:ext cx="605976" cy="611706"/>
                </a:xfrm>
                <a:custGeom>
                  <a:avLst/>
                  <a:gdLst>
                    <a:gd name="T0" fmla="*/ 0 w 423"/>
                    <a:gd name="T1" fmla="*/ 176 h 427"/>
                    <a:gd name="T2" fmla="*/ 3 w 423"/>
                    <a:gd name="T3" fmla="*/ 193 h 427"/>
                    <a:gd name="T4" fmla="*/ 15 w 423"/>
                    <a:gd name="T5" fmla="*/ 217 h 427"/>
                    <a:gd name="T6" fmla="*/ 68 w 423"/>
                    <a:gd name="T7" fmla="*/ 200 h 427"/>
                    <a:gd name="T8" fmla="*/ 85 w 423"/>
                    <a:gd name="T9" fmla="*/ 221 h 427"/>
                    <a:gd name="T10" fmla="*/ 100 w 423"/>
                    <a:gd name="T11" fmla="*/ 217 h 427"/>
                    <a:gd name="T12" fmla="*/ 98 w 423"/>
                    <a:gd name="T13" fmla="*/ 234 h 427"/>
                    <a:gd name="T14" fmla="*/ 117 w 423"/>
                    <a:gd name="T15" fmla="*/ 244 h 427"/>
                    <a:gd name="T16" fmla="*/ 102 w 423"/>
                    <a:gd name="T17" fmla="*/ 297 h 427"/>
                    <a:gd name="T18" fmla="*/ 168 w 423"/>
                    <a:gd name="T19" fmla="*/ 310 h 427"/>
                    <a:gd name="T20" fmla="*/ 194 w 423"/>
                    <a:gd name="T21" fmla="*/ 293 h 427"/>
                    <a:gd name="T22" fmla="*/ 190 w 423"/>
                    <a:gd name="T23" fmla="*/ 395 h 427"/>
                    <a:gd name="T24" fmla="*/ 281 w 423"/>
                    <a:gd name="T25" fmla="*/ 427 h 427"/>
                    <a:gd name="T26" fmla="*/ 334 w 423"/>
                    <a:gd name="T27" fmla="*/ 378 h 427"/>
                    <a:gd name="T28" fmla="*/ 423 w 423"/>
                    <a:gd name="T29" fmla="*/ 365 h 427"/>
                    <a:gd name="T30" fmla="*/ 411 w 423"/>
                    <a:gd name="T31" fmla="*/ 312 h 427"/>
                    <a:gd name="T32" fmla="*/ 381 w 423"/>
                    <a:gd name="T33" fmla="*/ 310 h 427"/>
                    <a:gd name="T34" fmla="*/ 394 w 423"/>
                    <a:gd name="T35" fmla="*/ 268 h 427"/>
                    <a:gd name="T36" fmla="*/ 364 w 423"/>
                    <a:gd name="T37" fmla="*/ 259 h 427"/>
                    <a:gd name="T38" fmla="*/ 358 w 423"/>
                    <a:gd name="T39" fmla="*/ 212 h 427"/>
                    <a:gd name="T40" fmla="*/ 372 w 423"/>
                    <a:gd name="T41" fmla="*/ 187 h 427"/>
                    <a:gd name="T42" fmla="*/ 353 w 423"/>
                    <a:gd name="T43" fmla="*/ 157 h 427"/>
                    <a:gd name="T44" fmla="*/ 313 w 423"/>
                    <a:gd name="T45" fmla="*/ 140 h 427"/>
                    <a:gd name="T46" fmla="*/ 296 w 423"/>
                    <a:gd name="T47" fmla="*/ 176 h 427"/>
                    <a:gd name="T48" fmla="*/ 255 w 423"/>
                    <a:gd name="T49" fmla="*/ 161 h 427"/>
                    <a:gd name="T50" fmla="*/ 224 w 423"/>
                    <a:gd name="T51" fmla="*/ 100 h 427"/>
                    <a:gd name="T52" fmla="*/ 224 w 423"/>
                    <a:gd name="T53" fmla="*/ 95 h 427"/>
                    <a:gd name="T54" fmla="*/ 153 w 423"/>
                    <a:gd name="T55" fmla="*/ 0 h 427"/>
                    <a:gd name="T56" fmla="*/ 124 w 423"/>
                    <a:gd name="T57" fmla="*/ 40 h 427"/>
                    <a:gd name="T58" fmla="*/ 88 w 423"/>
                    <a:gd name="T59" fmla="*/ 27 h 427"/>
                    <a:gd name="T60" fmla="*/ 77 w 423"/>
                    <a:gd name="T61" fmla="*/ 40 h 427"/>
                    <a:gd name="T62" fmla="*/ 105 w 423"/>
                    <a:gd name="T63" fmla="*/ 64 h 427"/>
                    <a:gd name="T64" fmla="*/ 73 w 423"/>
                    <a:gd name="T65" fmla="*/ 100 h 427"/>
                    <a:gd name="T66" fmla="*/ 9 w 423"/>
                    <a:gd name="T67" fmla="*/ 112 h 427"/>
                    <a:gd name="T68" fmla="*/ 32 w 423"/>
                    <a:gd name="T69" fmla="*/ 132 h 427"/>
                    <a:gd name="T70" fmla="*/ 3 w 423"/>
                    <a:gd name="T71" fmla="*/ 157 h 427"/>
                    <a:gd name="T72" fmla="*/ 0 w 423"/>
                    <a:gd name="T73" fmla="*/ 172 h 427"/>
                    <a:gd name="T74" fmla="*/ 0 w 423"/>
                    <a:gd name="T75" fmla="*/ 176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3" h="427">
                      <a:moveTo>
                        <a:pt x="0" y="176"/>
                      </a:moveTo>
                      <a:lnTo>
                        <a:pt x="3" y="193"/>
                      </a:lnTo>
                      <a:lnTo>
                        <a:pt x="15" y="217"/>
                      </a:lnTo>
                      <a:lnTo>
                        <a:pt x="68" y="200"/>
                      </a:lnTo>
                      <a:lnTo>
                        <a:pt x="85" y="221"/>
                      </a:lnTo>
                      <a:lnTo>
                        <a:pt x="100" y="217"/>
                      </a:lnTo>
                      <a:lnTo>
                        <a:pt x="98" y="234"/>
                      </a:lnTo>
                      <a:lnTo>
                        <a:pt x="117" y="244"/>
                      </a:lnTo>
                      <a:lnTo>
                        <a:pt x="102" y="297"/>
                      </a:lnTo>
                      <a:lnTo>
                        <a:pt x="168" y="310"/>
                      </a:lnTo>
                      <a:lnTo>
                        <a:pt x="194" y="293"/>
                      </a:lnTo>
                      <a:lnTo>
                        <a:pt x="190" y="395"/>
                      </a:lnTo>
                      <a:lnTo>
                        <a:pt x="281" y="427"/>
                      </a:lnTo>
                      <a:lnTo>
                        <a:pt x="334" y="378"/>
                      </a:lnTo>
                      <a:lnTo>
                        <a:pt x="423" y="365"/>
                      </a:lnTo>
                      <a:lnTo>
                        <a:pt x="411" y="312"/>
                      </a:lnTo>
                      <a:lnTo>
                        <a:pt x="381" y="310"/>
                      </a:lnTo>
                      <a:lnTo>
                        <a:pt x="394" y="268"/>
                      </a:lnTo>
                      <a:lnTo>
                        <a:pt x="364" y="259"/>
                      </a:lnTo>
                      <a:lnTo>
                        <a:pt x="358" y="212"/>
                      </a:lnTo>
                      <a:lnTo>
                        <a:pt x="372" y="187"/>
                      </a:lnTo>
                      <a:lnTo>
                        <a:pt x="353" y="157"/>
                      </a:lnTo>
                      <a:lnTo>
                        <a:pt x="313" y="140"/>
                      </a:lnTo>
                      <a:lnTo>
                        <a:pt x="296" y="176"/>
                      </a:lnTo>
                      <a:lnTo>
                        <a:pt x="255" y="161"/>
                      </a:lnTo>
                      <a:lnTo>
                        <a:pt x="224" y="100"/>
                      </a:lnTo>
                      <a:lnTo>
                        <a:pt x="224" y="95"/>
                      </a:lnTo>
                      <a:lnTo>
                        <a:pt x="153" y="0"/>
                      </a:lnTo>
                      <a:lnTo>
                        <a:pt x="124" y="40"/>
                      </a:lnTo>
                      <a:lnTo>
                        <a:pt x="88" y="27"/>
                      </a:lnTo>
                      <a:lnTo>
                        <a:pt x="77" y="40"/>
                      </a:lnTo>
                      <a:lnTo>
                        <a:pt x="105" y="64"/>
                      </a:lnTo>
                      <a:lnTo>
                        <a:pt x="73" y="100"/>
                      </a:lnTo>
                      <a:lnTo>
                        <a:pt x="9" y="112"/>
                      </a:lnTo>
                      <a:lnTo>
                        <a:pt x="32" y="132"/>
                      </a:lnTo>
                      <a:lnTo>
                        <a:pt x="3" y="157"/>
                      </a:lnTo>
                      <a:lnTo>
                        <a:pt x="0" y="172"/>
                      </a:lnTo>
                      <a:lnTo>
                        <a:pt x="0" y="176"/>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85" name="01">
                  <a:extLst>
                    <a:ext uri="{FF2B5EF4-FFF2-40B4-BE49-F238E27FC236}">
                      <a16:creationId xmlns:a16="http://schemas.microsoft.com/office/drawing/2014/main" id="{DA59A01D-10E0-4905-B130-BBA48F1987D3}"/>
                    </a:ext>
                  </a:extLst>
                </p:cNvPr>
                <p:cNvSpPr>
                  <a:spLocks/>
                </p:cNvSpPr>
                <p:nvPr/>
              </p:nvSpPr>
              <p:spPr bwMode="gray">
                <a:xfrm>
                  <a:off x="7361089" y="3886514"/>
                  <a:ext cx="514292" cy="468450"/>
                </a:xfrm>
                <a:custGeom>
                  <a:avLst/>
                  <a:gdLst>
                    <a:gd name="T0" fmla="*/ 0 w 359"/>
                    <a:gd name="T1" fmla="*/ 215 h 327"/>
                    <a:gd name="T2" fmla="*/ 36 w 359"/>
                    <a:gd name="T3" fmla="*/ 227 h 327"/>
                    <a:gd name="T4" fmla="*/ 47 w 359"/>
                    <a:gd name="T5" fmla="*/ 262 h 327"/>
                    <a:gd name="T6" fmla="*/ 94 w 359"/>
                    <a:gd name="T7" fmla="*/ 259 h 327"/>
                    <a:gd name="T8" fmla="*/ 130 w 359"/>
                    <a:gd name="T9" fmla="*/ 272 h 327"/>
                    <a:gd name="T10" fmla="*/ 159 w 359"/>
                    <a:gd name="T11" fmla="*/ 232 h 327"/>
                    <a:gd name="T12" fmla="*/ 230 w 359"/>
                    <a:gd name="T13" fmla="*/ 327 h 327"/>
                    <a:gd name="T14" fmla="*/ 266 w 359"/>
                    <a:gd name="T15" fmla="*/ 289 h 327"/>
                    <a:gd name="T16" fmla="*/ 278 w 359"/>
                    <a:gd name="T17" fmla="*/ 208 h 327"/>
                    <a:gd name="T18" fmla="*/ 272 w 359"/>
                    <a:gd name="T19" fmla="*/ 174 h 327"/>
                    <a:gd name="T20" fmla="*/ 270 w 359"/>
                    <a:gd name="T21" fmla="*/ 170 h 327"/>
                    <a:gd name="T22" fmla="*/ 274 w 359"/>
                    <a:gd name="T23" fmla="*/ 149 h 327"/>
                    <a:gd name="T24" fmla="*/ 308 w 359"/>
                    <a:gd name="T25" fmla="*/ 136 h 327"/>
                    <a:gd name="T26" fmla="*/ 310 w 359"/>
                    <a:gd name="T27" fmla="*/ 106 h 327"/>
                    <a:gd name="T28" fmla="*/ 349 w 359"/>
                    <a:gd name="T29" fmla="*/ 91 h 327"/>
                    <a:gd name="T30" fmla="*/ 359 w 359"/>
                    <a:gd name="T31" fmla="*/ 47 h 327"/>
                    <a:gd name="T32" fmla="*/ 332 w 359"/>
                    <a:gd name="T33" fmla="*/ 32 h 327"/>
                    <a:gd name="T34" fmla="*/ 285 w 359"/>
                    <a:gd name="T35" fmla="*/ 89 h 327"/>
                    <a:gd name="T36" fmla="*/ 249 w 359"/>
                    <a:gd name="T37" fmla="*/ 91 h 327"/>
                    <a:gd name="T38" fmla="*/ 227 w 359"/>
                    <a:gd name="T39" fmla="*/ 64 h 327"/>
                    <a:gd name="T40" fmla="*/ 193 w 359"/>
                    <a:gd name="T41" fmla="*/ 91 h 327"/>
                    <a:gd name="T42" fmla="*/ 172 w 359"/>
                    <a:gd name="T43" fmla="*/ 62 h 327"/>
                    <a:gd name="T44" fmla="*/ 166 w 359"/>
                    <a:gd name="T45" fmla="*/ 74 h 327"/>
                    <a:gd name="T46" fmla="*/ 142 w 359"/>
                    <a:gd name="T47" fmla="*/ 26 h 327"/>
                    <a:gd name="T48" fmla="*/ 106 w 359"/>
                    <a:gd name="T49" fmla="*/ 0 h 327"/>
                    <a:gd name="T50" fmla="*/ 77 w 359"/>
                    <a:gd name="T51" fmla="*/ 15 h 327"/>
                    <a:gd name="T52" fmla="*/ 47 w 359"/>
                    <a:gd name="T53" fmla="*/ 4 h 327"/>
                    <a:gd name="T54" fmla="*/ 9 w 359"/>
                    <a:gd name="T55" fmla="*/ 128 h 327"/>
                    <a:gd name="T56" fmla="*/ 0 w 359"/>
                    <a:gd name="T57"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9" h="327">
                      <a:moveTo>
                        <a:pt x="0" y="215"/>
                      </a:moveTo>
                      <a:lnTo>
                        <a:pt x="36" y="227"/>
                      </a:lnTo>
                      <a:lnTo>
                        <a:pt x="47" y="262"/>
                      </a:lnTo>
                      <a:lnTo>
                        <a:pt x="94" y="259"/>
                      </a:lnTo>
                      <a:lnTo>
                        <a:pt x="130" y="272"/>
                      </a:lnTo>
                      <a:lnTo>
                        <a:pt x="159" y="232"/>
                      </a:lnTo>
                      <a:lnTo>
                        <a:pt x="230" y="327"/>
                      </a:lnTo>
                      <a:lnTo>
                        <a:pt x="266" y="289"/>
                      </a:lnTo>
                      <a:lnTo>
                        <a:pt x="278" y="208"/>
                      </a:lnTo>
                      <a:lnTo>
                        <a:pt x="272" y="174"/>
                      </a:lnTo>
                      <a:lnTo>
                        <a:pt x="270" y="170"/>
                      </a:lnTo>
                      <a:lnTo>
                        <a:pt x="274" y="149"/>
                      </a:lnTo>
                      <a:lnTo>
                        <a:pt x="308" y="136"/>
                      </a:lnTo>
                      <a:lnTo>
                        <a:pt x="310" y="106"/>
                      </a:lnTo>
                      <a:lnTo>
                        <a:pt x="349" y="91"/>
                      </a:lnTo>
                      <a:lnTo>
                        <a:pt x="359" y="47"/>
                      </a:lnTo>
                      <a:lnTo>
                        <a:pt x="332" y="32"/>
                      </a:lnTo>
                      <a:lnTo>
                        <a:pt x="285" y="89"/>
                      </a:lnTo>
                      <a:lnTo>
                        <a:pt x="249" y="91"/>
                      </a:lnTo>
                      <a:lnTo>
                        <a:pt x="227" y="64"/>
                      </a:lnTo>
                      <a:lnTo>
                        <a:pt x="193" y="91"/>
                      </a:lnTo>
                      <a:lnTo>
                        <a:pt x="172" y="62"/>
                      </a:lnTo>
                      <a:lnTo>
                        <a:pt x="166" y="74"/>
                      </a:lnTo>
                      <a:lnTo>
                        <a:pt x="142" y="26"/>
                      </a:lnTo>
                      <a:lnTo>
                        <a:pt x="106" y="0"/>
                      </a:lnTo>
                      <a:lnTo>
                        <a:pt x="77" y="15"/>
                      </a:lnTo>
                      <a:lnTo>
                        <a:pt x="47" y="4"/>
                      </a:lnTo>
                      <a:lnTo>
                        <a:pt x="9" y="128"/>
                      </a:lnTo>
                      <a:lnTo>
                        <a:pt x="0" y="215"/>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86" name="07">
                  <a:extLst>
                    <a:ext uri="{FF2B5EF4-FFF2-40B4-BE49-F238E27FC236}">
                      <a16:creationId xmlns:a16="http://schemas.microsoft.com/office/drawing/2014/main" id="{69AC2C24-C8EF-46C2-84C4-279E0D848C80}"/>
                    </a:ext>
                  </a:extLst>
                </p:cNvPr>
                <p:cNvSpPr>
                  <a:spLocks/>
                </p:cNvSpPr>
                <p:nvPr/>
              </p:nvSpPr>
              <p:spPr bwMode="gray">
                <a:xfrm>
                  <a:off x="7044494" y="4495354"/>
                  <a:ext cx="381062" cy="578756"/>
                </a:xfrm>
                <a:custGeom>
                  <a:avLst/>
                  <a:gdLst>
                    <a:gd name="T0" fmla="*/ 2 w 266"/>
                    <a:gd name="T1" fmla="*/ 247 h 404"/>
                    <a:gd name="T2" fmla="*/ 38 w 266"/>
                    <a:gd name="T3" fmla="*/ 332 h 404"/>
                    <a:gd name="T4" fmla="*/ 57 w 266"/>
                    <a:gd name="T5" fmla="*/ 353 h 404"/>
                    <a:gd name="T6" fmla="*/ 53 w 266"/>
                    <a:gd name="T7" fmla="*/ 385 h 404"/>
                    <a:gd name="T8" fmla="*/ 72 w 266"/>
                    <a:gd name="T9" fmla="*/ 379 h 404"/>
                    <a:gd name="T10" fmla="*/ 108 w 266"/>
                    <a:gd name="T11" fmla="*/ 404 h 404"/>
                    <a:gd name="T12" fmla="*/ 125 w 266"/>
                    <a:gd name="T13" fmla="*/ 377 h 404"/>
                    <a:gd name="T14" fmla="*/ 140 w 266"/>
                    <a:gd name="T15" fmla="*/ 372 h 404"/>
                    <a:gd name="T16" fmla="*/ 155 w 266"/>
                    <a:gd name="T17" fmla="*/ 396 h 404"/>
                    <a:gd name="T18" fmla="*/ 170 w 266"/>
                    <a:gd name="T19" fmla="*/ 374 h 404"/>
                    <a:gd name="T20" fmla="*/ 208 w 266"/>
                    <a:gd name="T21" fmla="*/ 398 h 404"/>
                    <a:gd name="T22" fmla="*/ 210 w 266"/>
                    <a:gd name="T23" fmla="*/ 396 h 404"/>
                    <a:gd name="T24" fmla="*/ 210 w 266"/>
                    <a:gd name="T25" fmla="*/ 379 h 404"/>
                    <a:gd name="T26" fmla="*/ 208 w 266"/>
                    <a:gd name="T27" fmla="*/ 377 h 404"/>
                    <a:gd name="T28" fmla="*/ 208 w 266"/>
                    <a:gd name="T29" fmla="*/ 370 h 404"/>
                    <a:gd name="T30" fmla="*/ 221 w 266"/>
                    <a:gd name="T31" fmla="*/ 291 h 404"/>
                    <a:gd name="T32" fmla="*/ 242 w 266"/>
                    <a:gd name="T33" fmla="*/ 260 h 404"/>
                    <a:gd name="T34" fmla="*/ 236 w 266"/>
                    <a:gd name="T35" fmla="*/ 217 h 404"/>
                    <a:gd name="T36" fmla="*/ 266 w 266"/>
                    <a:gd name="T37" fmla="*/ 155 h 404"/>
                    <a:gd name="T38" fmla="*/ 242 w 266"/>
                    <a:gd name="T39" fmla="*/ 24 h 404"/>
                    <a:gd name="T40" fmla="*/ 230 w 266"/>
                    <a:gd name="T41" fmla="*/ 0 h 404"/>
                    <a:gd name="T42" fmla="*/ 193 w 266"/>
                    <a:gd name="T43" fmla="*/ 19 h 404"/>
                    <a:gd name="T44" fmla="*/ 187 w 266"/>
                    <a:gd name="T45" fmla="*/ 45 h 404"/>
                    <a:gd name="T46" fmla="*/ 162 w 266"/>
                    <a:gd name="T47" fmla="*/ 49 h 404"/>
                    <a:gd name="T48" fmla="*/ 153 w 266"/>
                    <a:gd name="T49" fmla="*/ 92 h 404"/>
                    <a:gd name="T50" fmla="*/ 132 w 266"/>
                    <a:gd name="T51" fmla="*/ 83 h 404"/>
                    <a:gd name="T52" fmla="*/ 134 w 266"/>
                    <a:gd name="T53" fmla="*/ 121 h 404"/>
                    <a:gd name="T54" fmla="*/ 113 w 266"/>
                    <a:gd name="T55" fmla="*/ 128 h 404"/>
                    <a:gd name="T56" fmla="*/ 115 w 266"/>
                    <a:gd name="T57" fmla="*/ 145 h 404"/>
                    <a:gd name="T58" fmla="*/ 93 w 266"/>
                    <a:gd name="T59" fmla="*/ 147 h 404"/>
                    <a:gd name="T60" fmla="*/ 76 w 266"/>
                    <a:gd name="T61" fmla="*/ 181 h 404"/>
                    <a:gd name="T62" fmla="*/ 45 w 266"/>
                    <a:gd name="T63" fmla="*/ 183 h 404"/>
                    <a:gd name="T64" fmla="*/ 0 w 266"/>
                    <a:gd name="T65" fmla="*/ 230 h 404"/>
                    <a:gd name="T66" fmla="*/ 0 w 266"/>
                    <a:gd name="T67" fmla="*/ 240 h 404"/>
                    <a:gd name="T68" fmla="*/ 2 w 266"/>
                    <a:gd name="T69" fmla="*/ 24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6" h="404">
                      <a:moveTo>
                        <a:pt x="2" y="247"/>
                      </a:moveTo>
                      <a:lnTo>
                        <a:pt x="38" y="332"/>
                      </a:lnTo>
                      <a:lnTo>
                        <a:pt x="57" y="353"/>
                      </a:lnTo>
                      <a:lnTo>
                        <a:pt x="53" y="385"/>
                      </a:lnTo>
                      <a:lnTo>
                        <a:pt x="72" y="379"/>
                      </a:lnTo>
                      <a:lnTo>
                        <a:pt x="108" y="404"/>
                      </a:lnTo>
                      <a:lnTo>
                        <a:pt x="125" y="377"/>
                      </a:lnTo>
                      <a:lnTo>
                        <a:pt x="140" y="372"/>
                      </a:lnTo>
                      <a:lnTo>
                        <a:pt x="155" y="396"/>
                      </a:lnTo>
                      <a:lnTo>
                        <a:pt x="170" y="374"/>
                      </a:lnTo>
                      <a:lnTo>
                        <a:pt x="208" y="398"/>
                      </a:lnTo>
                      <a:lnTo>
                        <a:pt x="210" y="396"/>
                      </a:lnTo>
                      <a:lnTo>
                        <a:pt x="210" y="379"/>
                      </a:lnTo>
                      <a:lnTo>
                        <a:pt x="208" y="377"/>
                      </a:lnTo>
                      <a:lnTo>
                        <a:pt x="208" y="370"/>
                      </a:lnTo>
                      <a:lnTo>
                        <a:pt x="221" y="291"/>
                      </a:lnTo>
                      <a:lnTo>
                        <a:pt x="242" y="260"/>
                      </a:lnTo>
                      <a:lnTo>
                        <a:pt x="236" y="217"/>
                      </a:lnTo>
                      <a:lnTo>
                        <a:pt x="266" y="155"/>
                      </a:lnTo>
                      <a:lnTo>
                        <a:pt x="242" y="24"/>
                      </a:lnTo>
                      <a:lnTo>
                        <a:pt x="230" y="0"/>
                      </a:lnTo>
                      <a:lnTo>
                        <a:pt x="193" y="19"/>
                      </a:lnTo>
                      <a:lnTo>
                        <a:pt x="187" y="45"/>
                      </a:lnTo>
                      <a:lnTo>
                        <a:pt x="162" y="49"/>
                      </a:lnTo>
                      <a:lnTo>
                        <a:pt x="153" y="92"/>
                      </a:lnTo>
                      <a:lnTo>
                        <a:pt x="132" y="83"/>
                      </a:lnTo>
                      <a:lnTo>
                        <a:pt x="134" y="121"/>
                      </a:lnTo>
                      <a:lnTo>
                        <a:pt x="113" y="128"/>
                      </a:lnTo>
                      <a:lnTo>
                        <a:pt x="115" y="145"/>
                      </a:lnTo>
                      <a:lnTo>
                        <a:pt x="93" y="147"/>
                      </a:lnTo>
                      <a:lnTo>
                        <a:pt x="76" y="181"/>
                      </a:lnTo>
                      <a:lnTo>
                        <a:pt x="45" y="183"/>
                      </a:lnTo>
                      <a:lnTo>
                        <a:pt x="0" y="230"/>
                      </a:lnTo>
                      <a:lnTo>
                        <a:pt x="0" y="240"/>
                      </a:lnTo>
                      <a:lnTo>
                        <a:pt x="2" y="247"/>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87" name="74">
                  <a:extLst>
                    <a:ext uri="{FF2B5EF4-FFF2-40B4-BE49-F238E27FC236}">
                      <a16:creationId xmlns:a16="http://schemas.microsoft.com/office/drawing/2014/main" id="{944CB7D7-664B-4CFB-B0A5-30057C4DEE2B}"/>
                    </a:ext>
                  </a:extLst>
                </p:cNvPr>
                <p:cNvSpPr>
                  <a:spLocks/>
                </p:cNvSpPr>
                <p:nvPr/>
              </p:nvSpPr>
              <p:spPr bwMode="gray">
                <a:xfrm>
                  <a:off x="7747882" y="3935221"/>
                  <a:ext cx="454124" cy="378197"/>
                </a:xfrm>
                <a:custGeom>
                  <a:avLst/>
                  <a:gdLst>
                    <a:gd name="T0" fmla="*/ 8 w 317"/>
                    <a:gd name="T1" fmla="*/ 174 h 264"/>
                    <a:gd name="T2" fmla="*/ 53 w 317"/>
                    <a:gd name="T3" fmla="*/ 242 h 264"/>
                    <a:gd name="T4" fmla="*/ 96 w 317"/>
                    <a:gd name="T5" fmla="*/ 238 h 264"/>
                    <a:gd name="T6" fmla="*/ 121 w 317"/>
                    <a:gd name="T7" fmla="*/ 264 h 264"/>
                    <a:gd name="T8" fmla="*/ 138 w 317"/>
                    <a:gd name="T9" fmla="*/ 259 h 264"/>
                    <a:gd name="T10" fmla="*/ 183 w 317"/>
                    <a:gd name="T11" fmla="*/ 181 h 264"/>
                    <a:gd name="T12" fmla="*/ 232 w 317"/>
                    <a:gd name="T13" fmla="*/ 242 h 264"/>
                    <a:gd name="T14" fmla="*/ 257 w 317"/>
                    <a:gd name="T15" fmla="*/ 223 h 264"/>
                    <a:gd name="T16" fmla="*/ 261 w 317"/>
                    <a:gd name="T17" fmla="*/ 202 h 264"/>
                    <a:gd name="T18" fmla="*/ 293 w 317"/>
                    <a:gd name="T19" fmla="*/ 198 h 264"/>
                    <a:gd name="T20" fmla="*/ 317 w 317"/>
                    <a:gd name="T21" fmla="*/ 168 h 264"/>
                    <a:gd name="T22" fmla="*/ 289 w 317"/>
                    <a:gd name="T23" fmla="*/ 119 h 264"/>
                    <a:gd name="T24" fmla="*/ 272 w 317"/>
                    <a:gd name="T25" fmla="*/ 123 h 264"/>
                    <a:gd name="T26" fmla="*/ 276 w 317"/>
                    <a:gd name="T27" fmla="*/ 98 h 264"/>
                    <a:gd name="T28" fmla="*/ 251 w 317"/>
                    <a:gd name="T29" fmla="*/ 91 h 264"/>
                    <a:gd name="T30" fmla="*/ 266 w 317"/>
                    <a:gd name="T31" fmla="*/ 38 h 264"/>
                    <a:gd name="T32" fmla="*/ 242 w 317"/>
                    <a:gd name="T33" fmla="*/ 17 h 264"/>
                    <a:gd name="T34" fmla="*/ 249 w 317"/>
                    <a:gd name="T35" fmla="*/ 0 h 264"/>
                    <a:gd name="T36" fmla="*/ 174 w 317"/>
                    <a:gd name="T37" fmla="*/ 0 h 264"/>
                    <a:gd name="T38" fmla="*/ 145 w 317"/>
                    <a:gd name="T39" fmla="*/ 23 h 264"/>
                    <a:gd name="T40" fmla="*/ 128 w 317"/>
                    <a:gd name="T41" fmla="*/ 13 h 264"/>
                    <a:gd name="T42" fmla="*/ 108 w 317"/>
                    <a:gd name="T43" fmla="*/ 47 h 264"/>
                    <a:gd name="T44" fmla="*/ 123 w 317"/>
                    <a:gd name="T45" fmla="*/ 66 h 264"/>
                    <a:gd name="T46" fmla="*/ 83 w 317"/>
                    <a:gd name="T47" fmla="*/ 98 h 264"/>
                    <a:gd name="T48" fmla="*/ 38 w 317"/>
                    <a:gd name="T49" fmla="*/ 102 h 264"/>
                    <a:gd name="T50" fmla="*/ 4 w 317"/>
                    <a:gd name="T51" fmla="*/ 115 h 264"/>
                    <a:gd name="T52" fmla="*/ 0 w 317"/>
                    <a:gd name="T53" fmla="*/ 136 h 264"/>
                    <a:gd name="T54" fmla="*/ 2 w 317"/>
                    <a:gd name="T55" fmla="*/ 14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7" h="264">
                      <a:moveTo>
                        <a:pt x="8" y="174"/>
                      </a:moveTo>
                      <a:lnTo>
                        <a:pt x="53" y="242"/>
                      </a:lnTo>
                      <a:lnTo>
                        <a:pt x="96" y="238"/>
                      </a:lnTo>
                      <a:lnTo>
                        <a:pt x="121" y="264"/>
                      </a:lnTo>
                      <a:lnTo>
                        <a:pt x="138" y="259"/>
                      </a:lnTo>
                      <a:lnTo>
                        <a:pt x="183" y="181"/>
                      </a:lnTo>
                      <a:lnTo>
                        <a:pt x="232" y="242"/>
                      </a:lnTo>
                      <a:lnTo>
                        <a:pt x="257" y="223"/>
                      </a:lnTo>
                      <a:lnTo>
                        <a:pt x="261" y="202"/>
                      </a:lnTo>
                      <a:lnTo>
                        <a:pt x="293" y="198"/>
                      </a:lnTo>
                      <a:lnTo>
                        <a:pt x="317" y="168"/>
                      </a:lnTo>
                      <a:lnTo>
                        <a:pt x="289" y="119"/>
                      </a:lnTo>
                      <a:lnTo>
                        <a:pt x="272" y="123"/>
                      </a:lnTo>
                      <a:lnTo>
                        <a:pt x="276" y="98"/>
                      </a:lnTo>
                      <a:lnTo>
                        <a:pt x="251" y="91"/>
                      </a:lnTo>
                      <a:lnTo>
                        <a:pt x="266" y="38"/>
                      </a:lnTo>
                      <a:lnTo>
                        <a:pt x="242" y="17"/>
                      </a:lnTo>
                      <a:lnTo>
                        <a:pt x="249" y="0"/>
                      </a:lnTo>
                      <a:lnTo>
                        <a:pt x="174" y="0"/>
                      </a:lnTo>
                      <a:lnTo>
                        <a:pt x="145" y="23"/>
                      </a:lnTo>
                      <a:lnTo>
                        <a:pt x="128" y="13"/>
                      </a:lnTo>
                      <a:lnTo>
                        <a:pt x="108" y="47"/>
                      </a:lnTo>
                      <a:lnTo>
                        <a:pt x="123" y="66"/>
                      </a:lnTo>
                      <a:lnTo>
                        <a:pt x="83" y="98"/>
                      </a:lnTo>
                      <a:lnTo>
                        <a:pt x="38" y="102"/>
                      </a:lnTo>
                      <a:lnTo>
                        <a:pt x="4" y="115"/>
                      </a:lnTo>
                      <a:lnTo>
                        <a:pt x="0" y="136"/>
                      </a:lnTo>
                      <a:lnTo>
                        <a:pt x="2" y="140"/>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grpSp>
            <p:nvGrpSpPr>
              <p:cNvPr id="375" name="Auvergne (Formes)">
                <a:extLst>
                  <a:ext uri="{FF2B5EF4-FFF2-40B4-BE49-F238E27FC236}">
                    <a16:creationId xmlns:a16="http://schemas.microsoft.com/office/drawing/2014/main" id="{60B6B70C-0AAA-4970-B7BE-FCA21120BF62}"/>
                  </a:ext>
                </a:extLst>
              </p:cNvPr>
              <p:cNvGrpSpPr/>
              <p:nvPr/>
            </p:nvGrpSpPr>
            <p:grpSpPr>
              <a:xfrm>
                <a:off x="6376919" y="3746123"/>
                <a:ext cx="899651" cy="1138888"/>
                <a:chOff x="6376919" y="3746123"/>
                <a:chExt cx="899651" cy="1138888"/>
              </a:xfrm>
              <a:grpFill/>
            </p:grpSpPr>
            <p:sp>
              <p:nvSpPr>
                <p:cNvPr id="376" name="15">
                  <a:extLst>
                    <a:ext uri="{FF2B5EF4-FFF2-40B4-BE49-F238E27FC236}">
                      <a16:creationId xmlns:a16="http://schemas.microsoft.com/office/drawing/2014/main" id="{7CF7781C-6056-48FB-909E-B4469D92A223}"/>
                    </a:ext>
                  </a:extLst>
                </p:cNvPr>
                <p:cNvSpPr>
                  <a:spLocks/>
                </p:cNvSpPr>
                <p:nvPr/>
              </p:nvSpPr>
              <p:spPr bwMode="gray">
                <a:xfrm>
                  <a:off x="6376919" y="4435186"/>
                  <a:ext cx="481342" cy="449825"/>
                </a:xfrm>
                <a:custGeom>
                  <a:avLst/>
                  <a:gdLst>
                    <a:gd name="T0" fmla="*/ 3 w 336"/>
                    <a:gd name="T1" fmla="*/ 191 h 314"/>
                    <a:gd name="T2" fmla="*/ 28 w 336"/>
                    <a:gd name="T3" fmla="*/ 251 h 314"/>
                    <a:gd name="T4" fmla="*/ 15 w 336"/>
                    <a:gd name="T5" fmla="*/ 285 h 314"/>
                    <a:gd name="T6" fmla="*/ 37 w 336"/>
                    <a:gd name="T7" fmla="*/ 314 h 314"/>
                    <a:gd name="T8" fmla="*/ 66 w 336"/>
                    <a:gd name="T9" fmla="*/ 297 h 314"/>
                    <a:gd name="T10" fmla="*/ 107 w 336"/>
                    <a:gd name="T11" fmla="*/ 304 h 314"/>
                    <a:gd name="T12" fmla="*/ 141 w 336"/>
                    <a:gd name="T13" fmla="*/ 231 h 314"/>
                    <a:gd name="T14" fmla="*/ 175 w 336"/>
                    <a:gd name="T15" fmla="*/ 200 h 314"/>
                    <a:gd name="T16" fmla="*/ 183 w 336"/>
                    <a:gd name="T17" fmla="*/ 227 h 314"/>
                    <a:gd name="T18" fmla="*/ 207 w 336"/>
                    <a:gd name="T19" fmla="*/ 223 h 314"/>
                    <a:gd name="T20" fmla="*/ 226 w 336"/>
                    <a:gd name="T21" fmla="*/ 257 h 314"/>
                    <a:gd name="T22" fmla="*/ 236 w 336"/>
                    <a:gd name="T23" fmla="*/ 308 h 314"/>
                    <a:gd name="T24" fmla="*/ 241 w 336"/>
                    <a:gd name="T25" fmla="*/ 302 h 314"/>
                    <a:gd name="T26" fmla="*/ 268 w 336"/>
                    <a:gd name="T27" fmla="*/ 221 h 314"/>
                    <a:gd name="T28" fmla="*/ 290 w 336"/>
                    <a:gd name="T29" fmla="*/ 227 h 314"/>
                    <a:gd name="T30" fmla="*/ 304 w 336"/>
                    <a:gd name="T31" fmla="*/ 200 h 314"/>
                    <a:gd name="T32" fmla="*/ 336 w 336"/>
                    <a:gd name="T33" fmla="*/ 189 h 314"/>
                    <a:gd name="T34" fmla="*/ 317 w 336"/>
                    <a:gd name="T35" fmla="*/ 140 h 314"/>
                    <a:gd name="T36" fmla="*/ 334 w 336"/>
                    <a:gd name="T37" fmla="*/ 140 h 314"/>
                    <a:gd name="T38" fmla="*/ 300 w 336"/>
                    <a:gd name="T39" fmla="*/ 78 h 314"/>
                    <a:gd name="T40" fmla="*/ 264 w 336"/>
                    <a:gd name="T41" fmla="*/ 72 h 314"/>
                    <a:gd name="T42" fmla="*/ 264 w 336"/>
                    <a:gd name="T43" fmla="*/ 68 h 314"/>
                    <a:gd name="T44" fmla="*/ 270 w 336"/>
                    <a:gd name="T45" fmla="*/ 49 h 314"/>
                    <a:gd name="T46" fmla="*/ 245 w 336"/>
                    <a:gd name="T47" fmla="*/ 72 h 314"/>
                    <a:gd name="T48" fmla="*/ 213 w 336"/>
                    <a:gd name="T49" fmla="*/ 36 h 314"/>
                    <a:gd name="T50" fmla="*/ 168 w 336"/>
                    <a:gd name="T51" fmla="*/ 36 h 314"/>
                    <a:gd name="T52" fmla="*/ 162 w 336"/>
                    <a:gd name="T53" fmla="*/ 17 h 314"/>
                    <a:gd name="T54" fmla="*/ 117 w 336"/>
                    <a:gd name="T55" fmla="*/ 0 h 314"/>
                    <a:gd name="T56" fmla="*/ 119 w 336"/>
                    <a:gd name="T57" fmla="*/ 36 h 314"/>
                    <a:gd name="T58" fmla="*/ 77 w 336"/>
                    <a:gd name="T59" fmla="*/ 25 h 314"/>
                    <a:gd name="T60" fmla="*/ 77 w 336"/>
                    <a:gd name="T61" fmla="*/ 51 h 314"/>
                    <a:gd name="T62" fmla="*/ 37 w 336"/>
                    <a:gd name="T63" fmla="*/ 93 h 314"/>
                    <a:gd name="T64" fmla="*/ 45 w 336"/>
                    <a:gd name="T65" fmla="*/ 112 h 314"/>
                    <a:gd name="T66" fmla="*/ 28 w 336"/>
                    <a:gd name="T67" fmla="*/ 144 h 314"/>
                    <a:gd name="T68" fmla="*/ 9 w 336"/>
                    <a:gd name="T69" fmla="*/ 155 h 314"/>
                    <a:gd name="T70" fmla="*/ 20 w 336"/>
                    <a:gd name="T71" fmla="*/ 180 h 314"/>
                    <a:gd name="T72" fmla="*/ 0 w 336"/>
                    <a:gd name="T73" fmla="*/ 183 h 314"/>
                    <a:gd name="T74" fmla="*/ 3 w 336"/>
                    <a:gd name="T75" fmla="*/ 191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6" h="314">
                      <a:moveTo>
                        <a:pt x="3" y="191"/>
                      </a:moveTo>
                      <a:lnTo>
                        <a:pt x="28" y="251"/>
                      </a:lnTo>
                      <a:lnTo>
                        <a:pt x="15" y="285"/>
                      </a:lnTo>
                      <a:lnTo>
                        <a:pt x="37" y="314"/>
                      </a:lnTo>
                      <a:lnTo>
                        <a:pt x="66" y="297"/>
                      </a:lnTo>
                      <a:lnTo>
                        <a:pt x="107" y="304"/>
                      </a:lnTo>
                      <a:lnTo>
                        <a:pt x="141" y="231"/>
                      </a:lnTo>
                      <a:lnTo>
                        <a:pt x="175" y="200"/>
                      </a:lnTo>
                      <a:lnTo>
                        <a:pt x="183" y="227"/>
                      </a:lnTo>
                      <a:lnTo>
                        <a:pt x="207" y="223"/>
                      </a:lnTo>
                      <a:lnTo>
                        <a:pt x="226" y="257"/>
                      </a:lnTo>
                      <a:lnTo>
                        <a:pt x="236" y="308"/>
                      </a:lnTo>
                      <a:lnTo>
                        <a:pt x="241" y="302"/>
                      </a:lnTo>
                      <a:lnTo>
                        <a:pt x="268" y="221"/>
                      </a:lnTo>
                      <a:lnTo>
                        <a:pt x="290" y="227"/>
                      </a:lnTo>
                      <a:lnTo>
                        <a:pt x="304" y="200"/>
                      </a:lnTo>
                      <a:lnTo>
                        <a:pt x="336" y="189"/>
                      </a:lnTo>
                      <a:lnTo>
                        <a:pt x="317" y="140"/>
                      </a:lnTo>
                      <a:lnTo>
                        <a:pt x="334" y="140"/>
                      </a:lnTo>
                      <a:lnTo>
                        <a:pt x="300" y="78"/>
                      </a:lnTo>
                      <a:lnTo>
                        <a:pt x="264" y="72"/>
                      </a:lnTo>
                      <a:lnTo>
                        <a:pt x="264" y="68"/>
                      </a:lnTo>
                      <a:lnTo>
                        <a:pt x="270" y="49"/>
                      </a:lnTo>
                      <a:lnTo>
                        <a:pt x="245" y="72"/>
                      </a:lnTo>
                      <a:lnTo>
                        <a:pt x="213" y="36"/>
                      </a:lnTo>
                      <a:lnTo>
                        <a:pt x="168" y="36"/>
                      </a:lnTo>
                      <a:lnTo>
                        <a:pt x="162" y="17"/>
                      </a:lnTo>
                      <a:lnTo>
                        <a:pt x="117" y="0"/>
                      </a:lnTo>
                      <a:lnTo>
                        <a:pt x="119" y="36"/>
                      </a:lnTo>
                      <a:lnTo>
                        <a:pt x="77" y="25"/>
                      </a:lnTo>
                      <a:lnTo>
                        <a:pt x="77" y="51"/>
                      </a:lnTo>
                      <a:lnTo>
                        <a:pt x="37" y="93"/>
                      </a:lnTo>
                      <a:lnTo>
                        <a:pt x="45" y="112"/>
                      </a:lnTo>
                      <a:lnTo>
                        <a:pt x="28" y="144"/>
                      </a:lnTo>
                      <a:lnTo>
                        <a:pt x="9" y="155"/>
                      </a:lnTo>
                      <a:lnTo>
                        <a:pt x="20" y="180"/>
                      </a:lnTo>
                      <a:lnTo>
                        <a:pt x="0" y="183"/>
                      </a:lnTo>
                      <a:lnTo>
                        <a:pt x="3" y="191"/>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77" name="63">
                  <a:extLst>
                    <a:ext uri="{FF2B5EF4-FFF2-40B4-BE49-F238E27FC236}">
                      <a16:creationId xmlns:a16="http://schemas.microsoft.com/office/drawing/2014/main" id="{3F495E3E-7CC5-4FA3-998A-313B2FBD0ABE}"/>
                    </a:ext>
                  </a:extLst>
                </p:cNvPr>
                <p:cNvSpPr>
                  <a:spLocks/>
                </p:cNvSpPr>
                <p:nvPr/>
              </p:nvSpPr>
              <p:spPr bwMode="gray">
                <a:xfrm>
                  <a:off x="6502984" y="4035501"/>
                  <a:ext cx="584487" cy="502831"/>
                </a:xfrm>
                <a:custGeom>
                  <a:avLst/>
                  <a:gdLst>
                    <a:gd name="T0" fmla="*/ 4 w 408"/>
                    <a:gd name="T1" fmla="*/ 147 h 351"/>
                    <a:gd name="T2" fmla="*/ 57 w 408"/>
                    <a:gd name="T3" fmla="*/ 98 h 351"/>
                    <a:gd name="T4" fmla="*/ 46 w 408"/>
                    <a:gd name="T5" fmla="*/ 38 h 351"/>
                    <a:gd name="T6" fmla="*/ 61 w 408"/>
                    <a:gd name="T7" fmla="*/ 45 h 351"/>
                    <a:gd name="T8" fmla="*/ 89 w 408"/>
                    <a:gd name="T9" fmla="*/ 9 h 351"/>
                    <a:gd name="T10" fmla="*/ 106 w 408"/>
                    <a:gd name="T11" fmla="*/ 17 h 351"/>
                    <a:gd name="T12" fmla="*/ 110 w 408"/>
                    <a:gd name="T13" fmla="*/ 2 h 351"/>
                    <a:gd name="T14" fmla="*/ 138 w 408"/>
                    <a:gd name="T15" fmla="*/ 0 h 351"/>
                    <a:gd name="T16" fmla="*/ 148 w 408"/>
                    <a:gd name="T17" fmla="*/ 45 h 351"/>
                    <a:gd name="T18" fmla="*/ 202 w 408"/>
                    <a:gd name="T19" fmla="*/ 66 h 351"/>
                    <a:gd name="T20" fmla="*/ 270 w 408"/>
                    <a:gd name="T21" fmla="*/ 66 h 351"/>
                    <a:gd name="T22" fmla="*/ 274 w 408"/>
                    <a:gd name="T23" fmla="*/ 87 h 351"/>
                    <a:gd name="T24" fmla="*/ 306 w 408"/>
                    <a:gd name="T25" fmla="*/ 81 h 351"/>
                    <a:gd name="T26" fmla="*/ 331 w 408"/>
                    <a:gd name="T27" fmla="*/ 115 h 351"/>
                    <a:gd name="T28" fmla="*/ 348 w 408"/>
                    <a:gd name="T29" fmla="*/ 132 h 351"/>
                    <a:gd name="T30" fmla="*/ 333 w 408"/>
                    <a:gd name="T31" fmla="*/ 166 h 351"/>
                    <a:gd name="T32" fmla="*/ 408 w 408"/>
                    <a:gd name="T33" fmla="*/ 277 h 351"/>
                    <a:gd name="T34" fmla="*/ 386 w 408"/>
                    <a:gd name="T35" fmla="*/ 328 h 351"/>
                    <a:gd name="T36" fmla="*/ 331 w 408"/>
                    <a:gd name="T37" fmla="*/ 317 h 351"/>
                    <a:gd name="T38" fmla="*/ 316 w 408"/>
                    <a:gd name="T39" fmla="*/ 332 h 351"/>
                    <a:gd name="T40" fmla="*/ 282 w 408"/>
                    <a:gd name="T41" fmla="*/ 302 h 351"/>
                    <a:gd name="T42" fmla="*/ 246 w 408"/>
                    <a:gd name="T43" fmla="*/ 302 h 351"/>
                    <a:gd name="T44" fmla="*/ 182 w 408"/>
                    <a:gd name="T45" fmla="*/ 328 h 351"/>
                    <a:gd name="T46" fmla="*/ 157 w 408"/>
                    <a:gd name="T47" fmla="*/ 351 h 351"/>
                    <a:gd name="T48" fmla="*/ 125 w 408"/>
                    <a:gd name="T49" fmla="*/ 315 h 351"/>
                    <a:gd name="T50" fmla="*/ 80 w 408"/>
                    <a:gd name="T51" fmla="*/ 315 h 351"/>
                    <a:gd name="T52" fmla="*/ 74 w 408"/>
                    <a:gd name="T53" fmla="*/ 296 h 351"/>
                    <a:gd name="T54" fmla="*/ 29 w 408"/>
                    <a:gd name="T55" fmla="*/ 279 h 351"/>
                    <a:gd name="T56" fmla="*/ 25 w 408"/>
                    <a:gd name="T57" fmla="*/ 185 h 351"/>
                    <a:gd name="T58" fmla="*/ 0 w 408"/>
                    <a:gd name="T59" fmla="*/ 151 h 351"/>
                    <a:gd name="T60" fmla="*/ 4 w 408"/>
                    <a:gd name="T61" fmla="*/ 147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8" h="351">
                      <a:moveTo>
                        <a:pt x="4" y="147"/>
                      </a:moveTo>
                      <a:lnTo>
                        <a:pt x="57" y="98"/>
                      </a:lnTo>
                      <a:lnTo>
                        <a:pt x="46" y="38"/>
                      </a:lnTo>
                      <a:lnTo>
                        <a:pt x="61" y="45"/>
                      </a:lnTo>
                      <a:lnTo>
                        <a:pt x="89" y="9"/>
                      </a:lnTo>
                      <a:lnTo>
                        <a:pt x="106" y="17"/>
                      </a:lnTo>
                      <a:lnTo>
                        <a:pt x="110" y="2"/>
                      </a:lnTo>
                      <a:lnTo>
                        <a:pt x="138" y="0"/>
                      </a:lnTo>
                      <a:lnTo>
                        <a:pt x="148" y="45"/>
                      </a:lnTo>
                      <a:lnTo>
                        <a:pt x="202" y="66"/>
                      </a:lnTo>
                      <a:lnTo>
                        <a:pt x="270" y="66"/>
                      </a:lnTo>
                      <a:lnTo>
                        <a:pt x="274" y="87"/>
                      </a:lnTo>
                      <a:lnTo>
                        <a:pt x="306" y="81"/>
                      </a:lnTo>
                      <a:lnTo>
                        <a:pt x="331" y="115"/>
                      </a:lnTo>
                      <a:lnTo>
                        <a:pt x="348" y="132"/>
                      </a:lnTo>
                      <a:lnTo>
                        <a:pt x="333" y="166"/>
                      </a:lnTo>
                      <a:lnTo>
                        <a:pt x="408" y="277"/>
                      </a:lnTo>
                      <a:lnTo>
                        <a:pt x="386" y="328"/>
                      </a:lnTo>
                      <a:lnTo>
                        <a:pt x="331" y="317"/>
                      </a:lnTo>
                      <a:lnTo>
                        <a:pt x="316" y="332"/>
                      </a:lnTo>
                      <a:lnTo>
                        <a:pt x="282" y="302"/>
                      </a:lnTo>
                      <a:lnTo>
                        <a:pt x="246" y="302"/>
                      </a:lnTo>
                      <a:lnTo>
                        <a:pt x="182" y="328"/>
                      </a:lnTo>
                      <a:lnTo>
                        <a:pt x="157" y="351"/>
                      </a:lnTo>
                      <a:lnTo>
                        <a:pt x="125" y="315"/>
                      </a:lnTo>
                      <a:lnTo>
                        <a:pt x="80" y="315"/>
                      </a:lnTo>
                      <a:lnTo>
                        <a:pt x="74" y="296"/>
                      </a:lnTo>
                      <a:lnTo>
                        <a:pt x="29" y="279"/>
                      </a:lnTo>
                      <a:lnTo>
                        <a:pt x="25" y="185"/>
                      </a:lnTo>
                      <a:lnTo>
                        <a:pt x="0" y="151"/>
                      </a:lnTo>
                      <a:lnTo>
                        <a:pt x="4" y="147"/>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78" name="43">
                  <a:extLst>
                    <a:ext uri="{FF2B5EF4-FFF2-40B4-BE49-F238E27FC236}">
                      <a16:creationId xmlns:a16="http://schemas.microsoft.com/office/drawing/2014/main" id="{3E2E7A5A-1BCC-40DE-BE42-DA91BE0AEB73}"/>
                    </a:ext>
                  </a:extLst>
                </p:cNvPr>
                <p:cNvSpPr>
                  <a:spLocks/>
                </p:cNvSpPr>
                <p:nvPr/>
              </p:nvSpPr>
              <p:spPr bwMode="gray">
                <a:xfrm>
                  <a:off x="6755116" y="4468136"/>
                  <a:ext cx="521454" cy="356709"/>
                </a:xfrm>
                <a:custGeom>
                  <a:avLst/>
                  <a:gdLst>
                    <a:gd name="T0" fmla="*/ 0 w 364"/>
                    <a:gd name="T1" fmla="*/ 45 h 249"/>
                    <a:gd name="T2" fmla="*/ 6 w 364"/>
                    <a:gd name="T3" fmla="*/ 26 h 249"/>
                    <a:gd name="T4" fmla="*/ 70 w 364"/>
                    <a:gd name="T5" fmla="*/ 0 h 249"/>
                    <a:gd name="T6" fmla="*/ 106 w 364"/>
                    <a:gd name="T7" fmla="*/ 0 h 249"/>
                    <a:gd name="T8" fmla="*/ 140 w 364"/>
                    <a:gd name="T9" fmla="*/ 30 h 249"/>
                    <a:gd name="T10" fmla="*/ 155 w 364"/>
                    <a:gd name="T11" fmla="*/ 15 h 249"/>
                    <a:gd name="T12" fmla="*/ 210 w 364"/>
                    <a:gd name="T13" fmla="*/ 26 h 249"/>
                    <a:gd name="T14" fmla="*/ 255 w 364"/>
                    <a:gd name="T15" fmla="*/ 30 h 249"/>
                    <a:gd name="T16" fmla="*/ 281 w 364"/>
                    <a:gd name="T17" fmla="*/ 11 h 249"/>
                    <a:gd name="T18" fmla="*/ 323 w 364"/>
                    <a:gd name="T19" fmla="*/ 19 h 249"/>
                    <a:gd name="T20" fmla="*/ 327 w 364"/>
                    <a:gd name="T21" fmla="*/ 51 h 249"/>
                    <a:gd name="T22" fmla="*/ 364 w 364"/>
                    <a:gd name="T23" fmla="*/ 68 h 249"/>
                    <a:gd name="T24" fmla="*/ 355 w 364"/>
                    <a:gd name="T25" fmla="*/ 111 h 249"/>
                    <a:gd name="T26" fmla="*/ 334 w 364"/>
                    <a:gd name="T27" fmla="*/ 102 h 249"/>
                    <a:gd name="T28" fmla="*/ 336 w 364"/>
                    <a:gd name="T29" fmla="*/ 140 h 249"/>
                    <a:gd name="T30" fmla="*/ 315 w 364"/>
                    <a:gd name="T31" fmla="*/ 147 h 249"/>
                    <a:gd name="T32" fmla="*/ 317 w 364"/>
                    <a:gd name="T33" fmla="*/ 164 h 249"/>
                    <a:gd name="T34" fmla="*/ 295 w 364"/>
                    <a:gd name="T35" fmla="*/ 166 h 249"/>
                    <a:gd name="T36" fmla="*/ 278 w 364"/>
                    <a:gd name="T37" fmla="*/ 200 h 249"/>
                    <a:gd name="T38" fmla="*/ 247 w 364"/>
                    <a:gd name="T39" fmla="*/ 202 h 249"/>
                    <a:gd name="T40" fmla="*/ 202 w 364"/>
                    <a:gd name="T41" fmla="*/ 249 h 249"/>
                    <a:gd name="T42" fmla="*/ 147 w 364"/>
                    <a:gd name="T43" fmla="*/ 200 h 249"/>
                    <a:gd name="T44" fmla="*/ 102 w 364"/>
                    <a:gd name="T45" fmla="*/ 225 h 249"/>
                    <a:gd name="T46" fmla="*/ 72 w 364"/>
                    <a:gd name="T47" fmla="*/ 166 h 249"/>
                    <a:gd name="T48" fmla="*/ 53 w 364"/>
                    <a:gd name="T49" fmla="*/ 117 h 249"/>
                    <a:gd name="T50" fmla="*/ 70 w 364"/>
                    <a:gd name="T51" fmla="*/ 117 h 249"/>
                    <a:gd name="T52" fmla="*/ 36 w 364"/>
                    <a:gd name="T53" fmla="*/ 55 h 249"/>
                    <a:gd name="T54" fmla="*/ 0 w 364"/>
                    <a:gd name="T55" fmla="*/ 49 h 249"/>
                    <a:gd name="T56" fmla="*/ 0 w 364"/>
                    <a:gd name="T57" fmla="*/ 4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4" h="249">
                      <a:moveTo>
                        <a:pt x="0" y="45"/>
                      </a:moveTo>
                      <a:lnTo>
                        <a:pt x="6" y="26"/>
                      </a:lnTo>
                      <a:lnTo>
                        <a:pt x="70" y="0"/>
                      </a:lnTo>
                      <a:lnTo>
                        <a:pt x="106" y="0"/>
                      </a:lnTo>
                      <a:lnTo>
                        <a:pt x="140" y="30"/>
                      </a:lnTo>
                      <a:lnTo>
                        <a:pt x="155" y="15"/>
                      </a:lnTo>
                      <a:lnTo>
                        <a:pt x="210" y="26"/>
                      </a:lnTo>
                      <a:lnTo>
                        <a:pt x="255" y="30"/>
                      </a:lnTo>
                      <a:lnTo>
                        <a:pt x="281" y="11"/>
                      </a:lnTo>
                      <a:lnTo>
                        <a:pt x="323" y="19"/>
                      </a:lnTo>
                      <a:lnTo>
                        <a:pt x="327" y="51"/>
                      </a:lnTo>
                      <a:lnTo>
                        <a:pt x="364" y="68"/>
                      </a:lnTo>
                      <a:lnTo>
                        <a:pt x="355" y="111"/>
                      </a:lnTo>
                      <a:lnTo>
                        <a:pt x="334" y="102"/>
                      </a:lnTo>
                      <a:lnTo>
                        <a:pt x="336" y="140"/>
                      </a:lnTo>
                      <a:lnTo>
                        <a:pt x="315" y="147"/>
                      </a:lnTo>
                      <a:lnTo>
                        <a:pt x="317" y="164"/>
                      </a:lnTo>
                      <a:lnTo>
                        <a:pt x="295" y="166"/>
                      </a:lnTo>
                      <a:lnTo>
                        <a:pt x="278" y="200"/>
                      </a:lnTo>
                      <a:lnTo>
                        <a:pt x="247" y="202"/>
                      </a:lnTo>
                      <a:lnTo>
                        <a:pt x="202" y="249"/>
                      </a:lnTo>
                      <a:lnTo>
                        <a:pt x="147" y="200"/>
                      </a:lnTo>
                      <a:lnTo>
                        <a:pt x="102" y="225"/>
                      </a:lnTo>
                      <a:lnTo>
                        <a:pt x="72" y="166"/>
                      </a:lnTo>
                      <a:lnTo>
                        <a:pt x="53" y="117"/>
                      </a:lnTo>
                      <a:lnTo>
                        <a:pt x="70" y="117"/>
                      </a:lnTo>
                      <a:lnTo>
                        <a:pt x="36" y="55"/>
                      </a:lnTo>
                      <a:lnTo>
                        <a:pt x="0" y="49"/>
                      </a:lnTo>
                      <a:lnTo>
                        <a:pt x="0" y="45"/>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79" name="03">
                  <a:extLst>
                    <a:ext uri="{FF2B5EF4-FFF2-40B4-BE49-F238E27FC236}">
                      <a16:creationId xmlns:a16="http://schemas.microsoft.com/office/drawing/2014/main" id="{773BD394-4479-4CC3-A434-FEC876FAD6BD}"/>
                    </a:ext>
                  </a:extLst>
                </p:cNvPr>
                <p:cNvSpPr>
                  <a:spLocks/>
                </p:cNvSpPr>
                <p:nvPr/>
              </p:nvSpPr>
              <p:spPr bwMode="gray">
                <a:xfrm>
                  <a:off x="6462872" y="3746123"/>
                  <a:ext cx="627464" cy="454123"/>
                </a:xfrm>
                <a:custGeom>
                  <a:avLst/>
                  <a:gdLst>
                    <a:gd name="T0" fmla="*/ 4 w 438"/>
                    <a:gd name="T1" fmla="*/ 138 h 317"/>
                    <a:gd name="T2" fmla="*/ 8 w 438"/>
                    <a:gd name="T3" fmla="*/ 164 h 317"/>
                    <a:gd name="T4" fmla="*/ 53 w 438"/>
                    <a:gd name="T5" fmla="*/ 189 h 317"/>
                    <a:gd name="T6" fmla="*/ 74 w 438"/>
                    <a:gd name="T7" fmla="*/ 240 h 317"/>
                    <a:gd name="T8" fmla="*/ 89 w 438"/>
                    <a:gd name="T9" fmla="*/ 247 h 317"/>
                    <a:gd name="T10" fmla="*/ 117 w 438"/>
                    <a:gd name="T11" fmla="*/ 211 h 317"/>
                    <a:gd name="T12" fmla="*/ 134 w 438"/>
                    <a:gd name="T13" fmla="*/ 219 h 317"/>
                    <a:gd name="T14" fmla="*/ 138 w 438"/>
                    <a:gd name="T15" fmla="*/ 204 h 317"/>
                    <a:gd name="T16" fmla="*/ 166 w 438"/>
                    <a:gd name="T17" fmla="*/ 202 h 317"/>
                    <a:gd name="T18" fmla="*/ 176 w 438"/>
                    <a:gd name="T19" fmla="*/ 247 h 317"/>
                    <a:gd name="T20" fmla="*/ 230 w 438"/>
                    <a:gd name="T21" fmla="*/ 268 h 317"/>
                    <a:gd name="T22" fmla="*/ 298 w 438"/>
                    <a:gd name="T23" fmla="*/ 268 h 317"/>
                    <a:gd name="T24" fmla="*/ 302 w 438"/>
                    <a:gd name="T25" fmla="*/ 289 h 317"/>
                    <a:gd name="T26" fmla="*/ 334 w 438"/>
                    <a:gd name="T27" fmla="*/ 283 h 317"/>
                    <a:gd name="T28" fmla="*/ 359 w 438"/>
                    <a:gd name="T29" fmla="*/ 317 h 317"/>
                    <a:gd name="T30" fmla="*/ 361 w 438"/>
                    <a:gd name="T31" fmla="*/ 315 h 317"/>
                    <a:gd name="T32" fmla="*/ 393 w 438"/>
                    <a:gd name="T33" fmla="*/ 296 h 317"/>
                    <a:gd name="T34" fmla="*/ 380 w 438"/>
                    <a:gd name="T35" fmla="*/ 211 h 317"/>
                    <a:gd name="T36" fmla="*/ 412 w 438"/>
                    <a:gd name="T37" fmla="*/ 192 h 317"/>
                    <a:gd name="T38" fmla="*/ 438 w 438"/>
                    <a:gd name="T39" fmla="*/ 175 h 317"/>
                    <a:gd name="T40" fmla="*/ 438 w 438"/>
                    <a:gd name="T41" fmla="*/ 130 h 317"/>
                    <a:gd name="T42" fmla="*/ 372 w 438"/>
                    <a:gd name="T43" fmla="*/ 96 h 317"/>
                    <a:gd name="T44" fmla="*/ 342 w 438"/>
                    <a:gd name="T45" fmla="*/ 21 h 317"/>
                    <a:gd name="T46" fmla="*/ 344 w 438"/>
                    <a:gd name="T47" fmla="*/ 19 h 317"/>
                    <a:gd name="T48" fmla="*/ 300 w 438"/>
                    <a:gd name="T49" fmla="*/ 55 h 317"/>
                    <a:gd name="T50" fmla="*/ 283 w 438"/>
                    <a:gd name="T51" fmla="*/ 30 h 317"/>
                    <a:gd name="T52" fmla="*/ 236 w 438"/>
                    <a:gd name="T53" fmla="*/ 45 h 317"/>
                    <a:gd name="T54" fmla="*/ 191 w 438"/>
                    <a:gd name="T55" fmla="*/ 0 h 317"/>
                    <a:gd name="T56" fmla="*/ 164 w 438"/>
                    <a:gd name="T57" fmla="*/ 2 h 317"/>
                    <a:gd name="T58" fmla="*/ 147 w 438"/>
                    <a:gd name="T59" fmla="*/ 26 h 317"/>
                    <a:gd name="T60" fmla="*/ 110 w 438"/>
                    <a:gd name="T61" fmla="*/ 21 h 317"/>
                    <a:gd name="T62" fmla="*/ 79 w 438"/>
                    <a:gd name="T63" fmla="*/ 49 h 317"/>
                    <a:gd name="T64" fmla="*/ 89 w 438"/>
                    <a:gd name="T65" fmla="*/ 90 h 317"/>
                    <a:gd name="T66" fmla="*/ 25 w 438"/>
                    <a:gd name="T67" fmla="*/ 102 h 317"/>
                    <a:gd name="T68" fmla="*/ 0 w 438"/>
                    <a:gd name="T69" fmla="*/ 136 h 317"/>
                    <a:gd name="T70" fmla="*/ 4 w 438"/>
                    <a:gd name="T71" fmla="*/ 138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8" h="317">
                      <a:moveTo>
                        <a:pt x="4" y="138"/>
                      </a:moveTo>
                      <a:lnTo>
                        <a:pt x="8" y="164"/>
                      </a:lnTo>
                      <a:lnTo>
                        <a:pt x="53" y="189"/>
                      </a:lnTo>
                      <a:lnTo>
                        <a:pt x="74" y="240"/>
                      </a:lnTo>
                      <a:lnTo>
                        <a:pt x="89" y="247"/>
                      </a:lnTo>
                      <a:lnTo>
                        <a:pt x="117" y="211"/>
                      </a:lnTo>
                      <a:lnTo>
                        <a:pt x="134" y="219"/>
                      </a:lnTo>
                      <a:lnTo>
                        <a:pt x="138" y="204"/>
                      </a:lnTo>
                      <a:lnTo>
                        <a:pt x="166" y="202"/>
                      </a:lnTo>
                      <a:lnTo>
                        <a:pt x="176" y="247"/>
                      </a:lnTo>
                      <a:lnTo>
                        <a:pt x="230" y="268"/>
                      </a:lnTo>
                      <a:lnTo>
                        <a:pt x="298" y="268"/>
                      </a:lnTo>
                      <a:lnTo>
                        <a:pt x="302" y="289"/>
                      </a:lnTo>
                      <a:lnTo>
                        <a:pt x="334" y="283"/>
                      </a:lnTo>
                      <a:lnTo>
                        <a:pt x="359" y="317"/>
                      </a:lnTo>
                      <a:lnTo>
                        <a:pt x="361" y="315"/>
                      </a:lnTo>
                      <a:lnTo>
                        <a:pt x="393" y="296"/>
                      </a:lnTo>
                      <a:lnTo>
                        <a:pt x="380" y="211"/>
                      </a:lnTo>
                      <a:lnTo>
                        <a:pt x="412" y="192"/>
                      </a:lnTo>
                      <a:lnTo>
                        <a:pt x="438" y="175"/>
                      </a:lnTo>
                      <a:lnTo>
                        <a:pt x="438" y="130"/>
                      </a:lnTo>
                      <a:lnTo>
                        <a:pt x="372" y="96"/>
                      </a:lnTo>
                      <a:lnTo>
                        <a:pt x="342" y="21"/>
                      </a:lnTo>
                      <a:lnTo>
                        <a:pt x="344" y="19"/>
                      </a:lnTo>
                      <a:lnTo>
                        <a:pt x="300" y="55"/>
                      </a:lnTo>
                      <a:lnTo>
                        <a:pt x="283" y="30"/>
                      </a:lnTo>
                      <a:lnTo>
                        <a:pt x="236" y="45"/>
                      </a:lnTo>
                      <a:lnTo>
                        <a:pt x="191" y="0"/>
                      </a:lnTo>
                      <a:lnTo>
                        <a:pt x="164" y="2"/>
                      </a:lnTo>
                      <a:lnTo>
                        <a:pt x="147" y="26"/>
                      </a:lnTo>
                      <a:lnTo>
                        <a:pt x="110" y="21"/>
                      </a:lnTo>
                      <a:lnTo>
                        <a:pt x="79" y="49"/>
                      </a:lnTo>
                      <a:lnTo>
                        <a:pt x="89" y="90"/>
                      </a:lnTo>
                      <a:lnTo>
                        <a:pt x="25" y="102"/>
                      </a:lnTo>
                      <a:lnTo>
                        <a:pt x="0" y="136"/>
                      </a:lnTo>
                      <a:lnTo>
                        <a:pt x="4" y="138"/>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grpSp>
        <p:grpSp>
          <p:nvGrpSpPr>
            <p:cNvPr id="300" name="Aquitaine Limousin Poitou-Charentes (Formes)">
              <a:extLst>
                <a:ext uri="{FF2B5EF4-FFF2-40B4-BE49-F238E27FC236}">
                  <a16:creationId xmlns:a16="http://schemas.microsoft.com/office/drawing/2014/main" id="{05175D24-933A-451F-97D9-E0FF293BAD9B}"/>
                </a:ext>
              </a:extLst>
            </p:cNvPr>
            <p:cNvGrpSpPr/>
            <p:nvPr/>
          </p:nvGrpSpPr>
          <p:grpSpPr>
            <a:xfrm>
              <a:off x="5647669" y="3357555"/>
              <a:ext cx="1690426" cy="2282077"/>
              <a:chOff x="4894213" y="3526940"/>
              <a:chExt cx="1690426" cy="2282077"/>
            </a:xfrm>
            <a:solidFill>
              <a:srgbClr val="CAC5B8"/>
            </a:solidFill>
          </p:grpSpPr>
          <p:grpSp>
            <p:nvGrpSpPr>
              <p:cNvPr id="345" name="Poitou Charentes (Formes)">
                <a:extLst>
                  <a:ext uri="{FF2B5EF4-FFF2-40B4-BE49-F238E27FC236}">
                    <a16:creationId xmlns:a16="http://schemas.microsoft.com/office/drawing/2014/main" id="{6562793F-2968-447F-8306-06F712848E87}"/>
                  </a:ext>
                </a:extLst>
              </p:cNvPr>
              <p:cNvGrpSpPr/>
              <p:nvPr/>
            </p:nvGrpSpPr>
            <p:grpSpPr>
              <a:xfrm>
                <a:off x="5172130" y="3526940"/>
                <a:ext cx="909680" cy="1078722"/>
                <a:chOff x="5172130" y="3526940"/>
                <a:chExt cx="909680" cy="1078722"/>
              </a:xfrm>
              <a:grpFill/>
            </p:grpSpPr>
            <p:sp>
              <p:nvSpPr>
                <p:cNvPr id="356" name="86">
                  <a:extLst>
                    <a:ext uri="{FF2B5EF4-FFF2-40B4-BE49-F238E27FC236}">
                      <a16:creationId xmlns:a16="http://schemas.microsoft.com/office/drawing/2014/main" id="{D7F11A33-BE45-4775-8FBB-53EAD4AC9279}"/>
                    </a:ext>
                  </a:extLst>
                </p:cNvPr>
                <p:cNvSpPr>
                  <a:spLocks/>
                </p:cNvSpPr>
                <p:nvPr/>
              </p:nvSpPr>
              <p:spPr bwMode="gray">
                <a:xfrm>
                  <a:off x="5621956" y="3526940"/>
                  <a:ext cx="459854" cy="591649"/>
                </a:xfrm>
                <a:custGeom>
                  <a:avLst/>
                  <a:gdLst>
                    <a:gd name="T0" fmla="*/ 0 w 321"/>
                    <a:gd name="T1" fmla="*/ 41 h 413"/>
                    <a:gd name="T2" fmla="*/ 15 w 321"/>
                    <a:gd name="T3" fmla="*/ 106 h 413"/>
                    <a:gd name="T4" fmla="*/ 30 w 321"/>
                    <a:gd name="T5" fmla="*/ 115 h 413"/>
                    <a:gd name="T6" fmla="*/ 11 w 321"/>
                    <a:gd name="T7" fmla="*/ 123 h 413"/>
                    <a:gd name="T8" fmla="*/ 30 w 321"/>
                    <a:gd name="T9" fmla="*/ 160 h 413"/>
                    <a:gd name="T10" fmla="*/ 2 w 321"/>
                    <a:gd name="T11" fmla="*/ 194 h 413"/>
                    <a:gd name="T12" fmla="*/ 28 w 321"/>
                    <a:gd name="T13" fmla="*/ 211 h 413"/>
                    <a:gd name="T14" fmla="*/ 7 w 321"/>
                    <a:gd name="T15" fmla="*/ 253 h 413"/>
                    <a:gd name="T16" fmla="*/ 19 w 321"/>
                    <a:gd name="T17" fmla="*/ 306 h 413"/>
                    <a:gd name="T18" fmla="*/ 60 w 321"/>
                    <a:gd name="T19" fmla="*/ 306 h 413"/>
                    <a:gd name="T20" fmla="*/ 41 w 321"/>
                    <a:gd name="T21" fmla="*/ 359 h 413"/>
                    <a:gd name="T22" fmla="*/ 66 w 321"/>
                    <a:gd name="T23" fmla="*/ 370 h 413"/>
                    <a:gd name="T24" fmla="*/ 60 w 321"/>
                    <a:gd name="T25" fmla="*/ 393 h 413"/>
                    <a:gd name="T26" fmla="*/ 117 w 321"/>
                    <a:gd name="T27" fmla="*/ 413 h 413"/>
                    <a:gd name="T28" fmla="*/ 136 w 321"/>
                    <a:gd name="T29" fmla="*/ 381 h 413"/>
                    <a:gd name="T30" fmla="*/ 162 w 321"/>
                    <a:gd name="T31" fmla="*/ 404 h 413"/>
                    <a:gd name="T32" fmla="*/ 194 w 321"/>
                    <a:gd name="T33" fmla="*/ 383 h 413"/>
                    <a:gd name="T34" fmla="*/ 221 w 321"/>
                    <a:gd name="T35" fmla="*/ 387 h 413"/>
                    <a:gd name="T36" fmla="*/ 219 w 321"/>
                    <a:gd name="T37" fmla="*/ 351 h 413"/>
                    <a:gd name="T38" fmla="*/ 313 w 321"/>
                    <a:gd name="T39" fmla="*/ 296 h 413"/>
                    <a:gd name="T40" fmla="*/ 321 w 321"/>
                    <a:gd name="T41" fmla="*/ 279 h 413"/>
                    <a:gd name="T42" fmla="*/ 306 w 321"/>
                    <a:gd name="T43" fmla="*/ 272 h 413"/>
                    <a:gd name="T44" fmla="*/ 306 w 321"/>
                    <a:gd name="T45" fmla="*/ 251 h 413"/>
                    <a:gd name="T46" fmla="*/ 247 w 321"/>
                    <a:gd name="T47" fmla="*/ 217 h 413"/>
                    <a:gd name="T48" fmla="*/ 240 w 321"/>
                    <a:gd name="T49" fmla="*/ 164 h 413"/>
                    <a:gd name="T50" fmla="*/ 238 w 321"/>
                    <a:gd name="T51" fmla="*/ 160 h 413"/>
                    <a:gd name="T52" fmla="*/ 196 w 321"/>
                    <a:gd name="T53" fmla="*/ 77 h 413"/>
                    <a:gd name="T54" fmla="*/ 166 w 321"/>
                    <a:gd name="T55" fmla="*/ 64 h 413"/>
                    <a:gd name="T56" fmla="*/ 172 w 321"/>
                    <a:gd name="T57" fmla="*/ 81 h 413"/>
                    <a:gd name="T58" fmla="*/ 104 w 321"/>
                    <a:gd name="T59" fmla="*/ 89 h 413"/>
                    <a:gd name="T60" fmla="*/ 100 w 321"/>
                    <a:gd name="T61" fmla="*/ 45 h 413"/>
                    <a:gd name="T62" fmla="*/ 68 w 321"/>
                    <a:gd name="T63" fmla="*/ 41 h 413"/>
                    <a:gd name="T64" fmla="*/ 73 w 321"/>
                    <a:gd name="T65" fmla="*/ 21 h 413"/>
                    <a:gd name="T66" fmla="*/ 41 w 321"/>
                    <a:gd name="T67" fmla="*/ 4 h 413"/>
                    <a:gd name="T68" fmla="*/ 41 w 321"/>
                    <a:gd name="T69" fmla="*/ 0 h 413"/>
                    <a:gd name="T70" fmla="*/ 0 w 321"/>
                    <a:gd name="T71" fmla="*/ 36 h 413"/>
                    <a:gd name="T72" fmla="*/ 0 w 321"/>
                    <a:gd name="T73" fmla="*/ 41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1" h="413">
                      <a:moveTo>
                        <a:pt x="0" y="41"/>
                      </a:moveTo>
                      <a:lnTo>
                        <a:pt x="15" y="106"/>
                      </a:lnTo>
                      <a:lnTo>
                        <a:pt x="30" y="115"/>
                      </a:lnTo>
                      <a:lnTo>
                        <a:pt x="11" y="123"/>
                      </a:lnTo>
                      <a:lnTo>
                        <a:pt x="30" y="160"/>
                      </a:lnTo>
                      <a:lnTo>
                        <a:pt x="2" y="194"/>
                      </a:lnTo>
                      <a:lnTo>
                        <a:pt x="28" y="211"/>
                      </a:lnTo>
                      <a:lnTo>
                        <a:pt x="7" y="253"/>
                      </a:lnTo>
                      <a:lnTo>
                        <a:pt x="19" y="306"/>
                      </a:lnTo>
                      <a:lnTo>
                        <a:pt x="60" y="306"/>
                      </a:lnTo>
                      <a:lnTo>
                        <a:pt x="41" y="359"/>
                      </a:lnTo>
                      <a:lnTo>
                        <a:pt x="66" y="370"/>
                      </a:lnTo>
                      <a:lnTo>
                        <a:pt x="60" y="393"/>
                      </a:lnTo>
                      <a:lnTo>
                        <a:pt x="117" y="413"/>
                      </a:lnTo>
                      <a:lnTo>
                        <a:pt x="136" y="381"/>
                      </a:lnTo>
                      <a:lnTo>
                        <a:pt x="162" y="404"/>
                      </a:lnTo>
                      <a:lnTo>
                        <a:pt x="194" y="383"/>
                      </a:lnTo>
                      <a:lnTo>
                        <a:pt x="221" y="387"/>
                      </a:lnTo>
                      <a:lnTo>
                        <a:pt x="219" y="351"/>
                      </a:lnTo>
                      <a:lnTo>
                        <a:pt x="313" y="296"/>
                      </a:lnTo>
                      <a:lnTo>
                        <a:pt x="321" y="279"/>
                      </a:lnTo>
                      <a:lnTo>
                        <a:pt x="306" y="272"/>
                      </a:lnTo>
                      <a:lnTo>
                        <a:pt x="306" y="251"/>
                      </a:lnTo>
                      <a:lnTo>
                        <a:pt x="247" y="217"/>
                      </a:lnTo>
                      <a:lnTo>
                        <a:pt x="240" y="164"/>
                      </a:lnTo>
                      <a:lnTo>
                        <a:pt x="238" y="160"/>
                      </a:lnTo>
                      <a:lnTo>
                        <a:pt x="196" y="77"/>
                      </a:lnTo>
                      <a:lnTo>
                        <a:pt x="166" y="64"/>
                      </a:lnTo>
                      <a:lnTo>
                        <a:pt x="172" y="81"/>
                      </a:lnTo>
                      <a:lnTo>
                        <a:pt x="104" y="89"/>
                      </a:lnTo>
                      <a:lnTo>
                        <a:pt x="100" y="45"/>
                      </a:lnTo>
                      <a:lnTo>
                        <a:pt x="68" y="41"/>
                      </a:lnTo>
                      <a:lnTo>
                        <a:pt x="73" y="21"/>
                      </a:lnTo>
                      <a:lnTo>
                        <a:pt x="41" y="4"/>
                      </a:lnTo>
                      <a:lnTo>
                        <a:pt x="41" y="0"/>
                      </a:lnTo>
                      <a:lnTo>
                        <a:pt x="0" y="36"/>
                      </a:lnTo>
                      <a:lnTo>
                        <a:pt x="0" y="41"/>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57" name="79">
                  <a:extLst>
                    <a:ext uri="{FF2B5EF4-FFF2-40B4-BE49-F238E27FC236}">
                      <a16:creationId xmlns:a16="http://schemas.microsoft.com/office/drawing/2014/main" id="{9E0FFEBA-EBD7-4DE0-8B8D-6C8995CA420E}"/>
                    </a:ext>
                  </a:extLst>
                </p:cNvPr>
                <p:cNvSpPr>
                  <a:spLocks/>
                </p:cNvSpPr>
                <p:nvPr/>
              </p:nvSpPr>
              <p:spPr bwMode="gray">
                <a:xfrm>
                  <a:off x="5335443" y="3554159"/>
                  <a:ext cx="381062" cy="597380"/>
                </a:xfrm>
                <a:custGeom>
                  <a:avLst/>
                  <a:gdLst>
                    <a:gd name="T0" fmla="*/ 3 w 266"/>
                    <a:gd name="T1" fmla="*/ 39 h 417"/>
                    <a:gd name="T2" fmla="*/ 71 w 266"/>
                    <a:gd name="T3" fmla="*/ 36 h 417"/>
                    <a:gd name="T4" fmla="*/ 100 w 266"/>
                    <a:gd name="T5" fmla="*/ 7 h 417"/>
                    <a:gd name="T6" fmla="*/ 107 w 266"/>
                    <a:gd name="T7" fmla="*/ 17 h 417"/>
                    <a:gd name="T8" fmla="*/ 181 w 266"/>
                    <a:gd name="T9" fmla="*/ 0 h 417"/>
                    <a:gd name="T10" fmla="*/ 200 w 266"/>
                    <a:gd name="T11" fmla="*/ 17 h 417"/>
                    <a:gd name="T12" fmla="*/ 200 w 266"/>
                    <a:gd name="T13" fmla="*/ 22 h 417"/>
                    <a:gd name="T14" fmla="*/ 215 w 266"/>
                    <a:gd name="T15" fmla="*/ 87 h 417"/>
                    <a:gd name="T16" fmla="*/ 230 w 266"/>
                    <a:gd name="T17" fmla="*/ 96 h 417"/>
                    <a:gd name="T18" fmla="*/ 211 w 266"/>
                    <a:gd name="T19" fmla="*/ 104 h 417"/>
                    <a:gd name="T20" fmla="*/ 230 w 266"/>
                    <a:gd name="T21" fmla="*/ 141 h 417"/>
                    <a:gd name="T22" fmla="*/ 202 w 266"/>
                    <a:gd name="T23" fmla="*/ 175 h 417"/>
                    <a:gd name="T24" fmla="*/ 228 w 266"/>
                    <a:gd name="T25" fmla="*/ 192 h 417"/>
                    <a:gd name="T26" fmla="*/ 207 w 266"/>
                    <a:gd name="T27" fmla="*/ 234 h 417"/>
                    <a:gd name="T28" fmla="*/ 219 w 266"/>
                    <a:gd name="T29" fmla="*/ 287 h 417"/>
                    <a:gd name="T30" fmla="*/ 260 w 266"/>
                    <a:gd name="T31" fmla="*/ 287 h 417"/>
                    <a:gd name="T32" fmla="*/ 241 w 266"/>
                    <a:gd name="T33" fmla="*/ 340 h 417"/>
                    <a:gd name="T34" fmla="*/ 266 w 266"/>
                    <a:gd name="T35" fmla="*/ 351 h 417"/>
                    <a:gd name="T36" fmla="*/ 260 w 266"/>
                    <a:gd name="T37" fmla="*/ 374 h 417"/>
                    <a:gd name="T38" fmla="*/ 200 w 266"/>
                    <a:gd name="T39" fmla="*/ 387 h 417"/>
                    <a:gd name="T40" fmla="*/ 181 w 266"/>
                    <a:gd name="T41" fmla="*/ 417 h 417"/>
                    <a:gd name="T42" fmla="*/ 137 w 266"/>
                    <a:gd name="T43" fmla="*/ 372 h 417"/>
                    <a:gd name="T44" fmla="*/ 51 w 266"/>
                    <a:gd name="T45" fmla="*/ 349 h 417"/>
                    <a:gd name="T46" fmla="*/ 24 w 266"/>
                    <a:gd name="T47" fmla="*/ 287 h 417"/>
                    <a:gd name="T48" fmla="*/ 79 w 266"/>
                    <a:gd name="T49" fmla="*/ 260 h 417"/>
                    <a:gd name="T50" fmla="*/ 56 w 266"/>
                    <a:gd name="T51" fmla="*/ 253 h 417"/>
                    <a:gd name="T52" fmla="*/ 66 w 266"/>
                    <a:gd name="T53" fmla="*/ 202 h 417"/>
                    <a:gd name="T54" fmla="*/ 47 w 266"/>
                    <a:gd name="T55" fmla="*/ 102 h 417"/>
                    <a:gd name="T56" fmla="*/ 0 w 266"/>
                    <a:gd name="T57" fmla="*/ 41 h 417"/>
                    <a:gd name="T58" fmla="*/ 3 w 266"/>
                    <a:gd name="T59" fmla="*/ 3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417">
                      <a:moveTo>
                        <a:pt x="3" y="39"/>
                      </a:moveTo>
                      <a:lnTo>
                        <a:pt x="71" y="36"/>
                      </a:lnTo>
                      <a:lnTo>
                        <a:pt x="100" y="7"/>
                      </a:lnTo>
                      <a:lnTo>
                        <a:pt x="107" y="17"/>
                      </a:lnTo>
                      <a:lnTo>
                        <a:pt x="181" y="0"/>
                      </a:lnTo>
                      <a:lnTo>
                        <a:pt x="200" y="17"/>
                      </a:lnTo>
                      <a:lnTo>
                        <a:pt x="200" y="22"/>
                      </a:lnTo>
                      <a:lnTo>
                        <a:pt x="215" y="87"/>
                      </a:lnTo>
                      <a:lnTo>
                        <a:pt x="230" y="96"/>
                      </a:lnTo>
                      <a:lnTo>
                        <a:pt x="211" y="104"/>
                      </a:lnTo>
                      <a:lnTo>
                        <a:pt x="230" y="141"/>
                      </a:lnTo>
                      <a:lnTo>
                        <a:pt x="202" y="175"/>
                      </a:lnTo>
                      <a:lnTo>
                        <a:pt x="228" y="192"/>
                      </a:lnTo>
                      <a:lnTo>
                        <a:pt x="207" y="234"/>
                      </a:lnTo>
                      <a:lnTo>
                        <a:pt x="219" y="287"/>
                      </a:lnTo>
                      <a:lnTo>
                        <a:pt x="260" y="287"/>
                      </a:lnTo>
                      <a:lnTo>
                        <a:pt x="241" y="340"/>
                      </a:lnTo>
                      <a:lnTo>
                        <a:pt x="266" y="351"/>
                      </a:lnTo>
                      <a:lnTo>
                        <a:pt x="260" y="374"/>
                      </a:lnTo>
                      <a:lnTo>
                        <a:pt x="200" y="387"/>
                      </a:lnTo>
                      <a:lnTo>
                        <a:pt x="181" y="417"/>
                      </a:lnTo>
                      <a:lnTo>
                        <a:pt x="137" y="372"/>
                      </a:lnTo>
                      <a:lnTo>
                        <a:pt x="51" y="349"/>
                      </a:lnTo>
                      <a:lnTo>
                        <a:pt x="24" y="287"/>
                      </a:lnTo>
                      <a:lnTo>
                        <a:pt x="79" y="260"/>
                      </a:lnTo>
                      <a:lnTo>
                        <a:pt x="56" y="253"/>
                      </a:lnTo>
                      <a:lnTo>
                        <a:pt x="66" y="202"/>
                      </a:lnTo>
                      <a:lnTo>
                        <a:pt x="47" y="102"/>
                      </a:lnTo>
                      <a:lnTo>
                        <a:pt x="0" y="41"/>
                      </a:lnTo>
                      <a:lnTo>
                        <a:pt x="3" y="39"/>
                      </a:lnTo>
                    </a:path>
                  </a:pathLst>
                </a:custGeom>
                <a:grp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58" name="16">
                  <a:extLst>
                    <a:ext uri="{FF2B5EF4-FFF2-40B4-BE49-F238E27FC236}">
                      <a16:creationId xmlns:a16="http://schemas.microsoft.com/office/drawing/2014/main" id="{F599868F-2981-4B55-BFEB-2C0EF2821C8E}"/>
                    </a:ext>
                  </a:extLst>
                </p:cNvPr>
                <p:cNvSpPr>
                  <a:spLocks/>
                </p:cNvSpPr>
                <p:nvPr/>
              </p:nvSpPr>
              <p:spPr bwMode="gray">
                <a:xfrm>
                  <a:off x="5461509" y="4072747"/>
                  <a:ext cx="517156" cy="484207"/>
                </a:xfrm>
                <a:custGeom>
                  <a:avLst/>
                  <a:gdLst>
                    <a:gd name="T0" fmla="*/ 0 w 361"/>
                    <a:gd name="T1" fmla="*/ 136 h 338"/>
                    <a:gd name="T2" fmla="*/ 19 w 361"/>
                    <a:gd name="T3" fmla="*/ 168 h 338"/>
                    <a:gd name="T4" fmla="*/ 6 w 361"/>
                    <a:gd name="T5" fmla="*/ 178 h 338"/>
                    <a:gd name="T6" fmla="*/ 51 w 361"/>
                    <a:gd name="T7" fmla="*/ 227 h 338"/>
                    <a:gd name="T8" fmla="*/ 38 w 361"/>
                    <a:gd name="T9" fmla="*/ 295 h 338"/>
                    <a:gd name="T10" fmla="*/ 78 w 361"/>
                    <a:gd name="T11" fmla="*/ 302 h 338"/>
                    <a:gd name="T12" fmla="*/ 78 w 361"/>
                    <a:gd name="T13" fmla="*/ 321 h 338"/>
                    <a:gd name="T14" fmla="*/ 110 w 361"/>
                    <a:gd name="T15" fmla="*/ 338 h 338"/>
                    <a:gd name="T16" fmla="*/ 144 w 361"/>
                    <a:gd name="T17" fmla="*/ 336 h 338"/>
                    <a:gd name="T18" fmla="*/ 180 w 361"/>
                    <a:gd name="T19" fmla="*/ 304 h 338"/>
                    <a:gd name="T20" fmla="*/ 180 w 361"/>
                    <a:gd name="T21" fmla="*/ 259 h 338"/>
                    <a:gd name="T22" fmla="*/ 225 w 361"/>
                    <a:gd name="T23" fmla="*/ 238 h 338"/>
                    <a:gd name="T24" fmla="*/ 248 w 361"/>
                    <a:gd name="T25" fmla="*/ 183 h 338"/>
                    <a:gd name="T26" fmla="*/ 278 w 361"/>
                    <a:gd name="T27" fmla="*/ 157 h 338"/>
                    <a:gd name="T28" fmla="*/ 284 w 361"/>
                    <a:gd name="T29" fmla="*/ 153 h 338"/>
                    <a:gd name="T30" fmla="*/ 301 w 361"/>
                    <a:gd name="T31" fmla="*/ 123 h 338"/>
                    <a:gd name="T32" fmla="*/ 318 w 361"/>
                    <a:gd name="T33" fmla="*/ 127 h 338"/>
                    <a:gd name="T34" fmla="*/ 327 w 361"/>
                    <a:gd name="T35" fmla="*/ 78 h 338"/>
                    <a:gd name="T36" fmla="*/ 361 w 361"/>
                    <a:gd name="T37" fmla="*/ 63 h 338"/>
                    <a:gd name="T38" fmla="*/ 329 w 361"/>
                    <a:gd name="T39" fmla="*/ 34 h 338"/>
                    <a:gd name="T40" fmla="*/ 333 w 361"/>
                    <a:gd name="T41" fmla="*/ 6 h 338"/>
                    <a:gd name="T42" fmla="*/ 306 w 361"/>
                    <a:gd name="T43" fmla="*/ 2 h 338"/>
                    <a:gd name="T44" fmla="*/ 274 w 361"/>
                    <a:gd name="T45" fmla="*/ 23 h 338"/>
                    <a:gd name="T46" fmla="*/ 248 w 361"/>
                    <a:gd name="T47" fmla="*/ 0 h 338"/>
                    <a:gd name="T48" fmla="*/ 229 w 361"/>
                    <a:gd name="T49" fmla="*/ 32 h 338"/>
                    <a:gd name="T50" fmla="*/ 172 w 361"/>
                    <a:gd name="T51" fmla="*/ 12 h 338"/>
                    <a:gd name="T52" fmla="*/ 112 w 361"/>
                    <a:gd name="T53" fmla="*/ 25 h 338"/>
                    <a:gd name="T54" fmla="*/ 93 w 361"/>
                    <a:gd name="T55" fmla="*/ 55 h 338"/>
                    <a:gd name="T56" fmla="*/ 78 w 361"/>
                    <a:gd name="T57" fmla="*/ 125 h 338"/>
                    <a:gd name="T58" fmla="*/ 49 w 361"/>
                    <a:gd name="T59" fmla="*/ 112 h 338"/>
                    <a:gd name="T60" fmla="*/ 0 w 361"/>
                    <a:gd name="T61" fmla="*/ 129 h 338"/>
                    <a:gd name="T62" fmla="*/ 0 w 361"/>
                    <a:gd name="T63" fmla="*/ 13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1" h="338">
                      <a:moveTo>
                        <a:pt x="0" y="136"/>
                      </a:moveTo>
                      <a:lnTo>
                        <a:pt x="19" y="168"/>
                      </a:lnTo>
                      <a:lnTo>
                        <a:pt x="6" y="178"/>
                      </a:lnTo>
                      <a:lnTo>
                        <a:pt x="51" y="227"/>
                      </a:lnTo>
                      <a:lnTo>
                        <a:pt x="38" y="295"/>
                      </a:lnTo>
                      <a:lnTo>
                        <a:pt x="78" y="302"/>
                      </a:lnTo>
                      <a:lnTo>
                        <a:pt x="78" y="321"/>
                      </a:lnTo>
                      <a:lnTo>
                        <a:pt x="110" y="338"/>
                      </a:lnTo>
                      <a:lnTo>
                        <a:pt x="144" y="336"/>
                      </a:lnTo>
                      <a:lnTo>
                        <a:pt x="180" y="304"/>
                      </a:lnTo>
                      <a:lnTo>
                        <a:pt x="180" y="259"/>
                      </a:lnTo>
                      <a:lnTo>
                        <a:pt x="225" y="238"/>
                      </a:lnTo>
                      <a:lnTo>
                        <a:pt x="248" y="183"/>
                      </a:lnTo>
                      <a:lnTo>
                        <a:pt x="278" y="157"/>
                      </a:lnTo>
                      <a:lnTo>
                        <a:pt x="284" y="153"/>
                      </a:lnTo>
                      <a:lnTo>
                        <a:pt x="301" y="123"/>
                      </a:lnTo>
                      <a:lnTo>
                        <a:pt x="318" y="127"/>
                      </a:lnTo>
                      <a:lnTo>
                        <a:pt x="327" y="78"/>
                      </a:lnTo>
                      <a:lnTo>
                        <a:pt x="361" y="63"/>
                      </a:lnTo>
                      <a:lnTo>
                        <a:pt x="329" y="34"/>
                      </a:lnTo>
                      <a:lnTo>
                        <a:pt x="333" y="6"/>
                      </a:lnTo>
                      <a:lnTo>
                        <a:pt x="306" y="2"/>
                      </a:lnTo>
                      <a:lnTo>
                        <a:pt x="274" y="23"/>
                      </a:lnTo>
                      <a:lnTo>
                        <a:pt x="248" y="0"/>
                      </a:lnTo>
                      <a:lnTo>
                        <a:pt x="229" y="32"/>
                      </a:lnTo>
                      <a:lnTo>
                        <a:pt x="172" y="12"/>
                      </a:lnTo>
                      <a:lnTo>
                        <a:pt x="112" y="25"/>
                      </a:lnTo>
                      <a:lnTo>
                        <a:pt x="93" y="55"/>
                      </a:lnTo>
                      <a:lnTo>
                        <a:pt x="78" y="125"/>
                      </a:lnTo>
                      <a:lnTo>
                        <a:pt x="49" y="112"/>
                      </a:lnTo>
                      <a:lnTo>
                        <a:pt x="0" y="129"/>
                      </a:lnTo>
                      <a:lnTo>
                        <a:pt x="0" y="136"/>
                      </a:lnTo>
                    </a:path>
                  </a:pathLst>
                </a:custGeom>
                <a:grp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59" name="17">
                  <a:extLst>
                    <a:ext uri="{FF2B5EF4-FFF2-40B4-BE49-F238E27FC236}">
                      <a16:creationId xmlns:a16="http://schemas.microsoft.com/office/drawing/2014/main" id="{FFADDE6B-9E9B-4E51-B7DD-862D4B8761B8}"/>
                    </a:ext>
                  </a:extLst>
                </p:cNvPr>
                <p:cNvSpPr>
                  <a:spLocks/>
                </p:cNvSpPr>
                <p:nvPr/>
              </p:nvSpPr>
              <p:spPr bwMode="gray">
                <a:xfrm>
                  <a:off x="5172130" y="3929491"/>
                  <a:ext cx="446960" cy="676171"/>
                </a:xfrm>
                <a:custGeom>
                  <a:avLst/>
                  <a:gdLst>
                    <a:gd name="T0" fmla="*/ 2 w 312"/>
                    <a:gd name="T1" fmla="*/ 204 h 472"/>
                    <a:gd name="T2" fmla="*/ 32 w 312"/>
                    <a:gd name="T3" fmla="*/ 208 h 472"/>
                    <a:gd name="T4" fmla="*/ 23 w 312"/>
                    <a:gd name="T5" fmla="*/ 187 h 472"/>
                    <a:gd name="T6" fmla="*/ 44 w 312"/>
                    <a:gd name="T7" fmla="*/ 174 h 472"/>
                    <a:gd name="T8" fmla="*/ 42 w 312"/>
                    <a:gd name="T9" fmla="*/ 134 h 472"/>
                    <a:gd name="T10" fmla="*/ 57 w 312"/>
                    <a:gd name="T11" fmla="*/ 132 h 472"/>
                    <a:gd name="T12" fmla="*/ 15 w 312"/>
                    <a:gd name="T13" fmla="*/ 70 h 472"/>
                    <a:gd name="T14" fmla="*/ 42 w 312"/>
                    <a:gd name="T15" fmla="*/ 17 h 472"/>
                    <a:gd name="T16" fmla="*/ 93 w 312"/>
                    <a:gd name="T17" fmla="*/ 0 h 472"/>
                    <a:gd name="T18" fmla="*/ 91 w 312"/>
                    <a:gd name="T19" fmla="*/ 19 h 472"/>
                    <a:gd name="T20" fmla="*/ 117 w 312"/>
                    <a:gd name="T21" fmla="*/ 10 h 472"/>
                    <a:gd name="T22" fmla="*/ 138 w 312"/>
                    <a:gd name="T23" fmla="*/ 25 h 472"/>
                    <a:gd name="T24" fmla="*/ 165 w 312"/>
                    <a:gd name="T25" fmla="*/ 87 h 472"/>
                    <a:gd name="T26" fmla="*/ 251 w 312"/>
                    <a:gd name="T27" fmla="*/ 110 h 472"/>
                    <a:gd name="T28" fmla="*/ 295 w 312"/>
                    <a:gd name="T29" fmla="*/ 155 h 472"/>
                    <a:gd name="T30" fmla="*/ 280 w 312"/>
                    <a:gd name="T31" fmla="*/ 225 h 472"/>
                    <a:gd name="T32" fmla="*/ 251 w 312"/>
                    <a:gd name="T33" fmla="*/ 212 h 472"/>
                    <a:gd name="T34" fmla="*/ 202 w 312"/>
                    <a:gd name="T35" fmla="*/ 229 h 472"/>
                    <a:gd name="T36" fmla="*/ 202 w 312"/>
                    <a:gd name="T37" fmla="*/ 236 h 472"/>
                    <a:gd name="T38" fmla="*/ 221 w 312"/>
                    <a:gd name="T39" fmla="*/ 268 h 472"/>
                    <a:gd name="T40" fmla="*/ 208 w 312"/>
                    <a:gd name="T41" fmla="*/ 278 h 472"/>
                    <a:gd name="T42" fmla="*/ 253 w 312"/>
                    <a:gd name="T43" fmla="*/ 327 h 472"/>
                    <a:gd name="T44" fmla="*/ 240 w 312"/>
                    <a:gd name="T45" fmla="*/ 395 h 472"/>
                    <a:gd name="T46" fmla="*/ 280 w 312"/>
                    <a:gd name="T47" fmla="*/ 402 h 472"/>
                    <a:gd name="T48" fmla="*/ 280 w 312"/>
                    <a:gd name="T49" fmla="*/ 421 h 472"/>
                    <a:gd name="T50" fmla="*/ 312 w 312"/>
                    <a:gd name="T51" fmla="*/ 438 h 472"/>
                    <a:gd name="T52" fmla="*/ 299 w 312"/>
                    <a:gd name="T53" fmla="*/ 472 h 472"/>
                    <a:gd name="T54" fmla="*/ 210 w 312"/>
                    <a:gd name="T55" fmla="*/ 450 h 472"/>
                    <a:gd name="T56" fmla="*/ 204 w 312"/>
                    <a:gd name="T57" fmla="*/ 406 h 472"/>
                    <a:gd name="T58" fmla="*/ 165 w 312"/>
                    <a:gd name="T59" fmla="*/ 395 h 472"/>
                    <a:gd name="T60" fmla="*/ 163 w 312"/>
                    <a:gd name="T61" fmla="*/ 378 h 472"/>
                    <a:gd name="T62" fmla="*/ 129 w 312"/>
                    <a:gd name="T63" fmla="*/ 382 h 472"/>
                    <a:gd name="T64" fmla="*/ 108 w 312"/>
                    <a:gd name="T65" fmla="*/ 325 h 472"/>
                    <a:gd name="T66" fmla="*/ 0 w 312"/>
                    <a:gd name="T67" fmla="*/ 236 h 472"/>
                    <a:gd name="T68" fmla="*/ 2 w 312"/>
                    <a:gd name="T69" fmla="*/ 204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2" h="472">
                      <a:moveTo>
                        <a:pt x="2" y="204"/>
                      </a:moveTo>
                      <a:lnTo>
                        <a:pt x="32" y="208"/>
                      </a:lnTo>
                      <a:lnTo>
                        <a:pt x="23" y="187"/>
                      </a:lnTo>
                      <a:lnTo>
                        <a:pt x="44" y="174"/>
                      </a:lnTo>
                      <a:lnTo>
                        <a:pt x="42" y="134"/>
                      </a:lnTo>
                      <a:lnTo>
                        <a:pt x="57" y="132"/>
                      </a:lnTo>
                      <a:lnTo>
                        <a:pt x="15" y="70"/>
                      </a:lnTo>
                      <a:lnTo>
                        <a:pt x="42" y="17"/>
                      </a:lnTo>
                      <a:lnTo>
                        <a:pt x="93" y="0"/>
                      </a:lnTo>
                      <a:lnTo>
                        <a:pt x="91" y="19"/>
                      </a:lnTo>
                      <a:lnTo>
                        <a:pt x="117" y="10"/>
                      </a:lnTo>
                      <a:lnTo>
                        <a:pt x="138" y="25"/>
                      </a:lnTo>
                      <a:lnTo>
                        <a:pt x="165" y="87"/>
                      </a:lnTo>
                      <a:lnTo>
                        <a:pt x="251" y="110"/>
                      </a:lnTo>
                      <a:lnTo>
                        <a:pt x="295" y="155"/>
                      </a:lnTo>
                      <a:lnTo>
                        <a:pt x="280" y="225"/>
                      </a:lnTo>
                      <a:lnTo>
                        <a:pt x="251" y="212"/>
                      </a:lnTo>
                      <a:lnTo>
                        <a:pt x="202" y="229"/>
                      </a:lnTo>
                      <a:lnTo>
                        <a:pt x="202" y="236"/>
                      </a:lnTo>
                      <a:lnTo>
                        <a:pt x="221" y="268"/>
                      </a:lnTo>
                      <a:lnTo>
                        <a:pt x="208" y="278"/>
                      </a:lnTo>
                      <a:lnTo>
                        <a:pt x="253" y="327"/>
                      </a:lnTo>
                      <a:lnTo>
                        <a:pt x="240" y="395"/>
                      </a:lnTo>
                      <a:lnTo>
                        <a:pt x="280" y="402"/>
                      </a:lnTo>
                      <a:lnTo>
                        <a:pt x="280" y="421"/>
                      </a:lnTo>
                      <a:lnTo>
                        <a:pt x="312" y="438"/>
                      </a:lnTo>
                      <a:lnTo>
                        <a:pt x="299" y="472"/>
                      </a:lnTo>
                      <a:lnTo>
                        <a:pt x="210" y="450"/>
                      </a:lnTo>
                      <a:lnTo>
                        <a:pt x="204" y="406"/>
                      </a:lnTo>
                      <a:lnTo>
                        <a:pt x="165" y="395"/>
                      </a:lnTo>
                      <a:lnTo>
                        <a:pt x="163" y="378"/>
                      </a:lnTo>
                      <a:lnTo>
                        <a:pt x="129" y="382"/>
                      </a:lnTo>
                      <a:lnTo>
                        <a:pt x="108" y="325"/>
                      </a:lnTo>
                      <a:lnTo>
                        <a:pt x="0" y="236"/>
                      </a:lnTo>
                      <a:lnTo>
                        <a:pt x="2" y="204"/>
                      </a:lnTo>
                    </a:path>
                  </a:pathLst>
                </a:custGeom>
                <a:grp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grpSp>
            <p:nvGrpSpPr>
              <p:cNvPr id="346" name="Limousin (Formes)">
                <a:extLst>
                  <a:ext uri="{FF2B5EF4-FFF2-40B4-BE49-F238E27FC236}">
                    <a16:creationId xmlns:a16="http://schemas.microsoft.com/office/drawing/2014/main" id="{C89BB97A-ACE5-4B46-BD25-E5A728A6F4CD}"/>
                  </a:ext>
                </a:extLst>
              </p:cNvPr>
              <p:cNvGrpSpPr/>
              <p:nvPr/>
            </p:nvGrpSpPr>
            <p:grpSpPr>
              <a:xfrm>
                <a:off x="5859761" y="3919463"/>
                <a:ext cx="724878" cy="802237"/>
                <a:chOff x="5859761" y="3919463"/>
                <a:chExt cx="724878" cy="802237"/>
              </a:xfrm>
              <a:grpFill/>
            </p:grpSpPr>
            <p:sp>
              <p:nvSpPr>
                <p:cNvPr id="353" name="19">
                  <a:extLst>
                    <a:ext uri="{FF2B5EF4-FFF2-40B4-BE49-F238E27FC236}">
                      <a16:creationId xmlns:a16="http://schemas.microsoft.com/office/drawing/2014/main" id="{9C1B8F33-66AB-4DF9-B4E1-224A9B91365F}"/>
                    </a:ext>
                  </a:extLst>
                </p:cNvPr>
                <p:cNvSpPr>
                  <a:spLocks/>
                </p:cNvSpPr>
                <p:nvPr/>
              </p:nvSpPr>
              <p:spPr bwMode="gray">
                <a:xfrm>
                  <a:off x="6070349" y="4286200"/>
                  <a:ext cx="477045" cy="435500"/>
                </a:xfrm>
                <a:custGeom>
                  <a:avLst/>
                  <a:gdLst>
                    <a:gd name="T0" fmla="*/ 2 w 333"/>
                    <a:gd name="T1" fmla="*/ 201 h 304"/>
                    <a:gd name="T2" fmla="*/ 47 w 333"/>
                    <a:gd name="T3" fmla="*/ 229 h 304"/>
                    <a:gd name="T4" fmla="*/ 38 w 333"/>
                    <a:gd name="T5" fmla="*/ 238 h 304"/>
                    <a:gd name="T6" fmla="*/ 55 w 333"/>
                    <a:gd name="T7" fmla="*/ 267 h 304"/>
                    <a:gd name="T8" fmla="*/ 102 w 333"/>
                    <a:gd name="T9" fmla="*/ 263 h 304"/>
                    <a:gd name="T10" fmla="*/ 138 w 333"/>
                    <a:gd name="T11" fmla="*/ 304 h 304"/>
                    <a:gd name="T12" fmla="*/ 214 w 333"/>
                    <a:gd name="T13" fmla="*/ 287 h 304"/>
                    <a:gd name="T14" fmla="*/ 234 w 333"/>
                    <a:gd name="T15" fmla="*/ 284 h 304"/>
                    <a:gd name="T16" fmla="*/ 223 w 333"/>
                    <a:gd name="T17" fmla="*/ 259 h 304"/>
                    <a:gd name="T18" fmla="*/ 242 w 333"/>
                    <a:gd name="T19" fmla="*/ 248 h 304"/>
                    <a:gd name="T20" fmla="*/ 259 w 333"/>
                    <a:gd name="T21" fmla="*/ 216 h 304"/>
                    <a:gd name="T22" fmla="*/ 251 w 333"/>
                    <a:gd name="T23" fmla="*/ 197 h 304"/>
                    <a:gd name="T24" fmla="*/ 291 w 333"/>
                    <a:gd name="T25" fmla="*/ 155 h 304"/>
                    <a:gd name="T26" fmla="*/ 291 w 333"/>
                    <a:gd name="T27" fmla="*/ 129 h 304"/>
                    <a:gd name="T28" fmla="*/ 333 w 333"/>
                    <a:gd name="T29" fmla="*/ 140 h 304"/>
                    <a:gd name="T30" fmla="*/ 331 w 333"/>
                    <a:gd name="T31" fmla="*/ 104 h 304"/>
                    <a:gd name="T32" fmla="*/ 327 w 333"/>
                    <a:gd name="T33" fmla="*/ 10 h 304"/>
                    <a:gd name="T34" fmla="*/ 270 w 333"/>
                    <a:gd name="T35" fmla="*/ 36 h 304"/>
                    <a:gd name="T36" fmla="*/ 214 w 333"/>
                    <a:gd name="T37" fmla="*/ 0 h 304"/>
                    <a:gd name="T38" fmla="*/ 176 w 333"/>
                    <a:gd name="T39" fmla="*/ 21 h 304"/>
                    <a:gd name="T40" fmla="*/ 10 w 333"/>
                    <a:gd name="T41" fmla="*/ 110 h 304"/>
                    <a:gd name="T42" fmla="*/ 27 w 333"/>
                    <a:gd name="T43" fmla="*/ 133 h 304"/>
                    <a:gd name="T44" fmla="*/ 4 w 333"/>
                    <a:gd name="T45" fmla="*/ 157 h 304"/>
                    <a:gd name="T46" fmla="*/ 15 w 333"/>
                    <a:gd name="T47" fmla="*/ 184 h 304"/>
                    <a:gd name="T48" fmla="*/ 0 w 333"/>
                    <a:gd name="T49" fmla="*/ 195 h 304"/>
                    <a:gd name="T50" fmla="*/ 2 w 333"/>
                    <a:gd name="T51" fmla="*/ 201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3" h="304">
                      <a:moveTo>
                        <a:pt x="2" y="201"/>
                      </a:moveTo>
                      <a:lnTo>
                        <a:pt x="47" y="229"/>
                      </a:lnTo>
                      <a:lnTo>
                        <a:pt x="38" y="238"/>
                      </a:lnTo>
                      <a:lnTo>
                        <a:pt x="55" y="267"/>
                      </a:lnTo>
                      <a:lnTo>
                        <a:pt x="102" y="263"/>
                      </a:lnTo>
                      <a:lnTo>
                        <a:pt x="138" y="304"/>
                      </a:lnTo>
                      <a:lnTo>
                        <a:pt x="214" y="287"/>
                      </a:lnTo>
                      <a:lnTo>
                        <a:pt x="234" y="284"/>
                      </a:lnTo>
                      <a:lnTo>
                        <a:pt x="223" y="259"/>
                      </a:lnTo>
                      <a:lnTo>
                        <a:pt x="242" y="248"/>
                      </a:lnTo>
                      <a:lnTo>
                        <a:pt x="259" y="216"/>
                      </a:lnTo>
                      <a:lnTo>
                        <a:pt x="251" y="197"/>
                      </a:lnTo>
                      <a:lnTo>
                        <a:pt x="291" y="155"/>
                      </a:lnTo>
                      <a:lnTo>
                        <a:pt x="291" y="129"/>
                      </a:lnTo>
                      <a:lnTo>
                        <a:pt x="333" y="140"/>
                      </a:lnTo>
                      <a:lnTo>
                        <a:pt x="331" y="104"/>
                      </a:lnTo>
                      <a:lnTo>
                        <a:pt x="327" y="10"/>
                      </a:lnTo>
                      <a:lnTo>
                        <a:pt x="270" y="36"/>
                      </a:lnTo>
                      <a:lnTo>
                        <a:pt x="214" y="0"/>
                      </a:lnTo>
                      <a:lnTo>
                        <a:pt x="176" y="21"/>
                      </a:lnTo>
                      <a:lnTo>
                        <a:pt x="10" y="110"/>
                      </a:lnTo>
                      <a:lnTo>
                        <a:pt x="27" y="133"/>
                      </a:lnTo>
                      <a:lnTo>
                        <a:pt x="4" y="157"/>
                      </a:lnTo>
                      <a:lnTo>
                        <a:pt x="15" y="184"/>
                      </a:lnTo>
                      <a:lnTo>
                        <a:pt x="0" y="195"/>
                      </a:lnTo>
                      <a:lnTo>
                        <a:pt x="2" y="201"/>
                      </a:lnTo>
                    </a:path>
                  </a:pathLst>
                </a:custGeom>
                <a:grp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54" name="23">
                  <a:extLst>
                    <a:ext uri="{FF2B5EF4-FFF2-40B4-BE49-F238E27FC236}">
                      <a16:creationId xmlns:a16="http://schemas.microsoft.com/office/drawing/2014/main" id="{5BAE6BCB-6EB3-4F3A-8EE7-7AB8D4BCE8A8}"/>
                    </a:ext>
                  </a:extLst>
                </p:cNvPr>
                <p:cNvSpPr>
                  <a:spLocks/>
                </p:cNvSpPr>
                <p:nvPr/>
              </p:nvSpPr>
              <p:spPr bwMode="gray">
                <a:xfrm>
                  <a:off x="6140544" y="3919463"/>
                  <a:ext cx="444095" cy="418309"/>
                </a:xfrm>
                <a:custGeom>
                  <a:avLst/>
                  <a:gdLst>
                    <a:gd name="T0" fmla="*/ 2 w 310"/>
                    <a:gd name="T1" fmla="*/ 92 h 292"/>
                    <a:gd name="T2" fmla="*/ 27 w 310"/>
                    <a:gd name="T3" fmla="*/ 113 h 292"/>
                    <a:gd name="T4" fmla="*/ 46 w 310"/>
                    <a:gd name="T5" fmla="*/ 170 h 292"/>
                    <a:gd name="T6" fmla="*/ 27 w 310"/>
                    <a:gd name="T7" fmla="*/ 187 h 292"/>
                    <a:gd name="T8" fmla="*/ 61 w 310"/>
                    <a:gd name="T9" fmla="*/ 194 h 292"/>
                    <a:gd name="T10" fmla="*/ 57 w 310"/>
                    <a:gd name="T11" fmla="*/ 221 h 292"/>
                    <a:gd name="T12" fmla="*/ 95 w 310"/>
                    <a:gd name="T13" fmla="*/ 215 h 292"/>
                    <a:gd name="T14" fmla="*/ 123 w 310"/>
                    <a:gd name="T15" fmla="*/ 243 h 292"/>
                    <a:gd name="T16" fmla="*/ 127 w 310"/>
                    <a:gd name="T17" fmla="*/ 277 h 292"/>
                    <a:gd name="T18" fmla="*/ 165 w 310"/>
                    <a:gd name="T19" fmla="*/ 256 h 292"/>
                    <a:gd name="T20" fmla="*/ 221 w 310"/>
                    <a:gd name="T21" fmla="*/ 292 h 292"/>
                    <a:gd name="T22" fmla="*/ 278 w 310"/>
                    <a:gd name="T23" fmla="*/ 266 h 292"/>
                    <a:gd name="T24" fmla="*/ 253 w 310"/>
                    <a:gd name="T25" fmla="*/ 232 h 292"/>
                    <a:gd name="T26" fmla="*/ 257 w 310"/>
                    <a:gd name="T27" fmla="*/ 228 h 292"/>
                    <a:gd name="T28" fmla="*/ 310 w 310"/>
                    <a:gd name="T29" fmla="*/ 179 h 292"/>
                    <a:gd name="T30" fmla="*/ 299 w 310"/>
                    <a:gd name="T31" fmla="*/ 119 h 292"/>
                    <a:gd name="T32" fmla="*/ 278 w 310"/>
                    <a:gd name="T33" fmla="*/ 68 h 292"/>
                    <a:gd name="T34" fmla="*/ 233 w 310"/>
                    <a:gd name="T35" fmla="*/ 43 h 292"/>
                    <a:gd name="T36" fmla="*/ 229 w 310"/>
                    <a:gd name="T37" fmla="*/ 17 h 292"/>
                    <a:gd name="T38" fmla="*/ 225 w 310"/>
                    <a:gd name="T39" fmla="*/ 15 h 292"/>
                    <a:gd name="T40" fmla="*/ 199 w 310"/>
                    <a:gd name="T41" fmla="*/ 13 h 292"/>
                    <a:gd name="T42" fmla="*/ 106 w 310"/>
                    <a:gd name="T43" fmla="*/ 0 h 292"/>
                    <a:gd name="T44" fmla="*/ 87 w 310"/>
                    <a:gd name="T45" fmla="*/ 24 h 292"/>
                    <a:gd name="T46" fmla="*/ 38 w 310"/>
                    <a:gd name="T47" fmla="*/ 9 h 292"/>
                    <a:gd name="T48" fmla="*/ 12 w 310"/>
                    <a:gd name="T49" fmla="*/ 37 h 292"/>
                    <a:gd name="T50" fmla="*/ 15 w 310"/>
                    <a:gd name="T51" fmla="*/ 66 h 292"/>
                    <a:gd name="T52" fmla="*/ 0 w 310"/>
                    <a:gd name="T53" fmla="*/ 85 h 292"/>
                    <a:gd name="T54" fmla="*/ 2 w 310"/>
                    <a:gd name="T55" fmla="*/ 9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0" h="292">
                      <a:moveTo>
                        <a:pt x="2" y="92"/>
                      </a:moveTo>
                      <a:lnTo>
                        <a:pt x="27" y="113"/>
                      </a:lnTo>
                      <a:lnTo>
                        <a:pt x="46" y="170"/>
                      </a:lnTo>
                      <a:lnTo>
                        <a:pt x="27" y="187"/>
                      </a:lnTo>
                      <a:lnTo>
                        <a:pt x="61" y="194"/>
                      </a:lnTo>
                      <a:lnTo>
                        <a:pt x="57" y="221"/>
                      </a:lnTo>
                      <a:lnTo>
                        <a:pt x="95" y="215"/>
                      </a:lnTo>
                      <a:lnTo>
                        <a:pt x="123" y="243"/>
                      </a:lnTo>
                      <a:lnTo>
                        <a:pt x="127" y="277"/>
                      </a:lnTo>
                      <a:lnTo>
                        <a:pt x="165" y="256"/>
                      </a:lnTo>
                      <a:lnTo>
                        <a:pt x="221" y="292"/>
                      </a:lnTo>
                      <a:lnTo>
                        <a:pt x="278" y="266"/>
                      </a:lnTo>
                      <a:lnTo>
                        <a:pt x="253" y="232"/>
                      </a:lnTo>
                      <a:lnTo>
                        <a:pt x="257" y="228"/>
                      </a:lnTo>
                      <a:lnTo>
                        <a:pt x="310" y="179"/>
                      </a:lnTo>
                      <a:lnTo>
                        <a:pt x="299" y="119"/>
                      </a:lnTo>
                      <a:lnTo>
                        <a:pt x="278" y="68"/>
                      </a:lnTo>
                      <a:lnTo>
                        <a:pt x="233" y="43"/>
                      </a:lnTo>
                      <a:lnTo>
                        <a:pt x="229" y="17"/>
                      </a:lnTo>
                      <a:lnTo>
                        <a:pt x="225" y="15"/>
                      </a:lnTo>
                      <a:lnTo>
                        <a:pt x="199" y="13"/>
                      </a:lnTo>
                      <a:lnTo>
                        <a:pt x="106" y="0"/>
                      </a:lnTo>
                      <a:lnTo>
                        <a:pt x="87" y="24"/>
                      </a:lnTo>
                      <a:lnTo>
                        <a:pt x="38" y="9"/>
                      </a:lnTo>
                      <a:lnTo>
                        <a:pt x="12" y="37"/>
                      </a:lnTo>
                      <a:lnTo>
                        <a:pt x="15" y="66"/>
                      </a:lnTo>
                      <a:lnTo>
                        <a:pt x="0" y="85"/>
                      </a:lnTo>
                      <a:lnTo>
                        <a:pt x="2" y="92"/>
                      </a:lnTo>
                    </a:path>
                  </a:pathLst>
                </a:custGeom>
                <a:grp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55" name="87">
                  <a:extLst>
                    <a:ext uri="{FF2B5EF4-FFF2-40B4-BE49-F238E27FC236}">
                      <a16:creationId xmlns:a16="http://schemas.microsoft.com/office/drawing/2014/main" id="{2D2931AB-38C0-4EB7-A15E-57CF743F1F00}"/>
                    </a:ext>
                  </a:extLst>
                </p:cNvPr>
                <p:cNvSpPr>
                  <a:spLocks/>
                </p:cNvSpPr>
                <p:nvPr/>
              </p:nvSpPr>
              <p:spPr bwMode="gray">
                <a:xfrm>
                  <a:off x="5859761" y="3943817"/>
                  <a:ext cx="462719" cy="499965"/>
                </a:xfrm>
                <a:custGeom>
                  <a:avLst/>
                  <a:gdLst>
                    <a:gd name="T0" fmla="*/ 6 w 323"/>
                    <a:gd name="T1" fmla="*/ 243 h 349"/>
                    <a:gd name="T2" fmla="*/ 23 w 323"/>
                    <a:gd name="T3" fmla="*/ 213 h 349"/>
                    <a:gd name="T4" fmla="*/ 40 w 323"/>
                    <a:gd name="T5" fmla="*/ 217 h 349"/>
                    <a:gd name="T6" fmla="*/ 49 w 323"/>
                    <a:gd name="T7" fmla="*/ 168 h 349"/>
                    <a:gd name="T8" fmla="*/ 83 w 323"/>
                    <a:gd name="T9" fmla="*/ 153 h 349"/>
                    <a:gd name="T10" fmla="*/ 51 w 323"/>
                    <a:gd name="T11" fmla="*/ 124 h 349"/>
                    <a:gd name="T12" fmla="*/ 55 w 323"/>
                    <a:gd name="T13" fmla="*/ 96 h 349"/>
                    <a:gd name="T14" fmla="*/ 53 w 323"/>
                    <a:gd name="T15" fmla="*/ 60 h 349"/>
                    <a:gd name="T16" fmla="*/ 147 w 323"/>
                    <a:gd name="T17" fmla="*/ 5 h 349"/>
                    <a:gd name="T18" fmla="*/ 191 w 323"/>
                    <a:gd name="T19" fmla="*/ 0 h 349"/>
                    <a:gd name="T20" fmla="*/ 208 w 323"/>
                    <a:gd name="T21" fmla="*/ 20 h 349"/>
                    <a:gd name="T22" fmla="*/ 211 w 323"/>
                    <a:gd name="T23" fmla="*/ 49 h 349"/>
                    <a:gd name="T24" fmla="*/ 196 w 323"/>
                    <a:gd name="T25" fmla="*/ 68 h 349"/>
                    <a:gd name="T26" fmla="*/ 198 w 323"/>
                    <a:gd name="T27" fmla="*/ 75 h 349"/>
                    <a:gd name="T28" fmla="*/ 223 w 323"/>
                    <a:gd name="T29" fmla="*/ 96 h 349"/>
                    <a:gd name="T30" fmla="*/ 242 w 323"/>
                    <a:gd name="T31" fmla="*/ 153 h 349"/>
                    <a:gd name="T32" fmla="*/ 223 w 323"/>
                    <a:gd name="T33" fmla="*/ 170 h 349"/>
                    <a:gd name="T34" fmla="*/ 257 w 323"/>
                    <a:gd name="T35" fmla="*/ 177 h 349"/>
                    <a:gd name="T36" fmla="*/ 253 w 323"/>
                    <a:gd name="T37" fmla="*/ 204 h 349"/>
                    <a:gd name="T38" fmla="*/ 291 w 323"/>
                    <a:gd name="T39" fmla="*/ 198 h 349"/>
                    <a:gd name="T40" fmla="*/ 319 w 323"/>
                    <a:gd name="T41" fmla="*/ 226 h 349"/>
                    <a:gd name="T42" fmla="*/ 323 w 323"/>
                    <a:gd name="T43" fmla="*/ 260 h 349"/>
                    <a:gd name="T44" fmla="*/ 157 w 323"/>
                    <a:gd name="T45" fmla="*/ 349 h 349"/>
                    <a:gd name="T46" fmla="*/ 121 w 323"/>
                    <a:gd name="T47" fmla="*/ 334 h 349"/>
                    <a:gd name="T48" fmla="*/ 136 w 323"/>
                    <a:gd name="T49" fmla="*/ 319 h 349"/>
                    <a:gd name="T50" fmla="*/ 115 w 323"/>
                    <a:gd name="T51" fmla="*/ 315 h 349"/>
                    <a:gd name="T52" fmla="*/ 100 w 323"/>
                    <a:gd name="T53" fmla="*/ 287 h 349"/>
                    <a:gd name="T54" fmla="*/ 60 w 323"/>
                    <a:gd name="T55" fmla="*/ 283 h 349"/>
                    <a:gd name="T56" fmla="*/ 45 w 323"/>
                    <a:gd name="T57" fmla="*/ 298 h 349"/>
                    <a:gd name="T58" fmla="*/ 28 w 323"/>
                    <a:gd name="T59" fmla="*/ 258 h 349"/>
                    <a:gd name="T60" fmla="*/ 0 w 323"/>
                    <a:gd name="T61" fmla="*/ 247 h 349"/>
                    <a:gd name="T62" fmla="*/ 6 w 323"/>
                    <a:gd name="T63" fmla="*/ 243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3" h="349">
                      <a:moveTo>
                        <a:pt x="6" y="243"/>
                      </a:moveTo>
                      <a:lnTo>
                        <a:pt x="23" y="213"/>
                      </a:lnTo>
                      <a:lnTo>
                        <a:pt x="40" y="217"/>
                      </a:lnTo>
                      <a:lnTo>
                        <a:pt x="49" y="168"/>
                      </a:lnTo>
                      <a:lnTo>
                        <a:pt x="83" y="153"/>
                      </a:lnTo>
                      <a:lnTo>
                        <a:pt x="51" y="124"/>
                      </a:lnTo>
                      <a:lnTo>
                        <a:pt x="55" y="96"/>
                      </a:lnTo>
                      <a:lnTo>
                        <a:pt x="53" y="60"/>
                      </a:lnTo>
                      <a:lnTo>
                        <a:pt x="147" y="5"/>
                      </a:lnTo>
                      <a:lnTo>
                        <a:pt x="191" y="0"/>
                      </a:lnTo>
                      <a:lnTo>
                        <a:pt x="208" y="20"/>
                      </a:lnTo>
                      <a:lnTo>
                        <a:pt x="211" y="49"/>
                      </a:lnTo>
                      <a:lnTo>
                        <a:pt x="196" y="68"/>
                      </a:lnTo>
                      <a:lnTo>
                        <a:pt x="198" y="75"/>
                      </a:lnTo>
                      <a:lnTo>
                        <a:pt x="223" y="96"/>
                      </a:lnTo>
                      <a:lnTo>
                        <a:pt x="242" y="153"/>
                      </a:lnTo>
                      <a:lnTo>
                        <a:pt x="223" y="170"/>
                      </a:lnTo>
                      <a:lnTo>
                        <a:pt x="257" y="177"/>
                      </a:lnTo>
                      <a:lnTo>
                        <a:pt x="253" y="204"/>
                      </a:lnTo>
                      <a:lnTo>
                        <a:pt x="291" y="198"/>
                      </a:lnTo>
                      <a:lnTo>
                        <a:pt x="319" y="226"/>
                      </a:lnTo>
                      <a:lnTo>
                        <a:pt x="323" y="260"/>
                      </a:lnTo>
                      <a:lnTo>
                        <a:pt x="157" y="349"/>
                      </a:lnTo>
                      <a:lnTo>
                        <a:pt x="121" y="334"/>
                      </a:lnTo>
                      <a:lnTo>
                        <a:pt x="136" y="319"/>
                      </a:lnTo>
                      <a:lnTo>
                        <a:pt x="115" y="315"/>
                      </a:lnTo>
                      <a:lnTo>
                        <a:pt x="100" y="287"/>
                      </a:lnTo>
                      <a:lnTo>
                        <a:pt x="60" y="283"/>
                      </a:lnTo>
                      <a:lnTo>
                        <a:pt x="45" y="298"/>
                      </a:lnTo>
                      <a:lnTo>
                        <a:pt x="28" y="258"/>
                      </a:lnTo>
                      <a:lnTo>
                        <a:pt x="0" y="247"/>
                      </a:lnTo>
                      <a:lnTo>
                        <a:pt x="6" y="243"/>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grpSp>
            <p:nvGrpSpPr>
              <p:cNvPr id="347" name="Aquitaine (Formes)">
                <a:extLst>
                  <a:ext uri="{FF2B5EF4-FFF2-40B4-BE49-F238E27FC236}">
                    <a16:creationId xmlns:a16="http://schemas.microsoft.com/office/drawing/2014/main" id="{3C66D8B5-B42D-4B28-9A49-DE817773511B}"/>
                  </a:ext>
                </a:extLst>
              </p:cNvPr>
              <p:cNvGrpSpPr/>
              <p:nvPr/>
            </p:nvGrpSpPr>
            <p:grpSpPr>
              <a:xfrm>
                <a:off x="4894213" y="4297660"/>
                <a:ext cx="1254927" cy="1511357"/>
                <a:chOff x="4894213" y="4297660"/>
                <a:chExt cx="1254927" cy="1511357"/>
              </a:xfrm>
              <a:grpFill/>
            </p:grpSpPr>
            <p:sp>
              <p:nvSpPr>
                <p:cNvPr id="348" name="64">
                  <a:extLst>
                    <a:ext uri="{FF2B5EF4-FFF2-40B4-BE49-F238E27FC236}">
                      <a16:creationId xmlns:a16="http://schemas.microsoft.com/office/drawing/2014/main" id="{1941E795-EBB1-4C34-8935-F8BA58D6CDB2}"/>
                    </a:ext>
                  </a:extLst>
                </p:cNvPr>
                <p:cNvSpPr>
                  <a:spLocks/>
                </p:cNvSpPr>
                <p:nvPr/>
              </p:nvSpPr>
              <p:spPr bwMode="gray">
                <a:xfrm>
                  <a:off x="4894213" y="5390708"/>
                  <a:ext cx="691929" cy="418309"/>
                </a:xfrm>
                <a:custGeom>
                  <a:avLst/>
                  <a:gdLst>
                    <a:gd name="T0" fmla="*/ 15 w 483"/>
                    <a:gd name="T1" fmla="*/ 87 h 292"/>
                    <a:gd name="T2" fmla="*/ 41 w 483"/>
                    <a:gd name="T3" fmla="*/ 87 h 292"/>
                    <a:gd name="T4" fmla="*/ 45 w 483"/>
                    <a:gd name="T5" fmla="*/ 104 h 292"/>
                    <a:gd name="T6" fmla="*/ 66 w 483"/>
                    <a:gd name="T7" fmla="*/ 92 h 292"/>
                    <a:gd name="T8" fmla="*/ 100 w 483"/>
                    <a:gd name="T9" fmla="*/ 104 h 292"/>
                    <a:gd name="T10" fmla="*/ 96 w 483"/>
                    <a:gd name="T11" fmla="*/ 147 h 292"/>
                    <a:gd name="T12" fmla="*/ 77 w 483"/>
                    <a:gd name="T13" fmla="*/ 166 h 292"/>
                    <a:gd name="T14" fmla="*/ 85 w 483"/>
                    <a:gd name="T15" fmla="*/ 183 h 292"/>
                    <a:gd name="T16" fmla="*/ 109 w 483"/>
                    <a:gd name="T17" fmla="*/ 192 h 292"/>
                    <a:gd name="T18" fmla="*/ 115 w 483"/>
                    <a:gd name="T19" fmla="*/ 164 h 292"/>
                    <a:gd name="T20" fmla="*/ 130 w 483"/>
                    <a:gd name="T21" fmla="*/ 164 h 292"/>
                    <a:gd name="T22" fmla="*/ 132 w 483"/>
                    <a:gd name="T23" fmla="*/ 189 h 292"/>
                    <a:gd name="T24" fmla="*/ 211 w 483"/>
                    <a:gd name="T25" fmla="*/ 223 h 292"/>
                    <a:gd name="T26" fmla="*/ 268 w 483"/>
                    <a:gd name="T27" fmla="*/ 226 h 292"/>
                    <a:gd name="T28" fmla="*/ 311 w 483"/>
                    <a:gd name="T29" fmla="*/ 292 h 292"/>
                    <a:gd name="T30" fmla="*/ 332 w 483"/>
                    <a:gd name="T31" fmla="*/ 279 h 292"/>
                    <a:gd name="T32" fmla="*/ 383 w 483"/>
                    <a:gd name="T33" fmla="*/ 274 h 292"/>
                    <a:gd name="T34" fmla="*/ 381 w 483"/>
                    <a:gd name="T35" fmla="*/ 249 h 292"/>
                    <a:gd name="T36" fmla="*/ 483 w 483"/>
                    <a:gd name="T37" fmla="*/ 98 h 292"/>
                    <a:gd name="T38" fmla="*/ 476 w 483"/>
                    <a:gd name="T39" fmla="*/ 60 h 292"/>
                    <a:gd name="T40" fmla="*/ 459 w 483"/>
                    <a:gd name="T41" fmla="*/ 70 h 292"/>
                    <a:gd name="T42" fmla="*/ 472 w 483"/>
                    <a:gd name="T43" fmla="*/ 49 h 292"/>
                    <a:gd name="T44" fmla="*/ 453 w 483"/>
                    <a:gd name="T45" fmla="*/ 9 h 292"/>
                    <a:gd name="T46" fmla="*/ 417 w 483"/>
                    <a:gd name="T47" fmla="*/ 4 h 292"/>
                    <a:gd name="T48" fmla="*/ 362 w 483"/>
                    <a:gd name="T49" fmla="*/ 15 h 292"/>
                    <a:gd name="T50" fmla="*/ 355 w 483"/>
                    <a:gd name="T51" fmla="*/ 0 h 292"/>
                    <a:gd name="T52" fmla="*/ 315 w 483"/>
                    <a:gd name="T53" fmla="*/ 17 h 292"/>
                    <a:gd name="T54" fmla="*/ 274 w 483"/>
                    <a:gd name="T55" fmla="*/ 0 h 292"/>
                    <a:gd name="T56" fmla="*/ 175 w 483"/>
                    <a:gd name="T57" fmla="*/ 28 h 292"/>
                    <a:gd name="T58" fmla="*/ 168 w 483"/>
                    <a:gd name="T59" fmla="*/ 7 h 292"/>
                    <a:gd name="T60" fmla="*/ 113 w 483"/>
                    <a:gd name="T61" fmla="*/ 22 h 292"/>
                    <a:gd name="T62" fmla="*/ 79 w 483"/>
                    <a:gd name="T63" fmla="*/ 9 h 292"/>
                    <a:gd name="T64" fmla="*/ 75 w 483"/>
                    <a:gd name="T65" fmla="*/ 7 h 292"/>
                    <a:gd name="T66" fmla="*/ 32 w 483"/>
                    <a:gd name="T67" fmla="*/ 56 h 292"/>
                    <a:gd name="T68" fmla="*/ 0 w 483"/>
                    <a:gd name="T69" fmla="*/ 58 h 292"/>
                    <a:gd name="T70" fmla="*/ 15 w 483"/>
                    <a:gd name="T71" fmla="*/ 8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3" h="292">
                      <a:moveTo>
                        <a:pt x="15" y="87"/>
                      </a:moveTo>
                      <a:lnTo>
                        <a:pt x="41" y="87"/>
                      </a:lnTo>
                      <a:lnTo>
                        <a:pt x="45" y="104"/>
                      </a:lnTo>
                      <a:lnTo>
                        <a:pt x="66" y="92"/>
                      </a:lnTo>
                      <a:lnTo>
                        <a:pt x="100" y="104"/>
                      </a:lnTo>
                      <a:lnTo>
                        <a:pt x="96" y="147"/>
                      </a:lnTo>
                      <a:lnTo>
                        <a:pt x="77" y="166"/>
                      </a:lnTo>
                      <a:lnTo>
                        <a:pt x="85" y="183"/>
                      </a:lnTo>
                      <a:lnTo>
                        <a:pt x="109" y="192"/>
                      </a:lnTo>
                      <a:lnTo>
                        <a:pt x="115" y="164"/>
                      </a:lnTo>
                      <a:lnTo>
                        <a:pt x="130" y="164"/>
                      </a:lnTo>
                      <a:lnTo>
                        <a:pt x="132" y="189"/>
                      </a:lnTo>
                      <a:lnTo>
                        <a:pt x="211" y="223"/>
                      </a:lnTo>
                      <a:lnTo>
                        <a:pt x="268" y="226"/>
                      </a:lnTo>
                      <a:lnTo>
                        <a:pt x="311" y="292"/>
                      </a:lnTo>
                      <a:lnTo>
                        <a:pt x="332" y="279"/>
                      </a:lnTo>
                      <a:lnTo>
                        <a:pt x="383" y="274"/>
                      </a:lnTo>
                      <a:lnTo>
                        <a:pt x="381" y="249"/>
                      </a:lnTo>
                      <a:lnTo>
                        <a:pt x="483" y="98"/>
                      </a:lnTo>
                      <a:lnTo>
                        <a:pt x="476" y="60"/>
                      </a:lnTo>
                      <a:lnTo>
                        <a:pt x="459" y="70"/>
                      </a:lnTo>
                      <a:lnTo>
                        <a:pt x="472" y="49"/>
                      </a:lnTo>
                      <a:lnTo>
                        <a:pt x="453" y="9"/>
                      </a:lnTo>
                      <a:lnTo>
                        <a:pt x="417" y="4"/>
                      </a:lnTo>
                      <a:lnTo>
                        <a:pt x="362" y="15"/>
                      </a:lnTo>
                      <a:lnTo>
                        <a:pt x="355" y="0"/>
                      </a:lnTo>
                      <a:lnTo>
                        <a:pt x="315" y="17"/>
                      </a:lnTo>
                      <a:lnTo>
                        <a:pt x="274" y="0"/>
                      </a:lnTo>
                      <a:lnTo>
                        <a:pt x="175" y="28"/>
                      </a:lnTo>
                      <a:lnTo>
                        <a:pt x="168" y="7"/>
                      </a:lnTo>
                      <a:lnTo>
                        <a:pt x="113" y="22"/>
                      </a:lnTo>
                      <a:lnTo>
                        <a:pt x="79" y="9"/>
                      </a:lnTo>
                      <a:lnTo>
                        <a:pt x="75" y="7"/>
                      </a:lnTo>
                      <a:lnTo>
                        <a:pt x="32" y="56"/>
                      </a:lnTo>
                      <a:lnTo>
                        <a:pt x="0" y="58"/>
                      </a:lnTo>
                      <a:lnTo>
                        <a:pt x="15" y="87"/>
                      </a:lnTo>
                    </a:path>
                  </a:pathLst>
                </a:custGeom>
                <a:grp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49" name="24">
                  <a:extLst>
                    <a:ext uri="{FF2B5EF4-FFF2-40B4-BE49-F238E27FC236}">
                      <a16:creationId xmlns:a16="http://schemas.microsoft.com/office/drawing/2014/main" id="{F828A425-C9CE-4C72-9D01-BA815DAE67EF}"/>
                    </a:ext>
                  </a:extLst>
                </p:cNvPr>
                <p:cNvSpPr>
                  <a:spLocks/>
                </p:cNvSpPr>
                <p:nvPr/>
              </p:nvSpPr>
              <p:spPr bwMode="gray">
                <a:xfrm>
                  <a:off x="5594737" y="4297660"/>
                  <a:ext cx="554403" cy="603110"/>
                </a:xfrm>
                <a:custGeom>
                  <a:avLst/>
                  <a:gdLst>
                    <a:gd name="T0" fmla="*/ 2 w 387"/>
                    <a:gd name="T1" fmla="*/ 306 h 421"/>
                    <a:gd name="T2" fmla="*/ 32 w 387"/>
                    <a:gd name="T3" fmla="*/ 230 h 421"/>
                    <a:gd name="T4" fmla="*/ 26 w 387"/>
                    <a:gd name="T5" fmla="*/ 213 h 421"/>
                    <a:gd name="T6" fmla="*/ 4 w 387"/>
                    <a:gd name="T7" fmla="*/ 215 h 421"/>
                    <a:gd name="T8" fmla="*/ 17 w 387"/>
                    <a:gd name="T9" fmla="*/ 181 h 421"/>
                    <a:gd name="T10" fmla="*/ 51 w 387"/>
                    <a:gd name="T11" fmla="*/ 179 h 421"/>
                    <a:gd name="T12" fmla="*/ 87 w 387"/>
                    <a:gd name="T13" fmla="*/ 147 h 421"/>
                    <a:gd name="T14" fmla="*/ 87 w 387"/>
                    <a:gd name="T15" fmla="*/ 102 h 421"/>
                    <a:gd name="T16" fmla="*/ 132 w 387"/>
                    <a:gd name="T17" fmla="*/ 81 h 421"/>
                    <a:gd name="T18" fmla="*/ 155 w 387"/>
                    <a:gd name="T19" fmla="*/ 26 h 421"/>
                    <a:gd name="T20" fmla="*/ 185 w 387"/>
                    <a:gd name="T21" fmla="*/ 0 h 421"/>
                    <a:gd name="T22" fmla="*/ 213 w 387"/>
                    <a:gd name="T23" fmla="*/ 11 h 421"/>
                    <a:gd name="T24" fmla="*/ 230 w 387"/>
                    <a:gd name="T25" fmla="*/ 51 h 421"/>
                    <a:gd name="T26" fmla="*/ 245 w 387"/>
                    <a:gd name="T27" fmla="*/ 36 h 421"/>
                    <a:gd name="T28" fmla="*/ 285 w 387"/>
                    <a:gd name="T29" fmla="*/ 40 h 421"/>
                    <a:gd name="T30" fmla="*/ 300 w 387"/>
                    <a:gd name="T31" fmla="*/ 68 h 421"/>
                    <a:gd name="T32" fmla="*/ 321 w 387"/>
                    <a:gd name="T33" fmla="*/ 72 h 421"/>
                    <a:gd name="T34" fmla="*/ 306 w 387"/>
                    <a:gd name="T35" fmla="*/ 87 h 421"/>
                    <a:gd name="T36" fmla="*/ 342 w 387"/>
                    <a:gd name="T37" fmla="*/ 102 h 421"/>
                    <a:gd name="T38" fmla="*/ 359 w 387"/>
                    <a:gd name="T39" fmla="*/ 125 h 421"/>
                    <a:gd name="T40" fmla="*/ 336 w 387"/>
                    <a:gd name="T41" fmla="*/ 149 h 421"/>
                    <a:gd name="T42" fmla="*/ 347 w 387"/>
                    <a:gd name="T43" fmla="*/ 176 h 421"/>
                    <a:gd name="T44" fmla="*/ 332 w 387"/>
                    <a:gd name="T45" fmla="*/ 187 h 421"/>
                    <a:gd name="T46" fmla="*/ 334 w 387"/>
                    <a:gd name="T47" fmla="*/ 193 h 421"/>
                    <a:gd name="T48" fmla="*/ 379 w 387"/>
                    <a:gd name="T49" fmla="*/ 221 h 421"/>
                    <a:gd name="T50" fmla="*/ 370 w 387"/>
                    <a:gd name="T51" fmla="*/ 230 h 421"/>
                    <a:gd name="T52" fmla="*/ 387 w 387"/>
                    <a:gd name="T53" fmla="*/ 259 h 421"/>
                    <a:gd name="T54" fmla="*/ 385 w 387"/>
                    <a:gd name="T55" fmla="*/ 313 h 421"/>
                    <a:gd name="T56" fmla="*/ 285 w 387"/>
                    <a:gd name="T57" fmla="*/ 421 h 421"/>
                    <a:gd name="T58" fmla="*/ 262 w 387"/>
                    <a:gd name="T59" fmla="*/ 395 h 421"/>
                    <a:gd name="T60" fmla="*/ 223 w 387"/>
                    <a:gd name="T61" fmla="*/ 408 h 421"/>
                    <a:gd name="T62" fmla="*/ 213 w 387"/>
                    <a:gd name="T63" fmla="*/ 372 h 421"/>
                    <a:gd name="T64" fmla="*/ 100 w 387"/>
                    <a:gd name="T65" fmla="*/ 383 h 421"/>
                    <a:gd name="T66" fmla="*/ 85 w 387"/>
                    <a:gd name="T67" fmla="*/ 344 h 421"/>
                    <a:gd name="T68" fmla="*/ 85 w 387"/>
                    <a:gd name="T69" fmla="*/ 304 h 421"/>
                    <a:gd name="T70" fmla="*/ 58 w 387"/>
                    <a:gd name="T71" fmla="*/ 321 h 421"/>
                    <a:gd name="T72" fmla="*/ 0 w 387"/>
                    <a:gd name="T73" fmla="*/ 308 h 421"/>
                    <a:gd name="T74" fmla="*/ 2 w 387"/>
                    <a:gd name="T75" fmla="*/ 306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7" h="421">
                      <a:moveTo>
                        <a:pt x="2" y="306"/>
                      </a:moveTo>
                      <a:lnTo>
                        <a:pt x="32" y="230"/>
                      </a:lnTo>
                      <a:lnTo>
                        <a:pt x="26" y="213"/>
                      </a:lnTo>
                      <a:lnTo>
                        <a:pt x="4" y="215"/>
                      </a:lnTo>
                      <a:lnTo>
                        <a:pt x="17" y="181"/>
                      </a:lnTo>
                      <a:lnTo>
                        <a:pt x="51" y="179"/>
                      </a:lnTo>
                      <a:lnTo>
                        <a:pt x="87" y="147"/>
                      </a:lnTo>
                      <a:lnTo>
                        <a:pt x="87" y="102"/>
                      </a:lnTo>
                      <a:lnTo>
                        <a:pt x="132" y="81"/>
                      </a:lnTo>
                      <a:lnTo>
                        <a:pt x="155" y="26"/>
                      </a:lnTo>
                      <a:lnTo>
                        <a:pt x="185" y="0"/>
                      </a:lnTo>
                      <a:lnTo>
                        <a:pt x="213" y="11"/>
                      </a:lnTo>
                      <a:lnTo>
                        <a:pt x="230" y="51"/>
                      </a:lnTo>
                      <a:lnTo>
                        <a:pt x="245" y="36"/>
                      </a:lnTo>
                      <a:lnTo>
                        <a:pt x="285" y="40"/>
                      </a:lnTo>
                      <a:lnTo>
                        <a:pt x="300" y="68"/>
                      </a:lnTo>
                      <a:lnTo>
                        <a:pt x="321" y="72"/>
                      </a:lnTo>
                      <a:lnTo>
                        <a:pt x="306" y="87"/>
                      </a:lnTo>
                      <a:lnTo>
                        <a:pt x="342" y="102"/>
                      </a:lnTo>
                      <a:lnTo>
                        <a:pt x="359" y="125"/>
                      </a:lnTo>
                      <a:lnTo>
                        <a:pt x="336" y="149"/>
                      </a:lnTo>
                      <a:lnTo>
                        <a:pt x="347" y="176"/>
                      </a:lnTo>
                      <a:lnTo>
                        <a:pt x="332" y="187"/>
                      </a:lnTo>
                      <a:lnTo>
                        <a:pt x="334" y="193"/>
                      </a:lnTo>
                      <a:lnTo>
                        <a:pt x="379" y="221"/>
                      </a:lnTo>
                      <a:lnTo>
                        <a:pt x="370" y="230"/>
                      </a:lnTo>
                      <a:lnTo>
                        <a:pt x="387" y="259"/>
                      </a:lnTo>
                      <a:lnTo>
                        <a:pt x="385" y="313"/>
                      </a:lnTo>
                      <a:lnTo>
                        <a:pt x="285" y="421"/>
                      </a:lnTo>
                      <a:lnTo>
                        <a:pt x="262" y="395"/>
                      </a:lnTo>
                      <a:lnTo>
                        <a:pt x="223" y="408"/>
                      </a:lnTo>
                      <a:lnTo>
                        <a:pt x="213" y="372"/>
                      </a:lnTo>
                      <a:lnTo>
                        <a:pt x="100" y="383"/>
                      </a:lnTo>
                      <a:lnTo>
                        <a:pt x="85" y="344"/>
                      </a:lnTo>
                      <a:lnTo>
                        <a:pt x="85" y="304"/>
                      </a:lnTo>
                      <a:lnTo>
                        <a:pt x="58" y="321"/>
                      </a:lnTo>
                      <a:lnTo>
                        <a:pt x="0" y="308"/>
                      </a:lnTo>
                      <a:lnTo>
                        <a:pt x="2" y="306"/>
                      </a:lnTo>
                    </a:path>
                  </a:pathLst>
                </a:custGeom>
                <a:solidFill>
                  <a:schemeClr val="bg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50" name="33">
                  <a:extLst>
                    <a:ext uri="{FF2B5EF4-FFF2-40B4-BE49-F238E27FC236}">
                      <a16:creationId xmlns:a16="http://schemas.microsoft.com/office/drawing/2014/main" id="{5E6D9F59-649E-444A-BC2D-C979DE15FC95}"/>
                    </a:ext>
                  </a:extLst>
                </p:cNvPr>
                <p:cNvSpPr>
                  <a:spLocks/>
                </p:cNvSpPr>
                <p:nvPr/>
              </p:nvSpPr>
              <p:spPr bwMode="gray">
                <a:xfrm>
                  <a:off x="5132019" y="4343502"/>
                  <a:ext cx="584487" cy="730608"/>
                </a:xfrm>
                <a:custGeom>
                  <a:avLst/>
                  <a:gdLst>
                    <a:gd name="T0" fmla="*/ 0 w 408"/>
                    <a:gd name="T1" fmla="*/ 400 h 510"/>
                    <a:gd name="T2" fmla="*/ 13 w 408"/>
                    <a:gd name="T3" fmla="*/ 395 h 510"/>
                    <a:gd name="T4" fmla="*/ 38 w 408"/>
                    <a:gd name="T5" fmla="*/ 389 h 510"/>
                    <a:gd name="T6" fmla="*/ 70 w 408"/>
                    <a:gd name="T7" fmla="*/ 389 h 510"/>
                    <a:gd name="T8" fmla="*/ 57 w 408"/>
                    <a:gd name="T9" fmla="*/ 419 h 510"/>
                    <a:gd name="T10" fmla="*/ 159 w 408"/>
                    <a:gd name="T11" fmla="*/ 417 h 510"/>
                    <a:gd name="T12" fmla="*/ 157 w 408"/>
                    <a:gd name="T13" fmla="*/ 434 h 510"/>
                    <a:gd name="T14" fmla="*/ 223 w 408"/>
                    <a:gd name="T15" fmla="*/ 476 h 510"/>
                    <a:gd name="T16" fmla="*/ 219 w 408"/>
                    <a:gd name="T17" fmla="*/ 506 h 510"/>
                    <a:gd name="T18" fmla="*/ 264 w 408"/>
                    <a:gd name="T19" fmla="*/ 510 h 510"/>
                    <a:gd name="T20" fmla="*/ 274 w 408"/>
                    <a:gd name="T21" fmla="*/ 487 h 510"/>
                    <a:gd name="T22" fmla="*/ 287 w 408"/>
                    <a:gd name="T23" fmla="*/ 502 h 510"/>
                    <a:gd name="T24" fmla="*/ 315 w 408"/>
                    <a:gd name="T25" fmla="*/ 487 h 510"/>
                    <a:gd name="T26" fmla="*/ 306 w 408"/>
                    <a:gd name="T27" fmla="*/ 457 h 510"/>
                    <a:gd name="T28" fmla="*/ 330 w 408"/>
                    <a:gd name="T29" fmla="*/ 451 h 510"/>
                    <a:gd name="T30" fmla="*/ 327 w 408"/>
                    <a:gd name="T31" fmla="*/ 387 h 510"/>
                    <a:gd name="T32" fmla="*/ 376 w 408"/>
                    <a:gd name="T33" fmla="*/ 353 h 510"/>
                    <a:gd name="T34" fmla="*/ 357 w 408"/>
                    <a:gd name="T35" fmla="*/ 332 h 510"/>
                    <a:gd name="T36" fmla="*/ 408 w 408"/>
                    <a:gd name="T37" fmla="*/ 312 h 510"/>
                    <a:gd name="T38" fmla="*/ 408 w 408"/>
                    <a:gd name="T39" fmla="*/ 272 h 510"/>
                    <a:gd name="T40" fmla="*/ 381 w 408"/>
                    <a:gd name="T41" fmla="*/ 289 h 510"/>
                    <a:gd name="T42" fmla="*/ 323 w 408"/>
                    <a:gd name="T43" fmla="*/ 276 h 510"/>
                    <a:gd name="T44" fmla="*/ 325 w 408"/>
                    <a:gd name="T45" fmla="*/ 274 h 510"/>
                    <a:gd name="T46" fmla="*/ 355 w 408"/>
                    <a:gd name="T47" fmla="*/ 198 h 510"/>
                    <a:gd name="T48" fmla="*/ 349 w 408"/>
                    <a:gd name="T49" fmla="*/ 181 h 510"/>
                    <a:gd name="T50" fmla="*/ 327 w 408"/>
                    <a:gd name="T51" fmla="*/ 183 h 510"/>
                    <a:gd name="T52" fmla="*/ 238 w 408"/>
                    <a:gd name="T53" fmla="*/ 161 h 510"/>
                    <a:gd name="T54" fmla="*/ 232 w 408"/>
                    <a:gd name="T55" fmla="*/ 117 h 510"/>
                    <a:gd name="T56" fmla="*/ 193 w 408"/>
                    <a:gd name="T57" fmla="*/ 106 h 510"/>
                    <a:gd name="T58" fmla="*/ 191 w 408"/>
                    <a:gd name="T59" fmla="*/ 89 h 510"/>
                    <a:gd name="T60" fmla="*/ 157 w 408"/>
                    <a:gd name="T61" fmla="*/ 93 h 510"/>
                    <a:gd name="T62" fmla="*/ 172 w 408"/>
                    <a:gd name="T63" fmla="*/ 185 h 510"/>
                    <a:gd name="T64" fmla="*/ 206 w 408"/>
                    <a:gd name="T65" fmla="*/ 213 h 510"/>
                    <a:gd name="T66" fmla="*/ 179 w 408"/>
                    <a:gd name="T67" fmla="*/ 200 h 510"/>
                    <a:gd name="T68" fmla="*/ 196 w 408"/>
                    <a:gd name="T69" fmla="*/ 225 h 510"/>
                    <a:gd name="T70" fmla="*/ 159 w 408"/>
                    <a:gd name="T71" fmla="*/ 185 h 510"/>
                    <a:gd name="T72" fmla="*/ 130 w 408"/>
                    <a:gd name="T73" fmla="*/ 81 h 510"/>
                    <a:gd name="T74" fmla="*/ 68 w 408"/>
                    <a:gd name="T75" fmla="*/ 21 h 510"/>
                    <a:gd name="T76" fmla="*/ 72 w 408"/>
                    <a:gd name="T77" fmla="*/ 0 h 510"/>
                    <a:gd name="T78" fmla="*/ 49 w 408"/>
                    <a:gd name="T79" fmla="*/ 25 h 510"/>
                    <a:gd name="T80" fmla="*/ 0 w 408"/>
                    <a:gd name="T81" fmla="*/ 344 h 510"/>
                    <a:gd name="T82" fmla="*/ 30 w 408"/>
                    <a:gd name="T83" fmla="*/ 293 h 510"/>
                    <a:gd name="T84" fmla="*/ 64 w 408"/>
                    <a:gd name="T85" fmla="*/ 327 h 510"/>
                    <a:gd name="T86" fmla="*/ 17 w 408"/>
                    <a:gd name="T87" fmla="*/ 332 h 510"/>
                    <a:gd name="T88" fmla="*/ 0 w 408"/>
                    <a:gd name="T89" fmla="*/ 40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8" h="510">
                      <a:moveTo>
                        <a:pt x="0" y="400"/>
                      </a:moveTo>
                      <a:lnTo>
                        <a:pt x="13" y="395"/>
                      </a:lnTo>
                      <a:lnTo>
                        <a:pt x="38" y="389"/>
                      </a:lnTo>
                      <a:lnTo>
                        <a:pt x="70" y="389"/>
                      </a:lnTo>
                      <a:lnTo>
                        <a:pt x="57" y="419"/>
                      </a:lnTo>
                      <a:lnTo>
                        <a:pt x="159" y="417"/>
                      </a:lnTo>
                      <a:lnTo>
                        <a:pt x="157" y="434"/>
                      </a:lnTo>
                      <a:lnTo>
                        <a:pt x="223" y="476"/>
                      </a:lnTo>
                      <a:lnTo>
                        <a:pt x="219" y="506"/>
                      </a:lnTo>
                      <a:lnTo>
                        <a:pt x="264" y="510"/>
                      </a:lnTo>
                      <a:lnTo>
                        <a:pt x="274" y="487"/>
                      </a:lnTo>
                      <a:lnTo>
                        <a:pt x="287" y="502"/>
                      </a:lnTo>
                      <a:lnTo>
                        <a:pt x="315" y="487"/>
                      </a:lnTo>
                      <a:lnTo>
                        <a:pt x="306" y="457"/>
                      </a:lnTo>
                      <a:lnTo>
                        <a:pt x="330" y="451"/>
                      </a:lnTo>
                      <a:lnTo>
                        <a:pt x="327" y="387"/>
                      </a:lnTo>
                      <a:lnTo>
                        <a:pt x="376" y="353"/>
                      </a:lnTo>
                      <a:lnTo>
                        <a:pt x="357" y="332"/>
                      </a:lnTo>
                      <a:lnTo>
                        <a:pt x="408" y="312"/>
                      </a:lnTo>
                      <a:lnTo>
                        <a:pt x="408" y="272"/>
                      </a:lnTo>
                      <a:lnTo>
                        <a:pt x="381" y="289"/>
                      </a:lnTo>
                      <a:lnTo>
                        <a:pt x="323" y="276"/>
                      </a:lnTo>
                      <a:lnTo>
                        <a:pt x="325" y="274"/>
                      </a:lnTo>
                      <a:lnTo>
                        <a:pt x="355" y="198"/>
                      </a:lnTo>
                      <a:lnTo>
                        <a:pt x="349" y="181"/>
                      </a:lnTo>
                      <a:lnTo>
                        <a:pt x="327" y="183"/>
                      </a:lnTo>
                      <a:lnTo>
                        <a:pt x="238" y="161"/>
                      </a:lnTo>
                      <a:lnTo>
                        <a:pt x="232" y="117"/>
                      </a:lnTo>
                      <a:lnTo>
                        <a:pt x="193" y="106"/>
                      </a:lnTo>
                      <a:lnTo>
                        <a:pt x="191" y="89"/>
                      </a:lnTo>
                      <a:lnTo>
                        <a:pt x="157" y="93"/>
                      </a:lnTo>
                      <a:lnTo>
                        <a:pt x="172" y="185"/>
                      </a:lnTo>
                      <a:lnTo>
                        <a:pt x="206" y="213"/>
                      </a:lnTo>
                      <a:lnTo>
                        <a:pt x="179" y="200"/>
                      </a:lnTo>
                      <a:lnTo>
                        <a:pt x="196" y="225"/>
                      </a:lnTo>
                      <a:lnTo>
                        <a:pt x="159" y="185"/>
                      </a:lnTo>
                      <a:lnTo>
                        <a:pt x="130" y="81"/>
                      </a:lnTo>
                      <a:lnTo>
                        <a:pt x="68" y="21"/>
                      </a:lnTo>
                      <a:lnTo>
                        <a:pt x="72" y="0"/>
                      </a:lnTo>
                      <a:lnTo>
                        <a:pt x="49" y="25"/>
                      </a:lnTo>
                      <a:lnTo>
                        <a:pt x="0" y="344"/>
                      </a:lnTo>
                      <a:lnTo>
                        <a:pt x="30" y="293"/>
                      </a:lnTo>
                      <a:lnTo>
                        <a:pt x="64" y="327"/>
                      </a:lnTo>
                      <a:lnTo>
                        <a:pt x="17" y="332"/>
                      </a:lnTo>
                      <a:lnTo>
                        <a:pt x="0" y="400"/>
                      </a:lnTo>
                    </a:path>
                  </a:pathLst>
                </a:custGeom>
                <a:solidFill>
                  <a:schemeClr val="bg2">
                    <a:lumMod val="40000"/>
                    <a:lumOff val="60000"/>
                  </a:schemeClr>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51" name="40">
                  <a:extLst>
                    <a:ext uri="{FF2B5EF4-FFF2-40B4-BE49-F238E27FC236}">
                      <a16:creationId xmlns:a16="http://schemas.microsoft.com/office/drawing/2014/main" id="{2E724DBC-CE18-4C29-9D65-EE10183037D5}"/>
                    </a:ext>
                  </a:extLst>
                </p:cNvPr>
                <p:cNvSpPr>
                  <a:spLocks/>
                </p:cNvSpPr>
                <p:nvPr/>
              </p:nvSpPr>
              <p:spPr bwMode="gray">
                <a:xfrm>
                  <a:off x="5001656" y="4900770"/>
                  <a:ext cx="641789" cy="530049"/>
                </a:xfrm>
                <a:custGeom>
                  <a:avLst/>
                  <a:gdLst>
                    <a:gd name="T0" fmla="*/ 4 w 448"/>
                    <a:gd name="T1" fmla="*/ 351 h 370"/>
                    <a:gd name="T2" fmla="*/ 38 w 448"/>
                    <a:gd name="T3" fmla="*/ 364 h 370"/>
                    <a:gd name="T4" fmla="*/ 93 w 448"/>
                    <a:gd name="T5" fmla="*/ 349 h 370"/>
                    <a:gd name="T6" fmla="*/ 100 w 448"/>
                    <a:gd name="T7" fmla="*/ 370 h 370"/>
                    <a:gd name="T8" fmla="*/ 199 w 448"/>
                    <a:gd name="T9" fmla="*/ 342 h 370"/>
                    <a:gd name="T10" fmla="*/ 240 w 448"/>
                    <a:gd name="T11" fmla="*/ 359 h 370"/>
                    <a:gd name="T12" fmla="*/ 280 w 448"/>
                    <a:gd name="T13" fmla="*/ 342 h 370"/>
                    <a:gd name="T14" fmla="*/ 287 w 448"/>
                    <a:gd name="T15" fmla="*/ 357 h 370"/>
                    <a:gd name="T16" fmla="*/ 342 w 448"/>
                    <a:gd name="T17" fmla="*/ 346 h 370"/>
                    <a:gd name="T18" fmla="*/ 331 w 448"/>
                    <a:gd name="T19" fmla="*/ 334 h 370"/>
                    <a:gd name="T20" fmla="*/ 331 w 448"/>
                    <a:gd name="T21" fmla="*/ 327 h 370"/>
                    <a:gd name="T22" fmla="*/ 357 w 448"/>
                    <a:gd name="T23" fmla="*/ 291 h 370"/>
                    <a:gd name="T24" fmla="*/ 359 w 448"/>
                    <a:gd name="T25" fmla="*/ 238 h 370"/>
                    <a:gd name="T26" fmla="*/ 346 w 448"/>
                    <a:gd name="T27" fmla="*/ 232 h 370"/>
                    <a:gd name="T28" fmla="*/ 401 w 448"/>
                    <a:gd name="T29" fmla="*/ 206 h 370"/>
                    <a:gd name="T30" fmla="*/ 429 w 448"/>
                    <a:gd name="T31" fmla="*/ 234 h 370"/>
                    <a:gd name="T32" fmla="*/ 431 w 448"/>
                    <a:gd name="T33" fmla="*/ 204 h 370"/>
                    <a:gd name="T34" fmla="*/ 448 w 448"/>
                    <a:gd name="T35" fmla="*/ 155 h 370"/>
                    <a:gd name="T36" fmla="*/ 380 w 448"/>
                    <a:gd name="T37" fmla="*/ 140 h 370"/>
                    <a:gd name="T38" fmla="*/ 380 w 448"/>
                    <a:gd name="T39" fmla="*/ 119 h 370"/>
                    <a:gd name="T40" fmla="*/ 378 w 448"/>
                    <a:gd name="T41" fmla="*/ 113 h 370"/>
                    <a:gd name="T42" fmla="*/ 365 w 448"/>
                    <a:gd name="T43" fmla="*/ 98 h 370"/>
                    <a:gd name="T44" fmla="*/ 355 w 448"/>
                    <a:gd name="T45" fmla="*/ 121 h 370"/>
                    <a:gd name="T46" fmla="*/ 310 w 448"/>
                    <a:gd name="T47" fmla="*/ 117 h 370"/>
                    <a:gd name="T48" fmla="*/ 314 w 448"/>
                    <a:gd name="T49" fmla="*/ 87 h 370"/>
                    <a:gd name="T50" fmla="*/ 248 w 448"/>
                    <a:gd name="T51" fmla="*/ 45 h 370"/>
                    <a:gd name="T52" fmla="*/ 250 w 448"/>
                    <a:gd name="T53" fmla="*/ 28 h 370"/>
                    <a:gd name="T54" fmla="*/ 148 w 448"/>
                    <a:gd name="T55" fmla="*/ 30 h 370"/>
                    <a:gd name="T56" fmla="*/ 161 w 448"/>
                    <a:gd name="T57" fmla="*/ 0 h 370"/>
                    <a:gd name="T58" fmla="*/ 129 w 448"/>
                    <a:gd name="T59" fmla="*/ 0 h 370"/>
                    <a:gd name="T60" fmla="*/ 104 w 448"/>
                    <a:gd name="T61" fmla="*/ 6 h 370"/>
                    <a:gd name="T62" fmla="*/ 91 w 448"/>
                    <a:gd name="T63" fmla="*/ 11 h 370"/>
                    <a:gd name="T64" fmla="*/ 23 w 448"/>
                    <a:gd name="T65" fmla="*/ 302 h 370"/>
                    <a:gd name="T66" fmla="*/ 0 w 448"/>
                    <a:gd name="T67" fmla="*/ 349 h 370"/>
                    <a:gd name="T68" fmla="*/ 4 w 448"/>
                    <a:gd name="T69" fmla="*/ 351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8" h="370">
                      <a:moveTo>
                        <a:pt x="4" y="351"/>
                      </a:moveTo>
                      <a:lnTo>
                        <a:pt x="38" y="364"/>
                      </a:lnTo>
                      <a:lnTo>
                        <a:pt x="93" y="349"/>
                      </a:lnTo>
                      <a:lnTo>
                        <a:pt x="100" y="370"/>
                      </a:lnTo>
                      <a:lnTo>
                        <a:pt x="199" y="342"/>
                      </a:lnTo>
                      <a:lnTo>
                        <a:pt x="240" y="359"/>
                      </a:lnTo>
                      <a:lnTo>
                        <a:pt x="280" y="342"/>
                      </a:lnTo>
                      <a:lnTo>
                        <a:pt x="287" y="357"/>
                      </a:lnTo>
                      <a:lnTo>
                        <a:pt x="342" y="346"/>
                      </a:lnTo>
                      <a:lnTo>
                        <a:pt x="331" y="334"/>
                      </a:lnTo>
                      <a:lnTo>
                        <a:pt x="331" y="327"/>
                      </a:lnTo>
                      <a:lnTo>
                        <a:pt x="357" y="291"/>
                      </a:lnTo>
                      <a:lnTo>
                        <a:pt x="359" y="238"/>
                      </a:lnTo>
                      <a:lnTo>
                        <a:pt x="346" y="232"/>
                      </a:lnTo>
                      <a:lnTo>
                        <a:pt x="401" y="206"/>
                      </a:lnTo>
                      <a:lnTo>
                        <a:pt x="429" y="234"/>
                      </a:lnTo>
                      <a:lnTo>
                        <a:pt x="431" y="204"/>
                      </a:lnTo>
                      <a:lnTo>
                        <a:pt x="448" y="155"/>
                      </a:lnTo>
                      <a:lnTo>
                        <a:pt x="380" y="140"/>
                      </a:lnTo>
                      <a:lnTo>
                        <a:pt x="380" y="119"/>
                      </a:lnTo>
                      <a:lnTo>
                        <a:pt x="378" y="113"/>
                      </a:lnTo>
                      <a:lnTo>
                        <a:pt x="365" y="98"/>
                      </a:lnTo>
                      <a:lnTo>
                        <a:pt x="355" y="121"/>
                      </a:lnTo>
                      <a:lnTo>
                        <a:pt x="310" y="117"/>
                      </a:lnTo>
                      <a:lnTo>
                        <a:pt x="314" y="87"/>
                      </a:lnTo>
                      <a:lnTo>
                        <a:pt x="248" y="45"/>
                      </a:lnTo>
                      <a:lnTo>
                        <a:pt x="250" y="28"/>
                      </a:lnTo>
                      <a:lnTo>
                        <a:pt x="148" y="30"/>
                      </a:lnTo>
                      <a:lnTo>
                        <a:pt x="161" y="0"/>
                      </a:lnTo>
                      <a:lnTo>
                        <a:pt x="129" y="0"/>
                      </a:lnTo>
                      <a:lnTo>
                        <a:pt x="104" y="6"/>
                      </a:lnTo>
                      <a:lnTo>
                        <a:pt x="91" y="11"/>
                      </a:lnTo>
                      <a:lnTo>
                        <a:pt x="23" y="302"/>
                      </a:lnTo>
                      <a:lnTo>
                        <a:pt x="0" y="349"/>
                      </a:lnTo>
                      <a:lnTo>
                        <a:pt x="4" y="351"/>
                      </a:lnTo>
                    </a:path>
                  </a:pathLst>
                </a:custGeom>
                <a:solidFill>
                  <a:schemeClr val="bg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52" name="47">
                  <a:extLst>
                    <a:ext uri="{FF2B5EF4-FFF2-40B4-BE49-F238E27FC236}">
                      <a16:creationId xmlns:a16="http://schemas.microsoft.com/office/drawing/2014/main" id="{F1D46F71-BD4A-4834-8182-E8F9E6E0EB5B}"/>
                    </a:ext>
                  </a:extLst>
                </p:cNvPr>
                <p:cNvSpPr>
                  <a:spLocks/>
                </p:cNvSpPr>
                <p:nvPr/>
              </p:nvSpPr>
              <p:spPr bwMode="gray">
                <a:xfrm>
                  <a:off x="5543165" y="4790463"/>
                  <a:ext cx="459854" cy="411147"/>
                </a:xfrm>
                <a:custGeom>
                  <a:avLst/>
                  <a:gdLst>
                    <a:gd name="T0" fmla="*/ 2 w 321"/>
                    <a:gd name="T1" fmla="*/ 196 h 287"/>
                    <a:gd name="T2" fmla="*/ 2 w 321"/>
                    <a:gd name="T3" fmla="*/ 217 h 287"/>
                    <a:gd name="T4" fmla="*/ 70 w 321"/>
                    <a:gd name="T5" fmla="*/ 232 h 287"/>
                    <a:gd name="T6" fmla="*/ 53 w 321"/>
                    <a:gd name="T7" fmla="*/ 281 h 287"/>
                    <a:gd name="T8" fmla="*/ 74 w 321"/>
                    <a:gd name="T9" fmla="*/ 287 h 287"/>
                    <a:gd name="T10" fmla="*/ 89 w 321"/>
                    <a:gd name="T11" fmla="*/ 270 h 287"/>
                    <a:gd name="T12" fmla="*/ 113 w 321"/>
                    <a:gd name="T13" fmla="*/ 281 h 287"/>
                    <a:gd name="T14" fmla="*/ 187 w 321"/>
                    <a:gd name="T15" fmla="*/ 253 h 287"/>
                    <a:gd name="T16" fmla="*/ 206 w 321"/>
                    <a:gd name="T17" fmla="*/ 273 h 287"/>
                    <a:gd name="T18" fmla="*/ 230 w 321"/>
                    <a:gd name="T19" fmla="*/ 260 h 287"/>
                    <a:gd name="T20" fmla="*/ 230 w 321"/>
                    <a:gd name="T21" fmla="*/ 251 h 287"/>
                    <a:gd name="T22" fmla="*/ 242 w 321"/>
                    <a:gd name="T23" fmla="*/ 232 h 287"/>
                    <a:gd name="T24" fmla="*/ 266 w 321"/>
                    <a:gd name="T25" fmla="*/ 236 h 287"/>
                    <a:gd name="T26" fmla="*/ 259 w 321"/>
                    <a:gd name="T27" fmla="*/ 219 h 287"/>
                    <a:gd name="T28" fmla="*/ 285 w 321"/>
                    <a:gd name="T29" fmla="*/ 185 h 287"/>
                    <a:gd name="T30" fmla="*/ 266 w 321"/>
                    <a:gd name="T31" fmla="*/ 171 h 287"/>
                    <a:gd name="T32" fmla="*/ 272 w 321"/>
                    <a:gd name="T33" fmla="*/ 149 h 287"/>
                    <a:gd name="T34" fmla="*/ 317 w 321"/>
                    <a:gd name="T35" fmla="*/ 147 h 287"/>
                    <a:gd name="T36" fmla="*/ 298 w 321"/>
                    <a:gd name="T37" fmla="*/ 88 h 287"/>
                    <a:gd name="T38" fmla="*/ 300 w 321"/>
                    <a:gd name="T39" fmla="*/ 85 h 287"/>
                    <a:gd name="T40" fmla="*/ 321 w 321"/>
                    <a:gd name="T41" fmla="*/ 77 h 287"/>
                    <a:gd name="T42" fmla="*/ 298 w 321"/>
                    <a:gd name="T43" fmla="*/ 51 h 287"/>
                    <a:gd name="T44" fmla="*/ 259 w 321"/>
                    <a:gd name="T45" fmla="*/ 64 h 287"/>
                    <a:gd name="T46" fmla="*/ 249 w 321"/>
                    <a:gd name="T47" fmla="*/ 28 h 287"/>
                    <a:gd name="T48" fmla="*/ 136 w 321"/>
                    <a:gd name="T49" fmla="*/ 39 h 287"/>
                    <a:gd name="T50" fmla="*/ 121 w 321"/>
                    <a:gd name="T51" fmla="*/ 0 h 287"/>
                    <a:gd name="T52" fmla="*/ 70 w 321"/>
                    <a:gd name="T53" fmla="*/ 20 h 287"/>
                    <a:gd name="T54" fmla="*/ 89 w 321"/>
                    <a:gd name="T55" fmla="*/ 41 h 287"/>
                    <a:gd name="T56" fmla="*/ 40 w 321"/>
                    <a:gd name="T57" fmla="*/ 75 h 287"/>
                    <a:gd name="T58" fmla="*/ 43 w 321"/>
                    <a:gd name="T59" fmla="*/ 139 h 287"/>
                    <a:gd name="T60" fmla="*/ 19 w 321"/>
                    <a:gd name="T61" fmla="*/ 145 h 287"/>
                    <a:gd name="T62" fmla="*/ 28 w 321"/>
                    <a:gd name="T63" fmla="*/ 175 h 287"/>
                    <a:gd name="T64" fmla="*/ 0 w 321"/>
                    <a:gd name="T65" fmla="*/ 190 h 287"/>
                    <a:gd name="T66" fmla="*/ 2 w 321"/>
                    <a:gd name="T67" fmla="*/ 1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87">
                      <a:moveTo>
                        <a:pt x="2" y="196"/>
                      </a:moveTo>
                      <a:lnTo>
                        <a:pt x="2" y="217"/>
                      </a:lnTo>
                      <a:lnTo>
                        <a:pt x="70" y="232"/>
                      </a:lnTo>
                      <a:lnTo>
                        <a:pt x="53" y="281"/>
                      </a:lnTo>
                      <a:lnTo>
                        <a:pt x="74" y="287"/>
                      </a:lnTo>
                      <a:lnTo>
                        <a:pt x="89" y="270"/>
                      </a:lnTo>
                      <a:lnTo>
                        <a:pt x="113" y="281"/>
                      </a:lnTo>
                      <a:lnTo>
                        <a:pt x="187" y="253"/>
                      </a:lnTo>
                      <a:lnTo>
                        <a:pt x="206" y="273"/>
                      </a:lnTo>
                      <a:lnTo>
                        <a:pt x="230" y="260"/>
                      </a:lnTo>
                      <a:lnTo>
                        <a:pt x="230" y="251"/>
                      </a:lnTo>
                      <a:lnTo>
                        <a:pt x="242" y="232"/>
                      </a:lnTo>
                      <a:lnTo>
                        <a:pt x="266" y="236"/>
                      </a:lnTo>
                      <a:lnTo>
                        <a:pt x="259" y="219"/>
                      </a:lnTo>
                      <a:lnTo>
                        <a:pt x="285" y="185"/>
                      </a:lnTo>
                      <a:lnTo>
                        <a:pt x="266" y="171"/>
                      </a:lnTo>
                      <a:lnTo>
                        <a:pt x="272" y="149"/>
                      </a:lnTo>
                      <a:lnTo>
                        <a:pt x="317" y="147"/>
                      </a:lnTo>
                      <a:lnTo>
                        <a:pt x="298" y="88"/>
                      </a:lnTo>
                      <a:lnTo>
                        <a:pt x="300" y="85"/>
                      </a:lnTo>
                      <a:lnTo>
                        <a:pt x="321" y="77"/>
                      </a:lnTo>
                      <a:lnTo>
                        <a:pt x="298" y="51"/>
                      </a:lnTo>
                      <a:lnTo>
                        <a:pt x="259" y="64"/>
                      </a:lnTo>
                      <a:lnTo>
                        <a:pt x="249" y="28"/>
                      </a:lnTo>
                      <a:lnTo>
                        <a:pt x="136" y="39"/>
                      </a:lnTo>
                      <a:lnTo>
                        <a:pt x="121" y="0"/>
                      </a:lnTo>
                      <a:lnTo>
                        <a:pt x="70" y="20"/>
                      </a:lnTo>
                      <a:lnTo>
                        <a:pt x="89" y="41"/>
                      </a:lnTo>
                      <a:lnTo>
                        <a:pt x="40" y="75"/>
                      </a:lnTo>
                      <a:lnTo>
                        <a:pt x="43" y="139"/>
                      </a:lnTo>
                      <a:lnTo>
                        <a:pt x="19" y="145"/>
                      </a:lnTo>
                      <a:lnTo>
                        <a:pt x="28" y="175"/>
                      </a:lnTo>
                      <a:lnTo>
                        <a:pt x="0" y="190"/>
                      </a:lnTo>
                      <a:lnTo>
                        <a:pt x="2" y="196"/>
                      </a:lnTo>
                    </a:path>
                  </a:pathLst>
                </a:custGeom>
                <a:grp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grpSp>
        <p:grpSp>
          <p:nvGrpSpPr>
            <p:cNvPr id="302" name="Alsace Lorraine Champagne Ardennes (Formes)">
              <a:extLst>
                <a:ext uri="{FF2B5EF4-FFF2-40B4-BE49-F238E27FC236}">
                  <a16:creationId xmlns:a16="http://schemas.microsoft.com/office/drawing/2014/main" id="{18FF848C-BF38-4816-8A1A-10C58649C722}"/>
                </a:ext>
              </a:extLst>
            </p:cNvPr>
            <p:cNvGrpSpPr/>
            <p:nvPr/>
          </p:nvGrpSpPr>
          <p:grpSpPr>
            <a:xfrm>
              <a:off x="7621743" y="1816115"/>
              <a:ext cx="1668939" cy="1395320"/>
              <a:chOff x="6868287" y="1985500"/>
              <a:chExt cx="1668939" cy="1395320"/>
            </a:xfrm>
            <a:solidFill>
              <a:srgbClr val="8C9B9C"/>
            </a:solidFill>
          </p:grpSpPr>
          <p:grpSp>
            <p:nvGrpSpPr>
              <p:cNvPr id="317" name="Lorraine (Formes)">
                <a:extLst>
                  <a:ext uri="{FF2B5EF4-FFF2-40B4-BE49-F238E27FC236}">
                    <a16:creationId xmlns:a16="http://schemas.microsoft.com/office/drawing/2014/main" id="{4068D929-9276-49C4-A381-F082B999BC11}"/>
                  </a:ext>
                </a:extLst>
              </p:cNvPr>
              <p:cNvGrpSpPr/>
              <p:nvPr/>
            </p:nvGrpSpPr>
            <p:grpSpPr>
              <a:xfrm>
                <a:off x="7385444" y="2263417"/>
                <a:ext cx="944061" cy="925439"/>
                <a:chOff x="7385444" y="2263417"/>
                <a:chExt cx="944061" cy="925439"/>
              </a:xfrm>
              <a:grpFill/>
            </p:grpSpPr>
            <p:sp>
              <p:nvSpPr>
                <p:cNvPr id="326" name="54">
                  <a:extLst>
                    <a:ext uri="{FF2B5EF4-FFF2-40B4-BE49-F238E27FC236}">
                      <a16:creationId xmlns:a16="http://schemas.microsoft.com/office/drawing/2014/main" id="{84945FAB-686F-4D45-A5CC-EAEF3087A346}"/>
                    </a:ext>
                  </a:extLst>
                </p:cNvPr>
                <p:cNvSpPr>
                  <a:spLocks/>
                </p:cNvSpPr>
                <p:nvPr/>
              </p:nvSpPr>
              <p:spPr bwMode="gray">
                <a:xfrm>
                  <a:off x="7571678" y="2287771"/>
                  <a:ext cx="593082" cy="633194"/>
                </a:xfrm>
                <a:custGeom>
                  <a:avLst/>
                  <a:gdLst>
                    <a:gd name="T0" fmla="*/ 0 w 414"/>
                    <a:gd name="T1" fmla="*/ 59 h 442"/>
                    <a:gd name="T2" fmla="*/ 15 w 414"/>
                    <a:gd name="T3" fmla="*/ 55 h 442"/>
                    <a:gd name="T4" fmla="*/ 6 w 414"/>
                    <a:gd name="T5" fmla="*/ 25 h 442"/>
                    <a:gd name="T6" fmla="*/ 76 w 414"/>
                    <a:gd name="T7" fmla="*/ 0 h 442"/>
                    <a:gd name="T8" fmla="*/ 104 w 414"/>
                    <a:gd name="T9" fmla="*/ 23 h 442"/>
                    <a:gd name="T10" fmla="*/ 106 w 414"/>
                    <a:gd name="T11" fmla="*/ 30 h 442"/>
                    <a:gd name="T12" fmla="*/ 140 w 414"/>
                    <a:gd name="T13" fmla="*/ 113 h 442"/>
                    <a:gd name="T14" fmla="*/ 136 w 414"/>
                    <a:gd name="T15" fmla="*/ 164 h 442"/>
                    <a:gd name="T16" fmla="*/ 119 w 414"/>
                    <a:gd name="T17" fmla="*/ 172 h 442"/>
                    <a:gd name="T18" fmla="*/ 148 w 414"/>
                    <a:gd name="T19" fmla="*/ 212 h 442"/>
                    <a:gd name="T20" fmla="*/ 212 w 414"/>
                    <a:gd name="T21" fmla="*/ 232 h 442"/>
                    <a:gd name="T22" fmla="*/ 208 w 414"/>
                    <a:gd name="T23" fmla="*/ 257 h 442"/>
                    <a:gd name="T24" fmla="*/ 227 w 414"/>
                    <a:gd name="T25" fmla="*/ 280 h 442"/>
                    <a:gd name="T26" fmla="*/ 274 w 414"/>
                    <a:gd name="T27" fmla="*/ 289 h 442"/>
                    <a:gd name="T28" fmla="*/ 302 w 414"/>
                    <a:gd name="T29" fmla="*/ 319 h 442"/>
                    <a:gd name="T30" fmla="*/ 387 w 414"/>
                    <a:gd name="T31" fmla="*/ 338 h 442"/>
                    <a:gd name="T32" fmla="*/ 401 w 414"/>
                    <a:gd name="T33" fmla="*/ 366 h 442"/>
                    <a:gd name="T34" fmla="*/ 414 w 414"/>
                    <a:gd name="T35" fmla="*/ 372 h 442"/>
                    <a:gd name="T36" fmla="*/ 333 w 414"/>
                    <a:gd name="T37" fmla="*/ 421 h 442"/>
                    <a:gd name="T38" fmla="*/ 297 w 414"/>
                    <a:gd name="T39" fmla="*/ 393 h 442"/>
                    <a:gd name="T40" fmla="*/ 285 w 414"/>
                    <a:gd name="T41" fmla="*/ 412 h 442"/>
                    <a:gd name="T42" fmla="*/ 244 w 414"/>
                    <a:gd name="T43" fmla="*/ 423 h 442"/>
                    <a:gd name="T44" fmla="*/ 217 w 414"/>
                    <a:gd name="T45" fmla="*/ 408 h 442"/>
                    <a:gd name="T46" fmla="*/ 180 w 414"/>
                    <a:gd name="T47" fmla="*/ 421 h 442"/>
                    <a:gd name="T48" fmla="*/ 172 w 414"/>
                    <a:gd name="T49" fmla="*/ 440 h 442"/>
                    <a:gd name="T50" fmla="*/ 165 w 414"/>
                    <a:gd name="T51" fmla="*/ 429 h 442"/>
                    <a:gd name="T52" fmla="*/ 136 w 414"/>
                    <a:gd name="T53" fmla="*/ 442 h 442"/>
                    <a:gd name="T54" fmla="*/ 127 w 414"/>
                    <a:gd name="T55" fmla="*/ 412 h 442"/>
                    <a:gd name="T56" fmla="*/ 110 w 414"/>
                    <a:gd name="T57" fmla="*/ 421 h 442"/>
                    <a:gd name="T58" fmla="*/ 119 w 414"/>
                    <a:gd name="T59" fmla="*/ 389 h 442"/>
                    <a:gd name="T60" fmla="*/ 85 w 414"/>
                    <a:gd name="T61" fmla="*/ 391 h 442"/>
                    <a:gd name="T62" fmla="*/ 72 w 414"/>
                    <a:gd name="T63" fmla="*/ 361 h 442"/>
                    <a:gd name="T64" fmla="*/ 93 w 414"/>
                    <a:gd name="T65" fmla="*/ 342 h 442"/>
                    <a:gd name="T66" fmla="*/ 83 w 414"/>
                    <a:gd name="T67" fmla="*/ 344 h 442"/>
                    <a:gd name="T68" fmla="*/ 72 w 414"/>
                    <a:gd name="T69" fmla="*/ 300 h 442"/>
                    <a:gd name="T70" fmla="*/ 100 w 414"/>
                    <a:gd name="T71" fmla="*/ 189 h 442"/>
                    <a:gd name="T72" fmla="*/ 68 w 414"/>
                    <a:gd name="T73" fmla="*/ 134 h 442"/>
                    <a:gd name="T74" fmla="*/ 78 w 414"/>
                    <a:gd name="T75" fmla="*/ 96 h 442"/>
                    <a:gd name="T76" fmla="*/ 68 w 414"/>
                    <a:gd name="T77" fmla="*/ 59 h 442"/>
                    <a:gd name="T78" fmla="*/ 44 w 414"/>
                    <a:gd name="T79" fmla="*/ 47 h 442"/>
                    <a:gd name="T80" fmla="*/ 0 w 414"/>
                    <a:gd name="T81" fmla="*/ 62 h 442"/>
                    <a:gd name="T82" fmla="*/ 0 w 414"/>
                    <a:gd name="T83" fmla="*/ 59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14" h="442">
                      <a:moveTo>
                        <a:pt x="0" y="59"/>
                      </a:moveTo>
                      <a:lnTo>
                        <a:pt x="15" y="55"/>
                      </a:lnTo>
                      <a:lnTo>
                        <a:pt x="6" y="25"/>
                      </a:lnTo>
                      <a:lnTo>
                        <a:pt x="76" y="0"/>
                      </a:lnTo>
                      <a:lnTo>
                        <a:pt x="104" y="23"/>
                      </a:lnTo>
                      <a:lnTo>
                        <a:pt x="106" y="30"/>
                      </a:lnTo>
                      <a:lnTo>
                        <a:pt x="140" y="113"/>
                      </a:lnTo>
                      <a:lnTo>
                        <a:pt x="136" y="164"/>
                      </a:lnTo>
                      <a:lnTo>
                        <a:pt x="119" y="172"/>
                      </a:lnTo>
                      <a:lnTo>
                        <a:pt x="148" y="212"/>
                      </a:lnTo>
                      <a:lnTo>
                        <a:pt x="212" y="232"/>
                      </a:lnTo>
                      <a:lnTo>
                        <a:pt x="208" y="257"/>
                      </a:lnTo>
                      <a:lnTo>
                        <a:pt x="227" y="280"/>
                      </a:lnTo>
                      <a:lnTo>
                        <a:pt x="274" y="289"/>
                      </a:lnTo>
                      <a:lnTo>
                        <a:pt x="302" y="319"/>
                      </a:lnTo>
                      <a:lnTo>
                        <a:pt x="387" y="338"/>
                      </a:lnTo>
                      <a:lnTo>
                        <a:pt x="401" y="366"/>
                      </a:lnTo>
                      <a:lnTo>
                        <a:pt x="414" y="372"/>
                      </a:lnTo>
                      <a:lnTo>
                        <a:pt x="333" y="421"/>
                      </a:lnTo>
                      <a:lnTo>
                        <a:pt x="297" y="393"/>
                      </a:lnTo>
                      <a:lnTo>
                        <a:pt x="285" y="412"/>
                      </a:lnTo>
                      <a:lnTo>
                        <a:pt x="244" y="423"/>
                      </a:lnTo>
                      <a:lnTo>
                        <a:pt x="217" y="408"/>
                      </a:lnTo>
                      <a:lnTo>
                        <a:pt x="180" y="421"/>
                      </a:lnTo>
                      <a:lnTo>
                        <a:pt x="172" y="440"/>
                      </a:lnTo>
                      <a:lnTo>
                        <a:pt x="165" y="429"/>
                      </a:lnTo>
                      <a:lnTo>
                        <a:pt x="136" y="442"/>
                      </a:lnTo>
                      <a:lnTo>
                        <a:pt x="127" y="412"/>
                      </a:lnTo>
                      <a:lnTo>
                        <a:pt x="110" y="421"/>
                      </a:lnTo>
                      <a:lnTo>
                        <a:pt x="119" y="389"/>
                      </a:lnTo>
                      <a:lnTo>
                        <a:pt x="85" y="391"/>
                      </a:lnTo>
                      <a:lnTo>
                        <a:pt x="72" y="361"/>
                      </a:lnTo>
                      <a:lnTo>
                        <a:pt x="93" y="342"/>
                      </a:lnTo>
                      <a:lnTo>
                        <a:pt x="83" y="344"/>
                      </a:lnTo>
                      <a:lnTo>
                        <a:pt x="72" y="300"/>
                      </a:lnTo>
                      <a:lnTo>
                        <a:pt x="100" y="189"/>
                      </a:lnTo>
                      <a:lnTo>
                        <a:pt x="68" y="134"/>
                      </a:lnTo>
                      <a:lnTo>
                        <a:pt x="78" y="96"/>
                      </a:lnTo>
                      <a:lnTo>
                        <a:pt x="68" y="59"/>
                      </a:lnTo>
                      <a:lnTo>
                        <a:pt x="44" y="47"/>
                      </a:lnTo>
                      <a:lnTo>
                        <a:pt x="0" y="62"/>
                      </a:lnTo>
                      <a:lnTo>
                        <a:pt x="0" y="59"/>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27" name="55">
                  <a:extLst>
                    <a:ext uri="{FF2B5EF4-FFF2-40B4-BE49-F238E27FC236}">
                      <a16:creationId xmlns:a16="http://schemas.microsoft.com/office/drawing/2014/main" id="{08EEFC08-89C7-46E7-8BE2-207D199C6D14}"/>
                    </a:ext>
                  </a:extLst>
                </p:cNvPr>
                <p:cNvSpPr>
                  <a:spLocks/>
                </p:cNvSpPr>
                <p:nvPr/>
              </p:nvSpPr>
              <p:spPr bwMode="gray">
                <a:xfrm>
                  <a:off x="7385444" y="2263417"/>
                  <a:ext cx="329490" cy="624598"/>
                </a:xfrm>
                <a:custGeom>
                  <a:avLst/>
                  <a:gdLst>
                    <a:gd name="T0" fmla="*/ 2 w 230"/>
                    <a:gd name="T1" fmla="*/ 297 h 436"/>
                    <a:gd name="T2" fmla="*/ 30 w 230"/>
                    <a:gd name="T3" fmla="*/ 323 h 436"/>
                    <a:gd name="T4" fmla="*/ 26 w 230"/>
                    <a:gd name="T5" fmla="*/ 342 h 436"/>
                    <a:gd name="T6" fmla="*/ 32 w 230"/>
                    <a:gd name="T7" fmla="*/ 370 h 436"/>
                    <a:gd name="T8" fmla="*/ 43 w 230"/>
                    <a:gd name="T9" fmla="*/ 363 h 436"/>
                    <a:gd name="T10" fmla="*/ 145 w 230"/>
                    <a:gd name="T11" fmla="*/ 436 h 436"/>
                    <a:gd name="T12" fmla="*/ 215 w 230"/>
                    <a:gd name="T13" fmla="*/ 408 h 436"/>
                    <a:gd name="T14" fmla="*/ 202 w 230"/>
                    <a:gd name="T15" fmla="*/ 378 h 436"/>
                    <a:gd name="T16" fmla="*/ 223 w 230"/>
                    <a:gd name="T17" fmla="*/ 359 h 436"/>
                    <a:gd name="T18" fmla="*/ 213 w 230"/>
                    <a:gd name="T19" fmla="*/ 361 h 436"/>
                    <a:gd name="T20" fmla="*/ 202 w 230"/>
                    <a:gd name="T21" fmla="*/ 317 h 436"/>
                    <a:gd name="T22" fmla="*/ 230 w 230"/>
                    <a:gd name="T23" fmla="*/ 206 h 436"/>
                    <a:gd name="T24" fmla="*/ 198 w 230"/>
                    <a:gd name="T25" fmla="*/ 151 h 436"/>
                    <a:gd name="T26" fmla="*/ 208 w 230"/>
                    <a:gd name="T27" fmla="*/ 113 h 436"/>
                    <a:gd name="T28" fmla="*/ 198 w 230"/>
                    <a:gd name="T29" fmla="*/ 76 h 436"/>
                    <a:gd name="T30" fmla="*/ 174 w 230"/>
                    <a:gd name="T31" fmla="*/ 64 h 436"/>
                    <a:gd name="T32" fmla="*/ 130 w 230"/>
                    <a:gd name="T33" fmla="*/ 79 h 436"/>
                    <a:gd name="T34" fmla="*/ 130 w 230"/>
                    <a:gd name="T35" fmla="*/ 76 h 436"/>
                    <a:gd name="T36" fmla="*/ 145 w 230"/>
                    <a:gd name="T37" fmla="*/ 72 h 436"/>
                    <a:gd name="T38" fmla="*/ 136 w 230"/>
                    <a:gd name="T39" fmla="*/ 42 h 436"/>
                    <a:gd name="T40" fmla="*/ 115 w 230"/>
                    <a:gd name="T41" fmla="*/ 0 h 436"/>
                    <a:gd name="T42" fmla="*/ 87 w 230"/>
                    <a:gd name="T43" fmla="*/ 27 h 436"/>
                    <a:gd name="T44" fmla="*/ 47 w 230"/>
                    <a:gd name="T45" fmla="*/ 15 h 436"/>
                    <a:gd name="T46" fmla="*/ 36 w 230"/>
                    <a:gd name="T47" fmla="*/ 42 h 436"/>
                    <a:gd name="T48" fmla="*/ 49 w 230"/>
                    <a:gd name="T49" fmla="*/ 85 h 436"/>
                    <a:gd name="T50" fmla="*/ 36 w 230"/>
                    <a:gd name="T51" fmla="*/ 127 h 436"/>
                    <a:gd name="T52" fmla="*/ 15 w 230"/>
                    <a:gd name="T53" fmla="*/ 140 h 436"/>
                    <a:gd name="T54" fmla="*/ 19 w 230"/>
                    <a:gd name="T55" fmla="*/ 219 h 436"/>
                    <a:gd name="T56" fmla="*/ 34 w 230"/>
                    <a:gd name="T57" fmla="*/ 221 h 436"/>
                    <a:gd name="T58" fmla="*/ 34 w 230"/>
                    <a:gd name="T59" fmla="*/ 244 h 436"/>
                    <a:gd name="T60" fmla="*/ 11 w 230"/>
                    <a:gd name="T61" fmla="*/ 257 h 436"/>
                    <a:gd name="T62" fmla="*/ 0 w 230"/>
                    <a:gd name="T63" fmla="*/ 295 h 436"/>
                    <a:gd name="T64" fmla="*/ 2 w 230"/>
                    <a:gd name="T65" fmla="*/ 29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436">
                      <a:moveTo>
                        <a:pt x="2" y="297"/>
                      </a:moveTo>
                      <a:lnTo>
                        <a:pt x="30" y="323"/>
                      </a:lnTo>
                      <a:lnTo>
                        <a:pt x="26" y="342"/>
                      </a:lnTo>
                      <a:lnTo>
                        <a:pt x="32" y="370"/>
                      </a:lnTo>
                      <a:lnTo>
                        <a:pt x="43" y="363"/>
                      </a:lnTo>
                      <a:lnTo>
                        <a:pt x="145" y="436"/>
                      </a:lnTo>
                      <a:lnTo>
                        <a:pt x="215" y="408"/>
                      </a:lnTo>
                      <a:lnTo>
                        <a:pt x="202" y="378"/>
                      </a:lnTo>
                      <a:lnTo>
                        <a:pt x="223" y="359"/>
                      </a:lnTo>
                      <a:lnTo>
                        <a:pt x="213" y="361"/>
                      </a:lnTo>
                      <a:lnTo>
                        <a:pt x="202" y="317"/>
                      </a:lnTo>
                      <a:lnTo>
                        <a:pt x="230" y="206"/>
                      </a:lnTo>
                      <a:lnTo>
                        <a:pt x="198" y="151"/>
                      </a:lnTo>
                      <a:lnTo>
                        <a:pt x="208" y="113"/>
                      </a:lnTo>
                      <a:lnTo>
                        <a:pt x="198" y="76"/>
                      </a:lnTo>
                      <a:lnTo>
                        <a:pt x="174" y="64"/>
                      </a:lnTo>
                      <a:lnTo>
                        <a:pt x="130" y="79"/>
                      </a:lnTo>
                      <a:lnTo>
                        <a:pt x="130" y="76"/>
                      </a:lnTo>
                      <a:lnTo>
                        <a:pt x="145" y="72"/>
                      </a:lnTo>
                      <a:lnTo>
                        <a:pt x="136" y="42"/>
                      </a:lnTo>
                      <a:lnTo>
                        <a:pt x="115" y="0"/>
                      </a:lnTo>
                      <a:lnTo>
                        <a:pt x="87" y="27"/>
                      </a:lnTo>
                      <a:lnTo>
                        <a:pt x="47" y="15"/>
                      </a:lnTo>
                      <a:lnTo>
                        <a:pt x="36" y="42"/>
                      </a:lnTo>
                      <a:lnTo>
                        <a:pt x="49" y="85"/>
                      </a:lnTo>
                      <a:lnTo>
                        <a:pt x="36" y="127"/>
                      </a:lnTo>
                      <a:lnTo>
                        <a:pt x="15" y="140"/>
                      </a:lnTo>
                      <a:lnTo>
                        <a:pt x="19" y="219"/>
                      </a:lnTo>
                      <a:lnTo>
                        <a:pt x="34" y="221"/>
                      </a:lnTo>
                      <a:lnTo>
                        <a:pt x="34" y="244"/>
                      </a:lnTo>
                      <a:lnTo>
                        <a:pt x="11" y="257"/>
                      </a:lnTo>
                      <a:lnTo>
                        <a:pt x="0" y="295"/>
                      </a:lnTo>
                      <a:lnTo>
                        <a:pt x="2" y="297"/>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28" name="57">
                  <a:extLst>
                    <a:ext uri="{FF2B5EF4-FFF2-40B4-BE49-F238E27FC236}">
                      <a16:creationId xmlns:a16="http://schemas.microsoft.com/office/drawing/2014/main" id="{739687E5-2707-4631-9158-9F9843C34919}"/>
                    </a:ext>
                  </a:extLst>
                </p:cNvPr>
                <p:cNvSpPr>
                  <a:spLocks/>
                </p:cNvSpPr>
                <p:nvPr/>
              </p:nvSpPr>
              <p:spPr bwMode="gray">
                <a:xfrm>
                  <a:off x="7720664" y="2312125"/>
                  <a:ext cx="608841" cy="499965"/>
                </a:xfrm>
                <a:custGeom>
                  <a:avLst/>
                  <a:gdLst>
                    <a:gd name="T0" fmla="*/ 2 w 425"/>
                    <a:gd name="T1" fmla="*/ 13 h 349"/>
                    <a:gd name="T2" fmla="*/ 36 w 425"/>
                    <a:gd name="T3" fmla="*/ 96 h 349"/>
                    <a:gd name="T4" fmla="*/ 32 w 425"/>
                    <a:gd name="T5" fmla="*/ 147 h 349"/>
                    <a:gd name="T6" fmla="*/ 15 w 425"/>
                    <a:gd name="T7" fmla="*/ 155 h 349"/>
                    <a:gd name="T8" fmla="*/ 44 w 425"/>
                    <a:gd name="T9" fmla="*/ 195 h 349"/>
                    <a:gd name="T10" fmla="*/ 108 w 425"/>
                    <a:gd name="T11" fmla="*/ 215 h 349"/>
                    <a:gd name="T12" fmla="*/ 104 w 425"/>
                    <a:gd name="T13" fmla="*/ 240 h 349"/>
                    <a:gd name="T14" fmla="*/ 123 w 425"/>
                    <a:gd name="T15" fmla="*/ 263 h 349"/>
                    <a:gd name="T16" fmla="*/ 170 w 425"/>
                    <a:gd name="T17" fmla="*/ 272 h 349"/>
                    <a:gd name="T18" fmla="*/ 198 w 425"/>
                    <a:gd name="T19" fmla="*/ 302 h 349"/>
                    <a:gd name="T20" fmla="*/ 283 w 425"/>
                    <a:gd name="T21" fmla="*/ 321 h 349"/>
                    <a:gd name="T22" fmla="*/ 297 w 425"/>
                    <a:gd name="T23" fmla="*/ 349 h 349"/>
                    <a:gd name="T24" fmla="*/ 340 w 425"/>
                    <a:gd name="T25" fmla="*/ 329 h 349"/>
                    <a:gd name="T26" fmla="*/ 351 w 425"/>
                    <a:gd name="T27" fmla="*/ 300 h 349"/>
                    <a:gd name="T28" fmla="*/ 336 w 425"/>
                    <a:gd name="T29" fmla="*/ 289 h 349"/>
                    <a:gd name="T30" fmla="*/ 353 w 425"/>
                    <a:gd name="T31" fmla="*/ 259 h 349"/>
                    <a:gd name="T32" fmla="*/ 321 w 425"/>
                    <a:gd name="T33" fmla="*/ 232 h 349"/>
                    <a:gd name="T34" fmla="*/ 295 w 425"/>
                    <a:gd name="T35" fmla="*/ 255 h 349"/>
                    <a:gd name="T36" fmla="*/ 297 w 425"/>
                    <a:gd name="T37" fmla="*/ 227 h 349"/>
                    <a:gd name="T38" fmla="*/ 261 w 425"/>
                    <a:gd name="T39" fmla="*/ 206 h 349"/>
                    <a:gd name="T40" fmla="*/ 261 w 425"/>
                    <a:gd name="T41" fmla="*/ 204 h 349"/>
                    <a:gd name="T42" fmla="*/ 280 w 425"/>
                    <a:gd name="T43" fmla="*/ 193 h 349"/>
                    <a:gd name="T44" fmla="*/ 291 w 425"/>
                    <a:gd name="T45" fmla="*/ 151 h 349"/>
                    <a:gd name="T46" fmla="*/ 304 w 425"/>
                    <a:gd name="T47" fmla="*/ 174 h 349"/>
                    <a:gd name="T48" fmla="*/ 351 w 425"/>
                    <a:gd name="T49" fmla="*/ 195 h 349"/>
                    <a:gd name="T50" fmla="*/ 404 w 425"/>
                    <a:gd name="T51" fmla="*/ 195 h 349"/>
                    <a:gd name="T52" fmla="*/ 425 w 425"/>
                    <a:gd name="T53" fmla="*/ 153 h 349"/>
                    <a:gd name="T54" fmla="*/ 376 w 425"/>
                    <a:gd name="T55" fmla="*/ 106 h 349"/>
                    <a:gd name="T56" fmla="*/ 340 w 425"/>
                    <a:gd name="T57" fmla="*/ 132 h 349"/>
                    <a:gd name="T58" fmla="*/ 293 w 425"/>
                    <a:gd name="T59" fmla="*/ 121 h 349"/>
                    <a:gd name="T60" fmla="*/ 283 w 425"/>
                    <a:gd name="T61" fmla="*/ 136 h 349"/>
                    <a:gd name="T62" fmla="*/ 276 w 425"/>
                    <a:gd name="T63" fmla="*/ 108 h 349"/>
                    <a:gd name="T64" fmla="*/ 251 w 425"/>
                    <a:gd name="T65" fmla="*/ 98 h 349"/>
                    <a:gd name="T66" fmla="*/ 229 w 425"/>
                    <a:gd name="T67" fmla="*/ 102 h 349"/>
                    <a:gd name="T68" fmla="*/ 229 w 425"/>
                    <a:gd name="T69" fmla="*/ 123 h 349"/>
                    <a:gd name="T70" fmla="*/ 206 w 425"/>
                    <a:gd name="T71" fmla="*/ 119 h 349"/>
                    <a:gd name="T72" fmla="*/ 138 w 425"/>
                    <a:gd name="T73" fmla="*/ 13 h 349"/>
                    <a:gd name="T74" fmla="*/ 72 w 425"/>
                    <a:gd name="T75" fmla="*/ 0 h 349"/>
                    <a:gd name="T76" fmla="*/ 36 w 425"/>
                    <a:gd name="T77" fmla="*/ 23 h 349"/>
                    <a:gd name="T78" fmla="*/ 0 w 425"/>
                    <a:gd name="T79" fmla="*/ 6 h 349"/>
                    <a:gd name="T80" fmla="*/ 2 w 425"/>
                    <a:gd name="T81" fmla="*/ 13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5" h="349">
                      <a:moveTo>
                        <a:pt x="2" y="13"/>
                      </a:moveTo>
                      <a:lnTo>
                        <a:pt x="36" y="96"/>
                      </a:lnTo>
                      <a:lnTo>
                        <a:pt x="32" y="147"/>
                      </a:lnTo>
                      <a:lnTo>
                        <a:pt x="15" y="155"/>
                      </a:lnTo>
                      <a:lnTo>
                        <a:pt x="44" y="195"/>
                      </a:lnTo>
                      <a:lnTo>
                        <a:pt x="108" y="215"/>
                      </a:lnTo>
                      <a:lnTo>
                        <a:pt x="104" y="240"/>
                      </a:lnTo>
                      <a:lnTo>
                        <a:pt x="123" y="263"/>
                      </a:lnTo>
                      <a:lnTo>
                        <a:pt x="170" y="272"/>
                      </a:lnTo>
                      <a:lnTo>
                        <a:pt x="198" y="302"/>
                      </a:lnTo>
                      <a:lnTo>
                        <a:pt x="283" y="321"/>
                      </a:lnTo>
                      <a:lnTo>
                        <a:pt x="297" y="349"/>
                      </a:lnTo>
                      <a:lnTo>
                        <a:pt x="340" y="329"/>
                      </a:lnTo>
                      <a:lnTo>
                        <a:pt x="351" y="300"/>
                      </a:lnTo>
                      <a:lnTo>
                        <a:pt x="336" y="289"/>
                      </a:lnTo>
                      <a:lnTo>
                        <a:pt x="353" y="259"/>
                      </a:lnTo>
                      <a:lnTo>
                        <a:pt x="321" y="232"/>
                      </a:lnTo>
                      <a:lnTo>
                        <a:pt x="295" y="255"/>
                      </a:lnTo>
                      <a:lnTo>
                        <a:pt x="297" y="227"/>
                      </a:lnTo>
                      <a:lnTo>
                        <a:pt x="261" y="206"/>
                      </a:lnTo>
                      <a:lnTo>
                        <a:pt x="261" y="204"/>
                      </a:lnTo>
                      <a:lnTo>
                        <a:pt x="280" y="193"/>
                      </a:lnTo>
                      <a:lnTo>
                        <a:pt x="291" y="151"/>
                      </a:lnTo>
                      <a:lnTo>
                        <a:pt x="304" y="174"/>
                      </a:lnTo>
                      <a:lnTo>
                        <a:pt x="351" y="195"/>
                      </a:lnTo>
                      <a:lnTo>
                        <a:pt x="404" y="195"/>
                      </a:lnTo>
                      <a:lnTo>
                        <a:pt x="425" y="153"/>
                      </a:lnTo>
                      <a:lnTo>
                        <a:pt x="376" y="106"/>
                      </a:lnTo>
                      <a:lnTo>
                        <a:pt x="340" y="132"/>
                      </a:lnTo>
                      <a:lnTo>
                        <a:pt x="293" y="121"/>
                      </a:lnTo>
                      <a:lnTo>
                        <a:pt x="283" y="136"/>
                      </a:lnTo>
                      <a:lnTo>
                        <a:pt x="276" y="108"/>
                      </a:lnTo>
                      <a:lnTo>
                        <a:pt x="251" y="98"/>
                      </a:lnTo>
                      <a:lnTo>
                        <a:pt x="229" y="102"/>
                      </a:lnTo>
                      <a:lnTo>
                        <a:pt x="229" y="123"/>
                      </a:lnTo>
                      <a:lnTo>
                        <a:pt x="206" y="119"/>
                      </a:lnTo>
                      <a:lnTo>
                        <a:pt x="138" y="13"/>
                      </a:lnTo>
                      <a:lnTo>
                        <a:pt x="72" y="0"/>
                      </a:lnTo>
                      <a:lnTo>
                        <a:pt x="36" y="23"/>
                      </a:lnTo>
                      <a:lnTo>
                        <a:pt x="0" y="6"/>
                      </a:lnTo>
                      <a:lnTo>
                        <a:pt x="2" y="13"/>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29" name="88">
                  <a:extLst>
                    <a:ext uri="{FF2B5EF4-FFF2-40B4-BE49-F238E27FC236}">
                      <a16:creationId xmlns:a16="http://schemas.microsoft.com/office/drawing/2014/main" id="{79210E3A-03F2-4237-87B9-5887D7387667}"/>
                    </a:ext>
                  </a:extLst>
                </p:cNvPr>
                <p:cNvSpPr>
                  <a:spLocks/>
                </p:cNvSpPr>
                <p:nvPr/>
              </p:nvSpPr>
              <p:spPr bwMode="gray">
                <a:xfrm>
                  <a:off x="7568812" y="2820686"/>
                  <a:ext cx="630329" cy="368170"/>
                </a:xfrm>
                <a:custGeom>
                  <a:avLst/>
                  <a:gdLst>
                    <a:gd name="T0" fmla="*/ 0 w 440"/>
                    <a:gd name="T1" fmla="*/ 62 h 257"/>
                    <a:gd name="T2" fmla="*/ 78 w 440"/>
                    <a:gd name="T3" fmla="*/ 119 h 257"/>
                    <a:gd name="T4" fmla="*/ 61 w 440"/>
                    <a:gd name="T5" fmla="*/ 170 h 257"/>
                    <a:gd name="T6" fmla="*/ 125 w 440"/>
                    <a:gd name="T7" fmla="*/ 225 h 257"/>
                    <a:gd name="T8" fmla="*/ 182 w 440"/>
                    <a:gd name="T9" fmla="*/ 187 h 257"/>
                    <a:gd name="T10" fmla="*/ 204 w 440"/>
                    <a:gd name="T11" fmla="*/ 221 h 257"/>
                    <a:gd name="T12" fmla="*/ 253 w 440"/>
                    <a:gd name="T13" fmla="*/ 215 h 257"/>
                    <a:gd name="T14" fmla="*/ 253 w 440"/>
                    <a:gd name="T15" fmla="*/ 215 h 257"/>
                    <a:gd name="T16" fmla="*/ 270 w 440"/>
                    <a:gd name="T17" fmla="*/ 234 h 257"/>
                    <a:gd name="T18" fmla="*/ 299 w 440"/>
                    <a:gd name="T19" fmla="*/ 213 h 257"/>
                    <a:gd name="T20" fmla="*/ 355 w 440"/>
                    <a:gd name="T21" fmla="*/ 257 h 257"/>
                    <a:gd name="T22" fmla="*/ 361 w 440"/>
                    <a:gd name="T23" fmla="*/ 255 h 257"/>
                    <a:gd name="T24" fmla="*/ 378 w 440"/>
                    <a:gd name="T25" fmla="*/ 244 h 257"/>
                    <a:gd name="T26" fmla="*/ 382 w 440"/>
                    <a:gd name="T27" fmla="*/ 193 h 257"/>
                    <a:gd name="T28" fmla="*/ 440 w 440"/>
                    <a:gd name="T29" fmla="*/ 72 h 257"/>
                    <a:gd name="T30" fmla="*/ 410 w 440"/>
                    <a:gd name="T31" fmla="*/ 59 h 257"/>
                    <a:gd name="T32" fmla="*/ 416 w 440"/>
                    <a:gd name="T33" fmla="*/ 0 h 257"/>
                    <a:gd name="T34" fmla="*/ 335 w 440"/>
                    <a:gd name="T35" fmla="*/ 49 h 257"/>
                    <a:gd name="T36" fmla="*/ 299 w 440"/>
                    <a:gd name="T37" fmla="*/ 21 h 257"/>
                    <a:gd name="T38" fmla="*/ 287 w 440"/>
                    <a:gd name="T39" fmla="*/ 40 h 257"/>
                    <a:gd name="T40" fmla="*/ 246 w 440"/>
                    <a:gd name="T41" fmla="*/ 51 h 257"/>
                    <a:gd name="T42" fmla="*/ 219 w 440"/>
                    <a:gd name="T43" fmla="*/ 36 h 257"/>
                    <a:gd name="T44" fmla="*/ 182 w 440"/>
                    <a:gd name="T45" fmla="*/ 49 h 257"/>
                    <a:gd name="T46" fmla="*/ 174 w 440"/>
                    <a:gd name="T47" fmla="*/ 68 h 257"/>
                    <a:gd name="T48" fmla="*/ 167 w 440"/>
                    <a:gd name="T49" fmla="*/ 57 h 257"/>
                    <a:gd name="T50" fmla="*/ 138 w 440"/>
                    <a:gd name="T51" fmla="*/ 70 h 257"/>
                    <a:gd name="T52" fmla="*/ 129 w 440"/>
                    <a:gd name="T53" fmla="*/ 40 h 257"/>
                    <a:gd name="T54" fmla="*/ 112 w 440"/>
                    <a:gd name="T55" fmla="*/ 49 h 257"/>
                    <a:gd name="T56" fmla="*/ 121 w 440"/>
                    <a:gd name="T57" fmla="*/ 17 h 257"/>
                    <a:gd name="T58" fmla="*/ 87 w 440"/>
                    <a:gd name="T59" fmla="*/ 19 h 257"/>
                    <a:gd name="T60" fmla="*/ 17 w 440"/>
                    <a:gd name="T61" fmla="*/ 47 h 257"/>
                    <a:gd name="T62" fmla="*/ 0 w 440"/>
                    <a:gd name="T63" fmla="*/ 59 h 257"/>
                    <a:gd name="T64" fmla="*/ 0 w 440"/>
                    <a:gd name="T65" fmla="*/ 6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0" h="257">
                      <a:moveTo>
                        <a:pt x="0" y="62"/>
                      </a:moveTo>
                      <a:lnTo>
                        <a:pt x="78" y="119"/>
                      </a:lnTo>
                      <a:lnTo>
                        <a:pt x="61" y="170"/>
                      </a:lnTo>
                      <a:lnTo>
                        <a:pt x="125" y="225"/>
                      </a:lnTo>
                      <a:lnTo>
                        <a:pt x="182" y="187"/>
                      </a:lnTo>
                      <a:lnTo>
                        <a:pt x="204" y="221"/>
                      </a:lnTo>
                      <a:lnTo>
                        <a:pt x="253" y="215"/>
                      </a:lnTo>
                      <a:lnTo>
                        <a:pt x="253" y="215"/>
                      </a:lnTo>
                      <a:lnTo>
                        <a:pt x="270" y="234"/>
                      </a:lnTo>
                      <a:lnTo>
                        <a:pt x="299" y="213"/>
                      </a:lnTo>
                      <a:lnTo>
                        <a:pt x="355" y="257"/>
                      </a:lnTo>
                      <a:lnTo>
                        <a:pt x="361" y="255"/>
                      </a:lnTo>
                      <a:lnTo>
                        <a:pt x="378" y="244"/>
                      </a:lnTo>
                      <a:lnTo>
                        <a:pt x="382" y="193"/>
                      </a:lnTo>
                      <a:lnTo>
                        <a:pt x="440" y="72"/>
                      </a:lnTo>
                      <a:lnTo>
                        <a:pt x="410" y="59"/>
                      </a:lnTo>
                      <a:lnTo>
                        <a:pt x="416" y="0"/>
                      </a:lnTo>
                      <a:lnTo>
                        <a:pt x="335" y="49"/>
                      </a:lnTo>
                      <a:lnTo>
                        <a:pt x="299" y="21"/>
                      </a:lnTo>
                      <a:lnTo>
                        <a:pt x="287" y="40"/>
                      </a:lnTo>
                      <a:lnTo>
                        <a:pt x="246" y="51"/>
                      </a:lnTo>
                      <a:lnTo>
                        <a:pt x="219" y="36"/>
                      </a:lnTo>
                      <a:lnTo>
                        <a:pt x="182" y="49"/>
                      </a:lnTo>
                      <a:lnTo>
                        <a:pt x="174" y="68"/>
                      </a:lnTo>
                      <a:lnTo>
                        <a:pt x="167" y="57"/>
                      </a:lnTo>
                      <a:lnTo>
                        <a:pt x="138" y="70"/>
                      </a:lnTo>
                      <a:lnTo>
                        <a:pt x="129" y="40"/>
                      </a:lnTo>
                      <a:lnTo>
                        <a:pt x="112" y="49"/>
                      </a:lnTo>
                      <a:lnTo>
                        <a:pt x="121" y="17"/>
                      </a:lnTo>
                      <a:lnTo>
                        <a:pt x="87" y="19"/>
                      </a:lnTo>
                      <a:lnTo>
                        <a:pt x="17" y="47"/>
                      </a:lnTo>
                      <a:lnTo>
                        <a:pt x="0" y="59"/>
                      </a:lnTo>
                      <a:lnTo>
                        <a:pt x="0" y="62"/>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grpSp>
            <p:nvGrpSpPr>
              <p:cNvPr id="318" name="Champagne Ardennes">
                <a:extLst>
                  <a:ext uri="{FF2B5EF4-FFF2-40B4-BE49-F238E27FC236}">
                    <a16:creationId xmlns:a16="http://schemas.microsoft.com/office/drawing/2014/main" id="{DDD555FA-D2B7-44FC-9A2D-53C24A9050F1}"/>
                  </a:ext>
                </a:extLst>
              </p:cNvPr>
              <p:cNvGrpSpPr/>
              <p:nvPr/>
            </p:nvGrpSpPr>
            <p:grpSpPr>
              <a:xfrm>
                <a:off x="6868287" y="1985500"/>
                <a:ext cx="879595" cy="1346611"/>
                <a:chOff x="6868287" y="1985500"/>
                <a:chExt cx="879595" cy="1346611"/>
              </a:xfrm>
              <a:grpFill/>
            </p:grpSpPr>
            <p:sp>
              <p:nvSpPr>
                <p:cNvPr id="322" name="51">
                  <a:extLst>
                    <a:ext uri="{FF2B5EF4-FFF2-40B4-BE49-F238E27FC236}">
                      <a16:creationId xmlns:a16="http://schemas.microsoft.com/office/drawing/2014/main" id="{995E2799-A88B-4122-8874-7CA7DA971F73}"/>
                    </a:ext>
                  </a:extLst>
                </p:cNvPr>
                <p:cNvSpPr>
                  <a:spLocks/>
                </p:cNvSpPr>
                <p:nvPr/>
              </p:nvSpPr>
              <p:spPr bwMode="gray">
                <a:xfrm>
                  <a:off x="6874018" y="2379456"/>
                  <a:ext cx="560134" cy="468450"/>
                </a:xfrm>
                <a:custGeom>
                  <a:avLst/>
                  <a:gdLst>
                    <a:gd name="T0" fmla="*/ 0 w 391"/>
                    <a:gd name="T1" fmla="*/ 240 h 327"/>
                    <a:gd name="T2" fmla="*/ 15 w 391"/>
                    <a:gd name="T3" fmla="*/ 246 h 327"/>
                    <a:gd name="T4" fmla="*/ 13 w 391"/>
                    <a:gd name="T5" fmla="*/ 282 h 327"/>
                    <a:gd name="T6" fmla="*/ 36 w 391"/>
                    <a:gd name="T7" fmla="*/ 291 h 327"/>
                    <a:gd name="T8" fmla="*/ 57 w 391"/>
                    <a:gd name="T9" fmla="*/ 319 h 327"/>
                    <a:gd name="T10" fmla="*/ 102 w 391"/>
                    <a:gd name="T11" fmla="*/ 327 h 327"/>
                    <a:gd name="T12" fmla="*/ 164 w 391"/>
                    <a:gd name="T13" fmla="*/ 259 h 327"/>
                    <a:gd name="T14" fmla="*/ 217 w 391"/>
                    <a:gd name="T15" fmla="*/ 253 h 327"/>
                    <a:gd name="T16" fmla="*/ 221 w 391"/>
                    <a:gd name="T17" fmla="*/ 291 h 327"/>
                    <a:gd name="T18" fmla="*/ 242 w 391"/>
                    <a:gd name="T19" fmla="*/ 310 h 327"/>
                    <a:gd name="T20" fmla="*/ 306 w 391"/>
                    <a:gd name="T21" fmla="*/ 319 h 327"/>
                    <a:gd name="T22" fmla="*/ 344 w 391"/>
                    <a:gd name="T23" fmla="*/ 312 h 327"/>
                    <a:gd name="T24" fmla="*/ 332 w 391"/>
                    <a:gd name="T25" fmla="*/ 295 h 327"/>
                    <a:gd name="T26" fmla="*/ 349 w 391"/>
                    <a:gd name="T27" fmla="*/ 280 h 327"/>
                    <a:gd name="T28" fmla="*/ 334 w 391"/>
                    <a:gd name="T29" fmla="*/ 268 h 327"/>
                    <a:gd name="T30" fmla="*/ 383 w 391"/>
                    <a:gd name="T31" fmla="*/ 261 h 327"/>
                    <a:gd name="T32" fmla="*/ 387 w 391"/>
                    <a:gd name="T33" fmla="*/ 242 h 327"/>
                    <a:gd name="T34" fmla="*/ 359 w 391"/>
                    <a:gd name="T35" fmla="*/ 216 h 327"/>
                    <a:gd name="T36" fmla="*/ 357 w 391"/>
                    <a:gd name="T37" fmla="*/ 214 h 327"/>
                    <a:gd name="T38" fmla="*/ 368 w 391"/>
                    <a:gd name="T39" fmla="*/ 176 h 327"/>
                    <a:gd name="T40" fmla="*/ 391 w 391"/>
                    <a:gd name="T41" fmla="*/ 163 h 327"/>
                    <a:gd name="T42" fmla="*/ 391 w 391"/>
                    <a:gd name="T43" fmla="*/ 140 h 327"/>
                    <a:gd name="T44" fmla="*/ 376 w 391"/>
                    <a:gd name="T45" fmla="*/ 138 h 327"/>
                    <a:gd name="T46" fmla="*/ 372 w 391"/>
                    <a:gd name="T47" fmla="*/ 59 h 327"/>
                    <a:gd name="T48" fmla="*/ 298 w 391"/>
                    <a:gd name="T49" fmla="*/ 63 h 327"/>
                    <a:gd name="T50" fmla="*/ 276 w 391"/>
                    <a:gd name="T51" fmla="*/ 40 h 327"/>
                    <a:gd name="T52" fmla="*/ 249 w 391"/>
                    <a:gd name="T53" fmla="*/ 49 h 327"/>
                    <a:gd name="T54" fmla="*/ 187 w 391"/>
                    <a:gd name="T55" fmla="*/ 2 h 327"/>
                    <a:gd name="T56" fmla="*/ 155 w 391"/>
                    <a:gd name="T57" fmla="*/ 0 h 327"/>
                    <a:gd name="T58" fmla="*/ 151 w 391"/>
                    <a:gd name="T59" fmla="*/ 19 h 327"/>
                    <a:gd name="T60" fmla="*/ 123 w 391"/>
                    <a:gd name="T61" fmla="*/ 2 h 327"/>
                    <a:gd name="T62" fmla="*/ 106 w 391"/>
                    <a:gd name="T63" fmla="*/ 23 h 327"/>
                    <a:gd name="T64" fmla="*/ 57 w 391"/>
                    <a:gd name="T65" fmla="*/ 34 h 327"/>
                    <a:gd name="T66" fmla="*/ 59 w 391"/>
                    <a:gd name="T67" fmla="*/ 70 h 327"/>
                    <a:gd name="T68" fmla="*/ 83 w 391"/>
                    <a:gd name="T69" fmla="*/ 91 h 327"/>
                    <a:gd name="T70" fmla="*/ 53 w 391"/>
                    <a:gd name="T71" fmla="*/ 95 h 327"/>
                    <a:gd name="T72" fmla="*/ 42 w 391"/>
                    <a:gd name="T73" fmla="*/ 134 h 327"/>
                    <a:gd name="T74" fmla="*/ 66 w 391"/>
                    <a:gd name="T75" fmla="*/ 144 h 327"/>
                    <a:gd name="T76" fmla="*/ 19 w 391"/>
                    <a:gd name="T77" fmla="*/ 204 h 327"/>
                    <a:gd name="T78" fmla="*/ 0 w 391"/>
                    <a:gd name="T79" fmla="*/ 236 h 327"/>
                    <a:gd name="T80" fmla="*/ 0 w 391"/>
                    <a:gd name="T81" fmla="*/ 24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1" h="327">
                      <a:moveTo>
                        <a:pt x="0" y="240"/>
                      </a:moveTo>
                      <a:lnTo>
                        <a:pt x="15" y="246"/>
                      </a:lnTo>
                      <a:lnTo>
                        <a:pt x="13" y="282"/>
                      </a:lnTo>
                      <a:lnTo>
                        <a:pt x="36" y="291"/>
                      </a:lnTo>
                      <a:lnTo>
                        <a:pt x="57" y="319"/>
                      </a:lnTo>
                      <a:lnTo>
                        <a:pt x="102" y="327"/>
                      </a:lnTo>
                      <a:lnTo>
                        <a:pt x="164" y="259"/>
                      </a:lnTo>
                      <a:lnTo>
                        <a:pt x="217" y="253"/>
                      </a:lnTo>
                      <a:lnTo>
                        <a:pt x="221" y="291"/>
                      </a:lnTo>
                      <a:lnTo>
                        <a:pt x="242" y="310"/>
                      </a:lnTo>
                      <a:lnTo>
                        <a:pt x="306" y="319"/>
                      </a:lnTo>
                      <a:lnTo>
                        <a:pt x="344" y="312"/>
                      </a:lnTo>
                      <a:lnTo>
                        <a:pt x="332" y="295"/>
                      </a:lnTo>
                      <a:lnTo>
                        <a:pt x="349" y="280"/>
                      </a:lnTo>
                      <a:lnTo>
                        <a:pt x="334" y="268"/>
                      </a:lnTo>
                      <a:lnTo>
                        <a:pt x="383" y="261"/>
                      </a:lnTo>
                      <a:lnTo>
                        <a:pt x="387" y="242"/>
                      </a:lnTo>
                      <a:lnTo>
                        <a:pt x="359" y="216"/>
                      </a:lnTo>
                      <a:lnTo>
                        <a:pt x="357" y="214"/>
                      </a:lnTo>
                      <a:lnTo>
                        <a:pt x="368" y="176"/>
                      </a:lnTo>
                      <a:lnTo>
                        <a:pt x="391" y="163"/>
                      </a:lnTo>
                      <a:lnTo>
                        <a:pt x="391" y="140"/>
                      </a:lnTo>
                      <a:lnTo>
                        <a:pt x="376" y="138"/>
                      </a:lnTo>
                      <a:lnTo>
                        <a:pt x="372" y="59"/>
                      </a:lnTo>
                      <a:lnTo>
                        <a:pt x="298" y="63"/>
                      </a:lnTo>
                      <a:lnTo>
                        <a:pt x="276" y="40"/>
                      </a:lnTo>
                      <a:lnTo>
                        <a:pt x="249" y="49"/>
                      </a:lnTo>
                      <a:lnTo>
                        <a:pt x="187" y="2"/>
                      </a:lnTo>
                      <a:lnTo>
                        <a:pt x="155" y="0"/>
                      </a:lnTo>
                      <a:lnTo>
                        <a:pt x="151" y="19"/>
                      </a:lnTo>
                      <a:lnTo>
                        <a:pt x="123" y="2"/>
                      </a:lnTo>
                      <a:lnTo>
                        <a:pt x="106" y="23"/>
                      </a:lnTo>
                      <a:lnTo>
                        <a:pt x="57" y="34"/>
                      </a:lnTo>
                      <a:lnTo>
                        <a:pt x="59" y="70"/>
                      </a:lnTo>
                      <a:lnTo>
                        <a:pt x="83" y="91"/>
                      </a:lnTo>
                      <a:lnTo>
                        <a:pt x="53" y="95"/>
                      </a:lnTo>
                      <a:lnTo>
                        <a:pt x="42" y="134"/>
                      </a:lnTo>
                      <a:lnTo>
                        <a:pt x="66" y="144"/>
                      </a:lnTo>
                      <a:lnTo>
                        <a:pt x="19" y="204"/>
                      </a:lnTo>
                      <a:lnTo>
                        <a:pt x="0" y="236"/>
                      </a:lnTo>
                      <a:lnTo>
                        <a:pt x="0" y="240"/>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23" name="08">
                  <a:extLst>
                    <a:ext uri="{FF2B5EF4-FFF2-40B4-BE49-F238E27FC236}">
                      <a16:creationId xmlns:a16="http://schemas.microsoft.com/office/drawing/2014/main" id="{DCC0AF6F-766C-4817-9296-3DEADB5EF4EF}"/>
                    </a:ext>
                  </a:extLst>
                </p:cNvPr>
                <p:cNvSpPr>
                  <a:spLocks/>
                </p:cNvSpPr>
                <p:nvPr/>
              </p:nvSpPr>
              <p:spPr bwMode="gray">
                <a:xfrm>
                  <a:off x="7087471" y="1985500"/>
                  <a:ext cx="462719" cy="484207"/>
                </a:xfrm>
                <a:custGeom>
                  <a:avLst/>
                  <a:gdLst>
                    <a:gd name="T0" fmla="*/ 0 w 323"/>
                    <a:gd name="T1" fmla="*/ 200 h 338"/>
                    <a:gd name="T2" fmla="*/ 6 w 323"/>
                    <a:gd name="T3" fmla="*/ 275 h 338"/>
                    <a:gd name="T4" fmla="*/ 38 w 323"/>
                    <a:gd name="T5" fmla="*/ 277 h 338"/>
                    <a:gd name="T6" fmla="*/ 100 w 323"/>
                    <a:gd name="T7" fmla="*/ 324 h 338"/>
                    <a:gd name="T8" fmla="*/ 127 w 323"/>
                    <a:gd name="T9" fmla="*/ 315 h 338"/>
                    <a:gd name="T10" fmla="*/ 149 w 323"/>
                    <a:gd name="T11" fmla="*/ 338 h 338"/>
                    <a:gd name="T12" fmla="*/ 223 w 323"/>
                    <a:gd name="T13" fmla="*/ 334 h 338"/>
                    <a:gd name="T14" fmla="*/ 244 w 323"/>
                    <a:gd name="T15" fmla="*/ 321 h 338"/>
                    <a:gd name="T16" fmla="*/ 257 w 323"/>
                    <a:gd name="T17" fmla="*/ 279 h 338"/>
                    <a:gd name="T18" fmla="*/ 244 w 323"/>
                    <a:gd name="T19" fmla="*/ 236 h 338"/>
                    <a:gd name="T20" fmla="*/ 255 w 323"/>
                    <a:gd name="T21" fmla="*/ 209 h 338"/>
                    <a:gd name="T22" fmla="*/ 295 w 323"/>
                    <a:gd name="T23" fmla="*/ 221 h 338"/>
                    <a:gd name="T24" fmla="*/ 323 w 323"/>
                    <a:gd name="T25" fmla="*/ 194 h 338"/>
                    <a:gd name="T26" fmla="*/ 306 w 323"/>
                    <a:gd name="T27" fmla="*/ 196 h 338"/>
                    <a:gd name="T28" fmla="*/ 293 w 323"/>
                    <a:gd name="T29" fmla="*/ 166 h 338"/>
                    <a:gd name="T30" fmla="*/ 270 w 323"/>
                    <a:gd name="T31" fmla="*/ 166 h 338"/>
                    <a:gd name="T32" fmla="*/ 227 w 323"/>
                    <a:gd name="T33" fmla="*/ 130 h 338"/>
                    <a:gd name="T34" fmla="*/ 195 w 323"/>
                    <a:gd name="T35" fmla="*/ 134 h 338"/>
                    <a:gd name="T36" fmla="*/ 202 w 323"/>
                    <a:gd name="T37" fmla="*/ 90 h 338"/>
                    <a:gd name="T38" fmla="*/ 178 w 323"/>
                    <a:gd name="T39" fmla="*/ 64 h 338"/>
                    <a:gd name="T40" fmla="*/ 197 w 323"/>
                    <a:gd name="T41" fmla="*/ 0 h 338"/>
                    <a:gd name="T42" fmla="*/ 155 w 323"/>
                    <a:gd name="T43" fmla="*/ 22 h 338"/>
                    <a:gd name="T44" fmla="*/ 155 w 323"/>
                    <a:gd name="T45" fmla="*/ 58 h 338"/>
                    <a:gd name="T46" fmla="*/ 97 w 323"/>
                    <a:gd name="T47" fmla="*/ 81 h 338"/>
                    <a:gd name="T48" fmla="*/ 46 w 323"/>
                    <a:gd name="T49" fmla="*/ 75 h 338"/>
                    <a:gd name="T50" fmla="*/ 46 w 323"/>
                    <a:gd name="T51" fmla="*/ 158 h 338"/>
                    <a:gd name="T52" fmla="*/ 0 w 323"/>
                    <a:gd name="T53" fmla="*/ 196 h 338"/>
                    <a:gd name="T54" fmla="*/ 0 w 323"/>
                    <a:gd name="T55" fmla="*/ 20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3" h="338">
                      <a:moveTo>
                        <a:pt x="0" y="200"/>
                      </a:moveTo>
                      <a:lnTo>
                        <a:pt x="6" y="275"/>
                      </a:lnTo>
                      <a:lnTo>
                        <a:pt x="38" y="277"/>
                      </a:lnTo>
                      <a:lnTo>
                        <a:pt x="100" y="324"/>
                      </a:lnTo>
                      <a:lnTo>
                        <a:pt x="127" y="315"/>
                      </a:lnTo>
                      <a:lnTo>
                        <a:pt x="149" y="338"/>
                      </a:lnTo>
                      <a:lnTo>
                        <a:pt x="223" y="334"/>
                      </a:lnTo>
                      <a:lnTo>
                        <a:pt x="244" y="321"/>
                      </a:lnTo>
                      <a:lnTo>
                        <a:pt x="257" y="279"/>
                      </a:lnTo>
                      <a:lnTo>
                        <a:pt x="244" y="236"/>
                      </a:lnTo>
                      <a:lnTo>
                        <a:pt x="255" y="209"/>
                      </a:lnTo>
                      <a:lnTo>
                        <a:pt x="295" y="221"/>
                      </a:lnTo>
                      <a:lnTo>
                        <a:pt x="323" y="194"/>
                      </a:lnTo>
                      <a:lnTo>
                        <a:pt x="306" y="196"/>
                      </a:lnTo>
                      <a:lnTo>
                        <a:pt x="293" y="166"/>
                      </a:lnTo>
                      <a:lnTo>
                        <a:pt x="270" y="166"/>
                      </a:lnTo>
                      <a:lnTo>
                        <a:pt x="227" y="130"/>
                      </a:lnTo>
                      <a:lnTo>
                        <a:pt x="195" y="134"/>
                      </a:lnTo>
                      <a:lnTo>
                        <a:pt x="202" y="90"/>
                      </a:lnTo>
                      <a:lnTo>
                        <a:pt x="178" y="64"/>
                      </a:lnTo>
                      <a:lnTo>
                        <a:pt x="197" y="0"/>
                      </a:lnTo>
                      <a:lnTo>
                        <a:pt x="155" y="22"/>
                      </a:lnTo>
                      <a:lnTo>
                        <a:pt x="155" y="58"/>
                      </a:lnTo>
                      <a:lnTo>
                        <a:pt x="97" y="81"/>
                      </a:lnTo>
                      <a:lnTo>
                        <a:pt x="46" y="75"/>
                      </a:lnTo>
                      <a:lnTo>
                        <a:pt x="46" y="158"/>
                      </a:lnTo>
                      <a:lnTo>
                        <a:pt x="0" y="196"/>
                      </a:lnTo>
                      <a:lnTo>
                        <a:pt x="0" y="200"/>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24" name="10">
                  <a:extLst>
                    <a:ext uri="{FF2B5EF4-FFF2-40B4-BE49-F238E27FC236}">
                      <a16:creationId xmlns:a16="http://schemas.microsoft.com/office/drawing/2014/main" id="{DBEFFC3D-7125-47D3-94A0-276CE6135A21}"/>
                    </a:ext>
                  </a:extLst>
                </p:cNvPr>
                <p:cNvSpPr>
                  <a:spLocks/>
                </p:cNvSpPr>
                <p:nvPr/>
              </p:nvSpPr>
              <p:spPr bwMode="gray">
                <a:xfrm>
                  <a:off x="6868287" y="2741895"/>
                  <a:ext cx="514292" cy="414012"/>
                </a:xfrm>
                <a:custGeom>
                  <a:avLst/>
                  <a:gdLst>
                    <a:gd name="T0" fmla="*/ 4 w 359"/>
                    <a:gd name="T1" fmla="*/ 97 h 289"/>
                    <a:gd name="T2" fmla="*/ 6 w 359"/>
                    <a:gd name="T3" fmla="*/ 119 h 289"/>
                    <a:gd name="T4" fmla="*/ 59 w 359"/>
                    <a:gd name="T5" fmla="*/ 168 h 289"/>
                    <a:gd name="T6" fmla="*/ 46 w 359"/>
                    <a:gd name="T7" fmla="*/ 193 h 289"/>
                    <a:gd name="T8" fmla="*/ 70 w 359"/>
                    <a:gd name="T9" fmla="*/ 210 h 289"/>
                    <a:gd name="T10" fmla="*/ 87 w 359"/>
                    <a:gd name="T11" fmla="*/ 199 h 289"/>
                    <a:gd name="T12" fmla="*/ 112 w 359"/>
                    <a:gd name="T13" fmla="*/ 268 h 289"/>
                    <a:gd name="T14" fmla="*/ 127 w 359"/>
                    <a:gd name="T15" fmla="*/ 265 h 289"/>
                    <a:gd name="T16" fmla="*/ 125 w 359"/>
                    <a:gd name="T17" fmla="*/ 289 h 289"/>
                    <a:gd name="T18" fmla="*/ 180 w 359"/>
                    <a:gd name="T19" fmla="*/ 287 h 289"/>
                    <a:gd name="T20" fmla="*/ 199 w 359"/>
                    <a:gd name="T21" fmla="*/ 272 h 289"/>
                    <a:gd name="T22" fmla="*/ 223 w 359"/>
                    <a:gd name="T23" fmla="*/ 289 h 289"/>
                    <a:gd name="T24" fmla="*/ 229 w 359"/>
                    <a:gd name="T25" fmla="*/ 276 h 289"/>
                    <a:gd name="T26" fmla="*/ 287 w 359"/>
                    <a:gd name="T27" fmla="*/ 272 h 289"/>
                    <a:gd name="T28" fmla="*/ 293 w 359"/>
                    <a:gd name="T29" fmla="*/ 251 h 289"/>
                    <a:gd name="T30" fmla="*/ 323 w 359"/>
                    <a:gd name="T31" fmla="*/ 253 h 289"/>
                    <a:gd name="T32" fmla="*/ 312 w 359"/>
                    <a:gd name="T33" fmla="*/ 231 h 289"/>
                    <a:gd name="T34" fmla="*/ 355 w 359"/>
                    <a:gd name="T35" fmla="*/ 221 h 289"/>
                    <a:gd name="T36" fmla="*/ 359 w 359"/>
                    <a:gd name="T37" fmla="*/ 163 h 289"/>
                    <a:gd name="T38" fmla="*/ 353 w 359"/>
                    <a:gd name="T39" fmla="*/ 136 h 289"/>
                    <a:gd name="T40" fmla="*/ 304 w 359"/>
                    <a:gd name="T41" fmla="*/ 93 h 289"/>
                    <a:gd name="T42" fmla="*/ 302 w 359"/>
                    <a:gd name="T43" fmla="*/ 91 h 289"/>
                    <a:gd name="T44" fmla="*/ 310 w 359"/>
                    <a:gd name="T45" fmla="*/ 66 h 289"/>
                    <a:gd name="T46" fmla="*/ 246 w 359"/>
                    <a:gd name="T47" fmla="*/ 57 h 289"/>
                    <a:gd name="T48" fmla="*/ 225 w 359"/>
                    <a:gd name="T49" fmla="*/ 38 h 289"/>
                    <a:gd name="T50" fmla="*/ 221 w 359"/>
                    <a:gd name="T51" fmla="*/ 0 h 289"/>
                    <a:gd name="T52" fmla="*/ 168 w 359"/>
                    <a:gd name="T53" fmla="*/ 6 h 289"/>
                    <a:gd name="T54" fmla="*/ 106 w 359"/>
                    <a:gd name="T55" fmla="*/ 74 h 289"/>
                    <a:gd name="T56" fmla="*/ 61 w 359"/>
                    <a:gd name="T57" fmla="*/ 66 h 289"/>
                    <a:gd name="T58" fmla="*/ 40 w 359"/>
                    <a:gd name="T59" fmla="*/ 38 h 289"/>
                    <a:gd name="T60" fmla="*/ 0 w 359"/>
                    <a:gd name="T61" fmla="*/ 87 h 289"/>
                    <a:gd name="T62" fmla="*/ 4 w 359"/>
                    <a:gd name="T63" fmla="*/ 9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9" h="289">
                      <a:moveTo>
                        <a:pt x="4" y="97"/>
                      </a:moveTo>
                      <a:lnTo>
                        <a:pt x="6" y="119"/>
                      </a:lnTo>
                      <a:lnTo>
                        <a:pt x="59" y="168"/>
                      </a:lnTo>
                      <a:lnTo>
                        <a:pt x="46" y="193"/>
                      </a:lnTo>
                      <a:lnTo>
                        <a:pt x="70" y="210"/>
                      </a:lnTo>
                      <a:lnTo>
                        <a:pt x="87" y="199"/>
                      </a:lnTo>
                      <a:lnTo>
                        <a:pt x="112" y="268"/>
                      </a:lnTo>
                      <a:lnTo>
                        <a:pt x="127" y="265"/>
                      </a:lnTo>
                      <a:lnTo>
                        <a:pt x="125" y="289"/>
                      </a:lnTo>
                      <a:lnTo>
                        <a:pt x="180" y="287"/>
                      </a:lnTo>
                      <a:lnTo>
                        <a:pt x="199" y="272"/>
                      </a:lnTo>
                      <a:lnTo>
                        <a:pt x="223" y="289"/>
                      </a:lnTo>
                      <a:lnTo>
                        <a:pt x="229" y="276"/>
                      </a:lnTo>
                      <a:lnTo>
                        <a:pt x="287" y="272"/>
                      </a:lnTo>
                      <a:lnTo>
                        <a:pt x="293" y="251"/>
                      </a:lnTo>
                      <a:lnTo>
                        <a:pt x="323" y="253"/>
                      </a:lnTo>
                      <a:lnTo>
                        <a:pt x="312" y="231"/>
                      </a:lnTo>
                      <a:lnTo>
                        <a:pt x="355" y="221"/>
                      </a:lnTo>
                      <a:lnTo>
                        <a:pt x="359" y="163"/>
                      </a:lnTo>
                      <a:lnTo>
                        <a:pt x="353" y="136"/>
                      </a:lnTo>
                      <a:lnTo>
                        <a:pt x="304" y="93"/>
                      </a:lnTo>
                      <a:lnTo>
                        <a:pt x="302" y="91"/>
                      </a:lnTo>
                      <a:lnTo>
                        <a:pt x="310" y="66"/>
                      </a:lnTo>
                      <a:lnTo>
                        <a:pt x="246" y="57"/>
                      </a:lnTo>
                      <a:lnTo>
                        <a:pt x="225" y="38"/>
                      </a:lnTo>
                      <a:lnTo>
                        <a:pt x="221" y="0"/>
                      </a:lnTo>
                      <a:lnTo>
                        <a:pt x="168" y="6"/>
                      </a:lnTo>
                      <a:lnTo>
                        <a:pt x="106" y="74"/>
                      </a:lnTo>
                      <a:lnTo>
                        <a:pt x="61" y="66"/>
                      </a:lnTo>
                      <a:lnTo>
                        <a:pt x="40" y="38"/>
                      </a:lnTo>
                      <a:lnTo>
                        <a:pt x="0" y="87"/>
                      </a:lnTo>
                      <a:lnTo>
                        <a:pt x="4" y="97"/>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25" name="52">
                  <a:extLst>
                    <a:ext uri="{FF2B5EF4-FFF2-40B4-BE49-F238E27FC236}">
                      <a16:creationId xmlns:a16="http://schemas.microsoft.com/office/drawing/2014/main" id="{A68B54BB-76FA-480B-BB69-AB7574481465}"/>
                    </a:ext>
                  </a:extLst>
                </p:cNvPr>
                <p:cNvSpPr>
                  <a:spLocks/>
                </p:cNvSpPr>
                <p:nvPr/>
              </p:nvSpPr>
              <p:spPr bwMode="gray">
                <a:xfrm>
                  <a:off x="7300922" y="2753355"/>
                  <a:ext cx="446960" cy="578756"/>
                </a:xfrm>
                <a:custGeom>
                  <a:avLst/>
                  <a:gdLst>
                    <a:gd name="T0" fmla="*/ 2 w 312"/>
                    <a:gd name="T1" fmla="*/ 85 h 404"/>
                    <a:gd name="T2" fmla="*/ 51 w 312"/>
                    <a:gd name="T3" fmla="*/ 128 h 404"/>
                    <a:gd name="T4" fmla="*/ 57 w 312"/>
                    <a:gd name="T5" fmla="*/ 155 h 404"/>
                    <a:gd name="T6" fmla="*/ 53 w 312"/>
                    <a:gd name="T7" fmla="*/ 213 h 404"/>
                    <a:gd name="T8" fmla="*/ 10 w 312"/>
                    <a:gd name="T9" fmla="*/ 223 h 404"/>
                    <a:gd name="T10" fmla="*/ 21 w 312"/>
                    <a:gd name="T11" fmla="*/ 245 h 404"/>
                    <a:gd name="T12" fmla="*/ 48 w 312"/>
                    <a:gd name="T13" fmla="*/ 255 h 404"/>
                    <a:gd name="T14" fmla="*/ 53 w 312"/>
                    <a:gd name="T15" fmla="*/ 283 h 404"/>
                    <a:gd name="T16" fmla="*/ 70 w 312"/>
                    <a:gd name="T17" fmla="*/ 281 h 404"/>
                    <a:gd name="T18" fmla="*/ 93 w 312"/>
                    <a:gd name="T19" fmla="*/ 317 h 404"/>
                    <a:gd name="T20" fmla="*/ 76 w 312"/>
                    <a:gd name="T21" fmla="*/ 332 h 404"/>
                    <a:gd name="T22" fmla="*/ 85 w 312"/>
                    <a:gd name="T23" fmla="*/ 362 h 404"/>
                    <a:gd name="T24" fmla="*/ 102 w 312"/>
                    <a:gd name="T25" fmla="*/ 357 h 404"/>
                    <a:gd name="T26" fmla="*/ 125 w 312"/>
                    <a:gd name="T27" fmla="*/ 379 h 404"/>
                    <a:gd name="T28" fmla="*/ 140 w 312"/>
                    <a:gd name="T29" fmla="*/ 368 h 404"/>
                    <a:gd name="T30" fmla="*/ 161 w 312"/>
                    <a:gd name="T31" fmla="*/ 404 h 404"/>
                    <a:gd name="T32" fmla="*/ 189 w 312"/>
                    <a:gd name="T33" fmla="*/ 393 h 404"/>
                    <a:gd name="T34" fmla="*/ 189 w 312"/>
                    <a:gd name="T35" fmla="*/ 387 h 404"/>
                    <a:gd name="T36" fmla="*/ 201 w 312"/>
                    <a:gd name="T37" fmla="*/ 366 h 404"/>
                    <a:gd name="T38" fmla="*/ 267 w 312"/>
                    <a:gd name="T39" fmla="*/ 362 h 404"/>
                    <a:gd name="T40" fmla="*/ 263 w 312"/>
                    <a:gd name="T41" fmla="*/ 315 h 404"/>
                    <a:gd name="T42" fmla="*/ 297 w 312"/>
                    <a:gd name="T43" fmla="*/ 302 h 404"/>
                    <a:gd name="T44" fmla="*/ 312 w 312"/>
                    <a:gd name="T45" fmla="*/ 272 h 404"/>
                    <a:gd name="T46" fmla="*/ 248 w 312"/>
                    <a:gd name="T47" fmla="*/ 217 h 404"/>
                    <a:gd name="T48" fmla="*/ 265 w 312"/>
                    <a:gd name="T49" fmla="*/ 166 h 404"/>
                    <a:gd name="T50" fmla="*/ 187 w 312"/>
                    <a:gd name="T51" fmla="*/ 109 h 404"/>
                    <a:gd name="T52" fmla="*/ 187 w 312"/>
                    <a:gd name="T53" fmla="*/ 106 h 404"/>
                    <a:gd name="T54" fmla="*/ 204 w 312"/>
                    <a:gd name="T55" fmla="*/ 94 h 404"/>
                    <a:gd name="T56" fmla="*/ 102 w 312"/>
                    <a:gd name="T57" fmla="*/ 21 h 404"/>
                    <a:gd name="T58" fmla="*/ 91 w 312"/>
                    <a:gd name="T59" fmla="*/ 28 h 404"/>
                    <a:gd name="T60" fmla="*/ 85 w 312"/>
                    <a:gd name="T61" fmla="*/ 0 h 404"/>
                    <a:gd name="T62" fmla="*/ 36 w 312"/>
                    <a:gd name="T63" fmla="*/ 7 h 404"/>
                    <a:gd name="T64" fmla="*/ 51 w 312"/>
                    <a:gd name="T65" fmla="*/ 19 h 404"/>
                    <a:gd name="T66" fmla="*/ 34 w 312"/>
                    <a:gd name="T67" fmla="*/ 34 h 404"/>
                    <a:gd name="T68" fmla="*/ 46 w 312"/>
                    <a:gd name="T69" fmla="*/ 51 h 404"/>
                    <a:gd name="T70" fmla="*/ 8 w 312"/>
                    <a:gd name="T71" fmla="*/ 58 h 404"/>
                    <a:gd name="T72" fmla="*/ 0 w 312"/>
                    <a:gd name="T73" fmla="*/ 83 h 404"/>
                    <a:gd name="T74" fmla="*/ 2 w 312"/>
                    <a:gd name="T75" fmla="*/ 85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2" h="404">
                      <a:moveTo>
                        <a:pt x="2" y="85"/>
                      </a:moveTo>
                      <a:lnTo>
                        <a:pt x="51" y="128"/>
                      </a:lnTo>
                      <a:lnTo>
                        <a:pt x="57" y="155"/>
                      </a:lnTo>
                      <a:lnTo>
                        <a:pt x="53" y="213"/>
                      </a:lnTo>
                      <a:lnTo>
                        <a:pt x="10" y="223"/>
                      </a:lnTo>
                      <a:lnTo>
                        <a:pt x="21" y="245"/>
                      </a:lnTo>
                      <a:lnTo>
                        <a:pt x="48" y="255"/>
                      </a:lnTo>
                      <a:lnTo>
                        <a:pt x="53" y="283"/>
                      </a:lnTo>
                      <a:lnTo>
                        <a:pt x="70" y="281"/>
                      </a:lnTo>
                      <a:lnTo>
                        <a:pt x="93" y="317"/>
                      </a:lnTo>
                      <a:lnTo>
                        <a:pt x="76" y="332"/>
                      </a:lnTo>
                      <a:lnTo>
                        <a:pt x="85" y="362"/>
                      </a:lnTo>
                      <a:lnTo>
                        <a:pt x="102" y="357"/>
                      </a:lnTo>
                      <a:lnTo>
                        <a:pt x="125" y="379"/>
                      </a:lnTo>
                      <a:lnTo>
                        <a:pt x="140" y="368"/>
                      </a:lnTo>
                      <a:lnTo>
                        <a:pt x="161" y="404"/>
                      </a:lnTo>
                      <a:lnTo>
                        <a:pt x="189" y="393"/>
                      </a:lnTo>
                      <a:lnTo>
                        <a:pt x="189" y="387"/>
                      </a:lnTo>
                      <a:lnTo>
                        <a:pt x="201" y="366"/>
                      </a:lnTo>
                      <a:lnTo>
                        <a:pt x="267" y="362"/>
                      </a:lnTo>
                      <a:lnTo>
                        <a:pt x="263" y="315"/>
                      </a:lnTo>
                      <a:lnTo>
                        <a:pt x="297" y="302"/>
                      </a:lnTo>
                      <a:lnTo>
                        <a:pt x="312" y="272"/>
                      </a:lnTo>
                      <a:lnTo>
                        <a:pt x="248" y="217"/>
                      </a:lnTo>
                      <a:lnTo>
                        <a:pt x="265" y="166"/>
                      </a:lnTo>
                      <a:lnTo>
                        <a:pt x="187" y="109"/>
                      </a:lnTo>
                      <a:lnTo>
                        <a:pt x="187" y="106"/>
                      </a:lnTo>
                      <a:lnTo>
                        <a:pt x="204" y="94"/>
                      </a:lnTo>
                      <a:lnTo>
                        <a:pt x="102" y="21"/>
                      </a:lnTo>
                      <a:lnTo>
                        <a:pt x="91" y="28"/>
                      </a:lnTo>
                      <a:lnTo>
                        <a:pt x="85" y="0"/>
                      </a:lnTo>
                      <a:lnTo>
                        <a:pt x="36" y="7"/>
                      </a:lnTo>
                      <a:lnTo>
                        <a:pt x="51" y="19"/>
                      </a:lnTo>
                      <a:lnTo>
                        <a:pt x="34" y="34"/>
                      </a:lnTo>
                      <a:lnTo>
                        <a:pt x="46" y="51"/>
                      </a:lnTo>
                      <a:lnTo>
                        <a:pt x="8" y="58"/>
                      </a:lnTo>
                      <a:lnTo>
                        <a:pt x="0" y="83"/>
                      </a:lnTo>
                      <a:lnTo>
                        <a:pt x="2" y="85"/>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grpSp>
            <p:nvGrpSpPr>
              <p:cNvPr id="319" name="Alsace (Formes)">
                <a:extLst>
                  <a:ext uri="{FF2B5EF4-FFF2-40B4-BE49-F238E27FC236}">
                    <a16:creationId xmlns:a16="http://schemas.microsoft.com/office/drawing/2014/main" id="{A0ED8FE9-0CEF-42AE-903F-0B41BD546EEB}"/>
                  </a:ext>
                </a:extLst>
              </p:cNvPr>
              <p:cNvGrpSpPr/>
              <p:nvPr/>
            </p:nvGrpSpPr>
            <p:grpSpPr>
              <a:xfrm>
                <a:off x="8085968" y="2522713"/>
                <a:ext cx="451258" cy="858107"/>
                <a:chOff x="8085968" y="2522713"/>
                <a:chExt cx="451258" cy="858107"/>
              </a:xfrm>
              <a:grpFill/>
            </p:grpSpPr>
            <p:sp>
              <p:nvSpPr>
                <p:cNvPr id="320" name="68">
                  <a:extLst>
                    <a:ext uri="{FF2B5EF4-FFF2-40B4-BE49-F238E27FC236}">
                      <a16:creationId xmlns:a16="http://schemas.microsoft.com/office/drawing/2014/main" id="{BD8ECD9D-7D17-4B98-9BBC-309798E5EB94}"/>
                    </a:ext>
                  </a:extLst>
                </p:cNvPr>
                <p:cNvSpPr>
                  <a:spLocks/>
                </p:cNvSpPr>
                <p:nvPr/>
              </p:nvSpPr>
              <p:spPr bwMode="gray">
                <a:xfrm>
                  <a:off x="8085968" y="2923831"/>
                  <a:ext cx="267890" cy="456989"/>
                </a:xfrm>
                <a:custGeom>
                  <a:avLst/>
                  <a:gdLst>
                    <a:gd name="T0" fmla="*/ 2 w 187"/>
                    <a:gd name="T1" fmla="*/ 187 h 319"/>
                    <a:gd name="T2" fmla="*/ 49 w 187"/>
                    <a:gd name="T3" fmla="*/ 219 h 319"/>
                    <a:gd name="T4" fmla="*/ 42 w 187"/>
                    <a:gd name="T5" fmla="*/ 264 h 319"/>
                    <a:gd name="T6" fmla="*/ 62 w 187"/>
                    <a:gd name="T7" fmla="*/ 262 h 319"/>
                    <a:gd name="T8" fmla="*/ 76 w 187"/>
                    <a:gd name="T9" fmla="*/ 298 h 319"/>
                    <a:gd name="T10" fmla="*/ 93 w 187"/>
                    <a:gd name="T11" fmla="*/ 298 h 319"/>
                    <a:gd name="T12" fmla="*/ 87 w 187"/>
                    <a:gd name="T13" fmla="*/ 319 h 319"/>
                    <a:gd name="T14" fmla="*/ 140 w 187"/>
                    <a:gd name="T15" fmla="*/ 319 h 319"/>
                    <a:gd name="T16" fmla="*/ 187 w 187"/>
                    <a:gd name="T17" fmla="*/ 262 h 319"/>
                    <a:gd name="T18" fmla="*/ 166 w 187"/>
                    <a:gd name="T19" fmla="*/ 219 h 319"/>
                    <a:gd name="T20" fmla="*/ 187 w 187"/>
                    <a:gd name="T21" fmla="*/ 119 h 319"/>
                    <a:gd name="T22" fmla="*/ 172 w 187"/>
                    <a:gd name="T23" fmla="*/ 66 h 319"/>
                    <a:gd name="T24" fmla="*/ 79 w 187"/>
                    <a:gd name="T25" fmla="*/ 0 h 319"/>
                    <a:gd name="T26" fmla="*/ 21 w 187"/>
                    <a:gd name="T27" fmla="*/ 121 h 319"/>
                    <a:gd name="T28" fmla="*/ 17 w 187"/>
                    <a:gd name="T29" fmla="*/ 172 h 319"/>
                    <a:gd name="T30" fmla="*/ 0 w 187"/>
                    <a:gd name="T31" fmla="*/ 183 h 319"/>
                    <a:gd name="T32" fmla="*/ 2 w 187"/>
                    <a:gd name="T33" fmla="*/ 187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7" h="319">
                      <a:moveTo>
                        <a:pt x="2" y="187"/>
                      </a:moveTo>
                      <a:lnTo>
                        <a:pt x="49" y="219"/>
                      </a:lnTo>
                      <a:lnTo>
                        <a:pt x="42" y="264"/>
                      </a:lnTo>
                      <a:lnTo>
                        <a:pt x="62" y="262"/>
                      </a:lnTo>
                      <a:lnTo>
                        <a:pt x="76" y="298"/>
                      </a:lnTo>
                      <a:lnTo>
                        <a:pt x="93" y="298"/>
                      </a:lnTo>
                      <a:lnTo>
                        <a:pt x="87" y="319"/>
                      </a:lnTo>
                      <a:lnTo>
                        <a:pt x="140" y="319"/>
                      </a:lnTo>
                      <a:lnTo>
                        <a:pt x="187" y="262"/>
                      </a:lnTo>
                      <a:lnTo>
                        <a:pt x="166" y="219"/>
                      </a:lnTo>
                      <a:lnTo>
                        <a:pt x="187" y="119"/>
                      </a:lnTo>
                      <a:lnTo>
                        <a:pt x="172" y="66"/>
                      </a:lnTo>
                      <a:lnTo>
                        <a:pt x="79" y="0"/>
                      </a:lnTo>
                      <a:lnTo>
                        <a:pt x="21" y="121"/>
                      </a:lnTo>
                      <a:lnTo>
                        <a:pt x="17" y="172"/>
                      </a:lnTo>
                      <a:lnTo>
                        <a:pt x="0" y="183"/>
                      </a:lnTo>
                      <a:lnTo>
                        <a:pt x="2" y="187"/>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sp>
              <p:nvSpPr>
                <p:cNvPr id="321" name="67">
                  <a:extLst>
                    <a:ext uri="{FF2B5EF4-FFF2-40B4-BE49-F238E27FC236}">
                      <a16:creationId xmlns:a16="http://schemas.microsoft.com/office/drawing/2014/main" id="{2C4F3BC3-3DD7-411F-AD97-7A999CE209CE}"/>
                    </a:ext>
                  </a:extLst>
                </p:cNvPr>
                <p:cNvSpPr>
                  <a:spLocks/>
                </p:cNvSpPr>
                <p:nvPr/>
              </p:nvSpPr>
              <p:spPr bwMode="gray">
                <a:xfrm>
                  <a:off x="8094563" y="2522713"/>
                  <a:ext cx="442663" cy="495667"/>
                </a:xfrm>
                <a:custGeom>
                  <a:avLst/>
                  <a:gdLst>
                    <a:gd name="T0" fmla="*/ 0 w 309"/>
                    <a:gd name="T1" fmla="*/ 57 h 346"/>
                    <a:gd name="T2" fmla="*/ 19 w 309"/>
                    <a:gd name="T3" fmla="*/ 46 h 346"/>
                    <a:gd name="T4" fmla="*/ 30 w 309"/>
                    <a:gd name="T5" fmla="*/ 4 h 346"/>
                    <a:gd name="T6" fmla="*/ 43 w 309"/>
                    <a:gd name="T7" fmla="*/ 27 h 346"/>
                    <a:gd name="T8" fmla="*/ 90 w 309"/>
                    <a:gd name="T9" fmla="*/ 48 h 346"/>
                    <a:gd name="T10" fmla="*/ 143 w 309"/>
                    <a:gd name="T11" fmla="*/ 48 h 346"/>
                    <a:gd name="T12" fmla="*/ 164 w 309"/>
                    <a:gd name="T13" fmla="*/ 6 h 346"/>
                    <a:gd name="T14" fmla="*/ 234 w 309"/>
                    <a:gd name="T15" fmla="*/ 0 h 346"/>
                    <a:gd name="T16" fmla="*/ 309 w 309"/>
                    <a:gd name="T17" fmla="*/ 27 h 346"/>
                    <a:gd name="T18" fmla="*/ 281 w 309"/>
                    <a:gd name="T19" fmla="*/ 85 h 346"/>
                    <a:gd name="T20" fmla="*/ 221 w 309"/>
                    <a:gd name="T21" fmla="*/ 151 h 346"/>
                    <a:gd name="T22" fmla="*/ 204 w 309"/>
                    <a:gd name="T23" fmla="*/ 267 h 346"/>
                    <a:gd name="T24" fmla="*/ 166 w 309"/>
                    <a:gd name="T25" fmla="*/ 346 h 346"/>
                    <a:gd name="T26" fmla="*/ 73 w 309"/>
                    <a:gd name="T27" fmla="*/ 280 h 346"/>
                    <a:gd name="T28" fmla="*/ 43 w 309"/>
                    <a:gd name="T29" fmla="*/ 267 h 346"/>
                    <a:gd name="T30" fmla="*/ 49 w 309"/>
                    <a:gd name="T31" fmla="*/ 208 h 346"/>
                    <a:gd name="T32" fmla="*/ 36 w 309"/>
                    <a:gd name="T33" fmla="*/ 202 h 346"/>
                    <a:gd name="T34" fmla="*/ 79 w 309"/>
                    <a:gd name="T35" fmla="*/ 182 h 346"/>
                    <a:gd name="T36" fmla="*/ 90 w 309"/>
                    <a:gd name="T37" fmla="*/ 153 h 346"/>
                    <a:gd name="T38" fmla="*/ 75 w 309"/>
                    <a:gd name="T39" fmla="*/ 142 h 346"/>
                    <a:gd name="T40" fmla="*/ 92 w 309"/>
                    <a:gd name="T41" fmla="*/ 112 h 346"/>
                    <a:gd name="T42" fmla="*/ 60 w 309"/>
                    <a:gd name="T43" fmla="*/ 85 h 346"/>
                    <a:gd name="T44" fmla="*/ 34 w 309"/>
                    <a:gd name="T45" fmla="*/ 108 h 346"/>
                    <a:gd name="T46" fmla="*/ 36 w 309"/>
                    <a:gd name="T47" fmla="*/ 80 h 346"/>
                    <a:gd name="T48" fmla="*/ 0 w 309"/>
                    <a:gd name="T49" fmla="*/ 59 h 346"/>
                    <a:gd name="T50" fmla="*/ 0 w 309"/>
                    <a:gd name="T51" fmla="*/ 5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9" h="346">
                      <a:moveTo>
                        <a:pt x="0" y="57"/>
                      </a:moveTo>
                      <a:lnTo>
                        <a:pt x="19" y="46"/>
                      </a:lnTo>
                      <a:lnTo>
                        <a:pt x="30" y="4"/>
                      </a:lnTo>
                      <a:lnTo>
                        <a:pt x="43" y="27"/>
                      </a:lnTo>
                      <a:lnTo>
                        <a:pt x="90" y="48"/>
                      </a:lnTo>
                      <a:lnTo>
                        <a:pt x="143" y="48"/>
                      </a:lnTo>
                      <a:lnTo>
                        <a:pt x="164" y="6"/>
                      </a:lnTo>
                      <a:lnTo>
                        <a:pt x="234" y="0"/>
                      </a:lnTo>
                      <a:lnTo>
                        <a:pt x="309" y="27"/>
                      </a:lnTo>
                      <a:lnTo>
                        <a:pt x="281" y="85"/>
                      </a:lnTo>
                      <a:lnTo>
                        <a:pt x="221" y="151"/>
                      </a:lnTo>
                      <a:lnTo>
                        <a:pt x="204" y="267"/>
                      </a:lnTo>
                      <a:lnTo>
                        <a:pt x="166" y="346"/>
                      </a:lnTo>
                      <a:lnTo>
                        <a:pt x="73" y="280"/>
                      </a:lnTo>
                      <a:lnTo>
                        <a:pt x="43" y="267"/>
                      </a:lnTo>
                      <a:lnTo>
                        <a:pt x="49" y="208"/>
                      </a:lnTo>
                      <a:lnTo>
                        <a:pt x="36" y="202"/>
                      </a:lnTo>
                      <a:lnTo>
                        <a:pt x="79" y="182"/>
                      </a:lnTo>
                      <a:lnTo>
                        <a:pt x="90" y="153"/>
                      </a:lnTo>
                      <a:lnTo>
                        <a:pt x="75" y="142"/>
                      </a:lnTo>
                      <a:lnTo>
                        <a:pt x="92" y="112"/>
                      </a:lnTo>
                      <a:lnTo>
                        <a:pt x="60" y="85"/>
                      </a:lnTo>
                      <a:lnTo>
                        <a:pt x="34" y="108"/>
                      </a:lnTo>
                      <a:lnTo>
                        <a:pt x="36" y="80"/>
                      </a:lnTo>
                      <a:lnTo>
                        <a:pt x="0" y="59"/>
                      </a:lnTo>
                      <a:lnTo>
                        <a:pt x="0" y="57"/>
                      </a:lnTo>
                    </a:path>
                  </a:pathLst>
                </a:custGeom>
                <a:solidFill>
                  <a:schemeClr val="accent2"/>
                </a:solidFill>
                <a:ln w="2"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503078"/>
                    </a:solidFill>
                    <a:latin typeface="Tahoma"/>
                  </a:endParaRPr>
                </a:p>
              </p:txBody>
            </p:sp>
          </p:grpSp>
        </p:grpSp>
      </p:grpSp>
      <p:sp>
        <p:nvSpPr>
          <p:cNvPr id="521" name="Rectangle 520">
            <a:extLst>
              <a:ext uri="{FF2B5EF4-FFF2-40B4-BE49-F238E27FC236}">
                <a16:creationId xmlns:a16="http://schemas.microsoft.com/office/drawing/2014/main" id="{1C56F0D6-70AD-433A-A272-42293296CCD7}"/>
              </a:ext>
            </a:extLst>
          </p:cNvPr>
          <p:cNvSpPr/>
          <p:nvPr/>
        </p:nvSpPr>
        <p:spPr>
          <a:xfrm>
            <a:off x="1254008" y="923574"/>
            <a:ext cx="2629766" cy="102628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522" name="ZoneTexte 521">
            <a:extLst>
              <a:ext uri="{FF2B5EF4-FFF2-40B4-BE49-F238E27FC236}">
                <a16:creationId xmlns:a16="http://schemas.microsoft.com/office/drawing/2014/main" id="{B6B879E1-F1AE-48C4-B305-82F628CFE3B6}"/>
              </a:ext>
            </a:extLst>
          </p:cNvPr>
          <p:cNvSpPr txBox="1"/>
          <p:nvPr/>
        </p:nvSpPr>
        <p:spPr>
          <a:xfrm>
            <a:off x="1220824" y="1081018"/>
            <a:ext cx="2668589" cy="908262"/>
          </a:xfrm>
          <a:prstGeom prst="rect">
            <a:avLst/>
          </a:prstGeom>
          <a:noFill/>
          <a:ln>
            <a:noFill/>
          </a:ln>
        </p:spPr>
        <p:txBody>
          <a:bodyPr wrap="square" lIns="108000" rIns="108000" rtlCol="0">
            <a:spAutoFit/>
          </a:bodyPr>
          <a:lstStyle/>
          <a:p>
            <a:pPr>
              <a:lnSpc>
                <a:spcPct val="107000"/>
              </a:lnSpc>
              <a:spcAft>
                <a:spcPts val="800"/>
              </a:spcAft>
              <a:buClr>
                <a:srgbClr val="503078"/>
              </a:buClr>
            </a:pPr>
            <a:r>
              <a:rPr lang="fr-FR" sz="1000">
                <a:solidFill>
                  <a:srgbClr val="5F5F5F"/>
                </a:solidFill>
                <a:latin typeface="Tahoma"/>
              </a:rPr>
              <a:t>Rapport de Joëlle </a:t>
            </a:r>
            <a:r>
              <a:rPr lang="fr-FR" sz="1000" err="1">
                <a:solidFill>
                  <a:srgbClr val="5F5F5F"/>
                </a:solidFill>
                <a:latin typeface="Tahoma"/>
              </a:rPr>
              <a:t>Huillier</a:t>
            </a:r>
            <a:r>
              <a:rPr lang="fr-FR" sz="1000">
                <a:solidFill>
                  <a:srgbClr val="5F5F5F"/>
                </a:solidFill>
                <a:latin typeface="Tahoma"/>
              </a:rPr>
              <a:t>, </a:t>
            </a:r>
            <a:r>
              <a:rPr lang="fr-FR" sz="1000" i="1">
                <a:solidFill>
                  <a:srgbClr val="5F5F5F"/>
                </a:solidFill>
                <a:latin typeface="Tahoma"/>
              </a:rPr>
              <a:t>Du baluchonnage québécois au relayage en France : une solution innovante de répit</a:t>
            </a:r>
            <a:r>
              <a:rPr lang="fr-FR" sz="1000">
                <a:solidFill>
                  <a:srgbClr val="5F5F5F"/>
                </a:solidFill>
                <a:latin typeface="Tahoma"/>
              </a:rPr>
              <a:t>, remis le 22 mars 2017 à la secrétaire d'État chargée des personnes âgées et de l'autonomie</a:t>
            </a:r>
          </a:p>
        </p:txBody>
      </p:sp>
      <p:sp>
        <p:nvSpPr>
          <p:cNvPr id="523" name="ZoneTexte 522">
            <a:extLst>
              <a:ext uri="{FF2B5EF4-FFF2-40B4-BE49-F238E27FC236}">
                <a16:creationId xmlns:a16="http://schemas.microsoft.com/office/drawing/2014/main" id="{C6381703-12E2-4BCE-86B7-6C473B31816A}"/>
              </a:ext>
            </a:extLst>
          </p:cNvPr>
          <p:cNvSpPr txBox="1"/>
          <p:nvPr/>
        </p:nvSpPr>
        <p:spPr>
          <a:xfrm>
            <a:off x="1208843" y="902538"/>
            <a:ext cx="1659197" cy="261610"/>
          </a:xfrm>
          <a:prstGeom prst="rect">
            <a:avLst/>
          </a:prstGeom>
          <a:noFill/>
          <a:ln>
            <a:noFill/>
          </a:ln>
        </p:spPr>
        <p:txBody>
          <a:bodyPr wrap="square" lIns="108000" rIns="108000" rtlCol="0">
            <a:spAutoFit/>
          </a:bodyPr>
          <a:lstStyle/>
          <a:p>
            <a:r>
              <a:rPr lang="fr-FR" sz="1100" b="1">
                <a:solidFill>
                  <a:srgbClr val="503078"/>
                </a:solidFill>
                <a:latin typeface="Tahoma"/>
              </a:rPr>
              <a:t>Origine</a:t>
            </a:r>
          </a:p>
        </p:txBody>
      </p:sp>
      <p:sp>
        <p:nvSpPr>
          <p:cNvPr id="525" name="ZoneTexte 524">
            <a:extLst>
              <a:ext uri="{FF2B5EF4-FFF2-40B4-BE49-F238E27FC236}">
                <a16:creationId xmlns:a16="http://schemas.microsoft.com/office/drawing/2014/main" id="{A17C1D63-1AB8-4039-8ACB-D8A7B3F71535}"/>
              </a:ext>
            </a:extLst>
          </p:cNvPr>
          <p:cNvSpPr txBox="1"/>
          <p:nvPr/>
        </p:nvSpPr>
        <p:spPr>
          <a:xfrm>
            <a:off x="6594058" y="1117785"/>
            <a:ext cx="2272639" cy="738664"/>
          </a:xfrm>
          <a:prstGeom prst="rect">
            <a:avLst/>
          </a:prstGeom>
          <a:noFill/>
          <a:ln>
            <a:noFill/>
          </a:ln>
        </p:spPr>
        <p:txBody>
          <a:bodyPr wrap="square" lIns="108000" rIns="108000" rtlCol="0">
            <a:spAutoFit/>
          </a:bodyPr>
          <a:lstStyle/>
          <a:p>
            <a:pPr>
              <a:buClr>
                <a:srgbClr val="503078"/>
              </a:buClr>
            </a:pPr>
            <a:endParaRPr lang="fr-FR" sz="1050">
              <a:solidFill>
                <a:srgbClr val="5F5F5F"/>
              </a:solidFill>
              <a:latin typeface="Tahoma"/>
            </a:endParaRPr>
          </a:p>
          <a:p>
            <a:pPr marL="171450" indent="-171450">
              <a:buClr>
                <a:srgbClr val="503078"/>
              </a:buClr>
              <a:buFont typeface="Tahoma" panose="020B0604030504040204" pitchFamily="34" charset="0"/>
              <a:buChar char="⁄"/>
            </a:pPr>
            <a:r>
              <a:rPr lang="fr-FR" sz="1050">
                <a:solidFill>
                  <a:srgbClr val="5F5F5F"/>
                </a:solidFill>
                <a:latin typeface="Tahoma"/>
              </a:rPr>
              <a:t>ESMS (EHPAD, centre de jour, SESSAD,IME, MAS, SAVS, FAM, SAMSAH,…)</a:t>
            </a:r>
          </a:p>
        </p:txBody>
      </p:sp>
      <p:sp>
        <p:nvSpPr>
          <p:cNvPr id="177" name="ZoneTexte 176">
            <a:extLst>
              <a:ext uri="{FF2B5EF4-FFF2-40B4-BE49-F238E27FC236}">
                <a16:creationId xmlns:a16="http://schemas.microsoft.com/office/drawing/2014/main" id="{7405A664-AC49-401F-B061-9E229987C2FA}"/>
              </a:ext>
            </a:extLst>
          </p:cNvPr>
          <p:cNvSpPr txBox="1"/>
          <p:nvPr/>
        </p:nvSpPr>
        <p:spPr>
          <a:xfrm>
            <a:off x="1213462" y="6640722"/>
            <a:ext cx="8804287" cy="200055"/>
          </a:xfrm>
          <a:prstGeom prst="rect">
            <a:avLst/>
          </a:prstGeom>
          <a:noFill/>
        </p:spPr>
        <p:txBody>
          <a:bodyPr wrap="square">
            <a:spAutoFit/>
          </a:bodyPr>
          <a:lstStyle/>
          <a:p>
            <a:pPr marL="0" lvl="1">
              <a:spcBef>
                <a:spcPts val="300"/>
              </a:spcBef>
              <a:spcAft>
                <a:spcPts val="300"/>
              </a:spcAft>
              <a:buClr>
                <a:srgbClr val="503078"/>
              </a:buClr>
              <a:defRPr/>
            </a:pPr>
            <a:r>
              <a:rPr lang="fr-FR" sz="700">
                <a:solidFill>
                  <a:srgbClr val="5F5F5F">
                    <a:lumMod val="60000"/>
                    <a:lumOff val="40000"/>
                  </a:srgbClr>
                </a:solidFill>
                <a:latin typeface="Tahoma"/>
              </a:rPr>
              <a:t>1. </a:t>
            </a:r>
            <a:r>
              <a:rPr lang="fr-FR" sz="700">
                <a:solidFill>
                  <a:srgbClr val="5F5F5F">
                    <a:lumMod val="60000"/>
                    <a:lumOff val="40000"/>
                  </a:srgbClr>
                </a:solidFill>
                <a:latin typeface="Tahoma"/>
                <a:hlinkClick r:id="rId8">
                  <a:extLst>
                    <a:ext uri="{A12FA001-AC4F-418D-AE19-62706E023703}">
                      <ahyp:hlinkClr xmlns:ahyp="http://schemas.microsoft.com/office/drawing/2018/hyperlinkcolor" val="tx"/>
                    </a:ext>
                  </a:extLst>
                </a:hlinkClick>
              </a:rPr>
              <a:t>Communiqué de presse de la CNSA, 3 juin 2019</a:t>
            </a:r>
            <a:r>
              <a:rPr lang="fr-FR" sz="700">
                <a:solidFill>
                  <a:srgbClr val="5F5F5F">
                    <a:lumMod val="60000"/>
                    <a:lumOff val="40000"/>
                  </a:srgbClr>
                </a:solidFill>
                <a:latin typeface="Tahoma"/>
              </a:rPr>
              <a:t> ; les territoires proposant exclusivement des initiatives de relayage à domicile n’ont pas été représentés sur cette carte </a:t>
            </a:r>
          </a:p>
        </p:txBody>
      </p:sp>
      <p:grpSp>
        <p:nvGrpSpPr>
          <p:cNvPr id="6" name="Groupe 5">
            <a:extLst>
              <a:ext uri="{FF2B5EF4-FFF2-40B4-BE49-F238E27FC236}">
                <a16:creationId xmlns:a16="http://schemas.microsoft.com/office/drawing/2014/main" id="{24E2A921-AD5B-4030-AE3A-EFBAAF49FFFA}"/>
              </a:ext>
            </a:extLst>
          </p:cNvPr>
          <p:cNvGrpSpPr/>
          <p:nvPr/>
        </p:nvGrpSpPr>
        <p:grpSpPr>
          <a:xfrm>
            <a:off x="1292905" y="6094407"/>
            <a:ext cx="5924621" cy="402432"/>
            <a:chOff x="258367" y="6215815"/>
            <a:chExt cx="10056893" cy="787690"/>
          </a:xfrm>
        </p:grpSpPr>
        <p:sp>
          <p:nvSpPr>
            <p:cNvPr id="520" name="ZoneTexte 519">
              <a:extLst>
                <a:ext uri="{FF2B5EF4-FFF2-40B4-BE49-F238E27FC236}">
                  <a16:creationId xmlns:a16="http://schemas.microsoft.com/office/drawing/2014/main" id="{F17B89FE-9569-4866-B97E-B8D96560DCD7}"/>
                </a:ext>
              </a:extLst>
            </p:cNvPr>
            <p:cNvSpPr txBox="1"/>
            <p:nvPr/>
          </p:nvSpPr>
          <p:spPr>
            <a:xfrm>
              <a:off x="303160" y="6581811"/>
              <a:ext cx="10012100" cy="421694"/>
            </a:xfrm>
            <a:prstGeom prst="rect">
              <a:avLst/>
            </a:prstGeom>
            <a:noFill/>
          </p:spPr>
          <p:txBody>
            <a:bodyPr wrap="square">
              <a:spAutoFit/>
            </a:bodyPr>
            <a:lstStyle/>
            <a:p>
              <a:r>
                <a:rPr lang="fr-FR" sz="800" kern="0">
                  <a:solidFill>
                    <a:srgbClr val="5F5F5F"/>
                  </a:solidFill>
                  <a:latin typeface="Tahoma"/>
                </a:rPr>
                <a:t>Relayage à domicile et séjours de répit</a:t>
              </a:r>
            </a:p>
          </p:txBody>
        </p:sp>
        <p:sp>
          <p:nvSpPr>
            <p:cNvPr id="180" name="Ellipse 179">
              <a:extLst>
                <a:ext uri="{FF2B5EF4-FFF2-40B4-BE49-F238E27FC236}">
                  <a16:creationId xmlns:a16="http://schemas.microsoft.com/office/drawing/2014/main" id="{3A0EBA79-813A-4B7A-820E-F2BAA844AD2B}"/>
                </a:ext>
              </a:extLst>
            </p:cNvPr>
            <p:cNvSpPr/>
            <p:nvPr/>
          </p:nvSpPr>
          <p:spPr>
            <a:xfrm>
              <a:off x="258367" y="6738949"/>
              <a:ext cx="121534" cy="129824"/>
            </a:xfrm>
            <a:prstGeom prst="ellipse">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sz="2000">
                <a:solidFill>
                  <a:srgbClr val="503078"/>
                </a:solidFill>
                <a:latin typeface="Tahoma"/>
              </a:endParaRPr>
            </a:p>
          </p:txBody>
        </p:sp>
        <p:sp>
          <p:nvSpPr>
            <p:cNvPr id="181" name="Ellipse 180">
              <a:extLst>
                <a:ext uri="{FF2B5EF4-FFF2-40B4-BE49-F238E27FC236}">
                  <a16:creationId xmlns:a16="http://schemas.microsoft.com/office/drawing/2014/main" id="{1814DB8A-FA38-4DFF-9131-D8DE23BD22A2}"/>
                </a:ext>
              </a:extLst>
            </p:cNvPr>
            <p:cNvSpPr/>
            <p:nvPr/>
          </p:nvSpPr>
          <p:spPr>
            <a:xfrm>
              <a:off x="259526" y="6362830"/>
              <a:ext cx="121534" cy="12982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sz="2000">
                <a:solidFill>
                  <a:srgbClr val="503078"/>
                </a:solidFill>
                <a:latin typeface="Tahoma"/>
              </a:endParaRPr>
            </a:p>
          </p:txBody>
        </p:sp>
        <p:sp>
          <p:nvSpPr>
            <p:cNvPr id="182" name="ZoneTexte 181">
              <a:extLst>
                <a:ext uri="{FF2B5EF4-FFF2-40B4-BE49-F238E27FC236}">
                  <a16:creationId xmlns:a16="http://schemas.microsoft.com/office/drawing/2014/main" id="{6CAAA323-97DD-4C86-A602-780DC21F8697}"/>
                </a:ext>
              </a:extLst>
            </p:cNvPr>
            <p:cNvSpPr txBox="1"/>
            <p:nvPr/>
          </p:nvSpPr>
          <p:spPr>
            <a:xfrm>
              <a:off x="303160" y="6215815"/>
              <a:ext cx="5033175" cy="421694"/>
            </a:xfrm>
            <a:prstGeom prst="rect">
              <a:avLst/>
            </a:prstGeom>
            <a:noFill/>
          </p:spPr>
          <p:txBody>
            <a:bodyPr wrap="square">
              <a:spAutoFit/>
            </a:bodyPr>
            <a:lstStyle/>
            <a:p>
              <a:r>
                <a:rPr lang="fr-FR" sz="800" kern="0">
                  <a:solidFill>
                    <a:srgbClr val="5F5F5F"/>
                  </a:solidFill>
                  <a:latin typeface="Tahoma"/>
                </a:rPr>
                <a:t>Séjours de répit</a:t>
              </a:r>
            </a:p>
          </p:txBody>
        </p:sp>
        <p:sp>
          <p:nvSpPr>
            <p:cNvPr id="183" name="Ellipse 182">
              <a:extLst>
                <a:ext uri="{FF2B5EF4-FFF2-40B4-BE49-F238E27FC236}">
                  <a16:creationId xmlns:a16="http://schemas.microsoft.com/office/drawing/2014/main" id="{7F3B6088-E821-4B0C-92BA-924719088EAF}"/>
                </a:ext>
              </a:extLst>
            </p:cNvPr>
            <p:cNvSpPr/>
            <p:nvPr/>
          </p:nvSpPr>
          <p:spPr>
            <a:xfrm>
              <a:off x="258367" y="6363363"/>
              <a:ext cx="121534" cy="12982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sz="2000">
                <a:solidFill>
                  <a:srgbClr val="503078"/>
                </a:solidFill>
                <a:latin typeface="Tahoma"/>
              </a:endParaRPr>
            </a:p>
          </p:txBody>
        </p:sp>
      </p:grpSp>
      <p:sp>
        <p:nvSpPr>
          <p:cNvPr id="191" name="ZoneTexte 190">
            <a:extLst>
              <a:ext uri="{FF2B5EF4-FFF2-40B4-BE49-F238E27FC236}">
                <a16:creationId xmlns:a16="http://schemas.microsoft.com/office/drawing/2014/main" id="{1EBFED61-27A3-4F9F-B54A-928AB0D94844}"/>
              </a:ext>
            </a:extLst>
          </p:cNvPr>
          <p:cNvSpPr txBox="1"/>
          <p:nvPr/>
        </p:nvSpPr>
        <p:spPr>
          <a:xfrm>
            <a:off x="8886225" y="1266245"/>
            <a:ext cx="2044864" cy="782265"/>
          </a:xfrm>
          <a:prstGeom prst="rect">
            <a:avLst/>
          </a:prstGeom>
          <a:noFill/>
          <a:ln>
            <a:noFill/>
          </a:ln>
        </p:spPr>
        <p:txBody>
          <a:bodyPr wrap="square" lIns="108000" rIns="108000" rtlCol="0">
            <a:spAutoFit/>
          </a:bodyPr>
          <a:lstStyle/>
          <a:p>
            <a:pPr marL="171450" indent="-171450">
              <a:spcAft>
                <a:spcPts val="800"/>
              </a:spcAft>
              <a:buClr>
                <a:srgbClr val="503078"/>
              </a:buClr>
              <a:buFont typeface="Tahoma" panose="020B0604030504040204" pitchFamily="34" charset="0"/>
              <a:buChar char="⁄"/>
            </a:pPr>
            <a:r>
              <a:rPr lang="fr-FR" sz="1050">
                <a:solidFill>
                  <a:srgbClr val="5F5F5F"/>
                </a:solidFill>
                <a:latin typeface="Tahoma"/>
              </a:rPr>
              <a:t>DGCS et DGT</a:t>
            </a:r>
          </a:p>
          <a:p>
            <a:pPr marL="171450" indent="-171450">
              <a:spcAft>
                <a:spcPts val="800"/>
              </a:spcAft>
              <a:buClr>
                <a:srgbClr val="503078"/>
              </a:buClr>
              <a:buFont typeface="Tahoma" panose="020B0604030504040204" pitchFamily="34" charset="0"/>
              <a:buChar char="⁄"/>
            </a:pPr>
            <a:r>
              <a:rPr lang="fr-FR" sz="1050">
                <a:solidFill>
                  <a:srgbClr val="5F5F5F"/>
                </a:solidFill>
                <a:latin typeface="Tahoma"/>
              </a:rPr>
              <a:t>CNSA </a:t>
            </a:r>
          </a:p>
          <a:p>
            <a:pPr marL="171450" indent="-171450">
              <a:spcAft>
                <a:spcPts val="800"/>
              </a:spcAft>
              <a:buClr>
                <a:srgbClr val="503078"/>
              </a:buClr>
              <a:buFont typeface="Tahoma" panose="020B0604030504040204" pitchFamily="34" charset="0"/>
              <a:buChar char="⁄"/>
            </a:pPr>
            <a:endParaRPr lang="fr-FR" sz="1050">
              <a:solidFill>
                <a:srgbClr val="5F5F5F"/>
              </a:solidFill>
              <a:latin typeface="Tahoma"/>
            </a:endParaRPr>
          </a:p>
        </p:txBody>
      </p:sp>
      <p:sp>
        <p:nvSpPr>
          <p:cNvPr id="151" name="ZoneTexte 150">
            <a:extLst>
              <a:ext uri="{FF2B5EF4-FFF2-40B4-BE49-F238E27FC236}">
                <a16:creationId xmlns:a16="http://schemas.microsoft.com/office/drawing/2014/main" id="{4B6C05F7-A098-4855-BB05-156DB0927F0A}"/>
              </a:ext>
            </a:extLst>
          </p:cNvPr>
          <p:cNvSpPr txBox="1"/>
          <p:nvPr/>
        </p:nvSpPr>
        <p:spPr>
          <a:xfrm>
            <a:off x="1722086" y="2008756"/>
            <a:ext cx="3488029" cy="415498"/>
          </a:xfrm>
          <a:prstGeom prst="rect">
            <a:avLst/>
          </a:prstGeom>
          <a:noFill/>
          <a:ln>
            <a:noFill/>
          </a:ln>
        </p:spPr>
        <p:txBody>
          <a:bodyPr wrap="square" lIns="108000" rIns="108000" rtlCol="0">
            <a:spAutoFit/>
          </a:bodyPr>
          <a:lstStyle/>
          <a:p>
            <a:pPr algn="ctr"/>
            <a:r>
              <a:rPr lang="fr-FR" sz="1050" b="1">
                <a:solidFill>
                  <a:srgbClr val="503078"/>
                </a:solidFill>
                <a:latin typeface="Tahoma"/>
              </a:rPr>
              <a:t>Cartographie des structures participantes sur le périmètre des séjours de répit</a:t>
            </a:r>
            <a:r>
              <a:rPr lang="fr-FR" sz="1050" b="1" baseline="30000">
                <a:solidFill>
                  <a:srgbClr val="503078"/>
                </a:solidFill>
                <a:latin typeface="Tahoma"/>
              </a:rPr>
              <a:t>1</a:t>
            </a:r>
            <a:r>
              <a:rPr lang="fr-FR" sz="1050" b="1">
                <a:solidFill>
                  <a:srgbClr val="503078"/>
                </a:solidFill>
                <a:latin typeface="Tahoma"/>
              </a:rPr>
              <a:t> </a:t>
            </a:r>
          </a:p>
        </p:txBody>
      </p:sp>
    </p:spTree>
    <p:extLst>
      <p:ext uri="{BB962C8B-B14F-4D97-AF65-F5344CB8AC3E}">
        <p14:creationId xmlns:p14="http://schemas.microsoft.com/office/powerpoint/2010/main" val="191295762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45E749-14D8-42BA-A566-C272C57C4B42}"/>
              </a:ext>
            </a:extLst>
          </p:cNvPr>
          <p:cNvSpPr>
            <a:spLocks noGrp="1"/>
          </p:cNvSpPr>
          <p:nvPr>
            <p:ph type="title"/>
          </p:nvPr>
        </p:nvSpPr>
        <p:spPr/>
        <p:txBody>
          <a:bodyPr/>
          <a:lstStyle/>
          <a:p>
            <a:r>
              <a:rPr lang="fr-FR">
                <a:latin typeface="Tahoma"/>
                <a:ea typeface="+mn-ea"/>
                <a:cs typeface="+mn-cs"/>
              </a:rPr>
              <a:t>Compléments sur le dimensionnement du marché</a:t>
            </a:r>
            <a:endParaRPr lang="fr-FR"/>
          </a:p>
        </p:txBody>
      </p:sp>
      <p:sp>
        <p:nvSpPr>
          <p:cNvPr id="3" name="Espace réservé du texte 2">
            <a:extLst>
              <a:ext uri="{FF2B5EF4-FFF2-40B4-BE49-F238E27FC236}">
                <a16:creationId xmlns:a16="http://schemas.microsoft.com/office/drawing/2014/main" id="{56CE6F7E-B7E2-4D0A-84E0-E9105A72B01A}"/>
              </a:ext>
            </a:extLst>
          </p:cNvPr>
          <p:cNvSpPr>
            <a:spLocks noGrp="1"/>
          </p:cNvSpPr>
          <p:nvPr>
            <p:ph type="body" sz="quarter" idx="38"/>
          </p:nvPr>
        </p:nvSpPr>
        <p:spPr/>
        <p:txBody>
          <a:bodyPr/>
          <a:lstStyle/>
          <a:p>
            <a:r>
              <a:rPr lang="fr-FR"/>
              <a:t>A</a:t>
            </a:r>
          </a:p>
        </p:txBody>
      </p:sp>
    </p:spTree>
    <p:extLst>
      <p:ext uri="{BB962C8B-B14F-4D97-AF65-F5344CB8AC3E}">
        <p14:creationId xmlns:p14="http://schemas.microsoft.com/office/powerpoint/2010/main" val="227202064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2689997E-763F-41EE-92A2-E8A25B005753}"/>
              </a:ext>
            </a:extLst>
          </p:cNvPr>
          <p:cNvSpPr>
            <a:spLocks noGrp="1"/>
          </p:cNvSpPr>
          <p:nvPr>
            <p:ph type="title"/>
          </p:nvPr>
        </p:nvSpPr>
        <p:spPr/>
        <p:txBody>
          <a:bodyPr/>
          <a:lstStyle/>
          <a:p>
            <a:r>
              <a:rPr lang="fr-FR"/>
              <a:t>Eléments statistiques sur le ressenti des aidants</a:t>
            </a:r>
          </a:p>
        </p:txBody>
      </p:sp>
      <p:sp>
        <p:nvSpPr>
          <p:cNvPr id="3" name="Espace réservé du texte 2">
            <a:extLst>
              <a:ext uri="{FF2B5EF4-FFF2-40B4-BE49-F238E27FC236}">
                <a16:creationId xmlns:a16="http://schemas.microsoft.com/office/drawing/2014/main" id="{120CAE43-622C-4D87-BF98-1721B6F2A21E}"/>
              </a:ext>
            </a:extLst>
          </p:cNvPr>
          <p:cNvSpPr>
            <a:spLocks noGrp="1"/>
          </p:cNvSpPr>
          <p:nvPr>
            <p:ph type="body" sz="quarter" idx="13"/>
          </p:nvPr>
        </p:nvSpPr>
        <p:spPr/>
        <p:txBody>
          <a:bodyPr/>
          <a:lstStyle/>
          <a:p>
            <a:r>
              <a:rPr lang="fr-FR">
                <a:solidFill>
                  <a:srgbClr val="938481"/>
                </a:solidFill>
              </a:rPr>
              <a:t>Dimensionnement des besoins et du marché</a:t>
            </a:r>
          </a:p>
        </p:txBody>
      </p:sp>
      <p:sp>
        <p:nvSpPr>
          <p:cNvPr id="14" name="ZoneTexte 13">
            <a:extLst>
              <a:ext uri="{FF2B5EF4-FFF2-40B4-BE49-F238E27FC236}">
                <a16:creationId xmlns:a16="http://schemas.microsoft.com/office/drawing/2014/main" id="{48EAF199-1185-42B2-9970-611033E5722D}"/>
              </a:ext>
            </a:extLst>
          </p:cNvPr>
          <p:cNvSpPr txBox="1"/>
          <p:nvPr/>
        </p:nvSpPr>
        <p:spPr>
          <a:xfrm>
            <a:off x="1112262" y="6242517"/>
            <a:ext cx="7232431" cy="861774"/>
          </a:xfrm>
          <a:prstGeom prst="rect">
            <a:avLst/>
          </a:prstGeom>
          <a:noFill/>
        </p:spPr>
        <p:txBody>
          <a:bodyPr wrap="square">
            <a:spAutoFit/>
          </a:bodyPr>
          <a:lstStyle/>
          <a:p>
            <a:pPr marL="228600" indent="-228600">
              <a:buFontTx/>
              <a:buAutoNum type="arabicPeriod"/>
            </a:pPr>
            <a:r>
              <a:rPr lang="fr-FR" sz="700">
                <a:solidFill>
                  <a:srgbClr val="5F5F5F">
                    <a:lumMod val="60000"/>
                    <a:lumOff val="40000"/>
                  </a:srgbClr>
                </a:solidFill>
                <a:latin typeface="Tahoma"/>
              </a:rPr>
              <a:t>Baromètre santé 360°, La prise en charge du vieillissement en France, 2019, </a:t>
            </a:r>
            <a:r>
              <a:rPr lang="fr-FR" sz="700" err="1">
                <a:solidFill>
                  <a:srgbClr val="5F5F5F">
                    <a:lumMod val="60000"/>
                    <a:lumOff val="40000"/>
                  </a:srgbClr>
                </a:solidFill>
                <a:latin typeface="Tahoma"/>
              </a:rPr>
              <a:t>Odoxa</a:t>
            </a:r>
            <a:r>
              <a:rPr lang="fr-FR" sz="700">
                <a:solidFill>
                  <a:srgbClr val="5F5F5F">
                    <a:lumMod val="60000"/>
                    <a:lumOff val="40000"/>
                  </a:srgbClr>
                </a:solidFill>
                <a:latin typeface="Tahoma"/>
              </a:rPr>
              <a:t>. </a:t>
            </a:r>
          </a:p>
          <a:p>
            <a:pPr marL="228600" indent="-228600">
              <a:buFontTx/>
              <a:buAutoNum type="arabicPeriod"/>
            </a:pPr>
            <a:r>
              <a:rPr lang="fr-FR" sz="700">
                <a:solidFill>
                  <a:srgbClr val="5F5F5F">
                    <a:lumMod val="60000"/>
                    <a:lumOff val="40000"/>
                  </a:srgbClr>
                </a:solidFill>
                <a:latin typeface="Tahoma"/>
              </a:rPr>
              <a:t>Baromètre des aidants, 2021, Fondation April avec l’Institut BVA.</a:t>
            </a:r>
          </a:p>
          <a:p>
            <a:pPr marL="228600" indent="-228600">
              <a:buFontTx/>
              <a:buAutoNum type="arabicPeriod"/>
            </a:pPr>
            <a:r>
              <a:rPr lang="fr-FR" sz="700">
                <a:solidFill>
                  <a:srgbClr val="5F5F5F">
                    <a:lumMod val="60000"/>
                    <a:lumOff val="40000"/>
                  </a:srgbClr>
                </a:solidFill>
                <a:latin typeface="Tahoma"/>
              </a:rPr>
              <a:t>Enquête Handicap-Santé aidants, 2008, DREES.</a:t>
            </a:r>
          </a:p>
          <a:p>
            <a:pPr marL="228600" indent="-228600">
              <a:buFontTx/>
              <a:buAutoNum type="arabicPeriod"/>
            </a:pPr>
            <a:r>
              <a:rPr lang="fr-FR" sz="700">
                <a:solidFill>
                  <a:srgbClr val="5F5F5F">
                    <a:lumMod val="60000"/>
                    <a:lumOff val="40000"/>
                  </a:srgbClr>
                </a:solidFill>
                <a:latin typeface="Tahoma"/>
              </a:rPr>
              <a:t>La situation des aidants en France, 2015, Essentiel autonomie Malakoff Humanis.</a:t>
            </a:r>
          </a:p>
          <a:p>
            <a:pPr marL="228600" indent="-228600">
              <a:buFontTx/>
              <a:buAutoNum type="arabicPeriod"/>
            </a:pPr>
            <a:r>
              <a:rPr lang="fr-FR" sz="700">
                <a:solidFill>
                  <a:srgbClr val="5F5F5F">
                    <a:lumMod val="60000"/>
                    <a:lumOff val="40000"/>
                  </a:srgbClr>
                </a:solidFill>
                <a:latin typeface="Tahoma"/>
              </a:rPr>
              <a:t>Enquête nationale sur les besoins et attentes des personnes âgées dépendantes et de leurs proches aidants en matière de relais, 2009, GRATH</a:t>
            </a:r>
            <a:r>
              <a:rPr lang="fr-FR" sz="800">
                <a:solidFill>
                  <a:srgbClr val="5F5F5F">
                    <a:lumMod val="60000"/>
                    <a:lumOff val="40000"/>
                  </a:srgbClr>
                </a:solidFill>
                <a:latin typeface="Tahoma"/>
              </a:rPr>
              <a:t>.</a:t>
            </a:r>
          </a:p>
          <a:p>
            <a:pPr marL="228600" indent="-228600">
              <a:buFontTx/>
              <a:buAutoNum type="arabicPeriod"/>
            </a:pPr>
            <a:endParaRPr lang="fr-FR" sz="700" kern="0">
              <a:solidFill>
                <a:srgbClr val="5F5F5F"/>
              </a:solidFill>
              <a:latin typeface="Tahoma"/>
            </a:endParaRPr>
          </a:p>
          <a:p>
            <a:pPr marL="228600" indent="-228600">
              <a:buFontTx/>
              <a:buAutoNum type="arabicPeriod"/>
            </a:pPr>
            <a:endParaRPr lang="fr-FR" sz="700" kern="0">
              <a:solidFill>
                <a:srgbClr val="5F5F5F"/>
              </a:solidFill>
              <a:latin typeface="Tahoma"/>
            </a:endParaRPr>
          </a:p>
        </p:txBody>
      </p:sp>
      <p:sp>
        <p:nvSpPr>
          <p:cNvPr id="21" name="Espace réservé du contenu 6">
            <a:extLst>
              <a:ext uri="{FF2B5EF4-FFF2-40B4-BE49-F238E27FC236}">
                <a16:creationId xmlns:a16="http://schemas.microsoft.com/office/drawing/2014/main" id="{2BE7B3CB-BCF0-44A4-B09C-CA311745003A}"/>
              </a:ext>
            </a:extLst>
          </p:cNvPr>
          <p:cNvSpPr txBox="1">
            <a:spLocks/>
          </p:cNvSpPr>
          <p:nvPr/>
        </p:nvSpPr>
        <p:spPr>
          <a:xfrm>
            <a:off x="1470925" y="884800"/>
            <a:ext cx="4611573" cy="3022957"/>
          </a:xfrm>
          <a:prstGeom prst="rect">
            <a:avLst/>
          </a:prstGeom>
          <a:ln>
            <a:solidFill>
              <a:schemeClr val="accent2"/>
            </a:solidFill>
          </a:ln>
        </p:spPr>
        <p:txBody>
          <a:bodyPr vert="horz" lIns="108000" tIns="108000" rIns="108000" bIns="108000" rtlCol="0" anchor="ctr" anchorCtr="0">
            <a:noAutofit/>
          </a:bodyPr>
          <a:lstStyle>
            <a:lvl1pPr marL="0" indent="0" algn="just" defTabSz="742950" rtl="0" eaLnBrk="1" latinLnBrk="0" hangingPunct="1">
              <a:lnSpc>
                <a:spcPct val="100000"/>
              </a:lnSpc>
              <a:spcBef>
                <a:spcPts val="1463"/>
              </a:spcBef>
              <a:buFont typeface="Arial" panose="020B0604020202020204" pitchFamily="34" charset="0"/>
              <a:buNone/>
              <a:tabLst/>
              <a:defRPr sz="1600" i="0" kern="1200" cap="none" baseline="0">
                <a:solidFill>
                  <a:schemeClr val="bg2"/>
                </a:solidFill>
                <a:latin typeface="+mn-lt"/>
                <a:ea typeface="+mn-ea"/>
                <a:cs typeface="+mn-cs"/>
              </a:defRPr>
            </a:lvl1pPr>
            <a:lvl2pPr marL="291505" indent="-291505" algn="just" defTabSz="914400" rtl="0" eaLnBrk="1" latinLnBrk="0" hangingPunct="1">
              <a:lnSpc>
                <a:spcPct val="100000"/>
              </a:lnSpc>
              <a:spcBef>
                <a:spcPts val="1138"/>
              </a:spcBef>
              <a:buClr>
                <a:schemeClr val="bg2"/>
              </a:buClr>
              <a:buFont typeface="Tempus Sans ITC" panose="04020404030D07020202" pitchFamily="82" charset="0"/>
              <a:buChar char="/"/>
              <a:defRPr lang="en-GB" sz="1400" kern="1200" baseline="0" dirty="0">
                <a:solidFill>
                  <a:schemeClr val="tx1"/>
                </a:solidFill>
                <a:latin typeface="+mn-lt"/>
                <a:ea typeface="+mn-ea"/>
                <a:cs typeface="+mn-cs"/>
              </a:defRPr>
            </a:lvl2pPr>
            <a:lvl3pPr marL="292500" indent="0" algn="just" defTabSz="914400" rtl="0" eaLnBrk="1" latinLnBrk="0" hangingPunct="1">
              <a:lnSpc>
                <a:spcPct val="100000"/>
              </a:lnSpc>
              <a:spcBef>
                <a:spcPts val="488"/>
              </a:spcBef>
              <a:buFontTx/>
              <a:buNone/>
              <a:defRPr lang="en-GB" sz="1400" kern="1200" baseline="0" dirty="0">
                <a:solidFill>
                  <a:schemeClr val="tx1"/>
                </a:solidFill>
                <a:latin typeface="+mn-lt"/>
                <a:ea typeface="+mn-ea"/>
                <a:cs typeface="+mn-cs"/>
              </a:defRPr>
            </a:lvl3pPr>
            <a:lvl4pPr marL="526500" indent="-234000" algn="just" defTabSz="742950" rtl="0" eaLnBrk="1" latinLnBrk="0" hangingPunct="1">
              <a:lnSpc>
                <a:spcPct val="100000"/>
              </a:lnSpc>
              <a:spcBef>
                <a:spcPts val="488"/>
              </a:spcBef>
              <a:buClr>
                <a:schemeClr val="bg2"/>
              </a:buClr>
              <a:buFont typeface="Tahoma" panose="020B0604030504040204" pitchFamily="34" charset="0"/>
              <a:buChar char="›"/>
              <a:defRPr lang="en-GB" sz="1200" kern="1200" cap="none" baseline="0" dirty="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en-GB"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en-GB"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en-GB"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en-GB" sz="1000" kern="1200" baseline="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en-GB" sz="1000" kern="1200" baseline="0" noProof="0" dirty="0">
                <a:solidFill>
                  <a:schemeClr val="tx1"/>
                </a:solidFill>
                <a:latin typeface="+mn-lt"/>
                <a:ea typeface="+mn-ea"/>
                <a:cs typeface="+mn-cs"/>
              </a:defRPr>
            </a:lvl9pPr>
          </a:lstStyle>
          <a:p>
            <a:pPr>
              <a:spcBef>
                <a:spcPts val="200"/>
              </a:spcBef>
            </a:pPr>
            <a:r>
              <a:rPr lang="fr-FR" sz="1100" b="1">
                <a:solidFill>
                  <a:srgbClr val="503078"/>
                </a:solidFill>
                <a:latin typeface="Tahoma"/>
              </a:rPr>
              <a:t>Un sentiment d’isolement et de manque de valorisation</a:t>
            </a:r>
          </a:p>
          <a:p>
            <a:pPr marL="285750" indent="-285750">
              <a:spcBef>
                <a:spcPts val="300"/>
              </a:spcBef>
              <a:buFont typeface="Tahoma" panose="020B0604030504040204" pitchFamily="34" charset="0"/>
              <a:buChar char="⁄"/>
            </a:pPr>
            <a:r>
              <a:rPr lang="fr-FR" sz="1050" b="1">
                <a:solidFill>
                  <a:srgbClr val="5F5F5F"/>
                </a:solidFill>
                <a:latin typeface="Tahoma"/>
              </a:rPr>
              <a:t>8 aidants sur 10 </a:t>
            </a:r>
            <a:r>
              <a:rPr lang="fr-FR" sz="1050">
                <a:solidFill>
                  <a:srgbClr val="5F5F5F"/>
                </a:solidFill>
                <a:latin typeface="Tahoma"/>
              </a:rPr>
              <a:t>déclarent ne recevoir </a:t>
            </a:r>
            <a:r>
              <a:rPr lang="fr-FR" sz="1050" b="1">
                <a:solidFill>
                  <a:srgbClr val="5F5F5F"/>
                </a:solidFill>
                <a:latin typeface="Tahoma"/>
              </a:rPr>
              <a:t>aucune aide, financière ou humaine, 35% des aidants sont seuls à soutenir leur proche</a:t>
            </a:r>
            <a:r>
              <a:rPr lang="fr-FR" sz="1100" kern="0" baseline="30000">
                <a:solidFill>
                  <a:srgbClr val="5F5F5F"/>
                </a:solidFill>
                <a:latin typeface="Tahoma"/>
                <a:ea typeface="Meiryo UI"/>
                <a:cs typeface="Arial"/>
              </a:rPr>
              <a:t>2</a:t>
            </a:r>
            <a:endParaRPr lang="fr-FR" sz="1050" b="1">
              <a:solidFill>
                <a:srgbClr val="5F5F5F"/>
              </a:solidFill>
              <a:latin typeface="Tahoma"/>
            </a:endParaRPr>
          </a:p>
          <a:p>
            <a:pPr marL="285750" indent="-285750">
              <a:spcBef>
                <a:spcPts val="300"/>
              </a:spcBef>
              <a:spcAft>
                <a:spcPts val="600"/>
              </a:spcAft>
              <a:buFont typeface="Tahoma" panose="020B0604030504040204" pitchFamily="34" charset="0"/>
              <a:buChar char="⁄"/>
            </a:pPr>
            <a:r>
              <a:rPr lang="fr-FR" sz="1050" b="1">
                <a:solidFill>
                  <a:srgbClr val="5F5F5F"/>
                </a:solidFill>
                <a:latin typeface="Tahoma"/>
              </a:rPr>
              <a:t>70% des aidants ne sont pas satisfaits de </a:t>
            </a:r>
            <a:r>
              <a:rPr lang="fr-FR" sz="1050">
                <a:solidFill>
                  <a:srgbClr val="5F5F5F"/>
                </a:solidFill>
                <a:latin typeface="Tahoma"/>
              </a:rPr>
              <a:t>l’aide apportée par les pouvoirs publics</a:t>
            </a:r>
          </a:p>
          <a:p>
            <a:pPr>
              <a:spcBef>
                <a:spcPts val="600"/>
              </a:spcBef>
              <a:spcAft>
                <a:spcPts val="600"/>
              </a:spcAft>
            </a:pPr>
            <a:r>
              <a:rPr lang="fr-FR" sz="1100" b="1">
                <a:solidFill>
                  <a:srgbClr val="503078"/>
                </a:solidFill>
                <a:latin typeface="Tahoma"/>
              </a:rPr>
              <a:t>Une charge conséquente, renforcée par la cohabitation aidant / aidé au quotidien : </a:t>
            </a:r>
          </a:p>
          <a:p>
            <a:pPr marL="285750" indent="-285750">
              <a:spcBef>
                <a:spcPts val="200"/>
              </a:spcBef>
              <a:buFont typeface="Tahoma" panose="020B0604030504040204" pitchFamily="34" charset="0"/>
              <a:buChar char="⁄"/>
            </a:pPr>
            <a:r>
              <a:rPr lang="fr-FR" sz="1050" b="1">
                <a:solidFill>
                  <a:srgbClr val="5F5F5F"/>
                </a:solidFill>
                <a:latin typeface="Tahoma"/>
              </a:rPr>
              <a:t>39% des aidants accompagnent 2 proches aidés ou plus</a:t>
            </a:r>
            <a:r>
              <a:rPr lang="fr-FR" sz="1050" kern="0" baseline="30000">
                <a:solidFill>
                  <a:srgbClr val="5F5F5F"/>
                </a:solidFill>
                <a:latin typeface="Tahoma"/>
                <a:ea typeface="Meiryo UI"/>
                <a:cs typeface="Arial"/>
              </a:rPr>
              <a:t>2</a:t>
            </a:r>
            <a:endParaRPr lang="fr-FR" sz="1050" b="1">
              <a:solidFill>
                <a:srgbClr val="5F5F5F"/>
              </a:solidFill>
              <a:latin typeface="Tahoma"/>
            </a:endParaRPr>
          </a:p>
          <a:p>
            <a:pPr marL="285750" indent="-285750">
              <a:spcBef>
                <a:spcPts val="200"/>
              </a:spcBef>
              <a:buFont typeface="Tahoma" panose="020B0604030504040204" pitchFamily="34" charset="0"/>
              <a:buChar char="⁄"/>
            </a:pPr>
            <a:r>
              <a:rPr lang="fr-FR" sz="1050" b="1">
                <a:solidFill>
                  <a:srgbClr val="5F5F5F"/>
                </a:solidFill>
                <a:latin typeface="Tahoma"/>
              </a:rPr>
              <a:t>16% des aidants consacrent plus de 20 heures par semaine à accompagner la personne aidée (</a:t>
            </a:r>
            <a:r>
              <a:rPr lang="fr-FR" sz="1050">
                <a:solidFill>
                  <a:srgbClr val="5F5F5F"/>
                </a:solidFill>
                <a:latin typeface="Tahoma"/>
              </a:rPr>
              <a:t>ce chiffre atteint </a:t>
            </a:r>
            <a:r>
              <a:rPr lang="fr-FR" sz="1050" b="1">
                <a:solidFill>
                  <a:srgbClr val="5F5F5F"/>
                </a:solidFill>
                <a:latin typeface="Tahoma"/>
              </a:rPr>
              <a:t>42% lorsque </a:t>
            </a:r>
            <a:r>
              <a:rPr lang="fr-FR" sz="1050">
                <a:solidFill>
                  <a:srgbClr val="5F5F5F"/>
                </a:solidFill>
                <a:latin typeface="Tahoma"/>
              </a:rPr>
              <a:t>la personne aidée vit au domicile de l’aidant</a:t>
            </a:r>
            <a:r>
              <a:rPr lang="fr-FR" sz="1050" b="1">
                <a:solidFill>
                  <a:srgbClr val="5F5F5F"/>
                </a:solidFill>
                <a:latin typeface="Tahoma"/>
              </a:rPr>
              <a:t>)</a:t>
            </a:r>
            <a:r>
              <a:rPr lang="fr-FR" sz="1050" kern="0" baseline="30000">
                <a:solidFill>
                  <a:srgbClr val="5F5F5F"/>
                </a:solidFill>
                <a:latin typeface="Tahoma"/>
                <a:ea typeface="Meiryo UI"/>
                <a:cs typeface="Arial"/>
              </a:rPr>
              <a:t> 2</a:t>
            </a:r>
          </a:p>
          <a:p>
            <a:pPr marL="285750" indent="-285750" defTabSz="914400">
              <a:spcBef>
                <a:spcPts val="200"/>
              </a:spcBef>
              <a:buFont typeface="Tahoma" panose="020B0604030504040204" pitchFamily="34" charset="0"/>
              <a:buChar char="⁄"/>
              <a:defRPr/>
            </a:pPr>
            <a:r>
              <a:rPr lang="fr-FR" sz="1050">
                <a:solidFill>
                  <a:srgbClr val="5F5F5F"/>
                </a:solidFill>
                <a:latin typeface="Tahoma"/>
              </a:rPr>
              <a:t>Lorsque les aidants se font remplacer par quelqu’un d’autre</a:t>
            </a:r>
            <a:r>
              <a:rPr lang="fr-FR" sz="1050" b="1">
                <a:solidFill>
                  <a:srgbClr val="5F5F5F"/>
                </a:solidFill>
                <a:latin typeface="Tahoma"/>
              </a:rPr>
              <a:t>, 53% d’entre eux font appel à un autre membre de la famille </a:t>
            </a:r>
            <a:r>
              <a:rPr lang="fr-FR" sz="1050">
                <a:solidFill>
                  <a:srgbClr val="5F5F5F"/>
                </a:solidFill>
                <a:latin typeface="Tahoma"/>
              </a:rPr>
              <a:t>et </a:t>
            </a:r>
            <a:r>
              <a:rPr lang="fr-FR" sz="1050" b="1">
                <a:solidFill>
                  <a:srgbClr val="5F5F5F"/>
                </a:solidFill>
                <a:latin typeface="Tahoma"/>
              </a:rPr>
              <a:t>20% à des professionnels ou à des voisins. </a:t>
            </a:r>
          </a:p>
        </p:txBody>
      </p:sp>
      <p:sp>
        <p:nvSpPr>
          <p:cNvPr id="25" name="Arrondir un rectangle avec un coin diagonal 25">
            <a:extLst>
              <a:ext uri="{FF2B5EF4-FFF2-40B4-BE49-F238E27FC236}">
                <a16:creationId xmlns:a16="http://schemas.microsoft.com/office/drawing/2014/main" id="{5F86B351-41A5-48E3-95D2-4E0B19448A4B}"/>
              </a:ext>
            </a:extLst>
          </p:cNvPr>
          <p:cNvSpPr>
            <a:spLocks/>
          </p:cNvSpPr>
          <p:nvPr/>
        </p:nvSpPr>
        <p:spPr bwMode="gray">
          <a:xfrm>
            <a:off x="6444553" y="884800"/>
            <a:ext cx="4148512" cy="3022957"/>
          </a:xfrm>
          <a:prstGeom prst="round2DiagRect">
            <a:avLst>
              <a:gd name="adj1" fmla="val 0"/>
              <a:gd name="adj2" fmla="val 11610"/>
            </a:avLst>
          </a:prstGeom>
          <a:solidFill>
            <a:schemeClr val="bg1"/>
          </a:solidFill>
          <a:ln w="19050" cap="flat" cmpd="sng" algn="ctr">
            <a:solidFill>
              <a:schemeClr val="bg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500" tIns="58500" rIns="58500" bIns="58500" numCol="1" spcCol="0" rtlCol="0" fromWordArt="0" anchor="t" anchorCtr="0" forceAA="0" compatLnSpc="1">
            <a:prstTxWarp prst="textNoShape">
              <a:avLst/>
            </a:prstTxWarp>
            <a:noAutofit/>
          </a:bodyPr>
          <a:lstStyle/>
          <a:p>
            <a:pPr marL="464344" indent="-30956">
              <a:spcBef>
                <a:spcPts val="488"/>
              </a:spcBef>
              <a:spcAft>
                <a:spcPts val="488"/>
              </a:spcAft>
              <a:buClr>
                <a:srgbClr val="1F497D"/>
              </a:buClr>
              <a:defRPr/>
            </a:pPr>
            <a:r>
              <a:rPr lang="fr-FR" sz="1400" b="1">
                <a:solidFill>
                  <a:srgbClr val="503078"/>
                </a:solidFill>
                <a:latin typeface="Tahoma"/>
                <a:ea typeface="Meiryo UI"/>
                <a:cs typeface="Arial"/>
              </a:rPr>
              <a:t>Les principales difficultés des aidants</a:t>
            </a:r>
            <a:r>
              <a:rPr lang="fr-FR" sz="1400" b="1" kern="0" baseline="30000">
                <a:solidFill>
                  <a:srgbClr val="503078"/>
                </a:solidFill>
                <a:latin typeface="Tahoma"/>
                <a:ea typeface="Meiryo UI"/>
                <a:cs typeface="Arial"/>
              </a:rPr>
              <a:t>2</a:t>
            </a:r>
            <a:endParaRPr lang="fr-FR" sz="1400">
              <a:solidFill>
                <a:srgbClr val="503078"/>
              </a:solidFill>
              <a:latin typeface="Tahoma"/>
            </a:endParaRPr>
          </a:p>
          <a:p>
            <a:pPr marL="464344" indent="-30956">
              <a:spcBef>
                <a:spcPts val="488"/>
              </a:spcBef>
              <a:spcAft>
                <a:spcPts val="488"/>
              </a:spcAft>
              <a:buClr>
                <a:srgbClr val="1F497D"/>
              </a:buClr>
              <a:defRPr/>
            </a:pPr>
            <a:endParaRPr lang="fr-FR" sz="1625" b="1">
              <a:solidFill>
                <a:srgbClr val="503078"/>
              </a:solidFill>
              <a:latin typeface="Arial"/>
              <a:ea typeface="Meiryo UI"/>
              <a:cs typeface="Arial"/>
            </a:endParaRPr>
          </a:p>
          <a:p>
            <a:pPr marL="464344" indent="-30956">
              <a:spcBef>
                <a:spcPts val="488"/>
              </a:spcBef>
              <a:spcAft>
                <a:spcPts val="488"/>
              </a:spcAft>
              <a:buClr>
                <a:srgbClr val="1F497D"/>
              </a:buClr>
              <a:defRPr/>
            </a:pPr>
            <a:endParaRPr lang="fr-FR" sz="1625">
              <a:solidFill>
                <a:srgbClr val="503078"/>
              </a:solidFill>
              <a:latin typeface="Arial" panose="020B0604020202020204" pitchFamily="34" charset="0"/>
              <a:ea typeface="Meiryo UI"/>
              <a:cs typeface="Arial" panose="020B0604020202020204" pitchFamily="34" charset="0"/>
            </a:endParaRPr>
          </a:p>
        </p:txBody>
      </p:sp>
      <p:sp>
        <p:nvSpPr>
          <p:cNvPr id="26" name="Rectangle 25">
            <a:extLst>
              <a:ext uri="{FF2B5EF4-FFF2-40B4-BE49-F238E27FC236}">
                <a16:creationId xmlns:a16="http://schemas.microsoft.com/office/drawing/2014/main" id="{9FD8640D-AB1C-4A21-B004-193C54B6EF9D}"/>
              </a:ext>
            </a:extLst>
          </p:cNvPr>
          <p:cNvSpPr/>
          <p:nvPr/>
        </p:nvSpPr>
        <p:spPr bwMode="gray">
          <a:xfrm>
            <a:off x="6605553" y="1597951"/>
            <a:ext cx="3899823" cy="2246769"/>
          </a:xfrm>
          <a:prstGeom prst="rect">
            <a:avLst/>
          </a:prstGeom>
        </p:spPr>
        <p:txBody>
          <a:bodyPr wrap="square">
            <a:spAutoFit/>
          </a:bodyPr>
          <a:lstStyle/>
          <a:p>
            <a:pPr marL="171450" indent="-171450" algn="just">
              <a:buClr>
                <a:srgbClr val="503078"/>
              </a:buClr>
              <a:buFont typeface="Tahoma" panose="020B0604030504040204" pitchFamily="34" charset="0"/>
              <a:buChar char="⁄"/>
              <a:defRPr/>
            </a:pPr>
            <a:r>
              <a:rPr lang="fr-FR" sz="1000" b="1" kern="0">
                <a:solidFill>
                  <a:srgbClr val="5F5F5F"/>
                </a:solidFill>
                <a:latin typeface="Tahoma"/>
              </a:rPr>
              <a:t>36% </a:t>
            </a:r>
            <a:r>
              <a:rPr lang="fr-FR" sz="1000" kern="0">
                <a:solidFill>
                  <a:srgbClr val="5F5F5F"/>
                </a:solidFill>
                <a:latin typeface="Tahoma"/>
              </a:rPr>
              <a:t>manquent de temps </a:t>
            </a:r>
          </a:p>
          <a:p>
            <a:pPr marL="171450" indent="-171450" algn="just">
              <a:buClr>
                <a:srgbClr val="503078"/>
              </a:buClr>
              <a:buFont typeface="Tahoma" panose="020B0604030504040204" pitchFamily="34" charset="0"/>
              <a:buChar char="⁄"/>
              <a:defRPr/>
            </a:pPr>
            <a:endParaRPr lang="fr-FR" sz="1000" kern="0">
              <a:solidFill>
                <a:srgbClr val="5F5F5F"/>
              </a:solidFill>
              <a:latin typeface="Tahoma"/>
            </a:endParaRPr>
          </a:p>
          <a:p>
            <a:pPr marL="171450" indent="-171450" algn="just">
              <a:buClr>
                <a:srgbClr val="503078"/>
              </a:buClr>
              <a:buFont typeface="Tahoma" panose="020B0604030504040204" pitchFamily="34" charset="0"/>
              <a:buChar char="⁄"/>
              <a:defRPr/>
            </a:pPr>
            <a:r>
              <a:rPr lang="fr-FR" sz="1000" b="1" kern="0">
                <a:solidFill>
                  <a:srgbClr val="5F5F5F"/>
                </a:solidFill>
                <a:latin typeface="Tahoma"/>
              </a:rPr>
              <a:t>29% </a:t>
            </a:r>
            <a:r>
              <a:rPr lang="fr-FR" sz="1000" kern="0">
                <a:solidFill>
                  <a:srgbClr val="5F5F5F"/>
                </a:solidFill>
                <a:latin typeface="Tahoma"/>
              </a:rPr>
              <a:t>déplorent une complexité des démarches administratives</a:t>
            </a:r>
          </a:p>
          <a:p>
            <a:pPr marL="171450" indent="-171450" algn="just">
              <a:buClr>
                <a:srgbClr val="503078"/>
              </a:buClr>
              <a:buFont typeface="Tahoma" panose="020B0604030504040204" pitchFamily="34" charset="0"/>
              <a:buChar char="⁄"/>
              <a:defRPr/>
            </a:pPr>
            <a:endParaRPr lang="fr-FR" sz="1000" kern="0">
              <a:solidFill>
                <a:srgbClr val="5F5F5F"/>
              </a:solidFill>
              <a:latin typeface="Tahoma"/>
            </a:endParaRPr>
          </a:p>
          <a:p>
            <a:pPr marL="171450" indent="-171450" algn="just">
              <a:buClr>
                <a:srgbClr val="503078"/>
              </a:buClr>
              <a:buFont typeface="Tahoma" panose="020B0604030504040204" pitchFamily="34" charset="0"/>
              <a:buChar char="⁄"/>
              <a:defRPr/>
            </a:pPr>
            <a:r>
              <a:rPr lang="fr-FR" sz="1000" b="1" kern="0">
                <a:solidFill>
                  <a:srgbClr val="5F5F5F"/>
                </a:solidFill>
                <a:latin typeface="Tahoma"/>
              </a:rPr>
              <a:t>25% </a:t>
            </a:r>
            <a:r>
              <a:rPr lang="fr-FR" sz="1000" kern="0">
                <a:solidFill>
                  <a:srgbClr val="5F5F5F"/>
                </a:solidFill>
                <a:latin typeface="Tahoma"/>
              </a:rPr>
              <a:t>affirment ressentir une fatigue physique </a:t>
            </a:r>
          </a:p>
          <a:p>
            <a:pPr marL="171450" indent="-171450" algn="just">
              <a:buClr>
                <a:srgbClr val="503078"/>
              </a:buClr>
              <a:buFont typeface="Tahoma" panose="020B0604030504040204" pitchFamily="34" charset="0"/>
              <a:buChar char="⁄"/>
              <a:defRPr/>
            </a:pPr>
            <a:endParaRPr lang="fr-FR" sz="1000" kern="0">
              <a:solidFill>
                <a:srgbClr val="5F5F5F"/>
              </a:solidFill>
              <a:latin typeface="Tahoma"/>
            </a:endParaRPr>
          </a:p>
          <a:p>
            <a:pPr marL="171450" indent="-171450" algn="just">
              <a:buClr>
                <a:srgbClr val="503078"/>
              </a:buClr>
              <a:buFont typeface="Tahoma" panose="020B0604030504040204" pitchFamily="34" charset="0"/>
              <a:buChar char="⁄"/>
              <a:defRPr/>
            </a:pPr>
            <a:r>
              <a:rPr lang="fr-FR" sz="1000" b="1" kern="0">
                <a:solidFill>
                  <a:srgbClr val="5F5F5F"/>
                </a:solidFill>
                <a:latin typeface="Tahoma"/>
              </a:rPr>
              <a:t>19% </a:t>
            </a:r>
            <a:r>
              <a:rPr lang="fr-FR" sz="1000" kern="0">
                <a:solidFill>
                  <a:srgbClr val="5F5F5F"/>
                </a:solidFill>
                <a:latin typeface="Tahoma"/>
              </a:rPr>
              <a:t>se déclarent en difficulté financière</a:t>
            </a:r>
          </a:p>
          <a:p>
            <a:pPr marL="171450" indent="-171450" algn="just">
              <a:buClr>
                <a:srgbClr val="503078"/>
              </a:buClr>
              <a:buFont typeface="Tahoma" panose="020B0604030504040204" pitchFamily="34" charset="0"/>
              <a:buChar char="⁄"/>
              <a:defRPr/>
            </a:pPr>
            <a:endParaRPr lang="fr-FR" sz="1000" kern="0">
              <a:solidFill>
                <a:srgbClr val="5F5F5F"/>
              </a:solidFill>
              <a:latin typeface="Tahoma"/>
            </a:endParaRPr>
          </a:p>
          <a:p>
            <a:pPr marL="171450" indent="-171450" algn="just">
              <a:buClr>
                <a:srgbClr val="503078"/>
              </a:buClr>
              <a:buFont typeface="Tahoma" panose="020B0604030504040204" pitchFamily="34" charset="0"/>
              <a:buChar char="⁄"/>
              <a:defRPr/>
            </a:pPr>
            <a:r>
              <a:rPr lang="fr-FR" sz="1000" b="1" kern="0">
                <a:solidFill>
                  <a:srgbClr val="5F5F5F"/>
                </a:solidFill>
                <a:latin typeface="Tahoma"/>
              </a:rPr>
              <a:t>18% </a:t>
            </a:r>
            <a:r>
              <a:rPr lang="fr-FR" sz="1000" kern="0">
                <a:solidFill>
                  <a:srgbClr val="5F5F5F"/>
                </a:solidFill>
                <a:latin typeface="Tahoma"/>
              </a:rPr>
              <a:t>manquent d’information sur les droits des aidants </a:t>
            </a:r>
          </a:p>
          <a:p>
            <a:pPr marL="171450" indent="-171450" algn="just">
              <a:buClr>
                <a:srgbClr val="503078"/>
              </a:buClr>
              <a:buFont typeface="Tahoma" panose="020B0604030504040204" pitchFamily="34" charset="0"/>
              <a:buChar char="⁄"/>
              <a:defRPr/>
            </a:pPr>
            <a:endParaRPr lang="fr-FR" sz="1000" kern="0">
              <a:solidFill>
                <a:srgbClr val="5F5F5F"/>
              </a:solidFill>
              <a:latin typeface="Tahoma"/>
            </a:endParaRPr>
          </a:p>
          <a:p>
            <a:pPr marL="171450" indent="-171450" algn="just">
              <a:buClr>
                <a:srgbClr val="503078"/>
              </a:buClr>
              <a:buFont typeface="Tahoma" panose="020B0604030504040204" pitchFamily="34" charset="0"/>
              <a:buChar char="⁄"/>
              <a:defRPr/>
            </a:pPr>
            <a:r>
              <a:rPr lang="fr-FR" sz="1000" b="1" kern="0">
                <a:solidFill>
                  <a:srgbClr val="5F5F5F"/>
                </a:solidFill>
                <a:latin typeface="Tahoma"/>
              </a:rPr>
              <a:t>18% </a:t>
            </a:r>
            <a:r>
              <a:rPr lang="fr-FR" sz="1000" kern="0">
                <a:solidFill>
                  <a:srgbClr val="5F5F5F"/>
                </a:solidFill>
                <a:latin typeface="Tahoma"/>
              </a:rPr>
              <a:t>manquent de soutien moral </a:t>
            </a:r>
          </a:p>
          <a:p>
            <a:pPr marL="171450" indent="-171450" algn="just">
              <a:buClr>
                <a:srgbClr val="503078"/>
              </a:buClr>
              <a:buFont typeface="Tahoma" panose="020B0604030504040204" pitchFamily="34" charset="0"/>
              <a:buChar char="⁄"/>
              <a:defRPr/>
            </a:pPr>
            <a:endParaRPr lang="fr-FR" sz="1000" kern="0">
              <a:solidFill>
                <a:srgbClr val="5F5F5F"/>
              </a:solidFill>
              <a:latin typeface="Tahoma"/>
            </a:endParaRPr>
          </a:p>
          <a:p>
            <a:pPr marL="171450" indent="-171450" algn="just">
              <a:buClr>
                <a:srgbClr val="503078"/>
              </a:buClr>
              <a:buFont typeface="Tahoma" panose="020B0604030504040204" pitchFamily="34" charset="0"/>
              <a:buChar char="⁄"/>
              <a:defRPr/>
            </a:pPr>
            <a:r>
              <a:rPr lang="fr-FR" sz="1000" b="1" kern="0">
                <a:solidFill>
                  <a:srgbClr val="5F5F5F"/>
                </a:solidFill>
                <a:latin typeface="Tahoma"/>
              </a:rPr>
              <a:t>16% </a:t>
            </a:r>
            <a:r>
              <a:rPr lang="fr-FR" sz="1000" kern="0">
                <a:solidFill>
                  <a:srgbClr val="5F5F5F"/>
                </a:solidFill>
                <a:latin typeface="Tahoma"/>
              </a:rPr>
              <a:t>éprouvent des difficultés à gérer les situations d’urgence et de crise</a:t>
            </a:r>
          </a:p>
        </p:txBody>
      </p:sp>
      <p:sp>
        <p:nvSpPr>
          <p:cNvPr id="30" name="TextBox 67">
            <a:extLst>
              <a:ext uri="{FF2B5EF4-FFF2-40B4-BE49-F238E27FC236}">
                <a16:creationId xmlns:a16="http://schemas.microsoft.com/office/drawing/2014/main" id="{EFB97584-ACD8-4ADF-821E-CBAA5A0B6B6B}"/>
              </a:ext>
            </a:extLst>
          </p:cNvPr>
          <p:cNvSpPr txBox="1">
            <a:spLocks/>
          </p:cNvSpPr>
          <p:nvPr/>
        </p:nvSpPr>
        <p:spPr>
          <a:xfrm>
            <a:off x="4945057" y="5297349"/>
            <a:ext cx="1237649" cy="1061829"/>
          </a:xfrm>
          <a:prstGeom prst="rect">
            <a:avLst/>
          </a:prstGeom>
          <a:noFill/>
        </p:spPr>
        <p:txBody>
          <a:bodyPr wrap="square" rtlCol="0">
            <a:spAutoFit/>
          </a:bodyPr>
          <a:lstStyle/>
          <a:p>
            <a:pPr algn="ctr"/>
            <a:r>
              <a:rPr lang="fr-FR" sz="900">
                <a:solidFill>
                  <a:srgbClr val="5F5F5F"/>
                </a:solidFill>
                <a:latin typeface="Tahoma"/>
                <a:cs typeface="Poppins" pitchFamily="2" charset="77"/>
              </a:rPr>
              <a:t>Sont exposés à un risque de surmortalité dans les trois ans qui suivent le début de la maladie de leur proche</a:t>
            </a:r>
            <a:r>
              <a:rPr lang="fr-FR" sz="900" kern="0" baseline="30000">
                <a:solidFill>
                  <a:srgbClr val="5F5F5F"/>
                </a:solidFill>
                <a:latin typeface="Tahoma"/>
                <a:ea typeface="Meiryo UI"/>
                <a:cs typeface="Arial"/>
              </a:rPr>
              <a:t>4</a:t>
            </a:r>
            <a:endParaRPr lang="fr-FR" sz="900">
              <a:solidFill>
                <a:srgbClr val="5F5F5F"/>
              </a:solidFill>
              <a:latin typeface="Tahoma"/>
              <a:cs typeface="Poppins" pitchFamily="2" charset="77"/>
            </a:endParaRPr>
          </a:p>
        </p:txBody>
      </p:sp>
      <p:sp>
        <p:nvSpPr>
          <p:cNvPr id="34" name="TextBox 67">
            <a:extLst>
              <a:ext uri="{FF2B5EF4-FFF2-40B4-BE49-F238E27FC236}">
                <a16:creationId xmlns:a16="http://schemas.microsoft.com/office/drawing/2014/main" id="{7691287C-D330-404A-BAFD-D8D672E7900F}"/>
              </a:ext>
            </a:extLst>
          </p:cNvPr>
          <p:cNvSpPr txBox="1">
            <a:spLocks/>
          </p:cNvSpPr>
          <p:nvPr/>
        </p:nvSpPr>
        <p:spPr>
          <a:xfrm>
            <a:off x="3774828" y="5295839"/>
            <a:ext cx="1130022" cy="784830"/>
          </a:xfrm>
          <a:prstGeom prst="rect">
            <a:avLst/>
          </a:prstGeom>
          <a:noFill/>
        </p:spPr>
        <p:txBody>
          <a:bodyPr wrap="square" rtlCol="0">
            <a:spAutoFit/>
          </a:bodyPr>
          <a:lstStyle/>
          <a:p>
            <a:pPr algn="ctr"/>
            <a:r>
              <a:rPr lang="fr-FR" sz="900">
                <a:solidFill>
                  <a:srgbClr val="5F5F5F"/>
                </a:solidFill>
                <a:latin typeface="Tahoma"/>
                <a:cs typeface="Poppins" pitchFamily="2" charset="77"/>
              </a:rPr>
              <a:t>Déclarent souffrir d’une maladie chronique (diabète, asthme, fibromyalgie…)</a:t>
            </a:r>
            <a:r>
              <a:rPr lang="fr-FR" sz="900" kern="0" baseline="30000">
                <a:solidFill>
                  <a:srgbClr val="5F5F5F"/>
                </a:solidFill>
                <a:latin typeface="Tahoma"/>
                <a:ea typeface="Meiryo UI"/>
                <a:cs typeface="Arial"/>
              </a:rPr>
              <a:t>4</a:t>
            </a:r>
            <a:endParaRPr lang="fr-FR" sz="900">
              <a:solidFill>
                <a:srgbClr val="5F5F5F"/>
              </a:solidFill>
              <a:latin typeface="Tahoma"/>
              <a:cs typeface="Poppins" pitchFamily="2" charset="77"/>
            </a:endParaRPr>
          </a:p>
        </p:txBody>
      </p:sp>
      <p:sp>
        <p:nvSpPr>
          <p:cNvPr id="38" name="TextBox 74">
            <a:extLst>
              <a:ext uri="{FF2B5EF4-FFF2-40B4-BE49-F238E27FC236}">
                <a16:creationId xmlns:a16="http://schemas.microsoft.com/office/drawing/2014/main" id="{3BB43E8A-0DCB-44BB-93B8-40C66AD4B561}"/>
              </a:ext>
            </a:extLst>
          </p:cNvPr>
          <p:cNvSpPr txBox="1">
            <a:spLocks/>
          </p:cNvSpPr>
          <p:nvPr/>
        </p:nvSpPr>
        <p:spPr>
          <a:xfrm>
            <a:off x="2683953" y="5295840"/>
            <a:ext cx="1130022" cy="507831"/>
          </a:xfrm>
          <a:prstGeom prst="rect">
            <a:avLst/>
          </a:prstGeom>
          <a:noFill/>
        </p:spPr>
        <p:txBody>
          <a:bodyPr wrap="square" rtlCol="0">
            <a:spAutoFit/>
          </a:bodyPr>
          <a:lstStyle/>
          <a:p>
            <a:pPr algn="ctr"/>
            <a:r>
              <a:rPr lang="fr-FR" sz="900">
                <a:solidFill>
                  <a:srgbClr val="5F5F5F"/>
                </a:solidFill>
                <a:latin typeface="Tahoma"/>
                <a:cs typeface="Poppins" pitchFamily="2" charset="77"/>
              </a:rPr>
              <a:t>Se sentent anxieux et stressé</a:t>
            </a:r>
            <a:r>
              <a:rPr lang="fr-FR" sz="900" kern="0" baseline="30000">
                <a:solidFill>
                  <a:srgbClr val="5F5F5F"/>
                </a:solidFill>
                <a:latin typeface="Tahoma"/>
                <a:ea typeface="Meiryo UI"/>
                <a:cs typeface="Arial"/>
              </a:rPr>
              <a:t>3</a:t>
            </a:r>
            <a:endParaRPr lang="fr-FR" sz="900">
              <a:solidFill>
                <a:srgbClr val="5F5F5F"/>
              </a:solidFill>
              <a:latin typeface="Tahoma"/>
              <a:cs typeface="Poppins" pitchFamily="2" charset="77"/>
            </a:endParaRPr>
          </a:p>
        </p:txBody>
      </p:sp>
      <p:grpSp>
        <p:nvGrpSpPr>
          <p:cNvPr id="39" name="Group 24">
            <a:extLst>
              <a:ext uri="{FF2B5EF4-FFF2-40B4-BE49-F238E27FC236}">
                <a16:creationId xmlns:a16="http://schemas.microsoft.com/office/drawing/2014/main" id="{9F77BBC5-E8FE-4D16-A006-3B7D622B1440}"/>
              </a:ext>
            </a:extLst>
          </p:cNvPr>
          <p:cNvGrpSpPr>
            <a:grpSpLocks/>
          </p:cNvGrpSpPr>
          <p:nvPr/>
        </p:nvGrpSpPr>
        <p:grpSpPr>
          <a:xfrm>
            <a:off x="1681216" y="4331292"/>
            <a:ext cx="892687" cy="859904"/>
            <a:chOff x="19396668" y="3142631"/>
            <a:chExt cx="2931731" cy="2931731"/>
          </a:xfrm>
        </p:grpSpPr>
        <p:sp>
          <p:nvSpPr>
            <p:cNvPr id="40" name="Donut 75">
              <a:extLst>
                <a:ext uri="{FF2B5EF4-FFF2-40B4-BE49-F238E27FC236}">
                  <a16:creationId xmlns:a16="http://schemas.microsoft.com/office/drawing/2014/main" id="{44022190-CCF7-4D9D-BD95-D2CADC3032B1}"/>
                </a:ext>
              </a:extLst>
            </p:cNvPr>
            <p:cNvSpPr/>
            <p:nvPr/>
          </p:nvSpPr>
          <p:spPr>
            <a:xfrm>
              <a:off x="19396668" y="3142631"/>
              <a:ext cx="2931731" cy="2931731"/>
            </a:xfrm>
            <a:prstGeom prst="donut">
              <a:avLst>
                <a:gd name="adj" fmla="val 7516"/>
              </a:avLst>
            </a:prstGeom>
            <a:gradFill>
              <a:gsLst>
                <a:gs pos="62567">
                  <a:schemeClr val="accent2"/>
                </a:gs>
                <a:gs pos="0">
                  <a:schemeClr val="accent3"/>
                </a:gs>
              </a:gsLst>
              <a:lin ang="14400000" scaled="0"/>
            </a:gra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4">
                      <a:lumMod val="10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731">
                <a:solidFill>
                  <a:srgbClr val="5F5F5F"/>
                </a:solidFill>
                <a:latin typeface="Tahoma"/>
              </a:endParaRPr>
            </a:p>
          </p:txBody>
        </p:sp>
        <p:sp>
          <p:nvSpPr>
            <p:cNvPr id="41" name="TextBox 76">
              <a:extLst>
                <a:ext uri="{FF2B5EF4-FFF2-40B4-BE49-F238E27FC236}">
                  <a16:creationId xmlns:a16="http://schemas.microsoft.com/office/drawing/2014/main" id="{112CB7F7-E0A5-4941-BC0C-F5739912DA6D}"/>
                </a:ext>
              </a:extLst>
            </p:cNvPr>
            <p:cNvSpPr txBox="1"/>
            <p:nvPr/>
          </p:nvSpPr>
          <p:spPr>
            <a:xfrm>
              <a:off x="19725124" y="3870838"/>
              <a:ext cx="2517499" cy="1465995"/>
            </a:xfrm>
            <a:prstGeom prst="rect">
              <a:avLst/>
            </a:prstGeom>
            <a:noFill/>
          </p:spPr>
          <p:txBody>
            <a:bodyPr wrap="none" rtlCol="0">
              <a:spAutoFit/>
            </a:bodyPr>
            <a:lstStyle/>
            <a:p>
              <a:pPr algn="ctr"/>
              <a:r>
                <a:rPr lang="fr-FR" sz="2194">
                  <a:solidFill>
                    <a:srgbClr val="546B8C">
                      <a:lumMod val="100000"/>
                    </a:srgbClr>
                  </a:solidFill>
                  <a:latin typeface="Tahoma"/>
                  <a:cs typeface="Poppins" pitchFamily="2" charset="77"/>
                </a:rPr>
                <a:t>25%</a:t>
              </a:r>
            </a:p>
          </p:txBody>
        </p:sp>
      </p:grpSp>
      <p:sp>
        <p:nvSpPr>
          <p:cNvPr id="42" name="TextBox 77">
            <a:extLst>
              <a:ext uri="{FF2B5EF4-FFF2-40B4-BE49-F238E27FC236}">
                <a16:creationId xmlns:a16="http://schemas.microsoft.com/office/drawing/2014/main" id="{4B5C8BF1-96E1-4E7D-88F4-9FC2653D6B2F}"/>
              </a:ext>
            </a:extLst>
          </p:cNvPr>
          <p:cNvSpPr txBox="1">
            <a:spLocks/>
          </p:cNvSpPr>
          <p:nvPr/>
        </p:nvSpPr>
        <p:spPr>
          <a:xfrm>
            <a:off x="1566442" y="5295840"/>
            <a:ext cx="1130022" cy="646331"/>
          </a:xfrm>
          <a:prstGeom prst="rect">
            <a:avLst/>
          </a:prstGeom>
          <a:noFill/>
        </p:spPr>
        <p:txBody>
          <a:bodyPr wrap="square" rtlCol="0">
            <a:spAutoFit/>
          </a:bodyPr>
          <a:lstStyle/>
          <a:p>
            <a:pPr algn="ctr"/>
            <a:r>
              <a:rPr lang="fr-FR" sz="900">
                <a:solidFill>
                  <a:srgbClr val="5F5F5F"/>
                </a:solidFill>
                <a:latin typeface="Tahoma"/>
                <a:cs typeface="Poppins" pitchFamily="2" charset="77"/>
              </a:rPr>
              <a:t>Déclarent ressentir une fatigue mentale et physique</a:t>
            </a:r>
            <a:r>
              <a:rPr lang="fr-FR" sz="900" kern="0" baseline="30000">
                <a:solidFill>
                  <a:srgbClr val="5F5F5F"/>
                </a:solidFill>
                <a:latin typeface="Tahoma"/>
                <a:ea typeface="Meiryo UI"/>
                <a:cs typeface="Arial"/>
              </a:rPr>
              <a:t>3</a:t>
            </a:r>
            <a:endParaRPr lang="fr-FR" sz="900">
              <a:solidFill>
                <a:srgbClr val="5F5F5F"/>
              </a:solidFill>
              <a:latin typeface="Tahoma"/>
              <a:cs typeface="Poppins" pitchFamily="2" charset="77"/>
            </a:endParaRPr>
          </a:p>
        </p:txBody>
      </p:sp>
      <p:grpSp>
        <p:nvGrpSpPr>
          <p:cNvPr id="43" name="Group 24">
            <a:extLst>
              <a:ext uri="{FF2B5EF4-FFF2-40B4-BE49-F238E27FC236}">
                <a16:creationId xmlns:a16="http://schemas.microsoft.com/office/drawing/2014/main" id="{A2A98EF8-709E-46C5-A682-F594CF3D255F}"/>
              </a:ext>
            </a:extLst>
          </p:cNvPr>
          <p:cNvGrpSpPr>
            <a:grpSpLocks/>
          </p:cNvGrpSpPr>
          <p:nvPr/>
        </p:nvGrpSpPr>
        <p:grpSpPr>
          <a:xfrm>
            <a:off x="2795371" y="4331292"/>
            <a:ext cx="892687" cy="859904"/>
            <a:chOff x="19396668" y="3142631"/>
            <a:chExt cx="2931731" cy="2931731"/>
          </a:xfrm>
        </p:grpSpPr>
        <p:sp>
          <p:nvSpPr>
            <p:cNvPr id="44" name="Donut 75">
              <a:extLst>
                <a:ext uri="{FF2B5EF4-FFF2-40B4-BE49-F238E27FC236}">
                  <a16:creationId xmlns:a16="http://schemas.microsoft.com/office/drawing/2014/main" id="{FC6E6AD5-340A-4879-9FE1-6483EBC0C67E}"/>
                </a:ext>
              </a:extLst>
            </p:cNvPr>
            <p:cNvSpPr/>
            <p:nvPr/>
          </p:nvSpPr>
          <p:spPr>
            <a:xfrm>
              <a:off x="19396668" y="3142631"/>
              <a:ext cx="2931731" cy="2931731"/>
            </a:xfrm>
            <a:prstGeom prst="donut">
              <a:avLst>
                <a:gd name="adj" fmla="val 7516"/>
              </a:avLst>
            </a:prstGeom>
            <a:gradFill>
              <a:gsLst>
                <a:gs pos="62567">
                  <a:schemeClr val="accent2"/>
                </a:gs>
                <a:gs pos="0">
                  <a:schemeClr val="accent3"/>
                </a:gs>
              </a:gsLst>
              <a:lin ang="14400000" scaled="0"/>
            </a:gra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4">
                      <a:lumMod val="10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731">
                <a:solidFill>
                  <a:srgbClr val="5F5F5F"/>
                </a:solidFill>
                <a:latin typeface="Tahoma"/>
              </a:endParaRPr>
            </a:p>
          </p:txBody>
        </p:sp>
        <p:sp>
          <p:nvSpPr>
            <p:cNvPr id="45" name="TextBox 76">
              <a:extLst>
                <a:ext uri="{FF2B5EF4-FFF2-40B4-BE49-F238E27FC236}">
                  <a16:creationId xmlns:a16="http://schemas.microsoft.com/office/drawing/2014/main" id="{9E90D782-F3C3-4F87-ADCA-831504DB3F4D}"/>
                </a:ext>
              </a:extLst>
            </p:cNvPr>
            <p:cNvSpPr txBox="1"/>
            <p:nvPr/>
          </p:nvSpPr>
          <p:spPr>
            <a:xfrm>
              <a:off x="19725124" y="3870838"/>
              <a:ext cx="2517499" cy="1465995"/>
            </a:xfrm>
            <a:prstGeom prst="rect">
              <a:avLst/>
            </a:prstGeom>
            <a:noFill/>
          </p:spPr>
          <p:txBody>
            <a:bodyPr wrap="none" rtlCol="0">
              <a:spAutoFit/>
            </a:bodyPr>
            <a:lstStyle/>
            <a:p>
              <a:pPr algn="ctr"/>
              <a:r>
                <a:rPr lang="fr-FR" sz="2194">
                  <a:solidFill>
                    <a:srgbClr val="546B8C">
                      <a:lumMod val="100000"/>
                    </a:srgbClr>
                  </a:solidFill>
                  <a:latin typeface="Tahoma"/>
                  <a:cs typeface="Poppins" pitchFamily="2" charset="77"/>
                </a:rPr>
                <a:t>29%</a:t>
              </a:r>
            </a:p>
          </p:txBody>
        </p:sp>
      </p:grpSp>
      <p:grpSp>
        <p:nvGrpSpPr>
          <p:cNvPr id="46" name="Group 24">
            <a:extLst>
              <a:ext uri="{FF2B5EF4-FFF2-40B4-BE49-F238E27FC236}">
                <a16:creationId xmlns:a16="http://schemas.microsoft.com/office/drawing/2014/main" id="{75580F23-EAEC-4D04-A75A-226B701BF7B1}"/>
              </a:ext>
            </a:extLst>
          </p:cNvPr>
          <p:cNvGrpSpPr>
            <a:grpSpLocks/>
          </p:cNvGrpSpPr>
          <p:nvPr/>
        </p:nvGrpSpPr>
        <p:grpSpPr>
          <a:xfrm>
            <a:off x="3909526" y="4331292"/>
            <a:ext cx="892687" cy="859904"/>
            <a:chOff x="19396668" y="3142631"/>
            <a:chExt cx="2931731" cy="2931731"/>
          </a:xfrm>
        </p:grpSpPr>
        <p:sp>
          <p:nvSpPr>
            <p:cNvPr id="47" name="Donut 75">
              <a:extLst>
                <a:ext uri="{FF2B5EF4-FFF2-40B4-BE49-F238E27FC236}">
                  <a16:creationId xmlns:a16="http://schemas.microsoft.com/office/drawing/2014/main" id="{9503F4C5-184A-4E99-8780-EA094D2FA4C5}"/>
                </a:ext>
              </a:extLst>
            </p:cNvPr>
            <p:cNvSpPr/>
            <p:nvPr/>
          </p:nvSpPr>
          <p:spPr>
            <a:xfrm>
              <a:off x="19396668" y="3142631"/>
              <a:ext cx="2931731" cy="2931731"/>
            </a:xfrm>
            <a:prstGeom prst="donut">
              <a:avLst>
                <a:gd name="adj" fmla="val 7516"/>
              </a:avLst>
            </a:prstGeom>
            <a:gradFill>
              <a:gsLst>
                <a:gs pos="62567">
                  <a:schemeClr val="accent2"/>
                </a:gs>
                <a:gs pos="0">
                  <a:schemeClr val="accent3"/>
                </a:gs>
              </a:gsLst>
              <a:lin ang="14400000" scaled="0"/>
            </a:gra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4">
                      <a:lumMod val="10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731">
                <a:solidFill>
                  <a:srgbClr val="5F5F5F"/>
                </a:solidFill>
                <a:latin typeface="Tahoma"/>
              </a:endParaRPr>
            </a:p>
          </p:txBody>
        </p:sp>
        <p:sp>
          <p:nvSpPr>
            <p:cNvPr id="48" name="TextBox 76">
              <a:extLst>
                <a:ext uri="{FF2B5EF4-FFF2-40B4-BE49-F238E27FC236}">
                  <a16:creationId xmlns:a16="http://schemas.microsoft.com/office/drawing/2014/main" id="{1827CA40-B09C-488F-8939-63183EF3370E}"/>
                </a:ext>
              </a:extLst>
            </p:cNvPr>
            <p:cNvSpPr txBox="1"/>
            <p:nvPr/>
          </p:nvSpPr>
          <p:spPr>
            <a:xfrm>
              <a:off x="19725124" y="3870838"/>
              <a:ext cx="2517499" cy="1465995"/>
            </a:xfrm>
            <a:prstGeom prst="rect">
              <a:avLst/>
            </a:prstGeom>
            <a:noFill/>
          </p:spPr>
          <p:txBody>
            <a:bodyPr wrap="none" rtlCol="0">
              <a:spAutoFit/>
            </a:bodyPr>
            <a:lstStyle/>
            <a:p>
              <a:pPr algn="ctr"/>
              <a:r>
                <a:rPr lang="fr-FR" sz="2194">
                  <a:solidFill>
                    <a:srgbClr val="546B8C">
                      <a:lumMod val="100000"/>
                    </a:srgbClr>
                  </a:solidFill>
                  <a:latin typeface="Tahoma"/>
                  <a:cs typeface="Poppins" pitchFamily="2" charset="77"/>
                </a:rPr>
                <a:t>48%</a:t>
              </a:r>
            </a:p>
          </p:txBody>
        </p:sp>
      </p:grpSp>
      <p:grpSp>
        <p:nvGrpSpPr>
          <p:cNvPr id="49" name="Group 24">
            <a:extLst>
              <a:ext uri="{FF2B5EF4-FFF2-40B4-BE49-F238E27FC236}">
                <a16:creationId xmlns:a16="http://schemas.microsoft.com/office/drawing/2014/main" id="{26C064F3-7231-4C84-8C8E-0CD2B07674DF}"/>
              </a:ext>
            </a:extLst>
          </p:cNvPr>
          <p:cNvGrpSpPr>
            <a:grpSpLocks/>
          </p:cNvGrpSpPr>
          <p:nvPr/>
        </p:nvGrpSpPr>
        <p:grpSpPr>
          <a:xfrm>
            <a:off x="5011466" y="4331292"/>
            <a:ext cx="892687" cy="859904"/>
            <a:chOff x="19396668" y="3142631"/>
            <a:chExt cx="2931731" cy="2931731"/>
          </a:xfrm>
        </p:grpSpPr>
        <p:sp>
          <p:nvSpPr>
            <p:cNvPr id="50" name="Donut 75">
              <a:extLst>
                <a:ext uri="{FF2B5EF4-FFF2-40B4-BE49-F238E27FC236}">
                  <a16:creationId xmlns:a16="http://schemas.microsoft.com/office/drawing/2014/main" id="{65AE9C05-451A-492F-A6D6-33BC3AD16495}"/>
                </a:ext>
              </a:extLst>
            </p:cNvPr>
            <p:cNvSpPr/>
            <p:nvPr/>
          </p:nvSpPr>
          <p:spPr>
            <a:xfrm>
              <a:off x="19396668" y="3142631"/>
              <a:ext cx="2931731" cy="2931731"/>
            </a:xfrm>
            <a:prstGeom prst="donut">
              <a:avLst>
                <a:gd name="adj" fmla="val 7516"/>
              </a:avLst>
            </a:prstGeom>
            <a:gradFill>
              <a:gsLst>
                <a:gs pos="62567">
                  <a:schemeClr val="accent2"/>
                </a:gs>
                <a:gs pos="0">
                  <a:schemeClr val="accent3"/>
                </a:gs>
              </a:gsLst>
              <a:lin ang="14400000" scaled="0"/>
            </a:gra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4">
                      <a:lumMod val="10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731">
                <a:solidFill>
                  <a:srgbClr val="5F5F5F"/>
                </a:solidFill>
                <a:latin typeface="Tahoma"/>
              </a:endParaRPr>
            </a:p>
          </p:txBody>
        </p:sp>
        <p:sp>
          <p:nvSpPr>
            <p:cNvPr id="51" name="TextBox 76">
              <a:extLst>
                <a:ext uri="{FF2B5EF4-FFF2-40B4-BE49-F238E27FC236}">
                  <a16:creationId xmlns:a16="http://schemas.microsoft.com/office/drawing/2014/main" id="{04475749-5749-4982-B0D5-2CF9802BF6CB}"/>
                </a:ext>
              </a:extLst>
            </p:cNvPr>
            <p:cNvSpPr txBox="1"/>
            <p:nvPr/>
          </p:nvSpPr>
          <p:spPr>
            <a:xfrm>
              <a:off x="19725124" y="3870838"/>
              <a:ext cx="2517499" cy="1465995"/>
            </a:xfrm>
            <a:prstGeom prst="rect">
              <a:avLst/>
            </a:prstGeom>
            <a:noFill/>
          </p:spPr>
          <p:txBody>
            <a:bodyPr wrap="none" rtlCol="0">
              <a:spAutoFit/>
            </a:bodyPr>
            <a:lstStyle/>
            <a:p>
              <a:pPr algn="ctr"/>
              <a:r>
                <a:rPr lang="fr-FR" sz="2194">
                  <a:solidFill>
                    <a:srgbClr val="546B8C">
                      <a:lumMod val="100000"/>
                    </a:srgbClr>
                  </a:solidFill>
                  <a:latin typeface="Tahoma"/>
                  <a:cs typeface="Poppins" pitchFamily="2" charset="77"/>
                </a:rPr>
                <a:t>60%</a:t>
              </a:r>
            </a:p>
          </p:txBody>
        </p:sp>
      </p:grpSp>
      <p:sp>
        <p:nvSpPr>
          <p:cNvPr id="52" name="Rectangle 51">
            <a:extLst>
              <a:ext uri="{FF2B5EF4-FFF2-40B4-BE49-F238E27FC236}">
                <a16:creationId xmlns:a16="http://schemas.microsoft.com/office/drawing/2014/main" id="{09FDD38F-FAA7-4911-B58A-00FA6A288AA2}"/>
              </a:ext>
            </a:extLst>
          </p:cNvPr>
          <p:cNvSpPr>
            <a:spLocks/>
          </p:cNvSpPr>
          <p:nvPr/>
        </p:nvSpPr>
        <p:spPr>
          <a:xfrm>
            <a:off x="6434584" y="4249303"/>
            <a:ext cx="4148511" cy="707972"/>
          </a:xfrm>
          <a:prstGeom prst="rect">
            <a:avLst/>
          </a:prstGeom>
          <a:solidFill>
            <a:schemeClr val="accent2">
              <a:lumMod val="20000"/>
              <a:lumOff val="80000"/>
            </a:schemeClr>
          </a:solidFill>
          <a:ln w="38100" cap="flat" cmpd="sng" algn="ctr">
            <a:solidFill>
              <a:schemeClr val="bg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solidFill>
                <a:srgbClr val="FFFFFF"/>
              </a:solidFill>
              <a:latin typeface="Tahoma"/>
            </a:endParaRPr>
          </a:p>
        </p:txBody>
      </p:sp>
      <p:sp>
        <p:nvSpPr>
          <p:cNvPr id="53" name="TextBox 71">
            <a:extLst>
              <a:ext uri="{FF2B5EF4-FFF2-40B4-BE49-F238E27FC236}">
                <a16:creationId xmlns:a16="http://schemas.microsoft.com/office/drawing/2014/main" id="{0D5F083A-191A-4B41-8EAD-D6F468EDC46E}"/>
              </a:ext>
            </a:extLst>
          </p:cNvPr>
          <p:cNvSpPr txBox="1">
            <a:spLocks/>
          </p:cNvSpPr>
          <p:nvPr/>
        </p:nvSpPr>
        <p:spPr>
          <a:xfrm>
            <a:off x="6943875" y="4310945"/>
            <a:ext cx="3147798" cy="646331"/>
          </a:xfrm>
          <a:prstGeom prst="rect">
            <a:avLst/>
          </a:prstGeom>
          <a:noFill/>
        </p:spPr>
        <p:txBody>
          <a:bodyPr wrap="square" rtlCol="0">
            <a:spAutoFit/>
          </a:bodyPr>
          <a:lstStyle/>
          <a:p>
            <a:pPr algn="ctr"/>
            <a:r>
              <a:rPr lang="fr-FR" b="1">
                <a:solidFill>
                  <a:srgbClr val="503078"/>
                </a:solidFill>
                <a:latin typeface="Tahoma"/>
                <a:cs typeface="Poppins" pitchFamily="2" charset="77"/>
              </a:rPr>
              <a:t>1 aidant sur 3 </a:t>
            </a:r>
            <a:r>
              <a:rPr lang="fr-FR">
                <a:solidFill>
                  <a:srgbClr val="503078"/>
                </a:solidFill>
                <a:latin typeface="Tahoma"/>
                <a:cs typeface="Poppins" pitchFamily="2" charset="77"/>
              </a:rPr>
              <a:t>meurt avant son aidé</a:t>
            </a:r>
            <a:r>
              <a:rPr lang="fr-FR" sz="1600" kern="0" baseline="30000">
                <a:solidFill>
                  <a:srgbClr val="503078"/>
                </a:solidFill>
                <a:latin typeface="Tahoma"/>
                <a:ea typeface="Meiryo UI"/>
                <a:cs typeface="Arial"/>
              </a:rPr>
              <a:t>4</a:t>
            </a:r>
            <a:endParaRPr lang="fr-FR" kern="0" baseline="30000">
              <a:solidFill>
                <a:srgbClr val="503078"/>
              </a:solidFill>
              <a:latin typeface="Tahoma"/>
              <a:ea typeface="Meiryo UI"/>
              <a:cs typeface="Arial"/>
            </a:endParaRPr>
          </a:p>
        </p:txBody>
      </p:sp>
      <p:cxnSp>
        <p:nvCxnSpPr>
          <p:cNvPr id="4" name="Connecteur droit 3">
            <a:extLst>
              <a:ext uri="{FF2B5EF4-FFF2-40B4-BE49-F238E27FC236}">
                <a16:creationId xmlns:a16="http://schemas.microsoft.com/office/drawing/2014/main" id="{E80426D9-1956-4BFB-9426-B6EBA294BC37}"/>
              </a:ext>
            </a:extLst>
          </p:cNvPr>
          <p:cNvCxnSpPr/>
          <p:nvPr/>
        </p:nvCxnSpPr>
        <p:spPr>
          <a:xfrm>
            <a:off x="2677992" y="4331293"/>
            <a:ext cx="0" cy="1906331"/>
          </a:xfrm>
          <a:prstGeom prst="line">
            <a:avLst/>
          </a:prstGeom>
          <a:ln w="6350" cap="flat" cmpd="sng" algn="ctr">
            <a:solidFill>
              <a:schemeClr val="bg2">
                <a:lumMod val="100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Connecteur droit 53">
            <a:extLst>
              <a:ext uri="{FF2B5EF4-FFF2-40B4-BE49-F238E27FC236}">
                <a16:creationId xmlns:a16="http://schemas.microsoft.com/office/drawing/2014/main" id="{CD077E24-5606-4E87-BD43-5D4809AA91F1}"/>
              </a:ext>
            </a:extLst>
          </p:cNvPr>
          <p:cNvCxnSpPr/>
          <p:nvPr/>
        </p:nvCxnSpPr>
        <p:spPr>
          <a:xfrm>
            <a:off x="3788784" y="4331293"/>
            <a:ext cx="0" cy="1906331"/>
          </a:xfrm>
          <a:prstGeom prst="line">
            <a:avLst/>
          </a:prstGeom>
          <a:ln w="6350" cap="flat" cmpd="sng" algn="ctr">
            <a:solidFill>
              <a:schemeClr val="bg2">
                <a:lumMod val="100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Connecteur droit 54">
            <a:extLst>
              <a:ext uri="{FF2B5EF4-FFF2-40B4-BE49-F238E27FC236}">
                <a16:creationId xmlns:a16="http://schemas.microsoft.com/office/drawing/2014/main" id="{D6581334-121F-44E6-9A5F-3DEAF4518F1F}"/>
              </a:ext>
            </a:extLst>
          </p:cNvPr>
          <p:cNvCxnSpPr/>
          <p:nvPr/>
        </p:nvCxnSpPr>
        <p:spPr>
          <a:xfrm>
            <a:off x="4915252" y="4331293"/>
            <a:ext cx="0" cy="1906331"/>
          </a:xfrm>
          <a:prstGeom prst="line">
            <a:avLst/>
          </a:prstGeom>
          <a:ln w="6350" cap="flat" cmpd="sng" algn="ctr">
            <a:solidFill>
              <a:schemeClr val="bg2">
                <a:lumMod val="100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D56BB488-6B58-475F-9880-B4DC8FFA670C}"/>
              </a:ext>
            </a:extLst>
          </p:cNvPr>
          <p:cNvSpPr>
            <a:spLocks/>
          </p:cNvSpPr>
          <p:nvPr/>
        </p:nvSpPr>
        <p:spPr>
          <a:xfrm>
            <a:off x="6443520" y="5169790"/>
            <a:ext cx="4148511" cy="1165101"/>
          </a:xfrm>
          <a:prstGeom prst="rect">
            <a:avLst/>
          </a:prstGeom>
          <a:solidFill>
            <a:schemeClr val="accent2">
              <a:lumMod val="20000"/>
              <a:lumOff val="80000"/>
            </a:schemeClr>
          </a:solidFill>
          <a:ln w="38100" cap="flat" cmpd="sng" algn="ctr">
            <a:solidFill>
              <a:schemeClr val="bg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solidFill>
                <a:srgbClr val="FFFFFF"/>
              </a:solidFill>
              <a:latin typeface="Tahoma"/>
            </a:endParaRPr>
          </a:p>
        </p:txBody>
      </p:sp>
      <p:sp>
        <p:nvSpPr>
          <p:cNvPr id="57" name="TextBox 71">
            <a:extLst>
              <a:ext uri="{FF2B5EF4-FFF2-40B4-BE49-F238E27FC236}">
                <a16:creationId xmlns:a16="http://schemas.microsoft.com/office/drawing/2014/main" id="{A399B9A3-610C-4D60-B3BA-55C8B771FEA7}"/>
              </a:ext>
            </a:extLst>
          </p:cNvPr>
          <p:cNvSpPr txBox="1">
            <a:spLocks/>
          </p:cNvSpPr>
          <p:nvPr/>
        </p:nvSpPr>
        <p:spPr>
          <a:xfrm>
            <a:off x="6552345" y="5237007"/>
            <a:ext cx="3953031" cy="646331"/>
          </a:xfrm>
          <a:prstGeom prst="rect">
            <a:avLst/>
          </a:prstGeom>
          <a:noFill/>
        </p:spPr>
        <p:txBody>
          <a:bodyPr wrap="square" rtlCol="0">
            <a:spAutoFit/>
          </a:bodyPr>
          <a:lstStyle/>
          <a:p>
            <a:pPr algn="ctr"/>
            <a:r>
              <a:rPr lang="fr-FR" b="1">
                <a:solidFill>
                  <a:srgbClr val="503078"/>
                </a:solidFill>
                <a:latin typeface="Tahoma"/>
              </a:rPr>
              <a:t>4 personnes sur 10 </a:t>
            </a:r>
            <a:r>
              <a:rPr lang="fr-FR">
                <a:solidFill>
                  <a:srgbClr val="503078"/>
                </a:solidFill>
                <a:latin typeface="Tahoma"/>
              </a:rPr>
              <a:t>expriment un besoin de répit</a:t>
            </a:r>
            <a:r>
              <a:rPr lang="fr-FR" sz="1600" kern="0" baseline="30000">
                <a:solidFill>
                  <a:srgbClr val="503078"/>
                </a:solidFill>
                <a:latin typeface="Tahoma"/>
                <a:ea typeface="Meiryo UI"/>
                <a:cs typeface="Arial"/>
              </a:rPr>
              <a:t>5</a:t>
            </a:r>
            <a:endParaRPr lang="fr-FR" kern="0" baseline="30000">
              <a:solidFill>
                <a:srgbClr val="503078"/>
              </a:solidFill>
              <a:latin typeface="Tahoma"/>
              <a:ea typeface="Meiryo UI"/>
              <a:cs typeface="Arial"/>
            </a:endParaRPr>
          </a:p>
        </p:txBody>
      </p:sp>
      <p:sp>
        <p:nvSpPr>
          <p:cNvPr id="32" name="TextBox 74">
            <a:extLst>
              <a:ext uri="{FF2B5EF4-FFF2-40B4-BE49-F238E27FC236}">
                <a16:creationId xmlns:a16="http://schemas.microsoft.com/office/drawing/2014/main" id="{739053E8-3913-470E-9DEF-F7264386DDB6}"/>
              </a:ext>
            </a:extLst>
          </p:cNvPr>
          <p:cNvSpPr txBox="1">
            <a:spLocks/>
          </p:cNvSpPr>
          <p:nvPr/>
        </p:nvSpPr>
        <p:spPr>
          <a:xfrm>
            <a:off x="6648037" y="5838810"/>
            <a:ext cx="3823049" cy="430887"/>
          </a:xfrm>
          <a:prstGeom prst="rect">
            <a:avLst/>
          </a:prstGeom>
          <a:noFill/>
        </p:spPr>
        <p:txBody>
          <a:bodyPr wrap="square" rtlCol="0">
            <a:spAutoFit/>
          </a:bodyPr>
          <a:lstStyle/>
          <a:p>
            <a:r>
              <a:rPr lang="fr-FR" sz="1100" i="1">
                <a:solidFill>
                  <a:srgbClr val="503078"/>
                </a:solidFill>
                <a:latin typeface="Tahoma"/>
              </a:rPr>
              <a:t>Les offres de répit manquant encore de visibilité, ce besoin n'est pas forcément orienté vers une solution spécifique</a:t>
            </a:r>
          </a:p>
        </p:txBody>
      </p:sp>
      <p:sp>
        <p:nvSpPr>
          <p:cNvPr id="58" name="ZoneTexte 57">
            <a:extLst>
              <a:ext uri="{FF2B5EF4-FFF2-40B4-BE49-F238E27FC236}">
                <a16:creationId xmlns:a16="http://schemas.microsoft.com/office/drawing/2014/main" id="{6F4C89A8-427D-4FB7-827F-2634DBC0DD0E}"/>
              </a:ext>
            </a:extLst>
          </p:cNvPr>
          <p:cNvSpPr txBox="1"/>
          <p:nvPr/>
        </p:nvSpPr>
        <p:spPr>
          <a:xfrm>
            <a:off x="954241" y="3972551"/>
            <a:ext cx="5404626" cy="276999"/>
          </a:xfrm>
          <a:prstGeom prst="rect">
            <a:avLst/>
          </a:prstGeom>
          <a:noFill/>
        </p:spPr>
        <p:txBody>
          <a:bodyPr wrap="square">
            <a:spAutoFit/>
          </a:bodyPr>
          <a:lstStyle/>
          <a:p>
            <a:pPr marL="464344" indent="-30956">
              <a:spcBef>
                <a:spcPts val="488"/>
              </a:spcBef>
              <a:spcAft>
                <a:spcPts val="488"/>
              </a:spcAft>
              <a:buClr>
                <a:srgbClr val="1F497D"/>
              </a:buClr>
              <a:defRPr/>
            </a:pPr>
            <a:r>
              <a:rPr lang="fr-FR" sz="1200" b="1">
                <a:solidFill>
                  <a:srgbClr val="B0ADCC">
                    <a:lumMod val="75000"/>
                  </a:srgbClr>
                </a:solidFill>
                <a:latin typeface="Tahoma"/>
                <a:ea typeface="Meiryo UI"/>
                <a:cs typeface="Arial"/>
              </a:rPr>
              <a:t>Les aidants : une population à risque du point de vue sanitaire</a:t>
            </a:r>
            <a:endParaRPr lang="fr-FR" sz="1200">
              <a:solidFill>
                <a:srgbClr val="B0ADCC">
                  <a:lumMod val="75000"/>
                </a:srgbClr>
              </a:solidFill>
              <a:latin typeface="Tahoma"/>
            </a:endParaRPr>
          </a:p>
        </p:txBody>
      </p:sp>
      <p:grpSp>
        <p:nvGrpSpPr>
          <p:cNvPr id="35" name="Group 24">
            <a:extLst>
              <a:ext uri="{FF2B5EF4-FFF2-40B4-BE49-F238E27FC236}">
                <a16:creationId xmlns:a16="http://schemas.microsoft.com/office/drawing/2014/main" id="{A954CD2F-DBDB-4E79-9C2C-B7177BE4F282}"/>
              </a:ext>
            </a:extLst>
          </p:cNvPr>
          <p:cNvGrpSpPr>
            <a:grpSpLocks/>
          </p:cNvGrpSpPr>
          <p:nvPr/>
        </p:nvGrpSpPr>
        <p:grpSpPr>
          <a:xfrm>
            <a:off x="1683218" y="4329925"/>
            <a:ext cx="892687" cy="859904"/>
            <a:chOff x="19396668" y="3142631"/>
            <a:chExt cx="2931731" cy="2931731"/>
          </a:xfrm>
        </p:grpSpPr>
        <p:sp>
          <p:nvSpPr>
            <p:cNvPr id="36" name="Donut 75">
              <a:extLst>
                <a:ext uri="{FF2B5EF4-FFF2-40B4-BE49-F238E27FC236}">
                  <a16:creationId xmlns:a16="http://schemas.microsoft.com/office/drawing/2014/main" id="{C674D3B1-6302-4077-8F33-A2888753AEC2}"/>
                </a:ext>
              </a:extLst>
            </p:cNvPr>
            <p:cNvSpPr/>
            <p:nvPr/>
          </p:nvSpPr>
          <p:spPr>
            <a:xfrm>
              <a:off x="19396668" y="3142631"/>
              <a:ext cx="2931731" cy="2931731"/>
            </a:xfrm>
            <a:prstGeom prst="donut">
              <a:avLst>
                <a:gd name="adj" fmla="val 7516"/>
              </a:avLst>
            </a:prstGeom>
            <a:gradFill>
              <a:gsLst>
                <a:gs pos="62567">
                  <a:schemeClr val="accent2"/>
                </a:gs>
                <a:gs pos="0">
                  <a:schemeClr val="accent3"/>
                </a:gs>
              </a:gsLst>
              <a:lin ang="14400000" scaled="0"/>
            </a:gra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4">
                      <a:lumMod val="10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731">
                <a:solidFill>
                  <a:srgbClr val="5F5F5F"/>
                </a:solidFill>
                <a:latin typeface="Tahoma"/>
              </a:endParaRPr>
            </a:p>
          </p:txBody>
        </p:sp>
        <p:sp>
          <p:nvSpPr>
            <p:cNvPr id="37" name="TextBox 76">
              <a:extLst>
                <a:ext uri="{FF2B5EF4-FFF2-40B4-BE49-F238E27FC236}">
                  <a16:creationId xmlns:a16="http://schemas.microsoft.com/office/drawing/2014/main" id="{67796221-F60D-4DBA-9081-39E1A4142B5E}"/>
                </a:ext>
              </a:extLst>
            </p:cNvPr>
            <p:cNvSpPr txBox="1"/>
            <p:nvPr/>
          </p:nvSpPr>
          <p:spPr>
            <a:xfrm>
              <a:off x="19725124" y="3870838"/>
              <a:ext cx="2517499" cy="1465995"/>
            </a:xfrm>
            <a:prstGeom prst="rect">
              <a:avLst/>
            </a:prstGeom>
            <a:noFill/>
          </p:spPr>
          <p:txBody>
            <a:bodyPr wrap="none" rtlCol="0">
              <a:spAutoFit/>
            </a:bodyPr>
            <a:lstStyle/>
            <a:p>
              <a:pPr algn="ctr"/>
              <a:r>
                <a:rPr lang="fr-FR" sz="2194">
                  <a:solidFill>
                    <a:srgbClr val="546B8C">
                      <a:lumMod val="100000"/>
                    </a:srgbClr>
                  </a:solidFill>
                  <a:latin typeface="Tahoma"/>
                  <a:cs typeface="Poppins" pitchFamily="2" charset="77"/>
                </a:rPr>
                <a:t>25%</a:t>
              </a:r>
            </a:p>
          </p:txBody>
        </p:sp>
      </p:grpSp>
      <p:grpSp>
        <p:nvGrpSpPr>
          <p:cNvPr id="59" name="Group 24">
            <a:extLst>
              <a:ext uri="{FF2B5EF4-FFF2-40B4-BE49-F238E27FC236}">
                <a16:creationId xmlns:a16="http://schemas.microsoft.com/office/drawing/2014/main" id="{331B332E-47C2-45DC-A73F-7751A70F1E64}"/>
              </a:ext>
            </a:extLst>
          </p:cNvPr>
          <p:cNvGrpSpPr>
            <a:grpSpLocks/>
          </p:cNvGrpSpPr>
          <p:nvPr/>
        </p:nvGrpSpPr>
        <p:grpSpPr>
          <a:xfrm>
            <a:off x="2797373" y="4329925"/>
            <a:ext cx="892687" cy="859904"/>
            <a:chOff x="19396668" y="3142631"/>
            <a:chExt cx="2931731" cy="2931731"/>
          </a:xfrm>
        </p:grpSpPr>
        <p:sp>
          <p:nvSpPr>
            <p:cNvPr id="60" name="Donut 75">
              <a:extLst>
                <a:ext uri="{FF2B5EF4-FFF2-40B4-BE49-F238E27FC236}">
                  <a16:creationId xmlns:a16="http://schemas.microsoft.com/office/drawing/2014/main" id="{0CA1FA8D-43F6-49AF-90C3-F0A56B73C4A1}"/>
                </a:ext>
              </a:extLst>
            </p:cNvPr>
            <p:cNvSpPr/>
            <p:nvPr/>
          </p:nvSpPr>
          <p:spPr>
            <a:xfrm>
              <a:off x="19396668" y="3142631"/>
              <a:ext cx="2931731" cy="2931731"/>
            </a:xfrm>
            <a:prstGeom prst="donut">
              <a:avLst>
                <a:gd name="adj" fmla="val 7516"/>
              </a:avLst>
            </a:prstGeom>
            <a:gradFill>
              <a:gsLst>
                <a:gs pos="62567">
                  <a:schemeClr val="accent2"/>
                </a:gs>
                <a:gs pos="0">
                  <a:schemeClr val="accent3"/>
                </a:gs>
              </a:gsLst>
              <a:lin ang="14400000" scaled="0"/>
            </a:gra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4">
                      <a:lumMod val="10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731">
                <a:solidFill>
                  <a:srgbClr val="5F5F5F"/>
                </a:solidFill>
                <a:latin typeface="Tahoma"/>
              </a:endParaRPr>
            </a:p>
          </p:txBody>
        </p:sp>
        <p:sp>
          <p:nvSpPr>
            <p:cNvPr id="61" name="TextBox 76">
              <a:extLst>
                <a:ext uri="{FF2B5EF4-FFF2-40B4-BE49-F238E27FC236}">
                  <a16:creationId xmlns:a16="http://schemas.microsoft.com/office/drawing/2014/main" id="{53008AB8-CAF0-4FB4-B666-E2E6A931AE38}"/>
                </a:ext>
              </a:extLst>
            </p:cNvPr>
            <p:cNvSpPr txBox="1"/>
            <p:nvPr/>
          </p:nvSpPr>
          <p:spPr>
            <a:xfrm>
              <a:off x="19725124" y="3870838"/>
              <a:ext cx="2517499" cy="1465995"/>
            </a:xfrm>
            <a:prstGeom prst="rect">
              <a:avLst/>
            </a:prstGeom>
            <a:noFill/>
          </p:spPr>
          <p:txBody>
            <a:bodyPr wrap="none" rtlCol="0">
              <a:spAutoFit/>
            </a:bodyPr>
            <a:lstStyle/>
            <a:p>
              <a:pPr algn="ctr"/>
              <a:r>
                <a:rPr lang="fr-FR" sz="2194">
                  <a:solidFill>
                    <a:srgbClr val="546B8C">
                      <a:lumMod val="100000"/>
                    </a:srgbClr>
                  </a:solidFill>
                  <a:latin typeface="Tahoma"/>
                  <a:cs typeface="Poppins" pitchFamily="2" charset="77"/>
                </a:rPr>
                <a:t>29%</a:t>
              </a:r>
            </a:p>
          </p:txBody>
        </p:sp>
      </p:grpSp>
    </p:spTree>
    <p:extLst>
      <p:ext uri="{BB962C8B-B14F-4D97-AF65-F5344CB8AC3E}">
        <p14:creationId xmlns:p14="http://schemas.microsoft.com/office/powerpoint/2010/main" val="213592639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2689997E-763F-41EE-92A2-E8A25B005753}"/>
              </a:ext>
            </a:extLst>
          </p:cNvPr>
          <p:cNvSpPr>
            <a:spLocks noGrp="1"/>
          </p:cNvSpPr>
          <p:nvPr>
            <p:ph type="title"/>
          </p:nvPr>
        </p:nvSpPr>
        <p:spPr/>
        <p:txBody>
          <a:bodyPr/>
          <a:lstStyle/>
          <a:p>
            <a:r>
              <a:rPr lang="fr-FR"/>
              <a:t>Les aidants et le répit </a:t>
            </a:r>
          </a:p>
        </p:txBody>
      </p:sp>
      <p:sp>
        <p:nvSpPr>
          <p:cNvPr id="3" name="Espace réservé du texte 2">
            <a:extLst>
              <a:ext uri="{FF2B5EF4-FFF2-40B4-BE49-F238E27FC236}">
                <a16:creationId xmlns:a16="http://schemas.microsoft.com/office/drawing/2014/main" id="{120CAE43-622C-4D87-BF98-1721B6F2A21E}"/>
              </a:ext>
            </a:extLst>
          </p:cNvPr>
          <p:cNvSpPr>
            <a:spLocks noGrp="1"/>
          </p:cNvSpPr>
          <p:nvPr>
            <p:ph type="body" sz="quarter" idx="13"/>
          </p:nvPr>
        </p:nvSpPr>
        <p:spPr/>
        <p:txBody>
          <a:bodyPr/>
          <a:lstStyle/>
          <a:p>
            <a:r>
              <a:rPr lang="fr-FR">
                <a:solidFill>
                  <a:srgbClr val="938481"/>
                </a:solidFill>
              </a:rPr>
              <a:t>Dimensionnement des besoins et du marché</a:t>
            </a:r>
          </a:p>
        </p:txBody>
      </p:sp>
      <p:sp>
        <p:nvSpPr>
          <p:cNvPr id="14" name="ZoneTexte 13">
            <a:extLst>
              <a:ext uri="{FF2B5EF4-FFF2-40B4-BE49-F238E27FC236}">
                <a16:creationId xmlns:a16="http://schemas.microsoft.com/office/drawing/2014/main" id="{48EAF199-1185-42B2-9970-611033E5722D}"/>
              </a:ext>
            </a:extLst>
          </p:cNvPr>
          <p:cNvSpPr txBox="1"/>
          <p:nvPr/>
        </p:nvSpPr>
        <p:spPr>
          <a:xfrm>
            <a:off x="1198797" y="6514223"/>
            <a:ext cx="6160783" cy="415498"/>
          </a:xfrm>
          <a:prstGeom prst="rect">
            <a:avLst/>
          </a:prstGeom>
          <a:noFill/>
        </p:spPr>
        <p:txBody>
          <a:bodyPr wrap="square">
            <a:spAutoFit/>
          </a:bodyPr>
          <a:lstStyle/>
          <a:p>
            <a:r>
              <a:rPr lang="fr-FR" sz="700">
                <a:solidFill>
                  <a:srgbClr val="5F5F5F">
                    <a:lumMod val="60000"/>
                    <a:lumOff val="40000"/>
                  </a:srgbClr>
                </a:solidFill>
                <a:latin typeface="Tahoma"/>
              </a:rPr>
              <a:t>Source : Baromètre des aidants, 2021, Fondation April / Institut BVA.</a:t>
            </a:r>
          </a:p>
          <a:p>
            <a:pPr marL="228600" indent="-228600">
              <a:buFontTx/>
              <a:buAutoNum type="arabicPeriod"/>
            </a:pPr>
            <a:endParaRPr lang="fr-FR" sz="700" kern="0">
              <a:solidFill>
                <a:srgbClr val="5F5F5F"/>
              </a:solidFill>
              <a:latin typeface="Tahoma"/>
            </a:endParaRPr>
          </a:p>
          <a:p>
            <a:pPr marL="228600" indent="-228600">
              <a:buFontTx/>
              <a:buAutoNum type="arabicPeriod"/>
            </a:pPr>
            <a:endParaRPr lang="fr-FR" sz="700" kern="0">
              <a:solidFill>
                <a:srgbClr val="5F5F5F"/>
              </a:solidFill>
              <a:latin typeface="Tahoma"/>
            </a:endParaRPr>
          </a:p>
        </p:txBody>
      </p:sp>
      <p:sp>
        <p:nvSpPr>
          <p:cNvPr id="22" name="AutoShape 8">
            <a:extLst>
              <a:ext uri="{FF2B5EF4-FFF2-40B4-BE49-F238E27FC236}">
                <a16:creationId xmlns:a16="http://schemas.microsoft.com/office/drawing/2014/main" id="{52DEB3D9-F126-40CE-B24E-DA37D2ECE9A4}"/>
              </a:ext>
            </a:extLst>
          </p:cNvPr>
          <p:cNvSpPr>
            <a:spLocks noChangeArrowheads="1"/>
          </p:cNvSpPr>
          <p:nvPr/>
        </p:nvSpPr>
        <p:spPr bwMode="gray">
          <a:xfrm>
            <a:off x="1419719" y="1007714"/>
            <a:ext cx="9397627" cy="230012"/>
          </a:xfrm>
          <a:prstGeom prst="rect">
            <a:avLst/>
          </a:prstGeom>
          <a:solidFill>
            <a:schemeClr val="bg2"/>
          </a:solidFill>
          <a:ln w="19050">
            <a:solidFill>
              <a:schemeClr val="bg2"/>
            </a:solidFill>
            <a:miter lim="800000"/>
            <a:headEnd/>
            <a:tailEnd/>
          </a:ln>
          <a:effectLst/>
        </p:spPr>
        <p:txBody>
          <a:bodyPr lIns="32400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defRPr/>
            </a:pPr>
            <a:r>
              <a:rPr lang="fr-FR" altLang="de-DE" sz="1400" b="1" dirty="0">
                <a:solidFill>
                  <a:srgbClr val="FFFFFF"/>
                </a:solidFill>
                <a:latin typeface="Tahoma"/>
              </a:rPr>
              <a:t>Des moments de répit plébiscités par les aidants… </a:t>
            </a:r>
          </a:p>
        </p:txBody>
      </p:sp>
      <p:sp>
        <p:nvSpPr>
          <p:cNvPr id="52" name="Rectangle 51">
            <a:extLst>
              <a:ext uri="{FF2B5EF4-FFF2-40B4-BE49-F238E27FC236}">
                <a16:creationId xmlns:a16="http://schemas.microsoft.com/office/drawing/2014/main" id="{09FDD38F-FAA7-4911-B58A-00FA6A288AA2}"/>
              </a:ext>
            </a:extLst>
          </p:cNvPr>
          <p:cNvSpPr>
            <a:spLocks/>
          </p:cNvSpPr>
          <p:nvPr/>
        </p:nvSpPr>
        <p:spPr>
          <a:xfrm>
            <a:off x="1419718" y="3976464"/>
            <a:ext cx="3816720" cy="2300796"/>
          </a:xfrm>
          <a:prstGeom prst="rect">
            <a:avLst/>
          </a:prstGeom>
          <a:solidFill>
            <a:schemeClr val="accent2">
              <a:lumMod val="20000"/>
              <a:lumOff val="80000"/>
            </a:schemeClr>
          </a:solidFill>
          <a:ln w="38100" cap="flat" cmpd="sng" algn="ctr">
            <a:solidFill>
              <a:schemeClr val="bg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731">
              <a:solidFill>
                <a:srgbClr val="FFFFFF"/>
              </a:solidFill>
              <a:latin typeface="Tahoma"/>
            </a:endParaRPr>
          </a:p>
        </p:txBody>
      </p:sp>
      <p:sp>
        <p:nvSpPr>
          <p:cNvPr id="53" name="TextBox 71">
            <a:extLst>
              <a:ext uri="{FF2B5EF4-FFF2-40B4-BE49-F238E27FC236}">
                <a16:creationId xmlns:a16="http://schemas.microsoft.com/office/drawing/2014/main" id="{0D5F083A-191A-4B41-8EAD-D6F468EDC46E}"/>
              </a:ext>
            </a:extLst>
          </p:cNvPr>
          <p:cNvSpPr txBox="1">
            <a:spLocks/>
          </p:cNvSpPr>
          <p:nvPr/>
        </p:nvSpPr>
        <p:spPr>
          <a:xfrm>
            <a:off x="1392333" y="4086172"/>
            <a:ext cx="3889513" cy="2062103"/>
          </a:xfrm>
          <a:prstGeom prst="rect">
            <a:avLst/>
          </a:prstGeom>
          <a:noFill/>
        </p:spPr>
        <p:txBody>
          <a:bodyPr wrap="square" rtlCol="0">
            <a:spAutoFit/>
          </a:bodyPr>
          <a:lstStyle/>
          <a:p>
            <a:pPr algn="just">
              <a:spcAft>
                <a:spcPts val="600"/>
              </a:spcAft>
            </a:pPr>
            <a:r>
              <a:rPr lang="fr-FR" sz="1300" b="1">
                <a:solidFill>
                  <a:srgbClr val="503078"/>
                </a:solidFill>
                <a:latin typeface="Tahoma"/>
              </a:rPr>
              <a:t>82% des aidants considèrent que le répit </a:t>
            </a:r>
            <a:r>
              <a:rPr lang="fr-FR" sz="1300">
                <a:solidFill>
                  <a:srgbClr val="503078"/>
                </a:solidFill>
                <a:latin typeface="Tahoma"/>
              </a:rPr>
              <a:t>correspond à un moment pour soi </a:t>
            </a:r>
            <a:r>
              <a:rPr lang="fr-FR" sz="1300" b="1">
                <a:solidFill>
                  <a:srgbClr val="503078"/>
                </a:solidFill>
                <a:latin typeface="Tahoma"/>
              </a:rPr>
              <a:t>au moins une fois par mois… </a:t>
            </a:r>
          </a:p>
          <a:p>
            <a:pPr>
              <a:spcAft>
                <a:spcPts val="600"/>
              </a:spcAft>
            </a:pPr>
            <a:r>
              <a:rPr lang="fr-FR" sz="1300" b="1">
                <a:solidFill>
                  <a:srgbClr val="503078"/>
                </a:solidFill>
                <a:latin typeface="Tahoma"/>
              </a:rPr>
              <a:t>… Mais seulement 14% des aidants </a:t>
            </a:r>
            <a:r>
              <a:rPr lang="fr-FR" sz="1300">
                <a:solidFill>
                  <a:srgbClr val="503078"/>
                </a:solidFill>
                <a:latin typeface="Tahoma"/>
              </a:rPr>
              <a:t>affirment s’accorder du répit</a:t>
            </a:r>
            <a:r>
              <a:rPr lang="fr-FR" sz="1300" b="1">
                <a:solidFill>
                  <a:srgbClr val="503078"/>
                </a:solidFill>
                <a:latin typeface="Tahoma"/>
              </a:rPr>
              <a:t> à cette fréquence :</a:t>
            </a:r>
          </a:p>
          <a:p>
            <a:pPr marL="550863" indent="-285750">
              <a:spcAft>
                <a:spcPts val="600"/>
              </a:spcAft>
              <a:buFont typeface="Arial" panose="020B0604020202020204" pitchFamily="34" charset="0"/>
              <a:buChar char="•"/>
            </a:pPr>
            <a:r>
              <a:rPr lang="fr-FR" sz="1200" b="1">
                <a:solidFill>
                  <a:srgbClr val="503078"/>
                </a:solidFill>
                <a:latin typeface="Tahoma"/>
              </a:rPr>
              <a:t>64% </a:t>
            </a:r>
            <a:r>
              <a:rPr lang="fr-FR" sz="1200">
                <a:solidFill>
                  <a:srgbClr val="503078"/>
                </a:solidFill>
                <a:latin typeface="Tahoma"/>
              </a:rPr>
              <a:t>d’entre eux prennent du répit </a:t>
            </a:r>
            <a:r>
              <a:rPr lang="fr-FR" sz="1200" b="1">
                <a:solidFill>
                  <a:srgbClr val="503078"/>
                </a:solidFill>
                <a:latin typeface="Tahoma"/>
              </a:rPr>
              <a:t>2 fois par an ou moins</a:t>
            </a:r>
          </a:p>
          <a:p>
            <a:pPr marL="550863" indent="-285750">
              <a:spcAft>
                <a:spcPts val="300"/>
              </a:spcAft>
              <a:buFont typeface="Arial" panose="020B0604020202020204" pitchFamily="34" charset="0"/>
              <a:buChar char="•"/>
            </a:pPr>
            <a:r>
              <a:rPr lang="fr-FR" sz="1200" b="1">
                <a:solidFill>
                  <a:srgbClr val="503078"/>
                </a:solidFill>
                <a:latin typeface="Tahoma"/>
              </a:rPr>
              <a:t>25% d’entre eux </a:t>
            </a:r>
            <a:r>
              <a:rPr lang="fr-FR" sz="1200">
                <a:solidFill>
                  <a:srgbClr val="503078"/>
                </a:solidFill>
                <a:latin typeface="Tahoma"/>
              </a:rPr>
              <a:t>consacrent</a:t>
            </a:r>
            <a:r>
              <a:rPr lang="fr-FR" sz="1200" b="1">
                <a:solidFill>
                  <a:srgbClr val="503078"/>
                </a:solidFill>
                <a:latin typeface="Tahoma"/>
              </a:rPr>
              <a:t> plus de 20 heures par semaine </a:t>
            </a:r>
            <a:r>
              <a:rPr lang="fr-FR" sz="1200">
                <a:solidFill>
                  <a:srgbClr val="503078"/>
                </a:solidFill>
                <a:latin typeface="Tahoma"/>
              </a:rPr>
              <a:t>à aider leur proche</a:t>
            </a:r>
          </a:p>
        </p:txBody>
      </p:sp>
      <p:pic>
        <p:nvPicPr>
          <p:cNvPr id="5" name="Graphique 4" descr="Chronomètre 75% avec un remplissage uni">
            <a:extLst>
              <a:ext uri="{FF2B5EF4-FFF2-40B4-BE49-F238E27FC236}">
                <a16:creationId xmlns:a16="http://schemas.microsoft.com/office/drawing/2014/main" id="{575DBC52-9698-4C49-8763-E056E5D7FBB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67738" y="5965795"/>
            <a:ext cx="540774" cy="499953"/>
          </a:xfrm>
          <a:prstGeom prst="rect">
            <a:avLst/>
          </a:prstGeom>
        </p:spPr>
      </p:pic>
      <p:grpSp>
        <p:nvGrpSpPr>
          <p:cNvPr id="8" name="Groupe 7">
            <a:extLst>
              <a:ext uri="{FF2B5EF4-FFF2-40B4-BE49-F238E27FC236}">
                <a16:creationId xmlns:a16="http://schemas.microsoft.com/office/drawing/2014/main" id="{132BBE70-3DA2-401A-B833-4EF2E8843885}"/>
              </a:ext>
            </a:extLst>
          </p:cNvPr>
          <p:cNvGrpSpPr/>
          <p:nvPr/>
        </p:nvGrpSpPr>
        <p:grpSpPr>
          <a:xfrm>
            <a:off x="5479419" y="4018218"/>
            <a:ext cx="6160777" cy="2259043"/>
            <a:chOff x="4184018" y="4016401"/>
            <a:chExt cx="6160777" cy="2259043"/>
          </a:xfrm>
        </p:grpSpPr>
        <p:sp>
          <p:nvSpPr>
            <p:cNvPr id="30" name="TextBox 67">
              <a:extLst>
                <a:ext uri="{FF2B5EF4-FFF2-40B4-BE49-F238E27FC236}">
                  <a16:creationId xmlns:a16="http://schemas.microsoft.com/office/drawing/2014/main" id="{EFB97584-ACD8-4ADF-821E-CBAA5A0B6B6B}"/>
                </a:ext>
              </a:extLst>
            </p:cNvPr>
            <p:cNvSpPr txBox="1">
              <a:spLocks/>
            </p:cNvSpPr>
            <p:nvPr/>
          </p:nvSpPr>
          <p:spPr>
            <a:xfrm>
              <a:off x="7594443" y="5333660"/>
              <a:ext cx="1061071" cy="784830"/>
            </a:xfrm>
            <a:prstGeom prst="rect">
              <a:avLst/>
            </a:prstGeom>
            <a:noFill/>
          </p:spPr>
          <p:txBody>
            <a:bodyPr wrap="square" rtlCol="0">
              <a:spAutoFit/>
            </a:bodyPr>
            <a:lstStyle/>
            <a:p>
              <a:pPr algn="ctr"/>
              <a:r>
                <a:rPr lang="fr-FR" sz="900">
                  <a:solidFill>
                    <a:srgbClr val="5F5F5F"/>
                  </a:solidFill>
                  <a:latin typeface="Tahoma"/>
                  <a:cs typeface="Poppins" pitchFamily="2" charset="77"/>
                </a:rPr>
                <a:t>Un manque de moyens financiers pour s’offrir ce moment</a:t>
              </a:r>
            </a:p>
          </p:txBody>
        </p:sp>
        <p:sp>
          <p:nvSpPr>
            <p:cNvPr id="34" name="TextBox 67">
              <a:extLst>
                <a:ext uri="{FF2B5EF4-FFF2-40B4-BE49-F238E27FC236}">
                  <a16:creationId xmlns:a16="http://schemas.microsoft.com/office/drawing/2014/main" id="{7691287C-D330-404A-BAFD-D8D672E7900F}"/>
                </a:ext>
              </a:extLst>
            </p:cNvPr>
            <p:cNvSpPr txBox="1">
              <a:spLocks/>
            </p:cNvSpPr>
            <p:nvPr/>
          </p:nvSpPr>
          <p:spPr>
            <a:xfrm>
              <a:off x="6424215" y="5333660"/>
              <a:ext cx="1130022" cy="646331"/>
            </a:xfrm>
            <a:prstGeom prst="rect">
              <a:avLst/>
            </a:prstGeom>
            <a:noFill/>
          </p:spPr>
          <p:txBody>
            <a:bodyPr wrap="square" rtlCol="0">
              <a:spAutoFit/>
            </a:bodyPr>
            <a:lstStyle/>
            <a:p>
              <a:pPr algn="ctr"/>
              <a:r>
                <a:rPr lang="fr-FR" sz="900">
                  <a:solidFill>
                    <a:srgbClr val="5F5F5F"/>
                  </a:solidFill>
                  <a:latin typeface="Tahoma"/>
                  <a:cs typeface="Poppins" pitchFamily="2" charset="77"/>
                </a:rPr>
                <a:t>Le souhait de profiter au maximum de la personne aidée</a:t>
              </a:r>
            </a:p>
          </p:txBody>
        </p:sp>
        <p:sp>
          <p:nvSpPr>
            <p:cNvPr id="38" name="TextBox 74">
              <a:extLst>
                <a:ext uri="{FF2B5EF4-FFF2-40B4-BE49-F238E27FC236}">
                  <a16:creationId xmlns:a16="http://schemas.microsoft.com/office/drawing/2014/main" id="{3BB43E8A-0DCB-44BB-93B8-40C66AD4B561}"/>
                </a:ext>
              </a:extLst>
            </p:cNvPr>
            <p:cNvSpPr txBox="1">
              <a:spLocks/>
            </p:cNvSpPr>
            <p:nvPr/>
          </p:nvSpPr>
          <p:spPr>
            <a:xfrm>
              <a:off x="5333340" y="5333660"/>
              <a:ext cx="1130022" cy="646331"/>
            </a:xfrm>
            <a:prstGeom prst="rect">
              <a:avLst/>
            </a:prstGeom>
            <a:noFill/>
          </p:spPr>
          <p:txBody>
            <a:bodyPr wrap="square" rtlCol="0">
              <a:spAutoFit/>
            </a:bodyPr>
            <a:lstStyle/>
            <a:p>
              <a:pPr algn="ctr"/>
              <a:r>
                <a:rPr lang="fr-FR" sz="900">
                  <a:solidFill>
                    <a:srgbClr val="5F5F5F"/>
                  </a:solidFill>
                  <a:latin typeface="Tahoma"/>
                  <a:cs typeface="Poppins" pitchFamily="2" charset="77"/>
                </a:rPr>
                <a:t>N’en ressentent pas le besoin car se sentent en forme</a:t>
              </a:r>
            </a:p>
          </p:txBody>
        </p:sp>
        <p:grpSp>
          <p:nvGrpSpPr>
            <p:cNvPr id="39" name="Group 24">
              <a:extLst>
                <a:ext uri="{FF2B5EF4-FFF2-40B4-BE49-F238E27FC236}">
                  <a16:creationId xmlns:a16="http://schemas.microsoft.com/office/drawing/2014/main" id="{9F77BBC5-E8FE-4D16-A006-3B7D622B1440}"/>
                </a:ext>
              </a:extLst>
            </p:cNvPr>
            <p:cNvGrpSpPr>
              <a:grpSpLocks/>
            </p:cNvGrpSpPr>
            <p:nvPr/>
          </p:nvGrpSpPr>
          <p:grpSpPr>
            <a:xfrm>
              <a:off x="4330602" y="4369113"/>
              <a:ext cx="892687" cy="859904"/>
              <a:chOff x="19396668" y="3142631"/>
              <a:chExt cx="2931731" cy="2931731"/>
            </a:xfrm>
          </p:grpSpPr>
          <p:sp>
            <p:nvSpPr>
              <p:cNvPr id="40" name="Donut 75">
                <a:extLst>
                  <a:ext uri="{FF2B5EF4-FFF2-40B4-BE49-F238E27FC236}">
                    <a16:creationId xmlns:a16="http://schemas.microsoft.com/office/drawing/2014/main" id="{44022190-CCF7-4D9D-BD95-D2CADC3032B1}"/>
                  </a:ext>
                </a:extLst>
              </p:cNvPr>
              <p:cNvSpPr/>
              <p:nvPr/>
            </p:nvSpPr>
            <p:spPr>
              <a:xfrm>
                <a:off x="19396668" y="3142631"/>
                <a:ext cx="2931731" cy="2931731"/>
              </a:xfrm>
              <a:prstGeom prst="donut">
                <a:avLst>
                  <a:gd name="adj" fmla="val 7516"/>
                </a:avLst>
              </a:prstGeom>
              <a:gradFill>
                <a:gsLst>
                  <a:gs pos="62567">
                    <a:schemeClr val="accent2"/>
                  </a:gs>
                  <a:gs pos="0">
                    <a:schemeClr val="accent3"/>
                  </a:gs>
                </a:gsLst>
                <a:lin ang="14400000" scaled="0"/>
              </a:gra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4">
                        <a:lumMod val="10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731">
                  <a:solidFill>
                    <a:srgbClr val="5F5F5F"/>
                  </a:solidFill>
                  <a:latin typeface="Tahoma"/>
                </a:endParaRPr>
              </a:p>
            </p:txBody>
          </p:sp>
          <p:sp>
            <p:nvSpPr>
              <p:cNvPr id="41" name="TextBox 76">
                <a:extLst>
                  <a:ext uri="{FF2B5EF4-FFF2-40B4-BE49-F238E27FC236}">
                    <a16:creationId xmlns:a16="http://schemas.microsoft.com/office/drawing/2014/main" id="{112CB7F7-E0A5-4941-BC0C-F5739912DA6D}"/>
                  </a:ext>
                </a:extLst>
              </p:cNvPr>
              <p:cNvSpPr txBox="1"/>
              <p:nvPr/>
            </p:nvSpPr>
            <p:spPr>
              <a:xfrm>
                <a:off x="19725124" y="3870838"/>
                <a:ext cx="2517499" cy="1465995"/>
              </a:xfrm>
              <a:prstGeom prst="rect">
                <a:avLst/>
              </a:prstGeom>
              <a:noFill/>
            </p:spPr>
            <p:txBody>
              <a:bodyPr wrap="none" rtlCol="0">
                <a:spAutoFit/>
              </a:bodyPr>
              <a:lstStyle/>
              <a:p>
                <a:pPr algn="ctr"/>
                <a:r>
                  <a:rPr lang="fr-FR" sz="2194">
                    <a:solidFill>
                      <a:srgbClr val="546B8C">
                        <a:lumMod val="100000"/>
                      </a:srgbClr>
                    </a:solidFill>
                    <a:latin typeface="Tahoma"/>
                    <a:cs typeface="Poppins" pitchFamily="2" charset="77"/>
                  </a:rPr>
                  <a:t>27%</a:t>
                </a:r>
              </a:p>
            </p:txBody>
          </p:sp>
        </p:grpSp>
        <p:sp>
          <p:nvSpPr>
            <p:cNvPr id="42" name="TextBox 77">
              <a:extLst>
                <a:ext uri="{FF2B5EF4-FFF2-40B4-BE49-F238E27FC236}">
                  <a16:creationId xmlns:a16="http://schemas.microsoft.com/office/drawing/2014/main" id="{4B5C8BF1-96E1-4E7D-88F4-9FC2653D6B2F}"/>
                </a:ext>
              </a:extLst>
            </p:cNvPr>
            <p:cNvSpPr txBox="1">
              <a:spLocks/>
            </p:cNvSpPr>
            <p:nvPr/>
          </p:nvSpPr>
          <p:spPr>
            <a:xfrm>
              <a:off x="4215829" y="5333660"/>
              <a:ext cx="1130022" cy="507831"/>
            </a:xfrm>
            <a:prstGeom prst="rect">
              <a:avLst/>
            </a:prstGeom>
            <a:noFill/>
          </p:spPr>
          <p:txBody>
            <a:bodyPr wrap="square" rtlCol="0">
              <a:spAutoFit/>
            </a:bodyPr>
            <a:lstStyle/>
            <a:p>
              <a:pPr algn="ctr"/>
              <a:r>
                <a:rPr lang="fr-FR" sz="900">
                  <a:solidFill>
                    <a:srgbClr val="5F5F5F"/>
                  </a:solidFill>
                  <a:latin typeface="Tahoma"/>
                  <a:cs typeface="Poppins" pitchFamily="2" charset="77"/>
                </a:rPr>
                <a:t>La culpabilité de prendre du temps pour eux</a:t>
              </a:r>
            </a:p>
          </p:txBody>
        </p:sp>
        <p:grpSp>
          <p:nvGrpSpPr>
            <p:cNvPr id="43" name="Group 24">
              <a:extLst>
                <a:ext uri="{FF2B5EF4-FFF2-40B4-BE49-F238E27FC236}">
                  <a16:creationId xmlns:a16="http://schemas.microsoft.com/office/drawing/2014/main" id="{A2A98EF8-709E-46C5-A682-F594CF3D255F}"/>
                </a:ext>
              </a:extLst>
            </p:cNvPr>
            <p:cNvGrpSpPr>
              <a:grpSpLocks/>
            </p:cNvGrpSpPr>
            <p:nvPr/>
          </p:nvGrpSpPr>
          <p:grpSpPr>
            <a:xfrm>
              <a:off x="5444757" y="4369113"/>
              <a:ext cx="892687" cy="859904"/>
              <a:chOff x="19396668" y="3142631"/>
              <a:chExt cx="2931731" cy="2931731"/>
            </a:xfrm>
          </p:grpSpPr>
          <p:sp>
            <p:nvSpPr>
              <p:cNvPr id="44" name="Donut 75">
                <a:extLst>
                  <a:ext uri="{FF2B5EF4-FFF2-40B4-BE49-F238E27FC236}">
                    <a16:creationId xmlns:a16="http://schemas.microsoft.com/office/drawing/2014/main" id="{FC6E6AD5-340A-4879-9FE1-6483EBC0C67E}"/>
                  </a:ext>
                </a:extLst>
              </p:cNvPr>
              <p:cNvSpPr/>
              <p:nvPr/>
            </p:nvSpPr>
            <p:spPr>
              <a:xfrm>
                <a:off x="19396668" y="3142631"/>
                <a:ext cx="2931731" cy="2931731"/>
              </a:xfrm>
              <a:prstGeom prst="donut">
                <a:avLst>
                  <a:gd name="adj" fmla="val 7516"/>
                </a:avLst>
              </a:prstGeom>
              <a:gradFill>
                <a:gsLst>
                  <a:gs pos="62567">
                    <a:schemeClr val="accent2"/>
                  </a:gs>
                  <a:gs pos="0">
                    <a:schemeClr val="accent3"/>
                  </a:gs>
                </a:gsLst>
                <a:lin ang="14400000" scaled="0"/>
              </a:gra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4">
                        <a:lumMod val="10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731">
                  <a:solidFill>
                    <a:srgbClr val="5F5F5F"/>
                  </a:solidFill>
                  <a:latin typeface="Tahoma"/>
                </a:endParaRPr>
              </a:p>
            </p:txBody>
          </p:sp>
          <p:sp>
            <p:nvSpPr>
              <p:cNvPr id="45" name="TextBox 76">
                <a:extLst>
                  <a:ext uri="{FF2B5EF4-FFF2-40B4-BE49-F238E27FC236}">
                    <a16:creationId xmlns:a16="http://schemas.microsoft.com/office/drawing/2014/main" id="{9E90D782-F3C3-4F87-ADCA-831504DB3F4D}"/>
                  </a:ext>
                </a:extLst>
              </p:cNvPr>
              <p:cNvSpPr txBox="1"/>
              <p:nvPr/>
            </p:nvSpPr>
            <p:spPr>
              <a:xfrm>
                <a:off x="19725124" y="3870838"/>
                <a:ext cx="2517499" cy="1465995"/>
              </a:xfrm>
              <a:prstGeom prst="rect">
                <a:avLst/>
              </a:prstGeom>
              <a:noFill/>
            </p:spPr>
            <p:txBody>
              <a:bodyPr wrap="none" rtlCol="0">
                <a:spAutoFit/>
              </a:bodyPr>
              <a:lstStyle/>
              <a:p>
                <a:pPr algn="ctr"/>
                <a:r>
                  <a:rPr lang="fr-FR" sz="2194">
                    <a:solidFill>
                      <a:srgbClr val="546B8C">
                        <a:lumMod val="100000"/>
                      </a:srgbClr>
                    </a:solidFill>
                    <a:latin typeface="Tahoma"/>
                    <a:cs typeface="Poppins" pitchFamily="2" charset="77"/>
                  </a:rPr>
                  <a:t>25%</a:t>
                </a:r>
              </a:p>
            </p:txBody>
          </p:sp>
        </p:grpSp>
        <p:grpSp>
          <p:nvGrpSpPr>
            <p:cNvPr id="46" name="Group 24">
              <a:extLst>
                <a:ext uri="{FF2B5EF4-FFF2-40B4-BE49-F238E27FC236}">
                  <a16:creationId xmlns:a16="http://schemas.microsoft.com/office/drawing/2014/main" id="{75580F23-EAEC-4D04-A75A-226B701BF7B1}"/>
                </a:ext>
              </a:extLst>
            </p:cNvPr>
            <p:cNvGrpSpPr>
              <a:grpSpLocks/>
            </p:cNvGrpSpPr>
            <p:nvPr/>
          </p:nvGrpSpPr>
          <p:grpSpPr>
            <a:xfrm>
              <a:off x="6558912" y="4369113"/>
              <a:ext cx="892687" cy="859904"/>
              <a:chOff x="19396668" y="3142631"/>
              <a:chExt cx="2931731" cy="2931731"/>
            </a:xfrm>
          </p:grpSpPr>
          <p:sp>
            <p:nvSpPr>
              <p:cNvPr id="47" name="Donut 75">
                <a:extLst>
                  <a:ext uri="{FF2B5EF4-FFF2-40B4-BE49-F238E27FC236}">
                    <a16:creationId xmlns:a16="http://schemas.microsoft.com/office/drawing/2014/main" id="{9503F4C5-184A-4E99-8780-EA094D2FA4C5}"/>
                  </a:ext>
                </a:extLst>
              </p:cNvPr>
              <p:cNvSpPr/>
              <p:nvPr/>
            </p:nvSpPr>
            <p:spPr>
              <a:xfrm>
                <a:off x="19396668" y="3142631"/>
                <a:ext cx="2931731" cy="2931731"/>
              </a:xfrm>
              <a:prstGeom prst="donut">
                <a:avLst>
                  <a:gd name="adj" fmla="val 7516"/>
                </a:avLst>
              </a:prstGeom>
              <a:gradFill>
                <a:gsLst>
                  <a:gs pos="62567">
                    <a:schemeClr val="accent2"/>
                  </a:gs>
                  <a:gs pos="0">
                    <a:schemeClr val="accent3"/>
                  </a:gs>
                </a:gsLst>
                <a:lin ang="14400000" scaled="0"/>
              </a:gra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4">
                        <a:lumMod val="10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731">
                  <a:solidFill>
                    <a:srgbClr val="5F5F5F"/>
                  </a:solidFill>
                  <a:latin typeface="Tahoma"/>
                </a:endParaRPr>
              </a:p>
            </p:txBody>
          </p:sp>
          <p:sp>
            <p:nvSpPr>
              <p:cNvPr id="48" name="TextBox 76">
                <a:extLst>
                  <a:ext uri="{FF2B5EF4-FFF2-40B4-BE49-F238E27FC236}">
                    <a16:creationId xmlns:a16="http://schemas.microsoft.com/office/drawing/2014/main" id="{1827CA40-B09C-488F-8939-63183EF3370E}"/>
                  </a:ext>
                </a:extLst>
              </p:cNvPr>
              <p:cNvSpPr txBox="1"/>
              <p:nvPr/>
            </p:nvSpPr>
            <p:spPr>
              <a:xfrm>
                <a:off x="19725124" y="3870838"/>
                <a:ext cx="2517499" cy="1465995"/>
              </a:xfrm>
              <a:prstGeom prst="rect">
                <a:avLst/>
              </a:prstGeom>
              <a:noFill/>
            </p:spPr>
            <p:txBody>
              <a:bodyPr wrap="none" rtlCol="0">
                <a:spAutoFit/>
              </a:bodyPr>
              <a:lstStyle/>
              <a:p>
                <a:pPr algn="ctr"/>
                <a:r>
                  <a:rPr lang="fr-FR" sz="2194">
                    <a:solidFill>
                      <a:srgbClr val="546B8C">
                        <a:lumMod val="100000"/>
                      </a:srgbClr>
                    </a:solidFill>
                    <a:latin typeface="Tahoma"/>
                    <a:cs typeface="Poppins" pitchFamily="2" charset="77"/>
                  </a:rPr>
                  <a:t>21%</a:t>
                </a:r>
              </a:p>
            </p:txBody>
          </p:sp>
        </p:grpSp>
        <p:grpSp>
          <p:nvGrpSpPr>
            <p:cNvPr id="49" name="Group 24">
              <a:extLst>
                <a:ext uri="{FF2B5EF4-FFF2-40B4-BE49-F238E27FC236}">
                  <a16:creationId xmlns:a16="http://schemas.microsoft.com/office/drawing/2014/main" id="{26C064F3-7231-4C84-8C8E-0CD2B07674DF}"/>
                </a:ext>
              </a:extLst>
            </p:cNvPr>
            <p:cNvGrpSpPr>
              <a:grpSpLocks/>
            </p:cNvGrpSpPr>
            <p:nvPr/>
          </p:nvGrpSpPr>
          <p:grpSpPr>
            <a:xfrm>
              <a:off x="7660852" y="4369113"/>
              <a:ext cx="892687" cy="859904"/>
              <a:chOff x="19396668" y="3142631"/>
              <a:chExt cx="2931731" cy="2931731"/>
            </a:xfrm>
          </p:grpSpPr>
          <p:sp>
            <p:nvSpPr>
              <p:cNvPr id="50" name="Donut 75">
                <a:extLst>
                  <a:ext uri="{FF2B5EF4-FFF2-40B4-BE49-F238E27FC236}">
                    <a16:creationId xmlns:a16="http://schemas.microsoft.com/office/drawing/2014/main" id="{65AE9C05-451A-492F-A6D6-33BC3AD16495}"/>
                  </a:ext>
                </a:extLst>
              </p:cNvPr>
              <p:cNvSpPr/>
              <p:nvPr/>
            </p:nvSpPr>
            <p:spPr>
              <a:xfrm>
                <a:off x="19396668" y="3142631"/>
                <a:ext cx="2931731" cy="2931731"/>
              </a:xfrm>
              <a:prstGeom prst="donut">
                <a:avLst>
                  <a:gd name="adj" fmla="val 7516"/>
                </a:avLst>
              </a:prstGeom>
              <a:gradFill>
                <a:gsLst>
                  <a:gs pos="62567">
                    <a:schemeClr val="accent2"/>
                  </a:gs>
                  <a:gs pos="0">
                    <a:schemeClr val="accent3"/>
                  </a:gs>
                </a:gsLst>
                <a:lin ang="14400000" scaled="0"/>
              </a:gra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4">
                        <a:lumMod val="10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731">
                  <a:solidFill>
                    <a:srgbClr val="5F5F5F"/>
                  </a:solidFill>
                  <a:latin typeface="Tahoma"/>
                </a:endParaRPr>
              </a:p>
            </p:txBody>
          </p:sp>
          <p:sp>
            <p:nvSpPr>
              <p:cNvPr id="51" name="TextBox 76">
                <a:extLst>
                  <a:ext uri="{FF2B5EF4-FFF2-40B4-BE49-F238E27FC236}">
                    <a16:creationId xmlns:a16="http://schemas.microsoft.com/office/drawing/2014/main" id="{04475749-5749-4982-B0D5-2CF9802BF6CB}"/>
                  </a:ext>
                </a:extLst>
              </p:cNvPr>
              <p:cNvSpPr txBox="1"/>
              <p:nvPr/>
            </p:nvSpPr>
            <p:spPr>
              <a:xfrm>
                <a:off x="19725124" y="3870838"/>
                <a:ext cx="2517499" cy="1465995"/>
              </a:xfrm>
              <a:prstGeom prst="rect">
                <a:avLst/>
              </a:prstGeom>
              <a:noFill/>
            </p:spPr>
            <p:txBody>
              <a:bodyPr wrap="none" rtlCol="0">
                <a:spAutoFit/>
              </a:bodyPr>
              <a:lstStyle/>
              <a:p>
                <a:pPr algn="ctr"/>
                <a:r>
                  <a:rPr lang="fr-FR" sz="2194">
                    <a:solidFill>
                      <a:srgbClr val="546B8C">
                        <a:lumMod val="100000"/>
                      </a:srgbClr>
                    </a:solidFill>
                    <a:latin typeface="Tahoma"/>
                    <a:cs typeface="Poppins" pitchFamily="2" charset="77"/>
                  </a:rPr>
                  <a:t>19%</a:t>
                </a:r>
              </a:p>
            </p:txBody>
          </p:sp>
        </p:grpSp>
        <p:cxnSp>
          <p:nvCxnSpPr>
            <p:cNvPr id="4" name="Connecteur droit 3">
              <a:extLst>
                <a:ext uri="{FF2B5EF4-FFF2-40B4-BE49-F238E27FC236}">
                  <a16:creationId xmlns:a16="http://schemas.microsoft.com/office/drawing/2014/main" id="{E80426D9-1956-4BFB-9426-B6EBA294BC37}"/>
                </a:ext>
              </a:extLst>
            </p:cNvPr>
            <p:cNvCxnSpPr/>
            <p:nvPr/>
          </p:nvCxnSpPr>
          <p:spPr>
            <a:xfrm>
              <a:off x="5327379" y="4369113"/>
              <a:ext cx="0" cy="1906331"/>
            </a:xfrm>
            <a:prstGeom prst="line">
              <a:avLst/>
            </a:prstGeom>
            <a:ln w="6350" cap="flat" cmpd="sng" algn="ctr">
              <a:solidFill>
                <a:schemeClr val="bg2">
                  <a:lumMod val="100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Connecteur droit 53">
              <a:extLst>
                <a:ext uri="{FF2B5EF4-FFF2-40B4-BE49-F238E27FC236}">
                  <a16:creationId xmlns:a16="http://schemas.microsoft.com/office/drawing/2014/main" id="{CD077E24-5606-4E87-BD43-5D4809AA91F1}"/>
                </a:ext>
              </a:extLst>
            </p:cNvPr>
            <p:cNvCxnSpPr/>
            <p:nvPr/>
          </p:nvCxnSpPr>
          <p:spPr>
            <a:xfrm>
              <a:off x="6438171" y="4369113"/>
              <a:ext cx="0" cy="1906331"/>
            </a:xfrm>
            <a:prstGeom prst="line">
              <a:avLst/>
            </a:prstGeom>
            <a:ln w="6350" cap="flat" cmpd="sng" algn="ctr">
              <a:solidFill>
                <a:schemeClr val="bg2">
                  <a:lumMod val="100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Connecteur droit 54">
              <a:extLst>
                <a:ext uri="{FF2B5EF4-FFF2-40B4-BE49-F238E27FC236}">
                  <a16:creationId xmlns:a16="http://schemas.microsoft.com/office/drawing/2014/main" id="{D6581334-121F-44E6-9A5F-3DEAF4518F1F}"/>
                </a:ext>
              </a:extLst>
            </p:cNvPr>
            <p:cNvCxnSpPr/>
            <p:nvPr/>
          </p:nvCxnSpPr>
          <p:spPr>
            <a:xfrm>
              <a:off x="7564639" y="4369113"/>
              <a:ext cx="0" cy="1906331"/>
            </a:xfrm>
            <a:prstGeom prst="line">
              <a:avLst/>
            </a:prstGeom>
            <a:ln w="6350" cap="flat" cmpd="sng" algn="ctr">
              <a:solidFill>
                <a:schemeClr val="bg2">
                  <a:lumMod val="100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TextBox 71">
              <a:extLst>
                <a:ext uri="{FF2B5EF4-FFF2-40B4-BE49-F238E27FC236}">
                  <a16:creationId xmlns:a16="http://schemas.microsoft.com/office/drawing/2014/main" id="{61ABD2B1-876E-4E43-8AB3-279DA5A4DD8F}"/>
                </a:ext>
              </a:extLst>
            </p:cNvPr>
            <p:cNvSpPr txBox="1">
              <a:spLocks/>
            </p:cNvSpPr>
            <p:nvPr/>
          </p:nvSpPr>
          <p:spPr>
            <a:xfrm>
              <a:off x="4184018" y="4016401"/>
              <a:ext cx="6160777" cy="276999"/>
            </a:xfrm>
            <a:prstGeom prst="rect">
              <a:avLst/>
            </a:prstGeom>
            <a:noFill/>
          </p:spPr>
          <p:txBody>
            <a:bodyPr wrap="square" rtlCol="0">
              <a:spAutoFit/>
            </a:bodyPr>
            <a:lstStyle/>
            <a:p>
              <a:pPr>
                <a:spcAft>
                  <a:spcPts val="300"/>
                </a:spcAft>
              </a:pPr>
              <a:r>
                <a:rPr lang="fr-FR" sz="1200" b="1">
                  <a:solidFill>
                    <a:srgbClr val="503078"/>
                  </a:solidFill>
                  <a:latin typeface="Tahoma"/>
                </a:rPr>
                <a:t>Ces aidants citent comme principale raison :</a:t>
              </a:r>
            </a:p>
          </p:txBody>
        </p:sp>
        <p:sp>
          <p:nvSpPr>
            <p:cNvPr id="64" name="TextBox 67">
              <a:extLst>
                <a:ext uri="{FF2B5EF4-FFF2-40B4-BE49-F238E27FC236}">
                  <a16:creationId xmlns:a16="http://schemas.microsoft.com/office/drawing/2014/main" id="{F71049F1-6B61-4C16-B823-F5DA14D19F3D}"/>
                </a:ext>
              </a:extLst>
            </p:cNvPr>
            <p:cNvSpPr txBox="1">
              <a:spLocks/>
            </p:cNvSpPr>
            <p:nvPr/>
          </p:nvSpPr>
          <p:spPr>
            <a:xfrm>
              <a:off x="8715249" y="5333660"/>
              <a:ext cx="1061071" cy="923330"/>
            </a:xfrm>
            <a:prstGeom prst="rect">
              <a:avLst/>
            </a:prstGeom>
            <a:noFill/>
          </p:spPr>
          <p:txBody>
            <a:bodyPr wrap="square" rtlCol="0">
              <a:spAutoFit/>
            </a:bodyPr>
            <a:lstStyle/>
            <a:p>
              <a:pPr algn="ctr"/>
              <a:r>
                <a:rPr lang="fr-FR" sz="900">
                  <a:solidFill>
                    <a:srgbClr val="5F5F5F"/>
                  </a:solidFill>
                  <a:latin typeface="Tahoma"/>
                  <a:cs typeface="Poppins" pitchFamily="2" charset="77"/>
                </a:rPr>
                <a:t>Un manque de confiance en la structure / la personne qui prendra en charge l’aidé</a:t>
              </a:r>
            </a:p>
          </p:txBody>
        </p:sp>
        <p:grpSp>
          <p:nvGrpSpPr>
            <p:cNvPr id="65" name="Group 24">
              <a:extLst>
                <a:ext uri="{FF2B5EF4-FFF2-40B4-BE49-F238E27FC236}">
                  <a16:creationId xmlns:a16="http://schemas.microsoft.com/office/drawing/2014/main" id="{186B8AA7-DECC-48A6-88ED-2A8DC74E0B84}"/>
                </a:ext>
              </a:extLst>
            </p:cNvPr>
            <p:cNvGrpSpPr>
              <a:grpSpLocks/>
            </p:cNvGrpSpPr>
            <p:nvPr/>
          </p:nvGrpSpPr>
          <p:grpSpPr>
            <a:xfrm>
              <a:off x="8781658" y="4369113"/>
              <a:ext cx="892687" cy="859904"/>
              <a:chOff x="19396668" y="3142631"/>
              <a:chExt cx="2931731" cy="2931731"/>
            </a:xfrm>
          </p:grpSpPr>
          <p:sp>
            <p:nvSpPr>
              <p:cNvPr id="66" name="Donut 75">
                <a:extLst>
                  <a:ext uri="{FF2B5EF4-FFF2-40B4-BE49-F238E27FC236}">
                    <a16:creationId xmlns:a16="http://schemas.microsoft.com/office/drawing/2014/main" id="{3192C055-B115-46C3-A70B-B4B8834AA5AC}"/>
                  </a:ext>
                </a:extLst>
              </p:cNvPr>
              <p:cNvSpPr/>
              <p:nvPr/>
            </p:nvSpPr>
            <p:spPr>
              <a:xfrm>
                <a:off x="19396668" y="3142631"/>
                <a:ext cx="2931731" cy="2931731"/>
              </a:xfrm>
              <a:prstGeom prst="donut">
                <a:avLst>
                  <a:gd name="adj" fmla="val 7516"/>
                </a:avLst>
              </a:prstGeom>
              <a:gradFill>
                <a:gsLst>
                  <a:gs pos="62567">
                    <a:schemeClr val="accent2"/>
                  </a:gs>
                  <a:gs pos="0">
                    <a:schemeClr val="accent3"/>
                  </a:gs>
                </a:gsLst>
                <a:lin ang="14400000" scaled="0"/>
              </a:gra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4">
                        <a:lumMod val="10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731">
                  <a:solidFill>
                    <a:srgbClr val="5F5F5F"/>
                  </a:solidFill>
                  <a:latin typeface="Tahoma"/>
                </a:endParaRPr>
              </a:p>
            </p:txBody>
          </p:sp>
          <p:sp>
            <p:nvSpPr>
              <p:cNvPr id="67" name="TextBox 76">
                <a:extLst>
                  <a:ext uri="{FF2B5EF4-FFF2-40B4-BE49-F238E27FC236}">
                    <a16:creationId xmlns:a16="http://schemas.microsoft.com/office/drawing/2014/main" id="{D0A8C80C-300B-4437-BEA0-B12D09726032}"/>
                  </a:ext>
                </a:extLst>
              </p:cNvPr>
              <p:cNvSpPr txBox="1"/>
              <p:nvPr/>
            </p:nvSpPr>
            <p:spPr>
              <a:xfrm>
                <a:off x="19977821" y="3870838"/>
                <a:ext cx="2012103" cy="1465995"/>
              </a:xfrm>
              <a:prstGeom prst="rect">
                <a:avLst/>
              </a:prstGeom>
              <a:noFill/>
            </p:spPr>
            <p:txBody>
              <a:bodyPr wrap="none" rtlCol="0">
                <a:spAutoFit/>
              </a:bodyPr>
              <a:lstStyle/>
              <a:p>
                <a:pPr algn="ctr"/>
                <a:r>
                  <a:rPr lang="fr-FR" sz="2194">
                    <a:solidFill>
                      <a:srgbClr val="546B8C">
                        <a:lumMod val="100000"/>
                      </a:srgbClr>
                    </a:solidFill>
                    <a:latin typeface="Tahoma"/>
                    <a:cs typeface="Poppins" pitchFamily="2" charset="77"/>
                  </a:rPr>
                  <a:t>5%</a:t>
                </a:r>
              </a:p>
            </p:txBody>
          </p:sp>
        </p:grpSp>
        <p:cxnSp>
          <p:nvCxnSpPr>
            <p:cNvPr id="68" name="Connecteur droit 67">
              <a:extLst>
                <a:ext uri="{FF2B5EF4-FFF2-40B4-BE49-F238E27FC236}">
                  <a16:creationId xmlns:a16="http://schemas.microsoft.com/office/drawing/2014/main" id="{4A1432A6-9C06-4B35-9538-7D9F4D1F41EE}"/>
                </a:ext>
              </a:extLst>
            </p:cNvPr>
            <p:cNvCxnSpPr/>
            <p:nvPr/>
          </p:nvCxnSpPr>
          <p:spPr>
            <a:xfrm>
              <a:off x="8685445" y="4369113"/>
              <a:ext cx="0" cy="1906331"/>
            </a:xfrm>
            <a:prstGeom prst="line">
              <a:avLst/>
            </a:prstGeom>
            <a:ln w="6350" cap="flat" cmpd="sng" algn="ctr">
              <a:solidFill>
                <a:schemeClr val="bg2">
                  <a:lumMod val="100000"/>
                </a:schemeClr>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12" name="Graphique 11" descr="Famille avec un garçon avec un remplissage uni">
            <a:extLst>
              <a:ext uri="{FF2B5EF4-FFF2-40B4-BE49-F238E27FC236}">
                <a16:creationId xmlns:a16="http://schemas.microsoft.com/office/drawing/2014/main" id="{ACADE469-FFE2-4AEF-B084-020E8B9E910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939378" y="1784843"/>
            <a:ext cx="520729" cy="520729"/>
          </a:xfrm>
          <a:prstGeom prst="rect">
            <a:avLst/>
          </a:prstGeom>
        </p:spPr>
      </p:pic>
      <p:pic>
        <p:nvPicPr>
          <p:cNvPr id="15" name="Graphique 14" descr="Vacances avec un remplissage uni">
            <a:extLst>
              <a:ext uri="{FF2B5EF4-FFF2-40B4-BE49-F238E27FC236}">
                <a16:creationId xmlns:a16="http://schemas.microsoft.com/office/drawing/2014/main" id="{5A2A9503-4D9C-46C8-B2C9-9D17216F3E3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55535" y="2873489"/>
            <a:ext cx="520729" cy="520729"/>
          </a:xfrm>
          <a:prstGeom prst="rect">
            <a:avLst/>
          </a:prstGeom>
        </p:spPr>
      </p:pic>
      <p:pic>
        <p:nvPicPr>
          <p:cNvPr id="17" name="Graphique 16" descr="Dormir avec un remplissage uni">
            <a:extLst>
              <a:ext uri="{FF2B5EF4-FFF2-40B4-BE49-F238E27FC236}">
                <a16:creationId xmlns:a16="http://schemas.microsoft.com/office/drawing/2014/main" id="{AEB5DDBF-2CD5-48A0-957D-A68B9DD13F5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939377" y="2329166"/>
            <a:ext cx="520729" cy="520729"/>
          </a:xfrm>
          <a:prstGeom prst="rect">
            <a:avLst/>
          </a:prstGeom>
        </p:spPr>
      </p:pic>
      <p:pic>
        <p:nvPicPr>
          <p:cNvPr id="19" name="Graphique 18" descr="Yoga avec un remplissage uni">
            <a:extLst>
              <a:ext uri="{FF2B5EF4-FFF2-40B4-BE49-F238E27FC236}">
                <a16:creationId xmlns:a16="http://schemas.microsoft.com/office/drawing/2014/main" id="{791B4DF2-D814-4959-9806-17DF5B91227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470380" y="1891556"/>
            <a:ext cx="520729" cy="520729"/>
          </a:xfrm>
          <a:prstGeom prst="rect">
            <a:avLst/>
          </a:prstGeom>
        </p:spPr>
      </p:pic>
      <p:pic>
        <p:nvPicPr>
          <p:cNvPr id="23" name="Graphique 22" descr="Santé mentale avec un remplissage uni">
            <a:extLst>
              <a:ext uri="{FF2B5EF4-FFF2-40B4-BE49-F238E27FC236}">
                <a16:creationId xmlns:a16="http://schemas.microsoft.com/office/drawing/2014/main" id="{260EC3FF-AD06-4E24-8CA0-D361D4A1AFE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481033" y="2631731"/>
            <a:ext cx="520729" cy="520729"/>
          </a:xfrm>
          <a:prstGeom prst="rect">
            <a:avLst/>
          </a:prstGeom>
        </p:spPr>
      </p:pic>
      <p:pic>
        <p:nvPicPr>
          <p:cNvPr id="27" name="Graphique 26" descr="Vivats avec un remplissage uni">
            <a:extLst>
              <a:ext uri="{FF2B5EF4-FFF2-40B4-BE49-F238E27FC236}">
                <a16:creationId xmlns:a16="http://schemas.microsoft.com/office/drawing/2014/main" id="{73685E19-78BC-46FC-8885-0ED83CA5703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677511" y="1308315"/>
            <a:ext cx="434397" cy="434397"/>
          </a:xfrm>
          <a:prstGeom prst="rect">
            <a:avLst/>
          </a:prstGeom>
        </p:spPr>
      </p:pic>
      <p:sp>
        <p:nvSpPr>
          <p:cNvPr id="69" name="ZoneTexte 68">
            <a:extLst>
              <a:ext uri="{FF2B5EF4-FFF2-40B4-BE49-F238E27FC236}">
                <a16:creationId xmlns:a16="http://schemas.microsoft.com/office/drawing/2014/main" id="{39B41713-9E77-424C-A749-83AEC5CC4E0B}"/>
              </a:ext>
            </a:extLst>
          </p:cNvPr>
          <p:cNvSpPr txBox="1"/>
          <p:nvPr/>
        </p:nvSpPr>
        <p:spPr>
          <a:xfrm>
            <a:off x="2157601" y="1368352"/>
            <a:ext cx="8629532" cy="276999"/>
          </a:xfrm>
          <a:prstGeom prst="rect">
            <a:avLst/>
          </a:prstGeom>
          <a:noFill/>
        </p:spPr>
        <p:txBody>
          <a:bodyPr wrap="square">
            <a:spAutoFit/>
          </a:bodyPr>
          <a:lstStyle/>
          <a:p>
            <a:pPr>
              <a:spcAft>
                <a:spcPts val="300"/>
              </a:spcAft>
              <a:buClr>
                <a:srgbClr val="503078"/>
              </a:buClr>
            </a:pPr>
            <a:r>
              <a:rPr lang="fr-FR" sz="1200" b="1">
                <a:solidFill>
                  <a:srgbClr val="503078"/>
                </a:solidFill>
                <a:latin typeface="Tahoma"/>
              </a:rPr>
              <a:t>68% des aidants considèrent que le répit doit concerner à la fois l’aidant et la personne aidée </a:t>
            </a:r>
          </a:p>
        </p:txBody>
      </p:sp>
      <p:sp>
        <p:nvSpPr>
          <p:cNvPr id="70" name="ZoneTexte 69">
            <a:extLst>
              <a:ext uri="{FF2B5EF4-FFF2-40B4-BE49-F238E27FC236}">
                <a16:creationId xmlns:a16="http://schemas.microsoft.com/office/drawing/2014/main" id="{592758D7-5386-453A-B8D6-74E37BCFF83B}"/>
              </a:ext>
            </a:extLst>
          </p:cNvPr>
          <p:cNvSpPr txBox="1"/>
          <p:nvPr/>
        </p:nvSpPr>
        <p:spPr>
          <a:xfrm>
            <a:off x="2526382" y="1887464"/>
            <a:ext cx="3591086" cy="430887"/>
          </a:xfrm>
          <a:prstGeom prst="rect">
            <a:avLst/>
          </a:prstGeom>
          <a:noFill/>
        </p:spPr>
        <p:txBody>
          <a:bodyPr wrap="square">
            <a:spAutoFit/>
          </a:bodyPr>
          <a:lstStyle/>
          <a:p>
            <a:pPr algn="just"/>
            <a:r>
              <a:rPr lang="fr-FR" sz="1100" b="1">
                <a:solidFill>
                  <a:srgbClr val="B0ADCC">
                    <a:lumMod val="75000"/>
                  </a:srgbClr>
                </a:solidFill>
                <a:latin typeface="Tahoma"/>
              </a:rPr>
              <a:t>55% des aidants </a:t>
            </a:r>
            <a:r>
              <a:rPr lang="fr-FR" sz="1100">
                <a:solidFill>
                  <a:srgbClr val="B0ADCC">
                    <a:lumMod val="75000"/>
                  </a:srgbClr>
                </a:solidFill>
                <a:latin typeface="Tahoma"/>
              </a:rPr>
              <a:t>considèrent le répit comme une occasion de </a:t>
            </a:r>
            <a:r>
              <a:rPr lang="fr-FR" sz="1100" b="1">
                <a:solidFill>
                  <a:srgbClr val="B0ADCC">
                    <a:lumMod val="75000"/>
                  </a:srgbClr>
                </a:solidFill>
                <a:latin typeface="Tahoma"/>
              </a:rPr>
              <a:t>passer du temps en famille </a:t>
            </a:r>
            <a:endParaRPr lang="fr-FR" sz="1100">
              <a:solidFill>
                <a:srgbClr val="B0ADCC">
                  <a:lumMod val="75000"/>
                </a:srgbClr>
              </a:solidFill>
              <a:latin typeface="Tahoma"/>
            </a:endParaRPr>
          </a:p>
        </p:txBody>
      </p:sp>
      <p:sp>
        <p:nvSpPr>
          <p:cNvPr id="71" name="ZoneTexte 70">
            <a:extLst>
              <a:ext uri="{FF2B5EF4-FFF2-40B4-BE49-F238E27FC236}">
                <a16:creationId xmlns:a16="http://schemas.microsoft.com/office/drawing/2014/main" id="{2837FF93-1522-4F6F-9CC2-4C0AF21A9D8C}"/>
              </a:ext>
            </a:extLst>
          </p:cNvPr>
          <p:cNvSpPr txBox="1"/>
          <p:nvPr/>
        </p:nvSpPr>
        <p:spPr>
          <a:xfrm>
            <a:off x="2547839" y="2449408"/>
            <a:ext cx="3941013" cy="430887"/>
          </a:xfrm>
          <a:prstGeom prst="rect">
            <a:avLst/>
          </a:prstGeom>
          <a:noFill/>
        </p:spPr>
        <p:txBody>
          <a:bodyPr wrap="square">
            <a:spAutoFit/>
          </a:bodyPr>
          <a:lstStyle/>
          <a:p>
            <a:r>
              <a:rPr lang="fr-FR" sz="1100" b="1">
                <a:solidFill>
                  <a:srgbClr val="B0ADCC">
                    <a:lumMod val="75000"/>
                  </a:srgbClr>
                </a:solidFill>
                <a:latin typeface="Tahoma"/>
              </a:rPr>
              <a:t>50% des aidants </a:t>
            </a:r>
            <a:r>
              <a:rPr lang="fr-FR" sz="1100">
                <a:solidFill>
                  <a:srgbClr val="B0ADCC">
                    <a:lumMod val="75000"/>
                  </a:srgbClr>
                </a:solidFill>
                <a:latin typeface="Tahoma"/>
              </a:rPr>
              <a:t>souhaitent profiter d’un temps de répit pour </a:t>
            </a:r>
            <a:r>
              <a:rPr lang="fr-FR" sz="1100" b="1">
                <a:solidFill>
                  <a:srgbClr val="B0ADCC">
                    <a:lumMod val="75000"/>
                  </a:srgbClr>
                </a:solidFill>
                <a:latin typeface="Tahoma"/>
              </a:rPr>
              <a:t>partir en week-end ou en vacances </a:t>
            </a:r>
            <a:endParaRPr lang="fr-FR" sz="1100">
              <a:solidFill>
                <a:srgbClr val="B0ADCC">
                  <a:lumMod val="75000"/>
                </a:srgbClr>
              </a:solidFill>
              <a:latin typeface="Tahoma"/>
            </a:endParaRPr>
          </a:p>
        </p:txBody>
      </p:sp>
      <p:sp>
        <p:nvSpPr>
          <p:cNvPr id="72" name="ZoneTexte 71">
            <a:extLst>
              <a:ext uri="{FF2B5EF4-FFF2-40B4-BE49-F238E27FC236}">
                <a16:creationId xmlns:a16="http://schemas.microsoft.com/office/drawing/2014/main" id="{6A95FA75-612A-4C0B-AF4F-9FB603884D65}"/>
              </a:ext>
            </a:extLst>
          </p:cNvPr>
          <p:cNvSpPr txBox="1"/>
          <p:nvPr/>
        </p:nvSpPr>
        <p:spPr>
          <a:xfrm>
            <a:off x="2547837" y="3064674"/>
            <a:ext cx="3344144" cy="261610"/>
          </a:xfrm>
          <a:prstGeom prst="rect">
            <a:avLst/>
          </a:prstGeom>
          <a:noFill/>
        </p:spPr>
        <p:txBody>
          <a:bodyPr wrap="square">
            <a:spAutoFit/>
          </a:bodyPr>
          <a:lstStyle/>
          <a:p>
            <a:pPr>
              <a:spcAft>
                <a:spcPts val="300"/>
              </a:spcAft>
            </a:pPr>
            <a:r>
              <a:rPr lang="fr-FR" sz="1100" b="1">
                <a:solidFill>
                  <a:srgbClr val="B0ADCC">
                    <a:lumMod val="75000"/>
                  </a:srgbClr>
                </a:solidFill>
                <a:latin typeface="Tahoma"/>
              </a:rPr>
              <a:t>48% des aidants </a:t>
            </a:r>
            <a:r>
              <a:rPr lang="fr-FR" sz="1100">
                <a:solidFill>
                  <a:srgbClr val="B0ADCC">
                    <a:lumMod val="75000"/>
                  </a:srgbClr>
                </a:solidFill>
                <a:latin typeface="Tahoma"/>
              </a:rPr>
              <a:t>souhaitent </a:t>
            </a:r>
            <a:r>
              <a:rPr lang="fr-FR" sz="1100" b="1">
                <a:solidFill>
                  <a:srgbClr val="B0ADCC">
                    <a:lumMod val="75000"/>
                  </a:srgbClr>
                </a:solidFill>
                <a:latin typeface="Tahoma"/>
              </a:rPr>
              <a:t>se reposer</a:t>
            </a:r>
          </a:p>
        </p:txBody>
      </p:sp>
      <p:sp>
        <p:nvSpPr>
          <p:cNvPr id="73" name="ZoneTexte 72">
            <a:extLst>
              <a:ext uri="{FF2B5EF4-FFF2-40B4-BE49-F238E27FC236}">
                <a16:creationId xmlns:a16="http://schemas.microsoft.com/office/drawing/2014/main" id="{9A0BADFE-D2A6-4BFB-99DE-A1EDB204F04E}"/>
              </a:ext>
            </a:extLst>
          </p:cNvPr>
          <p:cNvSpPr txBox="1"/>
          <p:nvPr/>
        </p:nvSpPr>
        <p:spPr>
          <a:xfrm>
            <a:off x="7053251" y="1859357"/>
            <a:ext cx="3591086" cy="600164"/>
          </a:xfrm>
          <a:prstGeom prst="rect">
            <a:avLst/>
          </a:prstGeom>
          <a:noFill/>
        </p:spPr>
        <p:txBody>
          <a:bodyPr wrap="square">
            <a:spAutoFit/>
          </a:bodyPr>
          <a:lstStyle/>
          <a:p>
            <a:pPr algn="just"/>
            <a:r>
              <a:rPr lang="fr-FR" sz="1100" b="1">
                <a:solidFill>
                  <a:srgbClr val="B0ADCC">
                    <a:lumMod val="75000"/>
                  </a:srgbClr>
                </a:solidFill>
                <a:latin typeface="Tahoma"/>
              </a:rPr>
              <a:t>30% des aidants </a:t>
            </a:r>
            <a:r>
              <a:rPr lang="fr-FR" sz="1100">
                <a:solidFill>
                  <a:srgbClr val="B0ADCC">
                    <a:lumMod val="75000"/>
                  </a:srgbClr>
                </a:solidFill>
                <a:latin typeface="Tahoma"/>
              </a:rPr>
              <a:t>souhaitent utiliser leur temps de répit pour profiter d’un</a:t>
            </a:r>
            <a:r>
              <a:rPr lang="fr-FR" sz="1100" b="1">
                <a:solidFill>
                  <a:srgbClr val="B0ADCC">
                    <a:lumMod val="75000"/>
                  </a:srgbClr>
                </a:solidFill>
                <a:latin typeface="Tahoma"/>
              </a:rPr>
              <a:t> moment de bien-être </a:t>
            </a:r>
            <a:r>
              <a:rPr lang="fr-FR" sz="1100">
                <a:solidFill>
                  <a:srgbClr val="B0ADCC">
                    <a:lumMod val="75000"/>
                  </a:srgbClr>
                </a:solidFill>
                <a:latin typeface="Tahoma"/>
              </a:rPr>
              <a:t>(relaxation, soins du corps)</a:t>
            </a:r>
          </a:p>
        </p:txBody>
      </p:sp>
      <p:sp>
        <p:nvSpPr>
          <p:cNvPr id="75" name="ZoneTexte 74">
            <a:extLst>
              <a:ext uri="{FF2B5EF4-FFF2-40B4-BE49-F238E27FC236}">
                <a16:creationId xmlns:a16="http://schemas.microsoft.com/office/drawing/2014/main" id="{872F4B1F-8B61-4404-BBDA-575067A0EA13}"/>
              </a:ext>
            </a:extLst>
          </p:cNvPr>
          <p:cNvSpPr txBox="1"/>
          <p:nvPr/>
        </p:nvSpPr>
        <p:spPr>
          <a:xfrm>
            <a:off x="7071047" y="2595621"/>
            <a:ext cx="3707566" cy="600164"/>
          </a:xfrm>
          <a:prstGeom prst="rect">
            <a:avLst/>
          </a:prstGeom>
          <a:noFill/>
        </p:spPr>
        <p:txBody>
          <a:bodyPr wrap="square">
            <a:spAutoFit/>
          </a:bodyPr>
          <a:lstStyle/>
          <a:p>
            <a:pPr algn="just"/>
            <a:r>
              <a:rPr lang="fr-FR" sz="1100" b="1">
                <a:solidFill>
                  <a:srgbClr val="B0ADCC">
                    <a:lumMod val="75000"/>
                  </a:srgbClr>
                </a:solidFill>
                <a:latin typeface="Tahoma"/>
              </a:rPr>
              <a:t>13% </a:t>
            </a:r>
            <a:r>
              <a:rPr lang="fr-FR" sz="1100">
                <a:solidFill>
                  <a:srgbClr val="B0ADCC">
                    <a:lumMod val="75000"/>
                  </a:srgbClr>
                </a:solidFill>
                <a:latin typeface="Tahoma"/>
              </a:rPr>
              <a:t>souhaitent bénéficier </a:t>
            </a:r>
            <a:r>
              <a:rPr lang="fr-FR" sz="1100" b="1">
                <a:solidFill>
                  <a:srgbClr val="B0ADCC">
                    <a:lumMod val="75000"/>
                  </a:srgbClr>
                </a:solidFill>
                <a:latin typeface="Tahoma"/>
              </a:rPr>
              <a:t>d’un accompagnement psychologique ou participer à des groupes de parole </a:t>
            </a:r>
            <a:endParaRPr lang="fr-FR" sz="1100">
              <a:solidFill>
                <a:srgbClr val="B0ADCC">
                  <a:lumMod val="75000"/>
                </a:srgbClr>
              </a:solidFill>
              <a:latin typeface="Tahoma"/>
            </a:endParaRPr>
          </a:p>
        </p:txBody>
      </p:sp>
      <p:sp>
        <p:nvSpPr>
          <p:cNvPr id="78" name="Espace réservé du contenu 6">
            <a:extLst>
              <a:ext uri="{FF2B5EF4-FFF2-40B4-BE49-F238E27FC236}">
                <a16:creationId xmlns:a16="http://schemas.microsoft.com/office/drawing/2014/main" id="{A111C6AC-6F7A-4967-875C-27BF017C59FA}"/>
              </a:ext>
            </a:extLst>
          </p:cNvPr>
          <p:cNvSpPr txBox="1">
            <a:spLocks/>
          </p:cNvSpPr>
          <p:nvPr/>
        </p:nvSpPr>
        <p:spPr>
          <a:xfrm>
            <a:off x="1413387" y="1237727"/>
            <a:ext cx="9412478" cy="2231937"/>
          </a:xfrm>
          <a:prstGeom prst="rect">
            <a:avLst/>
          </a:prstGeom>
          <a:ln>
            <a:solidFill>
              <a:schemeClr val="accent2"/>
            </a:solidFill>
          </a:ln>
        </p:spPr>
        <p:txBody>
          <a:bodyPr vert="horz" lIns="108000" tIns="108000" rIns="108000" bIns="108000" rtlCol="0" anchor="ctr" anchorCtr="0">
            <a:noAutofit/>
          </a:bodyPr>
          <a:lstStyle>
            <a:lvl1pPr marL="0" indent="0" algn="just" defTabSz="742950" rtl="0" eaLnBrk="1" latinLnBrk="0" hangingPunct="1">
              <a:lnSpc>
                <a:spcPct val="100000"/>
              </a:lnSpc>
              <a:spcBef>
                <a:spcPts val="1463"/>
              </a:spcBef>
              <a:buFont typeface="Arial" panose="020B0604020202020204" pitchFamily="34" charset="0"/>
              <a:buNone/>
              <a:tabLst/>
              <a:defRPr sz="1600" i="0" kern="1200" cap="none" baseline="0">
                <a:solidFill>
                  <a:schemeClr val="bg2"/>
                </a:solidFill>
                <a:latin typeface="+mn-lt"/>
                <a:ea typeface="+mn-ea"/>
                <a:cs typeface="+mn-cs"/>
              </a:defRPr>
            </a:lvl1pPr>
            <a:lvl2pPr marL="291505" indent="-291505" algn="just" defTabSz="914400" rtl="0" eaLnBrk="1" latinLnBrk="0" hangingPunct="1">
              <a:lnSpc>
                <a:spcPct val="100000"/>
              </a:lnSpc>
              <a:spcBef>
                <a:spcPts val="1138"/>
              </a:spcBef>
              <a:buClr>
                <a:schemeClr val="bg2"/>
              </a:buClr>
              <a:buFont typeface="Tempus Sans ITC" panose="04020404030D07020202" pitchFamily="82" charset="0"/>
              <a:buChar char="/"/>
              <a:defRPr lang="en-GB" sz="1400" kern="1200" baseline="0" dirty="0">
                <a:solidFill>
                  <a:schemeClr val="tx1"/>
                </a:solidFill>
                <a:latin typeface="+mn-lt"/>
                <a:ea typeface="+mn-ea"/>
                <a:cs typeface="+mn-cs"/>
              </a:defRPr>
            </a:lvl2pPr>
            <a:lvl3pPr marL="292500" indent="0" algn="just" defTabSz="914400" rtl="0" eaLnBrk="1" latinLnBrk="0" hangingPunct="1">
              <a:lnSpc>
                <a:spcPct val="100000"/>
              </a:lnSpc>
              <a:spcBef>
                <a:spcPts val="488"/>
              </a:spcBef>
              <a:buFontTx/>
              <a:buNone/>
              <a:defRPr lang="en-GB" sz="1400" kern="1200" baseline="0" dirty="0">
                <a:solidFill>
                  <a:schemeClr val="tx1"/>
                </a:solidFill>
                <a:latin typeface="+mn-lt"/>
                <a:ea typeface="+mn-ea"/>
                <a:cs typeface="+mn-cs"/>
              </a:defRPr>
            </a:lvl3pPr>
            <a:lvl4pPr marL="526500" indent="-234000" algn="just" defTabSz="742950" rtl="0" eaLnBrk="1" latinLnBrk="0" hangingPunct="1">
              <a:lnSpc>
                <a:spcPct val="100000"/>
              </a:lnSpc>
              <a:spcBef>
                <a:spcPts val="488"/>
              </a:spcBef>
              <a:buClr>
                <a:schemeClr val="bg2"/>
              </a:buClr>
              <a:buFont typeface="Tahoma" panose="020B0604030504040204" pitchFamily="34" charset="0"/>
              <a:buChar char="›"/>
              <a:defRPr lang="en-GB" sz="1200" kern="1200" cap="none" baseline="0" dirty="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en-GB"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en-GB"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en-GB"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en-GB" sz="1000" kern="1200" baseline="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en-GB" sz="1000" kern="1200" baseline="0" noProof="0" dirty="0">
                <a:solidFill>
                  <a:schemeClr val="tx1"/>
                </a:solidFill>
                <a:latin typeface="+mn-lt"/>
                <a:ea typeface="+mn-ea"/>
                <a:cs typeface="+mn-cs"/>
              </a:defRPr>
            </a:lvl9pPr>
          </a:lstStyle>
          <a:p>
            <a:pPr marL="285750" indent="-285750">
              <a:spcBef>
                <a:spcPts val="200"/>
              </a:spcBef>
              <a:buFont typeface="Tahoma" panose="020B0604030504040204" pitchFamily="34" charset="0"/>
              <a:buChar char="⁄"/>
            </a:pPr>
            <a:endParaRPr lang="fr-FR" sz="1000" b="1">
              <a:solidFill>
                <a:srgbClr val="503078"/>
              </a:solidFill>
              <a:latin typeface="Tahoma"/>
            </a:endParaRPr>
          </a:p>
        </p:txBody>
      </p:sp>
      <p:sp>
        <p:nvSpPr>
          <p:cNvPr id="79" name="AutoShape 8">
            <a:extLst>
              <a:ext uri="{FF2B5EF4-FFF2-40B4-BE49-F238E27FC236}">
                <a16:creationId xmlns:a16="http://schemas.microsoft.com/office/drawing/2014/main" id="{307D819C-8ABE-4BD4-B023-BD4BBC427F2B}"/>
              </a:ext>
            </a:extLst>
          </p:cNvPr>
          <p:cNvSpPr>
            <a:spLocks noChangeArrowheads="1"/>
          </p:cNvSpPr>
          <p:nvPr/>
        </p:nvSpPr>
        <p:spPr bwMode="gray">
          <a:xfrm>
            <a:off x="1418655" y="3647884"/>
            <a:ext cx="9397627" cy="230012"/>
          </a:xfrm>
          <a:prstGeom prst="rect">
            <a:avLst/>
          </a:prstGeom>
          <a:solidFill>
            <a:schemeClr val="bg2"/>
          </a:solidFill>
          <a:ln w="19050">
            <a:solidFill>
              <a:schemeClr val="bg2"/>
            </a:solidFill>
            <a:miter lim="800000"/>
            <a:headEnd/>
            <a:tailEnd/>
          </a:ln>
          <a:effectLst/>
        </p:spPr>
        <p:txBody>
          <a:bodyPr lIns="32400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defRPr/>
            </a:pPr>
            <a:r>
              <a:rPr lang="fr-FR" altLang="de-DE" sz="1400" b="1" dirty="0">
                <a:solidFill>
                  <a:srgbClr val="FFFFFF"/>
                </a:solidFill>
                <a:latin typeface="Tahoma"/>
              </a:rPr>
              <a:t>… Mais des difficultés à prendre du temps pour soi</a:t>
            </a:r>
          </a:p>
        </p:txBody>
      </p:sp>
    </p:spTree>
    <p:extLst>
      <p:ext uri="{BB962C8B-B14F-4D97-AF65-F5344CB8AC3E}">
        <p14:creationId xmlns:p14="http://schemas.microsoft.com/office/powerpoint/2010/main" val="307560566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2689997E-763F-41EE-92A2-E8A25B005753}"/>
              </a:ext>
            </a:extLst>
          </p:cNvPr>
          <p:cNvSpPr>
            <a:spLocks noGrp="1"/>
          </p:cNvSpPr>
          <p:nvPr>
            <p:ph type="title"/>
          </p:nvPr>
        </p:nvSpPr>
        <p:spPr/>
        <p:txBody>
          <a:bodyPr/>
          <a:lstStyle/>
          <a:p>
            <a:r>
              <a:rPr lang="fr-FR"/>
              <a:t>Des études d'impact réalisées sur les effets des séjours de vacances</a:t>
            </a:r>
            <a:endParaRPr lang="fr-FR">
              <a:ea typeface="Tahoma"/>
              <a:cs typeface="Tahoma"/>
            </a:endParaRPr>
          </a:p>
        </p:txBody>
      </p:sp>
      <p:sp>
        <p:nvSpPr>
          <p:cNvPr id="3" name="Espace réservé du texte 2">
            <a:extLst>
              <a:ext uri="{FF2B5EF4-FFF2-40B4-BE49-F238E27FC236}">
                <a16:creationId xmlns:a16="http://schemas.microsoft.com/office/drawing/2014/main" id="{120CAE43-622C-4D87-BF98-1721B6F2A21E}"/>
              </a:ext>
            </a:extLst>
          </p:cNvPr>
          <p:cNvSpPr>
            <a:spLocks noGrp="1"/>
          </p:cNvSpPr>
          <p:nvPr>
            <p:ph type="body" sz="quarter" idx="13"/>
          </p:nvPr>
        </p:nvSpPr>
        <p:spPr/>
        <p:txBody>
          <a:bodyPr/>
          <a:lstStyle/>
          <a:p>
            <a:r>
              <a:rPr lang="fr-FR">
                <a:solidFill>
                  <a:srgbClr val="938481"/>
                </a:solidFill>
              </a:rPr>
              <a:t>Dimensionnement des besoins et du marché</a:t>
            </a:r>
          </a:p>
        </p:txBody>
      </p:sp>
      <p:sp>
        <p:nvSpPr>
          <p:cNvPr id="33" name="ZoneTexte 32">
            <a:extLst>
              <a:ext uri="{FF2B5EF4-FFF2-40B4-BE49-F238E27FC236}">
                <a16:creationId xmlns:a16="http://schemas.microsoft.com/office/drawing/2014/main" id="{5A70D49C-71C9-4318-895E-F1C64C46BEF2}"/>
              </a:ext>
            </a:extLst>
          </p:cNvPr>
          <p:cNvSpPr txBox="1"/>
          <p:nvPr/>
        </p:nvSpPr>
        <p:spPr>
          <a:xfrm>
            <a:off x="1389940" y="991309"/>
            <a:ext cx="9445701" cy="430887"/>
          </a:xfrm>
          <a:prstGeom prst="rect">
            <a:avLst/>
          </a:prstGeom>
          <a:solidFill>
            <a:schemeClr val="bg2"/>
          </a:solidFill>
        </p:spPr>
        <p:txBody>
          <a:bodyPr wrap="square" lIns="108000" rIns="108000" rtlCol="0">
            <a:spAutoFit/>
          </a:bodyPr>
          <a:lstStyle/>
          <a:p>
            <a:r>
              <a:rPr lang="fr-FR" sz="1100" b="1">
                <a:solidFill>
                  <a:srgbClr val="FFFFFF"/>
                </a:solidFill>
                <a:latin typeface="Tahoma"/>
              </a:rPr>
              <a:t>Le concept Vacances Répit Famille séduisait en 2009 25% des aidants, qui plébiscitent une formule de séjour d’une semaine sans séparation avec la personne âgée.</a:t>
            </a:r>
            <a:r>
              <a:rPr lang="fr-FR" altLang="de-DE" sz="1100" b="1" kern="0" baseline="30000">
                <a:solidFill>
                  <a:srgbClr val="FFFFFF"/>
                </a:solidFill>
                <a:latin typeface="Tahoma"/>
              </a:rPr>
              <a:t>1</a:t>
            </a:r>
            <a:endParaRPr lang="fr-FR" sz="1100" b="1">
              <a:solidFill>
                <a:srgbClr val="FFFFFF"/>
              </a:solidFill>
              <a:latin typeface="Tahoma"/>
            </a:endParaRPr>
          </a:p>
        </p:txBody>
      </p:sp>
      <p:sp>
        <p:nvSpPr>
          <p:cNvPr id="35" name="ZoneTexte 34">
            <a:extLst>
              <a:ext uri="{FF2B5EF4-FFF2-40B4-BE49-F238E27FC236}">
                <a16:creationId xmlns:a16="http://schemas.microsoft.com/office/drawing/2014/main" id="{85D18FEC-CA32-44A1-B48F-E9F4FD57A6AE}"/>
              </a:ext>
            </a:extLst>
          </p:cNvPr>
          <p:cNvSpPr txBox="1"/>
          <p:nvPr/>
        </p:nvSpPr>
        <p:spPr>
          <a:xfrm>
            <a:off x="1309255" y="6535997"/>
            <a:ext cx="6747670" cy="307777"/>
          </a:xfrm>
          <a:prstGeom prst="rect">
            <a:avLst/>
          </a:prstGeom>
          <a:noFill/>
        </p:spPr>
        <p:txBody>
          <a:bodyPr wrap="square">
            <a:spAutoFit/>
          </a:bodyPr>
          <a:lstStyle/>
          <a:p>
            <a:pPr marL="228600" indent="-228600">
              <a:buFontTx/>
              <a:buAutoNum type="arabicPeriod"/>
            </a:pPr>
            <a:r>
              <a:rPr lang="fr-FR" sz="700">
                <a:solidFill>
                  <a:srgbClr val="5F5F5F">
                    <a:lumMod val="60000"/>
                    <a:lumOff val="40000"/>
                  </a:srgbClr>
                </a:solidFill>
                <a:latin typeface="Tahoma"/>
              </a:rPr>
              <a:t>Enquête nationale sur les besoins et attentes des personnes âgées dépendantes et de leurs proches aidants en matière de relais, 2009, GRATH.</a:t>
            </a:r>
          </a:p>
          <a:p>
            <a:pPr marL="228600" indent="-228600">
              <a:buFontTx/>
              <a:buAutoNum type="arabicPeriod"/>
            </a:pPr>
            <a:r>
              <a:rPr lang="fr-FR" sz="700">
                <a:solidFill>
                  <a:srgbClr val="5F5F5F">
                    <a:lumMod val="60000"/>
                    <a:lumOff val="40000"/>
                  </a:srgbClr>
                </a:solidFill>
                <a:latin typeface="Tahoma"/>
              </a:rPr>
              <a:t>Évaluation des impacts psychosociaux d’un séjour « aidants-aidés » VRF sur les aidants familiaux, 2017, pôle études de l’association Vacances ouvertes</a:t>
            </a:r>
            <a:r>
              <a:rPr lang="fr-FR" sz="700" kern="0">
                <a:solidFill>
                  <a:srgbClr val="5F5F5F"/>
                </a:solidFill>
                <a:latin typeface="Tahoma"/>
              </a:rPr>
              <a:t>.</a:t>
            </a:r>
          </a:p>
        </p:txBody>
      </p:sp>
      <p:sp>
        <p:nvSpPr>
          <p:cNvPr id="56" name="Rectangle 55">
            <a:extLst>
              <a:ext uri="{FF2B5EF4-FFF2-40B4-BE49-F238E27FC236}">
                <a16:creationId xmlns:a16="http://schemas.microsoft.com/office/drawing/2014/main" id="{E16766B7-0ED2-421A-B99E-3E82688D9F8C}"/>
              </a:ext>
            </a:extLst>
          </p:cNvPr>
          <p:cNvSpPr/>
          <p:nvPr/>
        </p:nvSpPr>
        <p:spPr>
          <a:xfrm>
            <a:off x="1389940" y="1717515"/>
            <a:ext cx="9445701" cy="2129845"/>
          </a:xfrm>
          <a:prstGeom prst="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endParaRPr lang="fr-FR">
              <a:solidFill>
                <a:srgbClr val="503078"/>
              </a:solidFill>
              <a:latin typeface="Tahoma"/>
            </a:endParaRPr>
          </a:p>
        </p:txBody>
      </p:sp>
      <p:sp>
        <p:nvSpPr>
          <p:cNvPr id="57" name="Rectangle 56">
            <a:extLst>
              <a:ext uri="{FF2B5EF4-FFF2-40B4-BE49-F238E27FC236}">
                <a16:creationId xmlns:a16="http://schemas.microsoft.com/office/drawing/2014/main" id="{6C2EB0C2-A375-4B29-8C0C-96BD94046467}"/>
              </a:ext>
            </a:extLst>
          </p:cNvPr>
          <p:cNvSpPr/>
          <p:nvPr/>
        </p:nvSpPr>
        <p:spPr>
          <a:xfrm>
            <a:off x="2086837" y="1519263"/>
            <a:ext cx="3046273" cy="3520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r>
              <a:rPr lang="fr-FR" sz="1400" b="1">
                <a:solidFill>
                  <a:srgbClr val="503078"/>
                </a:solidFill>
                <a:latin typeface="Tahoma"/>
              </a:rPr>
              <a:t>      Plus particulièrement</a:t>
            </a:r>
          </a:p>
        </p:txBody>
      </p:sp>
      <p:sp>
        <p:nvSpPr>
          <p:cNvPr id="58" name="Rectangle 57">
            <a:extLst>
              <a:ext uri="{FF2B5EF4-FFF2-40B4-BE49-F238E27FC236}">
                <a16:creationId xmlns:a16="http://schemas.microsoft.com/office/drawing/2014/main" id="{AABC948C-5FF6-4ABA-AF86-AF54EA08BED9}"/>
              </a:ext>
            </a:extLst>
          </p:cNvPr>
          <p:cNvSpPr/>
          <p:nvPr/>
        </p:nvSpPr>
        <p:spPr>
          <a:xfrm>
            <a:off x="1389939" y="1814210"/>
            <a:ext cx="9412122" cy="1826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marL="285750" indent="-285750" algn="just">
              <a:buFont typeface="Arial" panose="020B0604020202020204" pitchFamily="34" charset="0"/>
              <a:buChar char="•"/>
              <a:defRPr/>
            </a:pPr>
            <a:r>
              <a:rPr lang="fr-FR" sz="1050" b="1">
                <a:solidFill>
                  <a:srgbClr val="5F5F5F"/>
                </a:solidFill>
                <a:latin typeface="Tahoma"/>
              </a:rPr>
              <a:t>Les aidants déclarant avoir besoin d’aide (35%)</a:t>
            </a:r>
          </a:p>
          <a:p>
            <a:pPr marL="285750" indent="-285750" algn="just">
              <a:buFont typeface="Arial" panose="020B0604020202020204" pitchFamily="34" charset="0"/>
              <a:buChar char="•"/>
              <a:defRPr/>
            </a:pPr>
            <a:r>
              <a:rPr lang="fr-FR" sz="1050" b="1">
                <a:solidFill>
                  <a:srgbClr val="5F5F5F"/>
                </a:solidFill>
                <a:latin typeface="Tahoma"/>
              </a:rPr>
              <a:t>Les aidants de moins de 40 ans (38%)</a:t>
            </a:r>
          </a:p>
          <a:p>
            <a:pPr algn="just">
              <a:defRPr/>
            </a:pPr>
            <a:r>
              <a:rPr lang="fr-FR" sz="1050">
                <a:solidFill>
                  <a:srgbClr val="5F5F5F"/>
                </a:solidFill>
                <a:latin typeface="Tahoma"/>
              </a:rPr>
              <a:t>Un écart de génération apparaît ici puisqu'à contrario,</a:t>
            </a:r>
            <a:r>
              <a:rPr lang="fr-FR" sz="1050" b="1">
                <a:solidFill>
                  <a:srgbClr val="5F5F5F"/>
                </a:solidFill>
                <a:latin typeface="Tahoma"/>
              </a:rPr>
              <a:t> 80% des aidants de 55 ans et plus ne sont pas intéressés </a:t>
            </a:r>
            <a:r>
              <a:rPr lang="fr-FR" sz="1050">
                <a:solidFill>
                  <a:srgbClr val="5F5F5F"/>
                </a:solidFill>
                <a:latin typeface="Tahoma"/>
              </a:rPr>
              <a:t>par ce type d’offre.</a:t>
            </a:r>
          </a:p>
          <a:p>
            <a:pPr marL="285750" indent="-285750" algn="just">
              <a:buFont typeface="Arial" panose="020B0604020202020204" pitchFamily="34" charset="0"/>
              <a:buChar char="•"/>
              <a:defRPr/>
            </a:pPr>
            <a:endParaRPr lang="fr-FR" sz="1050" b="1">
              <a:solidFill>
                <a:srgbClr val="503078"/>
              </a:solidFill>
              <a:latin typeface="Tahoma"/>
            </a:endParaRPr>
          </a:p>
          <a:p>
            <a:pPr algn="just">
              <a:defRPr/>
            </a:pPr>
            <a:r>
              <a:rPr lang="fr-FR" sz="1050" b="1">
                <a:solidFill>
                  <a:srgbClr val="5F5F5F"/>
                </a:solidFill>
                <a:latin typeface="Tahoma"/>
              </a:rPr>
              <a:t>Les séjours de courte durée </a:t>
            </a:r>
            <a:r>
              <a:rPr lang="fr-FR" sz="1050">
                <a:solidFill>
                  <a:srgbClr val="5F5F5F"/>
                </a:solidFill>
                <a:latin typeface="Tahoma"/>
              </a:rPr>
              <a:t>paraissent les plus attractifs pour les aidants n’étant jamais partis en vacances depuis l’apparition de la dépendance de leur proche : </a:t>
            </a:r>
          </a:p>
          <a:p>
            <a:pPr marL="285750" indent="-285750" algn="just">
              <a:buFont typeface="Arial" panose="020B0604020202020204" pitchFamily="34" charset="0"/>
              <a:buChar char="•"/>
              <a:defRPr/>
            </a:pPr>
            <a:r>
              <a:rPr lang="fr-FR" sz="1050" b="1">
                <a:solidFill>
                  <a:srgbClr val="5F5F5F"/>
                </a:solidFill>
                <a:latin typeface="Tahoma"/>
              </a:rPr>
              <a:t>58% </a:t>
            </a:r>
            <a:r>
              <a:rPr lang="fr-FR" sz="1050">
                <a:solidFill>
                  <a:srgbClr val="5F5F5F"/>
                </a:solidFill>
                <a:latin typeface="Tahoma"/>
              </a:rPr>
              <a:t>des personnes intéressées</a:t>
            </a:r>
            <a:r>
              <a:rPr lang="fr-FR" sz="1050" b="1">
                <a:solidFill>
                  <a:srgbClr val="5F5F5F"/>
                </a:solidFill>
                <a:latin typeface="Tahoma"/>
              </a:rPr>
              <a:t> déclarent qu’elles partiraient pour une durée d’une semaine</a:t>
            </a:r>
          </a:p>
          <a:p>
            <a:pPr marL="285750" indent="-285750" algn="just">
              <a:buFont typeface="Arial" panose="020B0604020202020204" pitchFamily="34" charset="0"/>
              <a:buChar char="•"/>
              <a:defRPr/>
            </a:pPr>
            <a:r>
              <a:rPr lang="fr-FR" sz="1050" b="1">
                <a:solidFill>
                  <a:srgbClr val="5F5F5F"/>
                </a:solidFill>
                <a:latin typeface="Tahoma"/>
              </a:rPr>
              <a:t>10% le temps d’un week-end. </a:t>
            </a:r>
          </a:p>
          <a:p>
            <a:pPr marL="285750" indent="-285750" algn="just">
              <a:buFont typeface="Arial" panose="020B0604020202020204" pitchFamily="34" charset="0"/>
              <a:buChar char="•"/>
              <a:defRPr/>
            </a:pPr>
            <a:r>
              <a:rPr lang="fr-FR" sz="1050" b="1">
                <a:solidFill>
                  <a:srgbClr val="5F5F5F"/>
                </a:solidFill>
                <a:latin typeface="Tahoma"/>
              </a:rPr>
              <a:t>23% envisage un séjour de deux semaines.</a:t>
            </a:r>
          </a:p>
          <a:p>
            <a:pPr algn="just">
              <a:defRPr/>
            </a:pPr>
            <a:endParaRPr lang="fr-FR" sz="1050" b="1">
              <a:solidFill>
                <a:srgbClr val="5F5F5F"/>
              </a:solidFill>
              <a:latin typeface="Tahoma"/>
            </a:endParaRPr>
          </a:p>
          <a:p>
            <a:pPr algn="just">
              <a:defRPr/>
            </a:pPr>
            <a:r>
              <a:rPr lang="fr-FR" sz="1050" b="1">
                <a:solidFill>
                  <a:srgbClr val="5F5F5F"/>
                </a:solidFill>
                <a:latin typeface="Tahoma"/>
              </a:rPr>
              <a:t>Quel que soit le niveau et le type de dépendance, une majorité de ces aidants souhaitent habiter dans le village de vacances, sans séparation avec la personne âgée (67%). </a:t>
            </a:r>
          </a:p>
        </p:txBody>
      </p:sp>
      <p:pic>
        <p:nvPicPr>
          <p:cNvPr id="62" name="Graphique 61" descr="Ampoule et engrenage">
            <a:extLst>
              <a:ext uri="{FF2B5EF4-FFF2-40B4-BE49-F238E27FC236}">
                <a16:creationId xmlns:a16="http://schemas.microsoft.com/office/drawing/2014/main" id="{49D4AC6D-F7F9-4E99-A4A8-F58E25E34FD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61598" y="1456410"/>
            <a:ext cx="413739" cy="413739"/>
          </a:xfrm>
          <a:prstGeom prst="rect">
            <a:avLst/>
          </a:prstGeom>
        </p:spPr>
      </p:pic>
      <p:sp>
        <p:nvSpPr>
          <p:cNvPr id="67" name="ZoneTexte 66">
            <a:extLst>
              <a:ext uri="{FF2B5EF4-FFF2-40B4-BE49-F238E27FC236}">
                <a16:creationId xmlns:a16="http://schemas.microsoft.com/office/drawing/2014/main" id="{51F1F629-78F8-4568-99F7-0F19D39E5653}"/>
              </a:ext>
            </a:extLst>
          </p:cNvPr>
          <p:cNvSpPr txBox="1"/>
          <p:nvPr/>
        </p:nvSpPr>
        <p:spPr>
          <a:xfrm>
            <a:off x="1577439" y="3949233"/>
            <a:ext cx="3118215" cy="266347"/>
          </a:xfrm>
          <a:prstGeom prst="rect">
            <a:avLst/>
          </a:prstGeom>
          <a:solidFill>
            <a:schemeClr val="accent6"/>
          </a:solidFill>
        </p:spPr>
        <p:txBody>
          <a:bodyPr wrap="square" lIns="108000" rIns="108000" rtlCol="0">
            <a:spAutoFit/>
          </a:bodyPr>
          <a:lstStyle/>
          <a:p>
            <a:r>
              <a:rPr lang="fr-FR" sz="1100" b="1">
                <a:solidFill>
                  <a:srgbClr val="FFFFFF"/>
                </a:solidFill>
                <a:latin typeface="Tahoma"/>
              </a:rPr>
              <a:t>Effet des vacances</a:t>
            </a:r>
          </a:p>
        </p:txBody>
      </p:sp>
      <p:sp>
        <p:nvSpPr>
          <p:cNvPr id="69" name="ZoneTexte 68">
            <a:extLst>
              <a:ext uri="{FF2B5EF4-FFF2-40B4-BE49-F238E27FC236}">
                <a16:creationId xmlns:a16="http://schemas.microsoft.com/office/drawing/2014/main" id="{78C08B3E-B6A9-4031-9D08-0CA7302EE66D}"/>
              </a:ext>
            </a:extLst>
          </p:cNvPr>
          <p:cNvSpPr txBox="1"/>
          <p:nvPr/>
        </p:nvSpPr>
        <p:spPr>
          <a:xfrm>
            <a:off x="1389939" y="4275696"/>
            <a:ext cx="3305714" cy="2092881"/>
          </a:xfrm>
          <a:prstGeom prst="rect">
            <a:avLst/>
          </a:prstGeom>
          <a:solidFill>
            <a:srgbClr val="E8FCFE"/>
          </a:solidFill>
        </p:spPr>
        <p:txBody>
          <a:bodyPr wrap="square" lIns="108000" rIns="108000" rtlCol="0">
            <a:spAutoFit/>
          </a:bodyPr>
          <a:lstStyle/>
          <a:p>
            <a:pPr algn="just"/>
            <a:r>
              <a:rPr lang="fr-FR" sz="1000">
                <a:solidFill>
                  <a:srgbClr val="5F5F5F"/>
                </a:solidFill>
                <a:latin typeface="Tahoma"/>
              </a:rPr>
              <a:t>Indépendamment du format du séjour (VRF ou « classique »), partir en vacances susciterait chez les vacanciers : </a:t>
            </a:r>
          </a:p>
          <a:p>
            <a:pPr marL="171450" indent="-171450" algn="just">
              <a:buFont typeface="Arial" panose="020B0604020202020204" pitchFamily="34" charset="0"/>
              <a:buChar char="•"/>
            </a:pPr>
            <a:r>
              <a:rPr lang="fr-FR" sz="1000" b="1">
                <a:solidFill>
                  <a:srgbClr val="5F5F5F"/>
                </a:solidFill>
                <a:latin typeface="Tahoma"/>
              </a:rPr>
              <a:t>Une plus grande facilité </a:t>
            </a:r>
            <a:r>
              <a:rPr lang="fr-FR" sz="1000">
                <a:solidFill>
                  <a:srgbClr val="5F5F5F"/>
                </a:solidFill>
                <a:latin typeface="Tahoma"/>
              </a:rPr>
              <a:t>à se projeter dans l’avenir et à envisager d’autres projets </a:t>
            </a:r>
          </a:p>
          <a:p>
            <a:pPr marL="171450" indent="-171450" algn="just">
              <a:buFont typeface="Arial" panose="020B0604020202020204" pitchFamily="34" charset="0"/>
              <a:buChar char="•"/>
            </a:pPr>
            <a:r>
              <a:rPr lang="fr-FR" sz="1000" b="1">
                <a:solidFill>
                  <a:srgbClr val="5F5F5F"/>
                </a:solidFill>
                <a:latin typeface="Tahoma"/>
              </a:rPr>
              <a:t>Une envie de renouveler l’expérience </a:t>
            </a:r>
            <a:r>
              <a:rPr lang="fr-FR" sz="1000">
                <a:solidFill>
                  <a:srgbClr val="5F5F5F"/>
                </a:solidFill>
                <a:latin typeface="Tahoma"/>
              </a:rPr>
              <a:t>vacancière (souvent sous un format plus long)</a:t>
            </a:r>
          </a:p>
          <a:p>
            <a:pPr marL="171450" indent="-171450" algn="just">
              <a:buFont typeface="Arial" panose="020B0604020202020204" pitchFamily="34" charset="0"/>
              <a:buChar char="•"/>
            </a:pPr>
            <a:r>
              <a:rPr lang="fr-FR" sz="1000" b="1">
                <a:solidFill>
                  <a:srgbClr val="5F5F5F"/>
                </a:solidFill>
                <a:latin typeface="Tahoma"/>
              </a:rPr>
              <a:t>Des changements positifs </a:t>
            </a:r>
            <a:r>
              <a:rPr lang="fr-FR" sz="1000">
                <a:solidFill>
                  <a:srgbClr val="5F5F5F"/>
                </a:solidFill>
                <a:latin typeface="Tahoma"/>
              </a:rPr>
              <a:t>: sentiment de pouvoir prendre des vacances / du temps pour soi, meilleure compréhension du vécu du proche, recours au relayage, sentiment de reconnaissance du travail d’aidant, meilleur accompagnement physique du proche…</a:t>
            </a:r>
          </a:p>
        </p:txBody>
      </p:sp>
      <p:sp>
        <p:nvSpPr>
          <p:cNvPr id="71" name="ZoneTexte 70">
            <a:extLst>
              <a:ext uri="{FF2B5EF4-FFF2-40B4-BE49-F238E27FC236}">
                <a16:creationId xmlns:a16="http://schemas.microsoft.com/office/drawing/2014/main" id="{B2C05D47-8C3D-43C1-A70D-C1B747B87B04}"/>
              </a:ext>
            </a:extLst>
          </p:cNvPr>
          <p:cNvSpPr txBox="1"/>
          <p:nvPr/>
        </p:nvSpPr>
        <p:spPr>
          <a:xfrm>
            <a:off x="4806534" y="3949233"/>
            <a:ext cx="3405604" cy="261610"/>
          </a:xfrm>
          <a:prstGeom prst="rect">
            <a:avLst/>
          </a:prstGeom>
          <a:solidFill>
            <a:schemeClr val="accent6"/>
          </a:solidFill>
        </p:spPr>
        <p:txBody>
          <a:bodyPr wrap="square" lIns="108000" rIns="108000" rtlCol="0">
            <a:spAutoFit/>
          </a:bodyPr>
          <a:lstStyle/>
          <a:p>
            <a:r>
              <a:rPr lang="fr-FR" sz="1100" b="1">
                <a:solidFill>
                  <a:srgbClr val="FFFFFF"/>
                </a:solidFill>
                <a:latin typeface="Tahoma"/>
              </a:rPr>
              <a:t>Effet des vacances sur le poids du fardeau</a:t>
            </a:r>
          </a:p>
        </p:txBody>
      </p:sp>
      <p:sp>
        <p:nvSpPr>
          <p:cNvPr id="72" name="ZoneTexte 71">
            <a:extLst>
              <a:ext uri="{FF2B5EF4-FFF2-40B4-BE49-F238E27FC236}">
                <a16:creationId xmlns:a16="http://schemas.microsoft.com/office/drawing/2014/main" id="{092C886F-3BA8-4493-BB2F-4070AFF83EAF}"/>
              </a:ext>
            </a:extLst>
          </p:cNvPr>
          <p:cNvSpPr txBox="1"/>
          <p:nvPr/>
        </p:nvSpPr>
        <p:spPr>
          <a:xfrm>
            <a:off x="4806535" y="4282358"/>
            <a:ext cx="3405604" cy="2092881"/>
          </a:xfrm>
          <a:prstGeom prst="rect">
            <a:avLst/>
          </a:prstGeom>
          <a:solidFill>
            <a:srgbClr val="E8FCFE"/>
          </a:solidFill>
        </p:spPr>
        <p:txBody>
          <a:bodyPr wrap="square" lIns="108000" rIns="108000" rtlCol="0">
            <a:spAutoFit/>
          </a:bodyPr>
          <a:lstStyle/>
          <a:p>
            <a:pPr marL="171450" indent="-171450" algn="just">
              <a:buFont typeface="Arial" panose="020B0604020202020204" pitchFamily="34" charset="0"/>
              <a:buChar char="•"/>
            </a:pPr>
            <a:r>
              <a:rPr lang="fr-FR" sz="1000" b="1">
                <a:solidFill>
                  <a:srgbClr val="5F5F5F"/>
                </a:solidFill>
                <a:latin typeface="Tahoma"/>
              </a:rPr>
              <a:t>La charge ressentie par l’aidant est plus faible pour ceux partis en vacances</a:t>
            </a:r>
            <a:endParaRPr lang="fr-FR" sz="1000">
              <a:solidFill>
                <a:srgbClr val="5F5F5F"/>
              </a:solidFill>
              <a:latin typeface="Tahoma"/>
            </a:endParaRPr>
          </a:p>
          <a:p>
            <a:pPr marL="171450" indent="-171450" algn="just">
              <a:buFont typeface="Arial" panose="020B0604020202020204" pitchFamily="34" charset="0"/>
              <a:buChar char="•"/>
            </a:pPr>
            <a:r>
              <a:rPr lang="fr-FR" sz="1000" b="1">
                <a:solidFill>
                  <a:srgbClr val="5F5F5F"/>
                </a:solidFill>
                <a:latin typeface="Tahoma"/>
              </a:rPr>
              <a:t>Les vacances diminuent le sentiment de perte de contrôle </a:t>
            </a:r>
            <a:r>
              <a:rPr lang="fr-FR" sz="1000">
                <a:solidFill>
                  <a:srgbClr val="5F5F5F"/>
                </a:solidFill>
                <a:latin typeface="Tahoma"/>
              </a:rPr>
              <a:t>depuis la maladie du proche, de devoir en faire plus pour le proche et la tension ressentie en présence du proche </a:t>
            </a:r>
          </a:p>
          <a:p>
            <a:pPr marL="171450" indent="-171450" algn="just">
              <a:buFont typeface="Arial" panose="020B0604020202020204" pitchFamily="34" charset="0"/>
              <a:buChar char="•"/>
            </a:pPr>
            <a:r>
              <a:rPr lang="fr-FR" sz="1000">
                <a:solidFill>
                  <a:srgbClr val="5F5F5F"/>
                </a:solidFill>
                <a:latin typeface="Tahoma"/>
              </a:rPr>
              <a:t>Le séjour VRF </a:t>
            </a:r>
            <a:r>
              <a:rPr lang="fr-FR" sz="1000" b="1">
                <a:solidFill>
                  <a:srgbClr val="5F5F5F"/>
                </a:solidFill>
                <a:latin typeface="Tahoma"/>
              </a:rPr>
              <a:t>diminue le souhait de laisser le soin de son proche à quelqu’un d’autre</a:t>
            </a:r>
            <a:r>
              <a:rPr lang="fr-FR" sz="1000">
                <a:solidFill>
                  <a:srgbClr val="5F5F5F"/>
                </a:solidFill>
                <a:latin typeface="Tahoma"/>
              </a:rPr>
              <a:t>, le sentiment de ne plus savoir quoi faire de et de pouvoir donner de meilleurs soins à son proche</a:t>
            </a:r>
          </a:p>
          <a:p>
            <a:pPr marL="171450" indent="-171450" algn="just">
              <a:buFont typeface="Arial" panose="020B0604020202020204" pitchFamily="34" charset="0"/>
              <a:buChar char="•"/>
            </a:pPr>
            <a:r>
              <a:rPr lang="fr-FR" sz="1000" b="1">
                <a:solidFill>
                  <a:srgbClr val="5F5F5F"/>
                </a:solidFill>
                <a:latin typeface="Tahoma"/>
              </a:rPr>
              <a:t>Le séjour VRF permet de mieux vivre la situation d’aidant </a:t>
            </a:r>
            <a:r>
              <a:rPr lang="fr-FR" sz="1000">
                <a:solidFill>
                  <a:srgbClr val="5F5F5F"/>
                </a:solidFill>
                <a:latin typeface="Tahoma"/>
              </a:rPr>
              <a:t>(estime de soi, conscience du travail réalisé en tant qu’aidant…)</a:t>
            </a:r>
          </a:p>
        </p:txBody>
      </p:sp>
      <p:sp>
        <p:nvSpPr>
          <p:cNvPr id="73" name="ZoneTexte 72">
            <a:extLst>
              <a:ext uri="{FF2B5EF4-FFF2-40B4-BE49-F238E27FC236}">
                <a16:creationId xmlns:a16="http://schemas.microsoft.com/office/drawing/2014/main" id="{EDCBF3CD-94DD-43A1-B813-81A46BC9612C}"/>
              </a:ext>
            </a:extLst>
          </p:cNvPr>
          <p:cNvSpPr txBox="1">
            <a:spLocks/>
          </p:cNvSpPr>
          <p:nvPr/>
        </p:nvSpPr>
        <p:spPr>
          <a:xfrm>
            <a:off x="8323020" y="3944054"/>
            <a:ext cx="2512620" cy="261610"/>
          </a:xfrm>
          <a:prstGeom prst="rect">
            <a:avLst/>
          </a:prstGeom>
          <a:solidFill>
            <a:schemeClr val="accent6"/>
          </a:solidFill>
        </p:spPr>
        <p:txBody>
          <a:bodyPr wrap="square" lIns="108000" rIns="108000" rtlCol="0">
            <a:spAutoFit/>
          </a:bodyPr>
          <a:lstStyle/>
          <a:p>
            <a:r>
              <a:rPr lang="fr-FR" sz="1100" b="1">
                <a:solidFill>
                  <a:srgbClr val="FFFFFF"/>
                </a:solidFill>
                <a:latin typeface="Tahoma"/>
              </a:rPr>
              <a:t>1 an après le séjour VRF</a:t>
            </a:r>
            <a:r>
              <a:rPr lang="fr-FR" altLang="de-DE" sz="1100" b="1" kern="0" baseline="30000">
                <a:solidFill>
                  <a:srgbClr val="FFFFFF"/>
                </a:solidFill>
                <a:latin typeface="Tahoma"/>
              </a:rPr>
              <a:t> 2</a:t>
            </a:r>
            <a:endParaRPr lang="fr-FR" sz="1100" b="1">
              <a:solidFill>
                <a:srgbClr val="FFFFFF"/>
              </a:solidFill>
              <a:latin typeface="Tahoma"/>
            </a:endParaRPr>
          </a:p>
        </p:txBody>
      </p:sp>
      <p:sp>
        <p:nvSpPr>
          <p:cNvPr id="74" name="ZoneTexte 73">
            <a:extLst>
              <a:ext uri="{FF2B5EF4-FFF2-40B4-BE49-F238E27FC236}">
                <a16:creationId xmlns:a16="http://schemas.microsoft.com/office/drawing/2014/main" id="{0006DCF3-51D7-4ACB-992A-35C8E2BE3FBA}"/>
              </a:ext>
            </a:extLst>
          </p:cNvPr>
          <p:cNvSpPr txBox="1"/>
          <p:nvPr/>
        </p:nvSpPr>
        <p:spPr>
          <a:xfrm>
            <a:off x="8323020" y="4282358"/>
            <a:ext cx="2512620" cy="2092881"/>
          </a:xfrm>
          <a:prstGeom prst="rect">
            <a:avLst/>
          </a:prstGeom>
          <a:solidFill>
            <a:srgbClr val="E8FCFE"/>
          </a:solidFill>
        </p:spPr>
        <p:txBody>
          <a:bodyPr wrap="square" lIns="108000" rIns="108000" rtlCol="0">
            <a:spAutoFit/>
          </a:bodyPr>
          <a:lstStyle/>
          <a:p>
            <a:pPr marL="171450" indent="-171450" algn="just">
              <a:buFont typeface="Arial" panose="020B0604020202020204" pitchFamily="34" charset="0"/>
              <a:buChar char="•"/>
            </a:pPr>
            <a:r>
              <a:rPr lang="fr-FR" sz="1000">
                <a:solidFill>
                  <a:srgbClr val="5F5F5F"/>
                </a:solidFill>
                <a:latin typeface="Tahoma"/>
              </a:rPr>
              <a:t>Dynamique vacancière : </a:t>
            </a:r>
            <a:r>
              <a:rPr lang="fr-FR" sz="1000" b="1">
                <a:solidFill>
                  <a:srgbClr val="5F5F5F"/>
                </a:solidFill>
                <a:latin typeface="Tahoma"/>
              </a:rPr>
              <a:t>58% des aidants sont repartis en weekend ou vacances </a:t>
            </a:r>
            <a:r>
              <a:rPr lang="fr-FR" sz="1000">
                <a:solidFill>
                  <a:srgbClr val="5F5F5F"/>
                </a:solidFill>
                <a:latin typeface="Tahoma"/>
              </a:rPr>
              <a:t>dont 8% avec VRF</a:t>
            </a:r>
          </a:p>
          <a:p>
            <a:pPr marL="171450" indent="-171450" algn="just">
              <a:buFont typeface="Arial" panose="020B0604020202020204" pitchFamily="34" charset="0"/>
              <a:buChar char="•"/>
            </a:pPr>
            <a:r>
              <a:rPr lang="fr-FR" sz="1000">
                <a:solidFill>
                  <a:srgbClr val="5F5F5F"/>
                </a:solidFill>
                <a:latin typeface="Tahoma"/>
              </a:rPr>
              <a:t>L’état de santé de l’aidant (physique/mental) : </a:t>
            </a:r>
            <a:r>
              <a:rPr lang="fr-FR" sz="1000" b="1">
                <a:solidFill>
                  <a:srgbClr val="5F5F5F"/>
                </a:solidFill>
                <a:latin typeface="Tahoma"/>
              </a:rPr>
              <a:t>régression de la forme pour 1/3 et amélioration pour 1/3</a:t>
            </a:r>
          </a:p>
          <a:p>
            <a:pPr marL="171450" indent="-171450" algn="just">
              <a:buFont typeface="Arial" panose="020B0604020202020204" pitchFamily="34" charset="0"/>
              <a:buChar char="•"/>
            </a:pPr>
            <a:r>
              <a:rPr lang="fr-FR" sz="1000">
                <a:solidFill>
                  <a:srgbClr val="5F5F5F"/>
                </a:solidFill>
                <a:latin typeface="Tahoma"/>
              </a:rPr>
              <a:t>Les </a:t>
            </a:r>
            <a:r>
              <a:rPr lang="fr-FR" sz="1000" b="1">
                <a:solidFill>
                  <a:srgbClr val="5F5F5F"/>
                </a:solidFill>
                <a:latin typeface="Tahoma"/>
              </a:rPr>
              <a:t>changements dans le quotidien </a:t>
            </a:r>
            <a:r>
              <a:rPr lang="fr-FR" sz="1000">
                <a:solidFill>
                  <a:srgbClr val="5F5F5F"/>
                </a:solidFill>
                <a:latin typeface="Tahoma"/>
              </a:rPr>
              <a:t>: temps de relaxation et passe-temps sans s’inquiéter de son proche, sentiment de pouvoir prendre des vacances, vie sociale et sorties, prise de temps pour soi…</a:t>
            </a:r>
          </a:p>
        </p:txBody>
      </p:sp>
      <p:sp>
        <p:nvSpPr>
          <p:cNvPr id="75" name="ZoneTexte 74">
            <a:extLst>
              <a:ext uri="{FF2B5EF4-FFF2-40B4-BE49-F238E27FC236}">
                <a16:creationId xmlns:a16="http://schemas.microsoft.com/office/drawing/2014/main" id="{88ED1416-977E-413D-B02E-456DE0CC2830}"/>
              </a:ext>
            </a:extLst>
          </p:cNvPr>
          <p:cNvSpPr txBox="1">
            <a:spLocks/>
          </p:cNvSpPr>
          <p:nvPr/>
        </p:nvSpPr>
        <p:spPr>
          <a:xfrm>
            <a:off x="1389940" y="3944496"/>
            <a:ext cx="3229232" cy="271084"/>
          </a:xfrm>
          <a:prstGeom prst="rect">
            <a:avLst/>
          </a:prstGeom>
          <a:solidFill>
            <a:schemeClr val="accent6"/>
          </a:solidFill>
        </p:spPr>
        <p:txBody>
          <a:bodyPr wrap="square" lIns="108000" rIns="108000" rtlCol="0">
            <a:spAutoFit/>
          </a:bodyPr>
          <a:lstStyle/>
          <a:p>
            <a:r>
              <a:rPr lang="fr-FR" sz="1100" b="1">
                <a:solidFill>
                  <a:srgbClr val="FFFFFF"/>
                </a:solidFill>
                <a:latin typeface="Tahoma"/>
              </a:rPr>
              <a:t>Effet des vacances</a:t>
            </a:r>
            <a:r>
              <a:rPr lang="fr-FR" altLang="de-DE" sz="1100" b="1" kern="0" baseline="30000">
                <a:solidFill>
                  <a:srgbClr val="FFFFFF"/>
                </a:solidFill>
                <a:latin typeface="Tahoma"/>
              </a:rPr>
              <a:t> 2</a:t>
            </a:r>
            <a:endParaRPr lang="fr-FR" sz="1100" b="1">
              <a:solidFill>
                <a:srgbClr val="FFFFFF"/>
              </a:solidFill>
              <a:latin typeface="Tahoma"/>
            </a:endParaRPr>
          </a:p>
        </p:txBody>
      </p:sp>
      <p:sp>
        <p:nvSpPr>
          <p:cNvPr id="76" name="ZoneTexte 75">
            <a:extLst>
              <a:ext uri="{FF2B5EF4-FFF2-40B4-BE49-F238E27FC236}">
                <a16:creationId xmlns:a16="http://schemas.microsoft.com/office/drawing/2014/main" id="{BBB505BD-D64E-4EB3-9E2B-E0CC55817D34}"/>
              </a:ext>
            </a:extLst>
          </p:cNvPr>
          <p:cNvSpPr txBox="1">
            <a:spLocks/>
          </p:cNvSpPr>
          <p:nvPr/>
        </p:nvSpPr>
        <p:spPr>
          <a:xfrm>
            <a:off x="4806534" y="3944054"/>
            <a:ext cx="3405604" cy="261610"/>
          </a:xfrm>
          <a:prstGeom prst="rect">
            <a:avLst/>
          </a:prstGeom>
          <a:solidFill>
            <a:schemeClr val="accent6"/>
          </a:solidFill>
        </p:spPr>
        <p:txBody>
          <a:bodyPr wrap="square" lIns="108000" rIns="108000" rtlCol="0">
            <a:spAutoFit/>
          </a:bodyPr>
          <a:lstStyle/>
          <a:p>
            <a:r>
              <a:rPr lang="fr-FR" sz="1100" b="1">
                <a:solidFill>
                  <a:srgbClr val="FFFFFF"/>
                </a:solidFill>
                <a:latin typeface="Tahoma"/>
              </a:rPr>
              <a:t>Effet des vacances sur le poids du fardeau</a:t>
            </a:r>
            <a:r>
              <a:rPr lang="fr-FR" altLang="de-DE" sz="1100" b="1" kern="0" baseline="30000">
                <a:solidFill>
                  <a:srgbClr val="FFFFFF"/>
                </a:solidFill>
                <a:latin typeface="Tahoma"/>
              </a:rPr>
              <a:t> 2</a:t>
            </a:r>
            <a:endParaRPr lang="fr-FR" sz="1100" b="1">
              <a:solidFill>
                <a:srgbClr val="FFFFFF"/>
              </a:solidFill>
              <a:latin typeface="Tahoma"/>
            </a:endParaRPr>
          </a:p>
        </p:txBody>
      </p:sp>
    </p:spTree>
    <p:extLst>
      <p:ext uri="{BB962C8B-B14F-4D97-AF65-F5344CB8AC3E}">
        <p14:creationId xmlns:p14="http://schemas.microsoft.com/office/powerpoint/2010/main" val="161998723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3CC528C-5078-45B5-AD5C-9DD436BF508C}"/>
              </a:ext>
            </a:extLst>
          </p:cNvPr>
          <p:cNvSpPr/>
          <p:nvPr/>
        </p:nvSpPr>
        <p:spPr>
          <a:xfrm>
            <a:off x="6264255" y="1802153"/>
            <a:ext cx="4421846" cy="3957204"/>
          </a:xfrm>
          <a:prstGeom prst="rect">
            <a:avLst/>
          </a:prstGeom>
          <a:solidFill>
            <a:schemeClr val="bg1">
              <a:lumMod val="9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endParaRPr lang="fr-FR">
              <a:solidFill>
                <a:srgbClr val="503078"/>
              </a:solidFill>
              <a:latin typeface="Tahoma"/>
            </a:endParaRPr>
          </a:p>
        </p:txBody>
      </p:sp>
      <p:sp>
        <p:nvSpPr>
          <p:cNvPr id="7" name="Titre 6">
            <a:extLst>
              <a:ext uri="{FF2B5EF4-FFF2-40B4-BE49-F238E27FC236}">
                <a16:creationId xmlns:a16="http://schemas.microsoft.com/office/drawing/2014/main" id="{2689997E-763F-41EE-92A2-E8A25B005753}"/>
              </a:ext>
            </a:extLst>
          </p:cNvPr>
          <p:cNvSpPr>
            <a:spLocks noGrp="1"/>
          </p:cNvSpPr>
          <p:nvPr>
            <p:ph type="title"/>
          </p:nvPr>
        </p:nvSpPr>
        <p:spPr/>
        <p:txBody>
          <a:bodyPr/>
          <a:lstStyle/>
          <a:p>
            <a:pPr algn="l" fontAlgn="base"/>
            <a:r>
              <a:rPr lang="fr-FR"/>
              <a:t>Personnes âgées en perte d’autonomie : projection Insee (1/2)</a:t>
            </a:r>
          </a:p>
        </p:txBody>
      </p:sp>
      <p:sp>
        <p:nvSpPr>
          <p:cNvPr id="3" name="Espace réservé du texte 2">
            <a:extLst>
              <a:ext uri="{FF2B5EF4-FFF2-40B4-BE49-F238E27FC236}">
                <a16:creationId xmlns:a16="http://schemas.microsoft.com/office/drawing/2014/main" id="{120CAE43-622C-4D87-BF98-1721B6F2A21E}"/>
              </a:ext>
            </a:extLst>
          </p:cNvPr>
          <p:cNvSpPr>
            <a:spLocks noGrp="1"/>
          </p:cNvSpPr>
          <p:nvPr>
            <p:ph type="body" sz="quarter" idx="13"/>
          </p:nvPr>
        </p:nvSpPr>
        <p:spPr/>
        <p:txBody>
          <a:bodyPr/>
          <a:lstStyle/>
          <a:p>
            <a:r>
              <a:rPr lang="fr-FR">
                <a:solidFill>
                  <a:srgbClr val="938481"/>
                </a:solidFill>
              </a:rPr>
              <a:t>Complément sur le dimensionnement du marché</a:t>
            </a:r>
          </a:p>
        </p:txBody>
      </p:sp>
      <p:sp>
        <p:nvSpPr>
          <p:cNvPr id="2" name="ZoneTexte 1">
            <a:extLst>
              <a:ext uri="{FF2B5EF4-FFF2-40B4-BE49-F238E27FC236}">
                <a16:creationId xmlns:a16="http://schemas.microsoft.com/office/drawing/2014/main" id="{7F4803ED-F6C4-4591-B509-A6F8FB565050}"/>
              </a:ext>
            </a:extLst>
          </p:cNvPr>
          <p:cNvSpPr txBox="1"/>
          <p:nvPr/>
        </p:nvSpPr>
        <p:spPr>
          <a:xfrm>
            <a:off x="1241318" y="6386324"/>
            <a:ext cx="9807682" cy="415498"/>
          </a:xfrm>
          <a:prstGeom prst="rect">
            <a:avLst/>
          </a:prstGeom>
          <a:noFill/>
        </p:spPr>
        <p:txBody>
          <a:bodyPr wrap="square" lIns="108000" rIns="108000" rtlCol="0">
            <a:spAutoFit/>
          </a:bodyPr>
          <a:lstStyle/>
          <a:p>
            <a:r>
              <a:rPr lang="en-US" sz="700">
                <a:solidFill>
                  <a:srgbClr val="5F5F5F">
                    <a:lumMod val="60000"/>
                    <a:lumOff val="40000"/>
                  </a:srgbClr>
                </a:solidFill>
                <a:latin typeface="Tahoma"/>
              </a:rPr>
              <a:t>Source des </a:t>
            </a:r>
            <a:r>
              <a:rPr lang="en-US" sz="700" err="1">
                <a:solidFill>
                  <a:srgbClr val="5F5F5F">
                    <a:lumMod val="60000"/>
                    <a:lumOff val="40000"/>
                  </a:srgbClr>
                </a:solidFill>
                <a:latin typeface="Tahoma"/>
              </a:rPr>
              <a:t>données</a:t>
            </a:r>
            <a:r>
              <a:rPr lang="en-US" sz="700">
                <a:solidFill>
                  <a:srgbClr val="5F5F5F">
                    <a:lumMod val="60000"/>
                    <a:lumOff val="40000"/>
                  </a:srgbClr>
                </a:solidFill>
                <a:latin typeface="Tahoma"/>
              </a:rPr>
              <a:t> : </a:t>
            </a:r>
          </a:p>
          <a:p>
            <a:pPr marL="228600" indent="-228600">
              <a:buFontTx/>
              <a:buAutoNum type="arabicPeriod"/>
            </a:pPr>
            <a:r>
              <a:rPr lang="en-US" sz="700" err="1">
                <a:solidFill>
                  <a:srgbClr val="5F5F5F">
                    <a:lumMod val="60000"/>
                    <a:lumOff val="40000"/>
                  </a:srgbClr>
                </a:solidFill>
                <a:latin typeface="Tahoma"/>
              </a:rPr>
              <a:t>Insee</a:t>
            </a:r>
            <a:r>
              <a:rPr lang="en-US" sz="700">
                <a:solidFill>
                  <a:srgbClr val="5F5F5F">
                    <a:lumMod val="60000"/>
                    <a:lumOff val="40000"/>
                  </a:srgbClr>
                </a:solidFill>
                <a:latin typeface="Tahoma"/>
              </a:rPr>
              <a:t>, </a:t>
            </a:r>
            <a:r>
              <a:rPr lang="fr-FR" sz="700">
                <a:solidFill>
                  <a:srgbClr val="5F5F5F">
                    <a:lumMod val="60000"/>
                    <a:lumOff val="40000"/>
                  </a:srgbClr>
                </a:solidFill>
                <a:latin typeface="Tahoma"/>
                <a:hlinkClick r:id="rId3">
                  <a:extLst>
                    <a:ext uri="{A12FA001-AC4F-418D-AE19-62706E023703}">
                      <ahyp:hlinkClr xmlns:ahyp="http://schemas.microsoft.com/office/drawing/2018/hyperlinkcolor" val="tx"/>
                    </a:ext>
                  </a:extLst>
                </a:hlinkClick>
              </a:rPr>
              <a:t>4 millions de seniors seraient en perte d’autonomie en 2050 </a:t>
            </a:r>
            <a:r>
              <a:rPr lang="en-US" sz="700">
                <a:solidFill>
                  <a:srgbClr val="5F5F5F">
                    <a:lumMod val="60000"/>
                    <a:lumOff val="40000"/>
                  </a:srgbClr>
                </a:solidFill>
                <a:latin typeface="Tahoma"/>
              </a:rPr>
              <a:t>- </a:t>
            </a:r>
            <a:r>
              <a:rPr lang="en-US" sz="700" err="1">
                <a:solidFill>
                  <a:srgbClr val="5F5F5F">
                    <a:lumMod val="60000"/>
                    <a:lumOff val="40000"/>
                  </a:srgbClr>
                </a:solidFill>
                <a:latin typeface="Tahoma"/>
              </a:rPr>
              <a:t>juillet</a:t>
            </a:r>
            <a:r>
              <a:rPr lang="en-US" sz="700">
                <a:solidFill>
                  <a:srgbClr val="5F5F5F">
                    <a:lumMod val="60000"/>
                    <a:lumOff val="40000"/>
                  </a:srgbClr>
                </a:solidFill>
                <a:latin typeface="Tahoma"/>
              </a:rPr>
              <a:t> 2019 – </a:t>
            </a:r>
            <a:r>
              <a:rPr lang="en-US" sz="700" err="1">
                <a:solidFill>
                  <a:srgbClr val="5F5F5F">
                    <a:lumMod val="60000"/>
                    <a:lumOff val="40000"/>
                  </a:srgbClr>
                </a:solidFill>
                <a:latin typeface="Tahoma"/>
              </a:rPr>
              <a:t>Infographie</a:t>
            </a:r>
            <a:r>
              <a:rPr lang="en-US" sz="700">
                <a:solidFill>
                  <a:srgbClr val="5F5F5F">
                    <a:lumMod val="60000"/>
                    <a:lumOff val="40000"/>
                  </a:srgbClr>
                </a:solidFill>
                <a:latin typeface="Tahoma"/>
              </a:rPr>
              <a:t> : </a:t>
            </a:r>
            <a:r>
              <a:rPr lang="en-US" sz="700">
                <a:solidFill>
                  <a:srgbClr val="5F5F5F">
                    <a:lumMod val="60000"/>
                    <a:lumOff val="40000"/>
                  </a:srgbClr>
                </a:solidFill>
                <a:latin typeface="Tahoma"/>
                <a:hlinkClick r:id="rId4">
                  <a:extLst>
                    <a:ext uri="{A12FA001-AC4F-418D-AE19-62706E023703}">
                      <ahyp:hlinkClr xmlns:ahyp="http://schemas.microsoft.com/office/drawing/2018/hyperlinkcolor" val="tx"/>
                    </a:ext>
                  </a:extLst>
                </a:hlinkClick>
              </a:rPr>
              <a:t>Le Monde</a:t>
            </a:r>
            <a:endParaRPr lang="en-US" sz="700">
              <a:solidFill>
                <a:srgbClr val="5F5F5F">
                  <a:lumMod val="60000"/>
                  <a:lumOff val="40000"/>
                </a:srgbClr>
              </a:solidFill>
              <a:latin typeface="Tahoma"/>
            </a:endParaRPr>
          </a:p>
          <a:p>
            <a:pPr marL="228600" indent="-228600">
              <a:buFontTx/>
              <a:buAutoNum type="arabicPeriod"/>
            </a:pPr>
            <a:r>
              <a:rPr lang="fr-FR" sz="700">
                <a:solidFill>
                  <a:srgbClr val="5F5F5F">
                    <a:lumMod val="60000"/>
                    <a:lumOff val="40000"/>
                  </a:srgbClr>
                </a:solidFill>
                <a:latin typeface="Tahoma"/>
              </a:rPr>
              <a:t>DREES, décembre 2020 </a:t>
            </a:r>
            <a:r>
              <a:rPr lang="fr-FR" sz="700">
                <a:solidFill>
                  <a:srgbClr val="5F5F5F">
                    <a:lumMod val="60000"/>
                    <a:lumOff val="40000"/>
                  </a:srgbClr>
                </a:solidFill>
                <a:latin typeface="Tahoma"/>
                <a:hlinkClick r:id="rId5">
                  <a:extLst>
                    <a:ext uri="{A12FA001-AC4F-418D-AE19-62706E023703}">
                      <ahyp:hlinkClr xmlns:ahyp="http://schemas.microsoft.com/office/drawing/2018/hyperlinkcolor" val="tx"/>
                    </a:ext>
                  </a:extLst>
                </a:hlinkClick>
              </a:rPr>
              <a:t>Projections de population âgée en perte d’autonomie selon le modèle Lieux de vie et autonomie (LIVIA)</a:t>
            </a:r>
            <a:endParaRPr lang="fr-FR" sz="700">
              <a:solidFill>
                <a:srgbClr val="5F5F5F">
                  <a:lumMod val="60000"/>
                  <a:lumOff val="40000"/>
                </a:srgbClr>
              </a:solidFill>
              <a:latin typeface="Tahoma"/>
            </a:endParaRPr>
          </a:p>
        </p:txBody>
      </p:sp>
      <p:pic>
        <p:nvPicPr>
          <p:cNvPr id="5" name="Image 4">
            <a:extLst>
              <a:ext uri="{FF2B5EF4-FFF2-40B4-BE49-F238E27FC236}">
                <a16:creationId xmlns:a16="http://schemas.microsoft.com/office/drawing/2014/main" id="{23738F99-6A7B-41D1-BF5C-C895A3E6172B}"/>
              </a:ext>
            </a:extLst>
          </p:cNvPr>
          <p:cNvPicPr>
            <a:picLocks noChangeAspect="1"/>
          </p:cNvPicPr>
          <p:nvPr/>
        </p:nvPicPr>
        <p:blipFill rotWithShape="1">
          <a:blip r:embed="rId6"/>
          <a:srcRect b="16684"/>
          <a:stretch/>
        </p:blipFill>
        <p:spPr>
          <a:xfrm>
            <a:off x="1420612" y="1010625"/>
            <a:ext cx="4600166" cy="4202090"/>
          </a:xfrm>
          <a:prstGeom prst="rect">
            <a:avLst/>
          </a:prstGeom>
        </p:spPr>
      </p:pic>
      <p:pic>
        <p:nvPicPr>
          <p:cNvPr id="11" name="Image 10">
            <a:extLst>
              <a:ext uri="{FF2B5EF4-FFF2-40B4-BE49-F238E27FC236}">
                <a16:creationId xmlns:a16="http://schemas.microsoft.com/office/drawing/2014/main" id="{E53FF49E-CC54-46AC-BC0A-3FEC88448ABE}"/>
              </a:ext>
            </a:extLst>
          </p:cNvPr>
          <p:cNvPicPr>
            <a:picLocks noChangeAspect="1"/>
          </p:cNvPicPr>
          <p:nvPr/>
        </p:nvPicPr>
        <p:blipFill rotWithShape="1">
          <a:blip r:embed="rId6"/>
          <a:srcRect t="83924"/>
          <a:stretch/>
        </p:blipFill>
        <p:spPr>
          <a:xfrm>
            <a:off x="1487400" y="5334000"/>
            <a:ext cx="4339122" cy="764788"/>
          </a:xfrm>
          <a:prstGeom prst="rect">
            <a:avLst/>
          </a:prstGeom>
        </p:spPr>
      </p:pic>
      <p:sp>
        <p:nvSpPr>
          <p:cNvPr id="13" name="ZoneTexte 12">
            <a:extLst>
              <a:ext uri="{FF2B5EF4-FFF2-40B4-BE49-F238E27FC236}">
                <a16:creationId xmlns:a16="http://schemas.microsoft.com/office/drawing/2014/main" id="{F79DC57B-F192-48F8-9B15-09C871EBCB42}"/>
              </a:ext>
            </a:extLst>
          </p:cNvPr>
          <p:cNvSpPr txBox="1"/>
          <p:nvPr/>
        </p:nvSpPr>
        <p:spPr>
          <a:xfrm>
            <a:off x="6264256" y="2000142"/>
            <a:ext cx="4440345" cy="3477875"/>
          </a:xfrm>
          <a:prstGeom prst="rect">
            <a:avLst/>
          </a:prstGeom>
          <a:noFill/>
        </p:spPr>
        <p:txBody>
          <a:bodyPr wrap="square">
            <a:spAutoFit/>
          </a:bodyPr>
          <a:lstStyle/>
          <a:p>
            <a:pPr marL="171450" indent="-171450" algn="just">
              <a:buClr>
                <a:srgbClr val="503078"/>
              </a:buClr>
              <a:buFont typeface="Tahoma" panose="020B0604030504040204" pitchFamily="34" charset="0"/>
              <a:buChar char="⁄"/>
            </a:pPr>
            <a:r>
              <a:rPr lang="fr-FR" sz="1100">
                <a:solidFill>
                  <a:srgbClr val="5F5F5F"/>
                </a:solidFill>
                <a:latin typeface="Tahoma"/>
              </a:rPr>
              <a:t>En juillet 2019, une étude élaborée par l’Insee</a:t>
            </a:r>
            <a:r>
              <a:rPr lang="fr-FR" sz="1100" baseline="30000">
                <a:solidFill>
                  <a:srgbClr val="5F5F5F"/>
                </a:solidFill>
                <a:latin typeface="Tahoma"/>
              </a:rPr>
              <a:t>1</a:t>
            </a:r>
            <a:r>
              <a:rPr lang="fr-FR" sz="1100">
                <a:solidFill>
                  <a:srgbClr val="5F5F5F"/>
                </a:solidFill>
                <a:latin typeface="Tahoma"/>
              </a:rPr>
              <a:t> estimait à </a:t>
            </a:r>
            <a:r>
              <a:rPr lang="fr-FR" sz="1100" b="1">
                <a:solidFill>
                  <a:srgbClr val="503078"/>
                </a:solidFill>
                <a:latin typeface="Tahoma"/>
              </a:rPr>
              <a:t>2,5 millions le nombre de seniors en perte d’autonomie </a:t>
            </a:r>
            <a:r>
              <a:rPr lang="fr-FR" sz="1100">
                <a:solidFill>
                  <a:srgbClr val="5F5F5F"/>
                </a:solidFill>
                <a:latin typeface="Tahoma"/>
              </a:rPr>
              <a:t>en France en 2015, un chiffre largement </a:t>
            </a:r>
            <a:r>
              <a:rPr lang="fr-FR" sz="1100" b="1">
                <a:solidFill>
                  <a:srgbClr val="503078"/>
                </a:solidFill>
                <a:latin typeface="Tahoma"/>
              </a:rPr>
              <a:t>au-dessus des estimations fournies par la DREES</a:t>
            </a:r>
            <a:r>
              <a:rPr lang="fr-FR" sz="1100">
                <a:solidFill>
                  <a:srgbClr val="5F5F5F"/>
                </a:solidFill>
                <a:latin typeface="Tahoma"/>
              </a:rPr>
              <a:t> (1,2 millions). Cette différence s’explique par l’utilisation par la DREES des seules données liées aux bénéficiaires de l’APA, qui ne reflètent pas l’ensemble des personnes en perte d’autonomie.</a:t>
            </a:r>
          </a:p>
          <a:p>
            <a:pPr algn="just">
              <a:buClr>
                <a:srgbClr val="503078"/>
              </a:buClr>
            </a:pPr>
            <a:endParaRPr lang="fr-FR" sz="1100">
              <a:solidFill>
                <a:srgbClr val="5F5F5F"/>
              </a:solidFill>
              <a:latin typeface="Tahoma"/>
            </a:endParaRPr>
          </a:p>
          <a:p>
            <a:pPr marL="171450" indent="-171450" algn="just">
              <a:buClr>
                <a:srgbClr val="503078"/>
              </a:buClr>
              <a:buFont typeface="Tahoma" panose="020B0604030504040204" pitchFamily="34" charset="0"/>
              <a:buChar char="⁄"/>
            </a:pPr>
            <a:r>
              <a:rPr lang="fr-FR" sz="1100">
                <a:solidFill>
                  <a:srgbClr val="5F5F5F"/>
                </a:solidFill>
                <a:latin typeface="Tahoma"/>
              </a:rPr>
              <a:t>Parmi les 2,5 millions de personnes en perte d’autonomie, </a:t>
            </a:r>
            <a:r>
              <a:rPr lang="fr-FR" sz="1100" b="1">
                <a:solidFill>
                  <a:srgbClr val="503078"/>
                </a:solidFill>
                <a:latin typeface="Tahoma"/>
              </a:rPr>
              <a:t>700 000</a:t>
            </a:r>
            <a:r>
              <a:rPr lang="fr-FR" sz="1100">
                <a:solidFill>
                  <a:srgbClr val="5F5F5F"/>
                </a:solidFill>
                <a:latin typeface="Tahoma"/>
              </a:rPr>
              <a:t> peuvent être considérés en autonomie sévère. </a:t>
            </a:r>
          </a:p>
          <a:p>
            <a:pPr algn="just">
              <a:buClr>
                <a:srgbClr val="503078"/>
              </a:buClr>
            </a:pPr>
            <a:endParaRPr lang="fr-FR" sz="1100">
              <a:solidFill>
                <a:srgbClr val="5F5F5F"/>
              </a:solidFill>
              <a:latin typeface="Tahoma"/>
            </a:endParaRPr>
          </a:p>
          <a:p>
            <a:pPr marL="171450" indent="-171450" algn="just">
              <a:buClr>
                <a:srgbClr val="503078"/>
              </a:buClr>
              <a:buFont typeface="Tahoma" panose="020B0604030504040204" pitchFamily="34" charset="0"/>
              <a:buChar char="⁄"/>
            </a:pPr>
            <a:r>
              <a:rPr lang="fr-FR" sz="1100">
                <a:solidFill>
                  <a:srgbClr val="5F5F5F"/>
                </a:solidFill>
                <a:latin typeface="Tahoma"/>
              </a:rPr>
              <a:t>Les taux de </a:t>
            </a:r>
            <a:r>
              <a:rPr lang="fr-FR" sz="1100" b="1">
                <a:solidFill>
                  <a:srgbClr val="503078"/>
                </a:solidFill>
                <a:latin typeface="Tahoma"/>
              </a:rPr>
              <a:t>prévalence de la perte d’autonomie </a:t>
            </a:r>
            <a:r>
              <a:rPr lang="fr-FR" sz="1100">
                <a:solidFill>
                  <a:srgbClr val="5F5F5F"/>
                </a:solidFill>
                <a:latin typeface="Tahoma"/>
              </a:rPr>
              <a:t>sont plus élevés dans les départements du Massif Central et dans les Hauts-de-France, et plus faibles en région francilienne et à l’Ouest. </a:t>
            </a:r>
          </a:p>
          <a:p>
            <a:pPr algn="just">
              <a:buClr>
                <a:srgbClr val="503078"/>
              </a:buClr>
            </a:pPr>
            <a:endParaRPr lang="fr-FR" sz="1100">
              <a:solidFill>
                <a:srgbClr val="5F5F5F"/>
              </a:solidFill>
              <a:latin typeface="Tahoma"/>
            </a:endParaRPr>
          </a:p>
          <a:p>
            <a:pPr marL="171450" indent="-171450" algn="just">
              <a:buClr>
                <a:srgbClr val="503078"/>
              </a:buClr>
              <a:buFont typeface="Tahoma" panose="020B0604030504040204" pitchFamily="34" charset="0"/>
              <a:buChar char="⁄"/>
            </a:pPr>
            <a:r>
              <a:rPr lang="fr-FR" sz="1100">
                <a:solidFill>
                  <a:srgbClr val="5F5F5F"/>
                </a:solidFill>
                <a:latin typeface="Tahoma"/>
              </a:rPr>
              <a:t>Les seniors des </a:t>
            </a:r>
            <a:r>
              <a:rPr lang="fr-FR" sz="1100" b="1">
                <a:solidFill>
                  <a:srgbClr val="503078"/>
                </a:solidFill>
                <a:latin typeface="Tahoma"/>
              </a:rPr>
              <a:t>DROM</a:t>
            </a:r>
            <a:r>
              <a:rPr lang="fr-FR" sz="1100">
                <a:solidFill>
                  <a:srgbClr val="5F5F5F"/>
                </a:solidFill>
                <a:latin typeface="Tahoma"/>
              </a:rPr>
              <a:t> sont plus fréquemment en perte d’autonomie que ceux de la métropole, alors qu’ils sont plus jeunes en moyenne. </a:t>
            </a:r>
          </a:p>
          <a:p>
            <a:pPr algn="just">
              <a:buClr>
                <a:srgbClr val="503078"/>
              </a:buClr>
            </a:pPr>
            <a:endParaRPr lang="fr-FR" sz="1100">
              <a:solidFill>
                <a:srgbClr val="5F5F5F"/>
              </a:solidFill>
              <a:latin typeface="Tahoma"/>
            </a:endParaRPr>
          </a:p>
          <a:p>
            <a:pPr marL="171450" indent="-171450" algn="just">
              <a:buClr>
                <a:srgbClr val="503078"/>
              </a:buClr>
              <a:buFont typeface="Tahoma" panose="020B0604030504040204" pitchFamily="34" charset="0"/>
              <a:buChar char="⁄"/>
            </a:pPr>
            <a:r>
              <a:rPr lang="fr-FR" sz="1100">
                <a:solidFill>
                  <a:srgbClr val="5F5F5F"/>
                </a:solidFill>
                <a:latin typeface="Tahoma"/>
              </a:rPr>
              <a:t>Parmi les seniors de 75 ans ou plus, </a:t>
            </a:r>
            <a:r>
              <a:rPr lang="fr-FR" sz="1100" b="1">
                <a:solidFill>
                  <a:srgbClr val="503078"/>
                </a:solidFill>
                <a:latin typeface="Tahoma"/>
              </a:rPr>
              <a:t>8,8%</a:t>
            </a:r>
            <a:r>
              <a:rPr lang="fr-FR" sz="1100">
                <a:solidFill>
                  <a:srgbClr val="5F5F5F"/>
                </a:solidFill>
                <a:latin typeface="Tahoma"/>
              </a:rPr>
              <a:t> vivent en institution. </a:t>
            </a:r>
          </a:p>
        </p:txBody>
      </p:sp>
    </p:spTree>
    <p:extLst>
      <p:ext uri="{BB962C8B-B14F-4D97-AF65-F5344CB8AC3E}">
        <p14:creationId xmlns:p14="http://schemas.microsoft.com/office/powerpoint/2010/main" val="223094940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2689997E-763F-41EE-92A2-E8A25B005753}"/>
              </a:ext>
            </a:extLst>
          </p:cNvPr>
          <p:cNvSpPr>
            <a:spLocks noGrp="1"/>
          </p:cNvSpPr>
          <p:nvPr>
            <p:ph type="title"/>
          </p:nvPr>
        </p:nvSpPr>
        <p:spPr/>
        <p:txBody>
          <a:bodyPr/>
          <a:lstStyle/>
          <a:p>
            <a:pPr algn="l" fontAlgn="base"/>
            <a:r>
              <a:rPr lang="fr-FR"/>
              <a:t>Personnes âgées en perte d’autonomie : projection Insee (2/2)</a:t>
            </a:r>
          </a:p>
        </p:txBody>
      </p:sp>
      <p:sp>
        <p:nvSpPr>
          <p:cNvPr id="3" name="Espace réservé du texte 2">
            <a:extLst>
              <a:ext uri="{FF2B5EF4-FFF2-40B4-BE49-F238E27FC236}">
                <a16:creationId xmlns:a16="http://schemas.microsoft.com/office/drawing/2014/main" id="{120CAE43-622C-4D87-BF98-1721B6F2A21E}"/>
              </a:ext>
            </a:extLst>
          </p:cNvPr>
          <p:cNvSpPr>
            <a:spLocks noGrp="1"/>
          </p:cNvSpPr>
          <p:nvPr>
            <p:ph type="body" sz="quarter" idx="13"/>
          </p:nvPr>
        </p:nvSpPr>
        <p:spPr/>
        <p:txBody>
          <a:bodyPr/>
          <a:lstStyle/>
          <a:p>
            <a:r>
              <a:rPr lang="fr-FR">
                <a:solidFill>
                  <a:srgbClr val="938481"/>
                </a:solidFill>
              </a:rPr>
              <a:t>complément sur le dimensionnement du marché</a:t>
            </a:r>
          </a:p>
        </p:txBody>
      </p:sp>
      <p:pic>
        <p:nvPicPr>
          <p:cNvPr id="5" name="Image 4">
            <a:extLst>
              <a:ext uri="{FF2B5EF4-FFF2-40B4-BE49-F238E27FC236}">
                <a16:creationId xmlns:a16="http://schemas.microsoft.com/office/drawing/2014/main" id="{23738F99-6A7B-41D1-BF5C-C895A3E6172B}"/>
              </a:ext>
            </a:extLst>
          </p:cNvPr>
          <p:cNvPicPr>
            <a:picLocks noChangeAspect="1"/>
          </p:cNvPicPr>
          <p:nvPr/>
        </p:nvPicPr>
        <p:blipFill rotWithShape="1">
          <a:blip r:embed="rId3"/>
          <a:srcRect t="83924"/>
          <a:stretch/>
        </p:blipFill>
        <p:spPr>
          <a:xfrm>
            <a:off x="1487400" y="5334000"/>
            <a:ext cx="4339122" cy="764788"/>
          </a:xfrm>
          <a:prstGeom prst="rect">
            <a:avLst/>
          </a:prstGeom>
        </p:spPr>
      </p:pic>
      <p:pic>
        <p:nvPicPr>
          <p:cNvPr id="8" name="Image 7">
            <a:extLst>
              <a:ext uri="{FF2B5EF4-FFF2-40B4-BE49-F238E27FC236}">
                <a16:creationId xmlns:a16="http://schemas.microsoft.com/office/drawing/2014/main" id="{8994A7FF-4A47-436A-90FA-9C575DB8479D}"/>
              </a:ext>
            </a:extLst>
          </p:cNvPr>
          <p:cNvPicPr>
            <a:picLocks noChangeAspect="1"/>
          </p:cNvPicPr>
          <p:nvPr/>
        </p:nvPicPr>
        <p:blipFill>
          <a:blip r:embed="rId4"/>
          <a:stretch>
            <a:fillRect/>
          </a:stretch>
        </p:blipFill>
        <p:spPr>
          <a:xfrm>
            <a:off x="1365558" y="939296"/>
            <a:ext cx="4609418" cy="4554050"/>
          </a:xfrm>
          <a:prstGeom prst="rect">
            <a:avLst/>
          </a:prstGeom>
        </p:spPr>
      </p:pic>
      <p:sp>
        <p:nvSpPr>
          <p:cNvPr id="9" name="Rectangle 8">
            <a:extLst>
              <a:ext uri="{FF2B5EF4-FFF2-40B4-BE49-F238E27FC236}">
                <a16:creationId xmlns:a16="http://schemas.microsoft.com/office/drawing/2014/main" id="{E8D1DE42-504E-4ACA-AFBD-CF9F744DB081}"/>
              </a:ext>
            </a:extLst>
          </p:cNvPr>
          <p:cNvSpPr/>
          <p:nvPr/>
        </p:nvSpPr>
        <p:spPr>
          <a:xfrm>
            <a:off x="6282754" y="1765390"/>
            <a:ext cx="4421846" cy="2966864"/>
          </a:xfrm>
          <a:prstGeom prst="rect">
            <a:avLst/>
          </a:prstGeom>
          <a:solidFill>
            <a:schemeClr val="bg1">
              <a:lumMod val="9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defRPr/>
            </a:pPr>
            <a:endParaRPr lang="fr-FR">
              <a:solidFill>
                <a:srgbClr val="503078"/>
              </a:solidFill>
              <a:latin typeface="Tahoma"/>
            </a:endParaRPr>
          </a:p>
        </p:txBody>
      </p:sp>
      <p:sp>
        <p:nvSpPr>
          <p:cNvPr id="10" name="ZoneTexte 9">
            <a:extLst>
              <a:ext uri="{FF2B5EF4-FFF2-40B4-BE49-F238E27FC236}">
                <a16:creationId xmlns:a16="http://schemas.microsoft.com/office/drawing/2014/main" id="{C81881EF-622A-45D0-8822-F44CC85914C6}"/>
              </a:ext>
            </a:extLst>
          </p:cNvPr>
          <p:cNvSpPr txBox="1"/>
          <p:nvPr/>
        </p:nvSpPr>
        <p:spPr>
          <a:xfrm>
            <a:off x="6273505" y="1846764"/>
            <a:ext cx="4440345" cy="2800767"/>
          </a:xfrm>
          <a:prstGeom prst="rect">
            <a:avLst/>
          </a:prstGeom>
          <a:noFill/>
        </p:spPr>
        <p:txBody>
          <a:bodyPr wrap="square">
            <a:spAutoFit/>
          </a:bodyPr>
          <a:lstStyle/>
          <a:p>
            <a:pPr marL="171450" indent="-171450" algn="just">
              <a:buClr>
                <a:srgbClr val="503078"/>
              </a:buClr>
              <a:buFont typeface="Tahoma" panose="020B0604030504040204" pitchFamily="34" charset="0"/>
              <a:buChar char="⁄"/>
            </a:pPr>
            <a:r>
              <a:rPr lang="fr-FR" sz="1100">
                <a:solidFill>
                  <a:srgbClr val="5F5F5F"/>
                </a:solidFill>
                <a:latin typeface="Tahoma"/>
              </a:rPr>
              <a:t>L’Insee</a:t>
            </a:r>
            <a:r>
              <a:rPr lang="fr-FR" sz="1100" baseline="30000">
                <a:solidFill>
                  <a:srgbClr val="5F5F5F"/>
                </a:solidFill>
                <a:latin typeface="Tahoma"/>
              </a:rPr>
              <a:t>1</a:t>
            </a:r>
            <a:r>
              <a:rPr lang="fr-FR" sz="1100">
                <a:solidFill>
                  <a:srgbClr val="5F5F5F"/>
                </a:solidFill>
                <a:latin typeface="Tahoma"/>
              </a:rPr>
              <a:t> estime que si les tendances démographiques et l’accroissement de l’espérance de vie se poursuivent, la France hors Mayotte compterait </a:t>
            </a:r>
            <a:r>
              <a:rPr lang="fr-FR" sz="1100" b="1">
                <a:solidFill>
                  <a:srgbClr val="503078"/>
                </a:solidFill>
                <a:latin typeface="Tahoma"/>
              </a:rPr>
              <a:t>4 millions de seniors en perte d’autonomie en 2050</a:t>
            </a:r>
            <a:r>
              <a:rPr lang="fr-FR" sz="1100">
                <a:solidFill>
                  <a:srgbClr val="5F5F5F"/>
                </a:solidFill>
                <a:latin typeface="Tahoma"/>
              </a:rPr>
              <a:t>, soit </a:t>
            </a:r>
            <a:r>
              <a:rPr lang="fr-FR" sz="1100" b="1">
                <a:solidFill>
                  <a:srgbClr val="503078"/>
                </a:solidFill>
                <a:latin typeface="Tahoma"/>
              </a:rPr>
              <a:t>16,4%</a:t>
            </a:r>
            <a:r>
              <a:rPr lang="fr-FR" sz="1100">
                <a:solidFill>
                  <a:srgbClr val="5F5F5F"/>
                </a:solidFill>
                <a:latin typeface="Tahoma"/>
              </a:rPr>
              <a:t> des seniors. Ce chiffre est estimé à 2,2 millions par la DREES</a:t>
            </a:r>
            <a:r>
              <a:rPr lang="fr-FR" sz="1100" baseline="30000">
                <a:solidFill>
                  <a:srgbClr val="5F5F5F"/>
                </a:solidFill>
                <a:latin typeface="Tahoma"/>
              </a:rPr>
              <a:t>2</a:t>
            </a:r>
            <a:r>
              <a:rPr lang="fr-FR" sz="1100">
                <a:solidFill>
                  <a:srgbClr val="5F5F5F"/>
                </a:solidFill>
                <a:latin typeface="Tahoma"/>
              </a:rPr>
              <a:t>.</a:t>
            </a:r>
          </a:p>
          <a:p>
            <a:pPr algn="just">
              <a:buClr>
                <a:srgbClr val="503078"/>
              </a:buClr>
            </a:pPr>
            <a:endParaRPr lang="fr-FR" sz="1100">
              <a:solidFill>
                <a:srgbClr val="5F5F5F"/>
              </a:solidFill>
              <a:latin typeface="Tahoma"/>
            </a:endParaRPr>
          </a:p>
          <a:p>
            <a:pPr marL="171450" indent="-171450" algn="just">
              <a:buClr>
                <a:srgbClr val="503078"/>
              </a:buClr>
              <a:buFont typeface="Tahoma" panose="020B0604030504040204" pitchFamily="34" charset="0"/>
              <a:buChar char="⁄"/>
            </a:pPr>
            <a:r>
              <a:rPr lang="fr-FR" sz="1100">
                <a:solidFill>
                  <a:srgbClr val="5F5F5F"/>
                </a:solidFill>
                <a:latin typeface="Tahoma"/>
              </a:rPr>
              <a:t>Les taux de prévalence de la perte d’autonomie augmenteraient fortement dans les </a:t>
            </a:r>
            <a:r>
              <a:rPr lang="fr-FR" sz="1100" b="1">
                <a:solidFill>
                  <a:srgbClr val="503078"/>
                </a:solidFill>
                <a:latin typeface="Tahoma"/>
              </a:rPr>
              <a:t>DROM et dans le Sud-Est de la France</a:t>
            </a:r>
            <a:r>
              <a:rPr lang="fr-FR" sz="1100">
                <a:solidFill>
                  <a:srgbClr val="5F5F5F"/>
                </a:solidFill>
                <a:latin typeface="Tahoma"/>
              </a:rPr>
              <a:t>, en raison des effets de structure démographique.</a:t>
            </a:r>
          </a:p>
          <a:p>
            <a:pPr algn="just">
              <a:buClr>
                <a:srgbClr val="503078"/>
              </a:buClr>
            </a:pPr>
            <a:endParaRPr lang="fr-FR" sz="1100">
              <a:solidFill>
                <a:srgbClr val="5F5F5F"/>
              </a:solidFill>
              <a:latin typeface="Tahoma"/>
            </a:endParaRPr>
          </a:p>
          <a:p>
            <a:pPr marL="171450" indent="-171450" algn="just">
              <a:buClr>
                <a:srgbClr val="503078"/>
              </a:buClr>
              <a:buFont typeface="Tahoma" panose="020B0604030504040204" pitchFamily="34" charset="0"/>
              <a:buChar char="⁄"/>
            </a:pPr>
            <a:r>
              <a:rPr lang="fr-FR" sz="1100">
                <a:solidFill>
                  <a:srgbClr val="5F5F5F"/>
                </a:solidFill>
                <a:latin typeface="Tahoma"/>
              </a:rPr>
              <a:t>Pour maintenir constant le pourcentage de personnes en établissement par département, sexe, tranche d’âge et degré de perte d’autonomie, il faudrait que le nombre de places d’hébergement permanent en établissements pour personnes âgées augmente de </a:t>
            </a:r>
            <a:r>
              <a:rPr lang="fr-FR" sz="1100" b="1">
                <a:solidFill>
                  <a:srgbClr val="503078"/>
                </a:solidFill>
                <a:latin typeface="Tahoma"/>
              </a:rPr>
              <a:t>20% d’ici à 2030 </a:t>
            </a:r>
            <a:r>
              <a:rPr lang="fr-FR" sz="1100">
                <a:solidFill>
                  <a:srgbClr val="5F5F5F"/>
                </a:solidFill>
                <a:latin typeface="Tahoma"/>
              </a:rPr>
              <a:t>et de </a:t>
            </a:r>
            <a:r>
              <a:rPr lang="fr-FR" sz="1100" b="1">
                <a:solidFill>
                  <a:srgbClr val="503078"/>
                </a:solidFill>
                <a:latin typeface="Tahoma"/>
              </a:rPr>
              <a:t>plus de 50% à l’horizon 2050</a:t>
            </a:r>
          </a:p>
        </p:txBody>
      </p:sp>
      <p:sp>
        <p:nvSpPr>
          <p:cNvPr id="11" name="ZoneTexte 10">
            <a:extLst>
              <a:ext uri="{FF2B5EF4-FFF2-40B4-BE49-F238E27FC236}">
                <a16:creationId xmlns:a16="http://schemas.microsoft.com/office/drawing/2014/main" id="{EFA3BD0A-2473-4728-B5C9-BCE40E85DC6D}"/>
              </a:ext>
            </a:extLst>
          </p:cNvPr>
          <p:cNvSpPr txBox="1"/>
          <p:nvPr/>
        </p:nvSpPr>
        <p:spPr>
          <a:xfrm>
            <a:off x="1241318" y="6386322"/>
            <a:ext cx="9807682" cy="415498"/>
          </a:xfrm>
          <a:prstGeom prst="rect">
            <a:avLst/>
          </a:prstGeom>
          <a:noFill/>
        </p:spPr>
        <p:txBody>
          <a:bodyPr wrap="square" lIns="108000" rIns="108000" rtlCol="0">
            <a:spAutoFit/>
          </a:bodyPr>
          <a:lstStyle/>
          <a:p>
            <a:r>
              <a:rPr lang="en-US" sz="700">
                <a:solidFill>
                  <a:srgbClr val="5F5F5F">
                    <a:lumMod val="60000"/>
                    <a:lumOff val="40000"/>
                  </a:srgbClr>
                </a:solidFill>
                <a:latin typeface="Tahoma"/>
              </a:rPr>
              <a:t>Source des données : </a:t>
            </a:r>
          </a:p>
          <a:p>
            <a:r>
              <a:rPr lang="fr-FR" sz="700">
                <a:solidFill>
                  <a:srgbClr val="5F5F5F">
                    <a:lumMod val="60000"/>
                    <a:lumOff val="40000"/>
                  </a:srgbClr>
                </a:solidFill>
                <a:latin typeface="Tahoma"/>
              </a:rPr>
              <a:t>1. </a:t>
            </a:r>
            <a:r>
              <a:rPr lang="en-US" sz="700" err="1">
                <a:solidFill>
                  <a:srgbClr val="5F5F5F">
                    <a:lumMod val="60000"/>
                    <a:lumOff val="40000"/>
                  </a:srgbClr>
                </a:solidFill>
                <a:latin typeface="Tahoma"/>
              </a:rPr>
              <a:t>Insee</a:t>
            </a:r>
            <a:r>
              <a:rPr lang="en-US" sz="700">
                <a:solidFill>
                  <a:srgbClr val="5F5F5F">
                    <a:lumMod val="60000"/>
                    <a:lumOff val="40000"/>
                  </a:srgbClr>
                </a:solidFill>
                <a:latin typeface="Tahoma"/>
              </a:rPr>
              <a:t>, </a:t>
            </a:r>
            <a:r>
              <a:rPr lang="fr-FR" sz="700">
                <a:solidFill>
                  <a:srgbClr val="5F5F5F">
                    <a:lumMod val="60000"/>
                    <a:lumOff val="40000"/>
                  </a:srgbClr>
                </a:solidFill>
                <a:latin typeface="Tahoma"/>
                <a:hlinkClick r:id="rId5">
                  <a:extLst>
                    <a:ext uri="{A12FA001-AC4F-418D-AE19-62706E023703}">
                      <ahyp:hlinkClr xmlns:ahyp="http://schemas.microsoft.com/office/drawing/2018/hyperlinkcolor" val="tx"/>
                    </a:ext>
                  </a:extLst>
                </a:hlinkClick>
              </a:rPr>
              <a:t>4 millions de seniors seraient en perte d’autonomie en 2050 </a:t>
            </a:r>
            <a:r>
              <a:rPr lang="en-US" sz="700">
                <a:solidFill>
                  <a:srgbClr val="5F5F5F">
                    <a:lumMod val="60000"/>
                    <a:lumOff val="40000"/>
                  </a:srgbClr>
                </a:solidFill>
                <a:latin typeface="Tahoma"/>
              </a:rPr>
              <a:t>- </a:t>
            </a:r>
            <a:r>
              <a:rPr lang="en-US" sz="700" err="1">
                <a:solidFill>
                  <a:srgbClr val="5F5F5F">
                    <a:lumMod val="60000"/>
                    <a:lumOff val="40000"/>
                  </a:srgbClr>
                </a:solidFill>
                <a:latin typeface="Tahoma"/>
              </a:rPr>
              <a:t>juillet</a:t>
            </a:r>
            <a:r>
              <a:rPr lang="en-US" sz="700">
                <a:solidFill>
                  <a:srgbClr val="5F5F5F">
                    <a:lumMod val="60000"/>
                    <a:lumOff val="40000"/>
                  </a:srgbClr>
                </a:solidFill>
                <a:latin typeface="Tahoma"/>
              </a:rPr>
              <a:t> 2019 – </a:t>
            </a:r>
            <a:r>
              <a:rPr lang="en-US" sz="700" err="1">
                <a:solidFill>
                  <a:srgbClr val="5F5F5F">
                    <a:lumMod val="60000"/>
                    <a:lumOff val="40000"/>
                  </a:srgbClr>
                </a:solidFill>
                <a:latin typeface="Tahoma"/>
              </a:rPr>
              <a:t>Infographie</a:t>
            </a:r>
            <a:r>
              <a:rPr lang="en-US" sz="700">
                <a:solidFill>
                  <a:srgbClr val="5F5F5F">
                    <a:lumMod val="60000"/>
                    <a:lumOff val="40000"/>
                  </a:srgbClr>
                </a:solidFill>
                <a:latin typeface="Tahoma"/>
              </a:rPr>
              <a:t> : </a:t>
            </a:r>
            <a:r>
              <a:rPr lang="en-US" sz="700">
                <a:solidFill>
                  <a:srgbClr val="5F5F5F">
                    <a:lumMod val="60000"/>
                    <a:lumOff val="40000"/>
                  </a:srgbClr>
                </a:solidFill>
                <a:latin typeface="Tahoma"/>
                <a:hlinkClick r:id="rId6">
                  <a:extLst>
                    <a:ext uri="{A12FA001-AC4F-418D-AE19-62706E023703}">
                      <ahyp:hlinkClr xmlns:ahyp="http://schemas.microsoft.com/office/drawing/2018/hyperlinkcolor" val="tx"/>
                    </a:ext>
                  </a:extLst>
                </a:hlinkClick>
              </a:rPr>
              <a:t>Le Monde</a:t>
            </a:r>
            <a:endParaRPr lang="en-US" sz="700">
              <a:solidFill>
                <a:srgbClr val="5F5F5F">
                  <a:lumMod val="60000"/>
                  <a:lumOff val="40000"/>
                </a:srgbClr>
              </a:solidFill>
              <a:latin typeface="Tahoma"/>
            </a:endParaRPr>
          </a:p>
          <a:p>
            <a:r>
              <a:rPr lang="fr-FR" sz="700">
                <a:solidFill>
                  <a:srgbClr val="5F5F5F">
                    <a:lumMod val="60000"/>
                    <a:lumOff val="40000"/>
                  </a:srgbClr>
                </a:solidFill>
                <a:latin typeface="Tahoma"/>
              </a:rPr>
              <a:t>2. DREES, décembre 2020 </a:t>
            </a:r>
            <a:r>
              <a:rPr lang="fr-FR" sz="700">
                <a:solidFill>
                  <a:srgbClr val="5F5F5F">
                    <a:lumMod val="60000"/>
                    <a:lumOff val="40000"/>
                  </a:srgbClr>
                </a:solidFill>
                <a:latin typeface="Tahoma"/>
                <a:hlinkClick r:id="rId7">
                  <a:extLst>
                    <a:ext uri="{A12FA001-AC4F-418D-AE19-62706E023703}">
                      <ahyp:hlinkClr xmlns:ahyp="http://schemas.microsoft.com/office/drawing/2018/hyperlinkcolor" val="tx"/>
                    </a:ext>
                  </a:extLst>
                </a:hlinkClick>
              </a:rPr>
              <a:t>Projections de population âgée en perte d’autonomie selon le modèle Lieux de vie et autonomie (LIVIA)</a:t>
            </a:r>
            <a:endParaRPr lang="fr-FR" sz="700">
              <a:solidFill>
                <a:srgbClr val="5F5F5F">
                  <a:lumMod val="60000"/>
                  <a:lumOff val="40000"/>
                </a:srgbClr>
              </a:solidFill>
              <a:latin typeface="Tahoma"/>
            </a:endParaRPr>
          </a:p>
        </p:txBody>
      </p:sp>
    </p:spTree>
    <p:extLst>
      <p:ext uri="{BB962C8B-B14F-4D97-AF65-F5344CB8AC3E}">
        <p14:creationId xmlns:p14="http://schemas.microsoft.com/office/powerpoint/2010/main" val="38052774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2689997E-763F-41EE-92A2-E8A25B005753}"/>
              </a:ext>
            </a:extLst>
          </p:cNvPr>
          <p:cNvSpPr>
            <a:spLocks noGrp="1"/>
          </p:cNvSpPr>
          <p:nvPr>
            <p:ph type="title"/>
          </p:nvPr>
        </p:nvSpPr>
        <p:spPr/>
        <p:txBody>
          <a:bodyPr/>
          <a:lstStyle/>
          <a:p>
            <a:pPr algn="l" fontAlgn="base"/>
            <a:r>
              <a:rPr lang="fr-FR"/>
              <a:t>Personnes en situation de handicap : compléments (1/3)</a:t>
            </a:r>
          </a:p>
        </p:txBody>
      </p:sp>
      <p:sp>
        <p:nvSpPr>
          <p:cNvPr id="3" name="Espace réservé du texte 2">
            <a:extLst>
              <a:ext uri="{FF2B5EF4-FFF2-40B4-BE49-F238E27FC236}">
                <a16:creationId xmlns:a16="http://schemas.microsoft.com/office/drawing/2014/main" id="{120CAE43-622C-4D87-BF98-1721B6F2A21E}"/>
              </a:ext>
            </a:extLst>
          </p:cNvPr>
          <p:cNvSpPr>
            <a:spLocks noGrp="1"/>
          </p:cNvSpPr>
          <p:nvPr>
            <p:ph type="body" sz="quarter" idx="13"/>
          </p:nvPr>
        </p:nvSpPr>
        <p:spPr/>
        <p:txBody>
          <a:bodyPr/>
          <a:lstStyle/>
          <a:p>
            <a:r>
              <a:rPr lang="fr-FR">
                <a:solidFill>
                  <a:srgbClr val="938481"/>
                </a:solidFill>
              </a:rPr>
              <a:t>Complément sur le dimensionnement du marché</a:t>
            </a:r>
          </a:p>
        </p:txBody>
      </p:sp>
      <p:pic>
        <p:nvPicPr>
          <p:cNvPr id="3074" name="Picture 2">
            <a:extLst>
              <a:ext uri="{FF2B5EF4-FFF2-40B4-BE49-F238E27FC236}">
                <a16:creationId xmlns:a16="http://schemas.microsoft.com/office/drawing/2014/main" id="{17426607-A4BA-4C02-9E00-45DC63FD0E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81870" y="1341438"/>
            <a:ext cx="7150379" cy="4838797"/>
          </a:xfrm>
          <a:prstGeom prst="rect">
            <a:avLst/>
          </a:prstGeom>
          <a:noFill/>
          <a:extLst>
            <a:ext uri="{909E8E84-426E-40DD-AFC4-6F175D3DCCD1}">
              <a14:hiddenFill xmlns:a14="http://schemas.microsoft.com/office/drawing/2010/main">
                <a:solidFill>
                  <a:srgbClr val="FFFFFF"/>
                </a:solidFill>
              </a14:hiddenFill>
            </a:ext>
          </a:extLst>
        </p:spPr>
      </p:pic>
      <p:sp>
        <p:nvSpPr>
          <p:cNvPr id="2" name="ZoneTexte 1">
            <a:extLst>
              <a:ext uri="{FF2B5EF4-FFF2-40B4-BE49-F238E27FC236}">
                <a16:creationId xmlns:a16="http://schemas.microsoft.com/office/drawing/2014/main" id="{7F4803ED-F6C4-4591-B509-A6F8FB565050}"/>
              </a:ext>
            </a:extLst>
          </p:cNvPr>
          <p:cNvSpPr txBox="1"/>
          <p:nvPr/>
        </p:nvSpPr>
        <p:spPr>
          <a:xfrm>
            <a:off x="1700561" y="6377904"/>
            <a:ext cx="5709425" cy="200055"/>
          </a:xfrm>
          <a:prstGeom prst="rect">
            <a:avLst/>
          </a:prstGeom>
          <a:noFill/>
        </p:spPr>
        <p:txBody>
          <a:bodyPr wrap="square" lIns="108000" rIns="108000" rtlCol="0">
            <a:spAutoFit/>
          </a:bodyPr>
          <a:lstStyle/>
          <a:p>
            <a:r>
              <a:rPr lang="en-US" sz="700">
                <a:solidFill>
                  <a:srgbClr val="5F5F5F">
                    <a:lumMod val="60000"/>
                    <a:lumOff val="40000"/>
                  </a:srgbClr>
                </a:solidFill>
                <a:latin typeface="Tahoma"/>
              </a:rPr>
              <a:t>Source : </a:t>
            </a:r>
            <a:r>
              <a:rPr lang="en-US" sz="700">
                <a:solidFill>
                  <a:srgbClr val="5F5F5F">
                    <a:lumMod val="60000"/>
                    <a:lumOff val="40000"/>
                  </a:srgbClr>
                </a:solidFill>
                <a:latin typeface="Tahoma"/>
                <a:hlinkClick r:id="rId4">
                  <a:extLst>
                    <a:ext uri="{A12FA001-AC4F-418D-AE19-62706E023703}">
                      <ahyp:hlinkClr xmlns:ahyp="http://schemas.microsoft.com/office/drawing/2018/hyperlinkcolor" val="tx"/>
                    </a:ext>
                  </a:extLst>
                </a:hlinkClick>
              </a:rPr>
              <a:t>Chiffres </a:t>
            </a:r>
            <a:r>
              <a:rPr lang="en-US" sz="700" err="1">
                <a:solidFill>
                  <a:srgbClr val="5F5F5F">
                    <a:lumMod val="60000"/>
                    <a:lumOff val="40000"/>
                  </a:srgbClr>
                </a:solidFill>
                <a:latin typeface="Tahoma"/>
                <a:hlinkClick r:id="rId4">
                  <a:extLst>
                    <a:ext uri="{A12FA001-AC4F-418D-AE19-62706E023703}">
                      <ahyp:hlinkClr xmlns:ahyp="http://schemas.microsoft.com/office/drawing/2018/hyperlinkcolor" val="tx"/>
                    </a:ext>
                  </a:extLst>
                </a:hlinkClick>
              </a:rPr>
              <a:t>clés</a:t>
            </a:r>
            <a:r>
              <a:rPr lang="en-US" sz="700">
                <a:solidFill>
                  <a:srgbClr val="5F5F5F">
                    <a:lumMod val="60000"/>
                    <a:lumOff val="40000"/>
                  </a:srgbClr>
                </a:solidFill>
                <a:latin typeface="Tahoma"/>
                <a:hlinkClick r:id="rId4">
                  <a:extLst>
                    <a:ext uri="{A12FA001-AC4F-418D-AE19-62706E023703}">
                      <ahyp:hlinkClr xmlns:ahyp="http://schemas.microsoft.com/office/drawing/2018/hyperlinkcolor" val="tx"/>
                    </a:ext>
                  </a:extLst>
                </a:hlinkClick>
              </a:rPr>
              <a:t> CNSA – 2021</a:t>
            </a:r>
            <a:r>
              <a:rPr lang="en-US" sz="700">
                <a:solidFill>
                  <a:srgbClr val="5F5F5F">
                    <a:lumMod val="60000"/>
                    <a:lumOff val="40000"/>
                  </a:srgbClr>
                </a:solidFill>
                <a:latin typeface="Tahoma"/>
              </a:rPr>
              <a:t>.</a:t>
            </a:r>
            <a:endParaRPr lang="fr-FR" sz="700">
              <a:solidFill>
                <a:srgbClr val="5F5F5F">
                  <a:lumMod val="60000"/>
                  <a:lumOff val="40000"/>
                </a:srgbClr>
              </a:solidFill>
              <a:latin typeface="Tahoma"/>
            </a:endParaRPr>
          </a:p>
        </p:txBody>
      </p:sp>
    </p:spTree>
    <p:extLst>
      <p:ext uri="{BB962C8B-B14F-4D97-AF65-F5344CB8AC3E}">
        <p14:creationId xmlns:p14="http://schemas.microsoft.com/office/powerpoint/2010/main" val="13320297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3EB83E-9A43-4C64-850A-5427CD140410}"/>
              </a:ext>
            </a:extLst>
          </p:cNvPr>
          <p:cNvSpPr>
            <a:spLocks noGrp="1"/>
          </p:cNvSpPr>
          <p:nvPr>
            <p:ph type="title"/>
          </p:nvPr>
        </p:nvSpPr>
        <p:spPr/>
        <p:txBody>
          <a:bodyPr/>
          <a:lstStyle/>
          <a:p>
            <a:r>
              <a:rPr lang="fr-FR"/>
              <a:t>Analyse des modèles</a:t>
            </a:r>
          </a:p>
        </p:txBody>
      </p:sp>
      <p:sp>
        <p:nvSpPr>
          <p:cNvPr id="4" name="Espace réservé du texte 3">
            <a:extLst>
              <a:ext uri="{FF2B5EF4-FFF2-40B4-BE49-F238E27FC236}">
                <a16:creationId xmlns:a16="http://schemas.microsoft.com/office/drawing/2014/main" id="{387BA546-E41F-4C95-B365-248F93F3BE89}"/>
              </a:ext>
            </a:extLst>
          </p:cNvPr>
          <p:cNvSpPr>
            <a:spLocks noGrp="1"/>
          </p:cNvSpPr>
          <p:nvPr>
            <p:ph type="body" sz="quarter" idx="38"/>
          </p:nvPr>
        </p:nvSpPr>
        <p:spPr/>
        <p:txBody>
          <a:bodyPr/>
          <a:lstStyle/>
          <a:p>
            <a:r>
              <a:rPr lang="fr-FR"/>
              <a:t>A	</a:t>
            </a:r>
          </a:p>
        </p:txBody>
      </p:sp>
    </p:spTree>
    <p:extLst>
      <p:ext uri="{BB962C8B-B14F-4D97-AF65-F5344CB8AC3E}">
        <p14:creationId xmlns:p14="http://schemas.microsoft.com/office/powerpoint/2010/main" val="332740686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2689997E-763F-41EE-92A2-E8A25B005753}"/>
              </a:ext>
            </a:extLst>
          </p:cNvPr>
          <p:cNvSpPr>
            <a:spLocks noGrp="1"/>
          </p:cNvSpPr>
          <p:nvPr>
            <p:ph type="title"/>
          </p:nvPr>
        </p:nvSpPr>
        <p:spPr/>
        <p:txBody>
          <a:bodyPr/>
          <a:lstStyle/>
          <a:p>
            <a:pPr algn="l" fontAlgn="base"/>
            <a:r>
              <a:rPr lang="fr-FR"/>
              <a:t>Personnes en situation de handicap : compléments (2/3)</a:t>
            </a:r>
          </a:p>
        </p:txBody>
      </p:sp>
      <p:sp>
        <p:nvSpPr>
          <p:cNvPr id="3" name="Espace réservé du texte 2">
            <a:extLst>
              <a:ext uri="{FF2B5EF4-FFF2-40B4-BE49-F238E27FC236}">
                <a16:creationId xmlns:a16="http://schemas.microsoft.com/office/drawing/2014/main" id="{120CAE43-622C-4D87-BF98-1721B6F2A21E}"/>
              </a:ext>
            </a:extLst>
          </p:cNvPr>
          <p:cNvSpPr>
            <a:spLocks noGrp="1"/>
          </p:cNvSpPr>
          <p:nvPr>
            <p:ph type="body" sz="quarter" idx="13"/>
          </p:nvPr>
        </p:nvSpPr>
        <p:spPr/>
        <p:txBody>
          <a:bodyPr/>
          <a:lstStyle/>
          <a:p>
            <a:r>
              <a:rPr lang="fr-FR">
                <a:solidFill>
                  <a:srgbClr val="938481"/>
                </a:solidFill>
              </a:rPr>
              <a:t>Complément sur le dimensionnement du marché</a:t>
            </a:r>
          </a:p>
        </p:txBody>
      </p:sp>
      <p:sp>
        <p:nvSpPr>
          <p:cNvPr id="2" name="ZoneTexte 1">
            <a:extLst>
              <a:ext uri="{FF2B5EF4-FFF2-40B4-BE49-F238E27FC236}">
                <a16:creationId xmlns:a16="http://schemas.microsoft.com/office/drawing/2014/main" id="{7F4803ED-F6C4-4591-B509-A6F8FB565050}"/>
              </a:ext>
            </a:extLst>
          </p:cNvPr>
          <p:cNvSpPr txBox="1"/>
          <p:nvPr/>
        </p:nvSpPr>
        <p:spPr>
          <a:xfrm>
            <a:off x="1672164" y="6334781"/>
            <a:ext cx="9682472" cy="200055"/>
          </a:xfrm>
          <a:prstGeom prst="rect">
            <a:avLst/>
          </a:prstGeom>
          <a:noFill/>
        </p:spPr>
        <p:txBody>
          <a:bodyPr wrap="square" lIns="108000" rIns="108000" rtlCol="0">
            <a:spAutoFit/>
          </a:bodyPr>
          <a:lstStyle/>
          <a:p>
            <a:r>
              <a:rPr lang="fr-FR" sz="700">
                <a:solidFill>
                  <a:srgbClr val="5F5F5F">
                    <a:lumMod val="60000"/>
                    <a:lumOff val="40000"/>
                  </a:srgbClr>
                </a:solidFill>
                <a:latin typeface="Tahoma"/>
              </a:rPr>
              <a:t>Source : ANCREAI, Laboratoire Population Environnement Développement, </a:t>
            </a:r>
            <a:r>
              <a:rPr lang="fr-FR" sz="700">
                <a:solidFill>
                  <a:srgbClr val="5F5F5F">
                    <a:lumMod val="60000"/>
                    <a:lumOff val="40000"/>
                  </a:srgbClr>
                </a:solidFill>
                <a:latin typeface="Tahoma"/>
                <a:hlinkClick r:id="rId3">
                  <a:extLst>
                    <a:ext uri="{A12FA001-AC4F-418D-AE19-62706E023703}">
                      <ahyp:hlinkClr xmlns:ahyp="http://schemas.microsoft.com/office/drawing/2018/hyperlinkcolor" val="tx"/>
                    </a:ext>
                  </a:extLst>
                </a:hlinkClick>
              </a:rPr>
              <a:t>Géographie de la population en situation de handicap en France Métropolitaine</a:t>
            </a:r>
            <a:r>
              <a:rPr lang="fr-FR" sz="700">
                <a:solidFill>
                  <a:srgbClr val="5F5F5F">
                    <a:lumMod val="60000"/>
                    <a:lumOff val="40000"/>
                  </a:srgbClr>
                </a:solidFill>
                <a:latin typeface="Tahoma"/>
              </a:rPr>
              <a:t>, 2018.</a:t>
            </a:r>
          </a:p>
        </p:txBody>
      </p:sp>
      <p:pic>
        <p:nvPicPr>
          <p:cNvPr id="5" name="Image 4">
            <a:extLst>
              <a:ext uri="{FF2B5EF4-FFF2-40B4-BE49-F238E27FC236}">
                <a16:creationId xmlns:a16="http://schemas.microsoft.com/office/drawing/2014/main" id="{13F438FA-E257-4E06-B3C1-CEF8BEA571B4}"/>
              </a:ext>
            </a:extLst>
          </p:cNvPr>
          <p:cNvPicPr>
            <a:picLocks noChangeAspect="1"/>
          </p:cNvPicPr>
          <p:nvPr/>
        </p:nvPicPr>
        <p:blipFill>
          <a:blip r:embed="rId4"/>
          <a:stretch>
            <a:fillRect/>
          </a:stretch>
        </p:blipFill>
        <p:spPr>
          <a:xfrm>
            <a:off x="1864180" y="1659458"/>
            <a:ext cx="8235612" cy="4357303"/>
          </a:xfrm>
          <a:prstGeom prst="rect">
            <a:avLst/>
          </a:prstGeom>
        </p:spPr>
      </p:pic>
      <p:sp>
        <p:nvSpPr>
          <p:cNvPr id="9" name="ZoneTexte 8">
            <a:extLst>
              <a:ext uri="{FF2B5EF4-FFF2-40B4-BE49-F238E27FC236}">
                <a16:creationId xmlns:a16="http://schemas.microsoft.com/office/drawing/2014/main" id="{19C4CB98-29F8-4DCD-B859-53CE9D365A56}"/>
              </a:ext>
            </a:extLst>
          </p:cNvPr>
          <p:cNvSpPr txBox="1"/>
          <p:nvPr/>
        </p:nvSpPr>
        <p:spPr>
          <a:xfrm>
            <a:off x="1487401" y="1092611"/>
            <a:ext cx="8989173" cy="461665"/>
          </a:xfrm>
          <a:prstGeom prst="rect">
            <a:avLst/>
          </a:prstGeom>
          <a:noFill/>
        </p:spPr>
        <p:txBody>
          <a:bodyPr wrap="square">
            <a:spAutoFit/>
          </a:bodyPr>
          <a:lstStyle/>
          <a:p>
            <a:r>
              <a:rPr lang="fr-FR" sz="1200" b="1">
                <a:solidFill>
                  <a:srgbClr val="5F5F5F"/>
                </a:solidFill>
                <a:latin typeface="Tahoma"/>
              </a:rPr>
              <a:t>Estimation des taux d’adultes handicapés (gauche) et des effectifs (gauche) par départements métropolitains</a:t>
            </a:r>
          </a:p>
          <a:p>
            <a:pPr algn="ctr"/>
            <a:r>
              <a:rPr lang="fr-FR" sz="1200">
                <a:solidFill>
                  <a:srgbClr val="5F5F5F"/>
                </a:solidFill>
                <a:latin typeface="Tahoma"/>
              </a:rPr>
              <a:t>Données issues de l’enquête Santé Handicap Ménage menée par l’INSEE en 2008</a:t>
            </a:r>
          </a:p>
        </p:txBody>
      </p:sp>
    </p:spTree>
    <p:extLst>
      <p:ext uri="{BB962C8B-B14F-4D97-AF65-F5344CB8AC3E}">
        <p14:creationId xmlns:p14="http://schemas.microsoft.com/office/powerpoint/2010/main" val="335316234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2689997E-763F-41EE-92A2-E8A25B005753}"/>
              </a:ext>
            </a:extLst>
          </p:cNvPr>
          <p:cNvSpPr>
            <a:spLocks noGrp="1"/>
          </p:cNvSpPr>
          <p:nvPr>
            <p:ph type="title"/>
          </p:nvPr>
        </p:nvSpPr>
        <p:spPr/>
        <p:txBody>
          <a:bodyPr/>
          <a:lstStyle/>
          <a:p>
            <a:pPr algn="l" fontAlgn="base"/>
            <a:r>
              <a:rPr lang="fr-FR"/>
              <a:t>Personnes en situation de handicap : compléments (3/3)</a:t>
            </a:r>
          </a:p>
        </p:txBody>
      </p:sp>
      <p:sp>
        <p:nvSpPr>
          <p:cNvPr id="3" name="Espace réservé du texte 2">
            <a:extLst>
              <a:ext uri="{FF2B5EF4-FFF2-40B4-BE49-F238E27FC236}">
                <a16:creationId xmlns:a16="http://schemas.microsoft.com/office/drawing/2014/main" id="{120CAE43-622C-4D87-BF98-1721B6F2A21E}"/>
              </a:ext>
            </a:extLst>
          </p:cNvPr>
          <p:cNvSpPr>
            <a:spLocks noGrp="1"/>
          </p:cNvSpPr>
          <p:nvPr>
            <p:ph type="body" sz="quarter" idx="13"/>
          </p:nvPr>
        </p:nvSpPr>
        <p:spPr/>
        <p:txBody>
          <a:bodyPr/>
          <a:lstStyle/>
          <a:p>
            <a:r>
              <a:rPr lang="fr-FR">
                <a:solidFill>
                  <a:srgbClr val="938481"/>
                </a:solidFill>
              </a:rPr>
              <a:t>Complément sur le dimensionnement du marché</a:t>
            </a:r>
          </a:p>
        </p:txBody>
      </p:sp>
      <p:sp>
        <p:nvSpPr>
          <p:cNvPr id="2" name="ZoneTexte 1">
            <a:extLst>
              <a:ext uri="{FF2B5EF4-FFF2-40B4-BE49-F238E27FC236}">
                <a16:creationId xmlns:a16="http://schemas.microsoft.com/office/drawing/2014/main" id="{7F4803ED-F6C4-4591-B509-A6F8FB565050}"/>
              </a:ext>
            </a:extLst>
          </p:cNvPr>
          <p:cNvSpPr txBox="1"/>
          <p:nvPr/>
        </p:nvSpPr>
        <p:spPr>
          <a:xfrm>
            <a:off x="1680000" y="6334781"/>
            <a:ext cx="9682472" cy="200055"/>
          </a:xfrm>
          <a:prstGeom prst="rect">
            <a:avLst/>
          </a:prstGeom>
          <a:noFill/>
        </p:spPr>
        <p:txBody>
          <a:bodyPr wrap="square" lIns="108000" rIns="108000" rtlCol="0">
            <a:spAutoFit/>
          </a:bodyPr>
          <a:lstStyle/>
          <a:p>
            <a:r>
              <a:rPr lang="fr-FR" sz="700">
                <a:solidFill>
                  <a:srgbClr val="5F5F5F">
                    <a:lumMod val="60000"/>
                    <a:lumOff val="40000"/>
                  </a:srgbClr>
                </a:solidFill>
                <a:latin typeface="Tahoma"/>
              </a:rPr>
              <a:t>Source : ANCREAI, Laboratoire Population Environnement Développement, </a:t>
            </a:r>
            <a:r>
              <a:rPr lang="fr-FR" sz="700">
                <a:solidFill>
                  <a:srgbClr val="5F5F5F">
                    <a:lumMod val="60000"/>
                    <a:lumOff val="40000"/>
                  </a:srgbClr>
                </a:solidFill>
                <a:latin typeface="Tahoma"/>
                <a:hlinkClick r:id="rId3">
                  <a:extLst>
                    <a:ext uri="{A12FA001-AC4F-418D-AE19-62706E023703}">
                      <ahyp:hlinkClr xmlns:ahyp="http://schemas.microsoft.com/office/drawing/2018/hyperlinkcolor" val="tx"/>
                    </a:ext>
                  </a:extLst>
                </a:hlinkClick>
              </a:rPr>
              <a:t>Géographie de la population en situation de handicap en France Métropolitaine</a:t>
            </a:r>
            <a:r>
              <a:rPr lang="fr-FR" sz="700">
                <a:solidFill>
                  <a:srgbClr val="5F5F5F">
                    <a:lumMod val="60000"/>
                    <a:lumOff val="40000"/>
                  </a:srgbClr>
                </a:solidFill>
                <a:latin typeface="Tahoma"/>
              </a:rPr>
              <a:t>, 2018.</a:t>
            </a:r>
          </a:p>
        </p:txBody>
      </p:sp>
      <p:sp>
        <p:nvSpPr>
          <p:cNvPr id="9" name="ZoneTexte 8">
            <a:extLst>
              <a:ext uri="{FF2B5EF4-FFF2-40B4-BE49-F238E27FC236}">
                <a16:creationId xmlns:a16="http://schemas.microsoft.com/office/drawing/2014/main" id="{19C4CB98-29F8-4DCD-B859-53CE9D365A56}"/>
              </a:ext>
            </a:extLst>
          </p:cNvPr>
          <p:cNvSpPr txBox="1"/>
          <p:nvPr/>
        </p:nvSpPr>
        <p:spPr>
          <a:xfrm>
            <a:off x="1487401" y="1092611"/>
            <a:ext cx="8989173" cy="646331"/>
          </a:xfrm>
          <a:prstGeom prst="rect">
            <a:avLst/>
          </a:prstGeom>
          <a:noFill/>
        </p:spPr>
        <p:txBody>
          <a:bodyPr wrap="square">
            <a:spAutoFit/>
          </a:bodyPr>
          <a:lstStyle/>
          <a:p>
            <a:pPr algn="ctr"/>
            <a:r>
              <a:rPr lang="fr-FR" sz="1200" b="1">
                <a:solidFill>
                  <a:srgbClr val="5F5F5F"/>
                </a:solidFill>
                <a:latin typeface="Tahoma"/>
              </a:rPr>
              <a:t>Estimation des taux d’enfants en situation de handicap par département</a:t>
            </a:r>
          </a:p>
          <a:p>
            <a:pPr algn="ctr"/>
            <a:r>
              <a:rPr lang="fr-FR" sz="1200">
                <a:solidFill>
                  <a:srgbClr val="5F5F5F"/>
                </a:solidFill>
                <a:latin typeface="Tahoma"/>
              </a:rPr>
              <a:t>Données utilisées : taux d’enfants handicapés bénéficiant de l’AEEH ou scolarisés en milieu ordinaire (données MENSR) + données démographiques de l’INSEE</a:t>
            </a:r>
          </a:p>
        </p:txBody>
      </p:sp>
      <p:pic>
        <p:nvPicPr>
          <p:cNvPr id="6" name="Image 5">
            <a:extLst>
              <a:ext uri="{FF2B5EF4-FFF2-40B4-BE49-F238E27FC236}">
                <a16:creationId xmlns:a16="http://schemas.microsoft.com/office/drawing/2014/main" id="{5EEB9306-9BB4-46B0-ADCE-F0ED30C3BD2E}"/>
              </a:ext>
            </a:extLst>
          </p:cNvPr>
          <p:cNvPicPr>
            <a:picLocks noChangeAspect="1"/>
          </p:cNvPicPr>
          <p:nvPr/>
        </p:nvPicPr>
        <p:blipFill>
          <a:blip r:embed="rId4"/>
          <a:stretch>
            <a:fillRect/>
          </a:stretch>
        </p:blipFill>
        <p:spPr>
          <a:xfrm>
            <a:off x="3930806" y="1738941"/>
            <a:ext cx="3797491" cy="4370388"/>
          </a:xfrm>
          <a:prstGeom prst="rect">
            <a:avLst/>
          </a:prstGeom>
        </p:spPr>
      </p:pic>
    </p:spTree>
    <p:extLst>
      <p:ext uri="{BB962C8B-B14F-4D97-AF65-F5344CB8AC3E}">
        <p14:creationId xmlns:p14="http://schemas.microsoft.com/office/powerpoint/2010/main" val="10261393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6D60949-064F-4F33-BF60-58446703E1A5}"/>
              </a:ext>
            </a:extLst>
          </p:cNvPr>
          <p:cNvSpPr/>
          <p:nvPr/>
        </p:nvSpPr>
        <p:spPr>
          <a:xfrm>
            <a:off x="7836894" y="1462590"/>
            <a:ext cx="2996041" cy="3315278"/>
          </a:xfrm>
          <a:prstGeom prst="rect">
            <a:avLst/>
          </a:prstGeom>
          <a:solidFill>
            <a:srgbClr val="EBE4F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4" name="Rectangle 3">
            <a:extLst>
              <a:ext uri="{FF2B5EF4-FFF2-40B4-BE49-F238E27FC236}">
                <a16:creationId xmlns:a16="http://schemas.microsoft.com/office/drawing/2014/main" id="{8EB00072-F1B2-41F0-919A-220F98F105E0}"/>
              </a:ext>
            </a:extLst>
          </p:cNvPr>
          <p:cNvSpPr/>
          <p:nvPr/>
        </p:nvSpPr>
        <p:spPr>
          <a:xfrm>
            <a:off x="1487400" y="1462590"/>
            <a:ext cx="3017874" cy="33152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60" name="Rectangle 59">
            <a:extLst>
              <a:ext uri="{FF2B5EF4-FFF2-40B4-BE49-F238E27FC236}">
                <a16:creationId xmlns:a16="http://schemas.microsoft.com/office/drawing/2014/main" id="{A9EA2288-14E6-4965-9986-5BE2D9107786}"/>
              </a:ext>
            </a:extLst>
          </p:cNvPr>
          <p:cNvSpPr/>
          <p:nvPr/>
        </p:nvSpPr>
        <p:spPr>
          <a:xfrm>
            <a:off x="4681710" y="1462590"/>
            <a:ext cx="3017874" cy="33152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endParaRPr lang="fr-FR">
              <a:solidFill>
                <a:srgbClr val="503078"/>
              </a:solidFill>
              <a:latin typeface="Tahoma"/>
            </a:endParaRPr>
          </a:p>
        </p:txBody>
      </p:sp>
      <p:sp>
        <p:nvSpPr>
          <p:cNvPr id="2" name="Titre 1">
            <a:extLst>
              <a:ext uri="{FF2B5EF4-FFF2-40B4-BE49-F238E27FC236}">
                <a16:creationId xmlns:a16="http://schemas.microsoft.com/office/drawing/2014/main" id="{1E4139C1-33B6-4984-9E1C-044917F9898D}"/>
              </a:ext>
            </a:extLst>
          </p:cNvPr>
          <p:cNvSpPr>
            <a:spLocks noGrp="1"/>
          </p:cNvSpPr>
          <p:nvPr>
            <p:ph type="title"/>
          </p:nvPr>
        </p:nvSpPr>
        <p:spPr/>
        <p:txBody>
          <a:bodyPr/>
          <a:lstStyle/>
          <a:p>
            <a:r>
              <a:rPr lang="en-US"/>
              <a:t>D</a:t>
            </a:r>
            <a:r>
              <a:rPr lang="fr-FR"/>
              <a:t>e nouvelles solutions de répit en émergence</a:t>
            </a:r>
          </a:p>
        </p:txBody>
      </p:sp>
      <p:sp>
        <p:nvSpPr>
          <p:cNvPr id="191" name="Espace réservé du texte 190">
            <a:extLst>
              <a:ext uri="{FF2B5EF4-FFF2-40B4-BE49-F238E27FC236}">
                <a16:creationId xmlns:a16="http://schemas.microsoft.com/office/drawing/2014/main" id="{84293499-F87E-4CDD-8E7F-169E864B4507}"/>
              </a:ext>
            </a:extLst>
          </p:cNvPr>
          <p:cNvSpPr>
            <a:spLocks noGrp="1"/>
          </p:cNvSpPr>
          <p:nvPr>
            <p:ph type="body" sz="quarter" idx="13"/>
          </p:nvPr>
        </p:nvSpPr>
        <p:spPr>
          <a:xfrm>
            <a:off x="1488600" y="89229"/>
            <a:ext cx="9216000" cy="260350"/>
          </a:xfrm>
        </p:spPr>
        <p:txBody>
          <a:bodyPr/>
          <a:lstStyle/>
          <a:p>
            <a:r>
              <a:rPr lang="fr-FR"/>
              <a:t>Etat des </a:t>
            </a:r>
            <a:r>
              <a:rPr lang="fr-FR">
                <a:solidFill>
                  <a:srgbClr val="938481"/>
                </a:solidFill>
              </a:rPr>
              <a:t>lieux des modèles existants</a:t>
            </a:r>
          </a:p>
        </p:txBody>
      </p:sp>
      <p:sp>
        <p:nvSpPr>
          <p:cNvPr id="3" name="ZoneTexte 2">
            <a:extLst>
              <a:ext uri="{FF2B5EF4-FFF2-40B4-BE49-F238E27FC236}">
                <a16:creationId xmlns:a16="http://schemas.microsoft.com/office/drawing/2014/main" id="{24189D97-C734-4D5A-910E-38A776C5B9D6}"/>
              </a:ext>
            </a:extLst>
          </p:cNvPr>
          <p:cNvSpPr txBox="1"/>
          <p:nvPr/>
        </p:nvSpPr>
        <p:spPr>
          <a:xfrm>
            <a:off x="1487400" y="837060"/>
            <a:ext cx="9345534" cy="430887"/>
          </a:xfrm>
          <a:prstGeom prst="rect">
            <a:avLst/>
          </a:prstGeom>
          <a:solidFill>
            <a:schemeClr val="bg2"/>
          </a:solidFill>
        </p:spPr>
        <p:txBody>
          <a:bodyPr wrap="square" lIns="108000" rIns="108000" rtlCol="0">
            <a:spAutoFit/>
          </a:bodyPr>
          <a:lstStyle/>
          <a:p>
            <a:r>
              <a:rPr lang="fr-FR" sz="1100" b="1">
                <a:solidFill>
                  <a:srgbClr val="FFFFFF"/>
                </a:solidFill>
                <a:latin typeface="Tahoma"/>
              </a:rPr>
              <a:t>En plus de l’accompagnement à domicile </a:t>
            </a:r>
            <a:r>
              <a:rPr lang="fr-FR" sz="1100">
                <a:solidFill>
                  <a:srgbClr val="FFFFFF"/>
                </a:solidFill>
                <a:latin typeface="Tahoma"/>
              </a:rPr>
              <a:t>(répit à domicile, baluchonnage) </a:t>
            </a:r>
            <a:r>
              <a:rPr lang="fr-FR" sz="1100" b="1">
                <a:solidFill>
                  <a:srgbClr val="FFFFFF"/>
                </a:solidFill>
                <a:latin typeface="Tahoma"/>
              </a:rPr>
              <a:t>et de la prise en charge traditionnelle au sein d’ESMS </a:t>
            </a:r>
            <a:r>
              <a:rPr lang="fr-FR" sz="1100">
                <a:solidFill>
                  <a:srgbClr val="FFFFFF"/>
                </a:solidFill>
                <a:latin typeface="Tahoma"/>
              </a:rPr>
              <a:t>(accueils de jour / de nuit, accueil familial, …), </a:t>
            </a:r>
            <a:r>
              <a:rPr lang="fr-FR" sz="1100" b="1">
                <a:solidFill>
                  <a:srgbClr val="FFFFFF"/>
                </a:solidFill>
                <a:latin typeface="Tahoma"/>
              </a:rPr>
              <a:t>de nouvelles solutions de répit sont en cours d’émergence : </a:t>
            </a:r>
          </a:p>
        </p:txBody>
      </p:sp>
      <p:sp>
        <p:nvSpPr>
          <p:cNvPr id="48" name="ZoneTexte 47">
            <a:extLst>
              <a:ext uri="{FF2B5EF4-FFF2-40B4-BE49-F238E27FC236}">
                <a16:creationId xmlns:a16="http://schemas.microsoft.com/office/drawing/2014/main" id="{8D77FBCD-13BD-431D-8181-1BF5EBFF2EB1}"/>
              </a:ext>
            </a:extLst>
          </p:cNvPr>
          <p:cNvSpPr txBox="1"/>
          <p:nvPr/>
        </p:nvSpPr>
        <p:spPr>
          <a:xfrm>
            <a:off x="1487400" y="4906956"/>
            <a:ext cx="9345534" cy="261610"/>
          </a:xfrm>
          <a:prstGeom prst="rect">
            <a:avLst/>
          </a:prstGeom>
          <a:solidFill>
            <a:schemeClr val="accent5"/>
          </a:solidFill>
        </p:spPr>
        <p:txBody>
          <a:bodyPr wrap="square" lIns="108000" rIns="108000" rtlCol="0">
            <a:spAutoFit/>
          </a:bodyPr>
          <a:lstStyle/>
          <a:p>
            <a:r>
              <a:rPr lang="fr-FR" sz="1100" b="1">
                <a:solidFill>
                  <a:srgbClr val="FFFFFF"/>
                </a:solidFill>
                <a:latin typeface="Tahoma"/>
              </a:rPr>
              <a:t>Ces solutions de répit s’appuient sur de l’accueil ou de l’hébergement temporaire  </a:t>
            </a:r>
          </a:p>
        </p:txBody>
      </p:sp>
      <p:sp>
        <p:nvSpPr>
          <p:cNvPr id="49" name="ZoneTexte 48">
            <a:extLst>
              <a:ext uri="{FF2B5EF4-FFF2-40B4-BE49-F238E27FC236}">
                <a16:creationId xmlns:a16="http://schemas.microsoft.com/office/drawing/2014/main" id="{7DBDC219-462E-487A-A278-484B5C1A27F3}"/>
              </a:ext>
            </a:extLst>
          </p:cNvPr>
          <p:cNvSpPr txBox="1"/>
          <p:nvPr/>
        </p:nvSpPr>
        <p:spPr>
          <a:xfrm>
            <a:off x="1487401" y="5292825"/>
            <a:ext cx="4576661" cy="861774"/>
          </a:xfrm>
          <a:prstGeom prst="rect">
            <a:avLst/>
          </a:prstGeom>
          <a:solidFill>
            <a:srgbClr val="E8FCFE"/>
          </a:solidFill>
        </p:spPr>
        <p:txBody>
          <a:bodyPr wrap="square" lIns="108000" rIns="108000" rtlCol="0">
            <a:spAutoFit/>
          </a:bodyPr>
          <a:lstStyle/>
          <a:p>
            <a:pPr marL="171450" indent="-171450">
              <a:buFont typeface="Arial" panose="020B0604020202020204" pitchFamily="34" charset="0"/>
              <a:buChar char="•"/>
            </a:pPr>
            <a:r>
              <a:rPr lang="fr-FR" sz="1000" b="1">
                <a:solidFill>
                  <a:srgbClr val="048B9A"/>
                </a:solidFill>
                <a:latin typeface="Tahoma"/>
              </a:rPr>
              <a:t>Accueil temporaire : </a:t>
            </a:r>
            <a:r>
              <a:rPr lang="fr-FR" sz="1000">
                <a:solidFill>
                  <a:srgbClr val="5F5F5F"/>
                </a:solidFill>
                <a:latin typeface="Tahoma"/>
              </a:rPr>
              <a:t>accueil « à titre permanent, temporaire ou selon un mode séquentiel », et ce « à temps complet ou partiel, avec un sans hébergement »</a:t>
            </a:r>
          </a:p>
          <a:p>
            <a:pPr marL="182563"/>
            <a:r>
              <a:rPr lang="fr-FR" sz="1000">
                <a:solidFill>
                  <a:srgbClr val="5F5F5F"/>
                </a:solidFill>
                <a:latin typeface="Tahoma"/>
              </a:rPr>
              <a:t> = toute modalité d’accueil non permanent (avec ou sans hébergement, de jour comme de nuit), dans une limite de 90 jours par an. </a:t>
            </a:r>
          </a:p>
        </p:txBody>
      </p:sp>
      <p:sp>
        <p:nvSpPr>
          <p:cNvPr id="50" name="ZoneTexte 49">
            <a:extLst>
              <a:ext uri="{FF2B5EF4-FFF2-40B4-BE49-F238E27FC236}">
                <a16:creationId xmlns:a16="http://schemas.microsoft.com/office/drawing/2014/main" id="{86C8EF93-0023-468A-8F39-01A1E8049146}"/>
              </a:ext>
            </a:extLst>
          </p:cNvPr>
          <p:cNvSpPr txBox="1"/>
          <p:nvPr/>
        </p:nvSpPr>
        <p:spPr>
          <a:xfrm>
            <a:off x="1487400" y="6345361"/>
            <a:ext cx="9216000" cy="430887"/>
          </a:xfrm>
          <a:prstGeom prst="rect">
            <a:avLst/>
          </a:prstGeom>
          <a:noFill/>
        </p:spPr>
        <p:txBody>
          <a:bodyPr wrap="square" lIns="108000" rIns="108000" rtlCol="0">
            <a:spAutoFit/>
          </a:bodyPr>
          <a:lstStyle/>
          <a:p>
            <a:r>
              <a:rPr lang="fr-FR" sz="700">
                <a:solidFill>
                  <a:srgbClr val="5F5F5F">
                    <a:lumMod val="60000"/>
                    <a:lumOff val="40000"/>
                  </a:srgbClr>
                </a:solidFill>
                <a:latin typeface="Tahoma"/>
              </a:rPr>
              <a:t>Sources : </a:t>
            </a:r>
          </a:p>
          <a:p>
            <a:r>
              <a:rPr lang="fr-FR" sz="700">
                <a:solidFill>
                  <a:srgbClr val="5F5F5F">
                    <a:lumMod val="60000"/>
                    <a:lumOff val="40000"/>
                  </a:srgbClr>
                </a:solidFill>
                <a:latin typeface="Tahoma"/>
              </a:rPr>
              <a:t>- Loi du 2 janvier 2022 rénovant l’action sociale et médico-sociale (article L. 312-1 du CASF)</a:t>
            </a:r>
          </a:p>
          <a:p>
            <a:r>
              <a:rPr lang="fr-FR" sz="700">
                <a:solidFill>
                  <a:srgbClr val="5F5F5F">
                    <a:lumMod val="60000"/>
                    <a:lumOff val="40000"/>
                  </a:srgbClr>
                </a:solidFill>
                <a:latin typeface="Tahoma"/>
              </a:rPr>
              <a:t>- Note d’information du 19 mars 2021 concernant le cadre national d'orientation sur les principes généraux relatifs à l'offre de répit et à l'accueil temporaire</a:t>
            </a:r>
            <a:r>
              <a:rPr lang="fr-FR" sz="800">
                <a:solidFill>
                  <a:srgbClr val="5F5F5F"/>
                </a:solidFill>
                <a:latin typeface="Tahoma"/>
              </a:rPr>
              <a:t>.</a:t>
            </a:r>
          </a:p>
        </p:txBody>
      </p:sp>
      <p:sp>
        <p:nvSpPr>
          <p:cNvPr id="51" name="ZoneTexte 50">
            <a:extLst>
              <a:ext uri="{FF2B5EF4-FFF2-40B4-BE49-F238E27FC236}">
                <a16:creationId xmlns:a16="http://schemas.microsoft.com/office/drawing/2014/main" id="{7DF9F57D-BB31-4BD6-8695-2ED6D31A94E7}"/>
              </a:ext>
            </a:extLst>
          </p:cNvPr>
          <p:cNvSpPr txBox="1"/>
          <p:nvPr/>
        </p:nvSpPr>
        <p:spPr>
          <a:xfrm>
            <a:off x="6569113" y="5294314"/>
            <a:ext cx="4241381" cy="861774"/>
          </a:xfrm>
          <a:prstGeom prst="rect">
            <a:avLst/>
          </a:prstGeom>
          <a:solidFill>
            <a:srgbClr val="E8FCFE"/>
          </a:solidFill>
        </p:spPr>
        <p:txBody>
          <a:bodyPr wrap="square" lIns="108000" rIns="108000" rtlCol="0">
            <a:spAutoFit/>
          </a:bodyPr>
          <a:lstStyle>
            <a:defPPr>
              <a:defRPr lang="en-US"/>
            </a:defPPr>
            <a:lvl1pPr>
              <a:defRPr sz="1050"/>
            </a:lvl1pPr>
          </a:lstStyle>
          <a:p>
            <a:pPr marL="171450" indent="-171450">
              <a:buFont typeface="Arial" panose="020B0604020202020204" pitchFamily="34" charset="0"/>
              <a:buChar char="•"/>
            </a:pPr>
            <a:r>
              <a:rPr lang="fr-FR" sz="1000" b="1">
                <a:solidFill>
                  <a:srgbClr val="048B9A"/>
                </a:solidFill>
                <a:latin typeface="Tahoma"/>
              </a:rPr>
              <a:t>Hébergement temporaire </a:t>
            </a:r>
            <a:r>
              <a:rPr lang="fr-FR" sz="1000">
                <a:solidFill>
                  <a:srgbClr val="5F5F5F"/>
                </a:solidFill>
                <a:latin typeface="Tahoma"/>
              </a:rPr>
              <a:t>: formule d’accueil organisée pour une durée limitée, le cas échéant sur un mode séquentiel, s’adressant aux personnes dépendantes dont le soutien à domicile en structure d’accompagnement est momentanément compromis du fait d’une situation complexe ou de crise. </a:t>
            </a:r>
          </a:p>
        </p:txBody>
      </p:sp>
      <p:sp>
        <p:nvSpPr>
          <p:cNvPr id="52" name="Rectangle 51">
            <a:extLst>
              <a:ext uri="{FF2B5EF4-FFF2-40B4-BE49-F238E27FC236}">
                <a16:creationId xmlns:a16="http://schemas.microsoft.com/office/drawing/2014/main" id="{8567815E-EFE7-49B4-BD42-2369DF3AC805}"/>
              </a:ext>
            </a:extLst>
          </p:cNvPr>
          <p:cNvSpPr/>
          <p:nvPr/>
        </p:nvSpPr>
        <p:spPr bwMode="gray">
          <a:xfrm>
            <a:off x="1459519" y="1888266"/>
            <a:ext cx="2973600" cy="2939266"/>
          </a:xfrm>
          <a:prstGeom prst="rect">
            <a:avLst/>
          </a:prstGeom>
        </p:spPr>
        <p:txBody>
          <a:bodyPr wrap="square">
            <a:spAutoFit/>
          </a:bodyPr>
          <a:lstStyle/>
          <a:p>
            <a:pPr marL="171450" indent="-171450" algn="just">
              <a:spcAft>
                <a:spcPts val="300"/>
              </a:spcAft>
              <a:buClr>
                <a:srgbClr val="503078"/>
              </a:buClr>
              <a:buFont typeface="Tahoma" panose="020B0604030504040204" pitchFamily="34" charset="0"/>
              <a:buChar char="⁄"/>
              <a:defRPr/>
            </a:pPr>
            <a:r>
              <a:rPr lang="fr-FR" sz="1000" dirty="0">
                <a:solidFill>
                  <a:srgbClr val="5F5F5F"/>
                </a:solidFill>
                <a:latin typeface="Tahoma"/>
              </a:rPr>
              <a:t>Les plateformes de répit (PFR), initialement créées dans le cadre du Plan Alzheimer 2008-2012, s’adressent aux aidants accompagnant une personne atteinte d’une maladie neuro-dégénérative, une personne âgée en perte d’autonomie, un enfant ou un adulte en situation de handicap. </a:t>
            </a:r>
          </a:p>
          <a:p>
            <a:pPr marL="171450" indent="-171450" algn="just">
              <a:spcAft>
                <a:spcPts val="300"/>
              </a:spcAft>
              <a:buClr>
                <a:srgbClr val="503078"/>
              </a:buClr>
              <a:buFont typeface="Tahoma" panose="020B0604030504040204" pitchFamily="34" charset="0"/>
              <a:buChar char="⁄"/>
              <a:defRPr/>
            </a:pPr>
            <a:r>
              <a:rPr lang="fr-FR" sz="1000" kern="0" dirty="0">
                <a:solidFill>
                  <a:srgbClr val="5F5F5F"/>
                </a:solidFill>
                <a:latin typeface="Tahoma"/>
              </a:rPr>
              <a:t>Elles assurent une mission d’information et d’orientation des publics, proposent des prestations de répit ou de soutien à l’aidant et offrent du temps libéré ponctuel. </a:t>
            </a:r>
          </a:p>
          <a:p>
            <a:pPr marL="171450" indent="-171450" algn="just">
              <a:buClr>
                <a:srgbClr val="503078"/>
              </a:buClr>
              <a:buFont typeface="Tahoma" panose="020B0604030504040204" pitchFamily="34" charset="0"/>
              <a:buChar char="⁄"/>
              <a:defRPr/>
            </a:pPr>
            <a:r>
              <a:rPr lang="fr-FR" sz="1000" dirty="0">
                <a:solidFill>
                  <a:srgbClr val="5F5F5F"/>
                </a:solidFill>
                <a:latin typeface="Tahoma"/>
              </a:rPr>
              <a:t>Les PFR sont généralement adossées à un accueil de jour (autonome ou au sein d’un EHPAD) et proposent des séjours d’un ou deux jours. </a:t>
            </a:r>
          </a:p>
          <a:p>
            <a:pPr marL="171450" indent="-171450" algn="just">
              <a:buClr>
                <a:srgbClr val="503078"/>
              </a:buClr>
              <a:buFont typeface="Tahoma" panose="020B0604030504040204" pitchFamily="34" charset="0"/>
              <a:buChar char="⁄"/>
              <a:defRPr/>
            </a:pPr>
            <a:r>
              <a:rPr lang="fr-FR" sz="1000" kern="0" dirty="0">
                <a:solidFill>
                  <a:srgbClr val="5F5F5F"/>
                </a:solidFill>
                <a:latin typeface="Tahoma"/>
              </a:rPr>
              <a:t>Les PFR peuvent également proposer des séjours de répit en partenariat avec d’autres structures. </a:t>
            </a:r>
          </a:p>
        </p:txBody>
      </p:sp>
      <p:sp>
        <p:nvSpPr>
          <p:cNvPr id="53" name="Rectangle 52">
            <a:extLst>
              <a:ext uri="{FF2B5EF4-FFF2-40B4-BE49-F238E27FC236}">
                <a16:creationId xmlns:a16="http://schemas.microsoft.com/office/drawing/2014/main" id="{8AB27ACB-6CA0-45EB-99B0-32E4C453906D}"/>
              </a:ext>
            </a:extLst>
          </p:cNvPr>
          <p:cNvSpPr/>
          <p:nvPr/>
        </p:nvSpPr>
        <p:spPr bwMode="gray">
          <a:xfrm>
            <a:off x="4693331" y="1797565"/>
            <a:ext cx="3006254" cy="3016210"/>
          </a:xfrm>
          <a:prstGeom prst="rect">
            <a:avLst/>
          </a:prstGeom>
        </p:spPr>
        <p:txBody>
          <a:bodyPr wrap="square">
            <a:spAutoFit/>
          </a:bodyPr>
          <a:lstStyle/>
          <a:p>
            <a:pPr marL="171450" indent="-171450" algn="just">
              <a:buClr>
                <a:srgbClr val="503078"/>
              </a:buClr>
              <a:buFont typeface="Tahoma" panose="020B0604030504040204" pitchFamily="34" charset="0"/>
              <a:buChar char="⁄"/>
              <a:defRPr/>
            </a:pPr>
            <a:r>
              <a:rPr lang="fr-FR" sz="1000">
                <a:solidFill>
                  <a:srgbClr val="5F5F5F"/>
                </a:solidFill>
                <a:latin typeface="Tahoma"/>
              </a:rPr>
              <a:t>Adaptée du modèle canadien, la Maison de Répit accueille les personnes en perte d’autonomie et leurs aidants pour prévenir le risque d’épuisement. Elle est constituée d’une équipe mobile qui évalue, en pluridisciplinarité, les besoins des proches aidants et coconstruit un plan de « soins de répit ». </a:t>
            </a:r>
          </a:p>
          <a:p>
            <a:pPr marL="171450" indent="-171450" algn="just">
              <a:buClr>
                <a:srgbClr val="503078"/>
              </a:buClr>
              <a:buFont typeface="Tahoma" panose="020B0604030504040204" pitchFamily="34" charset="0"/>
              <a:buChar char="⁄"/>
              <a:defRPr/>
            </a:pPr>
            <a:r>
              <a:rPr lang="fr-FR" sz="1000">
                <a:solidFill>
                  <a:srgbClr val="5F5F5F"/>
                </a:solidFill>
                <a:latin typeface="Tahoma"/>
              </a:rPr>
              <a:t>La maison de répit propose des séjours familiaux, pour lesquels un ou plusieurs proches peuvent être accueillis dans la chambre de l’aidé, dans des chambres séparées, ou dans un studio familial, pour un temps de répit actif d’une durée maximale de 90 jours par an. </a:t>
            </a:r>
          </a:p>
          <a:p>
            <a:pPr marL="171450" indent="-171450" algn="just">
              <a:buClr>
                <a:srgbClr val="503078"/>
              </a:buClr>
              <a:buFont typeface="Tahoma" panose="020B0604030504040204" pitchFamily="34" charset="0"/>
              <a:buChar char="⁄"/>
              <a:defRPr/>
            </a:pPr>
            <a:r>
              <a:rPr lang="fr-FR" sz="1000">
                <a:solidFill>
                  <a:srgbClr val="5F5F5F"/>
                </a:solidFill>
                <a:latin typeface="Tahoma"/>
              </a:rPr>
              <a:t>La première Maison de Répit Française a ouvert ses portes en 2019 dans la métropole de Lyon. Une Maison de Répit est en cours de montage à Boulogne-Billancourt, en Île-de-France (fiches dédiées </a:t>
            </a:r>
            <a:r>
              <a:rPr lang="fr-FR" sz="1000">
                <a:solidFill>
                  <a:srgbClr val="5F5F5F"/>
                </a:solidFill>
                <a:latin typeface="Tahoma"/>
                <a:hlinkClick r:id="rId2" action="ppaction://hlinksldjump"/>
              </a:rPr>
              <a:t>en annexe</a:t>
            </a:r>
            <a:r>
              <a:rPr lang="fr-FR" sz="1000">
                <a:solidFill>
                  <a:srgbClr val="5F5F5F"/>
                </a:solidFill>
                <a:latin typeface="Tahoma"/>
              </a:rPr>
              <a:t>) </a:t>
            </a:r>
            <a:endParaRPr lang="fr-FR" sz="1000" kern="0">
              <a:solidFill>
                <a:srgbClr val="5F5F5F"/>
              </a:solidFill>
              <a:latin typeface="Tahoma"/>
            </a:endParaRPr>
          </a:p>
        </p:txBody>
      </p:sp>
      <p:sp>
        <p:nvSpPr>
          <p:cNvPr id="54" name="Rectangle 53">
            <a:extLst>
              <a:ext uri="{FF2B5EF4-FFF2-40B4-BE49-F238E27FC236}">
                <a16:creationId xmlns:a16="http://schemas.microsoft.com/office/drawing/2014/main" id="{9195A2CA-3422-43BB-A63C-E907B2DECA6A}"/>
              </a:ext>
            </a:extLst>
          </p:cNvPr>
          <p:cNvSpPr/>
          <p:nvPr/>
        </p:nvSpPr>
        <p:spPr bwMode="gray">
          <a:xfrm>
            <a:off x="7836893" y="1888403"/>
            <a:ext cx="2973600" cy="2554545"/>
          </a:xfrm>
          <a:prstGeom prst="rect">
            <a:avLst/>
          </a:prstGeom>
        </p:spPr>
        <p:txBody>
          <a:bodyPr wrap="square">
            <a:spAutoFit/>
          </a:bodyPr>
          <a:lstStyle/>
          <a:p>
            <a:pPr marL="171450" indent="-171450" algn="just">
              <a:buClr>
                <a:srgbClr val="503078"/>
              </a:buClr>
              <a:buFont typeface="Tahoma" panose="020B0604030504040204" pitchFamily="34" charset="0"/>
              <a:buChar char="⁄"/>
              <a:defRPr/>
            </a:pPr>
            <a:r>
              <a:rPr lang="fr-FR" sz="1000">
                <a:solidFill>
                  <a:srgbClr val="5F5F5F"/>
                </a:solidFill>
                <a:latin typeface="Tahoma"/>
              </a:rPr>
              <a:t>Offre de service mixte, à la fois touristique et médicosociale, destinée aux couples aidant/aidé, les séjours de répit partagé comprennent à la fois une prise en charge médico-sociale de la personne dépendante et un accompagnement de l’aidant au sein d’une structure d’accueil adaptée. </a:t>
            </a:r>
          </a:p>
          <a:p>
            <a:pPr marL="171450" indent="-171450" algn="just">
              <a:buClr>
                <a:srgbClr val="503078"/>
              </a:buClr>
              <a:buFont typeface="Tahoma" panose="020B0604030504040204" pitchFamily="34" charset="0"/>
              <a:buChar char="⁄"/>
              <a:defRPr/>
            </a:pPr>
            <a:r>
              <a:rPr lang="fr-FR" sz="1000">
                <a:solidFill>
                  <a:srgbClr val="5F5F5F"/>
                </a:solidFill>
                <a:latin typeface="Tahoma"/>
              </a:rPr>
              <a:t>Elles permettent au couple aidant / aidé de bénéficier d’activités communes et d’un temps de répit sans séparation, hors du domicile ou de l’établissement d’accueil de l’aidé. </a:t>
            </a:r>
          </a:p>
          <a:p>
            <a:pPr marL="171450" indent="-171450" algn="just">
              <a:buClr>
                <a:srgbClr val="503078"/>
              </a:buClr>
              <a:buFont typeface="Tahoma" panose="020B0604030504040204" pitchFamily="34" charset="0"/>
              <a:buChar char="⁄"/>
              <a:defRPr/>
            </a:pPr>
            <a:r>
              <a:rPr lang="fr-FR" sz="1000">
                <a:solidFill>
                  <a:srgbClr val="5F5F5F"/>
                </a:solidFill>
                <a:latin typeface="Tahoma"/>
              </a:rPr>
              <a:t>Ces séjours peuvent être organisés au sein de structures dédiées bénéficiant de places d’accueil ou d’hébergement temporaire (centres de répit) ou dans des établissements de tourisme ordinaire. </a:t>
            </a:r>
            <a:endParaRPr lang="fr-FR" sz="1000" kern="0">
              <a:solidFill>
                <a:srgbClr val="5F5F5F"/>
              </a:solidFill>
              <a:latin typeface="Tahoma"/>
            </a:endParaRPr>
          </a:p>
        </p:txBody>
      </p:sp>
      <p:sp>
        <p:nvSpPr>
          <p:cNvPr id="55" name="TextBox 38">
            <a:extLst>
              <a:ext uri="{FF2B5EF4-FFF2-40B4-BE49-F238E27FC236}">
                <a16:creationId xmlns:a16="http://schemas.microsoft.com/office/drawing/2014/main" id="{D6B7ACD6-C52A-49DA-A6CF-D02CC30AB0B7}"/>
              </a:ext>
            </a:extLst>
          </p:cNvPr>
          <p:cNvSpPr txBox="1"/>
          <p:nvPr/>
        </p:nvSpPr>
        <p:spPr bwMode="gray">
          <a:xfrm>
            <a:off x="1748142" y="1526271"/>
            <a:ext cx="2534067" cy="276999"/>
          </a:xfrm>
          <a:prstGeom prst="rect">
            <a:avLst/>
          </a:prstGeom>
          <a:noFill/>
        </p:spPr>
        <p:txBody>
          <a:bodyPr wrap="square" lIns="36000" tIns="36000" rIns="36000" bIns="36000" rtlCol="0">
            <a:noAutofit/>
          </a:bodyPr>
          <a:lstStyle/>
          <a:p>
            <a:pPr algn="ctr">
              <a:defRPr/>
            </a:pPr>
            <a:r>
              <a:rPr lang="fr-FR" sz="1200" b="1" kern="0">
                <a:solidFill>
                  <a:srgbClr val="503078"/>
                </a:solidFill>
                <a:latin typeface="Tahoma"/>
              </a:rPr>
              <a:t>Plateformes de répit (PFR) </a:t>
            </a:r>
          </a:p>
        </p:txBody>
      </p:sp>
      <p:sp>
        <p:nvSpPr>
          <p:cNvPr id="56" name="TextBox 38">
            <a:extLst>
              <a:ext uri="{FF2B5EF4-FFF2-40B4-BE49-F238E27FC236}">
                <a16:creationId xmlns:a16="http://schemas.microsoft.com/office/drawing/2014/main" id="{0ACF6D9B-6455-4C7D-95C7-28F8043CF522}"/>
              </a:ext>
            </a:extLst>
          </p:cNvPr>
          <p:cNvSpPr txBox="1"/>
          <p:nvPr/>
        </p:nvSpPr>
        <p:spPr bwMode="gray">
          <a:xfrm>
            <a:off x="5225185" y="1504458"/>
            <a:ext cx="1834920" cy="349643"/>
          </a:xfrm>
          <a:prstGeom prst="rect">
            <a:avLst/>
          </a:prstGeom>
          <a:noFill/>
        </p:spPr>
        <p:txBody>
          <a:bodyPr wrap="square" lIns="36000" tIns="36000" rIns="36000" bIns="36000" rtlCol="0">
            <a:noAutofit/>
          </a:bodyPr>
          <a:lstStyle/>
          <a:p>
            <a:pPr algn="ctr">
              <a:defRPr/>
            </a:pPr>
            <a:r>
              <a:rPr lang="fr-FR" sz="1200" b="1" kern="0">
                <a:solidFill>
                  <a:srgbClr val="503078"/>
                </a:solidFill>
                <a:latin typeface="Tahoma"/>
              </a:rPr>
              <a:t>Maisons de répit</a:t>
            </a:r>
          </a:p>
        </p:txBody>
      </p:sp>
      <p:sp>
        <p:nvSpPr>
          <p:cNvPr id="57" name="TextBox 38">
            <a:extLst>
              <a:ext uri="{FF2B5EF4-FFF2-40B4-BE49-F238E27FC236}">
                <a16:creationId xmlns:a16="http://schemas.microsoft.com/office/drawing/2014/main" id="{F5D29B91-3C42-4671-8296-5EFE5D78852F}"/>
              </a:ext>
            </a:extLst>
          </p:cNvPr>
          <p:cNvSpPr txBox="1"/>
          <p:nvPr/>
        </p:nvSpPr>
        <p:spPr bwMode="gray">
          <a:xfrm>
            <a:off x="7634061" y="1523096"/>
            <a:ext cx="3436379" cy="258436"/>
          </a:xfrm>
          <a:prstGeom prst="rect">
            <a:avLst/>
          </a:prstGeom>
          <a:noFill/>
        </p:spPr>
        <p:txBody>
          <a:bodyPr wrap="square" lIns="36000" tIns="36000" rIns="36000" bIns="36000" rtlCol="0">
            <a:noAutofit/>
          </a:bodyPr>
          <a:lstStyle/>
          <a:p>
            <a:pPr algn="ctr">
              <a:defRPr/>
            </a:pPr>
            <a:r>
              <a:rPr lang="fr-FR" sz="1200" b="1" kern="0">
                <a:solidFill>
                  <a:srgbClr val="503078"/>
                </a:solidFill>
                <a:latin typeface="Tahoma"/>
              </a:rPr>
              <a:t>Séjours de répit partagé</a:t>
            </a:r>
          </a:p>
        </p:txBody>
      </p:sp>
      <p:sp>
        <p:nvSpPr>
          <p:cNvPr id="63" name="TextBox 38">
            <a:extLst>
              <a:ext uri="{FF2B5EF4-FFF2-40B4-BE49-F238E27FC236}">
                <a16:creationId xmlns:a16="http://schemas.microsoft.com/office/drawing/2014/main" id="{E2B6B516-61B0-43D1-AC26-5A755F311D16}"/>
              </a:ext>
            </a:extLst>
          </p:cNvPr>
          <p:cNvSpPr txBox="1"/>
          <p:nvPr/>
        </p:nvSpPr>
        <p:spPr bwMode="gray">
          <a:xfrm>
            <a:off x="7836893" y="4548330"/>
            <a:ext cx="2996041" cy="361639"/>
          </a:xfrm>
          <a:prstGeom prst="rect">
            <a:avLst/>
          </a:prstGeom>
          <a:noFill/>
        </p:spPr>
        <p:txBody>
          <a:bodyPr wrap="square" lIns="36000" tIns="36000" rIns="36000" bIns="36000" rtlCol="0">
            <a:noAutofit/>
          </a:bodyPr>
          <a:lstStyle/>
          <a:p>
            <a:pPr algn="ctr">
              <a:defRPr/>
            </a:pPr>
            <a:r>
              <a:rPr lang="fr-FR" sz="1000" b="1" i="1" kern="0">
                <a:solidFill>
                  <a:srgbClr val="503078"/>
                </a:solidFill>
                <a:latin typeface="Tahoma"/>
              </a:rPr>
              <a:t>Périmètre de l’étude</a:t>
            </a:r>
          </a:p>
        </p:txBody>
      </p:sp>
      <p:pic>
        <p:nvPicPr>
          <p:cNvPr id="7" name="Graphique 6" descr="Loupe avec un remplissage uni">
            <a:hlinkClick r:id="rId2" action="ppaction://hlinksldjump"/>
            <a:extLst>
              <a:ext uri="{FF2B5EF4-FFF2-40B4-BE49-F238E27FC236}">
                <a16:creationId xmlns:a16="http://schemas.microsoft.com/office/drawing/2014/main" id="{C43A0740-CA13-458C-97EC-1828EF4B4C4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7017798" y="1446958"/>
            <a:ext cx="359231" cy="359231"/>
          </a:xfrm>
          <a:prstGeom prst="rect">
            <a:avLst/>
          </a:prstGeom>
        </p:spPr>
      </p:pic>
      <p:pic>
        <p:nvPicPr>
          <p:cNvPr id="21" name="Graphique 20" descr="Loupe avec un remplissage uni">
            <a:extLst>
              <a:ext uri="{FF2B5EF4-FFF2-40B4-BE49-F238E27FC236}">
                <a16:creationId xmlns:a16="http://schemas.microsoft.com/office/drawing/2014/main" id="{D59E5987-BC93-4211-9BC1-DAF83B1610A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8045099" y="380507"/>
            <a:ext cx="359231" cy="359231"/>
          </a:xfrm>
          <a:prstGeom prst="rect">
            <a:avLst/>
          </a:prstGeom>
        </p:spPr>
      </p:pic>
      <p:sp>
        <p:nvSpPr>
          <p:cNvPr id="8" name="ZoneTexte 7">
            <a:extLst>
              <a:ext uri="{FF2B5EF4-FFF2-40B4-BE49-F238E27FC236}">
                <a16:creationId xmlns:a16="http://schemas.microsoft.com/office/drawing/2014/main" id="{BD13C430-9028-46E9-9533-15B5C803ED82}"/>
              </a:ext>
            </a:extLst>
          </p:cNvPr>
          <p:cNvSpPr txBox="1"/>
          <p:nvPr/>
        </p:nvSpPr>
        <p:spPr>
          <a:xfrm>
            <a:off x="8404330" y="436594"/>
            <a:ext cx="3374039" cy="261610"/>
          </a:xfrm>
          <a:prstGeom prst="rect">
            <a:avLst/>
          </a:prstGeom>
          <a:noFill/>
        </p:spPr>
        <p:txBody>
          <a:bodyPr wrap="square" lIns="108000" rIns="108000" rtlCol="0">
            <a:spAutoFit/>
          </a:bodyPr>
          <a:lstStyle/>
          <a:p>
            <a:r>
              <a:rPr lang="fr-FR" sz="1100" i="1">
                <a:solidFill>
                  <a:srgbClr val="048B9A"/>
                </a:solidFill>
                <a:latin typeface="Tahoma"/>
              </a:rPr>
              <a:t>Compléments disponibles </a:t>
            </a:r>
            <a:r>
              <a:rPr lang="fr-FR" sz="1100" i="1">
                <a:solidFill>
                  <a:srgbClr val="048B9A"/>
                </a:solidFill>
                <a:latin typeface="Tahoma"/>
                <a:hlinkClick r:id="rId2" action="ppaction://hlinksldjump"/>
              </a:rPr>
              <a:t>en annexe</a:t>
            </a:r>
            <a:endParaRPr lang="fr-FR" sz="1100" i="1">
              <a:solidFill>
                <a:srgbClr val="048B9A"/>
              </a:solidFill>
              <a:latin typeface="Tahoma"/>
            </a:endParaRPr>
          </a:p>
        </p:txBody>
      </p:sp>
    </p:spTree>
    <p:extLst>
      <p:ext uri="{BB962C8B-B14F-4D97-AF65-F5344CB8AC3E}">
        <p14:creationId xmlns:p14="http://schemas.microsoft.com/office/powerpoint/2010/main" val="34701677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99B690BB-B1F8-4A23-9C4C-23BC1791E429}"/>
              </a:ext>
            </a:extLst>
          </p:cNvPr>
          <p:cNvSpPr>
            <a:spLocks/>
          </p:cNvSpPr>
          <p:nvPr/>
        </p:nvSpPr>
        <p:spPr>
          <a:xfrm>
            <a:off x="6159947" y="1682563"/>
            <a:ext cx="4555926" cy="46635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285750" indent="-285750" algn="just">
              <a:buClr>
                <a:srgbClr val="503078"/>
              </a:buClr>
              <a:buFont typeface="Tahoma" panose="020B0604030504040204" pitchFamily="34" charset="0"/>
              <a:buChar char="⁄"/>
              <a:defRPr/>
            </a:pPr>
            <a:endParaRPr lang="fr-FR" sz="1100">
              <a:solidFill>
                <a:srgbClr val="503078"/>
              </a:solidFill>
              <a:latin typeface="Tahoma"/>
            </a:endParaRPr>
          </a:p>
          <a:p>
            <a:pPr marL="285750" indent="-285750" algn="just">
              <a:buClr>
                <a:srgbClr val="503078"/>
              </a:buClr>
              <a:buFont typeface="Tahoma" panose="020B0604030504040204" pitchFamily="34" charset="0"/>
              <a:buChar char="⁄"/>
              <a:defRPr/>
            </a:pPr>
            <a:endParaRPr lang="fr-FR" sz="1100">
              <a:solidFill>
                <a:srgbClr val="503078"/>
              </a:solidFill>
              <a:latin typeface="Tahoma"/>
            </a:endParaRPr>
          </a:p>
          <a:p>
            <a:pPr marL="285750" indent="-285750" algn="just">
              <a:buClr>
                <a:srgbClr val="503078"/>
              </a:buClr>
              <a:buFont typeface="Tahoma" panose="020B0604030504040204" pitchFamily="34" charset="0"/>
              <a:buChar char="⁄"/>
              <a:defRPr/>
            </a:pPr>
            <a:r>
              <a:rPr lang="fr-FR" sz="1100">
                <a:solidFill>
                  <a:srgbClr val="503078"/>
                </a:solidFill>
                <a:latin typeface="Tahoma"/>
              </a:rPr>
              <a:t>Les projets de centres de répit poursuivent plusieurs objectifs :</a:t>
            </a:r>
          </a:p>
          <a:p>
            <a:pPr marL="742950" lvl="1" indent="-285750" algn="just">
              <a:buClr>
                <a:srgbClr val="503078"/>
              </a:buClr>
              <a:buFont typeface="Tahoma" panose="020B0604030504040204" pitchFamily="34" charset="0"/>
              <a:buChar char="⁄"/>
              <a:defRPr/>
            </a:pPr>
            <a:r>
              <a:rPr lang="fr-FR" sz="1100" b="1">
                <a:solidFill>
                  <a:srgbClr val="503078"/>
                </a:solidFill>
                <a:latin typeface="Tahoma"/>
              </a:rPr>
              <a:t>Favoriser le départ en vacances pour tous </a:t>
            </a:r>
            <a:r>
              <a:rPr lang="fr-FR" sz="1100">
                <a:solidFill>
                  <a:srgbClr val="503078"/>
                </a:solidFill>
                <a:latin typeface="Tahoma"/>
              </a:rPr>
              <a:t>dans une logique inclusive,</a:t>
            </a:r>
          </a:p>
          <a:p>
            <a:pPr marL="742950" lvl="1" indent="-285750" algn="just">
              <a:buClr>
                <a:srgbClr val="503078"/>
              </a:buClr>
              <a:buFont typeface="Tahoma" panose="020B0604030504040204" pitchFamily="34" charset="0"/>
              <a:buChar char="⁄"/>
              <a:defRPr/>
            </a:pPr>
            <a:r>
              <a:rPr lang="fr-FR" sz="1100" b="1">
                <a:solidFill>
                  <a:srgbClr val="503078"/>
                </a:solidFill>
                <a:latin typeface="Tahoma"/>
              </a:rPr>
              <a:t>Améliorer l'accès au répit pour les proches aidants</a:t>
            </a:r>
            <a:r>
              <a:rPr lang="fr-FR" sz="1100">
                <a:solidFill>
                  <a:srgbClr val="503078"/>
                </a:solidFill>
                <a:latin typeface="Tahoma"/>
              </a:rPr>
              <a:t>, sans séparation avec la personne aidée qui bénéficie d’une prise en charge adaptée.</a:t>
            </a:r>
          </a:p>
          <a:p>
            <a:pPr lvl="1" algn="just">
              <a:buClr>
                <a:srgbClr val="503078"/>
              </a:buClr>
              <a:defRPr/>
            </a:pPr>
            <a:endParaRPr lang="fr-FR" sz="1100">
              <a:solidFill>
                <a:srgbClr val="503078"/>
              </a:solidFill>
              <a:latin typeface="Tahoma"/>
            </a:endParaRPr>
          </a:p>
          <a:p>
            <a:pPr marL="285750" indent="-285750" algn="just">
              <a:buClr>
                <a:srgbClr val="503078"/>
              </a:buClr>
              <a:buFont typeface="Tahoma" panose="020B0604030504040204" pitchFamily="34" charset="0"/>
              <a:buChar char="⁄"/>
              <a:defRPr/>
            </a:pPr>
            <a:r>
              <a:rPr lang="fr-FR" sz="1100">
                <a:solidFill>
                  <a:srgbClr val="503078"/>
                </a:solidFill>
                <a:latin typeface="Tahoma"/>
              </a:rPr>
              <a:t>Les centres de répit sont pour la plupart </a:t>
            </a:r>
            <a:r>
              <a:rPr lang="fr-FR" sz="1100" b="1">
                <a:solidFill>
                  <a:srgbClr val="503078"/>
                </a:solidFill>
                <a:latin typeface="Tahoma"/>
              </a:rPr>
              <a:t>développés par des associations</a:t>
            </a:r>
            <a:r>
              <a:rPr lang="fr-FR" sz="1100">
                <a:solidFill>
                  <a:srgbClr val="503078"/>
                </a:solidFill>
                <a:latin typeface="Tahoma"/>
              </a:rPr>
              <a:t> : </a:t>
            </a:r>
          </a:p>
          <a:p>
            <a:pPr marL="742950" lvl="1" indent="-285750" algn="just">
              <a:buClr>
                <a:srgbClr val="503078"/>
              </a:buClr>
              <a:buFont typeface="Tahoma" panose="020B0604030504040204" pitchFamily="34" charset="0"/>
              <a:buChar char="⁄"/>
              <a:defRPr/>
            </a:pPr>
            <a:r>
              <a:rPr lang="fr-FR" sz="1100">
                <a:solidFill>
                  <a:srgbClr val="503078"/>
                </a:solidFill>
                <a:latin typeface="Tahoma"/>
              </a:rPr>
              <a:t>Fondées par des aidants ayant été confrontés à l’absence de ce type de dispositif et aux problématiques d'accès aux vacances avec leur proche dépendant</a:t>
            </a:r>
          </a:p>
          <a:p>
            <a:pPr marL="742950" lvl="1" indent="-285750" algn="just">
              <a:buClr>
                <a:srgbClr val="503078"/>
              </a:buClr>
              <a:buFont typeface="Tahoma" panose="020B0604030504040204" pitchFamily="34" charset="0"/>
              <a:buChar char="⁄"/>
              <a:defRPr/>
            </a:pPr>
            <a:r>
              <a:rPr lang="fr-FR" sz="1100">
                <a:solidFill>
                  <a:srgbClr val="503078"/>
                </a:solidFill>
                <a:latin typeface="Tahoma"/>
              </a:rPr>
              <a:t>Soit adossées à des groupes de protection sociale </a:t>
            </a:r>
          </a:p>
          <a:p>
            <a:pPr algn="just">
              <a:buClr>
                <a:srgbClr val="503078"/>
              </a:buClr>
              <a:defRPr/>
            </a:pPr>
            <a:endParaRPr lang="fr-FR" sz="1100" b="1">
              <a:solidFill>
                <a:srgbClr val="503078"/>
              </a:solidFill>
              <a:latin typeface="Tahoma"/>
            </a:endParaRPr>
          </a:p>
          <a:p>
            <a:pPr marL="285750" indent="-285750" algn="just">
              <a:buClr>
                <a:srgbClr val="503078"/>
              </a:buClr>
              <a:buFont typeface="Tahoma" panose="020B0604030504040204" pitchFamily="34" charset="0"/>
              <a:buChar char="⁄"/>
              <a:defRPr/>
            </a:pPr>
            <a:r>
              <a:rPr lang="fr-FR" sz="1100">
                <a:solidFill>
                  <a:srgbClr val="503078"/>
                </a:solidFill>
                <a:latin typeface="Tahoma"/>
              </a:rPr>
              <a:t>Bien qu’il n’existe actuellement qu’une demi-douzaine de centres de répit, </a:t>
            </a:r>
            <a:r>
              <a:rPr lang="fr-FR" sz="1100" b="1">
                <a:solidFill>
                  <a:srgbClr val="503078"/>
                </a:solidFill>
                <a:latin typeface="Tahoma"/>
              </a:rPr>
              <a:t>de nombreuses initiatives sont en cours de montage </a:t>
            </a:r>
            <a:r>
              <a:rPr lang="fr-FR" sz="1100">
                <a:solidFill>
                  <a:srgbClr val="503078"/>
                </a:solidFill>
                <a:latin typeface="Tahoma"/>
              </a:rPr>
              <a:t>(Couches, Lacanau, Saint-Brieuc, Alès…)</a:t>
            </a:r>
          </a:p>
          <a:p>
            <a:pPr marL="171450" indent="-171450" algn="just">
              <a:buClr>
                <a:srgbClr val="503078"/>
              </a:buClr>
              <a:buFont typeface="Tahoma" panose="020B0604030504040204" pitchFamily="34" charset="0"/>
              <a:buChar char="⁄"/>
              <a:defRPr/>
            </a:pPr>
            <a:endParaRPr lang="fr-FR" sz="1100">
              <a:solidFill>
                <a:srgbClr val="503078"/>
              </a:solidFill>
              <a:latin typeface="Tahoma"/>
            </a:endParaRPr>
          </a:p>
          <a:p>
            <a:pPr marL="285750" indent="-285750" algn="just">
              <a:buClr>
                <a:srgbClr val="503078"/>
              </a:buClr>
              <a:buFont typeface="Tahoma" panose="020B0604030504040204" pitchFamily="34" charset="0"/>
              <a:buChar char="⁄"/>
              <a:defRPr/>
            </a:pPr>
            <a:r>
              <a:rPr lang="fr-FR" sz="1100">
                <a:solidFill>
                  <a:srgbClr val="503078"/>
                </a:solidFill>
                <a:latin typeface="Tahoma"/>
              </a:rPr>
              <a:t>Le déploiement des projets est </a:t>
            </a:r>
            <a:r>
              <a:rPr lang="fr-FR" sz="1100" b="1">
                <a:solidFill>
                  <a:srgbClr val="503078"/>
                </a:solidFill>
                <a:latin typeface="Tahoma"/>
              </a:rPr>
              <a:t>hétérogène sur le territoire, </a:t>
            </a:r>
            <a:r>
              <a:rPr lang="fr-FR" sz="1100">
                <a:solidFill>
                  <a:srgbClr val="503078"/>
                </a:solidFill>
                <a:latin typeface="Tahoma"/>
              </a:rPr>
              <a:t>du fait d’une part, des différents niveaux de maturité des collectivités territoriales face à la question du répit et d’autre part, du fait des caractéristiques des territoires (infrastructures, marché de l’emploi, offre touristique, …) </a:t>
            </a:r>
          </a:p>
        </p:txBody>
      </p:sp>
      <p:sp>
        <p:nvSpPr>
          <p:cNvPr id="5" name="Titre 4">
            <a:extLst>
              <a:ext uri="{FF2B5EF4-FFF2-40B4-BE49-F238E27FC236}">
                <a16:creationId xmlns:a16="http://schemas.microsoft.com/office/drawing/2014/main" id="{C5D441CD-F319-4D1E-9975-9E3176A20627}"/>
              </a:ext>
            </a:extLst>
          </p:cNvPr>
          <p:cNvSpPr>
            <a:spLocks noGrp="1"/>
          </p:cNvSpPr>
          <p:nvPr>
            <p:ph type="title"/>
          </p:nvPr>
        </p:nvSpPr>
        <p:spPr/>
        <p:txBody>
          <a:bodyPr/>
          <a:lstStyle/>
          <a:p>
            <a:r>
              <a:rPr lang="fr-FR"/>
              <a:t>Une offre de centres de répit en cours de développement </a:t>
            </a:r>
          </a:p>
        </p:txBody>
      </p:sp>
      <p:sp>
        <p:nvSpPr>
          <p:cNvPr id="6" name="Espace réservé du texte 5">
            <a:extLst>
              <a:ext uri="{FF2B5EF4-FFF2-40B4-BE49-F238E27FC236}">
                <a16:creationId xmlns:a16="http://schemas.microsoft.com/office/drawing/2014/main" id="{DFF68991-3228-40A4-B9DE-328003106F88}"/>
              </a:ext>
            </a:extLst>
          </p:cNvPr>
          <p:cNvSpPr>
            <a:spLocks noGrp="1"/>
          </p:cNvSpPr>
          <p:nvPr>
            <p:ph type="body" sz="quarter" idx="13"/>
          </p:nvPr>
        </p:nvSpPr>
        <p:spPr/>
        <p:txBody>
          <a:bodyPr/>
          <a:lstStyle/>
          <a:p>
            <a:r>
              <a:rPr lang="fr-FR"/>
              <a:t>Etat des lieux </a:t>
            </a:r>
            <a:r>
              <a:rPr lang="fr-FR">
                <a:solidFill>
                  <a:srgbClr val="938481"/>
                </a:solidFill>
              </a:rPr>
              <a:t>des modèles existants</a:t>
            </a:r>
            <a:endParaRPr lang="fr-FR"/>
          </a:p>
        </p:txBody>
      </p:sp>
      <p:sp>
        <p:nvSpPr>
          <p:cNvPr id="13" name="ZoneTexte 12">
            <a:extLst>
              <a:ext uri="{FF2B5EF4-FFF2-40B4-BE49-F238E27FC236}">
                <a16:creationId xmlns:a16="http://schemas.microsoft.com/office/drawing/2014/main" id="{3DE62AEC-2F2C-4AF5-BCC6-57E1A8C25D53}"/>
              </a:ext>
            </a:extLst>
          </p:cNvPr>
          <p:cNvSpPr txBox="1"/>
          <p:nvPr/>
        </p:nvSpPr>
        <p:spPr>
          <a:xfrm>
            <a:off x="1282148" y="1471261"/>
            <a:ext cx="4643842" cy="276999"/>
          </a:xfrm>
          <a:prstGeom prst="rect">
            <a:avLst/>
          </a:prstGeom>
          <a:noFill/>
        </p:spPr>
        <p:txBody>
          <a:bodyPr wrap="square" lIns="108000" rIns="108000" rtlCol="0">
            <a:spAutoFit/>
          </a:bodyPr>
          <a:lstStyle/>
          <a:p>
            <a:pPr algn="ctr">
              <a:defRPr/>
            </a:pPr>
            <a:r>
              <a:rPr lang="fr-FR" sz="1200" i="1">
                <a:solidFill>
                  <a:srgbClr val="5F5F5F"/>
                </a:solidFill>
                <a:latin typeface="Tahoma"/>
              </a:rPr>
              <a:t>Localisation des centres de répit recensés dans l'étude</a:t>
            </a:r>
          </a:p>
        </p:txBody>
      </p:sp>
      <p:sp>
        <p:nvSpPr>
          <p:cNvPr id="14" name="ZoneTexte 13">
            <a:extLst>
              <a:ext uri="{FF2B5EF4-FFF2-40B4-BE49-F238E27FC236}">
                <a16:creationId xmlns:a16="http://schemas.microsoft.com/office/drawing/2014/main" id="{246862E4-994F-49F0-B647-5316C488E687}"/>
              </a:ext>
            </a:extLst>
          </p:cNvPr>
          <p:cNvSpPr txBox="1"/>
          <p:nvPr/>
        </p:nvSpPr>
        <p:spPr>
          <a:xfrm>
            <a:off x="1329664" y="6612065"/>
            <a:ext cx="1639144" cy="230832"/>
          </a:xfrm>
          <a:prstGeom prst="rect">
            <a:avLst/>
          </a:prstGeom>
          <a:noFill/>
        </p:spPr>
        <p:txBody>
          <a:bodyPr wrap="square" lIns="108000" rIns="108000" rtlCol="0">
            <a:spAutoFit/>
          </a:bodyPr>
          <a:lstStyle/>
          <a:p>
            <a:pPr>
              <a:defRPr/>
            </a:pPr>
            <a:r>
              <a:rPr lang="fr-FR" sz="900" b="1">
                <a:solidFill>
                  <a:srgbClr val="464646"/>
                </a:solidFill>
                <a:latin typeface="Tahoma"/>
              </a:rPr>
              <a:t>Structure fermée</a:t>
            </a:r>
          </a:p>
        </p:txBody>
      </p:sp>
      <p:sp>
        <p:nvSpPr>
          <p:cNvPr id="29" name="Rectangle 28">
            <a:extLst>
              <a:ext uri="{FF2B5EF4-FFF2-40B4-BE49-F238E27FC236}">
                <a16:creationId xmlns:a16="http://schemas.microsoft.com/office/drawing/2014/main" id="{882C3046-CA22-465B-8979-495B60EEDF42}"/>
              </a:ext>
            </a:extLst>
          </p:cNvPr>
          <p:cNvSpPr/>
          <p:nvPr/>
        </p:nvSpPr>
        <p:spPr>
          <a:xfrm>
            <a:off x="6181704" y="1701275"/>
            <a:ext cx="1699503" cy="276999"/>
          </a:xfrm>
          <a:prstGeom prst="rect">
            <a:avLst/>
          </a:prstGeom>
        </p:spPr>
        <p:txBody>
          <a:bodyPr wrap="none">
            <a:spAutoFit/>
          </a:bodyPr>
          <a:lstStyle/>
          <a:p>
            <a:pPr algn="ctr">
              <a:defRPr/>
            </a:pPr>
            <a:r>
              <a:rPr lang="fr-FR" sz="1200" b="1">
                <a:solidFill>
                  <a:srgbClr val="503078"/>
                </a:solidFill>
                <a:latin typeface="Tahoma"/>
              </a:rPr>
              <a:t>Principaux constats</a:t>
            </a:r>
          </a:p>
        </p:txBody>
      </p:sp>
      <p:grpSp>
        <p:nvGrpSpPr>
          <p:cNvPr id="143" name="Régions France 2016">
            <a:extLst>
              <a:ext uri="{FF2B5EF4-FFF2-40B4-BE49-F238E27FC236}">
                <a16:creationId xmlns:a16="http://schemas.microsoft.com/office/drawing/2014/main" id="{70B40A54-BAA0-43C0-9144-59A6BE474814}"/>
              </a:ext>
            </a:extLst>
          </p:cNvPr>
          <p:cNvGrpSpPr/>
          <p:nvPr/>
        </p:nvGrpSpPr>
        <p:grpSpPr>
          <a:xfrm>
            <a:off x="1346303" y="1836755"/>
            <a:ext cx="4534170" cy="4352926"/>
            <a:chOff x="631200" y="1127775"/>
            <a:chExt cx="3291846" cy="3131833"/>
          </a:xfrm>
          <a:solidFill>
            <a:schemeClr val="accent2">
              <a:lumMod val="40000"/>
              <a:lumOff val="60000"/>
            </a:schemeClr>
          </a:solidFill>
        </p:grpSpPr>
        <p:sp>
          <p:nvSpPr>
            <p:cNvPr id="144" name="Occitanie">
              <a:extLst>
                <a:ext uri="{FF2B5EF4-FFF2-40B4-BE49-F238E27FC236}">
                  <a16:creationId xmlns:a16="http://schemas.microsoft.com/office/drawing/2014/main" id="{E752C30D-4C8D-40C5-B158-093C0F726B5D}"/>
                </a:ext>
              </a:extLst>
            </p:cNvPr>
            <p:cNvSpPr/>
            <p:nvPr/>
          </p:nvSpPr>
          <p:spPr>
            <a:xfrm>
              <a:off x="1652452" y="3241368"/>
              <a:ext cx="1235811" cy="875790"/>
            </a:xfrm>
            <a:custGeom>
              <a:avLst/>
              <a:gdLst/>
              <a:ahLst/>
              <a:cxnLst/>
              <a:rect l="l" t="t" r="r" b="b"/>
              <a:pathLst>
                <a:path w="65017" h="46076" extrusionOk="0">
                  <a:moveTo>
                    <a:pt x="23841" y="0"/>
                  </a:moveTo>
                  <a:cubicBezTo>
                    <a:pt x="23041" y="0"/>
                    <a:pt x="22493" y="348"/>
                    <a:pt x="22493" y="1368"/>
                  </a:cubicBezTo>
                  <a:cubicBezTo>
                    <a:pt x="22493" y="2736"/>
                    <a:pt x="21065" y="5441"/>
                    <a:pt x="19849" y="5472"/>
                  </a:cubicBezTo>
                  <a:cubicBezTo>
                    <a:pt x="18603" y="5532"/>
                    <a:pt x="18511" y="7994"/>
                    <a:pt x="17569" y="7994"/>
                  </a:cubicBezTo>
                  <a:cubicBezTo>
                    <a:pt x="16627" y="7994"/>
                    <a:pt x="17569" y="9757"/>
                    <a:pt x="17569" y="11186"/>
                  </a:cubicBezTo>
                  <a:cubicBezTo>
                    <a:pt x="17569" y="11726"/>
                    <a:pt x="17383" y="11849"/>
                    <a:pt x="17159" y="11849"/>
                  </a:cubicBezTo>
                  <a:cubicBezTo>
                    <a:pt x="16971" y="11849"/>
                    <a:pt x="16756" y="11763"/>
                    <a:pt x="16600" y="11763"/>
                  </a:cubicBezTo>
                  <a:cubicBezTo>
                    <a:pt x="16459" y="11763"/>
                    <a:pt x="16366" y="11833"/>
                    <a:pt x="16384" y="12098"/>
                  </a:cubicBezTo>
                  <a:cubicBezTo>
                    <a:pt x="16444" y="13040"/>
                    <a:pt x="15806" y="14226"/>
                    <a:pt x="15046" y="14286"/>
                  </a:cubicBezTo>
                  <a:cubicBezTo>
                    <a:pt x="14360" y="14341"/>
                    <a:pt x="13229" y="16526"/>
                    <a:pt x="12456" y="16526"/>
                  </a:cubicBezTo>
                  <a:cubicBezTo>
                    <a:pt x="12373" y="16526"/>
                    <a:pt x="12293" y="16501"/>
                    <a:pt x="12219" y="16444"/>
                  </a:cubicBezTo>
                  <a:cubicBezTo>
                    <a:pt x="12114" y="16364"/>
                    <a:pt x="11978" y="16330"/>
                    <a:pt x="11819" y="16330"/>
                  </a:cubicBezTo>
                  <a:cubicBezTo>
                    <a:pt x="10934" y="16330"/>
                    <a:pt x="9316" y="17375"/>
                    <a:pt x="8085" y="17375"/>
                  </a:cubicBezTo>
                  <a:cubicBezTo>
                    <a:pt x="7937" y="17375"/>
                    <a:pt x="7795" y="17360"/>
                    <a:pt x="7660" y="17326"/>
                  </a:cubicBezTo>
                  <a:cubicBezTo>
                    <a:pt x="7498" y="17286"/>
                    <a:pt x="7348" y="17269"/>
                    <a:pt x="7209" y="17269"/>
                  </a:cubicBezTo>
                  <a:cubicBezTo>
                    <a:pt x="6376" y="17269"/>
                    <a:pt x="5922" y="17878"/>
                    <a:pt x="5495" y="17878"/>
                  </a:cubicBezTo>
                  <a:cubicBezTo>
                    <a:pt x="5337" y="17878"/>
                    <a:pt x="5183" y="17795"/>
                    <a:pt x="5016" y="17569"/>
                  </a:cubicBezTo>
                  <a:cubicBezTo>
                    <a:pt x="4890" y="17400"/>
                    <a:pt x="4766" y="17331"/>
                    <a:pt x="4640" y="17331"/>
                  </a:cubicBezTo>
                  <a:cubicBezTo>
                    <a:pt x="4061" y="17331"/>
                    <a:pt x="3441" y="18785"/>
                    <a:pt x="2493" y="18785"/>
                  </a:cubicBezTo>
                  <a:cubicBezTo>
                    <a:pt x="1307" y="18785"/>
                    <a:pt x="1551" y="20153"/>
                    <a:pt x="1490" y="22007"/>
                  </a:cubicBezTo>
                  <a:cubicBezTo>
                    <a:pt x="1431" y="23827"/>
                    <a:pt x="239" y="24654"/>
                    <a:pt x="1717" y="24654"/>
                  </a:cubicBezTo>
                  <a:cubicBezTo>
                    <a:pt x="1769" y="24654"/>
                    <a:pt x="1825" y="24653"/>
                    <a:pt x="1885" y="24651"/>
                  </a:cubicBezTo>
                  <a:cubicBezTo>
                    <a:pt x="1908" y="24650"/>
                    <a:pt x="1931" y="24650"/>
                    <a:pt x="1954" y="24650"/>
                  </a:cubicBezTo>
                  <a:cubicBezTo>
                    <a:pt x="3666" y="24650"/>
                    <a:pt x="4347" y="26892"/>
                    <a:pt x="4347" y="28542"/>
                  </a:cubicBezTo>
                  <a:cubicBezTo>
                    <a:pt x="4347" y="30244"/>
                    <a:pt x="2432" y="32037"/>
                    <a:pt x="2189" y="33132"/>
                  </a:cubicBezTo>
                  <a:cubicBezTo>
                    <a:pt x="1915" y="34226"/>
                    <a:pt x="456" y="35411"/>
                    <a:pt x="61" y="36505"/>
                  </a:cubicBezTo>
                  <a:cubicBezTo>
                    <a:pt x="0" y="36657"/>
                    <a:pt x="61" y="37113"/>
                    <a:pt x="183" y="37782"/>
                  </a:cubicBezTo>
                  <a:cubicBezTo>
                    <a:pt x="396" y="37721"/>
                    <a:pt x="608" y="37661"/>
                    <a:pt x="821" y="37630"/>
                  </a:cubicBezTo>
                  <a:cubicBezTo>
                    <a:pt x="1048" y="37582"/>
                    <a:pt x="1247" y="37560"/>
                    <a:pt x="1424" y="37560"/>
                  </a:cubicBezTo>
                  <a:cubicBezTo>
                    <a:pt x="3018" y="37560"/>
                    <a:pt x="2702" y="39378"/>
                    <a:pt x="3496" y="40062"/>
                  </a:cubicBezTo>
                  <a:cubicBezTo>
                    <a:pt x="3806" y="40329"/>
                    <a:pt x="4222" y="40416"/>
                    <a:pt x="4669" y="40416"/>
                  </a:cubicBezTo>
                  <a:cubicBezTo>
                    <a:pt x="5492" y="40416"/>
                    <a:pt x="6420" y="40123"/>
                    <a:pt x="6991" y="40123"/>
                  </a:cubicBezTo>
                  <a:cubicBezTo>
                    <a:pt x="7546" y="40123"/>
                    <a:pt x="7933" y="40510"/>
                    <a:pt x="8186" y="40510"/>
                  </a:cubicBezTo>
                  <a:cubicBezTo>
                    <a:pt x="8321" y="40510"/>
                    <a:pt x="8417" y="40400"/>
                    <a:pt x="8481" y="40062"/>
                  </a:cubicBezTo>
                  <a:cubicBezTo>
                    <a:pt x="8515" y="39875"/>
                    <a:pt x="8643" y="39799"/>
                    <a:pt x="8837" y="39799"/>
                  </a:cubicBezTo>
                  <a:cubicBezTo>
                    <a:pt x="9682" y="39799"/>
                    <a:pt x="11777" y="41247"/>
                    <a:pt x="12767" y="41247"/>
                  </a:cubicBezTo>
                  <a:cubicBezTo>
                    <a:pt x="13982" y="41247"/>
                    <a:pt x="12371" y="37964"/>
                    <a:pt x="13587" y="37964"/>
                  </a:cubicBezTo>
                  <a:cubicBezTo>
                    <a:pt x="14803" y="37964"/>
                    <a:pt x="17022" y="38056"/>
                    <a:pt x="17934" y="40244"/>
                  </a:cubicBezTo>
                  <a:cubicBezTo>
                    <a:pt x="18174" y="40836"/>
                    <a:pt x="18482" y="41056"/>
                    <a:pt x="18809" y="41056"/>
                  </a:cubicBezTo>
                  <a:cubicBezTo>
                    <a:pt x="19020" y="41056"/>
                    <a:pt x="19239" y="40965"/>
                    <a:pt x="19454" y="40822"/>
                  </a:cubicBezTo>
                  <a:cubicBezTo>
                    <a:pt x="19754" y="40634"/>
                    <a:pt x="20096" y="40539"/>
                    <a:pt x="20437" y="40539"/>
                  </a:cubicBezTo>
                  <a:cubicBezTo>
                    <a:pt x="20923" y="40539"/>
                    <a:pt x="21406" y="40732"/>
                    <a:pt x="21764" y="41126"/>
                  </a:cubicBezTo>
                  <a:cubicBezTo>
                    <a:pt x="21975" y="41364"/>
                    <a:pt x="22210" y="41532"/>
                    <a:pt x="22447" y="41532"/>
                  </a:cubicBezTo>
                  <a:cubicBezTo>
                    <a:pt x="22483" y="41532"/>
                    <a:pt x="22518" y="41529"/>
                    <a:pt x="22554" y="41521"/>
                  </a:cubicBezTo>
                  <a:cubicBezTo>
                    <a:pt x="22695" y="41495"/>
                    <a:pt x="22879" y="41482"/>
                    <a:pt x="23089" y="41482"/>
                  </a:cubicBezTo>
                  <a:cubicBezTo>
                    <a:pt x="24108" y="41482"/>
                    <a:pt x="25759" y="41777"/>
                    <a:pt x="26262" y="42281"/>
                  </a:cubicBezTo>
                  <a:cubicBezTo>
                    <a:pt x="26870" y="42889"/>
                    <a:pt x="26202" y="44044"/>
                    <a:pt x="27417" y="44256"/>
                  </a:cubicBezTo>
                  <a:cubicBezTo>
                    <a:pt x="28633" y="44500"/>
                    <a:pt x="28542" y="45411"/>
                    <a:pt x="30153" y="45959"/>
                  </a:cubicBezTo>
                  <a:cubicBezTo>
                    <a:pt x="30390" y="46041"/>
                    <a:pt x="30617" y="46075"/>
                    <a:pt x="30836" y="46075"/>
                  </a:cubicBezTo>
                  <a:cubicBezTo>
                    <a:pt x="32080" y="46075"/>
                    <a:pt x="33086" y="44955"/>
                    <a:pt x="34378" y="44955"/>
                  </a:cubicBezTo>
                  <a:cubicBezTo>
                    <a:pt x="35480" y="44955"/>
                    <a:pt x="36262" y="45946"/>
                    <a:pt x="37050" y="45946"/>
                  </a:cubicBezTo>
                  <a:cubicBezTo>
                    <a:pt x="37348" y="45946"/>
                    <a:pt x="37647" y="45804"/>
                    <a:pt x="37965" y="45411"/>
                  </a:cubicBezTo>
                  <a:cubicBezTo>
                    <a:pt x="38373" y="44903"/>
                    <a:pt x="38915" y="44732"/>
                    <a:pt x="39529" y="44732"/>
                  </a:cubicBezTo>
                  <a:cubicBezTo>
                    <a:pt x="40604" y="44732"/>
                    <a:pt x="41902" y="45257"/>
                    <a:pt x="43102" y="45411"/>
                  </a:cubicBezTo>
                  <a:cubicBezTo>
                    <a:pt x="43198" y="45422"/>
                    <a:pt x="43284" y="45428"/>
                    <a:pt x="43360" y="45428"/>
                  </a:cubicBezTo>
                  <a:cubicBezTo>
                    <a:pt x="44767" y="45428"/>
                    <a:pt x="42790" y="43581"/>
                    <a:pt x="42646" y="40639"/>
                  </a:cubicBezTo>
                  <a:cubicBezTo>
                    <a:pt x="42494" y="37509"/>
                    <a:pt x="42402" y="34621"/>
                    <a:pt x="43557" y="32797"/>
                  </a:cubicBezTo>
                  <a:cubicBezTo>
                    <a:pt x="44355" y="31572"/>
                    <a:pt x="46301" y="30935"/>
                    <a:pt x="47393" y="30935"/>
                  </a:cubicBezTo>
                  <a:cubicBezTo>
                    <a:pt x="47466" y="30935"/>
                    <a:pt x="47535" y="30937"/>
                    <a:pt x="47600" y="30943"/>
                  </a:cubicBezTo>
                  <a:cubicBezTo>
                    <a:pt x="47672" y="30949"/>
                    <a:pt x="47739" y="30952"/>
                    <a:pt x="47803" y="30952"/>
                  </a:cubicBezTo>
                  <a:cubicBezTo>
                    <a:pt x="48684" y="30952"/>
                    <a:pt x="48853" y="30358"/>
                    <a:pt x="49789" y="28998"/>
                  </a:cubicBezTo>
                  <a:cubicBezTo>
                    <a:pt x="50792" y="27508"/>
                    <a:pt x="52737" y="27235"/>
                    <a:pt x="53558" y="26536"/>
                  </a:cubicBezTo>
                  <a:cubicBezTo>
                    <a:pt x="54034" y="26096"/>
                    <a:pt x="54587" y="25525"/>
                    <a:pt x="55045" y="25525"/>
                  </a:cubicBezTo>
                  <a:cubicBezTo>
                    <a:pt x="55347" y="25525"/>
                    <a:pt x="55607" y="25774"/>
                    <a:pt x="55777" y="26475"/>
                  </a:cubicBezTo>
                  <a:cubicBezTo>
                    <a:pt x="55968" y="27240"/>
                    <a:pt x="56347" y="27459"/>
                    <a:pt x="56810" y="27459"/>
                  </a:cubicBezTo>
                  <a:cubicBezTo>
                    <a:pt x="56936" y="27459"/>
                    <a:pt x="57069" y="27443"/>
                    <a:pt x="57205" y="27417"/>
                  </a:cubicBezTo>
                  <a:cubicBezTo>
                    <a:pt x="58087" y="25928"/>
                    <a:pt x="59819" y="24530"/>
                    <a:pt x="59819" y="23983"/>
                  </a:cubicBezTo>
                  <a:cubicBezTo>
                    <a:pt x="59819" y="23417"/>
                    <a:pt x="60441" y="23004"/>
                    <a:pt x="61260" y="23004"/>
                  </a:cubicBezTo>
                  <a:cubicBezTo>
                    <a:pt x="61542" y="23004"/>
                    <a:pt x="61848" y="23053"/>
                    <a:pt x="62160" y="23162"/>
                  </a:cubicBezTo>
                  <a:cubicBezTo>
                    <a:pt x="62190" y="23192"/>
                    <a:pt x="62190" y="23192"/>
                    <a:pt x="62220" y="23192"/>
                  </a:cubicBezTo>
                  <a:cubicBezTo>
                    <a:pt x="62312" y="23223"/>
                    <a:pt x="62433" y="23253"/>
                    <a:pt x="62494" y="23253"/>
                  </a:cubicBezTo>
                  <a:lnTo>
                    <a:pt x="62524" y="23253"/>
                  </a:lnTo>
                  <a:cubicBezTo>
                    <a:pt x="62555" y="23253"/>
                    <a:pt x="62585" y="23223"/>
                    <a:pt x="62616" y="23223"/>
                  </a:cubicBezTo>
                  <a:lnTo>
                    <a:pt x="62646" y="23223"/>
                  </a:lnTo>
                  <a:cubicBezTo>
                    <a:pt x="62676" y="23192"/>
                    <a:pt x="62676" y="23192"/>
                    <a:pt x="62707" y="23192"/>
                  </a:cubicBezTo>
                  <a:cubicBezTo>
                    <a:pt x="62707" y="23192"/>
                    <a:pt x="62737" y="23162"/>
                    <a:pt x="62737" y="23162"/>
                  </a:cubicBezTo>
                  <a:cubicBezTo>
                    <a:pt x="62737" y="23131"/>
                    <a:pt x="62768" y="23131"/>
                    <a:pt x="62768" y="23131"/>
                  </a:cubicBezTo>
                  <a:cubicBezTo>
                    <a:pt x="62768" y="23131"/>
                    <a:pt x="62768" y="23101"/>
                    <a:pt x="62798" y="23101"/>
                  </a:cubicBezTo>
                  <a:cubicBezTo>
                    <a:pt x="62798" y="23071"/>
                    <a:pt x="62798" y="23071"/>
                    <a:pt x="62828" y="23040"/>
                  </a:cubicBezTo>
                  <a:cubicBezTo>
                    <a:pt x="62828" y="23010"/>
                    <a:pt x="62828" y="23010"/>
                    <a:pt x="62828" y="22979"/>
                  </a:cubicBezTo>
                  <a:cubicBezTo>
                    <a:pt x="62828" y="22979"/>
                    <a:pt x="62828" y="22949"/>
                    <a:pt x="62828" y="22919"/>
                  </a:cubicBezTo>
                  <a:cubicBezTo>
                    <a:pt x="62859" y="22919"/>
                    <a:pt x="62859" y="22888"/>
                    <a:pt x="62859" y="22888"/>
                  </a:cubicBezTo>
                  <a:cubicBezTo>
                    <a:pt x="62859" y="22858"/>
                    <a:pt x="62859" y="22827"/>
                    <a:pt x="62859" y="22797"/>
                  </a:cubicBezTo>
                  <a:cubicBezTo>
                    <a:pt x="62859" y="22736"/>
                    <a:pt x="62859" y="22645"/>
                    <a:pt x="62859" y="22554"/>
                  </a:cubicBezTo>
                  <a:cubicBezTo>
                    <a:pt x="62828" y="22432"/>
                    <a:pt x="62828" y="22280"/>
                    <a:pt x="62798" y="22159"/>
                  </a:cubicBezTo>
                  <a:cubicBezTo>
                    <a:pt x="62798" y="22068"/>
                    <a:pt x="62768" y="22007"/>
                    <a:pt x="62768" y="21946"/>
                  </a:cubicBezTo>
                  <a:cubicBezTo>
                    <a:pt x="62768" y="21885"/>
                    <a:pt x="62768" y="21855"/>
                    <a:pt x="62737" y="21824"/>
                  </a:cubicBezTo>
                  <a:cubicBezTo>
                    <a:pt x="62707" y="21612"/>
                    <a:pt x="62676" y="21399"/>
                    <a:pt x="62646" y="21156"/>
                  </a:cubicBezTo>
                  <a:cubicBezTo>
                    <a:pt x="62646" y="21034"/>
                    <a:pt x="62646" y="20882"/>
                    <a:pt x="62616" y="20761"/>
                  </a:cubicBezTo>
                  <a:cubicBezTo>
                    <a:pt x="62616" y="20730"/>
                    <a:pt x="62616" y="20700"/>
                    <a:pt x="62616" y="20639"/>
                  </a:cubicBezTo>
                  <a:cubicBezTo>
                    <a:pt x="62616" y="20517"/>
                    <a:pt x="62585" y="20365"/>
                    <a:pt x="62585" y="20213"/>
                  </a:cubicBezTo>
                  <a:cubicBezTo>
                    <a:pt x="62585" y="20092"/>
                    <a:pt x="62616" y="20001"/>
                    <a:pt x="62616" y="19910"/>
                  </a:cubicBezTo>
                  <a:lnTo>
                    <a:pt x="62616" y="19879"/>
                  </a:lnTo>
                  <a:cubicBezTo>
                    <a:pt x="62616" y="19818"/>
                    <a:pt x="62616" y="19727"/>
                    <a:pt x="62616" y="19666"/>
                  </a:cubicBezTo>
                  <a:cubicBezTo>
                    <a:pt x="62616" y="19666"/>
                    <a:pt x="62646" y="19636"/>
                    <a:pt x="62646" y="19636"/>
                  </a:cubicBezTo>
                  <a:cubicBezTo>
                    <a:pt x="62646" y="19575"/>
                    <a:pt x="62646" y="19514"/>
                    <a:pt x="62676" y="19454"/>
                  </a:cubicBezTo>
                  <a:cubicBezTo>
                    <a:pt x="62676" y="19454"/>
                    <a:pt x="62676" y="19454"/>
                    <a:pt x="62676" y="19423"/>
                  </a:cubicBezTo>
                  <a:cubicBezTo>
                    <a:pt x="62707" y="19393"/>
                    <a:pt x="62707" y="19332"/>
                    <a:pt x="62737" y="19302"/>
                  </a:cubicBezTo>
                  <a:cubicBezTo>
                    <a:pt x="62737" y="19302"/>
                    <a:pt x="62737" y="19271"/>
                    <a:pt x="62737" y="19271"/>
                  </a:cubicBezTo>
                  <a:cubicBezTo>
                    <a:pt x="62768" y="19241"/>
                    <a:pt x="62768" y="19210"/>
                    <a:pt x="62798" y="19180"/>
                  </a:cubicBezTo>
                  <a:cubicBezTo>
                    <a:pt x="62798" y="19180"/>
                    <a:pt x="62798" y="19180"/>
                    <a:pt x="62828" y="19150"/>
                  </a:cubicBezTo>
                  <a:cubicBezTo>
                    <a:pt x="62828" y="19150"/>
                    <a:pt x="62859" y="19119"/>
                    <a:pt x="62889" y="19089"/>
                  </a:cubicBezTo>
                  <a:lnTo>
                    <a:pt x="62920" y="19089"/>
                  </a:lnTo>
                  <a:cubicBezTo>
                    <a:pt x="62920" y="19058"/>
                    <a:pt x="62950" y="19058"/>
                    <a:pt x="62980" y="19028"/>
                  </a:cubicBezTo>
                  <a:lnTo>
                    <a:pt x="63011" y="19028"/>
                  </a:lnTo>
                  <a:cubicBezTo>
                    <a:pt x="63041" y="18998"/>
                    <a:pt x="63041" y="18998"/>
                    <a:pt x="63071" y="18998"/>
                  </a:cubicBezTo>
                  <a:cubicBezTo>
                    <a:pt x="63102" y="18998"/>
                    <a:pt x="63102" y="18998"/>
                    <a:pt x="63132" y="18967"/>
                  </a:cubicBezTo>
                  <a:cubicBezTo>
                    <a:pt x="63436" y="18906"/>
                    <a:pt x="63801" y="18937"/>
                    <a:pt x="64196" y="18542"/>
                  </a:cubicBezTo>
                  <a:cubicBezTo>
                    <a:pt x="65017" y="17751"/>
                    <a:pt x="64804" y="17204"/>
                    <a:pt x="63771" y="16110"/>
                  </a:cubicBezTo>
                  <a:cubicBezTo>
                    <a:pt x="63771" y="16110"/>
                    <a:pt x="62708" y="16398"/>
                    <a:pt x="61698" y="16398"/>
                  </a:cubicBezTo>
                  <a:cubicBezTo>
                    <a:pt x="60435" y="16398"/>
                    <a:pt x="59255" y="15948"/>
                    <a:pt x="60336" y="13922"/>
                  </a:cubicBezTo>
                  <a:cubicBezTo>
                    <a:pt x="60609" y="13405"/>
                    <a:pt x="60944" y="13010"/>
                    <a:pt x="61309" y="12706"/>
                  </a:cubicBezTo>
                  <a:cubicBezTo>
                    <a:pt x="61157" y="12675"/>
                    <a:pt x="61005" y="12645"/>
                    <a:pt x="60853" y="12615"/>
                  </a:cubicBezTo>
                  <a:lnTo>
                    <a:pt x="60822" y="12615"/>
                  </a:lnTo>
                  <a:cubicBezTo>
                    <a:pt x="60761" y="12615"/>
                    <a:pt x="60731" y="12615"/>
                    <a:pt x="60701" y="12584"/>
                  </a:cubicBezTo>
                  <a:lnTo>
                    <a:pt x="60640" y="12584"/>
                  </a:lnTo>
                  <a:cubicBezTo>
                    <a:pt x="60579" y="12554"/>
                    <a:pt x="60549" y="12554"/>
                    <a:pt x="60518" y="12523"/>
                  </a:cubicBezTo>
                  <a:cubicBezTo>
                    <a:pt x="60147" y="12392"/>
                    <a:pt x="59398" y="12073"/>
                    <a:pt x="58984" y="12073"/>
                  </a:cubicBezTo>
                  <a:cubicBezTo>
                    <a:pt x="58822" y="12073"/>
                    <a:pt x="58712" y="12122"/>
                    <a:pt x="58695" y="12250"/>
                  </a:cubicBezTo>
                  <a:cubicBezTo>
                    <a:pt x="58684" y="12410"/>
                    <a:pt x="58545" y="12465"/>
                    <a:pt x="58321" y="12465"/>
                  </a:cubicBezTo>
                  <a:cubicBezTo>
                    <a:pt x="57908" y="12465"/>
                    <a:pt x="57205" y="12279"/>
                    <a:pt x="56476" y="12219"/>
                  </a:cubicBezTo>
                  <a:cubicBezTo>
                    <a:pt x="55381" y="12128"/>
                    <a:pt x="54743" y="11976"/>
                    <a:pt x="54743" y="10274"/>
                  </a:cubicBezTo>
                  <a:cubicBezTo>
                    <a:pt x="54743" y="8572"/>
                    <a:pt x="53527" y="8298"/>
                    <a:pt x="53132" y="6809"/>
                  </a:cubicBezTo>
                  <a:cubicBezTo>
                    <a:pt x="52707" y="5350"/>
                    <a:pt x="51916" y="4043"/>
                    <a:pt x="51035" y="2979"/>
                  </a:cubicBezTo>
                  <a:cubicBezTo>
                    <a:pt x="50749" y="2621"/>
                    <a:pt x="50528" y="2491"/>
                    <a:pt x="50338" y="2491"/>
                  </a:cubicBezTo>
                  <a:cubicBezTo>
                    <a:pt x="49962" y="2491"/>
                    <a:pt x="49706" y="3001"/>
                    <a:pt x="49302" y="3283"/>
                  </a:cubicBezTo>
                  <a:cubicBezTo>
                    <a:pt x="49188" y="3357"/>
                    <a:pt x="49045" y="3395"/>
                    <a:pt x="48886" y="3395"/>
                  </a:cubicBezTo>
                  <a:cubicBezTo>
                    <a:pt x="48203" y="3395"/>
                    <a:pt x="47243" y="2691"/>
                    <a:pt x="47144" y="1186"/>
                  </a:cubicBezTo>
                  <a:cubicBezTo>
                    <a:pt x="47113" y="814"/>
                    <a:pt x="46999" y="671"/>
                    <a:pt x="46829" y="671"/>
                  </a:cubicBezTo>
                  <a:cubicBezTo>
                    <a:pt x="46260" y="671"/>
                    <a:pt x="45068" y="2276"/>
                    <a:pt x="44297" y="2276"/>
                  </a:cubicBezTo>
                  <a:cubicBezTo>
                    <a:pt x="44169" y="2276"/>
                    <a:pt x="44053" y="2232"/>
                    <a:pt x="43953" y="2128"/>
                  </a:cubicBezTo>
                  <a:cubicBezTo>
                    <a:pt x="43863" y="2032"/>
                    <a:pt x="43770" y="1988"/>
                    <a:pt x="43677" y="1988"/>
                  </a:cubicBezTo>
                  <a:cubicBezTo>
                    <a:pt x="42854" y="1988"/>
                    <a:pt x="41930" y="5389"/>
                    <a:pt x="41521" y="6535"/>
                  </a:cubicBezTo>
                  <a:cubicBezTo>
                    <a:pt x="41459" y="6703"/>
                    <a:pt x="41393" y="6777"/>
                    <a:pt x="41325" y="6777"/>
                  </a:cubicBezTo>
                  <a:cubicBezTo>
                    <a:pt x="40859" y="6777"/>
                    <a:pt x="40241" y="3309"/>
                    <a:pt x="39393" y="2037"/>
                  </a:cubicBezTo>
                  <a:cubicBezTo>
                    <a:pt x="39127" y="1630"/>
                    <a:pt x="38841" y="1459"/>
                    <a:pt x="38557" y="1459"/>
                  </a:cubicBezTo>
                  <a:cubicBezTo>
                    <a:pt x="37801" y="1459"/>
                    <a:pt x="37058" y="2668"/>
                    <a:pt x="36749" y="3861"/>
                  </a:cubicBezTo>
                  <a:cubicBezTo>
                    <a:pt x="36391" y="5374"/>
                    <a:pt x="35286" y="6639"/>
                    <a:pt x="34065" y="6639"/>
                  </a:cubicBezTo>
                  <a:cubicBezTo>
                    <a:pt x="33937" y="6639"/>
                    <a:pt x="33808" y="6625"/>
                    <a:pt x="33679" y="6596"/>
                  </a:cubicBezTo>
                  <a:cubicBezTo>
                    <a:pt x="33371" y="6523"/>
                    <a:pt x="33105" y="6504"/>
                    <a:pt x="32873" y="6504"/>
                  </a:cubicBezTo>
                  <a:cubicBezTo>
                    <a:pt x="32620" y="6504"/>
                    <a:pt x="32406" y="6526"/>
                    <a:pt x="32224" y="6526"/>
                  </a:cubicBezTo>
                  <a:cubicBezTo>
                    <a:pt x="31810" y="6526"/>
                    <a:pt x="31552" y="6410"/>
                    <a:pt x="31338" y="5654"/>
                  </a:cubicBezTo>
                  <a:cubicBezTo>
                    <a:pt x="30943" y="4286"/>
                    <a:pt x="31977" y="3830"/>
                    <a:pt x="31095" y="2493"/>
                  </a:cubicBezTo>
                  <a:cubicBezTo>
                    <a:pt x="30214" y="1156"/>
                    <a:pt x="31338" y="274"/>
                    <a:pt x="31338" y="274"/>
                  </a:cubicBezTo>
                  <a:lnTo>
                    <a:pt x="31338" y="274"/>
                  </a:lnTo>
                  <a:cubicBezTo>
                    <a:pt x="31338" y="274"/>
                    <a:pt x="29454" y="973"/>
                    <a:pt x="28299" y="1277"/>
                  </a:cubicBezTo>
                  <a:cubicBezTo>
                    <a:pt x="28180" y="1304"/>
                    <a:pt x="28061" y="1317"/>
                    <a:pt x="27942" y="1317"/>
                  </a:cubicBezTo>
                  <a:cubicBezTo>
                    <a:pt x="26870" y="1317"/>
                    <a:pt x="25773" y="310"/>
                    <a:pt x="24651" y="92"/>
                  </a:cubicBezTo>
                  <a:cubicBezTo>
                    <a:pt x="24363" y="34"/>
                    <a:pt x="24089" y="0"/>
                    <a:pt x="23841" y="0"/>
                  </a:cubicBezTo>
                  <a:close/>
                </a:path>
              </a:pathLst>
            </a:custGeom>
            <a:grpFill/>
            <a:ln w="127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endParaRPr lang="fr-FR">
                <a:solidFill>
                  <a:srgbClr val="5F5F5F"/>
                </a:solidFill>
                <a:latin typeface="Tahoma"/>
              </a:endParaRPr>
            </a:p>
          </p:txBody>
        </p:sp>
        <p:sp>
          <p:nvSpPr>
            <p:cNvPr id="145" name="Auvergne-Rhône-Alpes">
              <a:extLst>
                <a:ext uri="{FF2B5EF4-FFF2-40B4-BE49-F238E27FC236}">
                  <a16:creationId xmlns:a16="http://schemas.microsoft.com/office/drawing/2014/main" id="{FAEE249A-7C93-4C64-9948-FF6F5727DCF5}"/>
                </a:ext>
              </a:extLst>
            </p:cNvPr>
            <p:cNvSpPr/>
            <p:nvPr/>
          </p:nvSpPr>
          <p:spPr>
            <a:xfrm>
              <a:off x="2226735" y="2640398"/>
              <a:ext cx="1227162" cy="894170"/>
            </a:xfrm>
            <a:custGeom>
              <a:avLst/>
              <a:gdLst/>
              <a:ahLst/>
              <a:cxnLst/>
              <a:rect l="l" t="t" r="r" b="b"/>
              <a:pathLst>
                <a:path w="64562" h="47043" extrusionOk="0">
                  <a:moveTo>
                    <a:pt x="11538" y="0"/>
                  </a:moveTo>
                  <a:cubicBezTo>
                    <a:pt x="10550" y="0"/>
                    <a:pt x="9263" y="1526"/>
                    <a:pt x="7843" y="1526"/>
                  </a:cubicBezTo>
                  <a:cubicBezTo>
                    <a:pt x="6019" y="1526"/>
                    <a:pt x="7600" y="4049"/>
                    <a:pt x="6414" y="4049"/>
                  </a:cubicBezTo>
                  <a:cubicBezTo>
                    <a:pt x="5229" y="4049"/>
                    <a:pt x="3010" y="5295"/>
                    <a:pt x="2645" y="6207"/>
                  </a:cubicBezTo>
                  <a:cubicBezTo>
                    <a:pt x="2311" y="7119"/>
                    <a:pt x="4135" y="7757"/>
                    <a:pt x="5350" y="9915"/>
                  </a:cubicBezTo>
                  <a:cubicBezTo>
                    <a:pt x="6566" y="12073"/>
                    <a:pt x="6931" y="11252"/>
                    <a:pt x="6931" y="14110"/>
                  </a:cubicBezTo>
                  <a:cubicBezTo>
                    <a:pt x="6931" y="16997"/>
                    <a:pt x="4408" y="16420"/>
                    <a:pt x="4408" y="17818"/>
                  </a:cubicBezTo>
                  <a:cubicBezTo>
                    <a:pt x="4408" y="19216"/>
                    <a:pt x="5746" y="19702"/>
                    <a:pt x="6080" y="21526"/>
                  </a:cubicBezTo>
                  <a:cubicBezTo>
                    <a:pt x="6425" y="23253"/>
                    <a:pt x="5108" y="24271"/>
                    <a:pt x="4503" y="24271"/>
                  </a:cubicBezTo>
                  <a:cubicBezTo>
                    <a:pt x="4469" y="24271"/>
                    <a:pt x="4437" y="24268"/>
                    <a:pt x="4408" y="24262"/>
                  </a:cubicBezTo>
                  <a:cubicBezTo>
                    <a:pt x="4388" y="24256"/>
                    <a:pt x="4370" y="24254"/>
                    <a:pt x="4352" y="24254"/>
                  </a:cubicBezTo>
                  <a:cubicBezTo>
                    <a:pt x="3884" y="24254"/>
                    <a:pt x="4172" y="26148"/>
                    <a:pt x="3557" y="26207"/>
                  </a:cubicBezTo>
                  <a:cubicBezTo>
                    <a:pt x="2949" y="26268"/>
                    <a:pt x="2949" y="29702"/>
                    <a:pt x="2159" y="29794"/>
                  </a:cubicBezTo>
                  <a:cubicBezTo>
                    <a:pt x="1369" y="29854"/>
                    <a:pt x="1065" y="30432"/>
                    <a:pt x="1125" y="31891"/>
                  </a:cubicBezTo>
                  <a:cubicBezTo>
                    <a:pt x="1125" y="31891"/>
                    <a:pt x="1" y="32772"/>
                    <a:pt x="882" y="34110"/>
                  </a:cubicBezTo>
                  <a:cubicBezTo>
                    <a:pt x="1764" y="35447"/>
                    <a:pt x="730" y="35903"/>
                    <a:pt x="1125" y="37271"/>
                  </a:cubicBezTo>
                  <a:cubicBezTo>
                    <a:pt x="1339" y="38027"/>
                    <a:pt x="1597" y="38143"/>
                    <a:pt x="2011" y="38143"/>
                  </a:cubicBezTo>
                  <a:cubicBezTo>
                    <a:pt x="2193" y="38143"/>
                    <a:pt x="2407" y="38121"/>
                    <a:pt x="2660" y="38121"/>
                  </a:cubicBezTo>
                  <a:cubicBezTo>
                    <a:pt x="2892" y="38121"/>
                    <a:pt x="3158" y="38140"/>
                    <a:pt x="3466" y="38213"/>
                  </a:cubicBezTo>
                  <a:cubicBezTo>
                    <a:pt x="3595" y="38242"/>
                    <a:pt x="3724" y="38256"/>
                    <a:pt x="3852" y="38256"/>
                  </a:cubicBezTo>
                  <a:cubicBezTo>
                    <a:pt x="5073" y="38256"/>
                    <a:pt x="6178" y="36991"/>
                    <a:pt x="6536" y="35478"/>
                  </a:cubicBezTo>
                  <a:cubicBezTo>
                    <a:pt x="6845" y="34285"/>
                    <a:pt x="7588" y="33076"/>
                    <a:pt x="8344" y="33076"/>
                  </a:cubicBezTo>
                  <a:cubicBezTo>
                    <a:pt x="8628" y="33076"/>
                    <a:pt x="8914" y="33247"/>
                    <a:pt x="9180" y="33654"/>
                  </a:cubicBezTo>
                  <a:cubicBezTo>
                    <a:pt x="10028" y="34926"/>
                    <a:pt x="10646" y="38394"/>
                    <a:pt x="11112" y="38394"/>
                  </a:cubicBezTo>
                  <a:cubicBezTo>
                    <a:pt x="11180" y="38394"/>
                    <a:pt x="11246" y="38320"/>
                    <a:pt x="11308" y="38152"/>
                  </a:cubicBezTo>
                  <a:cubicBezTo>
                    <a:pt x="11717" y="37006"/>
                    <a:pt x="12641" y="33605"/>
                    <a:pt x="13464" y="33605"/>
                  </a:cubicBezTo>
                  <a:cubicBezTo>
                    <a:pt x="13557" y="33605"/>
                    <a:pt x="13650" y="33649"/>
                    <a:pt x="13740" y="33745"/>
                  </a:cubicBezTo>
                  <a:cubicBezTo>
                    <a:pt x="13840" y="33849"/>
                    <a:pt x="13956" y="33893"/>
                    <a:pt x="14084" y="33893"/>
                  </a:cubicBezTo>
                  <a:cubicBezTo>
                    <a:pt x="14855" y="33893"/>
                    <a:pt x="16047" y="32288"/>
                    <a:pt x="16616" y="32288"/>
                  </a:cubicBezTo>
                  <a:cubicBezTo>
                    <a:pt x="16786" y="32288"/>
                    <a:pt x="16900" y="32431"/>
                    <a:pt x="16931" y="32803"/>
                  </a:cubicBezTo>
                  <a:cubicBezTo>
                    <a:pt x="17030" y="34308"/>
                    <a:pt x="17990" y="35012"/>
                    <a:pt x="18673" y="35012"/>
                  </a:cubicBezTo>
                  <a:cubicBezTo>
                    <a:pt x="18832" y="35012"/>
                    <a:pt x="18975" y="34974"/>
                    <a:pt x="19089" y="34900"/>
                  </a:cubicBezTo>
                  <a:cubicBezTo>
                    <a:pt x="19493" y="34618"/>
                    <a:pt x="19749" y="34121"/>
                    <a:pt x="20124" y="34121"/>
                  </a:cubicBezTo>
                  <a:cubicBezTo>
                    <a:pt x="20315" y="34121"/>
                    <a:pt x="20536" y="34249"/>
                    <a:pt x="20822" y="34596"/>
                  </a:cubicBezTo>
                  <a:cubicBezTo>
                    <a:pt x="21703" y="35660"/>
                    <a:pt x="22494" y="36967"/>
                    <a:pt x="22919" y="38426"/>
                  </a:cubicBezTo>
                  <a:cubicBezTo>
                    <a:pt x="23314" y="39915"/>
                    <a:pt x="24530" y="40189"/>
                    <a:pt x="24530" y="41891"/>
                  </a:cubicBezTo>
                  <a:cubicBezTo>
                    <a:pt x="24530" y="43593"/>
                    <a:pt x="25168" y="43745"/>
                    <a:pt x="26263" y="43836"/>
                  </a:cubicBezTo>
                  <a:cubicBezTo>
                    <a:pt x="26992" y="43896"/>
                    <a:pt x="27695" y="44082"/>
                    <a:pt x="28108" y="44082"/>
                  </a:cubicBezTo>
                  <a:cubicBezTo>
                    <a:pt x="28332" y="44082"/>
                    <a:pt x="28471" y="44027"/>
                    <a:pt x="28482" y="43867"/>
                  </a:cubicBezTo>
                  <a:cubicBezTo>
                    <a:pt x="28499" y="43739"/>
                    <a:pt x="28609" y="43690"/>
                    <a:pt x="28771" y="43690"/>
                  </a:cubicBezTo>
                  <a:cubicBezTo>
                    <a:pt x="29185" y="43690"/>
                    <a:pt x="29934" y="44009"/>
                    <a:pt x="30305" y="44140"/>
                  </a:cubicBezTo>
                  <a:cubicBezTo>
                    <a:pt x="30457" y="44201"/>
                    <a:pt x="30761" y="44262"/>
                    <a:pt x="31096" y="44292"/>
                  </a:cubicBezTo>
                  <a:cubicBezTo>
                    <a:pt x="31833" y="43661"/>
                    <a:pt x="32703" y="43452"/>
                    <a:pt x="33573" y="43452"/>
                  </a:cubicBezTo>
                  <a:cubicBezTo>
                    <a:pt x="35176" y="43452"/>
                    <a:pt x="36782" y="44163"/>
                    <a:pt x="37570" y="44262"/>
                  </a:cubicBezTo>
                  <a:cubicBezTo>
                    <a:pt x="38968" y="44475"/>
                    <a:pt x="39302" y="45265"/>
                    <a:pt x="40123" y="45265"/>
                  </a:cubicBezTo>
                  <a:cubicBezTo>
                    <a:pt x="40913" y="45265"/>
                    <a:pt x="40913" y="45265"/>
                    <a:pt x="41309" y="45691"/>
                  </a:cubicBezTo>
                  <a:cubicBezTo>
                    <a:pt x="41634" y="45993"/>
                    <a:pt x="42689" y="47042"/>
                    <a:pt x="43221" y="47042"/>
                  </a:cubicBezTo>
                  <a:cubicBezTo>
                    <a:pt x="43385" y="47042"/>
                    <a:pt x="43499" y="46944"/>
                    <a:pt x="43527" y="46694"/>
                  </a:cubicBezTo>
                  <a:cubicBezTo>
                    <a:pt x="43679" y="45599"/>
                    <a:pt x="44804" y="45265"/>
                    <a:pt x="44743" y="44323"/>
                  </a:cubicBezTo>
                  <a:cubicBezTo>
                    <a:pt x="44682" y="43411"/>
                    <a:pt x="43193" y="43472"/>
                    <a:pt x="42342" y="42925"/>
                  </a:cubicBezTo>
                  <a:cubicBezTo>
                    <a:pt x="41460" y="42377"/>
                    <a:pt x="41795" y="40979"/>
                    <a:pt x="43011" y="40918"/>
                  </a:cubicBezTo>
                  <a:cubicBezTo>
                    <a:pt x="44196" y="40858"/>
                    <a:pt x="44135" y="39642"/>
                    <a:pt x="44135" y="38304"/>
                  </a:cubicBezTo>
                  <a:cubicBezTo>
                    <a:pt x="44135" y="36967"/>
                    <a:pt x="46354" y="37697"/>
                    <a:pt x="46415" y="35873"/>
                  </a:cubicBezTo>
                  <a:cubicBezTo>
                    <a:pt x="46476" y="34079"/>
                    <a:pt x="48907" y="35690"/>
                    <a:pt x="49181" y="33988"/>
                  </a:cubicBezTo>
                  <a:cubicBezTo>
                    <a:pt x="49272" y="33431"/>
                    <a:pt x="49428" y="33245"/>
                    <a:pt x="49662" y="33245"/>
                  </a:cubicBezTo>
                  <a:cubicBezTo>
                    <a:pt x="50130" y="33245"/>
                    <a:pt x="50914" y="33988"/>
                    <a:pt x="52129" y="33988"/>
                  </a:cubicBezTo>
                  <a:cubicBezTo>
                    <a:pt x="53923" y="33988"/>
                    <a:pt x="54409" y="33320"/>
                    <a:pt x="53528" y="32529"/>
                  </a:cubicBezTo>
                  <a:cubicBezTo>
                    <a:pt x="52676" y="31709"/>
                    <a:pt x="51400" y="30827"/>
                    <a:pt x="51795" y="29702"/>
                  </a:cubicBezTo>
                  <a:cubicBezTo>
                    <a:pt x="51880" y="29454"/>
                    <a:pt x="52044" y="29361"/>
                    <a:pt x="52255" y="29361"/>
                  </a:cubicBezTo>
                  <a:cubicBezTo>
                    <a:pt x="52859" y="29361"/>
                    <a:pt x="53845" y="30115"/>
                    <a:pt x="54459" y="30115"/>
                  </a:cubicBezTo>
                  <a:cubicBezTo>
                    <a:pt x="54627" y="30115"/>
                    <a:pt x="54768" y="30059"/>
                    <a:pt x="54865" y="29915"/>
                  </a:cubicBezTo>
                  <a:cubicBezTo>
                    <a:pt x="55161" y="29486"/>
                    <a:pt x="55472" y="29345"/>
                    <a:pt x="55842" y="29345"/>
                  </a:cubicBezTo>
                  <a:cubicBezTo>
                    <a:pt x="56232" y="29345"/>
                    <a:pt x="56689" y="29501"/>
                    <a:pt x="57266" y="29642"/>
                  </a:cubicBezTo>
                  <a:cubicBezTo>
                    <a:pt x="57266" y="29289"/>
                    <a:pt x="57504" y="29139"/>
                    <a:pt x="57893" y="29139"/>
                  </a:cubicBezTo>
                  <a:cubicBezTo>
                    <a:pt x="58241" y="29139"/>
                    <a:pt x="58711" y="29258"/>
                    <a:pt x="59242" y="29459"/>
                  </a:cubicBezTo>
                  <a:cubicBezTo>
                    <a:pt x="59328" y="29489"/>
                    <a:pt x="59415" y="29504"/>
                    <a:pt x="59504" y="29504"/>
                  </a:cubicBezTo>
                  <a:cubicBezTo>
                    <a:pt x="60582" y="29504"/>
                    <a:pt x="61867" y="27444"/>
                    <a:pt x="62737" y="26967"/>
                  </a:cubicBezTo>
                  <a:cubicBezTo>
                    <a:pt x="63649" y="26450"/>
                    <a:pt x="63376" y="25781"/>
                    <a:pt x="63680" y="24809"/>
                  </a:cubicBezTo>
                  <a:cubicBezTo>
                    <a:pt x="64014" y="23867"/>
                    <a:pt x="64561" y="23775"/>
                    <a:pt x="62920" y="23198"/>
                  </a:cubicBezTo>
                  <a:cubicBezTo>
                    <a:pt x="61248" y="22620"/>
                    <a:pt x="61582" y="21617"/>
                    <a:pt x="61400" y="19976"/>
                  </a:cubicBezTo>
                  <a:cubicBezTo>
                    <a:pt x="61248" y="18304"/>
                    <a:pt x="59060" y="18699"/>
                    <a:pt x="59060" y="17483"/>
                  </a:cubicBezTo>
                  <a:cubicBezTo>
                    <a:pt x="59060" y="16268"/>
                    <a:pt x="60063" y="16450"/>
                    <a:pt x="61582" y="15873"/>
                  </a:cubicBezTo>
                  <a:cubicBezTo>
                    <a:pt x="62939" y="15319"/>
                    <a:pt x="61345" y="12975"/>
                    <a:pt x="60545" y="12975"/>
                  </a:cubicBezTo>
                  <a:cubicBezTo>
                    <a:pt x="60467" y="12975"/>
                    <a:pt x="60396" y="12997"/>
                    <a:pt x="60336" y="13046"/>
                  </a:cubicBezTo>
                  <a:cubicBezTo>
                    <a:pt x="60261" y="13107"/>
                    <a:pt x="60200" y="13134"/>
                    <a:pt x="60148" y="13134"/>
                  </a:cubicBezTo>
                  <a:cubicBezTo>
                    <a:pt x="59738" y="13134"/>
                    <a:pt x="59950" y="11414"/>
                    <a:pt x="59060" y="11252"/>
                  </a:cubicBezTo>
                  <a:cubicBezTo>
                    <a:pt x="58026" y="11100"/>
                    <a:pt x="59819" y="9429"/>
                    <a:pt x="59455" y="8973"/>
                  </a:cubicBezTo>
                  <a:cubicBezTo>
                    <a:pt x="59120" y="8517"/>
                    <a:pt x="58999" y="7514"/>
                    <a:pt x="58968" y="6450"/>
                  </a:cubicBezTo>
                  <a:cubicBezTo>
                    <a:pt x="58960" y="6160"/>
                    <a:pt x="58648" y="6042"/>
                    <a:pt x="58184" y="6042"/>
                  </a:cubicBezTo>
                  <a:cubicBezTo>
                    <a:pt x="56944" y="6042"/>
                    <a:pt x="54622" y="6889"/>
                    <a:pt x="54135" y="7575"/>
                  </a:cubicBezTo>
                  <a:cubicBezTo>
                    <a:pt x="53966" y="7805"/>
                    <a:pt x="53801" y="7884"/>
                    <a:pt x="53637" y="7884"/>
                  </a:cubicBezTo>
                  <a:cubicBezTo>
                    <a:pt x="53282" y="7884"/>
                    <a:pt x="52934" y="7514"/>
                    <a:pt x="52568" y="7514"/>
                  </a:cubicBezTo>
                  <a:cubicBezTo>
                    <a:pt x="52434" y="7514"/>
                    <a:pt x="52299" y="7563"/>
                    <a:pt x="52160" y="7696"/>
                  </a:cubicBezTo>
                  <a:cubicBezTo>
                    <a:pt x="51461" y="8365"/>
                    <a:pt x="52069" y="9064"/>
                    <a:pt x="52312" y="9945"/>
                  </a:cubicBezTo>
                  <a:cubicBezTo>
                    <a:pt x="52585" y="10857"/>
                    <a:pt x="50366" y="11161"/>
                    <a:pt x="49363" y="11192"/>
                  </a:cubicBezTo>
                  <a:cubicBezTo>
                    <a:pt x="49353" y="11192"/>
                    <a:pt x="49343" y="11192"/>
                    <a:pt x="49333" y="11192"/>
                  </a:cubicBezTo>
                  <a:cubicBezTo>
                    <a:pt x="48328" y="11192"/>
                    <a:pt x="48226" y="9700"/>
                    <a:pt x="50002" y="9459"/>
                  </a:cubicBezTo>
                  <a:cubicBezTo>
                    <a:pt x="51765" y="9185"/>
                    <a:pt x="50306" y="8486"/>
                    <a:pt x="50701" y="7696"/>
                  </a:cubicBezTo>
                  <a:cubicBezTo>
                    <a:pt x="51005" y="6997"/>
                    <a:pt x="50427" y="6754"/>
                    <a:pt x="50032" y="6359"/>
                  </a:cubicBezTo>
                  <a:cubicBezTo>
                    <a:pt x="48814" y="7550"/>
                    <a:pt x="47388" y="8719"/>
                    <a:pt x="46499" y="8719"/>
                  </a:cubicBezTo>
                  <a:cubicBezTo>
                    <a:pt x="46367" y="8719"/>
                    <a:pt x="46247" y="8693"/>
                    <a:pt x="46141" y="8638"/>
                  </a:cubicBezTo>
                  <a:cubicBezTo>
                    <a:pt x="45492" y="8276"/>
                    <a:pt x="44961" y="8114"/>
                    <a:pt x="44501" y="8114"/>
                  </a:cubicBezTo>
                  <a:cubicBezTo>
                    <a:pt x="43842" y="8114"/>
                    <a:pt x="43330" y="8448"/>
                    <a:pt x="42828" y="9003"/>
                  </a:cubicBezTo>
                  <a:cubicBezTo>
                    <a:pt x="42621" y="9225"/>
                    <a:pt x="42451" y="9330"/>
                    <a:pt x="42307" y="9330"/>
                  </a:cubicBezTo>
                  <a:cubicBezTo>
                    <a:pt x="41837" y="9330"/>
                    <a:pt x="41641" y="8212"/>
                    <a:pt x="41339" y="6328"/>
                  </a:cubicBezTo>
                  <a:cubicBezTo>
                    <a:pt x="41135" y="5072"/>
                    <a:pt x="40679" y="4781"/>
                    <a:pt x="40080" y="4781"/>
                  </a:cubicBezTo>
                  <a:cubicBezTo>
                    <a:pt x="39565" y="4781"/>
                    <a:pt x="38945" y="4996"/>
                    <a:pt x="38289" y="4996"/>
                  </a:cubicBezTo>
                  <a:cubicBezTo>
                    <a:pt x="38232" y="4996"/>
                    <a:pt x="38174" y="4994"/>
                    <a:pt x="38117" y="4991"/>
                  </a:cubicBezTo>
                  <a:cubicBezTo>
                    <a:pt x="37648" y="4972"/>
                    <a:pt x="37264" y="4895"/>
                    <a:pt x="36930" y="4895"/>
                  </a:cubicBezTo>
                  <a:cubicBezTo>
                    <a:pt x="36202" y="4895"/>
                    <a:pt x="35712" y="5258"/>
                    <a:pt x="35108" y="7362"/>
                  </a:cubicBezTo>
                  <a:cubicBezTo>
                    <a:pt x="34635" y="9068"/>
                    <a:pt x="33918" y="9628"/>
                    <a:pt x="33332" y="9628"/>
                  </a:cubicBezTo>
                  <a:cubicBezTo>
                    <a:pt x="32864" y="9628"/>
                    <a:pt x="32480" y="9270"/>
                    <a:pt x="32372" y="8851"/>
                  </a:cubicBezTo>
                  <a:cubicBezTo>
                    <a:pt x="32245" y="8358"/>
                    <a:pt x="31411" y="7990"/>
                    <a:pt x="30645" y="7990"/>
                  </a:cubicBezTo>
                  <a:cubicBezTo>
                    <a:pt x="29946" y="7990"/>
                    <a:pt x="29302" y="8297"/>
                    <a:pt x="29302" y="9094"/>
                  </a:cubicBezTo>
                  <a:cubicBezTo>
                    <a:pt x="29302" y="10360"/>
                    <a:pt x="27765" y="10505"/>
                    <a:pt x="26434" y="10505"/>
                  </a:cubicBezTo>
                  <a:cubicBezTo>
                    <a:pt x="26040" y="10505"/>
                    <a:pt x="25663" y="10492"/>
                    <a:pt x="25351" y="10492"/>
                  </a:cubicBezTo>
                  <a:cubicBezTo>
                    <a:pt x="24013" y="10492"/>
                    <a:pt x="23861" y="8851"/>
                    <a:pt x="25138" y="7210"/>
                  </a:cubicBezTo>
                  <a:cubicBezTo>
                    <a:pt x="26384" y="5538"/>
                    <a:pt x="21916" y="4687"/>
                    <a:pt x="21764" y="2650"/>
                  </a:cubicBezTo>
                  <a:cubicBezTo>
                    <a:pt x="21671" y="1610"/>
                    <a:pt x="21054" y="1529"/>
                    <a:pt x="20335" y="1529"/>
                  </a:cubicBezTo>
                  <a:cubicBezTo>
                    <a:pt x="20204" y="1529"/>
                    <a:pt x="20069" y="1532"/>
                    <a:pt x="19934" y="1532"/>
                  </a:cubicBezTo>
                  <a:cubicBezTo>
                    <a:pt x="19359" y="1532"/>
                    <a:pt x="18769" y="1484"/>
                    <a:pt x="18360" y="979"/>
                  </a:cubicBezTo>
                  <a:cubicBezTo>
                    <a:pt x="18161" y="732"/>
                    <a:pt x="17968" y="639"/>
                    <a:pt x="17780" y="639"/>
                  </a:cubicBezTo>
                  <a:cubicBezTo>
                    <a:pt x="17199" y="639"/>
                    <a:pt x="16675" y="1533"/>
                    <a:pt x="16242" y="1533"/>
                  </a:cubicBezTo>
                  <a:cubicBezTo>
                    <a:pt x="16108" y="1533"/>
                    <a:pt x="15983" y="1447"/>
                    <a:pt x="15867" y="1222"/>
                  </a:cubicBezTo>
                  <a:cubicBezTo>
                    <a:pt x="15667" y="860"/>
                    <a:pt x="15336" y="764"/>
                    <a:pt x="14945" y="764"/>
                  </a:cubicBezTo>
                  <a:cubicBezTo>
                    <a:pt x="14499" y="764"/>
                    <a:pt x="13975" y="889"/>
                    <a:pt x="13477" y="889"/>
                  </a:cubicBezTo>
                  <a:cubicBezTo>
                    <a:pt x="13018" y="889"/>
                    <a:pt x="12581" y="782"/>
                    <a:pt x="12250" y="371"/>
                  </a:cubicBezTo>
                  <a:cubicBezTo>
                    <a:pt x="12035" y="105"/>
                    <a:pt x="11797" y="0"/>
                    <a:pt x="11538" y="0"/>
                  </a:cubicBezTo>
                  <a:close/>
                </a:path>
              </a:pathLst>
            </a:custGeom>
            <a:grpFill/>
            <a:ln w="127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endParaRPr lang="fr-FR">
                <a:solidFill>
                  <a:srgbClr val="5F5F5F"/>
                </a:solidFill>
                <a:latin typeface="Tahoma"/>
              </a:endParaRPr>
            </a:p>
          </p:txBody>
        </p:sp>
        <p:sp>
          <p:nvSpPr>
            <p:cNvPr id="146" name="Provence-Alpes-Côte d'Azur">
              <a:extLst>
                <a:ext uri="{FF2B5EF4-FFF2-40B4-BE49-F238E27FC236}">
                  <a16:creationId xmlns:a16="http://schemas.microsoft.com/office/drawing/2014/main" id="{EAE3F783-352E-4A00-807F-7352A5119123}"/>
                </a:ext>
              </a:extLst>
            </p:cNvPr>
            <p:cNvSpPr/>
            <p:nvPr/>
          </p:nvSpPr>
          <p:spPr>
            <a:xfrm>
              <a:off x="2740365" y="3198183"/>
              <a:ext cx="834866" cy="669178"/>
            </a:xfrm>
            <a:custGeom>
              <a:avLst/>
              <a:gdLst/>
              <a:ahLst/>
              <a:cxnLst/>
              <a:rect l="l" t="t" r="r" b="b"/>
              <a:pathLst>
                <a:path w="43923" h="35206" extrusionOk="0">
                  <a:moveTo>
                    <a:pt x="28847" y="0"/>
                  </a:moveTo>
                  <a:cubicBezTo>
                    <a:pt x="28480" y="0"/>
                    <a:pt x="28169" y="141"/>
                    <a:pt x="27873" y="570"/>
                  </a:cubicBezTo>
                  <a:cubicBezTo>
                    <a:pt x="27770" y="715"/>
                    <a:pt x="27623" y="772"/>
                    <a:pt x="27449" y="772"/>
                  </a:cubicBezTo>
                  <a:cubicBezTo>
                    <a:pt x="26819" y="772"/>
                    <a:pt x="25829" y="28"/>
                    <a:pt x="25227" y="28"/>
                  </a:cubicBezTo>
                  <a:cubicBezTo>
                    <a:pt x="25019" y="28"/>
                    <a:pt x="24857" y="118"/>
                    <a:pt x="24773" y="357"/>
                  </a:cubicBezTo>
                  <a:cubicBezTo>
                    <a:pt x="24378" y="1513"/>
                    <a:pt x="25654" y="2364"/>
                    <a:pt x="26536" y="3184"/>
                  </a:cubicBezTo>
                  <a:cubicBezTo>
                    <a:pt x="27387" y="3975"/>
                    <a:pt x="26931" y="4643"/>
                    <a:pt x="25107" y="4643"/>
                  </a:cubicBezTo>
                  <a:cubicBezTo>
                    <a:pt x="23912" y="4643"/>
                    <a:pt x="23122" y="3900"/>
                    <a:pt x="22646" y="3900"/>
                  </a:cubicBezTo>
                  <a:cubicBezTo>
                    <a:pt x="22409" y="3900"/>
                    <a:pt x="22250" y="4086"/>
                    <a:pt x="22159" y="4643"/>
                  </a:cubicBezTo>
                  <a:cubicBezTo>
                    <a:pt x="21885" y="6345"/>
                    <a:pt x="19484" y="4734"/>
                    <a:pt x="19423" y="6528"/>
                  </a:cubicBezTo>
                  <a:cubicBezTo>
                    <a:pt x="19332" y="8352"/>
                    <a:pt x="17113" y="7622"/>
                    <a:pt x="17113" y="8959"/>
                  </a:cubicBezTo>
                  <a:cubicBezTo>
                    <a:pt x="17113" y="10297"/>
                    <a:pt x="17204" y="11513"/>
                    <a:pt x="15989" y="11573"/>
                  </a:cubicBezTo>
                  <a:cubicBezTo>
                    <a:pt x="14773" y="11634"/>
                    <a:pt x="14438" y="13063"/>
                    <a:pt x="15320" y="13580"/>
                  </a:cubicBezTo>
                  <a:cubicBezTo>
                    <a:pt x="16201" y="14127"/>
                    <a:pt x="17660" y="14066"/>
                    <a:pt x="17721" y="15008"/>
                  </a:cubicBezTo>
                  <a:cubicBezTo>
                    <a:pt x="17812" y="15920"/>
                    <a:pt x="16657" y="16285"/>
                    <a:pt x="16536" y="17349"/>
                  </a:cubicBezTo>
                  <a:cubicBezTo>
                    <a:pt x="16500" y="17599"/>
                    <a:pt x="16381" y="17697"/>
                    <a:pt x="16213" y="17697"/>
                  </a:cubicBezTo>
                  <a:cubicBezTo>
                    <a:pt x="15669" y="17697"/>
                    <a:pt x="14619" y="16648"/>
                    <a:pt x="14317" y="16346"/>
                  </a:cubicBezTo>
                  <a:cubicBezTo>
                    <a:pt x="13891" y="15920"/>
                    <a:pt x="13891" y="15920"/>
                    <a:pt x="13101" y="15920"/>
                  </a:cubicBezTo>
                  <a:cubicBezTo>
                    <a:pt x="12280" y="15920"/>
                    <a:pt x="11946" y="15130"/>
                    <a:pt x="10548" y="14917"/>
                  </a:cubicBezTo>
                  <a:cubicBezTo>
                    <a:pt x="9764" y="14819"/>
                    <a:pt x="8173" y="14115"/>
                    <a:pt x="6579" y="14115"/>
                  </a:cubicBezTo>
                  <a:cubicBezTo>
                    <a:pt x="5699" y="14115"/>
                    <a:pt x="4819" y="14329"/>
                    <a:pt x="4074" y="14978"/>
                  </a:cubicBezTo>
                  <a:cubicBezTo>
                    <a:pt x="3709" y="15282"/>
                    <a:pt x="3374" y="15677"/>
                    <a:pt x="3101" y="16194"/>
                  </a:cubicBezTo>
                  <a:cubicBezTo>
                    <a:pt x="2020" y="18220"/>
                    <a:pt x="3200" y="18670"/>
                    <a:pt x="4463" y="18670"/>
                  </a:cubicBezTo>
                  <a:cubicBezTo>
                    <a:pt x="5473" y="18670"/>
                    <a:pt x="6536" y="18382"/>
                    <a:pt x="6536" y="18382"/>
                  </a:cubicBezTo>
                  <a:cubicBezTo>
                    <a:pt x="7599" y="19476"/>
                    <a:pt x="7782" y="20023"/>
                    <a:pt x="6961" y="20844"/>
                  </a:cubicBezTo>
                  <a:cubicBezTo>
                    <a:pt x="6596" y="21209"/>
                    <a:pt x="6201" y="21209"/>
                    <a:pt x="5897" y="21270"/>
                  </a:cubicBezTo>
                  <a:cubicBezTo>
                    <a:pt x="5593" y="21361"/>
                    <a:pt x="5381" y="21543"/>
                    <a:pt x="5381" y="22485"/>
                  </a:cubicBezTo>
                  <a:cubicBezTo>
                    <a:pt x="5381" y="22820"/>
                    <a:pt x="5411" y="23154"/>
                    <a:pt x="5441" y="23428"/>
                  </a:cubicBezTo>
                  <a:cubicBezTo>
                    <a:pt x="5574" y="24625"/>
                    <a:pt x="5847" y="25520"/>
                    <a:pt x="5281" y="25520"/>
                  </a:cubicBezTo>
                  <a:cubicBezTo>
                    <a:pt x="5200" y="25520"/>
                    <a:pt x="5103" y="25502"/>
                    <a:pt x="4985" y="25464"/>
                  </a:cubicBezTo>
                  <a:lnTo>
                    <a:pt x="4955" y="25464"/>
                  </a:lnTo>
                  <a:cubicBezTo>
                    <a:pt x="4634" y="25355"/>
                    <a:pt x="4323" y="25305"/>
                    <a:pt x="4038" y="25305"/>
                  </a:cubicBezTo>
                  <a:cubicBezTo>
                    <a:pt x="3218" y="25305"/>
                    <a:pt x="2615" y="25713"/>
                    <a:pt x="2615" y="26255"/>
                  </a:cubicBezTo>
                  <a:cubicBezTo>
                    <a:pt x="2615" y="26832"/>
                    <a:pt x="852" y="28200"/>
                    <a:pt x="1" y="29689"/>
                  </a:cubicBezTo>
                  <a:cubicBezTo>
                    <a:pt x="517" y="29598"/>
                    <a:pt x="1095" y="29385"/>
                    <a:pt x="1642" y="29385"/>
                  </a:cubicBezTo>
                  <a:cubicBezTo>
                    <a:pt x="1969" y="29385"/>
                    <a:pt x="2285" y="29369"/>
                    <a:pt x="2573" y="29369"/>
                  </a:cubicBezTo>
                  <a:cubicBezTo>
                    <a:pt x="3381" y="29369"/>
                    <a:pt x="3958" y="29501"/>
                    <a:pt x="3891" y="30510"/>
                  </a:cubicBezTo>
                  <a:cubicBezTo>
                    <a:pt x="3821" y="31582"/>
                    <a:pt x="4323" y="31707"/>
                    <a:pt x="5657" y="31707"/>
                  </a:cubicBezTo>
                  <a:cubicBezTo>
                    <a:pt x="6063" y="31707"/>
                    <a:pt x="6546" y="31695"/>
                    <a:pt x="7113" y="31695"/>
                  </a:cubicBezTo>
                  <a:cubicBezTo>
                    <a:pt x="9545" y="31695"/>
                    <a:pt x="8451" y="30996"/>
                    <a:pt x="9332" y="30236"/>
                  </a:cubicBezTo>
                  <a:cubicBezTo>
                    <a:pt x="9456" y="30133"/>
                    <a:pt x="9578" y="30089"/>
                    <a:pt x="9701" y="30089"/>
                  </a:cubicBezTo>
                  <a:cubicBezTo>
                    <a:pt x="10437" y="30089"/>
                    <a:pt x="11187" y="31682"/>
                    <a:pt x="12397" y="31682"/>
                  </a:cubicBezTo>
                  <a:cubicBezTo>
                    <a:pt x="12468" y="31682"/>
                    <a:pt x="12540" y="31677"/>
                    <a:pt x="12615" y="31665"/>
                  </a:cubicBezTo>
                  <a:cubicBezTo>
                    <a:pt x="12983" y="31608"/>
                    <a:pt x="13268" y="31575"/>
                    <a:pt x="13487" y="31575"/>
                  </a:cubicBezTo>
                  <a:cubicBezTo>
                    <a:pt x="14208" y="31575"/>
                    <a:pt x="14226" y="31937"/>
                    <a:pt x="14226" y="33033"/>
                  </a:cubicBezTo>
                  <a:cubicBezTo>
                    <a:pt x="14226" y="34461"/>
                    <a:pt x="17326" y="33853"/>
                    <a:pt x="18572" y="34218"/>
                  </a:cubicBezTo>
                  <a:cubicBezTo>
                    <a:pt x="19549" y="34535"/>
                    <a:pt x="21799" y="35205"/>
                    <a:pt x="24048" y="35205"/>
                  </a:cubicBezTo>
                  <a:cubicBezTo>
                    <a:pt x="24600" y="35205"/>
                    <a:pt x="25152" y="35165"/>
                    <a:pt x="25685" y="35069"/>
                  </a:cubicBezTo>
                  <a:cubicBezTo>
                    <a:pt x="28390" y="34613"/>
                    <a:pt x="28147" y="34735"/>
                    <a:pt x="30639" y="33549"/>
                  </a:cubicBezTo>
                  <a:cubicBezTo>
                    <a:pt x="33101" y="32364"/>
                    <a:pt x="31187" y="30419"/>
                    <a:pt x="33010" y="30419"/>
                  </a:cubicBezTo>
                  <a:cubicBezTo>
                    <a:pt x="34804" y="30419"/>
                    <a:pt x="34196" y="27987"/>
                    <a:pt x="35746" y="27987"/>
                  </a:cubicBezTo>
                  <a:cubicBezTo>
                    <a:pt x="37326" y="27987"/>
                    <a:pt x="36901" y="26042"/>
                    <a:pt x="38269" y="25191"/>
                  </a:cubicBezTo>
                  <a:cubicBezTo>
                    <a:pt x="39667" y="24340"/>
                    <a:pt x="41399" y="23975"/>
                    <a:pt x="41399" y="22729"/>
                  </a:cubicBezTo>
                  <a:cubicBezTo>
                    <a:pt x="41399" y="21482"/>
                    <a:pt x="42129" y="20814"/>
                    <a:pt x="43010" y="19416"/>
                  </a:cubicBezTo>
                  <a:cubicBezTo>
                    <a:pt x="43922" y="17987"/>
                    <a:pt x="43740" y="18078"/>
                    <a:pt x="43740" y="16650"/>
                  </a:cubicBezTo>
                  <a:cubicBezTo>
                    <a:pt x="43740" y="16085"/>
                    <a:pt x="43432" y="15915"/>
                    <a:pt x="42939" y="15915"/>
                  </a:cubicBezTo>
                  <a:cubicBezTo>
                    <a:pt x="42184" y="15915"/>
                    <a:pt x="40996" y="16315"/>
                    <a:pt x="39819" y="16315"/>
                  </a:cubicBezTo>
                  <a:cubicBezTo>
                    <a:pt x="37874" y="16315"/>
                    <a:pt x="36019" y="15616"/>
                    <a:pt x="34956" y="15221"/>
                  </a:cubicBezTo>
                  <a:cubicBezTo>
                    <a:pt x="33861" y="14856"/>
                    <a:pt x="34074" y="12728"/>
                    <a:pt x="34135" y="12029"/>
                  </a:cubicBezTo>
                  <a:cubicBezTo>
                    <a:pt x="34226" y="11178"/>
                    <a:pt x="32858" y="10570"/>
                    <a:pt x="33405" y="9962"/>
                  </a:cubicBezTo>
                  <a:cubicBezTo>
                    <a:pt x="33873" y="9443"/>
                    <a:pt x="33763" y="7902"/>
                    <a:pt x="34424" y="7902"/>
                  </a:cubicBezTo>
                  <a:cubicBezTo>
                    <a:pt x="34536" y="7902"/>
                    <a:pt x="34671" y="7946"/>
                    <a:pt x="34834" y="8048"/>
                  </a:cubicBezTo>
                  <a:cubicBezTo>
                    <a:pt x="34924" y="8105"/>
                    <a:pt x="35005" y="8132"/>
                    <a:pt x="35076" y="8132"/>
                  </a:cubicBezTo>
                  <a:cubicBezTo>
                    <a:pt x="35867" y="8132"/>
                    <a:pt x="35496" y="4856"/>
                    <a:pt x="34408" y="4856"/>
                  </a:cubicBezTo>
                  <a:cubicBezTo>
                    <a:pt x="33223" y="4856"/>
                    <a:pt x="32007" y="4522"/>
                    <a:pt x="32007" y="3002"/>
                  </a:cubicBezTo>
                  <a:cubicBezTo>
                    <a:pt x="32007" y="1513"/>
                    <a:pt x="30244" y="965"/>
                    <a:pt x="30244" y="297"/>
                  </a:cubicBezTo>
                  <a:cubicBezTo>
                    <a:pt x="29683" y="156"/>
                    <a:pt x="29234" y="0"/>
                    <a:pt x="28847" y="0"/>
                  </a:cubicBezTo>
                  <a:close/>
                </a:path>
              </a:pathLst>
            </a:custGeom>
            <a:grpFill/>
            <a:ln w="127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endParaRPr lang="fr-FR">
                <a:solidFill>
                  <a:srgbClr val="5F5F5F"/>
                </a:solidFill>
                <a:latin typeface="Tahoma"/>
              </a:endParaRPr>
            </a:p>
          </p:txBody>
        </p:sp>
        <p:sp>
          <p:nvSpPr>
            <p:cNvPr id="147" name="Nouvelle-Aquitaine">
              <a:extLst>
                <a:ext uri="{FF2B5EF4-FFF2-40B4-BE49-F238E27FC236}">
                  <a16:creationId xmlns:a16="http://schemas.microsoft.com/office/drawing/2014/main" id="{36ACA9BB-C41C-4013-BB2D-350840142CF7}"/>
                </a:ext>
              </a:extLst>
            </p:cNvPr>
            <p:cNvSpPr/>
            <p:nvPr/>
          </p:nvSpPr>
          <p:spPr>
            <a:xfrm>
              <a:off x="1314455" y="2510366"/>
              <a:ext cx="1044006" cy="1467398"/>
            </a:xfrm>
            <a:custGeom>
              <a:avLst/>
              <a:gdLst/>
              <a:ahLst/>
              <a:cxnLst/>
              <a:rect l="l" t="t" r="r" b="b"/>
              <a:pathLst>
                <a:path w="54926" h="77201" extrusionOk="0">
                  <a:moveTo>
                    <a:pt x="23339" y="0"/>
                  </a:moveTo>
                  <a:cubicBezTo>
                    <a:pt x="23068" y="0"/>
                    <a:pt x="22789" y="148"/>
                    <a:pt x="22463" y="586"/>
                  </a:cubicBezTo>
                  <a:cubicBezTo>
                    <a:pt x="21967" y="1254"/>
                    <a:pt x="20949" y="1468"/>
                    <a:pt x="19828" y="1468"/>
                  </a:cubicBezTo>
                  <a:cubicBezTo>
                    <a:pt x="18960" y="1468"/>
                    <a:pt x="18031" y="1339"/>
                    <a:pt x="17235" y="1193"/>
                  </a:cubicBezTo>
                  <a:cubicBezTo>
                    <a:pt x="17080" y="1162"/>
                    <a:pt x="16928" y="1148"/>
                    <a:pt x="16779" y="1148"/>
                  </a:cubicBezTo>
                  <a:cubicBezTo>
                    <a:pt x="15184" y="1148"/>
                    <a:pt x="13936" y="2795"/>
                    <a:pt x="12129" y="3017"/>
                  </a:cubicBezTo>
                  <a:cubicBezTo>
                    <a:pt x="10123" y="3230"/>
                    <a:pt x="14287" y="7121"/>
                    <a:pt x="14348" y="10343"/>
                  </a:cubicBezTo>
                  <a:cubicBezTo>
                    <a:pt x="14408" y="13595"/>
                    <a:pt x="14986" y="13230"/>
                    <a:pt x="15716" y="14020"/>
                  </a:cubicBezTo>
                  <a:cubicBezTo>
                    <a:pt x="16206" y="14553"/>
                    <a:pt x="15455" y="14967"/>
                    <a:pt x="14333" y="14967"/>
                  </a:cubicBezTo>
                  <a:cubicBezTo>
                    <a:pt x="13856" y="14967"/>
                    <a:pt x="13312" y="14892"/>
                    <a:pt x="12767" y="14719"/>
                  </a:cubicBezTo>
                  <a:cubicBezTo>
                    <a:pt x="12217" y="14536"/>
                    <a:pt x="11875" y="14488"/>
                    <a:pt x="11649" y="14488"/>
                  </a:cubicBezTo>
                  <a:cubicBezTo>
                    <a:pt x="11401" y="14488"/>
                    <a:pt x="11292" y="14546"/>
                    <a:pt x="11205" y="14546"/>
                  </a:cubicBezTo>
                  <a:cubicBezTo>
                    <a:pt x="11107" y="14546"/>
                    <a:pt x="11034" y="14474"/>
                    <a:pt x="10822" y="14172"/>
                  </a:cubicBezTo>
                  <a:cubicBezTo>
                    <a:pt x="10739" y="14061"/>
                    <a:pt x="10635" y="14013"/>
                    <a:pt x="10514" y="14013"/>
                  </a:cubicBezTo>
                  <a:cubicBezTo>
                    <a:pt x="9973" y="14013"/>
                    <a:pt x="9086" y="14980"/>
                    <a:pt x="8117" y="15601"/>
                  </a:cubicBezTo>
                  <a:cubicBezTo>
                    <a:pt x="9454" y="15874"/>
                    <a:pt x="8299" y="17030"/>
                    <a:pt x="7144" y="17303"/>
                  </a:cubicBezTo>
                  <a:cubicBezTo>
                    <a:pt x="7062" y="17324"/>
                    <a:pt x="6973" y="17333"/>
                    <a:pt x="6878" y="17333"/>
                  </a:cubicBezTo>
                  <a:cubicBezTo>
                    <a:pt x="5929" y="17333"/>
                    <a:pt x="4415" y="16397"/>
                    <a:pt x="3899" y="16397"/>
                  </a:cubicBezTo>
                  <a:cubicBezTo>
                    <a:pt x="3702" y="16397"/>
                    <a:pt x="3651" y="16533"/>
                    <a:pt x="3831" y="16908"/>
                  </a:cubicBezTo>
                  <a:cubicBezTo>
                    <a:pt x="4355" y="18002"/>
                    <a:pt x="5632" y="18139"/>
                    <a:pt x="6840" y="18139"/>
                  </a:cubicBezTo>
                  <a:cubicBezTo>
                    <a:pt x="7243" y="18139"/>
                    <a:pt x="7638" y="18124"/>
                    <a:pt x="7995" y="18124"/>
                  </a:cubicBezTo>
                  <a:cubicBezTo>
                    <a:pt x="9454" y="18124"/>
                    <a:pt x="9758" y="18701"/>
                    <a:pt x="9758" y="20495"/>
                  </a:cubicBezTo>
                  <a:cubicBezTo>
                    <a:pt x="9758" y="21635"/>
                    <a:pt x="9377" y="22357"/>
                    <a:pt x="8920" y="22357"/>
                  </a:cubicBezTo>
                  <a:cubicBezTo>
                    <a:pt x="8658" y="22357"/>
                    <a:pt x="8371" y="22120"/>
                    <a:pt x="8117" y="21589"/>
                  </a:cubicBezTo>
                  <a:cubicBezTo>
                    <a:pt x="7839" y="21021"/>
                    <a:pt x="7397" y="20823"/>
                    <a:pt x="6970" y="20823"/>
                  </a:cubicBezTo>
                  <a:cubicBezTo>
                    <a:pt x="6323" y="20823"/>
                    <a:pt x="5709" y="21278"/>
                    <a:pt x="5746" y="21589"/>
                  </a:cubicBezTo>
                  <a:cubicBezTo>
                    <a:pt x="5807" y="22136"/>
                    <a:pt x="7296" y="23990"/>
                    <a:pt x="7296" y="24902"/>
                  </a:cubicBezTo>
                  <a:cubicBezTo>
                    <a:pt x="7296" y="25844"/>
                    <a:pt x="7813" y="26300"/>
                    <a:pt x="8937" y="26817"/>
                  </a:cubicBezTo>
                  <a:cubicBezTo>
                    <a:pt x="10032" y="27334"/>
                    <a:pt x="10396" y="27911"/>
                    <a:pt x="9332" y="28732"/>
                  </a:cubicBezTo>
                  <a:cubicBezTo>
                    <a:pt x="8299" y="29553"/>
                    <a:pt x="7995" y="29796"/>
                    <a:pt x="7995" y="34993"/>
                  </a:cubicBezTo>
                  <a:cubicBezTo>
                    <a:pt x="7995" y="40221"/>
                    <a:pt x="7235" y="41376"/>
                    <a:pt x="7873" y="42075"/>
                  </a:cubicBezTo>
                  <a:cubicBezTo>
                    <a:pt x="8421" y="42653"/>
                    <a:pt x="9059" y="43595"/>
                    <a:pt x="8846" y="43990"/>
                  </a:cubicBezTo>
                  <a:cubicBezTo>
                    <a:pt x="8785" y="44082"/>
                    <a:pt x="8724" y="44142"/>
                    <a:pt x="8573" y="44173"/>
                  </a:cubicBezTo>
                  <a:cubicBezTo>
                    <a:pt x="7813" y="44355"/>
                    <a:pt x="6901" y="46209"/>
                    <a:pt x="6566" y="51316"/>
                  </a:cubicBezTo>
                  <a:cubicBezTo>
                    <a:pt x="6202" y="56422"/>
                    <a:pt x="3466" y="64599"/>
                    <a:pt x="1733" y="65115"/>
                  </a:cubicBezTo>
                  <a:cubicBezTo>
                    <a:pt x="1" y="65632"/>
                    <a:pt x="974" y="67273"/>
                    <a:pt x="1399" y="67425"/>
                  </a:cubicBezTo>
                  <a:cubicBezTo>
                    <a:pt x="1721" y="67574"/>
                    <a:pt x="1599" y="68611"/>
                    <a:pt x="2102" y="68611"/>
                  </a:cubicBezTo>
                  <a:cubicBezTo>
                    <a:pt x="2217" y="68611"/>
                    <a:pt x="2363" y="68558"/>
                    <a:pt x="2554" y="68428"/>
                  </a:cubicBezTo>
                  <a:cubicBezTo>
                    <a:pt x="2749" y="68296"/>
                    <a:pt x="2935" y="68237"/>
                    <a:pt x="3105" y="68237"/>
                  </a:cubicBezTo>
                  <a:cubicBezTo>
                    <a:pt x="3836" y="68237"/>
                    <a:pt x="4284" y="69331"/>
                    <a:pt x="4013" y="70465"/>
                  </a:cubicBezTo>
                  <a:cubicBezTo>
                    <a:pt x="3738" y="71497"/>
                    <a:pt x="4138" y="72581"/>
                    <a:pt x="4768" y="72581"/>
                  </a:cubicBezTo>
                  <a:cubicBezTo>
                    <a:pt x="4973" y="72581"/>
                    <a:pt x="5203" y="72466"/>
                    <a:pt x="5442" y="72198"/>
                  </a:cubicBezTo>
                  <a:cubicBezTo>
                    <a:pt x="5686" y="71931"/>
                    <a:pt x="5840" y="71822"/>
                    <a:pt x="5966" y="71822"/>
                  </a:cubicBezTo>
                  <a:cubicBezTo>
                    <a:pt x="6357" y="71822"/>
                    <a:pt x="6475" y="72883"/>
                    <a:pt x="8177" y="73596"/>
                  </a:cubicBezTo>
                  <a:cubicBezTo>
                    <a:pt x="10427" y="74508"/>
                    <a:pt x="13041" y="74872"/>
                    <a:pt x="13740" y="76483"/>
                  </a:cubicBezTo>
                  <a:cubicBezTo>
                    <a:pt x="13971" y="77011"/>
                    <a:pt x="14329" y="77201"/>
                    <a:pt x="14785" y="77201"/>
                  </a:cubicBezTo>
                  <a:cubicBezTo>
                    <a:pt x="15591" y="77201"/>
                    <a:pt x="16703" y="76609"/>
                    <a:pt x="17965" y="76240"/>
                  </a:cubicBezTo>
                  <a:cubicBezTo>
                    <a:pt x="17843" y="75571"/>
                    <a:pt x="17782" y="75115"/>
                    <a:pt x="17843" y="74963"/>
                  </a:cubicBezTo>
                  <a:cubicBezTo>
                    <a:pt x="18238" y="73869"/>
                    <a:pt x="19728" y="72684"/>
                    <a:pt x="19971" y="71590"/>
                  </a:cubicBezTo>
                  <a:cubicBezTo>
                    <a:pt x="20244" y="70495"/>
                    <a:pt x="22129" y="68702"/>
                    <a:pt x="22129" y="67000"/>
                  </a:cubicBezTo>
                  <a:cubicBezTo>
                    <a:pt x="22129" y="65350"/>
                    <a:pt x="21478" y="63108"/>
                    <a:pt x="19766" y="63108"/>
                  </a:cubicBezTo>
                  <a:cubicBezTo>
                    <a:pt x="19743" y="63108"/>
                    <a:pt x="19720" y="63108"/>
                    <a:pt x="19697" y="63109"/>
                  </a:cubicBezTo>
                  <a:cubicBezTo>
                    <a:pt x="19637" y="63111"/>
                    <a:pt x="19580" y="63112"/>
                    <a:pt x="19526" y="63112"/>
                  </a:cubicBezTo>
                  <a:cubicBezTo>
                    <a:pt x="18021" y="63112"/>
                    <a:pt x="19213" y="62286"/>
                    <a:pt x="19272" y="60495"/>
                  </a:cubicBezTo>
                  <a:cubicBezTo>
                    <a:pt x="19333" y="58611"/>
                    <a:pt x="19120" y="57243"/>
                    <a:pt x="20275" y="57243"/>
                  </a:cubicBezTo>
                  <a:cubicBezTo>
                    <a:pt x="21248" y="57243"/>
                    <a:pt x="21852" y="55789"/>
                    <a:pt x="22424" y="55789"/>
                  </a:cubicBezTo>
                  <a:cubicBezTo>
                    <a:pt x="22549" y="55789"/>
                    <a:pt x="22672" y="55858"/>
                    <a:pt x="22798" y="56027"/>
                  </a:cubicBezTo>
                  <a:cubicBezTo>
                    <a:pt x="22968" y="56256"/>
                    <a:pt x="23125" y="56340"/>
                    <a:pt x="23287" y="56340"/>
                  </a:cubicBezTo>
                  <a:cubicBezTo>
                    <a:pt x="23723" y="56340"/>
                    <a:pt x="24191" y="55735"/>
                    <a:pt x="25023" y="55735"/>
                  </a:cubicBezTo>
                  <a:cubicBezTo>
                    <a:pt x="25154" y="55735"/>
                    <a:pt x="25293" y="55750"/>
                    <a:pt x="25442" y="55784"/>
                  </a:cubicBezTo>
                  <a:cubicBezTo>
                    <a:pt x="25577" y="55818"/>
                    <a:pt x="25719" y="55833"/>
                    <a:pt x="25867" y="55833"/>
                  </a:cubicBezTo>
                  <a:cubicBezTo>
                    <a:pt x="27098" y="55833"/>
                    <a:pt x="28718" y="54788"/>
                    <a:pt x="29620" y="54788"/>
                  </a:cubicBezTo>
                  <a:cubicBezTo>
                    <a:pt x="29783" y="54788"/>
                    <a:pt x="29922" y="54822"/>
                    <a:pt x="30032" y="54902"/>
                  </a:cubicBezTo>
                  <a:cubicBezTo>
                    <a:pt x="30109" y="54964"/>
                    <a:pt x="30190" y="54991"/>
                    <a:pt x="30277" y="54991"/>
                  </a:cubicBezTo>
                  <a:cubicBezTo>
                    <a:pt x="31044" y="54991"/>
                    <a:pt x="32145" y="52799"/>
                    <a:pt x="32828" y="52744"/>
                  </a:cubicBezTo>
                  <a:cubicBezTo>
                    <a:pt x="33588" y="52684"/>
                    <a:pt x="34226" y="51498"/>
                    <a:pt x="34196" y="50586"/>
                  </a:cubicBezTo>
                  <a:cubicBezTo>
                    <a:pt x="34178" y="50303"/>
                    <a:pt x="34275" y="50231"/>
                    <a:pt x="34419" y="50231"/>
                  </a:cubicBezTo>
                  <a:cubicBezTo>
                    <a:pt x="34569" y="50231"/>
                    <a:pt x="34769" y="50309"/>
                    <a:pt x="34946" y="50309"/>
                  </a:cubicBezTo>
                  <a:cubicBezTo>
                    <a:pt x="35167" y="50309"/>
                    <a:pt x="35351" y="50188"/>
                    <a:pt x="35351" y="49644"/>
                  </a:cubicBezTo>
                  <a:cubicBezTo>
                    <a:pt x="35351" y="48215"/>
                    <a:pt x="34409" y="46483"/>
                    <a:pt x="35351" y="46483"/>
                  </a:cubicBezTo>
                  <a:cubicBezTo>
                    <a:pt x="36293" y="46483"/>
                    <a:pt x="36415" y="44021"/>
                    <a:pt x="37631" y="43960"/>
                  </a:cubicBezTo>
                  <a:cubicBezTo>
                    <a:pt x="38877" y="43899"/>
                    <a:pt x="40275" y="41194"/>
                    <a:pt x="40275" y="39857"/>
                  </a:cubicBezTo>
                  <a:cubicBezTo>
                    <a:pt x="40275" y="38812"/>
                    <a:pt x="40825" y="38459"/>
                    <a:pt x="41641" y="38459"/>
                  </a:cubicBezTo>
                  <a:cubicBezTo>
                    <a:pt x="41892" y="38459"/>
                    <a:pt x="42170" y="38492"/>
                    <a:pt x="42464" y="38550"/>
                  </a:cubicBezTo>
                  <a:cubicBezTo>
                    <a:pt x="43558" y="38768"/>
                    <a:pt x="44677" y="39775"/>
                    <a:pt x="45731" y="39775"/>
                  </a:cubicBezTo>
                  <a:cubicBezTo>
                    <a:pt x="45849" y="39775"/>
                    <a:pt x="45965" y="39762"/>
                    <a:pt x="46081" y="39735"/>
                  </a:cubicBezTo>
                  <a:cubicBezTo>
                    <a:pt x="47266" y="39431"/>
                    <a:pt x="49120" y="38732"/>
                    <a:pt x="49120" y="38732"/>
                  </a:cubicBezTo>
                  <a:cubicBezTo>
                    <a:pt x="49060" y="37273"/>
                    <a:pt x="49364" y="36695"/>
                    <a:pt x="50154" y="36635"/>
                  </a:cubicBezTo>
                  <a:cubicBezTo>
                    <a:pt x="50944" y="36543"/>
                    <a:pt x="50944" y="33139"/>
                    <a:pt x="51582" y="33048"/>
                  </a:cubicBezTo>
                  <a:cubicBezTo>
                    <a:pt x="52198" y="32989"/>
                    <a:pt x="51881" y="31095"/>
                    <a:pt x="52348" y="31095"/>
                  </a:cubicBezTo>
                  <a:cubicBezTo>
                    <a:pt x="52365" y="31095"/>
                    <a:pt x="52383" y="31097"/>
                    <a:pt x="52403" y="31103"/>
                  </a:cubicBezTo>
                  <a:cubicBezTo>
                    <a:pt x="52440" y="31112"/>
                    <a:pt x="52480" y="31117"/>
                    <a:pt x="52523" y="31117"/>
                  </a:cubicBezTo>
                  <a:cubicBezTo>
                    <a:pt x="53158" y="31117"/>
                    <a:pt x="54418" y="30075"/>
                    <a:pt x="54105" y="28367"/>
                  </a:cubicBezTo>
                  <a:cubicBezTo>
                    <a:pt x="53741" y="26543"/>
                    <a:pt x="52403" y="26057"/>
                    <a:pt x="52403" y="24659"/>
                  </a:cubicBezTo>
                  <a:cubicBezTo>
                    <a:pt x="52403" y="23261"/>
                    <a:pt x="54926" y="23838"/>
                    <a:pt x="54926" y="20951"/>
                  </a:cubicBezTo>
                  <a:cubicBezTo>
                    <a:pt x="54926" y="18093"/>
                    <a:pt x="54561" y="18914"/>
                    <a:pt x="53345" y="16756"/>
                  </a:cubicBezTo>
                  <a:cubicBezTo>
                    <a:pt x="52251" y="14811"/>
                    <a:pt x="50701" y="14112"/>
                    <a:pt x="50640" y="13321"/>
                  </a:cubicBezTo>
                  <a:cubicBezTo>
                    <a:pt x="50216" y="13268"/>
                    <a:pt x="49700" y="13236"/>
                    <a:pt x="49085" y="13236"/>
                  </a:cubicBezTo>
                  <a:cubicBezTo>
                    <a:pt x="48642" y="13236"/>
                    <a:pt x="48148" y="13253"/>
                    <a:pt x="47601" y="13291"/>
                  </a:cubicBezTo>
                  <a:cubicBezTo>
                    <a:pt x="45442" y="13462"/>
                    <a:pt x="44516" y="14038"/>
                    <a:pt x="43639" y="14038"/>
                  </a:cubicBezTo>
                  <a:cubicBezTo>
                    <a:pt x="43268" y="14038"/>
                    <a:pt x="42906" y="13935"/>
                    <a:pt x="42464" y="13656"/>
                  </a:cubicBezTo>
                  <a:cubicBezTo>
                    <a:pt x="42201" y="13486"/>
                    <a:pt x="41868" y="13421"/>
                    <a:pt x="41496" y="13421"/>
                  </a:cubicBezTo>
                  <a:cubicBezTo>
                    <a:pt x="40259" y="13421"/>
                    <a:pt x="38602" y="14144"/>
                    <a:pt x="37741" y="14144"/>
                  </a:cubicBezTo>
                  <a:cubicBezTo>
                    <a:pt x="37424" y="14144"/>
                    <a:pt x="37215" y="14046"/>
                    <a:pt x="37175" y="13777"/>
                  </a:cubicBezTo>
                  <a:cubicBezTo>
                    <a:pt x="36992" y="12531"/>
                    <a:pt x="36810" y="11467"/>
                    <a:pt x="34986" y="11467"/>
                  </a:cubicBezTo>
                  <a:cubicBezTo>
                    <a:pt x="33163" y="11467"/>
                    <a:pt x="34287" y="9005"/>
                    <a:pt x="33771" y="8549"/>
                  </a:cubicBezTo>
                  <a:cubicBezTo>
                    <a:pt x="33223" y="8063"/>
                    <a:pt x="32008" y="5175"/>
                    <a:pt x="31278" y="3959"/>
                  </a:cubicBezTo>
                  <a:cubicBezTo>
                    <a:pt x="31071" y="3591"/>
                    <a:pt x="30865" y="3459"/>
                    <a:pt x="30656" y="3459"/>
                  </a:cubicBezTo>
                  <a:cubicBezTo>
                    <a:pt x="30160" y="3459"/>
                    <a:pt x="29655" y="4208"/>
                    <a:pt x="29120" y="4294"/>
                  </a:cubicBezTo>
                  <a:cubicBezTo>
                    <a:pt x="28756" y="4352"/>
                    <a:pt x="28224" y="4515"/>
                    <a:pt x="27769" y="4515"/>
                  </a:cubicBezTo>
                  <a:cubicBezTo>
                    <a:pt x="27275" y="4515"/>
                    <a:pt x="26871" y="4323"/>
                    <a:pt x="26871" y="3595"/>
                  </a:cubicBezTo>
                  <a:cubicBezTo>
                    <a:pt x="26871" y="2166"/>
                    <a:pt x="25776" y="829"/>
                    <a:pt x="24834" y="586"/>
                  </a:cubicBezTo>
                  <a:cubicBezTo>
                    <a:pt x="24240" y="432"/>
                    <a:pt x="23802" y="0"/>
                    <a:pt x="23339" y="0"/>
                  </a:cubicBezTo>
                  <a:close/>
                </a:path>
              </a:pathLst>
            </a:custGeom>
            <a:grpFill/>
            <a:ln w="127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endParaRPr lang="fr-FR">
                <a:solidFill>
                  <a:srgbClr val="5F5F5F"/>
                </a:solidFill>
                <a:latin typeface="Tahoma"/>
              </a:endParaRPr>
            </a:p>
          </p:txBody>
        </p:sp>
        <p:sp>
          <p:nvSpPr>
            <p:cNvPr id="148" name="Bretagne">
              <a:extLst>
                <a:ext uri="{FF2B5EF4-FFF2-40B4-BE49-F238E27FC236}">
                  <a16:creationId xmlns:a16="http://schemas.microsoft.com/office/drawing/2014/main" id="{512B839A-30FD-49D6-843D-A5C6DE745A91}"/>
                </a:ext>
              </a:extLst>
            </p:cNvPr>
            <p:cNvSpPr/>
            <p:nvPr/>
          </p:nvSpPr>
          <p:spPr>
            <a:xfrm>
              <a:off x="631200" y="1895254"/>
              <a:ext cx="879705" cy="514153"/>
            </a:xfrm>
            <a:custGeom>
              <a:avLst/>
              <a:gdLst/>
              <a:ahLst/>
              <a:cxnLst/>
              <a:rect l="l" t="t" r="r" b="b"/>
              <a:pathLst>
                <a:path w="46282" h="27050" extrusionOk="0">
                  <a:moveTo>
                    <a:pt x="21176" y="0"/>
                  </a:moveTo>
                  <a:cubicBezTo>
                    <a:pt x="20999" y="0"/>
                    <a:pt x="20797" y="73"/>
                    <a:pt x="20567" y="241"/>
                  </a:cubicBezTo>
                  <a:cubicBezTo>
                    <a:pt x="20293" y="423"/>
                    <a:pt x="19260" y="423"/>
                    <a:pt x="18561" y="1274"/>
                  </a:cubicBezTo>
                  <a:cubicBezTo>
                    <a:pt x="18319" y="1578"/>
                    <a:pt x="18114" y="1680"/>
                    <a:pt x="17906" y="1680"/>
                  </a:cubicBezTo>
                  <a:cubicBezTo>
                    <a:pt x="17509" y="1680"/>
                    <a:pt x="17099" y="1314"/>
                    <a:pt x="16402" y="1274"/>
                  </a:cubicBezTo>
                  <a:cubicBezTo>
                    <a:pt x="16393" y="1274"/>
                    <a:pt x="16384" y="1274"/>
                    <a:pt x="16375" y="1274"/>
                  </a:cubicBezTo>
                  <a:cubicBezTo>
                    <a:pt x="15374" y="1274"/>
                    <a:pt x="15643" y="2922"/>
                    <a:pt x="15673" y="3584"/>
                  </a:cubicBezTo>
                  <a:cubicBezTo>
                    <a:pt x="15690" y="3960"/>
                    <a:pt x="15400" y="4240"/>
                    <a:pt x="14931" y="4240"/>
                  </a:cubicBezTo>
                  <a:cubicBezTo>
                    <a:pt x="14567" y="4240"/>
                    <a:pt x="14094" y="4071"/>
                    <a:pt x="13576" y="3645"/>
                  </a:cubicBezTo>
                  <a:cubicBezTo>
                    <a:pt x="13215" y="3358"/>
                    <a:pt x="12961" y="3232"/>
                    <a:pt x="12776" y="3232"/>
                  </a:cubicBezTo>
                  <a:cubicBezTo>
                    <a:pt x="12352" y="3232"/>
                    <a:pt x="12286" y="3891"/>
                    <a:pt x="12117" y="4800"/>
                  </a:cubicBezTo>
                  <a:cubicBezTo>
                    <a:pt x="12055" y="5095"/>
                    <a:pt x="11967" y="5216"/>
                    <a:pt x="11862" y="5216"/>
                  </a:cubicBezTo>
                  <a:cubicBezTo>
                    <a:pt x="11499" y="5216"/>
                    <a:pt x="10930" y="3777"/>
                    <a:pt x="10506" y="2976"/>
                  </a:cubicBezTo>
                  <a:cubicBezTo>
                    <a:pt x="10381" y="2742"/>
                    <a:pt x="10205" y="2653"/>
                    <a:pt x="9995" y="2653"/>
                  </a:cubicBezTo>
                  <a:cubicBezTo>
                    <a:pt x="9341" y="2653"/>
                    <a:pt x="8356" y="3516"/>
                    <a:pt x="7582" y="3516"/>
                  </a:cubicBezTo>
                  <a:cubicBezTo>
                    <a:pt x="7511" y="3516"/>
                    <a:pt x="7442" y="3509"/>
                    <a:pt x="7375" y="3493"/>
                  </a:cubicBezTo>
                  <a:cubicBezTo>
                    <a:pt x="7191" y="3443"/>
                    <a:pt x="7040" y="3422"/>
                    <a:pt x="6908" y="3422"/>
                  </a:cubicBezTo>
                  <a:cubicBezTo>
                    <a:pt x="6322" y="3422"/>
                    <a:pt x="6098" y="3828"/>
                    <a:pt x="4883" y="3828"/>
                  </a:cubicBezTo>
                  <a:cubicBezTo>
                    <a:pt x="3424" y="3828"/>
                    <a:pt x="3819" y="4739"/>
                    <a:pt x="2329" y="5013"/>
                  </a:cubicBezTo>
                  <a:cubicBezTo>
                    <a:pt x="870" y="5317"/>
                    <a:pt x="171" y="5530"/>
                    <a:pt x="80" y="7110"/>
                  </a:cubicBezTo>
                  <a:cubicBezTo>
                    <a:pt x="1" y="8506"/>
                    <a:pt x="310" y="9856"/>
                    <a:pt x="967" y="9856"/>
                  </a:cubicBezTo>
                  <a:cubicBezTo>
                    <a:pt x="1068" y="9856"/>
                    <a:pt x="1178" y="9824"/>
                    <a:pt x="1296" y="9755"/>
                  </a:cubicBezTo>
                  <a:cubicBezTo>
                    <a:pt x="2147" y="9208"/>
                    <a:pt x="3879" y="9329"/>
                    <a:pt x="5156" y="9268"/>
                  </a:cubicBezTo>
                  <a:cubicBezTo>
                    <a:pt x="5180" y="9267"/>
                    <a:pt x="5203" y="9267"/>
                    <a:pt x="5226" y="9267"/>
                  </a:cubicBezTo>
                  <a:cubicBezTo>
                    <a:pt x="6461" y="9267"/>
                    <a:pt x="7212" y="10830"/>
                    <a:pt x="6645" y="11426"/>
                  </a:cubicBezTo>
                  <a:cubicBezTo>
                    <a:pt x="6554" y="11523"/>
                    <a:pt x="6445" y="11564"/>
                    <a:pt x="6322" y="11564"/>
                  </a:cubicBezTo>
                  <a:cubicBezTo>
                    <a:pt x="5665" y="11564"/>
                    <a:pt x="4594" y="10391"/>
                    <a:pt x="3545" y="10059"/>
                  </a:cubicBezTo>
                  <a:cubicBezTo>
                    <a:pt x="3403" y="10014"/>
                    <a:pt x="3286" y="9993"/>
                    <a:pt x="3189" y="9993"/>
                  </a:cubicBezTo>
                  <a:cubicBezTo>
                    <a:pt x="2436" y="9993"/>
                    <a:pt x="2941" y="11261"/>
                    <a:pt x="2968" y="12338"/>
                  </a:cubicBezTo>
                  <a:cubicBezTo>
                    <a:pt x="2985" y="13005"/>
                    <a:pt x="3117" y="13268"/>
                    <a:pt x="3375" y="13268"/>
                  </a:cubicBezTo>
                  <a:cubicBezTo>
                    <a:pt x="3577" y="13268"/>
                    <a:pt x="3854" y="13108"/>
                    <a:pt x="4214" y="12855"/>
                  </a:cubicBezTo>
                  <a:cubicBezTo>
                    <a:pt x="4662" y="12538"/>
                    <a:pt x="5114" y="12425"/>
                    <a:pt x="5517" y="12425"/>
                  </a:cubicBezTo>
                  <a:cubicBezTo>
                    <a:pt x="6233" y="12425"/>
                    <a:pt x="6791" y="12782"/>
                    <a:pt x="6889" y="12977"/>
                  </a:cubicBezTo>
                  <a:cubicBezTo>
                    <a:pt x="7223" y="13676"/>
                    <a:pt x="6919" y="14405"/>
                    <a:pt x="5642" y="14405"/>
                  </a:cubicBezTo>
                  <a:cubicBezTo>
                    <a:pt x="4366" y="14405"/>
                    <a:pt x="2572" y="14800"/>
                    <a:pt x="1509" y="15530"/>
                  </a:cubicBezTo>
                  <a:cubicBezTo>
                    <a:pt x="475" y="16229"/>
                    <a:pt x="3272" y="16685"/>
                    <a:pt x="4457" y="17232"/>
                  </a:cubicBezTo>
                  <a:cubicBezTo>
                    <a:pt x="5642" y="17779"/>
                    <a:pt x="5278" y="18934"/>
                    <a:pt x="4761" y="20272"/>
                  </a:cubicBezTo>
                  <a:cubicBezTo>
                    <a:pt x="4559" y="20827"/>
                    <a:pt x="4703" y="20989"/>
                    <a:pt x="5051" y="20989"/>
                  </a:cubicBezTo>
                  <a:cubicBezTo>
                    <a:pt x="5542" y="20989"/>
                    <a:pt x="6438" y="20667"/>
                    <a:pt x="7345" y="20667"/>
                  </a:cubicBezTo>
                  <a:cubicBezTo>
                    <a:pt x="8795" y="20667"/>
                    <a:pt x="7993" y="19388"/>
                    <a:pt x="9001" y="19388"/>
                  </a:cubicBezTo>
                  <a:cubicBezTo>
                    <a:pt x="9092" y="19388"/>
                    <a:pt x="9197" y="19398"/>
                    <a:pt x="9320" y="19420"/>
                  </a:cubicBezTo>
                  <a:cubicBezTo>
                    <a:pt x="9522" y="19453"/>
                    <a:pt x="9697" y="19465"/>
                    <a:pt x="9852" y="19465"/>
                  </a:cubicBezTo>
                  <a:cubicBezTo>
                    <a:pt x="10294" y="19465"/>
                    <a:pt x="10568" y="19367"/>
                    <a:pt x="10805" y="19367"/>
                  </a:cubicBezTo>
                  <a:cubicBezTo>
                    <a:pt x="11110" y="19367"/>
                    <a:pt x="11352" y="19529"/>
                    <a:pt x="11813" y="20272"/>
                  </a:cubicBezTo>
                  <a:cubicBezTo>
                    <a:pt x="12219" y="20906"/>
                    <a:pt x="12758" y="21006"/>
                    <a:pt x="13325" y="21006"/>
                  </a:cubicBezTo>
                  <a:cubicBezTo>
                    <a:pt x="13583" y="21006"/>
                    <a:pt x="13847" y="20985"/>
                    <a:pt x="14108" y="20985"/>
                  </a:cubicBezTo>
                  <a:cubicBezTo>
                    <a:pt x="14644" y="20985"/>
                    <a:pt x="15165" y="21073"/>
                    <a:pt x="15582" y="21609"/>
                  </a:cubicBezTo>
                  <a:cubicBezTo>
                    <a:pt x="15992" y="22122"/>
                    <a:pt x="16402" y="22160"/>
                    <a:pt x="16834" y="22160"/>
                  </a:cubicBezTo>
                  <a:cubicBezTo>
                    <a:pt x="16910" y="22160"/>
                    <a:pt x="16986" y="22159"/>
                    <a:pt x="17064" y="22159"/>
                  </a:cubicBezTo>
                  <a:cubicBezTo>
                    <a:pt x="17718" y="22159"/>
                    <a:pt x="18427" y="22245"/>
                    <a:pt x="19260" y="23858"/>
                  </a:cubicBezTo>
                  <a:cubicBezTo>
                    <a:pt x="19865" y="25019"/>
                    <a:pt x="20284" y="25372"/>
                    <a:pt x="20663" y="25372"/>
                  </a:cubicBezTo>
                  <a:cubicBezTo>
                    <a:pt x="21216" y="25372"/>
                    <a:pt x="21682" y="24617"/>
                    <a:pt x="22512" y="24527"/>
                  </a:cubicBezTo>
                  <a:cubicBezTo>
                    <a:pt x="22973" y="24467"/>
                    <a:pt x="23272" y="24420"/>
                    <a:pt x="23468" y="24420"/>
                  </a:cubicBezTo>
                  <a:cubicBezTo>
                    <a:pt x="23867" y="24420"/>
                    <a:pt x="23839" y="24614"/>
                    <a:pt x="23880" y="25287"/>
                  </a:cubicBezTo>
                  <a:cubicBezTo>
                    <a:pt x="23898" y="25580"/>
                    <a:pt x="24054" y="25688"/>
                    <a:pt x="24299" y="25688"/>
                  </a:cubicBezTo>
                  <a:cubicBezTo>
                    <a:pt x="24867" y="25688"/>
                    <a:pt x="25915" y="25104"/>
                    <a:pt x="26828" y="24892"/>
                  </a:cubicBezTo>
                  <a:cubicBezTo>
                    <a:pt x="26938" y="24869"/>
                    <a:pt x="27043" y="24859"/>
                    <a:pt x="27143" y="24859"/>
                  </a:cubicBezTo>
                  <a:cubicBezTo>
                    <a:pt x="28260" y="24859"/>
                    <a:pt x="28754" y="26180"/>
                    <a:pt x="28530" y="26989"/>
                  </a:cubicBezTo>
                  <a:cubicBezTo>
                    <a:pt x="28530" y="27019"/>
                    <a:pt x="28500" y="27019"/>
                    <a:pt x="28500" y="27050"/>
                  </a:cubicBezTo>
                  <a:cubicBezTo>
                    <a:pt x="29655" y="26928"/>
                    <a:pt x="30385" y="26715"/>
                    <a:pt x="30780" y="25956"/>
                  </a:cubicBezTo>
                  <a:cubicBezTo>
                    <a:pt x="30999" y="25556"/>
                    <a:pt x="31321" y="25475"/>
                    <a:pt x="31654" y="25475"/>
                  </a:cubicBezTo>
                  <a:cubicBezTo>
                    <a:pt x="31881" y="25475"/>
                    <a:pt x="32113" y="25513"/>
                    <a:pt x="32322" y="25513"/>
                  </a:cubicBezTo>
                  <a:cubicBezTo>
                    <a:pt x="32738" y="25513"/>
                    <a:pt x="33059" y="25363"/>
                    <a:pt x="33059" y="24466"/>
                  </a:cubicBezTo>
                  <a:cubicBezTo>
                    <a:pt x="33059" y="22460"/>
                    <a:pt x="36099" y="23250"/>
                    <a:pt x="37254" y="22217"/>
                  </a:cubicBezTo>
                  <a:cubicBezTo>
                    <a:pt x="38303" y="21276"/>
                    <a:pt x="40589" y="19668"/>
                    <a:pt x="42134" y="19668"/>
                  </a:cubicBezTo>
                  <a:cubicBezTo>
                    <a:pt x="42335" y="19668"/>
                    <a:pt x="42523" y="19695"/>
                    <a:pt x="42695" y="19755"/>
                  </a:cubicBezTo>
                  <a:cubicBezTo>
                    <a:pt x="42908" y="19829"/>
                    <a:pt x="43113" y="19863"/>
                    <a:pt x="43310" y="19863"/>
                  </a:cubicBezTo>
                  <a:cubicBezTo>
                    <a:pt x="44487" y="19863"/>
                    <a:pt x="45335" y="18639"/>
                    <a:pt x="45491" y="17414"/>
                  </a:cubicBezTo>
                  <a:cubicBezTo>
                    <a:pt x="45674" y="15986"/>
                    <a:pt x="46281" y="15074"/>
                    <a:pt x="45826" y="12551"/>
                  </a:cubicBezTo>
                  <a:cubicBezTo>
                    <a:pt x="45417" y="10293"/>
                    <a:pt x="45277" y="7157"/>
                    <a:pt x="44118" y="7157"/>
                  </a:cubicBezTo>
                  <a:cubicBezTo>
                    <a:pt x="43983" y="7157"/>
                    <a:pt x="43833" y="7200"/>
                    <a:pt x="43667" y="7293"/>
                  </a:cubicBezTo>
                  <a:cubicBezTo>
                    <a:pt x="42905" y="7753"/>
                    <a:pt x="42042" y="8696"/>
                    <a:pt x="41297" y="8696"/>
                  </a:cubicBezTo>
                  <a:cubicBezTo>
                    <a:pt x="40617" y="8696"/>
                    <a:pt x="40035" y="7911"/>
                    <a:pt x="39716" y="5256"/>
                  </a:cubicBezTo>
                  <a:lnTo>
                    <a:pt x="39686" y="5256"/>
                  </a:lnTo>
                  <a:cubicBezTo>
                    <a:pt x="39093" y="5310"/>
                    <a:pt x="38374" y="5442"/>
                    <a:pt x="37756" y="5442"/>
                  </a:cubicBezTo>
                  <a:cubicBezTo>
                    <a:pt x="36979" y="5442"/>
                    <a:pt x="36359" y="5234"/>
                    <a:pt x="36342" y="4405"/>
                  </a:cubicBezTo>
                  <a:cubicBezTo>
                    <a:pt x="36332" y="3907"/>
                    <a:pt x="36162" y="3707"/>
                    <a:pt x="35881" y="3707"/>
                  </a:cubicBezTo>
                  <a:cubicBezTo>
                    <a:pt x="35337" y="3707"/>
                    <a:pt x="34374" y="4455"/>
                    <a:pt x="33333" y="5256"/>
                  </a:cubicBezTo>
                  <a:cubicBezTo>
                    <a:pt x="32825" y="5640"/>
                    <a:pt x="32467" y="5793"/>
                    <a:pt x="32201" y="5793"/>
                  </a:cubicBezTo>
                  <a:cubicBezTo>
                    <a:pt x="31622" y="5793"/>
                    <a:pt x="31468" y="5071"/>
                    <a:pt x="31114" y="4405"/>
                  </a:cubicBezTo>
                  <a:cubicBezTo>
                    <a:pt x="30966" y="4119"/>
                    <a:pt x="30838" y="4007"/>
                    <a:pt x="30692" y="4007"/>
                  </a:cubicBezTo>
                  <a:cubicBezTo>
                    <a:pt x="30355" y="4007"/>
                    <a:pt x="29921" y="4599"/>
                    <a:pt x="28926" y="5043"/>
                  </a:cubicBezTo>
                  <a:cubicBezTo>
                    <a:pt x="27517" y="5673"/>
                    <a:pt x="28177" y="6716"/>
                    <a:pt x="26972" y="6716"/>
                  </a:cubicBezTo>
                  <a:cubicBezTo>
                    <a:pt x="26955" y="6716"/>
                    <a:pt x="26937" y="6716"/>
                    <a:pt x="26919" y="6715"/>
                  </a:cubicBezTo>
                  <a:cubicBezTo>
                    <a:pt x="26342" y="6715"/>
                    <a:pt x="24883" y="6442"/>
                    <a:pt x="24883" y="5621"/>
                  </a:cubicBezTo>
                  <a:cubicBezTo>
                    <a:pt x="24883" y="4831"/>
                    <a:pt x="24609" y="4679"/>
                    <a:pt x="23910" y="4040"/>
                  </a:cubicBezTo>
                  <a:cubicBezTo>
                    <a:pt x="23211" y="3402"/>
                    <a:pt x="22542" y="2703"/>
                    <a:pt x="22299" y="1639"/>
                  </a:cubicBezTo>
                  <a:cubicBezTo>
                    <a:pt x="22089" y="820"/>
                    <a:pt x="21770" y="0"/>
                    <a:pt x="21176" y="0"/>
                  </a:cubicBezTo>
                  <a:close/>
                </a:path>
              </a:pathLst>
            </a:custGeom>
            <a:grpFill/>
            <a:ln w="127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endParaRPr lang="fr-FR">
                <a:solidFill>
                  <a:srgbClr val="5F5F5F"/>
                </a:solidFill>
                <a:latin typeface="Tahoma"/>
              </a:endParaRPr>
            </a:p>
          </p:txBody>
        </p:sp>
        <p:sp>
          <p:nvSpPr>
            <p:cNvPr id="149" name="Normandie">
              <a:extLst>
                <a:ext uri="{FF2B5EF4-FFF2-40B4-BE49-F238E27FC236}">
                  <a16:creationId xmlns:a16="http://schemas.microsoft.com/office/drawing/2014/main" id="{1972A2D0-E981-4266-B1C0-1868E1028510}"/>
                </a:ext>
              </a:extLst>
            </p:cNvPr>
            <p:cNvSpPr/>
            <p:nvPr/>
          </p:nvSpPr>
          <p:spPr>
            <a:xfrm>
              <a:off x="1289365" y="1493086"/>
              <a:ext cx="888848" cy="664217"/>
            </a:xfrm>
            <a:custGeom>
              <a:avLst/>
              <a:gdLst/>
              <a:ahLst/>
              <a:cxnLst/>
              <a:rect l="l" t="t" r="r" b="b"/>
              <a:pathLst>
                <a:path w="46763" h="34945" extrusionOk="0">
                  <a:moveTo>
                    <a:pt x="41778" y="0"/>
                  </a:moveTo>
                  <a:cubicBezTo>
                    <a:pt x="41686" y="122"/>
                    <a:pt x="41565" y="183"/>
                    <a:pt x="41474" y="183"/>
                  </a:cubicBezTo>
                  <a:cubicBezTo>
                    <a:pt x="40623" y="183"/>
                    <a:pt x="35546" y="3891"/>
                    <a:pt x="33692" y="3891"/>
                  </a:cubicBezTo>
                  <a:cubicBezTo>
                    <a:pt x="31808" y="3891"/>
                    <a:pt x="29467" y="4924"/>
                    <a:pt x="27978" y="6201"/>
                  </a:cubicBezTo>
                  <a:cubicBezTo>
                    <a:pt x="26458" y="7478"/>
                    <a:pt x="26002" y="7842"/>
                    <a:pt x="25607" y="9514"/>
                  </a:cubicBezTo>
                  <a:cubicBezTo>
                    <a:pt x="25212" y="11216"/>
                    <a:pt x="27096" y="10791"/>
                    <a:pt x="28191" y="11004"/>
                  </a:cubicBezTo>
                  <a:cubicBezTo>
                    <a:pt x="29285" y="11186"/>
                    <a:pt x="28829" y="11885"/>
                    <a:pt x="27248" y="11885"/>
                  </a:cubicBezTo>
                  <a:cubicBezTo>
                    <a:pt x="25834" y="11885"/>
                    <a:pt x="24446" y="14642"/>
                    <a:pt x="22621" y="14642"/>
                  </a:cubicBezTo>
                  <a:cubicBezTo>
                    <a:pt x="22445" y="14642"/>
                    <a:pt x="22265" y="14616"/>
                    <a:pt x="22081" y="14560"/>
                  </a:cubicBezTo>
                  <a:cubicBezTo>
                    <a:pt x="20014" y="13922"/>
                    <a:pt x="16549" y="13344"/>
                    <a:pt x="15121" y="12919"/>
                  </a:cubicBezTo>
                  <a:cubicBezTo>
                    <a:pt x="14488" y="12712"/>
                    <a:pt x="13720" y="12556"/>
                    <a:pt x="12972" y="12556"/>
                  </a:cubicBezTo>
                  <a:cubicBezTo>
                    <a:pt x="12065" y="12556"/>
                    <a:pt x="11188" y="12786"/>
                    <a:pt x="10622" y="13435"/>
                  </a:cubicBezTo>
                  <a:cubicBezTo>
                    <a:pt x="10475" y="13614"/>
                    <a:pt x="10350" y="13692"/>
                    <a:pt x="10241" y="13692"/>
                  </a:cubicBezTo>
                  <a:cubicBezTo>
                    <a:pt x="9609" y="13692"/>
                    <a:pt x="9524" y="11047"/>
                    <a:pt x="8798" y="10061"/>
                  </a:cubicBezTo>
                  <a:cubicBezTo>
                    <a:pt x="7917" y="8906"/>
                    <a:pt x="9589" y="8785"/>
                    <a:pt x="9437" y="7478"/>
                  </a:cubicBezTo>
                  <a:cubicBezTo>
                    <a:pt x="9353" y="6878"/>
                    <a:pt x="8860" y="6675"/>
                    <a:pt x="8218" y="6675"/>
                  </a:cubicBezTo>
                  <a:cubicBezTo>
                    <a:pt x="7462" y="6675"/>
                    <a:pt x="6499" y="6957"/>
                    <a:pt x="5759" y="7204"/>
                  </a:cubicBezTo>
                  <a:cubicBezTo>
                    <a:pt x="5583" y="7259"/>
                    <a:pt x="5421" y="7283"/>
                    <a:pt x="5268" y="7283"/>
                  </a:cubicBezTo>
                  <a:cubicBezTo>
                    <a:pt x="4226" y="7283"/>
                    <a:pt x="3583" y="6170"/>
                    <a:pt x="1807" y="5958"/>
                  </a:cubicBezTo>
                  <a:cubicBezTo>
                    <a:pt x="1701" y="5944"/>
                    <a:pt x="1607" y="5937"/>
                    <a:pt x="1525" y="5937"/>
                  </a:cubicBezTo>
                  <a:cubicBezTo>
                    <a:pt x="1" y="5937"/>
                    <a:pt x="2329" y="8236"/>
                    <a:pt x="1868" y="9332"/>
                  </a:cubicBezTo>
                  <a:cubicBezTo>
                    <a:pt x="1382" y="10487"/>
                    <a:pt x="2658" y="10244"/>
                    <a:pt x="2658" y="11672"/>
                  </a:cubicBezTo>
                  <a:cubicBezTo>
                    <a:pt x="2658" y="13070"/>
                    <a:pt x="4057" y="14226"/>
                    <a:pt x="4938" y="15046"/>
                  </a:cubicBezTo>
                  <a:cubicBezTo>
                    <a:pt x="5789" y="15867"/>
                    <a:pt x="4968" y="18998"/>
                    <a:pt x="5485" y="19849"/>
                  </a:cubicBezTo>
                  <a:cubicBezTo>
                    <a:pt x="6032" y="20730"/>
                    <a:pt x="5394" y="20153"/>
                    <a:pt x="5394" y="22736"/>
                  </a:cubicBezTo>
                  <a:cubicBezTo>
                    <a:pt x="5394" y="25320"/>
                    <a:pt x="5759" y="24773"/>
                    <a:pt x="6944" y="25624"/>
                  </a:cubicBezTo>
                  <a:cubicBezTo>
                    <a:pt x="8099" y="26475"/>
                    <a:pt x="6427" y="26262"/>
                    <a:pt x="5090" y="26384"/>
                  </a:cubicBezTo>
                  <a:cubicBezTo>
                    <a:pt x="5409" y="29053"/>
                    <a:pt x="5991" y="29839"/>
                    <a:pt x="6671" y="29839"/>
                  </a:cubicBezTo>
                  <a:cubicBezTo>
                    <a:pt x="7416" y="29839"/>
                    <a:pt x="8279" y="28896"/>
                    <a:pt x="9041" y="28451"/>
                  </a:cubicBezTo>
                  <a:cubicBezTo>
                    <a:pt x="9206" y="28357"/>
                    <a:pt x="9354" y="28313"/>
                    <a:pt x="9488" y="28313"/>
                  </a:cubicBezTo>
                  <a:cubicBezTo>
                    <a:pt x="9877" y="28313"/>
                    <a:pt x="10153" y="28676"/>
                    <a:pt x="10379" y="29241"/>
                  </a:cubicBezTo>
                  <a:cubicBezTo>
                    <a:pt x="10713" y="29241"/>
                    <a:pt x="11139" y="29302"/>
                    <a:pt x="11655" y="29302"/>
                  </a:cubicBezTo>
                  <a:cubicBezTo>
                    <a:pt x="12573" y="29302"/>
                    <a:pt x="13175" y="28959"/>
                    <a:pt x="13738" y="28959"/>
                  </a:cubicBezTo>
                  <a:cubicBezTo>
                    <a:pt x="13996" y="28959"/>
                    <a:pt x="14245" y="29031"/>
                    <a:pt x="14513" y="29241"/>
                  </a:cubicBezTo>
                  <a:cubicBezTo>
                    <a:pt x="14838" y="29499"/>
                    <a:pt x="15060" y="29571"/>
                    <a:pt x="15255" y="29571"/>
                  </a:cubicBezTo>
                  <a:cubicBezTo>
                    <a:pt x="15498" y="29571"/>
                    <a:pt x="15699" y="29458"/>
                    <a:pt x="16008" y="29458"/>
                  </a:cubicBezTo>
                  <a:cubicBezTo>
                    <a:pt x="16121" y="29458"/>
                    <a:pt x="16248" y="29473"/>
                    <a:pt x="16397" y="29515"/>
                  </a:cubicBezTo>
                  <a:cubicBezTo>
                    <a:pt x="16498" y="29541"/>
                    <a:pt x="16604" y="29553"/>
                    <a:pt x="16713" y="29553"/>
                  </a:cubicBezTo>
                  <a:cubicBezTo>
                    <a:pt x="17591" y="29553"/>
                    <a:pt x="18693" y="28775"/>
                    <a:pt x="19315" y="28694"/>
                  </a:cubicBezTo>
                  <a:cubicBezTo>
                    <a:pt x="19335" y="28692"/>
                    <a:pt x="19354" y="28691"/>
                    <a:pt x="19374" y="28691"/>
                  </a:cubicBezTo>
                  <a:cubicBezTo>
                    <a:pt x="19860" y="28691"/>
                    <a:pt x="20312" y="29200"/>
                    <a:pt x="20627" y="29200"/>
                  </a:cubicBezTo>
                  <a:cubicBezTo>
                    <a:pt x="20750" y="29200"/>
                    <a:pt x="20851" y="29122"/>
                    <a:pt x="20926" y="28907"/>
                  </a:cubicBezTo>
                  <a:cubicBezTo>
                    <a:pt x="21106" y="28388"/>
                    <a:pt x="21611" y="27740"/>
                    <a:pt x="21982" y="27740"/>
                  </a:cubicBezTo>
                  <a:cubicBezTo>
                    <a:pt x="22176" y="27740"/>
                    <a:pt x="22333" y="27919"/>
                    <a:pt x="22385" y="28390"/>
                  </a:cubicBezTo>
                  <a:cubicBezTo>
                    <a:pt x="22537" y="29758"/>
                    <a:pt x="24178" y="30092"/>
                    <a:pt x="24270" y="30973"/>
                  </a:cubicBezTo>
                  <a:cubicBezTo>
                    <a:pt x="24279" y="31064"/>
                    <a:pt x="24334" y="31103"/>
                    <a:pt x="24426" y="31103"/>
                  </a:cubicBezTo>
                  <a:cubicBezTo>
                    <a:pt x="25064" y="31103"/>
                    <a:pt x="27465" y="29232"/>
                    <a:pt x="28610" y="29232"/>
                  </a:cubicBezTo>
                  <a:cubicBezTo>
                    <a:pt x="28979" y="29232"/>
                    <a:pt x="29218" y="29426"/>
                    <a:pt x="29224" y="29940"/>
                  </a:cubicBezTo>
                  <a:cubicBezTo>
                    <a:pt x="29255" y="32250"/>
                    <a:pt x="30805" y="32676"/>
                    <a:pt x="32112" y="33192"/>
                  </a:cubicBezTo>
                  <a:cubicBezTo>
                    <a:pt x="33020" y="33560"/>
                    <a:pt x="34037" y="34944"/>
                    <a:pt x="34547" y="34944"/>
                  </a:cubicBezTo>
                  <a:cubicBezTo>
                    <a:pt x="34754" y="34944"/>
                    <a:pt x="34878" y="34717"/>
                    <a:pt x="34878" y="34104"/>
                  </a:cubicBezTo>
                  <a:cubicBezTo>
                    <a:pt x="34878" y="31977"/>
                    <a:pt x="35546" y="32250"/>
                    <a:pt x="35911" y="30396"/>
                  </a:cubicBezTo>
                  <a:cubicBezTo>
                    <a:pt x="36276" y="28542"/>
                    <a:pt x="33510" y="25533"/>
                    <a:pt x="35486" y="24986"/>
                  </a:cubicBezTo>
                  <a:cubicBezTo>
                    <a:pt x="35710" y="24920"/>
                    <a:pt x="35951" y="24893"/>
                    <a:pt x="36205" y="24893"/>
                  </a:cubicBezTo>
                  <a:cubicBezTo>
                    <a:pt x="37451" y="24893"/>
                    <a:pt x="38975" y="25551"/>
                    <a:pt x="40009" y="25551"/>
                  </a:cubicBezTo>
                  <a:cubicBezTo>
                    <a:pt x="40620" y="25551"/>
                    <a:pt x="41060" y="25321"/>
                    <a:pt x="41170" y="24590"/>
                  </a:cubicBezTo>
                  <a:cubicBezTo>
                    <a:pt x="41534" y="22341"/>
                    <a:pt x="42841" y="21186"/>
                    <a:pt x="42841" y="21186"/>
                  </a:cubicBezTo>
                  <a:cubicBezTo>
                    <a:pt x="42841" y="21186"/>
                    <a:pt x="42021" y="18572"/>
                    <a:pt x="43176" y="18359"/>
                  </a:cubicBezTo>
                  <a:cubicBezTo>
                    <a:pt x="44361" y="18177"/>
                    <a:pt x="43784" y="16748"/>
                    <a:pt x="45273" y="14773"/>
                  </a:cubicBezTo>
                  <a:cubicBezTo>
                    <a:pt x="46763" y="12827"/>
                    <a:pt x="46580" y="12827"/>
                    <a:pt x="46063" y="10608"/>
                  </a:cubicBezTo>
                  <a:cubicBezTo>
                    <a:pt x="45547" y="8420"/>
                    <a:pt x="44331" y="8572"/>
                    <a:pt x="45486" y="6839"/>
                  </a:cubicBezTo>
                  <a:cubicBezTo>
                    <a:pt x="46611" y="5107"/>
                    <a:pt x="45790" y="2827"/>
                    <a:pt x="43966" y="1915"/>
                  </a:cubicBezTo>
                  <a:cubicBezTo>
                    <a:pt x="43176" y="1520"/>
                    <a:pt x="42386" y="730"/>
                    <a:pt x="41778" y="0"/>
                  </a:cubicBezTo>
                  <a:close/>
                </a:path>
              </a:pathLst>
            </a:custGeom>
            <a:grpFill/>
            <a:ln w="127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endParaRPr lang="fr-FR">
                <a:solidFill>
                  <a:srgbClr val="5F5F5F"/>
                </a:solidFill>
                <a:latin typeface="Tahoma"/>
              </a:endParaRPr>
            </a:p>
          </p:txBody>
        </p:sp>
        <p:sp>
          <p:nvSpPr>
            <p:cNvPr id="150" name="Pays de la Loire">
              <a:extLst>
                <a:ext uri="{FF2B5EF4-FFF2-40B4-BE49-F238E27FC236}">
                  <a16:creationId xmlns:a16="http://schemas.microsoft.com/office/drawing/2014/main" id="{B702A1BA-B645-4186-83A1-A641A79CB8D5}"/>
                </a:ext>
              </a:extLst>
            </p:cNvPr>
            <p:cNvSpPr/>
            <p:nvPr/>
          </p:nvSpPr>
          <p:spPr>
            <a:xfrm>
              <a:off x="1144601" y="2020344"/>
              <a:ext cx="827358" cy="787139"/>
            </a:xfrm>
            <a:custGeom>
              <a:avLst/>
              <a:gdLst/>
              <a:ahLst/>
              <a:cxnLst/>
              <a:rect l="l" t="t" r="r" b="b"/>
              <a:pathLst>
                <a:path w="43528" h="41412" extrusionOk="0">
                  <a:moveTo>
                    <a:pt x="29598" y="1"/>
                  </a:moveTo>
                  <a:cubicBezTo>
                    <a:pt x="29227" y="1"/>
                    <a:pt x="28722" y="649"/>
                    <a:pt x="28542" y="1168"/>
                  </a:cubicBezTo>
                  <a:cubicBezTo>
                    <a:pt x="28467" y="1384"/>
                    <a:pt x="28365" y="1462"/>
                    <a:pt x="28241" y="1462"/>
                  </a:cubicBezTo>
                  <a:cubicBezTo>
                    <a:pt x="27933" y="1462"/>
                    <a:pt x="27493" y="980"/>
                    <a:pt x="27018" y="980"/>
                  </a:cubicBezTo>
                  <a:cubicBezTo>
                    <a:pt x="26989" y="980"/>
                    <a:pt x="26960" y="981"/>
                    <a:pt x="26931" y="985"/>
                  </a:cubicBezTo>
                  <a:cubicBezTo>
                    <a:pt x="26309" y="1039"/>
                    <a:pt x="25207" y="1814"/>
                    <a:pt x="24329" y="1814"/>
                  </a:cubicBezTo>
                  <a:cubicBezTo>
                    <a:pt x="24220" y="1814"/>
                    <a:pt x="24114" y="1802"/>
                    <a:pt x="24013" y="1776"/>
                  </a:cubicBezTo>
                  <a:cubicBezTo>
                    <a:pt x="23864" y="1734"/>
                    <a:pt x="23737" y="1719"/>
                    <a:pt x="23624" y="1719"/>
                  </a:cubicBezTo>
                  <a:cubicBezTo>
                    <a:pt x="23315" y="1719"/>
                    <a:pt x="23114" y="1832"/>
                    <a:pt x="22871" y="1832"/>
                  </a:cubicBezTo>
                  <a:cubicBezTo>
                    <a:pt x="22676" y="1832"/>
                    <a:pt x="22454" y="1760"/>
                    <a:pt x="22129" y="1502"/>
                  </a:cubicBezTo>
                  <a:cubicBezTo>
                    <a:pt x="21861" y="1292"/>
                    <a:pt x="21612" y="1220"/>
                    <a:pt x="21354" y="1220"/>
                  </a:cubicBezTo>
                  <a:cubicBezTo>
                    <a:pt x="20791" y="1220"/>
                    <a:pt x="20189" y="1563"/>
                    <a:pt x="19271" y="1563"/>
                  </a:cubicBezTo>
                  <a:cubicBezTo>
                    <a:pt x="18755" y="1563"/>
                    <a:pt x="18329" y="1502"/>
                    <a:pt x="17964" y="1502"/>
                  </a:cubicBezTo>
                  <a:cubicBezTo>
                    <a:pt x="18390" y="2596"/>
                    <a:pt x="18542" y="4481"/>
                    <a:pt x="18816" y="5970"/>
                  </a:cubicBezTo>
                  <a:cubicBezTo>
                    <a:pt x="19241" y="8493"/>
                    <a:pt x="18664" y="9405"/>
                    <a:pt x="18481" y="10833"/>
                  </a:cubicBezTo>
                  <a:cubicBezTo>
                    <a:pt x="18325" y="12058"/>
                    <a:pt x="17477" y="13282"/>
                    <a:pt x="16300" y="13282"/>
                  </a:cubicBezTo>
                  <a:cubicBezTo>
                    <a:pt x="16103" y="13282"/>
                    <a:pt x="15898" y="13248"/>
                    <a:pt x="15685" y="13174"/>
                  </a:cubicBezTo>
                  <a:cubicBezTo>
                    <a:pt x="15513" y="13114"/>
                    <a:pt x="15325" y="13087"/>
                    <a:pt x="15124" y="13087"/>
                  </a:cubicBezTo>
                  <a:cubicBezTo>
                    <a:pt x="13579" y="13087"/>
                    <a:pt x="11293" y="14695"/>
                    <a:pt x="10244" y="15636"/>
                  </a:cubicBezTo>
                  <a:cubicBezTo>
                    <a:pt x="9089" y="16669"/>
                    <a:pt x="6049" y="15879"/>
                    <a:pt x="6049" y="17885"/>
                  </a:cubicBezTo>
                  <a:cubicBezTo>
                    <a:pt x="6049" y="18782"/>
                    <a:pt x="5728" y="18932"/>
                    <a:pt x="5312" y="18932"/>
                  </a:cubicBezTo>
                  <a:cubicBezTo>
                    <a:pt x="5103" y="18932"/>
                    <a:pt x="4871" y="18894"/>
                    <a:pt x="4644" y="18894"/>
                  </a:cubicBezTo>
                  <a:cubicBezTo>
                    <a:pt x="4311" y="18894"/>
                    <a:pt x="3989" y="18975"/>
                    <a:pt x="3770" y="19375"/>
                  </a:cubicBezTo>
                  <a:cubicBezTo>
                    <a:pt x="3375" y="20134"/>
                    <a:pt x="2645" y="20347"/>
                    <a:pt x="1490" y="20469"/>
                  </a:cubicBezTo>
                  <a:cubicBezTo>
                    <a:pt x="1216" y="21350"/>
                    <a:pt x="1" y="22444"/>
                    <a:pt x="700" y="22748"/>
                  </a:cubicBezTo>
                  <a:cubicBezTo>
                    <a:pt x="1312" y="22988"/>
                    <a:pt x="2880" y="23414"/>
                    <a:pt x="3730" y="23414"/>
                  </a:cubicBezTo>
                  <a:cubicBezTo>
                    <a:pt x="3850" y="23414"/>
                    <a:pt x="3956" y="23406"/>
                    <a:pt x="4043" y="23387"/>
                  </a:cubicBezTo>
                  <a:cubicBezTo>
                    <a:pt x="4275" y="23329"/>
                    <a:pt x="4482" y="23277"/>
                    <a:pt x="4655" y="23277"/>
                  </a:cubicBezTo>
                  <a:cubicBezTo>
                    <a:pt x="5029" y="23277"/>
                    <a:pt x="5249" y="23517"/>
                    <a:pt x="5229" y="24451"/>
                  </a:cubicBezTo>
                  <a:cubicBezTo>
                    <a:pt x="5198" y="25393"/>
                    <a:pt x="5685" y="26214"/>
                    <a:pt x="6444" y="26730"/>
                  </a:cubicBezTo>
                  <a:cubicBezTo>
                    <a:pt x="6992" y="27095"/>
                    <a:pt x="7235" y="27764"/>
                    <a:pt x="6900" y="28645"/>
                  </a:cubicBezTo>
                  <a:cubicBezTo>
                    <a:pt x="6726" y="29117"/>
                    <a:pt x="6493" y="29305"/>
                    <a:pt x="6215" y="29305"/>
                  </a:cubicBezTo>
                  <a:cubicBezTo>
                    <a:pt x="5669" y="29305"/>
                    <a:pt x="4950" y="28580"/>
                    <a:pt x="4165" y="27855"/>
                  </a:cubicBezTo>
                  <a:cubicBezTo>
                    <a:pt x="3957" y="27653"/>
                    <a:pt x="3807" y="27567"/>
                    <a:pt x="3706" y="27567"/>
                  </a:cubicBezTo>
                  <a:cubicBezTo>
                    <a:pt x="3245" y="27567"/>
                    <a:pt x="3796" y="29338"/>
                    <a:pt x="4469" y="29861"/>
                  </a:cubicBezTo>
                  <a:cubicBezTo>
                    <a:pt x="5259" y="30499"/>
                    <a:pt x="4408" y="31138"/>
                    <a:pt x="5958" y="32353"/>
                  </a:cubicBezTo>
                  <a:cubicBezTo>
                    <a:pt x="7539" y="33600"/>
                    <a:pt x="8572" y="36670"/>
                    <a:pt x="9666" y="38098"/>
                  </a:cubicBezTo>
                  <a:cubicBezTo>
                    <a:pt x="10761" y="39557"/>
                    <a:pt x="13284" y="38797"/>
                    <a:pt x="14104" y="39679"/>
                  </a:cubicBezTo>
                  <a:cubicBezTo>
                    <a:pt x="14894" y="40560"/>
                    <a:pt x="15138" y="41199"/>
                    <a:pt x="16809" y="41351"/>
                  </a:cubicBezTo>
                  <a:cubicBezTo>
                    <a:pt x="16901" y="41381"/>
                    <a:pt x="16992" y="41381"/>
                    <a:pt x="17053" y="41411"/>
                  </a:cubicBezTo>
                  <a:cubicBezTo>
                    <a:pt x="18014" y="40770"/>
                    <a:pt x="18895" y="39810"/>
                    <a:pt x="19437" y="39810"/>
                  </a:cubicBezTo>
                  <a:cubicBezTo>
                    <a:pt x="19564" y="39810"/>
                    <a:pt x="19672" y="39862"/>
                    <a:pt x="19758" y="39983"/>
                  </a:cubicBezTo>
                  <a:cubicBezTo>
                    <a:pt x="19968" y="40282"/>
                    <a:pt x="20041" y="40355"/>
                    <a:pt x="20138" y="40355"/>
                  </a:cubicBezTo>
                  <a:cubicBezTo>
                    <a:pt x="20230" y="40355"/>
                    <a:pt x="20343" y="40288"/>
                    <a:pt x="20617" y="40288"/>
                  </a:cubicBezTo>
                  <a:cubicBezTo>
                    <a:pt x="20843" y="40288"/>
                    <a:pt x="21179" y="40333"/>
                    <a:pt x="21703" y="40499"/>
                  </a:cubicBezTo>
                  <a:cubicBezTo>
                    <a:pt x="22248" y="40672"/>
                    <a:pt x="22792" y="40747"/>
                    <a:pt x="23269" y="40747"/>
                  </a:cubicBezTo>
                  <a:cubicBezTo>
                    <a:pt x="24391" y="40747"/>
                    <a:pt x="25142" y="40333"/>
                    <a:pt x="24652" y="39800"/>
                  </a:cubicBezTo>
                  <a:cubicBezTo>
                    <a:pt x="23922" y="39040"/>
                    <a:pt x="23344" y="39375"/>
                    <a:pt x="23284" y="36153"/>
                  </a:cubicBezTo>
                  <a:cubicBezTo>
                    <a:pt x="23223" y="32901"/>
                    <a:pt x="19059" y="29010"/>
                    <a:pt x="21065" y="28797"/>
                  </a:cubicBezTo>
                  <a:cubicBezTo>
                    <a:pt x="22872" y="28575"/>
                    <a:pt x="24120" y="26928"/>
                    <a:pt x="25715" y="26928"/>
                  </a:cubicBezTo>
                  <a:cubicBezTo>
                    <a:pt x="25864" y="26928"/>
                    <a:pt x="26016" y="26942"/>
                    <a:pt x="26171" y="26973"/>
                  </a:cubicBezTo>
                  <a:cubicBezTo>
                    <a:pt x="26967" y="27119"/>
                    <a:pt x="27896" y="27248"/>
                    <a:pt x="28764" y="27248"/>
                  </a:cubicBezTo>
                  <a:cubicBezTo>
                    <a:pt x="29885" y="27248"/>
                    <a:pt x="30903" y="27034"/>
                    <a:pt x="31399" y="26366"/>
                  </a:cubicBezTo>
                  <a:cubicBezTo>
                    <a:pt x="31736" y="25940"/>
                    <a:pt x="32011" y="25794"/>
                    <a:pt x="32277" y="25794"/>
                  </a:cubicBezTo>
                  <a:cubicBezTo>
                    <a:pt x="32468" y="25794"/>
                    <a:pt x="32655" y="25869"/>
                    <a:pt x="32858" y="25970"/>
                  </a:cubicBezTo>
                  <a:cubicBezTo>
                    <a:pt x="33557" y="23569"/>
                    <a:pt x="34348" y="20499"/>
                    <a:pt x="34226" y="19283"/>
                  </a:cubicBezTo>
                  <a:cubicBezTo>
                    <a:pt x="34109" y="18349"/>
                    <a:pt x="34314" y="18046"/>
                    <a:pt x="34691" y="18046"/>
                  </a:cubicBezTo>
                  <a:cubicBezTo>
                    <a:pt x="35197" y="18046"/>
                    <a:pt x="36013" y="18592"/>
                    <a:pt x="36779" y="18888"/>
                  </a:cubicBezTo>
                  <a:cubicBezTo>
                    <a:pt x="36982" y="18966"/>
                    <a:pt x="37185" y="19002"/>
                    <a:pt x="37389" y="19002"/>
                  </a:cubicBezTo>
                  <a:cubicBezTo>
                    <a:pt x="38533" y="19002"/>
                    <a:pt x="39680" y="17875"/>
                    <a:pt x="40609" y="16791"/>
                  </a:cubicBezTo>
                  <a:cubicBezTo>
                    <a:pt x="41673" y="15514"/>
                    <a:pt x="43527" y="14177"/>
                    <a:pt x="43132" y="12444"/>
                  </a:cubicBezTo>
                  <a:cubicBezTo>
                    <a:pt x="42737" y="10712"/>
                    <a:pt x="41947" y="10469"/>
                    <a:pt x="42767" y="9314"/>
                  </a:cubicBezTo>
                  <a:cubicBezTo>
                    <a:pt x="43375" y="8493"/>
                    <a:pt x="43223" y="8067"/>
                    <a:pt x="42463" y="6912"/>
                  </a:cubicBezTo>
                  <a:cubicBezTo>
                    <a:pt x="42404" y="7109"/>
                    <a:pt x="42307" y="7190"/>
                    <a:pt x="42181" y="7190"/>
                  </a:cubicBezTo>
                  <a:cubicBezTo>
                    <a:pt x="41664" y="7190"/>
                    <a:pt x="40657" y="5820"/>
                    <a:pt x="39728" y="5453"/>
                  </a:cubicBezTo>
                  <a:cubicBezTo>
                    <a:pt x="38421" y="4937"/>
                    <a:pt x="36901" y="4511"/>
                    <a:pt x="36840" y="2201"/>
                  </a:cubicBezTo>
                  <a:cubicBezTo>
                    <a:pt x="36834" y="1687"/>
                    <a:pt x="36596" y="1493"/>
                    <a:pt x="36227" y="1493"/>
                  </a:cubicBezTo>
                  <a:cubicBezTo>
                    <a:pt x="35078" y="1493"/>
                    <a:pt x="32658" y="3386"/>
                    <a:pt x="32034" y="3386"/>
                  </a:cubicBezTo>
                  <a:cubicBezTo>
                    <a:pt x="31947" y="3386"/>
                    <a:pt x="31894" y="3349"/>
                    <a:pt x="31886" y="3265"/>
                  </a:cubicBezTo>
                  <a:cubicBezTo>
                    <a:pt x="31825" y="2353"/>
                    <a:pt x="30153" y="2019"/>
                    <a:pt x="30001" y="651"/>
                  </a:cubicBezTo>
                  <a:cubicBezTo>
                    <a:pt x="29949" y="180"/>
                    <a:pt x="29792" y="1"/>
                    <a:pt x="29598" y="1"/>
                  </a:cubicBezTo>
                  <a:close/>
                </a:path>
              </a:pathLst>
            </a:custGeom>
            <a:grpFill/>
            <a:ln w="127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endParaRPr lang="fr-FR">
                <a:solidFill>
                  <a:srgbClr val="5F5F5F"/>
                </a:solidFill>
                <a:latin typeface="Tahoma"/>
              </a:endParaRPr>
            </a:p>
          </p:txBody>
        </p:sp>
        <p:sp>
          <p:nvSpPr>
            <p:cNvPr id="151" name="Hauts-de-France">
              <a:extLst>
                <a:ext uri="{FF2B5EF4-FFF2-40B4-BE49-F238E27FC236}">
                  <a16:creationId xmlns:a16="http://schemas.microsoft.com/office/drawing/2014/main" id="{2A15EA1B-E5B4-48A2-9423-F2FCE578F7B9}"/>
                </a:ext>
              </a:extLst>
            </p:cNvPr>
            <p:cNvSpPr/>
            <p:nvPr/>
          </p:nvSpPr>
          <p:spPr>
            <a:xfrm>
              <a:off x="2082884" y="1127775"/>
              <a:ext cx="666156" cy="792860"/>
            </a:xfrm>
            <a:custGeom>
              <a:avLst/>
              <a:gdLst/>
              <a:ahLst/>
              <a:cxnLst/>
              <a:rect l="l" t="t" r="r" b="b"/>
              <a:pathLst>
                <a:path w="35047" h="41713" extrusionOk="0">
                  <a:moveTo>
                    <a:pt x="13014" y="1"/>
                  </a:moveTo>
                  <a:cubicBezTo>
                    <a:pt x="12649" y="1"/>
                    <a:pt x="12095" y="648"/>
                    <a:pt x="11186" y="648"/>
                  </a:cubicBezTo>
                  <a:cubicBezTo>
                    <a:pt x="9909" y="648"/>
                    <a:pt x="6474" y="2016"/>
                    <a:pt x="5228" y="2532"/>
                  </a:cubicBezTo>
                  <a:cubicBezTo>
                    <a:pt x="3982" y="3049"/>
                    <a:pt x="2128" y="3414"/>
                    <a:pt x="2128" y="4599"/>
                  </a:cubicBezTo>
                  <a:cubicBezTo>
                    <a:pt x="2128" y="5815"/>
                    <a:pt x="1946" y="7760"/>
                    <a:pt x="1946" y="9493"/>
                  </a:cubicBezTo>
                  <a:cubicBezTo>
                    <a:pt x="1946" y="11225"/>
                    <a:pt x="2523" y="12624"/>
                    <a:pt x="2067" y="12745"/>
                  </a:cubicBezTo>
                  <a:cubicBezTo>
                    <a:pt x="1611" y="12867"/>
                    <a:pt x="1520" y="14538"/>
                    <a:pt x="2493" y="15420"/>
                  </a:cubicBezTo>
                  <a:cubicBezTo>
                    <a:pt x="3256" y="16158"/>
                    <a:pt x="3182" y="16399"/>
                    <a:pt x="2464" y="16399"/>
                  </a:cubicBezTo>
                  <a:cubicBezTo>
                    <a:pt x="2295" y="16399"/>
                    <a:pt x="2091" y="16385"/>
                    <a:pt x="1854" y="16362"/>
                  </a:cubicBezTo>
                  <a:cubicBezTo>
                    <a:pt x="1827" y="16359"/>
                    <a:pt x="1800" y="16358"/>
                    <a:pt x="1773" y="16358"/>
                  </a:cubicBezTo>
                  <a:cubicBezTo>
                    <a:pt x="751" y="16358"/>
                    <a:pt x="563" y="18597"/>
                    <a:pt x="0" y="19219"/>
                  </a:cubicBezTo>
                  <a:cubicBezTo>
                    <a:pt x="639" y="19949"/>
                    <a:pt x="1398" y="20739"/>
                    <a:pt x="2219" y="21134"/>
                  </a:cubicBezTo>
                  <a:cubicBezTo>
                    <a:pt x="4043" y="22046"/>
                    <a:pt x="4864" y="24326"/>
                    <a:pt x="3708" y="26058"/>
                  </a:cubicBezTo>
                  <a:cubicBezTo>
                    <a:pt x="2584" y="27791"/>
                    <a:pt x="3800" y="27639"/>
                    <a:pt x="4316" y="29827"/>
                  </a:cubicBezTo>
                  <a:cubicBezTo>
                    <a:pt x="4803" y="32046"/>
                    <a:pt x="5016" y="32046"/>
                    <a:pt x="3526" y="33992"/>
                  </a:cubicBezTo>
                  <a:cubicBezTo>
                    <a:pt x="3222" y="34387"/>
                    <a:pt x="3009" y="34782"/>
                    <a:pt x="2827" y="35116"/>
                  </a:cubicBezTo>
                  <a:cubicBezTo>
                    <a:pt x="5289" y="36059"/>
                    <a:pt x="9453" y="35876"/>
                    <a:pt x="11611" y="36697"/>
                  </a:cubicBezTo>
                  <a:cubicBezTo>
                    <a:pt x="13447" y="37364"/>
                    <a:pt x="14739" y="37636"/>
                    <a:pt x="16193" y="37636"/>
                  </a:cubicBezTo>
                  <a:cubicBezTo>
                    <a:pt x="17122" y="37636"/>
                    <a:pt x="18117" y="37525"/>
                    <a:pt x="19362" y="37335"/>
                  </a:cubicBezTo>
                  <a:cubicBezTo>
                    <a:pt x="19553" y="37306"/>
                    <a:pt x="19729" y="37292"/>
                    <a:pt x="19892" y="37292"/>
                  </a:cubicBezTo>
                  <a:cubicBezTo>
                    <a:pt x="22410" y="37292"/>
                    <a:pt x="21622" y="40633"/>
                    <a:pt x="23678" y="40861"/>
                  </a:cubicBezTo>
                  <a:cubicBezTo>
                    <a:pt x="24378" y="40952"/>
                    <a:pt x="24712" y="41287"/>
                    <a:pt x="24864" y="41712"/>
                  </a:cubicBezTo>
                  <a:cubicBezTo>
                    <a:pt x="26688" y="39554"/>
                    <a:pt x="26840" y="38429"/>
                    <a:pt x="26931" y="37366"/>
                  </a:cubicBezTo>
                  <a:cubicBezTo>
                    <a:pt x="27052" y="36119"/>
                    <a:pt x="27721" y="36180"/>
                    <a:pt x="27448" y="35907"/>
                  </a:cubicBezTo>
                  <a:cubicBezTo>
                    <a:pt x="27145" y="35635"/>
                    <a:pt x="27144" y="33140"/>
                    <a:pt x="28368" y="33140"/>
                  </a:cubicBezTo>
                  <a:cubicBezTo>
                    <a:pt x="28375" y="33140"/>
                    <a:pt x="28382" y="33140"/>
                    <a:pt x="28390" y="33141"/>
                  </a:cubicBezTo>
                  <a:cubicBezTo>
                    <a:pt x="28423" y="33142"/>
                    <a:pt x="28454" y="33143"/>
                    <a:pt x="28485" y="33143"/>
                  </a:cubicBezTo>
                  <a:cubicBezTo>
                    <a:pt x="29620" y="33143"/>
                    <a:pt x="29340" y="32077"/>
                    <a:pt x="30761" y="32077"/>
                  </a:cubicBezTo>
                  <a:cubicBezTo>
                    <a:pt x="32220" y="32077"/>
                    <a:pt x="32280" y="31530"/>
                    <a:pt x="32615" y="30466"/>
                  </a:cubicBezTo>
                  <a:cubicBezTo>
                    <a:pt x="32949" y="29372"/>
                    <a:pt x="32098" y="29037"/>
                    <a:pt x="32615" y="28156"/>
                  </a:cubicBezTo>
                  <a:cubicBezTo>
                    <a:pt x="33132" y="27244"/>
                    <a:pt x="33922" y="25785"/>
                    <a:pt x="33861" y="23414"/>
                  </a:cubicBezTo>
                  <a:cubicBezTo>
                    <a:pt x="33831" y="21985"/>
                    <a:pt x="33891" y="21712"/>
                    <a:pt x="34256" y="21317"/>
                  </a:cubicBezTo>
                  <a:cubicBezTo>
                    <a:pt x="33891" y="21104"/>
                    <a:pt x="33618" y="20891"/>
                    <a:pt x="33496" y="20861"/>
                  </a:cubicBezTo>
                  <a:cubicBezTo>
                    <a:pt x="33101" y="20739"/>
                    <a:pt x="33071" y="20131"/>
                    <a:pt x="34043" y="19432"/>
                  </a:cubicBezTo>
                  <a:cubicBezTo>
                    <a:pt x="35046" y="18733"/>
                    <a:pt x="34195" y="17912"/>
                    <a:pt x="33709" y="17608"/>
                  </a:cubicBezTo>
                  <a:cubicBezTo>
                    <a:pt x="32524" y="16909"/>
                    <a:pt x="33709" y="16241"/>
                    <a:pt x="34195" y="15572"/>
                  </a:cubicBezTo>
                  <a:cubicBezTo>
                    <a:pt x="34712" y="14903"/>
                    <a:pt x="32463" y="14538"/>
                    <a:pt x="31976" y="14052"/>
                  </a:cubicBezTo>
                  <a:cubicBezTo>
                    <a:pt x="31871" y="13953"/>
                    <a:pt x="31734" y="13920"/>
                    <a:pt x="31578" y="13920"/>
                  </a:cubicBezTo>
                  <a:cubicBezTo>
                    <a:pt x="31257" y="13920"/>
                    <a:pt x="30854" y="14059"/>
                    <a:pt x="30464" y="14059"/>
                  </a:cubicBezTo>
                  <a:cubicBezTo>
                    <a:pt x="30165" y="14059"/>
                    <a:pt x="29874" y="13977"/>
                    <a:pt x="29636" y="13687"/>
                  </a:cubicBezTo>
                  <a:cubicBezTo>
                    <a:pt x="29308" y="13274"/>
                    <a:pt x="29067" y="13108"/>
                    <a:pt x="28806" y="13108"/>
                  </a:cubicBezTo>
                  <a:cubicBezTo>
                    <a:pt x="28511" y="13108"/>
                    <a:pt x="28191" y="13320"/>
                    <a:pt x="27691" y="13627"/>
                  </a:cubicBezTo>
                  <a:cubicBezTo>
                    <a:pt x="27593" y="13685"/>
                    <a:pt x="27508" y="13711"/>
                    <a:pt x="27432" y="13711"/>
                  </a:cubicBezTo>
                  <a:cubicBezTo>
                    <a:pt x="26877" y="13711"/>
                    <a:pt x="26873" y="12268"/>
                    <a:pt x="26444" y="11438"/>
                  </a:cubicBezTo>
                  <a:cubicBezTo>
                    <a:pt x="26226" y="11001"/>
                    <a:pt x="25339" y="10913"/>
                    <a:pt x="24383" y="10913"/>
                  </a:cubicBezTo>
                  <a:cubicBezTo>
                    <a:pt x="23736" y="10913"/>
                    <a:pt x="23057" y="10954"/>
                    <a:pt x="22533" y="10954"/>
                  </a:cubicBezTo>
                  <a:cubicBezTo>
                    <a:pt x="22216" y="10954"/>
                    <a:pt x="21955" y="10939"/>
                    <a:pt x="21794" y="10891"/>
                  </a:cubicBezTo>
                  <a:cubicBezTo>
                    <a:pt x="20973" y="10678"/>
                    <a:pt x="21794" y="9310"/>
                    <a:pt x="21794" y="8034"/>
                  </a:cubicBezTo>
                  <a:cubicBezTo>
                    <a:pt x="21794" y="6945"/>
                    <a:pt x="20953" y="5900"/>
                    <a:pt x="19951" y="5900"/>
                  </a:cubicBezTo>
                  <a:cubicBezTo>
                    <a:pt x="19779" y="5900"/>
                    <a:pt x="19601" y="5930"/>
                    <a:pt x="19423" y="5997"/>
                  </a:cubicBezTo>
                  <a:cubicBezTo>
                    <a:pt x="18458" y="6335"/>
                    <a:pt x="17972" y="6960"/>
                    <a:pt x="17341" y="6960"/>
                  </a:cubicBezTo>
                  <a:cubicBezTo>
                    <a:pt x="17177" y="6960"/>
                    <a:pt x="17003" y="6918"/>
                    <a:pt x="16809" y="6818"/>
                  </a:cubicBezTo>
                  <a:cubicBezTo>
                    <a:pt x="15897" y="6332"/>
                    <a:pt x="17508" y="4721"/>
                    <a:pt x="16809" y="4174"/>
                  </a:cubicBezTo>
                  <a:cubicBezTo>
                    <a:pt x="16323" y="3809"/>
                    <a:pt x="14955" y="4356"/>
                    <a:pt x="14408" y="3110"/>
                  </a:cubicBezTo>
                  <a:cubicBezTo>
                    <a:pt x="13769" y="1712"/>
                    <a:pt x="13678" y="1408"/>
                    <a:pt x="13374" y="405"/>
                  </a:cubicBezTo>
                  <a:cubicBezTo>
                    <a:pt x="13278" y="107"/>
                    <a:pt x="13161" y="1"/>
                    <a:pt x="13014" y="1"/>
                  </a:cubicBezTo>
                  <a:close/>
                </a:path>
              </a:pathLst>
            </a:custGeom>
            <a:grpFill/>
            <a:ln w="127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endParaRPr lang="fr-FR">
                <a:solidFill>
                  <a:srgbClr val="5F5F5F"/>
                </a:solidFill>
                <a:latin typeface="Tahoma"/>
              </a:endParaRPr>
            </a:p>
          </p:txBody>
        </p:sp>
        <p:sp>
          <p:nvSpPr>
            <p:cNvPr id="152" name="Île-de-France">
              <a:extLst>
                <a:ext uri="{FF2B5EF4-FFF2-40B4-BE49-F238E27FC236}">
                  <a16:creationId xmlns:a16="http://schemas.microsoft.com/office/drawing/2014/main" id="{9F259491-890A-477C-8093-8EEFBF33F932}"/>
                </a:ext>
              </a:extLst>
            </p:cNvPr>
            <p:cNvSpPr/>
            <p:nvPr/>
          </p:nvSpPr>
          <p:spPr>
            <a:xfrm>
              <a:off x="2088650" y="1793225"/>
              <a:ext cx="508623" cy="399863"/>
            </a:xfrm>
            <a:custGeom>
              <a:avLst/>
              <a:gdLst/>
              <a:ahLst/>
              <a:cxnLst/>
              <a:rect l="l" t="t" r="r" b="b"/>
              <a:pathLst>
                <a:path w="26446" h="20791" extrusionOk="0">
                  <a:moveTo>
                    <a:pt x="2341" y="0"/>
                  </a:moveTo>
                  <a:cubicBezTo>
                    <a:pt x="1673" y="1368"/>
                    <a:pt x="1855" y="2310"/>
                    <a:pt x="913" y="2462"/>
                  </a:cubicBezTo>
                  <a:cubicBezTo>
                    <a:pt x="1" y="2614"/>
                    <a:pt x="305" y="4256"/>
                    <a:pt x="487" y="4985"/>
                  </a:cubicBezTo>
                  <a:cubicBezTo>
                    <a:pt x="1338" y="6475"/>
                    <a:pt x="1612" y="7113"/>
                    <a:pt x="1551" y="8389"/>
                  </a:cubicBezTo>
                  <a:cubicBezTo>
                    <a:pt x="1490" y="10274"/>
                    <a:pt x="2585" y="11551"/>
                    <a:pt x="3375" y="11855"/>
                  </a:cubicBezTo>
                  <a:cubicBezTo>
                    <a:pt x="4165" y="12159"/>
                    <a:pt x="3922" y="14529"/>
                    <a:pt x="4712" y="14529"/>
                  </a:cubicBezTo>
                  <a:cubicBezTo>
                    <a:pt x="5485" y="14529"/>
                    <a:pt x="5211" y="17147"/>
                    <a:pt x="6110" y="17147"/>
                  </a:cubicBezTo>
                  <a:cubicBezTo>
                    <a:pt x="6130" y="17147"/>
                    <a:pt x="6150" y="17146"/>
                    <a:pt x="6171" y="17143"/>
                  </a:cubicBezTo>
                  <a:cubicBezTo>
                    <a:pt x="6898" y="17053"/>
                    <a:pt x="6742" y="16690"/>
                    <a:pt x="8011" y="16690"/>
                  </a:cubicBezTo>
                  <a:cubicBezTo>
                    <a:pt x="8441" y="16690"/>
                    <a:pt x="9034" y="16732"/>
                    <a:pt x="9880" y="16839"/>
                  </a:cubicBezTo>
                  <a:cubicBezTo>
                    <a:pt x="13165" y="17258"/>
                    <a:pt x="10345" y="20612"/>
                    <a:pt x="11920" y="20612"/>
                  </a:cubicBezTo>
                  <a:cubicBezTo>
                    <a:pt x="11948" y="20612"/>
                    <a:pt x="11977" y="20611"/>
                    <a:pt x="12007" y="20608"/>
                  </a:cubicBezTo>
                  <a:cubicBezTo>
                    <a:pt x="13770" y="20487"/>
                    <a:pt x="16263" y="20791"/>
                    <a:pt x="17175" y="19697"/>
                  </a:cubicBezTo>
                  <a:cubicBezTo>
                    <a:pt x="18086" y="18602"/>
                    <a:pt x="19059" y="18420"/>
                    <a:pt x="19059" y="16657"/>
                  </a:cubicBezTo>
                  <a:cubicBezTo>
                    <a:pt x="19059" y="15850"/>
                    <a:pt x="19314" y="15641"/>
                    <a:pt x="19751" y="15641"/>
                  </a:cubicBezTo>
                  <a:cubicBezTo>
                    <a:pt x="20216" y="15641"/>
                    <a:pt x="20886" y="15876"/>
                    <a:pt x="21675" y="15876"/>
                  </a:cubicBezTo>
                  <a:cubicBezTo>
                    <a:pt x="21764" y="15876"/>
                    <a:pt x="21855" y="15873"/>
                    <a:pt x="21947" y="15867"/>
                  </a:cubicBezTo>
                  <a:cubicBezTo>
                    <a:pt x="22950" y="15776"/>
                    <a:pt x="23314" y="15928"/>
                    <a:pt x="23436" y="15532"/>
                  </a:cubicBezTo>
                  <a:cubicBezTo>
                    <a:pt x="23436" y="15502"/>
                    <a:pt x="23436" y="15472"/>
                    <a:pt x="23436" y="15441"/>
                  </a:cubicBezTo>
                  <a:cubicBezTo>
                    <a:pt x="23436" y="15441"/>
                    <a:pt x="23436" y="15441"/>
                    <a:pt x="23436" y="15411"/>
                  </a:cubicBezTo>
                  <a:cubicBezTo>
                    <a:pt x="23466" y="15380"/>
                    <a:pt x="23466" y="15350"/>
                    <a:pt x="23466" y="15320"/>
                  </a:cubicBezTo>
                  <a:cubicBezTo>
                    <a:pt x="23466" y="15289"/>
                    <a:pt x="23466" y="15289"/>
                    <a:pt x="23466" y="15259"/>
                  </a:cubicBezTo>
                  <a:cubicBezTo>
                    <a:pt x="23466" y="15137"/>
                    <a:pt x="23466" y="14985"/>
                    <a:pt x="23466" y="14803"/>
                  </a:cubicBezTo>
                  <a:lnTo>
                    <a:pt x="23466" y="14712"/>
                  </a:lnTo>
                  <a:cubicBezTo>
                    <a:pt x="23466" y="14651"/>
                    <a:pt x="23466" y="14590"/>
                    <a:pt x="23466" y="14529"/>
                  </a:cubicBezTo>
                  <a:cubicBezTo>
                    <a:pt x="23466" y="14499"/>
                    <a:pt x="23466" y="14469"/>
                    <a:pt x="23466" y="14438"/>
                  </a:cubicBezTo>
                  <a:cubicBezTo>
                    <a:pt x="23466" y="14286"/>
                    <a:pt x="23466" y="14104"/>
                    <a:pt x="23436" y="13921"/>
                  </a:cubicBezTo>
                  <a:cubicBezTo>
                    <a:pt x="23406" y="11611"/>
                    <a:pt x="26445" y="11338"/>
                    <a:pt x="25169" y="9940"/>
                  </a:cubicBezTo>
                  <a:cubicBezTo>
                    <a:pt x="25108" y="9879"/>
                    <a:pt x="25077" y="9818"/>
                    <a:pt x="25017" y="9788"/>
                  </a:cubicBezTo>
                  <a:cubicBezTo>
                    <a:pt x="25017" y="9757"/>
                    <a:pt x="25017" y="9727"/>
                    <a:pt x="24986" y="9727"/>
                  </a:cubicBezTo>
                  <a:cubicBezTo>
                    <a:pt x="24956" y="9696"/>
                    <a:pt x="24925" y="9636"/>
                    <a:pt x="24925" y="9605"/>
                  </a:cubicBezTo>
                  <a:cubicBezTo>
                    <a:pt x="24895" y="9575"/>
                    <a:pt x="24895" y="9575"/>
                    <a:pt x="24895" y="9544"/>
                  </a:cubicBezTo>
                  <a:cubicBezTo>
                    <a:pt x="24865" y="9484"/>
                    <a:pt x="24834" y="9423"/>
                    <a:pt x="24804" y="9362"/>
                  </a:cubicBezTo>
                  <a:cubicBezTo>
                    <a:pt x="24804" y="9362"/>
                    <a:pt x="24804" y="9362"/>
                    <a:pt x="24773" y="9332"/>
                  </a:cubicBezTo>
                  <a:cubicBezTo>
                    <a:pt x="24773" y="9301"/>
                    <a:pt x="24743" y="9241"/>
                    <a:pt x="24743" y="9180"/>
                  </a:cubicBezTo>
                  <a:lnTo>
                    <a:pt x="24713" y="9119"/>
                  </a:lnTo>
                  <a:cubicBezTo>
                    <a:pt x="24682" y="9058"/>
                    <a:pt x="24682" y="9028"/>
                    <a:pt x="24682" y="8997"/>
                  </a:cubicBezTo>
                  <a:cubicBezTo>
                    <a:pt x="24652" y="8967"/>
                    <a:pt x="24652" y="8937"/>
                    <a:pt x="24652" y="8906"/>
                  </a:cubicBezTo>
                  <a:cubicBezTo>
                    <a:pt x="24652" y="8845"/>
                    <a:pt x="24621" y="8785"/>
                    <a:pt x="24621" y="8724"/>
                  </a:cubicBezTo>
                  <a:cubicBezTo>
                    <a:pt x="24621" y="8693"/>
                    <a:pt x="24621" y="8693"/>
                    <a:pt x="24591" y="8663"/>
                  </a:cubicBezTo>
                  <a:cubicBezTo>
                    <a:pt x="24591" y="8602"/>
                    <a:pt x="24591" y="8572"/>
                    <a:pt x="24591" y="8541"/>
                  </a:cubicBezTo>
                  <a:cubicBezTo>
                    <a:pt x="24591" y="8511"/>
                    <a:pt x="24591" y="8481"/>
                    <a:pt x="24561" y="8420"/>
                  </a:cubicBezTo>
                  <a:cubicBezTo>
                    <a:pt x="24561" y="8420"/>
                    <a:pt x="24561" y="8389"/>
                    <a:pt x="24561" y="8359"/>
                  </a:cubicBezTo>
                  <a:cubicBezTo>
                    <a:pt x="24500" y="7751"/>
                    <a:pt x="24530" y="7113"/>
                    <a:pt x="24348" y="6627"/>
                  </a:cubicBezTo>
                  <a:cubicBezTo>
                    <a:pt x="24196" y="6171"/>
                    <a:pt x="23862" y="5836"/>
                    <a:pt x="23162" y="5745"/>
                  </a:cubicBezTo>
                  <a:cubicBezTo>
                    <a:pt x="21106" y="5517"/>
                    <a:pt x="21894" y="2176"/>
                    <a:pt x="19376" y="2176"/>
                  </a:cubicBezTo>
                  <a:cubicBezTo>
                    <a:pt x="19213" y="2176"/>
                    <a:pt x="19037" y="2190"/>
                    <a:pt x="18846" y="2219"/>
                  </a:cubicBezTo>
                  <a:cubicBezTo>
                    <a:pt x="17613" y="2409"/>
                    <a:pt x="16621" y="2520"/>
                    <a:pt x="15690" y="2520"/>
                  </a:cubicBezTo>
                  <a:cubicBezTo>
                    <a:pt x="14235" y="2520"/>
                    <a:pt x="12931" y="2248"/>
                    <a:pt x="11095" y="1581"/>
                  </a:cubicBezTo>
                  <a:cubicBezTo>
                    <a:pt x="8937" y="760"/>
                    <a:pt x="4773" y="943"/>
                    <a:pt x="2341" y="0"/>
                  </a:cubicBezTo>
                  <a:close/>
                </a:path>
              </a:pathLst>
            </a:custGeom>
            <a:grpFill/>
            <a:ln w="127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endParaRPr lang="fr-FR">
                <a:solidFill>
                  <a:srgbClr val="5F5F5F"/>
                </a:solidFill>
                <a:latin typeface="Tahoma"/>
              </a:endParaRPr>
            </a:p>
          </p:txBody>
        </p:sp>
        <p:sp>
          <p:nvSpPr>
            <p:cNvPr id="153" name="Grand Est">
              <a:extLst>
                <a:ext uri="{FF2B5EF4-FFF2-40B4-BE49-F238E27FC236}">
                  <a16:creationId xmlns:a16="http://schemas.microsoft.com/office/drawing/2014/main" id="{3B48C772-76B5-4F82-818C-4F84D3ACE3C5}"/>
                </a:ext>
              </a:extLst>
            </p:cNvPr>
            <p:cNvSpPr/>
            <p:nvPr/>
          </p:nvSpPr>
          <p:spPr>
            <a:xfrm>
              <a:off x="2537570" y="1462446"/>
              <a:ext cx="1128361" cy="956305"/>
            </a:xfrm>
            <a:custGeom>
              <a:avLst/>
              <a:gdLst/>
              <a:ahLst/>
              <a:cxnLst/>
              <a:rect l="l" t="t" r="r" b="b"/>
              <a:pathLst>
                <a:path w="59364" h="50312" extrusionOk="0">
                  <a:moveTo>
                    <a:pt x="17933" y="1"/>
                  </a:moveTo>
                  <a:cubicBezTo>
                    <a:pt x="17675" y="1"/>
                    <a:pt x="17354" y="105"/>
                    <a:pt x="17083" y="184"/>
                  </a:cubicBezTo>
                  <a:cubicBezTo>
                    <a:pt x="16354" y="427"/>
                    <a:pt x="15867" y="1764"/>
                    <a:pt x="15867" y="3284"/>
                  </a:cubicBezTo>
                  <a:cubicBezTo>
                    <a:pt x="15867" y="3909"/>
                    <a:pt x="15646" y="4035"/>
                    <a:pt x="15306" y="4035"/>
                  </a:cubicBezTo>
                  <a:cubicBezTo>
                    <a:pt x="15074" y="4035"/>
                    <a:pt x="14786" y="3976"/>
                    <a:pt x="14475" y="3976"/>
                  </a:cubicBezTo>
                  <a:cubicBezTo>
                    <a:pt x="14133" y="3976"/>
                    <a:pt x="13762" y="4048"/>
                    <a:pt x="13405" y="4348"/>
                  </a:cubicBezTo>
                  <a:cubicBezTo>
                    <a:pt x="13176" y="4534"/>
                    <a:pt x="12905" y="4610"/>
                    <a:pt x="12614" y="4610"/>
                  </a:cubicBezTo>
                  <a:cubicBezTo>
                    <a:pt x="11860" y="4610"/>
                    <a:pt x="10971" y="4104"/>
                    <a:pt x="10335" y="3710"/>
                  </a:cubicBezTo>
                  <a:cubicBezTo>
                    <a:pt x="9970" y="4105"/>
                    <a:pt x="9879" y="4378"/>
                    <a:pt x="9910" y="5807"/>
                  </a:cubicBezTo>
                  <a:cubicBezTo>
                    <a:pt x="9970" y="8178"/>
                    <a:pt x="9180" y="9637"/>
                    <a:pt x="8694" y="10518"/>
                  </a:cubicBezTo>
                  <a:cubicBezTo>
                    <a:pt x="8177" y="11430"/>
                    <a:pt x="9028" y="11765"/>
                    <a:pt x="8694" y="12828"/>
                  </a:cubicBezTo>
                  <a:cubicBezTo>
                    <a:pt x="8359" y="13892"/>
                    <a:pt x="8299" y="14470"/>
                    <a:pt x="6840" y="14470"/>
                  </a:cubicBezTo>
                  <a:cubicBezTo>
                    <a:pt x="5389" y="14470"/>
                    <a:pt x="5697" y="15536"/>
                    <a:pt x="4564" y="15536"/>
                  </a:cubicBezTo>
                  <a:cubicBezTo>
                    <a:pt x="4533" y="15536"/>
                    <a:pt x="4502" y="15535"/>
                    <a:pt x="4469" y="15534"/>
                  </a:cubicBezTo>
                  <a:cubicBezTo>
                    <a:pt x="4454" y="15533"/>
                    <a:pt x="4440" y="15533"/>
                    <a:pt x="4425" y="15533"/>
                  </a:cubicBezTo>
                  <a:cubicBezTo>
                    <a:pt x="3223" y="15533"/>
                    <a:pt x="3226" y="18029"/>
                    <a:pt x="3496" y="18300"/>
                  </a:cubicBezTo>
                  <a:cubicBezTo>
                    <a:pt x="3800" y="18573"/>
                    <a:pt x="3101" y="18512"/>
                    <a:pt x="3010" y="19759"/>
                  </a:cubicBezTo>
                  <a:cubicBezTo>
                    <a:pt x="2888" y="20822"/>
                    <a:pt x="2767" y="21947"/>
                    <a:pt x="943" y="24136"/>
                  </a:cubicBezTo>
                  <a:cubicBezTo>
                    <a:pt x="1277" y="25047"/>
                    <a:pt x="882" y="26506"/>
                    <a:pt x="1764" y="27449"/>
                  </a:cubicBezTo>
                  <a:cubicBezTo>
                    <a:pt x="3040" y="28816"/>
                    <a:pt x="1" y="29120"/>
                    <a:pt x="61" y="31430"/>
                  </a:cubicBezTo>
                  <a:cubicBezTo>
                    <a:pt x="61" y="32312"/>
                    <a:pt x="92" y="32798"/>
                    <a:pt x="31" y="33041"/>
                  </a:cubicBezTo>
                  <a:cubicBezTo>
                    <a:pt x="639" y="33741"/>
                    <a:pt x="1581" y="33832"/>
                    <a:pt x="2341" y="34044"/>
                  </a:cubicBezTo>
                  <a:cubicBezTo>
                    <a:pt x="3618" y="34440"/>
                    <a:pt x="1824" y="37358"/>
                    <a:pt x="4408" y="37540"/>
                  </a:cubicBezTo>
                  <a:cubicBezTo>
                    <a:pt x="6802" y="37681"/>
                    <a:pt x="5438" y="40979"/>
                    <a:pt x="8272" y="40979"/>
                  </a:cubicBezTo>
                  <a:cubicBezTo>
                    <a:pt x="8496" y="40979"/>
                    <a:pt x="8747" y="40959"/>
                    <a:pt x="9028" y="40914"/>
                  </a:cubicBezTo>
                  <a:cubicBezTo>
                    <a:pt x="11788" y="40476"/>
                    <a:pt x="13207" y="39090"/>
                    <a:pt x="14728" y="39090"/>
                  </a:cubicBezTo>
                  <a:cubicBezTo>
                    <a:pt x="15318" y="39090"/>
                    <a:pt x="15923" y="39298"/>
                    <a:pt x="16627" y="39850"/>
                  </a:cubicBezTo>
                  <a:cubicBezTo>
                    <a:pt x="19150" y="41826"/>
                    <a:pt x="16901" y="45078"/>
                    <a:pt x="19758" y="45868"/>
                  </a:cubicBezTo>
                  <a:cubicBezTo>
                    <a:pt x="21017" y="46213"/>
                    <a:pt x="22167" y="46344"/>
                    <a:pt x="23141" y="46344"/>
                  </a:cubicBezTo>
                  <a:cubicBezTo>
                    <a:pt x="24400" y="46344"/>
                    <a:pt x="25367" y="46125"/>
                    <a:pt x="25898" y="45868"/>
                  </a:cubicBezTo>
                  <a:cubicBezTo>
                    <a:pt x="26870" y="45412"/>
                    <a:pt x="28664" y="46264"/>
                    <a:pt x="28816" y="43832"/>
                  </a:cubicBezTo>
                  <a:cubicBezTo>
                    <a:pt x="28990" y="41539"/>
                    <a:pt x="31242" y="39441"/>
                    <a:pt x="33033" y="39441"/>
                  </a:cubicBezTo>
                  <a:cubicBezTo>
                    <a:pt x="33118" y="39441"/>
                    <a:pt x="33201" y="39445"/>
                    <a:pt x="33284" y="39455"/>
                  </a:cubicBezTo>
                  <a:cubicBezTo>
                    <a:pt x="34752" y="39629"/>
                    <a:pt x="33653" y="41026"/>
                    <a:pt x="34625" y="41026"/>
                  </a:cubicBezTo>
                  <a:cubicBezTo>
                    <a:pt x="34840" y="41026"/>
                    <a:pt x="35156" y="40958"/>
                    <a:pt x="35624" y="40792"/>
                  </a:cubicBezTo>
                  <a:cubicBezTo>
                    <a:pt x="35952" y="40682"/>
                    <a:pt x="36228" y="40635"/>
                    <a:pt x="36463" y="40635"/>
                  </a:cubicBezTo>
                  <a:cubicBezTo>
                    <a:pt x="37731" y="40635"/>
                    <a:pt x="37817" y="41984"/>
                    <a:pt x="38313" y="41984"/>
                  </a:cubicBezTo>
                  <a:cubicBezTo>
                    <a:pt x="38460" y="41984"/>
                    <a:pt x="38644" y="41864"/>
                    <a:pt x="38907" y="41552"/>
                  </a:cubicBezTo>
                  <a:cubicBezTo>
                    <a:pt x="39290" y="41078"/>
                    <a:pt x="39645" y="40891"/>
                    <a:pt x="40004" y="40891"/>
                  </a:cubicBezTo>
                  <a:cubicBezTo>
                    <a:pt x="40841" y="40891"/>
                    <a:pt x="41694" y="41911"/>
                    <a:pt x="42950" y="42677"/>
                  </a:cubicBezTo>
                  <a:cubicBezTo>
                    <a:pt x="44743" y="43741"/>
                    <a:pt x="43953" y="46537"/>
                    <a:pt x="44925" y="46719"/>
                  </a:cubicBezTo>
                  <a:cubicBezTo>
                    <a:pt x="45381" y="46780"/>
                    <a:pt x="45716" y="47662"/>
                    <a:pt x="45959" y="48513"/>
                  </a:cubicBezTo>
                  <a:cubicBezTo>
                    <a:pt x="46232" y="48634"/>
                    <a:pt x="46445" y="48847"/>
                    <a:pt x="46597" y="49212"/>
                  </a:cubicBezTo>
                  <a:cubicBezTo>
                    <a:pt x="46780" y="49729"/>
                    <a:pt x="47053" y="49972"/>
                    <a:pt x="47600" y="50124"/>
                  </a:cubicBezTo>
                  <a:cubicBezTo>
                    <a:pt x="47904" y="50185"/>
                    <a:pt x="48330" y="50245"/>
                    <a:pt x="48847" y="50306"/>
                  </a:cubicBezTo>
                  <a:cubicBezTo>
                    <a:pt x="48883" y="50310"/>
                    <a:pt x="48919" y="50311"/>
                    <a:pt x="48954" y="50311"/>
                  </a:cubicBezTo>
                  <a:cubicBezTo>
                    <a:pt x="49547" y="50311"/>
                    <a:pt x="50060" y="49846"/>
                    <a:pt x="50518" y="49273"/>
                  </a:cubicBezTo>
                  <a:cubicBezTo>
                    <a:pt x="51096" y="48482"/>
                    <a:pt x="51582" y="47449"/>
                    <a:pt x="51947" y="46871"/>
                  </a:cubicBezTo>
                  <a:cubicBezTo>
                    <a:pt x="52616" y="45899"/>
                    <a:pt x="51005" y="46203"/>
                    <a:pt x="51005" y="45352"/>
                  </a:cubicBezTo>
                  <a:cubicBezTo>
                    <a:pt x="51005" y="44501"/>
                    <a:pt x="51278" y="44379"/>
                    <a:pt x="51278" y="42677"/>
                  </a:cubicBezTo>
                  <a:cubicBezTo>
                    <a:pt x="51278" y="40975"/>
                    <a:pt x="51825" y="39880"/>
                    <a:pt x="51886" y="38908"/>
                  </a:cubicBezTo>
                  <a:cubicBezTo>
                    <a:pt x="51947" y="37935"/>
                    <a:pt x="51400" y="38057"/>
                    <a:pt x="51400" y="36628"/>
                  </a:cubicBezTo>
                  <a:cubicBezTo>
                    <a:pt x="51400" y="35230"/>
                    <a:pt x="52312" y="35595"/>
                    <a:pt x="52950" y="34956"/>
                  </a:cubicBezTo>
                  <a:cubicBezTo>
                    <a:pt x="53588" y="34318"/>
                    <a:pt x="52889" y="33376"/>
                    <a:pt x="52889" y="32373"/>
                  </a:cubicBezTo>
                  <a:cubicBezTo>
                    <a:pt x="52889" y="31339"/>
                    <a:pt x="53953" y="30458"/>
                    <a:pt x="53983" y="29272"/>
                  </a:cubicBezTo>
                  <a:cubicBezTo>
                    <a:pt x="54014" y="28087"/>
                    <a:pt x="55078" y="26111"/>
                    <a:pt x="56445" y="25564"/>
                  </a:cubicBezTo>
                  <a:cubicBezTo>
                    <a:pt x="57813" y="25017"/>
                    <a:pt x="58269" y="22920"/>
                    <a:pt x="58816" y="21856"/>
                  </a:cubicBezTo>
                  <a:cubicBezTo>
                    <a:pt x="59363" y="20822"/>
                    <a:pt x="58664" y="21309"/>
                    <a:pt x="57783" y="21005"/>
                  </a:cubicBezTo>
                  <a:cubicBezTo>
                    <a:pt x="56871" y="20670"/>
                    <a:pt x="53406" y="19789"/>
                    <a:pt x="52190" y="19607"/>
                  </a:cubicBezTo>
                  <a:cubicBezTo>
                    <a:pt x="50974" y="19394"/>
                    <a:pt x="50093" y="17935"/>
                    <a:pt x="49120" y="17631"/>
                  </a:cubicBezTo>
                  <a:cubicBezTo>
                    <a:pt x="49032" y="17600"/>
                    <a:pt x="48945" y="17586"/>
                    <a:pt x="48860" y="17586"/>
                  </a:cubicBezTo>
                  <a:cubicBezTo>
                    <a:pt x="48138" y="17586"/>
                    <a:pt x="47497" y="18583"/>
                    <a:pt x="46650" y="18583"/>
                  </a:cubicBezTo>
                  <a:cubicBezTo>
                    <a:pt x="46526" y="18583"/>
                    <a:pt x="46397" y="18562"/>
                    <a:pt x="46263" y="18512"/>
                  </a:cubicBezTo>
                  <a:cubicBezTo>
                    <a:pt x="46048" y="18435"/>
                    <a:pt x="45845" y="18409"/>
                    <a:pt x="45654" y="18409"/>
                  </a:cubicBezTo>
                  <a:cubicBezTo>
                    <a:pt x="45244" y="18409"/>
                    <a:pt x="44892" y="18530"/>
                    <a:pt x="44614" y="18530"/>
                  </a:cubicBezTo>
                  <a:cubicBezTo>
                    <a:pt x="44306" y="18530"/>
                    <a:pt x="44088" y="18381"/>
                    <a:pt x="43983" y="17752"/>
                  </a:cubicBezTo>
                  <a:cubicBezTo>
                    <a:pt x="43889" y="17174"/>
                    <a:pt x="43579" y="16963"/>
                    <a:pt x="43200" y="16963"/>
                  </a:cubicBezTo>
                  <a:cubicBezTo>
                    <a:pt x="42602" y="16963"/>
                    <a:pt x="41832" y="17489"/>
                    <a:pt x="41460" y="17935"/>
                  </a:cubicBezTo>
                  <a:cubicBezTo>
                    <a:pt x="41360" y="18056"/>
                    <a:pt x="41270" y="18109"/>
                    <a:pt x="41187" y="18109"/>
                  </a:cubicBezTo>
                  <a:cubicBezTo>
                    <a:pt x="40767" y="18109"/>
                    <a:pt x="40514" y="16756"/>
                    <a:pt x="39880" y="15868"/>
                  </a:cubicBezTo>
                  <a:cubicBezTo>
                    <a:pt x="39090" y="14774"/>
                    <a:pt x="39120" y="13497"/>
                    <a:pt x="38330" y="12768"/>
                  </a:cubicBezTo>
                  <a:cubicBezTo>
                    <a:pt x="38040" y="12500"/>
                    <a:pt x="37689" y="12453"/>
                    <a:pt x="37329" y="12453"/>
                  </a:cubicBezTo>
                  <a:cubicBezTo>
                    <a:pt x="37135" y="12453"/>
                    <a:pt x="36938" y="12467"/>
                    <a:pt x="36747" y="12467"/>
                  </a:cubicBezTo>
                  <a:cubicBezTo>
                    <a:pt x="36326" y="12467"/>
                    <a:pt x="35933" y="12401"/>
                    <a:pt x="35655" y="11977"/>
                  </a:cubicBezTo>
                  <a:cubicBezTo>
                    <a:pt x="35413" y="11597"/>
                    <a:pt x="35145" y="11448"/>
                    <a:pt x="34850" y="11448"/>
                  </a:cubicBezTo>
                  <a:cubicBezTo>
                    <a:pt x="34368" y="11448"/>
                    <a:pt x="33816" y="11847"/>
                    <a:pt x="33193" y="12281"/>
                  </a:cubicBezTo>
                  <a:cubicBezTo>
                    <a:pt x="32769" y="12586"/>
                    <a:pt x="32437" y="12723"/>
                    <a:pt x="32128" y="12723"/>
                  </a:cubicBezTo>
                  <a:cubicBezTo>
                    <a:pt x="31727" y="12723"/>
                    <a:pt x="31363" y="12493"/>
                    <a:pt x="30883" y="12099"/>
                  </a:cubicBezTo>
                  <a:cubicBezTo>
                    <a:pt x="30350" y="11677"/>
                    <a:pt x="28920" y="11399"/>
                    <a:pt x="27629" y="11399"/>
                  </a:cubicBezTo>
                  <a:cubicBezTo>
                    <a:pt x="26783" y="11399"/>
                    <a:pt x="25997" y="11518"/>
                    <a:pt x="25563" y="11795"/>
                  </a:cubicBezTo>
                  <a:cubicBezTo>
                    <a:pt x="25418" y="11891"/>
                    <a:pt x="25291" y="11933"/>
                    <a:pt x="25180" y="11933"/>
                  </a:cubicBezTo>
                  <a:cubicBezTo>
                    <a:pt x="24476" y="11933"/>
                    <a:pt x="24381" y="10233"/>
                    <a:pt x="24013" y="9394"/>
                  </a:cubicBezTo>
                  <a:cubicBezTo>
                    <a:pt x="23588" y="8391"/>
                    <a:pt x="21460" y="8664"/>
                    <a:pt x="20670" y="7479"/>
                  </a:cubicBezTo>
                  <a:cubicBezTo>
                    <a:pt x="20092" y="6623"/>
                    <a:pt x="19515" y="6264"/>
                    <a:pt x="19075" y="6264"/>
                  </a:cubicBezTo>
                  <a:cubicBezTo>
                    <a:pt x="18890" y="6264"/>
                    <a:pt x="18729" y="6328"/>
                    <a:pt x="18603" y="6445"/>
                  </a:cubicBezTo>
                  <a:cubicBezTo>
                    <a:pt x="18407" y="6641"/>
                    <a:pt x="18182" y="6821"/>
                    <a:pt x="18004" y="6821"/>
                  </a:cubicBezTo>
                  <a:cubicBezTo>
                    <a:pt x="17823" y="6821"/>
                    <a:pt x="17691" y="6633"/>
                    <a:pt x="17691" y="6081"/>
                  </a:cubicBezTo>
                  <a:cubicBezTo>
                    <a:pt x="17691" y="5017"/>
                    <a:pt x="18572" y="4196"/>
                    <a:pt x="17813" y="3801"/>
                  </a:cubicBezTo>
                  <a:cubicBezTo>
                    <a:pt x="17053" y="3375"/>
                    <a:pt x="17357" y="3467"/>
                    <a:pt x="18147" y="1521"/>
                  </a:cubicBezTo>
                  <a:cubicBezTo>
                    <a:pt x="18624" y="299"/>
                    <a:pt x="18370" y="1"/>
                    <a:pt x="17933" y="1"/>
                  </a:cubicBezTo>
                  <a:close/>
                </a:path>
              </a:pathLst>
            </a:custGeom>
            <a:grpFill/>
            <a:ln w="127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endParaRPr lang="fr-FR">
                <a:solidFill>
                  <a:srgbClr val="5F5F5F"/>
                </a:solidFill>
                <a:latin typeface="Tahoma"/>
              </a:endParaRPr>
            </a:p>
          </p:txBody>
        </p:sp>
        <p:sp>
          <p:nvSpPr>
            <p:cNvPr id="154" name="Bourgogne-Franche-Comté">
              <a:extLst>
                <a:ext uri="{FF2B5EF4-FFF2-40B4-BE49-F238E27FC236}">
                  <a16:creationId xmlns:a16="http://schemas.microsoft.com/office/drawing/2014/main" id="{22ED1192-9087-4911-8F2B-15F2E5CE2509}"/>
                </a:ext>
              </a:extLst>
            </p:cNvPr>
            <p:cNvSpPr/>
            <p:nvPr/>
          </p:nvSpPr>
          <p:spPr>
            <a:xfrm>
              <a:off x="2394289" y="2090483"/>
              <a:ext cx="1016844" cy="749599"/>
            </a:xfrm>
            <a:custGeom>
              <a:avLst/>
              <a:gdLst/>
              <a:ahLst/>
              <a:cxnLst/>
              <a:rect l="l" t="t" r="r" b="b"/>
              <a:pathLst>
                <a:path w="53497" h="39437" extrusionOk="0">
                  <a:moveTo>
                    <a:pt x="7569" y="0"/>
                  </a:moveTo>
                  <a:cubicBezTo>
                    <a:pt x="7447" y="396"/>
                    <a:pt x="7083" y="244"/>
                    <a:pt x="6080" y="335"/>
                  </a:cubicBezTo>
                  <a:cubicBezTo>
                    <a:pt x="5989" y="341"/>
                    <a:pt x="5900" y="344"/>
                    <a:pt x="5812" y="344"/>
                  </a:cubicBezTo>
                  <a:cubicBezTo>
                    <a:pt x="5037" y="344"/>
                    <a:pt x="4373" y="109"/>
                    <a:pt x="3912" y="109"/>
                  </a:cubicBezTo>
                  <a:cubicBezTo>
                    <a:pt x="3478" y="109"/>
                    <a:pt x="3222" y="318"/>
                    <a:pt x="3222" y="1125"/>
                  </a:cubicBezTo>
                  <a:cubicBezTo>
                    <a:pt x="3222" y="2766"/>
                    <a:pt x="2371" y="3040"/>
                    <a:pt x="1520" y="3952"/>
                  </a:cubicBezTo>
                  <a:cubicBezTo>
                    <a:pt x="2159" y="4590"/>
                    <a:pt x="2797" y="5107"/>
                    <a:pt x="3283" y="5593"/>
                  </a:cubicBezTo>
                  <a:cubicBezTo>
                    <a:pt x="5350" y="7539"/>
                    <a:pt x="3526" y="8390"/>
                    <a:pt x="3283" y="9970"/>
                  </a:cubicBezTo>
                  <a:cubicBezTo>
                    <a:pt x="3040" y="11551"/>
                    <a:pt x="3070" y="11247"/>
                    <a:pt x="1551" y="11308"/>
                  </a:cubicBezTo>
                  <a:cubicBezTo>
                    <a:pt x="0" y="11399"/>
                    <a:pt x="2797" y="12736"/>
                    <a:pt x="2706" y="14438"/>
                  </a:cubicBezTo>
                  <a:cubicBezTo>
                    <a:pt x="2645" y="16140"/>
                    <a:pt x="1247" y="15806"/>
                    <a:pt x="1703" y="17265"/>
                  </a:cubicBezTo>
                  <a:cubicBezTo>
                    <a:pt x="2128" y="18694"/>
                    <a:pt x="1308" y="22584"/>
                    <a:pt x="3070" y="25138"/>
                  </a:cubicBezTo>
                  <a:cubicBezTo>
                    <a:pt x="3922" y="26384"/>
                    <a:pt x="3982" y="28116"/>
                    <a:pt x="3800" y="29606"/>
                  </a:cubicBezTo>
                  <a:cubicBezTo>
                    <a:pt x="4061" y="29762"/>
                    <a:pt x="4355" y="29811"/>
                    <a:pt x="4658" y="29811"/>
                  </a:cubicBezTo>
                  <a:cubicBezTo>
                    <a:pt x="5157" y="29811"/>
                    <a:pt x="5682" y="29679"/>
                    <a:pt x="6130" y="29679"/>
                  </a:cubicBezTo>
                  <a:cubicBezTo>
                    <a:pt x="6519" y="29679"/>
                    <a:pt x="6849" y="29779"/>
                    <a:pt x="7052" y="30153"/>
                  </a:cubicBezTo>
                  <a:cubicBezTo>
                    <a:pt x="7174" y="30378"/>
                    <a:pt x="7302" y="30464"/>
                    <a:pt x="7439" y="30464"/>
                  </a:cubicBezTo>
                  <a:cubicBezTo>
                    <a:pt x="7878" y="30464"/>
                    <a:pt x="8396" y="29570"/>
                    <a:pt x="8984" y="29570"/>
                  </a:cubicBezTo>
                  <a:cubicBezTo>
                    <a:pt x="9174" y="29570"/>
                    <a:pt x="9371" y="29663"/>
                    <a:pt x="9575" y="29910"/>
                  </a:cubicBezTo>
                  <a:cubicBezTo>
                    <a:pt x="9958" y="30397"/>
                    <a:pt x="10518" y="30455"/>
                    <a:pt x="11073" y="30455"/>
                  </a:cubicBezTo>
                  <a:cubicBezTo>
                    <a:pt x="11245" y="30455"/>
                    <a:pt x="11416" y="30449"/>
                    <a:pt x="11581" y="30449"/>
                  </a:cubicBezTo>
                  <a:cubicBezTo>
                    <a:pt x="12280" y="30449"/>
                    <a:pt x="12873" y="30548"/>
                    <a:pt x="12949" y="31581"/>
                  </a:cubicBezTo>
                  <a:cubicBezTo>
                    <a:pt x="13101" y="33618"/>
                    <a:pt x="17569" y="34469"/>
                    <a:pt x="16323" y="36141"/>
                  </a:cubicBezTo>
                  <a:cubicBezTo>
                    <a:pt x="15077" y="37782"/>
                    <a:pt x="15198" y="39423"/>
                    <a:pt x="16536" y="39423"/>
                  </a:cubicBezTo>
                  <a:cubicBezTo>
                    <a:pt x="16848" y="39423"/>
                    <a:pt x="17225" y="39436"/>
                    <a:pt x="17619" y="39436"/>
                  </a:cubicBezTo>
                  <a:cubicBezTo>
                    <a:pt x="18950" y="39436"/>
                    <a:pt x="20487" y="39291"/>
                    <a:pt x="20487" y="38025"/>
                  </a:cubicBezTo>
                  <a:cubicBezTo>
                    <a:pt x="20487" y="37228"/>
                    <a:pt x="21131" y="36921"/>
                    <a:pt x="21830" y="36921"/>
                  </a:cubicBezTo>
                  <a:cubicBezTo>
                    <a:pt x="22596" y="36921"/>
                    <a:pt x="23430" y="37289"/>
                    <a:pt x="23557" y="37782"/>
                  </a:cubicBezTo>
                  <a:cubicBezTo>
                    <a:pt x="23665" y="38201"/>
                    <a:pt x="24049" y="38559"/>
                    <a:pt x="24520" y="38559"/>
                  </a:cubicBezTo>
                  <a:cubicBezTo>
                    <a:pt x="25109" y="38559"/>
                    <a:pt x="25833" y="37999"/>
                    <a:pt x="26323" y="36293"/>
                  </a:cubicBezTo>
                  <a:cubicBezTo>
                    <a:pt x="26906" y="34191"/>
                    <a:pt x="27389" y="33813"/>
                    <a:pt x="28114" y="33813"/>
                  </a:cubicBezTo>
                  <a:cubicBezTo>
                    <a:pt x="28447" y="33813"/>
                    <a:pt x="28832" y="33893"/>
                    <a:pt x="29302" y="33922"/>
                  </a:cubicBezTo>
                  <a:cubicBezTo>
                    <a:pt x="29359" y="33925"/>
                    <a:pt x="29417" y="33927"/>
                    <a:pt x="29474" y="33927"/>
                  </a:cubicBezTo>
                  <a:cubicBezTo>
                    <a:pt x="30130" y="33927"/>
                    <a:pt x="30750" y="33712"/>
                    <a:pt x="31265" y="33712"/>
                  </a:cubicBezTo>
                  <a:cubicBezTo>
                    <a:pt x="31864" y="33712"/>
                    <a:pt x="32320" y="34003"/>
                    <a:pt x="32524" y="35259"/>
                  </a:cubicBezTo>
                  <a:cubicBezTo>
                    <a:pt x="32827" y="37125"/>
                    <a:pt x="33041" y="38257"/>
                    <a:pt x="33508" y="38257"/>
                  </a:cubicBezTo>
                  <a:cubicBezTo>
                    <a:pt x="33650" y="38257"/>
                    <a:pt x="33815" y="38153"/>
                    <a:pt x="34013" y="37934"/>
                  </a:cubicBezTo>
                  <a:cubicBezTo>
                    <a:pt x="34538" y="37374"/>
                    <a:pt x="35051" y="37039"/>
                    <a:pt x="35714" y="37039"/>
                  </a:cubicBezTo>
                  <a:cubicBezTo>
                    <a:pt x="36165" y="37039"/>
                    <a:pt x="36686" y="37194"/>
                    <a:pt x="37326" y="37539"/>
                  </a:cubicBezTo>
                  <a:cubicBezTo>
                    <a:pt x="37438" y="37601"/>
                    <a:pt x="37566" y="37630"/>
                    <a:pt x="37706" y="37630"/>
                  </a:cubicBezTo>
                  <a:cubicBezTo>
                    <a:pt x="38598" y="37630"/>
                    <a:pt x="40014" y="36471"/>
                    <a:pt x="41247" y="35290"/>
                  </a:cubicBezTo>
                  <a:cubicBezTo>
                    <a:pt x="41156" y="35229"/>
                    <a:pt x="41095" y="35168"/>
                    <a:pt x="41065" y="35077"/>
                  </a:cubicBezTo>
                  <a:cubicBezTo>
                    <a:pt x="40731" y="34560"/>
                    <a:pt x="42007" y="32767"/>
                    <a:pt x="42007" y="31733"/>
                  </a:cubicBezTo>
                  <a:cubicBezTo>
                    <a:pt x="42007" y="30700"/>
                    <a:pt x="44378" y="29454"/>
                    <a:pt x="45442" y="28755"/>
                  </a:cubicBezTo>
                  <a:cubicBezTo>
                    <a:pt x="46476" y="28056"/>
                    <a:pt x="45533" y="27782"/>
                    <a:pt x="45533" y="26536"/>
                  </a:cubicBezTo>
                  <a:cubicBezTo>
                    <a:pt x="45533" y="25290"/>
                    <a:pt x="46050" y="25502"/>
                    <a:pt x="47448" y="24925"/>
                  </a:cubicBezTo>
                  <a:cubicBezTo>
                    <a:pt x="48846" y="24347"/>
                    <a:pt x="48694" y="23466"/>
                    <a:pt x="49910" y="22341"/>
                  </a:cubicBezTo>
                  <a:cubicBezTo>
                    <a:pt x="51126" y="21247"/>
                    <a:pt x="51491" y="20457"/>
                    <a:pt x="52372" y="19393"/>
                  </a:cubicBezTo>
                  <a:cubicBezTo>
                    <a:pt x="53078" y="18485"/>
                    <a:pt x="52676" y="18205"/>
                    <a:pt x="51894" y="18205"/>
                  </a:cubicBezTo>
                  <a:cubicBezTo>
                    <a:pt x="51733" y="18205"/>
                    <a:pt x="51556" y="18217"/>
                    <a:pt x="51369" y="18238"/>
                  </a:cubicBezTo>
                  <a:cubicBezTo>
                    <a:pt x="51345" y="18240"/>
                    <a:pt x="51322" y="18242"/>
                    <a:pt x="51301" y="18242"/>
                  </a:cubicBezTo>
                  <a:cubicBezTo>
                    <a:pt x="50332" y="18242"/>
                    <a:pt x="51597" y="15650"/>
                    <a:pt x="52281" y="15472"/>
                  </a:cubicBezTo>
                  <a:cubicBezTo>
                    <a:pt x="52490" y="15408"/>
                    <a:pt x="52715" y="15369"/>
                    <a:pt x="52935" y="15369"/>
                  </a:cubicBezTo>
                  <a:cubicBezTo>
                    <a:pt x="53132" y="15369"/>
                    <a:pt x="53325" y="15400"/>
                    <a:pt x="53497" y="15472"/>
                  </a:cubicBezTo>
                  <a:cubicBezTo>
                    <a:pt x="53254" y="14621"/>
                    <a:pt x="52919" y="13739"/>
                    <a:pt x="52463" y="13678"/>
                  </a:cubicBezTo>
                  <a:cubicBezTo>
                    <a:pt x="51521" y="13496"/>
                    <a:pt x="52312" y="10700"/>
                    <a:pt x="50488" y="9636"/>
                  </a:cubicBezTo>
                  <a:cubicBezTo>
                    <a:pt x="49232" y="8870"/>
                    <a:pt x="48394" y="7850"/>
                    <a:pt x="47555" y="7850"/>
                  </a:cubicBezTo>
                  <a:cubicBezTo>
                    <a:pt x="47196" y="7850"/>
                    <a:pt x="46837" y="8037"/>
                    <a:pt x="46445" y="8511"/>
                  </a:cubicBezTo>
                  <a:cubicBezTo>
                    <a:pt x="46189" y="8823"/>
                    <a:pt x="46008" y="8943"/>
                    <a:pt x="45862" y="8943"/>
                  </a:cubicBezTo>
                  <a:cubicBezTo>
                    <a:pt x="45375" y="8943"/>
                    <a:pt x="45279" y="7594"/>
                    <a:pt x="44023" y="7594"/>
                  </a:cubicBezTo>
                  <a:cubicBezTo>
                    <a:pt x="43790" y="7594"/>
                    <a:pt x="43516" y="7641"/>
                    <a:pt x="43193" y="7751"/>
                  </a:cubicBezTo>
                  <a:cubicBezTo>
                    <a:pt x="42725" y="7917"/>
                    <a:pt x="42407" y="7985"/>
                    <a:pt x="42190" y="7985"/>
                  </a:cubicBezTo>
                  <a:cubicBezTo>
                    <a:pt x="41211" y="7985"/>
                    <a:pt x="42290" y="6588"/>
                    <a:pt x="40822" y="6414"/>
                  </a:cubicBezTo>
                  <a:cubicBezTo>
                    <a:pt x="40741" y="6404"/>
                    <a:pt x="40658" y="6400"/>
                    <a:pt x="40575" y="6400"/>
                  </a:cubicBezTo>
                  <a:cubicBezTo>
                    <a:pt x="38808" y="6400"/>
                    <a:pt x="36529" y="8498"/>
                    <a:pt x="36384" y="10791"/>
                  </a:cubicBezTo>
                  <a:cubicBezTo>
                    <a:pt x="36202" y="13223"/>
                    <a:pt x="34408" y="12371"/>
                    <a:pt x="33436" y="12827"/>
                  </a:cubicBezTo>
                  <a:cubicBezTo>
                    <a:pt x="32905" y="13084"/>
                    <a:pt x="31938" y="13303"/>
                    <a:pt x="30685" y="13303"/>
                  </a:cubicBezTo>
                  <a:cubicBezTo>
                    <a:pt x="29715" y="13303"/>
                    <a:pt x="28573" y="13172"/>
                    <a:pt x="27326" y="12827"/>
                  </a:cubicBezTo>
                  <a:cubicBezTo>
                    <a:pt x="24439" y="12037"/>
                    <a:pt x="26688" y="8785"/>
                    <a:pt x="24165" y="6809"/>
                  </a:cubicBezTo>
                  <a:cubicBezTo>
                    <a:pt x="23461" y="6257"/>
                    <a:pt x="22856" y="6049"/>
                    <a:pt x="22266" y="6049"/>
                  </a:cubicBezTo>
                  <a:cubicBezTo>
                    <a:pt x="20745" y="6049"/>
                    <a:pt x="19326" y="7435"/>
                    <a:pt x="16566" y="7873"/>
                  </a:cubicBezTo>
                  <a:cubicBezTo>
                    <a:pt x="16283" y="7918"/>
                    <a:pt x="16031" y="7939"/>
                    <a:pt x="15805" y="7939"/>
                  </a:cubicBezTo>
                  <a:cubicBezTo>
                    <a:pt x="12982" y="7939"/>
                    <a:pt x="14367" y="4668"/>
                    <a:pt x="11946" y="4499"/>
                  </a:cubicBezTo>
                  <a:cubicBezTo>
                    <a:pt x="9362" y="4317"/>
                    <a:pt x="11186" y="1399"/>
                    <a:pt x="9879" y="1003"/>
                  </a:cubicBezTo>
                  <a:cubicBezTo>
                    <a:pt x="9119" y="791"/>
                    <a:pt x="8177" y="700"/>
                    <a:pt x="7569" y="0"/>
                  </a:cubicBezTo>
                  <a:close/>
                </a:path>
              </a:pathLst>
            </a:custGeom>
            <a:grpFill/>
            <a:ln w="127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endParaRPr lang="fr-FR">
                <a:solidFill>
                  <a:srgbClr val="5F5F5F"/>
                </a:solidFill>
                <a:latin typeface="Tahoma"/>
              </a:endParaRPr>
            </a:p>
          </p:txBody>
        </p:sp>
        <p:sp>
          <p:nvSpPr>
            <p:cNvPr id="155" name="Centre-Val de Loire">
              <a:extLst>
                <a:ext uri="{FF2B5EF4-FFF2-40B4-BE49-F238E27FC236}">
                  <a16:creationId xmlns:a16="http://schemas.microsoft.com/office/drawing/2014/main" id="{9B769C88-0FEB-4EFE-9DF1-27543BC7A411}"/>
                </a:ext>
              </a:extLst>
            </p:cNvPr>
            <p:cNvSpPr/>
            <p:nvPr/>
          </p:nvSpPr>
          <p:spPr>
            <a:xfrm>
              <a:off x="1769160" y="1890008"/>
              <a:ext cx="726828" cy="889190"/>
            </a:xfrm>
            <a:custGeom>
              <a:avLst/>
              <a:gdLst/>
              <a:ahLst/>
              <a:cxnLst/>
              <a:rect l="l" t="t" r="r" b="b"/>
              <a:pathLst>
                <a:path w="38239" h="46781" extrusionOk="0">
                  <a:moveTo>
                    <a:pt x="17508" y="0"/>
                  </a:moveTo>
                  <a:cubicBezTo>
                    <a:pt x="17539" y="183"/>
                    <a:pt x="17599" y="304"/>
                    <a:pt x="17599" y="304"/>
                  </a:cubicBezTo>
                  <a:cubicBezTo>
                    <a:pt x="17599" y="304"/>
                    <a:pt x="16292" y="1459"/>
                    <a:pt x="15928" y="3708"/>
                  </a:cubicBezTo>
                  <a:cubicBezTo>
                    <a:pt x="15818" y="4439"/>
                    <a:pt x="15378" y="4669"/>
                    <a:pt x="14767" y="4669"/>
                  </a:cubicBezTo>
                  <a:cubicBezTo>
                    <a:pt x="13733" y="4669"/>
                    <a:pt x="12209" y="4011"/>
                    <a:pt x="10963" y="4011"/>
                  </a:cubicBezTo>
                  <a:cubicBezTo>
                    <a:pt x="10709" y="4011"/>
                    <a:pt x="10468" y="4038"/>
                    <a:pt x="10244" y="4104"/>
                  </a:cubicBezTo>
                  <a:cubicBezTo>
                    <a:pt x="8268" y="4651"/>
                    <a:pt x="11034" y="7660"/>
                    <a:pt x="10669" y="9514"/>
                  </a:cubicBezTo>
                  <a:cubicBezTo>
                    <a:pt x="10304" y="11368"/>
                    <a:pt x="9636" y="11095"/>
                    <a:pt x="9636" y="13222"/>
                  </a:cubicBezTo>
                  <a:cubicBezTo>
                    <a:pt x="9636" y="13465"/>
                    <a:pt x="9636" y="13648"/>
                    <a:pt x="9605" y="13769"/>
                  </a:cubicBezTo>
                  <a:cubicBezTo>
                    <a:pt x="10365" y="14924"/>
                    <a:pt x="10487" y="15350"/>
                    <a:pt x="9909" y="16171"/>
                  </a:cubicBezTo>
                  <a:cubicBezTo>
                    <a:pt x="9089" y="17326"/>
                    <a:pt x="9879" y="17569"/>
                    <a:pt x="10274" y="19301"/>
                  </a:cubicBezTo>
                  <a:cubicBezTo>
                    <a:pt x="10669" y="21004"/>
                    <a:pt x="8815" y="22371"/>
                    <a:pt x="7751" y="23648"/>
                  </a:cubicBezTo>
                  <a:cubicBezTo>
                    <a:pt x="6817" y="24737"/>
                    <a:pt x="5662" y="25849"/>
                    <a:pt x="4512" y="25849"/>
                  </a:cubicBezTo>
                  <a:cubicBezTo>
                    <a:pt x="4315" y="25849"/>
                    <a:pt x="4117" y="25816"/>
                    <a:pt x="3921" y="25745"/>
                  </a:cubicBezTo>
                  <a:cubicBezTo>
                    <a:pt x="3133" y="25448"/>
                    <a:pt x="2315" y="24898"/>
                    <a:pt x="1815" y="24898"/>
                  </a:cubicBezTo>
                  <a:cubicBezTo>
                    <a:pt x="1448" y="24898"/>
                    <a:pt x="1252" y="25195"/>
                    <a:pt x="1368" y="26110"/>
                  </a:cubicBezTo>
                  <a:cubicBezTo>
                    <a:pt x="1490" y="27356"/>
                    <a:pt x="699" y="30426"/>
                    <a:pt x="0" y="32827"/>
                  </a:cubicBezTo>
                  <a:cubicBezTo>
                    <a:pt x="274" y="32949"/>
                    <a:pt x="547" y="33131"/>
                    <a:pt x="912" y="33223"/>
                  </a:cubicBezTo>
                  <a:cubicBezTo>
                    <a:pt x="1854" y="33466"/>
                    <a:pt x="2949" y="34803"/>
                    <a:pt x="2949" y="36232"/>
                  </a:cubicBezTo>
                  <a:cubicBezTo>
                    <a:pt x="2949" y="36960"/>
                    <a:pt x="3353" y="37152"/>
                    <a:pt x="3847" y="37152"/>
                  </a:cubicBezTo>
                  <a:cubicBezTo>
                    <a:pt x="4302" y="37152"/>
                    <a:pt x="4834" y="36989"/>
                    <a:pt x="5198" y="36931"/>
                  </a:cubicBezTo>
                  <a:cubicBezTo>
                    <a:pt x="5737" y="36845"/>
                    <a:pt x="6246" y="36085"/>
                    <a:pt x="6745" y="36085"/>
                  </a:cubicBezTo>
                  <a:cubicBezTo>
                    <a:pt x="6950" y="36085"/>
                    <a:pt x="7153" y="36213"/>
                    <a:pt x="7356" y="36566"/>
                  </a:cubicBezTo>
                  <a:cubicBezTo>
                    <a:pt x="8086" y="37812"/>
                    <a:pt x="9301" y="40700"/>
                    <a:pt x="9849" y="41156"/>
                  </a:cubicBezTo>
                  <a:cubicBezTo>
                    <a:pt x="10365" y="41642"/>
                    <a:pt x="9241" y="44104"/>
                    <a:pt x="11064" y="44104"/>
                  </a:cubicBezTo>
                  <a:cubicBezTo>
                    <a:pt x="12888" y="44104"/>
                    <a:pt x="13070" y="45168"/>
                    <a:pt x="13253" y="46414"/>
                  </a:cubicBezTo>
                  <a:cubicBezTo>
                    <a:pt x="13293" y="46683"/>
                    <a:pt x="13502" y="46781"/>
                    <a:pt x="13819" y="46781"/>
                  </a:cubicBezTo>
                  <a:cubicBezTo>
                    <a:pt x="14680" y="46781"/>
                    <a:pt x="16337" y="46058"/>
                    <a:pt x="17574" y="46058"/>
                  </a:cubicBezTo>
                  <a:cubicBezTo>
                    <a:pt x="17946" y="46058"/>
                    <a:pt x="18279" y="46123"/>
                    <a:pt x="18542" y="46293"/>
                  </a:cubicBezTo>
                  <a:cubicBezTo>
                    <a:pt x="18984" y="46572"/>
                    <a:pt x="19346" y="46675"/>
                    <a:pt x="19717" y="46675"/>
                  </a:cubicBezTo>
                  <a:cubicBezTo>
                    <a:pt x="20594" y="46675"/>
                    <a:pt x="21520" y="46099"/>
                    <a:pt x="23679" y="45928"/>
                  </a:cubicBezTo>
                  <a:cubicBezTo>
                    <a:pt x="24213" y="45890"/>
                    <a:pt x="24700" y="45873"/>
                    <a:pt x="25139" y="45873"/>
                  </a:cubicBezTo>
                  <a:cubicBezTo>
                    <a:pt x="25748" y="45873"/>
                    <a:pt x="26264" y="45905"/>
                    <a:pt x="26688" y="45958"/>
                  </a:cubicBezTo>
                  <a:cubicBezTo>
                    <a:pt x="26688" y="45867"/>
                    <a:pt x="26688" y="45776"/>
                    <a:pt x="26718" y="45685"/>
                  </a:cubicBezTo>
                  <a:cubicBezTo>
                    <a:pt x="27083" y="44773"/>
                    <a:pt x="29302" y="43527"/>
                    <a:pt x="30487" y="43527"/>
                  </a:cubicBezTo>
                  <a:cubicBezTo>
                    <a:pt x="31673" y="43527"/>
                    <a:pt x="30092" y="41004"/>
                    <a:pt x="31916" y="41004"/>
                  </a:cubicBezTo>
                  <a:cubicBezTo>
                    <a:pt x="33336" y="41004"/>
                    <a:pt x="34623" y="39478"/>
                    <a:pt x="35611" y="39478"/>
                  </a:cubicBezTo>
                  <a:cubicBezTo>
                    <a:pt x="35870" y="39478"/>
                    <a:pt x="36108" y="39583"/>
                    <a:pt x="36323" y="39849"/>
                  </a:cubicBezTo>
                  <a:cubicBezTo>
                    <a:pt x="36414" y="39970"/>
                    <a:pt x="36536" y="40062"/>
                    <a:pt x="36658" y="40153"/>
                  </a:cubicBezTo>
                  <a:cubicBezTo>
                    <a:pt x="36840" y="38663"/>
                    <a:pt x="36810" y="36931"/>
                    <a:pt x="35958" y="35685"/>
                  </a:cubicBezTo>
                  <a:cubicBezTo>
                    <a:pt x="34196" y="33131"/>
                    <a:pt x="35016" y="29241"/>
                    <a:pt x="34560" y="27812"/>
                  </a:cubicBezTo>
                  <a:cubicBezTo>
                    <a:pt x="34135" y="26353"/>
                    <a:pt x="35533" y="26687"/>
                    <a:pt x="35594" y="24985"/>
                  </a:cubicBezTo>
                  <a:cubicBezTo>
                    <a:pt x="35655" y="23314"/>
                    <a:pt x="32888" y="21946"/>
                    <a:pt x="34408" y="21885"/>
                  </a:cubicBezTo>
                  <a:cubicBezTo>
                    <a:pt x="35958" y="21794"/>
                    <a:pt x="35928" y="22098"/>
                    <a:pt x="36171" y="20517"/>
                  </a:cubicBezTo>
                  <a:cubicBezTo>
                    <a:pt x="36414" y="18937"/>
                    <a:pt x="38238" y="18086"/>
                    <a:pt x="36171" y="16140"/>
                  </a:cubicBezTo>
                  <a:cubicBezTo>
                    <a:pt x="35685" y="15684"/>
                    <a:pt x="35047" y="15137"/>
                    <a:pt x="34378" y="14499"/>
                  </a:cubicBezTo>
                  <a:cubicBezTo>
                    <a:pt x="34347" y="14560"/>
                    <a:pt x="34287" y="14651"/>
                    <a:pt x="34226" y="14712"/>
                  </a:cubicBezTo>
                  <a:cubicBezTo>
                    <a:pt x="33314" y="15806"/>
                    <a:pt x="30791" y="15502"/>
                    <a:pt x="29028" y="15623"/>
                  </a:cubicBezTo>
                  <a:cubicBezTo>
                    <a:pt x="28998" y="15626"/>
                    <a:pt x="28969" y="15627"/>
                    <a:pt x="28941" y="15627"/>
                  </a:cubicBezTo>
                  <a:cubicBezTo>
                    <a:pt x="27366" y="15627"/>
                    <a:pt x="30186" y="12273"/>
                    <a:pt x="26901" y="11854"/>
                  </a:cubicBezTo>
                  <a:cubicBezTo>
                    <a:pt x="26055" y="11747"/>
                    <a:pt x="25462" y="11705"/>
                    <a:pt x="25032" y="11705"/>
                  </a:cubicBezTo>
                  <a:cubicBezTo>
                    <a:pt x="23763" y="11705"/>
                    <a:pt x="23919" y="12068"/>
                    <a:pt x="23192" y="12158"/>
                  </a:cubicBezTo>
                  <a:cubicBezTo>
                    <a:pt x="23171" y="12161"/>
                    <a:pt x="23151" y="12162"/>
                    <a:pt x="23131" y="12162"/>
                  </a:cubicBezTo>
                  <a:cubicBezTo>
                    <a:pt x="22232" y="12162"/>
                    <a:pt x="22506" y="9544"/>
                    <a:pt x="21733" y="9544"/>
                  </a:cubicBezTo>
                  <a:cubicBezTo>
                    <a:pt x="20943" y="9544"/>
                    <a:pt x="21186" y="7174"/>
                    <a:pt x="20396" y="6870"/>
                  </a:cubicBezTo>
                  <a:cubicBezTo>
                    <a:pt x="19606" y="6535"/>
                    <a:pt x="18511" y="5289"/>
                    <a:pt x="18572" y="3404"/>
                  </a:cubicBezTo>
                  <a:cubicBezTo>
                    <a:pt x="18633" y="2128"/>
                    <a:pt x="18359" y="1490"/>
                    <a:pt x="17508" y="0"/>
                  </a:cubicBezTo>
                  <a:close/>
                </a:path>
              </a:pathLst>
            </a:custGeom>
            <a:grpFill/>
            <a:ln w="127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endParaRPr lang="fr-FR">
                <a:solidFill>
                  <a:srgbClr val="5F5F5F"/>
                </a:solidFill>
                <a:latin typeface="Tahoma"/>
              </a:endParaRPr>
            </a:p>
          </p:txBody>
        </p:sp>
        <p:sp>
          <p:nvSpPr>
            <p:cNvPr id="156" name="Corse">
              <a:extLst>
                <a:ext uri="{FF2B5EF4-FFF2-40B4-BE49-F238E27FC236}">
                  <a16:creationId xmlns:a16="http://schemas.microsoft.com/office/drawing/2014/main" id="{3DB377E4-30E8-4BF4-B068-5344E88224DB}"/>
                </a:ext>
              </a:extLst>
            </p:cNvPr>
            <p:cNvSpPr/>
            <p:nvPr/>
          </p:nvSpPr>
          <p:spPr>
            <a:xfrm>
              <a:off x="3669391" y="3696378"/>
              <a:ext cx="253655" cy="563230"/>
            </a:xfrm>
            <a:custGeom>
              <a:avLst/>
              <a:gdLst/>
              <a:ahLst/>
              <a:cxnLst/>
              <a:rect l="l" t="t" r="r" b="b"/>
              <a:pathLst>
                <a:path w="13345" h="29632" extrusionOk="0">
                  <a:moveTo>
                    <a:pt x="11047" y="0"/>
                  </a:moveTo>
                  <a:cubicBezTo>
                    <a:pt x="10831" y="0"/>
                    <a:pt x="10610" y="144"/>
                    <a:pt x="10396" y="470"/>
                  </a:cubicBezTo>
                  <a:cubicBezTo>
                    <a:pt x="9339" y="2041"/>
                    <a:pt x="11193" y="6732"/>
                    <a:pt x="10024" y="6732"/>
                  </a:cubicBezTo>
                  <a:cubicBezTo>
                    <a:pt x="10016" y="6732"/>
                    <a:pt x="10009" y="6732"/>
                    <a:pt x="10001" y="6732"/>
                  </a:cubicBezTo>
                  <a:cubicBezTo>
                    <a:pt x="9128" y="6664"/>
                    <a:pt x="8453" y="5461"/>
                    <a:pt x="7673" y="5461"/>
                  </a:cubicBezTo>
                  <a:cubicBezTo>
                    <a:pt x="7393" y="5461"/>
                    <a:pt x="7100" y="5615"/>
                    <a:pt x="6779" y="6032"/>
                  </a:cubicBezTo>
                  <a:cubicBezTo>
                    <a:pt x="5563" y="7613"/>
                    <a:pt x="4530" y="6884"/>
                    <a:pt x="3010" y="8434"/>
                  </a:cubicBezTo>
                  <a:cubicBezTo>
                    <a:pt x="1521" y="10014"/>
                    <a:pt x="548" y="11443"/>
                    <a:pt x="548" y="12507"/>
                  </a:cubicBezTo>
                  <a:cubicBezTo>
                    <a:pt x="548" y="13571"/>
                    <a:pt x="3162" y="13327"/>
                    <a:pt x="1977" y="14239"/>
                  </a:cubicBezTo>
                  <a:cubicBezTo>
                    <a:pt x="761" y="15121"/>
                    <a:pt x="1" y="16124"/>
                    <a:pt x="1217" y="16428"/>
                  </a:cubicBezTo>
                  <a:cubicBezTo>
                    <a:pt x="2432" y="16701"/>
                    <a:pt x="3162" y="18221"/>
                    <a:pt x="2129" y="19285"/>
                  </a:cubicBezTo>
                  <a:cubicBezTo>
                    <a:pt x="1198" y="20189"/>
                    <a:pt x="1942" y="20814"/>
                    <a:pt x="2753" y="20814"/>
                  </a:cubicBezTo>
                  <a:cubicBezTo>
                    <a:pt x="2869" y="20814"/>
                    <a:pt x="2987" y="20801"/>
                    <a:pt x="3101" y="20774"/>
                  </a:cubicBezTo>
                  <a:cubicBezTo>
                    <a:pt x="3184" y="20754"/>
                    <a:pt x="3258" y="20745"/>
                    <a:pt x="3324" y="20745"/>
                  </a:cubicBezTo>
                  <a:cubicBezTo>
                    <a:pt x="3962" y="20745"/>
                    <a:pt x="3817" y="21639"/>
                    <a:pt x="2797" y="22659"/>
                  </a:cubicBezTo>
                  <a:cubicBezTo>
                    <a:pt x="1673" y="23783"/>
                    <a:pt x="3162" y="23875"/>
                    <a:pt x="4682" y="23875"/>
                  </a:cubicBezTo>
                  <a:cubicBezTo>
                    <a:pt x="6171" y="23875"/>
                    <a:pt x="5411" y="24695"/>
                    <a:pt x="4378" y="25303"/>
                  </a:cubicBezTo>
                  <a:cubicBezTo>
                    <a:pt x="3314" y="25881"/>
                    <a:pt x="4682" y="27249"/>
                    <a:pt x="7296" y="28525"/>
                  </a:cubicBezTo>
                  <a:cubicBezTo>
                    <a:pt x="8647" y="29178"/>
                    <a:pt x="9482" y="29631"/>
                    <a:pt x="10009" y="29631"/>
                  </a:cubicBezTo>
                  <a:cubicBezTo>
                    <a:pt x="10513" y="29631"/>
                    <a:pt x="10733" y="29216"/>
                    <a:pt x="10852" y="28160"/>
                  </a:cubicBezTo>
                  <a:cubicBezTo>
                    <a:pt x="11065" y="25972"/>
                    <a:pt x="12402" y="23328"/>
                    <a:pt x="12402" y="20865"/>
                  </a:cubicBezTo>
                  <a:cubicBezTo>
                    <a:pt x="12402" y="18373"/>
                    <a:pt x="13345" y="17613"/>
                    <a:pt x="13314" y="16033"/>
                  </a:cubicBezTo>
                  <a:cubicBezTo>
                    <a:pt x="13253" y="11747"/>
                    <a:pt x="12797" y="10561"/>
                    <a:pt x="12645" y="8525"/>
                  </a:cubicBezTo>
                  <a:cubicBezTo>
                    <a:pt x="12493" y="6488"/>
                    <a:pt x="12645" y="6701"/>
                    <a:pt x="12645" y="4148"/>
                  </a:cubicBezTo>
                  <a:cubicBezTo>
                    <a:pt x="12645" y="2122"/>
                    <a:pt x="11880" y="0"/>
                    <a:pt x="11047" y="0"/>
                  </a:cubicBezTo>
                  <a:close/>
                </a:path>
              </a:pathLst>
            </a:custGeom>
            <a:grpFill/>
            <a:ln w="12700"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endParaRPr lang="fr-FR">
                <a:solidFill>
                  <a:srgbClr val="5F5F5F"/>
                </a:solidFill>
                <a:latin typeface="Tahoma"/>
              </a:endParaRPr>
            </a:p>
          </p:txBody>
        </p:sp>
      </p:grpSp>
      <p:sp>
        <p:nvSpPr>
          <p:cNvPr id="22" name="ZoneTexte 21">
            <a:extLst>
              <a:ext uri="{FF2B5EF4-FFF2-40B4-BE49-F238E27FC236}">
                <a16:creationId xmlns:a16="http://schemas.microsoft.com/office/drawing/2014/main" id="{6BB53F2B-60B6-492F-ADC6-C855A4C0D16F}"/>
              </a:ext>
            </a:extLst>
          </p:cNvPr>
          <p:cNvSpPr txBox="1"/>
          <p:nvPr/>
        </p:nvSpPr>
        <p:spPr>
          <a:xfrm>
            <a:off x="3456867" y="1715245"/>
            <a:ext cx="1736772" cy="769441"/>
          </a:xfrm>
          <a:prstGeom prst="rect">
            <a:avLst/>
          </a:prstGeom>
          <a:noFill/>
        </p:spPr>
        <p:txBody>
          <a:bodyPr wrap="square" lIns="108000" rIns="108000" rtlCol="0">
            <a:spAutoFit/>
          </a:bodyPr>
          <a:lstStyle/>
          <a:p>
            <a:endParaRPr lang="fr-FR" sz="700">
              <a:solidFill>
                <a:srgbClr val="5F5F5F"/>
              </a:solidFill>
              <a:latin typeface="Tahoma"/>
            </a:endParaRPr>
          </a:p>
          <a:p>
            <a:pPr algn="ctr"/>
            <a:r>
              <a:rPr lang="fr-FR" sz="1000" b="1">
                <a:solidFill>
                  <a:srgbClr val="503078"/>
                </a:solidFill>
                <a:latin typeface="Tahoma"/>
              </a:rPr>
              <a:t>Les bobos à la ferme</a:t>
            </a:r>
          </a:p>
          <a:p>
            <a:pPr algn="ctr"/>
            <a:r>
              <a:rPr lang="fr-FR" sz="1000">
                <a:solidFill>
                  <a:srgbClr val="5F5F5F"/>
                </a:solidFill>
                <a:latin typeface="Tahoma"/>
              </a:rPr>
              <a:t>Madelaine-sous-Montreuil (62</a:t>
            </a:r>
            <a:r>
              <a:rPr lang="fr-FR" sz="700">
                <a:solidFill>
                  <a:srgbClr val="5F5F5F"/>
                </a:solidFill>
                <a:latin typeface="Tahoma"/>
              </a:rPr>
              <a:t>)</a:t>
            </a:r>
          </a:p>
          <a:p>
            <a:endParaRPr lang="fr-FR" sz="700">
              <a:solidFill>
                <a:srgbClr val="5F5F5F"/>
              </a:solidFill>
              <a:latin typeface="Tahoma"/>
            </a:endParaRPr>
          </a:p>
        </p:txBody>
      </p:sp>
      <p:pic>
        <p:nvPicPr>
          <p:cNvPr id="23" name="Location-White-Background">
            <a:extLst>
              <a:ext uri="{FF2B5EF4-FFF2-40B4-BE49-F238E27FC236}">
                <a16:creationId xmlns:a16="http://schemas.microsoft.com/office/drawing/2014/main" id="{4846B194-EDED-479C-AB0D-69D26C0A23AB}"/>
              </a:ext>
            </a:extLst>
          </p:cNvPr>
          <p:cNvPicPr>
            <a:picLocks noChangeAspect="1"/>
          </p:cNvPicPr>
          <p:nvPr/>
        </p:nvPicPr>
        <p:blipFill>
          <a:blip r:embed="rId3" cstate="print">
            <a:extLst>
              <a:ext uri="{BEBA8EAE-BF5A-486C-A8C5-ECC9F3942E4B}">
                <a14:imgProps xmlns:a14="http://schemas.microsoft.com/office/drawing/2010/main">
                  <a14:imgLayer r:embed="rId4">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3306931" y="1842338"/>
            <a:ext cx="346346" cy="339034"/>
          </a:xfrm>
          <a:prstGeom prst="rect">
            <a:avLst/>
          </a:prstGeom>
        </p:spPr>
      </p:pic>
      <p:sp>
        <p:nvSpPr>
          <p:cNvPr id="24" name="ZoneTexte 23">
            <a:extLst>
              <a:ext uri="{FF2B5EF4-FFF2-40B4-BE49-F238E27FC236}">
                <a16:creationId xmlns:a16="http://schemas.microsoft.com/office/drawing/2014/main" id="{6618A89A-85DA-400A-AF51-DEA73F38C5FC}"/>
              </a:ext>
            </a:extLst>
          </p:cNvPr>
          <p:cNvSpPr txBox="1"/>
          <p:nvPr/>
        </p:nvSpPr>
        <p:spPr>
          <a:xfrm>
            <a:off x="1143001" y="2594856"/>
            <a:ext cx="1426021" cy="769441"/>
          </a:xfrm>
          <a:prstGeom prst="rect">
            <a:avLst/>
          </a:prstGeom>
          <a:noFill/>
        </p:spPr>
        <p:txBody>
          <a:bodyPr wrap="square" lIns="108000" rIns="108000" rtlCol="0">
            <a:spAutoFit/>
          </a:bodyPr>
          <a:lstStyle/>
          <a:p>
            <a:endParaRPr lang="fr-FR" sz="700">
              <a:solidFill>
                <a:srgbClr val="5F5F5F"/>
              </a:solidFill>
              <a:latin typeface="Tahoma"/>
            </a:endParaRPr>
          </a:p>
          <a:p>
            <a:pPr algn="ctr"/>
            <a:r>
              <a:rPr lang="fr-FR" sz="1000" b="1">
                <a:solidFill>
                  <a:srgbClr val="503078"/>
                </a:solidFill>
                <a:latin typeface="Tahoma"/>
              </a:rPr>
              <a:t>Domaine Porte-Neuve</a:t>
            </a:r>
          </a:p>
          <a:p>
            <a:pPr algn="ctr"/>
            <a:r>
              <a:rPr lang="fr-FR" sz="1000">
                <a:solidFill>
                  <a:srgbClr val="5F5F5F"/>
                </a:solidFill>
                <a:latin typeface="Tahoma"/>
              </a:rPr>
              <a:t>Riec-Sur-Belon (29)</a:t>
            </a:r>
          </a:p>
          <a:p>
            <a:endParaRPr lang="fr-FR" sz="700">
              <a:solidFill>
                <a:srgbClr val="5F5F5F"/>
              </a:solidFill>
              <a:latin typeface="Tahoma"/>
            </a:endParaRPr>
          </a:p>
        </p:txBody>
      </p:sp>
      <p:pic>
        <p:nvPicPr>
          <p:cNvPr id="27" name="Location-White-Background">
            <a:extLst>
              <a:ext uri="{FF2B5EF4-FFF2-40B4-BE49-F238E27FC236}">
                <a16:creationId xmlns:a16="http://schemas.microsoft.com/office/drawing/2014/main" id="{D70A1B74-475C-4CEA-B1C2-21BAE2BFFEFE}"/>
              </a:ext>
            </a:extLst>
          </p:cNvPr>
          <p:cNvPicPr>
            <a:picLocks noChangeAspect="1"/>
          </p:cNvPicPr>
          <p:nvPr/>
        </p:nvPicPr>
        <p:blipFill>
          <a:blip r:embed="rId3" cstate="print">
            <a:extLst>
              <a:ext uri="{BEBA8EAE-BF5A-486C-A8C5-ECC9F3942E4B}">
                <a14:imgProps xmlns:a14="http://schemas.microsoft.com/office/drawing/2010/main">
                  <a14:imgLayer r:embed="rId4">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1619956" y="3141654"/>
            <a:ext cx="346346" cy="339034"/>
          </a:xfrm>
          <a:prstGeom prst="rect">
            <a:avLst/>
          </a:prstGeom>
        </p:spPr>
      </p:pic>
      <p:sp>
        <p:nvSpPr>
          <p:cNvPr id="28" name="ZoneTexte 27">
            <a:extLst>
              <a:ext uri="{FF2B5EF4-FFF2-40B4-BE49-F238E27FC236}">
                <a16:creationId xmlns:a16="http://schemas.microsoft.com/office/drawing/2014/main" id="{112CA53B-9184-4182-BBA0-40759E438FFB}"/>
              </a:ext>
            </a:extLst>
          </p:cNvPr>
          <p:cNvSpPr txBox="1"/>
          <p:nvPr/>
        </p:nvSpPr>
        <p:spPr>
          <a:xfrm>
            <a:off x="4743376" y="3653576"/>
            <a:ext cx="1301838" cy="661720"/>
          </a:xfrm>
          <a:prstGeom prst="rect">
            <a:avLst/>
          </a:prstGeom>
          <a:noFill/>
        </p:spPr>
        <p:txBody>
          <a:bodyPr wrap="square" lIns="108000" rIns="108000" rtlCol="0">
            <a:spAutoFit/>
          </a:bodyPr>
          <a:lstStyle/>
          <a:p>
            <a:endParaRPr lang="fr-FR" sz="1000">
              <a:solidFill>
                <a:srgbClr val="5F5F5F"/>
              </a:solidFill>
              <a:latin typeface="Tahoma"/>
            </a:endParaRPr>
          </a:p>
          <a:p>
            <a:pPr algn="ctr"/>
            <a:r>
              <a:rPr lang="fr-FR" sz="1000" b="1">
                <a:solidFill>
                  <a:srgbClr val="503078"/>
                </a:solidFill>
                <a:latin typeface="Tahoma"/>
              </a:rPr>
              <a:t>VRF Les </a:t>
            </a:r>
            <a:r>
              <a:rPr lang="fr-FR" sz="1000" b="1" err="1">
                <a:solidFill>
                  <a:srgbClr val="503078"/>
                </a:solidFill>
                <a:latin typeface="Tahoma"/>
              </a:rPr>
              <a:t>Cizes</a:t>
            </a:r>
            <a:endParaRPr lang="fr-FR" sz="1000" b="1">
              <a:solidFill>
                <a:srgbClr val="503078"/>
              </a:solidFill>
              <a:latin typeface="Tahoma"/>
            </a:endParaRPr>
          </a:p>
          <a:p>
            <a:pPr algn="ctr"/>
            <a:r>
              <a:rPr lang="fr-FR" sz="1000">
                <a:solidFill>
                  <a:srgbClr val="5F5F5F"/>
                </a:solidFill>
                <a:latin typeface="Tahoma"/>
              </a:rPr>
              <a:t>Saint-Lupicin (39)</a:t>
            </a:r>
          </a:p>
          <a:p>
            <a:endParaRPr lang="fr-FR" sz="700">
              <a:solidFill>
                <a:srgbClr val="5F5F5F"/>
              </a:solidFill>
              <a:latin typeface="Tahoma"/>
            </a:endParaRPr>
          </a:p>
        </p:txBody>
      </p:sp>
      <p:pic>
        <p:nvPicPr>
          <p:cNvPr id="31" name="Location-White-Background">
            <a:extLst>
              <a:ext uri="{FF2B5EF4-FFF2-40B4-BE49-F238E27FC236}">
                <a16:creationId xmlns:a16="http://schemas.microsoft.com/office/drawing/2014/main" id="{ADEC0845-23CD-4265-9961-84A5EF85BED0}"/>
              </a:ext>
            </a:extLst>
          </p:cNvPr>
          <p:cNvPicPr>
            <a:picLocks noChangeAspect="1"/>
          </p:cNvPicPr>
          <p:nvPr/>
        </p:nvPicPr>
        <p:blipFill>
          <a:blip r:embed="rId3" cstate="print">
            <a:extLst>
              <a:ext uri="{BEBA8EAE-BF5A-486C-A8C5-ECC9F3942E4B}">
                <a14:imgProps xmlns:a14="http://schemas.microsoft.com/office/drawing/2010/main">
                  <a14:imgLayer r:embed="rId4">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4590926" y="3822693"/>
            <a:ext cx="346346" cy="339034"/>
          </a:xfrm>
          <a:prstGeom prst="rect">
            <a:avLst/>
          </a:prstGeom>
        </p:spPr>
      </p:pic>
      <p:sp>
        <p:nvSpPr>
          <p:cNvPr id="32" name="ZoneTexte 31">
            <a:extLst>
              <a:ext uri="{FF2B5EF4-FFF2-40B4-BE49-F238E27FC236}">
                <a16:creationId xmlns:a16="http://schemas.microsoft.com/office/drawing/2014/main" id="{6B2FCAC0-4A96-4F3D-8E19-FB376B5E4FD6}"/>
              </a:ext>
            </a:extLst>
          </p:cNvPr>
          <p:cNvSpPr txBox="1"/>
          <p:nvPr/>
        </p:nvSpPr>
        <p:spPr>
          <a:xfrm>
            <a:off x="1901288" y="3615191"/>
            <a:ext cx="1491656" cy="769441"/>
          </a:xfrm>
          <a:prstGeom prst="rect">
            <a:avLst/>
          </a:prstGeom>
          <a:noFill/>
        </p:spPr>
        <p:txBody>
          <a:bodyPr wrap="square" lIns="108000" rIns="108000" rtlCol="0">
            <a:spAutoFit/>
          </a:bodyPr>
          <a:lstStyle/>
          <a:p>
            <a:endParaRPr lang="fr-FR" sz="700">
              <a:solidFill>
                <a:srgbClr val="5F5F5F"/>
              </a:solidFill>
              <a:latin typeface="Tahoma"/>
            </a:endParaRPr>
          </a:p>
          <a:p>
            <a:pPr algn="ctr"/>
            <a:r>
              <a:rPr lang="fr-FR" sz="1000" b="1">
                <a:solidFill>
                  <a:srgbClr val="503078"/>
                </a:solidFill>
                <a:latin typeface="Tahoma"/>
              </a:rPr>
              <a:t>VRF La Salamandre</a:t>
            </a:r>
          </a:p>
          <a:p>
            <a:pPr algn="ctr"/>
            <a:r>
              <a:rPr lang="fr-FR" sz="1000">
                <a:solidFill>
                  <a:srgbClr val="5F5F5F"/>
                </a:solidFill>
                <a:latin typeface="Tahoma"/>
              </a:rPr>
              <a:t>Saint-Georges-sur-Loire (49)</a:t>
            </a:r>
          </a:p>
          <a:p>
            <a:endParaRPr lang="fr-FR" sz="700">
              <a:solidFill>
                <a:srgbClr val="5F5F5F"/>
              </a:solidFill>
              <a:latin typeface="Tahoma"/>
            </a:endParaRPr>
          </a:p>
        </p:txBody>
      </p:sp>
      <p:pic>
        <p:nvPicPr>
          <p:cNvPr id="33" name="Location-White-Background">
            <a:extLst>
              <a:ext uri="{FF2B5EF4-FFF2-40B4-BE49-F238E27FC236}">
                <a16:creationId xmlns:a16="http://schemas.microsoft.com/office/drawing/2014/main" id="{A20CFED5-769E-41F1-9CC6-D1C850182BEB}"/>
              </a:ext>
            </a:extLst>
          </p:cNvPr>
          <p:cNvPicPr>
            <a:picLocks noChangeAspect="1"/>
          </p:cNvPicPr>
          <p:nvPr/>
        </p:nvPicPr>
        <p:blipFill>
          <a:blip r:embed="rId3" cstate="print">
            <a:extLst>
              <a:ext uri="{BEBA8EAE-BF5A-486C-A8C5-ECC9F3942E4B}">
                <a14:imgProps xmlns:a14="http://schemas.microsoft.com/office/drawing/2010/main">
                  <a14:imgLayer r:embed="rId4">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2500020" y="3460425"/>
            <a:ext cx="346346" cy="339034"/>
          </a:xfrm>
          <a:prstGeom prst="rect">
            <a:avLst/>
          </a:prstGeom>
        </p:spPr>
      </p:pic>
      <p:pic>
        <p:nvPicPr>
          <p:cNvPr id="34" name="Location-White-Background">
            <a:extLst>
              <a:ext uri="{FF2B5EF4-FFF2-40B4-BE49-F238E27FC236}">
                <a16:creationId xmlns:a16="http://schemas.microsoft.com/office/drawing/2014/main" id="{82356A72-3FCA-4BD1-B0B4-B4B3CD295BE5}"/>
              </a:ext>
            </a:extLst>
          </p:cNvPr>
          <p:cNvPicPr>
            <a:picLocks noChangeAspect="1"/>
          </p:cNvPicPr>
          <p:nvPr/>
        </p:nvPicPr>
        <p:blipFill>
          <a:blip r:embed="rId3" cstate="print">
            <a:extLst>
              <a:ext uri="{BEBA8EAE-BF5A-486C-A8C5-ECC9F3942E4B}">
                <a14:imgProps xmlns:a14="http://schemas.microsoft.com/office/drawing/2010/main">
                  <a14:imgLayer r:embed="rId4">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3094179" y="3357537"/>
            <a:ext cx="346346" cy="339034"/>
          </a:xfrm>
          <a:prstGeom prst="rect">
            <a:avLst/>
          </a:prstGeom>
        </p:spPr>
      </p:pic>
      <p:sp>
        <p:nvSpPr>
          <p:cNvPr id="35" name="ZoneTexte 34">
            <a:extLst>
              <a:ext uri="{FF2B5EF4-FFF2-40B4-BE49-F238E27FC236}">
                <a16:creationId xmlns:a16="http://schemas.microsoft.com/office/drawing/2014/main" id="{27316D86-08ED-4AEF-98F5-8FCBCB6D15BF}"/>
              </a:ext>
            </a:extLst>
          </p:cNvPr>
          <p:cNvSpPr txBox="1"/>
          <p:nvPr/>
        </p:nvSpPr>
        <p:spPr>
          <a:xfrm>
            <a:off x="2769820" y="2952222"/>
            <a:ext cx="1159784" cy="630942"/>
          </a:xfrm>
          <a:prstGeom prst="rect">
            <a:avLst/>
          </a:prstGeom>
          <a:noFill/>
        </p:spPr>
        <p:txBody>
          <a:bodyPr wrap="square" lIns="108000" rIns="108000" rtlCol="0">
            <a:spAutoFit/>
          </a:bodyPr>
          <a:lstStyle/>
          <a:p>
            <a:endParaRPr lang="fr-FR" sz="700">
              <a:solidFill>
                <a:srgbClr val="5F5F5F"/>
              </a:solidFill>
              <a:latin typeface="Tahoma"/>
            </a:endParaRPr>
          </a:p>
          <a:p>
            <a:pPr algn="ctr"/>
            <a:r>
              <a:rPr lang="fr-FR" sz="1000" b="1">
                <a:solidFill>
                  <a:srgbClr val="503078"/>
                </a:solidFill>
                <a:latin typeface="Tahoma"/>
              </a:rPr>
              <a:t>VRF Touraine </a:t>
            </a:r>
          </a:p>
          <a:p>
            <a:pPr algn="ctr"/>
            <a:r>
              <a:rPr lang="fr-FR" sz="1050">
                <a:solidFill>
                  <a:srgbClr val="5F5F5F"/>
                </a:solidFill>
                <a:latin typeface="Tahoma"/>
              </a:rPr>
              <a:t>Fondettes (37)</a:t>
            </a:r>
          </a:p>
          <a:p>
            <a:endParaRPr lang="fr-FR" sz="700">
              <a:solidFill>
                <a:srgbClr val="5F5F5F"/>
              </a:solidFill>
              <a:latin typeface="Tahoma"/>
            </a:endParaRPr>
          </a:p>
        </p:txBody>
      </p:sp>
      <p:sp>
        <p:nvSpPr>
          <p:cNvPr id="36" name="ZoneTexte 35">
            <a:extLst>
              <a:ext uri="{FF2B5EF4-FFF2-40B4-BE49-F238E27FC236}">
                <a16:creationId xmlns:a16="http://schemas.microsoft.com/office/drawing/2014/main" id="{05A3082B-6B6A-41BD-BDDB-1584A1E755FB}"/>
              </a:ext>
            </a:extLst>
          </p:cNvPr>
          <p:cNvSpPr txBox="1"/>
          <p:nvPr/>
        </p:nvSpPr>
        <p:spPr>
          <a:xfrm>
            <a:off x="3816666" y="4011045"/>
            <a:ext cx="979749" cy="923330"/>
          </a:xfrm>
          <a:prstGeom prst="rect">
            <a:avLst/>
          </a:prstGeom>
          <a:noFill/>
        </p:spPr>
        <p:txBody>
          <a:bodyPr wrap="square" lIns="108000" tIns="45720" rIns="108000" bIns="45720" rtlCol="0" anchor="t">
            <a:spAutoFit/>
          </a:bodyPr>
          <a:lstStyle/>
          <a:p>
            <a:endParaRPr lang="fr-FR" sz="700">
              <a:solidFill>
                <a:srgbClr val="5F5F5F"/>
              </a:solidFill>
              <a:latin typeface="Tahoma"/>
            </a:endParaRPr>
          </a:p>
          <a:p>
            <a:pPr algn="ctr"/>
            <a:r>
              <a:rPr lang="fr-FR" sz="1000" b="1">
                <a:solidFill>
                  <a:srgbClr val="5F5F5F">
                    <a:lumMod val="50000"/>
                  </a:srgbClr>
                </a:solidFill>
                <a:latin typeface="Tahoma"/>
              </a:rPr>
              <a:t>Les Bruyères </a:t>
            </a:r>
            <a:endParaRPr lang="fr-FR" sz="1000" b="1">
              <a:solidFill>
                <a:srgbClr val="5F5F5F">
                  <a:lumMod val="50000"/>
                </a:srgbClr>
              </a:solidFill>
              <a:latin typeface="Tahoma"/>
              <a:ea typeface="Tahoma"/>
              <a:cs typeface="Tahoma"/>
            </a:endParaRPr>
          </a:p>
          <a:p>
            <a:pPr algn="ctr"/>
            <a:r>
              <a:rPr lang="fr-FR" sz="1000">
                <a:solidFill>
                  <a:srgbClr val="5F5F5F"/>
                </a:solidFill>
                <a:latin typeface="Tahoma"/>
              </a:rPr>
              <a:t>Brugheas (03)</a:t>
            </a:r>
          </a:p>
          <a:p>
            <a:endParaRPr lang="fr-FR" sz="700">
              <a:solidFill>
                <a:srgbClr val="5F5F5F"/>
              </a:solidFill>
              <a:latin typeface="Tahoma"/>
            </a:endParaRPr>
          </a:p>
        </p:txBody>
      </p:sp>
      <p:pic>
        <p:nvPicPr>
          <p:cNvPr id="37" name="Location-White-Background">
            <a:extLst>
              <a:ext uri="{FF2B5EF4-FFF2-40B4-BE49-F238E27FC236}">
                <a16:creationId xmlns:a16="http://schemas.microsoft.com/office/drawing/2014/main" id="{572AE395-E794-4B7A-A6BF-0CEBD814B78E}"/>
              </a:ext>
            </a:extLst>
          </p:cNvPr>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4125722" y="3874920"/>
            <a:ext cx="346346" cy="339034"/>
          </a:xfrm>
          <a:prstGeom prst="rect">
            <a:avLst/>
          </a:prstGeom>
        </p:spPr>
      </p:pic>
      <p:sp>
        <p:nvSpPr>
          <p:cNvPr id="38" name="ZoneTexte 37">
            <a:extLst>
              <a:ext uri="{FF2B5EF4-FFF2-40B4-BE49-F238E27FC236}">
                <a16:creationId xmlns:a16="http://schemas.microsoft.com/office/drawing/2014/main" id="{BADF68ED-6423-417B-A95F-273A0F00C5D4}"/>
              </a:ext>
            </a:extLst>
          </p:cNvPr>
          <p:cNvSpPr txBox="1"/>
          <p:nvPr/>
        </p:nvSpPr>
        <p:spPr>
          <a:xfrm>
            <a:off x="2214106" y="4989679"/>
            <a:ext cx="1238433" cy="615553"/>
          </a:xfrm>
          <a:prstGeom prst="rect">
            <a:avLst/>
          </a:prstGeom>
          <a:noFill/>
        </p:spPr>
        <p:txBody>
          <a:bodyPr wrap="square" lIns="108000" rIns="108000" rtlCol="0">
            <a:spAutoFit/>
          </a:bodyPr>
          <a:lstStyle/>
          <a:p>
            <a:endParaRPr lang="fr-FR" sz="700">
              <a:solidFill>
                <a:srgbClr val="5F5F5F"/>
              </a:solidFill>
              <a:latin typeface="Tahoma"/>
            </a:endParaRPr>
          </a:p>
          <a:p>
            <a:pPr algn="ctr"/>
            <a:r>
              <a:rPr lang="fr-FR" sz="1000" b="1">
                <a:solidFill>
                  <a:srgbClr val="B24669"/>
                </a:solidFill>
                <a:latin typeface="Tahoma"/>
              </a:rPr>
              <a:t>Centre de répit</a:t>
            </a:r>
          </a:p>
          <a:p>
            <a:pPr algn="ctr"/>
            <a:r>
              <a:rPr lang="fr-FR" sz="1000">
                <a:solidFill>
                  <a:srgbClr val="5F5F5F"/>
                </a:solidFill>
                <a:latin typeface="Tahoma"/>
              </a:rPr>
              <a:t>Laruns (64)</a:t>
            </a:r>
          </a:p>
          <a:p>
            <a:endParaRPr lang="fr-FR" sz="700">
              <a:solidFill>
                <a:srgbClr val="5F5F5F"/>
              </a:solidFill>
              <a:latin typeface="Tahoma"/>
            </a:endParaRPr>
          </a:p>
        </p:txBody>
      </p:sp>
      <p:sp>
        <p:nvSpPr>
          <p:cNvPr id="40" name="ZoneTexte 39">
            <a:extLst>
              <a:ext uri="{FF2B5EF4-FFF2-40B4-BE49-F238E27FC236}">
                <a16:creationId xmlns:a16="http://schemas.microsoft.com/office/drawing/2014/main" id="{388F6665-8687-4AF5-BE75-2A931ABC5BF1}"/>
              </a:ext>
            </a:extLst>
          </p:cNvPr>
          <p:cNvSpPr txBox="1"/>
          <p:nvPr/>
        </p:nvSpPr>
        <p:spPr>
          <a:xfrm>
            <a:off x="4232485" y="3217041"/>
            <a:ext cx="1054638" cy="615553"/>
          </a:xfrm>
          <a:prstGeom prst="rect">
            <a:avLst/>
          </a:prstGeom>
          <a:noFill/>
        </p:spPr>
        <p:txBody>
          <a:bodyPr wrap="square" lIns="108000" rIns="108000" rtlCol="0">
            <a:spAutoFit/>
          </a:bodyPr>
          <a:lstStyle/>
          <a:p>
            <a:endParaRPr lang="fr-FR" sz="700">
              <a:solidFill>
                <a:srgbClr val="5F5F5F"/>
              </a:solidFill>
              <a:latin typeface="Tahoma"/>
            </a:endParaRPr>
          </a:p>
          <a:p>
            <a:pPr algn="ctr"/>
            <a:r>
              <a:rPr lang="fr-FR" sz="1000" b="1">
                <a:solidFill>
                  <a:srgbClr val="B24669"/>
                </a:solidFill>
                <a:latin typeface="Tahoma"/>
              </a:rPr>
              <a:t>VRF</a:t>
            </a:r>
            <a:r>
              <a:rPr lang="fr-FR" sz="1000" b="1">
                <a:solidFill>
                  <a:srgbClr val="667E76"/>
                </a:solidFill>
                <a:latin typeface="Tahoma"/>
              </a:rPr>
              <a:t> </a:t>
            </a:r>
            <a:r>
              <a:rPr lang="fr-FR" sz="1000" b="1" kern="0">
                <a:solidFill>
                  <a:srgbClr val="B24669"/>
                </a:solidFill>
                <a:latin typeface="Tahoma"/>
              </a:rPr>
              <a:t>Mardor</a:t>
            </a:r>
          </a:p>
          <a:p>
            <a:pPr algn="ctr"/>
            <a:r>
              <a:rPr lang="fr-FR" sz="1000">
                <a:solidFill>
                  <a:srgbClr val="5F5F5F"/>
                </a:solidFill>
                <a:latin typeface="Tahoma"/>
              </a:rPr>
              <a:t>Couches (71)</a:t>
            </a:r>
          </a:p>
          <a:p>
            <a:endParaRPr lang="fr-FR" sz="700">
              <a:solidFill>
                <a:srgbClr val="5F5F5F"/>
              </a:solidFill>
              <a:latin typeface="Tahoma"/>
            </a:endParaRPr>
          </a:p>
        </p:txBody>
      </p:sp>
      <p:sp>
        <p:nvSpPr>
          <p:cNvPr id="42" name="ZoneTexte 41">
            <a:extLst>
              <a:ext uri="{FF2B5EF4-FFF2-40B4-BE49-F238E27FC236}">
                <a16:creationId xmlns:a16="http://schemas.microsoft.com/office/drawing/2014/main" id="{D5C40038-C9DB-4B9D-8DF1-6D0B6798D2EE}"/>
              </a:ext>
            </a:extLst>
          </p:cNvPr>
          <p:cNvSpPr txBox="1"/>
          <p:nvPr/>
        </p:nvSpPr>
        <p:spPr>
          <a:xfrm>
            <a:off x="1401947" y="818815"/>
            <a:ext cx="9345534" cy="430887"/>
          </a:xfrm>
          <a:prstGeom prst="rect">
            <a:avLst/>
          </a:prstGeom>
          <a:solidFill>
            <a:schemeClr val="bg2"/>
          </a:solidFill>
        </p:spPr>
        <p:txBody>
          <a:bodyPr wrap="square" lIns="108000" rIns="108000" rtlCol="0">
            <a:spAutoFit/>
          </a:bodyPr>
          <a:lstStyle/>
          <a:p>
            <a:r>
              <a:rPr lang="fr-FR" sz="1100" b="1">
                <a:solidFill>
                  <a:srgbClr val="FFFFFF"/>
                </a:solidFill>
                <a:latin typeface="Tahoma"/>
              </a:rPr>
              <a:t>Cette étude s’intéresse en particulier aux centres de répit, comme structure dédiée permettant d’accueillir des séjours de répit aidants / aidés au sein d’une offre hybride, à la fois touristique et médicosociale. </a:t>
            </a:r>
          </a:p>
        </p:txBody>
      </p:sp>
      <p:pic>
        <p:nvPicPr>
          <p:cNvPr id="46" name="Location-White-Background">
            <a:extLst>
              <a:ext uri="{FF2B5EF4-FFF2-40B4-BE49-F238E27FC236}">
                <a16:creationId xmlns:a16="http://schemas.microsoft.com/office/drawing/2014/main" id="{837EB252-7672-4590-9026-F81040DE2610}"/>
              </a:ext>
            </a:extLst>
          </p:cNvPr>
          <p:cNvPicPr>
            <a:picLocks noChangeAspect="1"/>
          </p:cNvPicPr>
          <p:nvPr/>
        </p:nvPicPr>
        <p:blipFill>
          <a:blip r:embed="rId3" cstate="print">
            <a:duotone>
              <a:srgbClr val="B24669">
                <a:shade val="45000"/>
                <a:satMod val="135000"/>
              </a:srgbClr>
              <a:prstClr val="white"/>
            </a:duotone>
            <a:extLst>
              <a:ext uri="{BEBA8EAE-BF5A-486C-A8C5-ECC9F3942E4B}">
                <a14:imgProps xmlns:a14="http://schemas.microsoft.com/office/drawing/2010/main">
                  <a14:imgLayer r:embed="rId4">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4521987" y="3609740"/>
            <a:ext cx="346346" cy="339034"/>
          </a:xfrm>
          <a:prstGeom prst="rect">
            <a:avLst/>
          </a:prstGeom>
        </p:spPr>
      </p:pic>
      <p:pic>
        <p:nvPicPr>
          <p:cNvPr id="47" name="Location-White-Background">
            <a:extLst>
              <a:ext uri="{FF2B5EF4-FFF2-40B4-BE49-F238E27FC236}">
                <a16:creationId xmlns:a16="http://schemas.microsoft.com/office/drawing/2014/main" id="{7A1D713A-513E-4465-BA42-CB676C0E4117}"/>
              </a:ext>
            </a:extLst>
          </p:cNvPr>
          <p:cNvPicPr>
            <a:picLocks noChangeAspect="1"/>
          </p:cNvPicPr>
          <p:nvPr/>
        </p:nvPicPr>
        <p:blipFill>
          <a:blip r:embed="rId3" cstate="print">
            <a:duotone>
              <a:srgbClr val="B24669">
                <a:shade val="45000"/>
                <a:satMod val="135000"/>
              </a:srgbClr>
              <a:prstClr val="white"/>
            </a:duotone>
            <a:extLst>
              <a:ext uri="{BEBA8EAE-BF5A-486C-A8C5-ECC9F3942E4B}">
                <a14:imgProps xmlns:a14="http://schemas.microsoft.com/office/drawing/2010/main">
                  <a14:imgLayer r:embed="rId4">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2622462" y="5409821"/>
            <a:ext cx="346346" cy="339034"/>
          </a:xfrm>
          <a:prstGeom prst="rect">
            <a:avLst/>
          </a:prstGeom>
        </p:spPr>
      </p:pic>
      <p:pic>
        <p:nvPicPr>
          <p:cNvPr id="48" name="Location-White-Background">
            <a:extLst>
              <a:ext uri="{FF2B5EF4-FFF2-40B4-BE49-F238E27FC236}">
                <a16:creationId xmlns:a16="http://schemas.microsoft.com/office/drawing/2014/main" id="{30EC51AC-0AF9-400B-9A77-3B5B6E713624}"/>
              </a:ext>
            </a:extLst>
          </p:cNvPr>
          <p:cNvPicPr>
            <a:picLocks noChangeAspect="1"/>
          </p:cNvPicPr>
          <p:nvPr/>
        </p:nvPicPr>
        <p:blipFill>
          <a:blip r:embed="rId3" cstate="print">
            <a:extLst>
              <a:ext uri="{BEBA8EAE-BF5A-486C-A8C5-ECC9F3942E4B}">
                <a14:imgProps xmlns:a14="http://schemas.microsoft.com/office/drawing/2010/main">
                  <a14:imgLayer r:embed="rId4">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1126335" y="6130678"/>
            <a:ext cx="346346" cy="339034"/>
          </a:xfrm>
          <a:prstGeom prst="rect">
            <a:avLst/>
          </a:prstGeom>
        </p:spPr>
      </p:pic>
      <p:pic>
        <p:nvPicPr>
          <p:cNvPr id="49" name="Location-White-Background">
            <a:extLst>
              <a:ext uri="{FF2B5EF4-FFF2-40B4-BE49-F238E27FC236}">
                <a16:creationId xmlns:a16="http://schemas.microsoft.com/office/drawing/2014/main" id="{484EC89F-7236-4FBC-A634-88F1B934E441}"/>
              </a:ext>
            </a:extLst>
          </p:cNvPr>
          <p:cNvPicPr>
            <a:picLocks noChangeAspect="1"/>
          </p:cNvPicPr>
          <p:nvPr/>
        </p:nvPicPr>
        <p:blipFill>
          <a:blip r:embed="rId3" cstate="print">
            <a:duotone>
              <a:srgbClr val="B24669">
                <a:shade val="45000"/>
                <a:satMod val="135000"/>
              </a:srgbClr>
              <a:prstClr val="white"/>
            </a:duotone>
            <a:extLst>
              <a:ext uri="{BEBA8EAE-BF5A-486C-A8C5-ECC9F3942E4B}">
                <a14:imgProps xmlns:a14="http://schemas.microsoft.com/office/drawing/2010/main">
                  <a14:imgLayer r:embed="rId4">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1126335" y="6346133"/>
            <a:ext cx="346346" cy="339034"/>
          </a:xfrm>
          <a:prstGeom prst="rect">
            <a:avLst/>
          </a:prstGeom>
        </p:spPr>
      </p:pic>
      <p:pic>
        <p:nvPicPr>
          <p:cNvPr id="50" name="Location-White-Background">
            <a:extLst>
              <a:ext uri="{FF2B5EF4-FFF2-40B4-BE49-F238E27FC236}">
                <a16:creationId xmlns:a16="http://schemas.microsoft.com/office/drawing/2014/main" id="{F94D82DC-76BF-434A-AE4D-60E46FDCEC2C}"/>
              </a:ext>
            </a:extLst>
          </p:cNvPr>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ackgroundRemoval t="10000" b="90000" l="10000" r="90000">
                        <a14:foregroundMark x1="54615" y1="25000" x2="54615" y2="25000"/>
                        <a14:foregroundMark x1="48077" y1="44615" x2="48077" y2="44615"/>
                      </a14:backgroundRemoval>
                    </a14:imgEffect>
                  </a14:imgLayer>
                </a14:imgProps>
              </a:ext>
              <a:ext uri="{28A0092B-C50C-407E-A947-70E740481C1C}">
                <a14:useLocalDpi xmlns:a14="http://schemas.microsoft.com/office/drawing/2010/main" val="0"/>
              </a:ext>
            </a:extLst>
          </a:blip>
          <a:stretch>
            <a:fillRect/>
          </a:stretch>
        </p:blipFill>
        <p:spPr>
          <a:xfrm>
            <a:off x="1126335" y="6557964"/>
            <a:ext cx="346346" cy="339034"/>
          </a:xfrm>
          <a:prstGeom prst="rect">
            <a:avLst/>
          </a:prstGeom>
        </p:spPr>
      </p:pic>
      <p:sp>
        <p:nvSpPr>
          <p:cNvPr id="52" name="ZoneTexte 51">
            <a:extLst>
              <a:ext uri="{FF2B5EF4-FFF2-40B4-BE49-F238E27FC236}">
                <a16:creationId xmlns:a16="http://schemas.microsoft.com/office/drawing/2014/main" id="{AEDE3FB8-2EA2-42D3-80C8-33C759B80892}"/>
              </a:ext>
            </a:extLst>
          </p:cNvPr>
          <p:cNvSpPr txBox="1"/>
          <p:nvPr/>
        </p:nvSpPr>
        <p:spPr>
          <a:xfrm>
            <a:off x="1329664" y="6180531"/>
            <a:ext cx="1747876" cy="230832"/>
          </a:xfrm>
          <a:prstGeom prst="rect">
            <a:avLst/>
          </a:prstGeom>
          <a:noFill/>
        </p:spPr>
        <p:txBody>
          <a:bodyPr wrap="square">
            <a:spAutoFit/>
          </a:bodyPr>
          <a:lstStyle/>
          <a:p>
            <a:pPr>
              <a:defRPr/>
            </a:pPr>
            <a:r>
              <a:rPr lang="fr-FR" sz="900" b="1">
                <a:solidFill>
                  <a:srgbClr val="503078"/>
                </a:solidFill>
                <a:latin typeface="Tahoma"/>
              </a:rPr>
              <a:t>Structures existantes</a:t>
            </a:r>
          </a:p>
        </p:txBody>
      </p:sp>
      <p:sp>
        <p:nvSpPr>
          <p:cNvPr id="56" name="ZoneTexte 55">
            <a:extLst>
              <a:ext uri="{FF2B5EF4-FFF2-40B4-BE49-F238E27FC236}">
                <a16:creationId xmlns:a16="http://schemas.microsoft.com/office/drawing/2014/main" id="{8106CD54-2962-4F98-B3CC-53DFB4A08EBA}"/>
              </a:ext>
            </a:extLst>
          </p:cNvPr>
          <p:cNvSpPr txBox="1"/>
          <p:nvPr/>
        </p:nvSpPr>
        <p:spPr>
          <a:xfrm>
            <a:off x="1346304" y="6392722"/>
            <a:ext cx="2197681" cy="230832"/>
          </a:xfrm>
          <a:prstGeom prst="rect">
            <a:avLst/>
          </a:prstGeom>
          <a:noFill/>
        </p:spPr>
        <p:txBody>
          <a:bodyPr wrap="square">
            <a:spAutoFit/>
          </a:bodyPr>
          <a:lstStyle/>
          <a:p>
            <a:pPr>
              <a:defRPr/>
            </a:pPr>
            <a:r>
              <a:rPr lang="fr-FR" sz="900" b="1">
                <a:solidFill>
                  <a:srgbClr val="B24669"/>
                </a:solidFill>
                <a:latin typeface="Tahoma"/>
              </a:rPr>
              <a:t>Projets en cours de création</a:t>
            </a:r>
          </a:p>
        </p:txBody>
      </p:sp>
    </p:spTree>
    <p:extLst>
      <p:ext uri="{BB962C8B-B14F-4D97-AF65-F5344CB8AC3E}">
        <p14:creationId xmlns:p14="http://schemas.microsoft.com/office/powerpoint/2010/main" val="16398115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Purple number with Left arrow&quot; Source=&quot;Purple number with Left arrow&quot; /&gt;"/>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2 [0] [2]&quot; Source=&quot;Purple number with Left arrow&quot; /&gt;"/>
</p:tagLst>
</file>

<file path=ppt/tags/tag10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6de9aa35-7530-4c38-abdc-8f83471eb69c&quot; /&gt;"/>
  <p:tag name="SP_POWERSHAPE" val="&lt;PowerShapeTag ClassVersion=&quot;0&quot; GUID=&quot;71da3d78-6bbb-4a04-aa10-eed5d4402fae&quot; IsConsolidated=&quot;False&quot; IsTopLevel=&quot;False&quot; Layer=&quot;4/5 [4]&quot; Source=&quot;Thermometer 5&quot; /&gt;"/>
</p:tagLst>
</file>

<file path=ppt/tags/tag10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6de9aa35-7530-4c38-abdc-8f83471eb69c&quot; /&gt;"/>
  <p:tag name="SP_POWERSHAPE" val="&lt;PowerShapeTag ClassVersion=&quot;0&quot; GUID=&quot;71da3d78-6bbb-4a04-aa10-eed5d4402fae&quot; IsConsolidated=&quot;False&quot; IsTopLevel=&quot;False&quot; Layer=&quot;5/5 [5]&quot; Source=&quot;Thermometer 5&quot; /&gt;"/>
</p:tagLst>
</file>

<file path=ppt/tags/tag10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0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0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0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Isosceles Triangle 140 [0] [3]&quot; Source=&quot;Purple number with Left arrow&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1 [0] [3]&quot; Source=&quot;Purple number with Left arrow&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5b5079d0-0d66-4986-9ad9-c4c635f60551&quot; IsConsolidated=&quot;False&quot; IsTopLevel=&quot;True&quot; Layer=&quot;Group 10&quot; Source=&quot;Group 10&quot; /&gt;"/>
</p:tagLst>
</file>

<file path=ppt/tags/tag1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5b5079d0-0d66-4986-9ad9-c4c635f60551&quot; IsConsolidated=&quot;False&quot; IsTopLevel=&quot;False&quot; Layer=&quot;Graphic 2 [3]&quot; Source=&quot;Group 10&quot; /&gt;"/>
</p:tagLst>
</file>

<file path=ppt/tags/tag1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5b5079d0-0d66-4986-9ad9-c4c635f60551&quot; IsConsolidated=&quot;False&quot; IsTopLevel=&quot;False&quot; Layer=&quot;Graphic 7 [1]&quot; Source=&quot;Group 10&quot; /&gt;"/>
</p:tagLst>
</file>

<file path=ppt/tags/tag1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5b5079d0-0d66-4986-9ad9-c4c635f60551&quot; IsConsolidated=&quot;False&quot; IsTopLevel=&quot;False&quot; Layer=&quot;Graphic 9 [0]&quot; Source=&quot;Group 10&quot; /&gt;"/>
</p:tagLst>
</file>

<file path=ppt/tags/tag127.xml><?xml version="1.0" encoding="utf-8"?>
<p:tagLst xmlns:a="http://schemas.openxmlformats.org/drawingml/2006/main" xmlns:r="http://schemas.openxmlformats.org/officeDocument/2006/relationships" xmlns:p="http://schemas.openxmlformats.org/presentationml/2006/main">
  <p:tag name="TEMPLAFYSLIDEID" val="637153703449477660"/>
</p:tagLst>
</file>

<file path=ppt/tags/tag1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b99fc29c-330e-45b9-9c72-1795375d8a83&quot; IsConsolidated=&quot;False&quot; IsTopLevel=&quot;True&quot; Layer=&quot;Group 15&quot; Source=&quot;Group 15&quot; /&gt;"/>
</p:tagLst>
</file>

<file path=ppt/tags/tag1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b99fc29c-330e-45b9-9c72-1795375d8a83&quot; IsConsolidated=&quot;False&quot; IsTopLevel=&quot;False&quot; Layer=&quot;Graphic 2 [2]&quot; Source=&quot;Group 15&quot; /&gt;"/>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2 [0] [3]&quot; Source=&quot;Purple number with Left arrow&quot; /&gt;"/>
</p:tagLst>
</file>

<file path=ppt/tags/tag1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b99fc29c-330e-45b9-9c72-1795375d8a83&quot; IsConsolidated=&quot;False&quot; IsTopLevel=&quot;False&quot; Layer=&quot;Graphic 4 [0]&quot; Source=&quot;Group 15&quot; /&gt;"/>
  <p:tag name="TEMPLAFYSLIDEID" val="637696491008280131"/>
</p:tagLst>
</file>

<file path=ppt/tags/tag1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b99fc29c-330e-45b9-9c72-1795375d8a83&quot; IsConsolidated=&quot;False&quot; IsTopLevel=&quot;False&quot; Layer=&quot;Graphic 8 [1]&quot; Source=&quot;Group 15&quot; /&gt;"/>
</p:tagLst>
</file>

<file path=ppt/tags/tag1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b99fc29c-330e-45b9-9c72-1795375d8a83&quot; IsConsolidated=&quot;False&quot; IsTopLevel=&quot;True&quot; Layer=&quot;Group 15&quot; Source=&quot;Group 15&quot; /&gt;"/>
</p:tagLst>
</file>

<file path=ppt/tags/tag1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b99fc29c-330e-45b9-9c72-1795375d8a83&quot; IsConsolidated=&quot;False&quot; IsTopLevel=&quot;False&quot; Layer=&quot;Graphic 2 [2]&quot; Source=&quot;Group 15&quot; /&gt;"/>
</p:tagLst>
</file>

<file path=ppt/tags/tag1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b99fc29c-330e-45b9-9c72-1795375d8a83&quot; IsConsolidated=&quot;False&quot; IsTopLevel=&quot;False&quot; Layer=&quot;Graphic 4 [0]&quot; Source=&quot;Group 15&quot; /&gt;"/>
  <p:tag name="TEMPLAFYSLIDEID" val="637696491008280131"/>
</p:tagLst>
</file>

<file path=ppt/tags/tag1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b99fc29c-330e-45b9-9c72-1795375d8a83&quot; IsConsolidated=&quot;False&quot; IsTopLevel=&quot;False&quot; Layer=&quot;Graphic 8 [1]&quot; Source=&quot;Group 15&quot; /&gt;"/>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kxjr80JyZ0aqiSTAbyd2JQ"/>
  <p:tag name="TEMPLAFYSLIDEID" val="637135679248882772"/>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kxjr80JyZ0aqiSTAbyd2JQ"/>
  <p:tag name="TEMPLAFYSLIDEID" val="637135679248882772"/>
</p:tagLst>
</file>

<file path=ppt/tags/tag138.xml><?xml version="1.0" encoding="utf-8"?>
<p:tagLst xmlns:a="http://schemas.openxmlformats.org/drawingml/2006/main" xmlns:r="http://schemas.openxmlformats.org/officeDocument/2006/relationships" xmlns:p="http://schemas.openxmlformats.org/presentationml/2006/main">
  <p:tag name="TEMPLAFYSLIDEID" val="637153703449477660"/>
</p:tagLst>
</file>

<file path=ppt/tags/tag1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72fba0d1-5c02-4503-acc0-96a1143d0e28&quot; IsConsolidated=&quot;False&quot; IsTopLevel=&quot;True&quot; Layer=&quot;Group 15&quot; Source=&quot;Group 15&quot; /&gt;"/>
</p:tagLst>
</file>

<file path=ppt/tags/tag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Isosceles Triangle 140 [0] [4]&quot; Source=&quot;Purple number with Left arrow&quot; /&gt;"/>
</p:tagLst>
</file>

<file path=ppt/tags/tag1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72fba0d1-5c02-4503-acc0-96a1143d0e28&quot; IsConsolidated=&quot;False&quot; IsTopLevel=&quot;False&quot; Layer=&quot;Graphic 2 [2]&quot; Source=&quot;Group 15&quot; /&gt;"/>
</p:tagLst>
</file>

<file path=ppt/tags/tag1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72fba0d1-5c02-4503-acc0-96a1143d0e28&quot; IsConsolidated=&quot;False&quot; IsTopLevel=&quot;False&quot; Layer=&quot;Graphic 6 [3]&quot; Source=&quot;Group 15&quot; /&gt;"/>
</p:tagLst>
</file>

<file path=ppt/tags/tag1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72fba0d1-5c02-4503-acc0-96a1143d0e28&quot; IsConsolidated=&quot;False&quot; IsTopLevel=&quot;False&quot; Layer=&quot;Graphic 12 [1]&quot; Source=&quot;Group 15&quot; /&gt;"/>
</p:tagLst>
</file>

<file path=ppt/tags/tag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1 [0] [4]&quot; Source=&quot;Purple number with Left arrow&quot; /&gt;"/>
</p:tagLst>
</file>

<file path=ppt/tags/tag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2 [0] [4]&quot; Source=&quot;Purple number with Left arrow&quot; /&gt;"/>
</p:tagLst>
</file>

<file path=ppt/tags/tag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Isosceles Triangle 140 [0] [5]&quot; Source=&quot;Purple number with Left arrow&quot; /&gt;"/>
</p:tagLst>
</file>

<file path=ppt/tags/tag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1 [0] [5]&quot; Source=&quot;Purple number with Left arrow&quot; /&gt;"/>
</p:tagLst>
</file>

<file path=ppt/tags/tag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2 [0] [5]&quot; Source=&quot;Purple number with Left arrow&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Isosceles Triangle 140 [0] [0]&quot; Source=&quot;Purple number with Left arrow&quot; /&gt;"/>
</p:tagLst>
</file>

<file path=ppt/tags/tag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Isosceles Triangle 140 [0] [6]&quot; Source=&quot;Purple number with Left arrow&quot; /&gt;"/>
</p:tagLst>
</file>

<file path=ppt/tags/tag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1 [0] [6]&quot; Source=&quot;Purple number with Left arrow&quot; /&gt;"/>
</p:tagLst>
</file>

<file path=ppt/tags/tag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2 [0] [6]&quot; Source=&quot;Purple number with Left arrow&quot; /&gt;"/>
</p:tagLst>
</file>

<file path=ppt/tags/tag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Isosceles Triangle 140 [0] [7]&quot; Source=&quot;Purple number with Left arrow&quot; /&gt;"/>
</p:tagLst>
</file>

<file path=ppt/tags/tag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1 [0] [7]&quot; Source=&quot;Purple number with Left arrow&quot; /&gt;"/>
</p:tagLst>
</file>

<file path=ppt/tags/tag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2 [0] [7]&quot; Source=&quot;Purple number with Left arrow&quot; /&gt;"/>
</p:tagLst>
</file>

<file path=ppt/tags/tag2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Isosceles Triangle 140 [0] [8]&quot; Source=&quot;Purple number with Left arrow&quot; /&gt;"/>
</p:tagLst>
</file>

<file path=ppt/tags/tag2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1 [0] [8]&quot; Source=&quot;Purple number with Left arrow&quot; /&gt;"/>
</p:tagLst>
</file>

<file path=ppt/tags/tag2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2 [0] [8]&quot; Source=&quot;Purple number with Left arrow&quot; /&gt;"/>
</p:tagLst>
</file>

<file path=ppt/tags/tag2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Isosceles Triangle 140 [0] [9]&quot; Source=&quot;Purple number with Left arrow&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1 [0] [0]&quot; Source=&quot;Purple number with Left arrow&quot; /&gt;"/>
</p:tagLst>
</file>

<file path=ppt/tags/tag3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1 [0] [9]&quot; Source=&quot;Purple number with Left arrow&quot; /&gt;"/>
</p:tagLst>
</file>

<file path=ppt/tags/tag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2 [0] [9]&quot; Source=&quot;Purple number with Left arrow&quot; /&gt;"/>
</p:tagLst>
</file>

<file path=ppt/tags/tag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6de9aa35-7530-4c38-abdc-8f83471eb69c&quot; /&gt;"/>
  <p:tag name="SP_POWERSHAPE" val="&lt;PowerShapeTag ClassVersion=&quot;0&quot; GUID=&quot;71da3d78-6bbb-4a04-aa10-eed5d4402fae&quot; IsConsolidated=&quot;False&quot; IsTopLevel=&quot;False&quot; Layer=&quot;Thermometer 5&quot; Source=&quot;Thermometer 5&quot; /&gt;"/>
</p:tagLst>
</file>

<file path=ppt/tags/tag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quot; Source=&quot;Weather&quot; /&gt;"/>
</p:tagLst>
</file>

<file path=ppt/tags/tag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0eb7950-261f-4638-98c4-05e27e5f6a47&quot; /&gt;"/>
  <p:tag name="SP_POWERSHAPE" val="&lt;PowerShapeTag ClassVersion=&quot;0&quot; GUID=&quot;08160077-344f-41f5-9107-e8ccfacadd2a&quot; IsConsolidated=&quot;False&quot; IsTopLevel=&quot;False&quot; Layer=&quot;Stars 5 levels&quot; Source=&quot;Stars 5 levels&quot; /&gt;"/>
</p:tagLst>
</file>

<file path=ppt/tags/tag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0c0445d-4adc-41fc-8624-0c261aa8f27c&quot; /&gt;"/>
  <p:tag name="SP_POWERSHAPE" val="&lt;PowerShapeTag ClassVersion=&quot;0&quot; GUID=&quot;ca83c7ad-c59f-4af5-b527-5b2b5c85cfa4&quot; IsConsolidated=&quot;False&quot; IsTopLevel=&quot;False&quot; Layer=&quot;Process 5 levels&quot; Source=&quot;Process 5 levels&quot; /&gt;"/>
</p:tagLst>
</file>

<file path=ppt/tags/tag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d262b63-d275-4980-b1d3-19cf52808537&quot; /&gt;"/>
  <p:tag name="SP_POWERSHAPE" val="&lt;PowerShapeTag ClassVersion=&quot;0&quot; GUID=&quot;3a5d7ce2-a82a-4dd4-98db-0c1035d1dd95&quot; IsConsolidated=&quot;False&quot; IsTopLevel=&quot;False&quot; Layer=&quot;Arrow&quot; Source=&quot;Arrow&quot; /&gt;"/>
</p:tagLst>
</file>

<file path=ppt/tags/tag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40c09c49-61af-423a-973f-f64092fa4fef&quot; /&gt;"/>
  <p:tag name="SP_POWERSHAPE" val="&lt;PowerShapeTag ClassVersion=&quot;0&quot; GUID=&quot;cb26b8fe-8e49-472a-8c72-b35077da995b&quot; IsConsolidated=&quot;False&quot; IsTopLevel=&quot;False&quot; Layer=&quot;Turquoise Circle&quot; Source=&quot;Turquoise Circle&quot; /&gt;"/>
</p:tagLst>
</file>

<file path=ppt/tags/tag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40c09c49-61af-423a-973f-f64092fa4fef&quot; /&gt;"/>
  <p:tag name="SP_POWERSHAPE" val="&lt;PowerShapeTag ClassVersion=&quot;0&quot; GUID=&quot;cb26b8fe-8e49-472a-8c72-b35077da995b&quot; IsConsolidated=&quot;False&quot; IsTopLevel=&quot;False&quot; Layer=&quot;Oval 4 [0]&quot; Source=&quot;Turquoise Circle&quot; /&gt;"/>
</p:tagLst>
</file>

<file path=ppt/tags/tag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40c09c49-61af-423a-973f-f64092fa4fef&quot; /&gt;"/>
  <p:tag name="SP_POWERSHAPE" val="&lt;PowerShapeTag ClassVersion=&quot;0&quot; GUID=&quot;cb26b8fe-8e49-472a-8c72-b35077da995b&quot; IsConsolidated=&quot;False&quot; IsTopLevel=&quot;False&quot; Layer=&quot;Oval 5 [1]&quot; Source=&quot;Turquoise Circle&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2 [0] [0]&quot; Source=&quot;Purple number with Left arrow&quot; /&gt;"/>
</p:tagLst>
</file>

<file path=ppt/tags/tag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40c09c49-61af-423a-973f-f64092fa4fef&quot; /&gt;"/>
  <p:tag name="SP_POWERSHAPE" val="&lt;PowerShapeTag ClassVersion=&quot;0&quot; GUID=&quot;cb26b8fe-8e49-472a-8c72-b35077da995b&quot; IsConsolidated=&quot;False&quot; IsTopLevel=&quot;False&quot; Layer=&quot;Oval 6 [2]&quot; Source=&quot;Turquoise Circle&quot; /&gt;"/>
</p:tagLst>
</file>

<file path=ppt/tags/tag4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40c09c49-61af-423a-973f-f64092fa4fef&quot; /&gt;"/>
  <p:tag name="SP_POWERSHAPE" val="&lt;PowerShapeTag ClassVersion=&quot;0&quot; GUID=&quot;cb26b8fe-8e49-472a-8c72-b35077da995b&quot; IsConsolidated=&quot;False&quot; IsTopLevel=&quot;False&quot; Layer=&quot;Oval 7 [3]&quot; Source=&quot;Turquoise Circle&quot; /&gt;"/>
</p:tagLst>
</file>

<file path=ppt/tags/tag4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40c09c49-61af-423a-973f-f64092fa4fef&quot; /&gt;"/>
  <p:tag name="SP_POWERSHAPE" val="&lt;PowerShapeTag ClassVersion=&quot;0&quot; GUID=&quot;cb26b8fe-8e49-472a-8c72-b35077da995b&quot; IsConsolidated=&quot;False&quot; IsTopLevel=&quot;False&quot; Layer=&quot;Oval 8 [4]&quot; Source=&quot;Turquoise Circle&quot; /&gt;"/>
</p:tagLst>
</file>

<file path=ppt/tags/tag4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40c09c49-61af-423a-973f-f64092fa4fef&quot; /&gt;"/>
  <p:tag name="SP_POWERSHAPE" val="&lt;PowerShapeTag ClassVersion=&quot;0&quot; GUID=&quot;cb26b8fe-8e49-472a-8c72-b35077da995b&quot; IsConsolidated=&quot;False&quot; IsTopLevel=&quot;False&quot; Layer=&quot;Oval 10 [5]&quot; Source=&quot;Turquoise Circle&quot; /&gt;"/>
</p:tagLst>
</file>

<file path=ppt/tags/tag4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40c09c49-61af-423a-973f-f64092fa4fef&quot; /&gt;"/>
  <p:tag name="SP_POWERSHAPE" val="&lt;PowerShapeTag ClassVersion=&quot;0&quot; GUID=&quot;cb26b8fe-8e49-472a-8c72-b35077da995b&quot; IsConsolidated=&quot;False&quot; IsTopLevel=&quot;False&quot; Layer=&quot;Oval 11 [6]&quot; Source=&quot;Turquoise Circle&quot; /&gt;"/>
</p:tagLst>
</file>

<file path=ppt/tags/tag4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40c09c49-61af-423a-973f-f64092fa4fef&quot; /&gt;"/>
  <p:tag name="SP_POWERSHAPE" val="&lt;PowerShapeTag ClassVersion=&quot;0&quot; GUID=&quot;cb26b8fe-8e49-472a-8c72-b35077da995b&quot; IsConsolidated=&quot;False&quot; IsTopLevel=&quot;False&quot; Layer=&quot;Oval 12 [7]&quot; Source=&quot;Turquoise Circle&quot; /&gt;"/>
</p:tagLst>
</file>

<file path=ppt/tags/tag4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40c09c49-61af-423a-973f-f64092fa4fef&quot; /&gt;"/>
  <p:tag name="SP_POWERSHAPE" val="&lt;PowerShapeTag ClassVersion=&quot;0&quot; GUID=&quot;cb26b8fe-8e49-472a-8c72-b35077da995b&quot; IsConsolidated=&quot;False&quot; IsTopLevel=&quot;False&quot; Layer=&quot;Oval 13 [8]&quot; Source=&quot;Turquoise Circle&quot; /&gt;"/>
</p:tagLst>
</file>

<file path=ppt/tags/tag4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40c09c49-61af-423a-973f-f64092fa4fef&quot; /&gt;"/>
  <p:tag name="SP_POWERSHAPE" val="&lt;PowerShapeTag ClassVersion=&quot;0&quot; GUID=&quot;cb26b8fe-8e49-472a-8c72-b35077da995b&quot; IsConsolidated=&quot;False&quot; IsTopLevel=&quot;False&quot; Layer=&quot;Oval 14 [9]&quot; Source=&quot;Turquoise Circle&quot; /&gt;"/>
</p:tagLst>
</file>

<file path=ppt/tags/tag4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d262b63-d275-4980-b1d3-19cf52808537&quot; /&gt;"/>
  <p:tag name="SP_POWERSHAPE" val="&lt;PowerShapeTag ClassVersion=&quot;0&quot; GUID=&quot;3a5d7ce2-a82a-4dd4-98db-0c1035d1dd95&quot; IsConsolidated=&quot;False&quot; IsTopLevel=&quot;False&quot; Layer=&quot;Arrow [0]&quot; Source=&quot;Arrow&quot; /&gt;"/>
</p:tagLst>
</file>

<file path=ppt/tags/tag4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d262b63-d275-4980-b1d3-19cf52808537&quot; /&gt;"/>
  <p:tag name="SP_POWERSHAPE" val="&lt;PowerShapeTag ClassVersion=&quot;0&quot; GUID=&quot;3a5d7ce2-a82a-4dd4-98db-0c1035d1dd95&quot; IsConsolidated=&quot;False&quot; IsTopLevel=&quot;False&quot; Layer=&quot;Arrow [1]&quot; Source=&quot;Arrow&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Isosceles Triangle 140 [0] [1]&quot; Source=&quot;Purple number with Left arrow&quot; /&gt;"/>
</p:tagLst>
</file>

<file path=ppt/tags/tag5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d262b63-d275-4980-b1d3-19cf52808537&quot; /&gt;"/>
  <p:tag name="SP_POWERSHAPE" val="&lt;PowerShapeTag ClassVersion=&quot;0&quot; GUID=&quot;3a5d7ce2-a82a-4dd4-98db-0c1035d1dd95&quot; IsConsolidated=&quot;False&quot; IsTopLevel=&quot;False&quot; Layer=&quot;Arrow [2]&quot; Source=&quot;Arrow&quot; /&gt;"/>
</p:tagLst>
</file>

<file path=ppt/tags/tag5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d262b63-d275-4980-b1d3-19cf52808537&quot; /&gt;"/>
  <p:tag name="SP_POWERSHAPE" val="&lt;PowerShapeTag ClassVersion=&quot;0&quot; GUID=&quot;3a5d7ce2-a82a-4dd4-98db-0c1035d1dd95&quot; IsConsolidated=&quot;False&quot; IsTopLevel=&quot;False&quot; Layer=&quot;Arrow [3]&quot; Source=&quot;Arrow&quot; /&gt;"/>
</p:tagLst>
</file>

<file path=ppt/tags/tag5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d262b63-d275-4980-b1d3-19cf52808537&quot; /&gt;"/>
  <p:tag name="SP_POWERSHAPE" val="&lt;PowerShapeTag ClassVersion=&quot;0&quot; GUID=&quot;3a5d7ce2-a82a-4dd4-98db-0c1035d1dd95&quot; IsConsolidated=&quot;False&quot; IsTopLevel=&quot;False&quot; Layer=&quot;Arrow [4]&quot; Source=&quot;Arrow&quot; /&gt;"/>
</p:tagLst>
</file>

<file path=ppt/tags/tag5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d262b63-d275-4980-b1d3-19cf52808537&quot; /&gt;"/>
  <p:tag name="SP_POWERSHAPE" val="&lt;PowerShapeTag ClassVersion=&quot;0&quot; GUID=&quot;3a5d7ce2-a82a-4dd4-98db-0c1035d1dd95&quot; IsConsolidated=&quot;False&quot; IsTopLevel=&quot;False&quot; Layer=&quot;Arrow [5]&quot; Source=&quot;Arrow&quot; /&gt;"/>
</p:tagLst>
</file>

<file path=ppt/tags/tag5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d262b63-d275-4980-b1d3-19cf52808537&quot; /&gt;"/>
  <p:tag name="SP_POWERSHAPE" val="&lt;PowerShapeTag ClassVersion=&quot;0&quot; GUID=&quot;3a5d7ce2-a82a-4dd4-98db-0c1035d1dd95&quot; IsConsolidated=&quot;False&quot; IsTopLevel=&quot;False&quot; Layer=&quot;Arrow [6]&quot; Source=&quot;Arrow&quot; /&gt;"/>
</p:tagLst>
</file>

<file path=ppt/tags/tag5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d262b63-d275-4980-b1d3-19cf52808537&quot; /&gt;"/>
  <p:tag name="SP_POWERSHAPE" val="&lt;PowerShapeTag ClassVersion=&quot;0&quot; GUID=&quot;3a5d7ce2-a82a-4dd4-98db-0c1035d1dd95&quot; IsConsolidated=&quot;False&quot; IsTopLevel=&quot;False&quot; Layer=&quot;Arrow [7]&quot; Source=&quot;Arrow&quot; /&gt;"/>
</p:tagLst>
</file>

<file path=ppt/tags/tag5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0c0445d-4adc-41fc-8624-0c261aa8f27c&quot; /&gt;"/>
  <p:tag name="SP_POWERSHAPE" val="&lt;PowerShapeTag ClassVersion=&quot;0&quot; GUID=&quot;ca83c7ad-c59f-4af5-b527-5b2b5c85cfa4&quot; IsConsolidated=&quot;False&quot; IsTopLevel=&quot;False&quot; Layer=&quot;0/5 [0+]&quot; Source=&quot;Process 5 levels&quot; /&gt;"/>
</p:tagLst>
</file>

<file path=ppt/tags/tag5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0c0445d-4adc-41fc-8624-0c261aa8f27c&quot; /&gt;"/>
  <p:tag name="SP_POWERSHAPE" val="&lt;PowerShapeTag ClassVersion=&quot;0&quot; GUID=&quot;ca83c7ad-c59f-4af5-b527-5b2b5c85cfa4&quot; IsConsolidated=&quot;False&quot; IsTopLevel=&quot;False&quot; Layer=&quot;1/5 [1]&quot; Source=&quot;Process 5 levels&quot; /&gt;"/>
</p:tagLst>
</file>

<file path=ppt/tags/tag5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0c0445d-4adc-41fc-8624-0c261aa8f27c&quot; /&gt;"/>
  <p:tag name="SP_POWERSHAPE" val="&lt;PowerShapeTag ClassVersion=&quot;0&quot; GUID=&quot;ca83c7ad-c59f-4af5-b527-5b2b5c85cfa4&quot; IsConsolidated=&quot;False&quot; IsTopLevel=&quot;False&quot; Layer=&quot;0/5 [0+]&quot; Source=&quot;Process 5 levels&quot; /&gt;"/>
</p:tagLst>
</file>

<file path=ppt/tags/tag5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0c0445d-4adc-41fc-8624-0c261aa8f27c&quot; /&gt;"/>
  <p:tag name="SP_POWERSHAPE" val="&lt;PowerShapeTag ClassVersion=&quot;0&quot; GUID=&quot;ca83c7ad-c59f-4af5-b527-5b2b5c85cfa4&quot; IsConsolidated=&quot;False&quot; IsTopLevel=&quot;False&quot; Layer=&quot;2/5 [2]&quot; Source=&quot;Process 5 levels&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1 [0] [1]&quot; Source=&quot;Purple number with Left arrow&quot; /&gt;"/>
</p:tagLst>
</file>

<file path=ppt/tags/tag6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0c0445d-4adc-41fc-8624-0c261aa8f27c&quot; /&gt;"/>
  <p:tag name="SP_POWERSHAPE" val="&lt;PowerShapeTag ClassVersion=&quot;0&quot; GUID=&quot;ca83c7ad-c59f-4af5-b527-5b2b5c85cfa4&quot; IsConsolidated=&quot;False&quot; IsTopLevel=&quot;False&quot; Layer=&quot;0/5 [0+]&quot; Source=&quot;Process 5 levels&quot; /&gt;"/>
</p:tagLst>
</file>

<file path=ppt/tags/tag6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0c0445d-4adc-41fc-8624-0c261aa8f27c&quot; /&gt;"/>
  <p:tag name="SP_POWERSHAPE" val="&lt;PowerShapeTag ClassVersion=&quot;0&quot; GUID=&quot;ca83c7ad-c59f-4af5-b527-5b2b5c85cfa4&quot; IsConsolidated=&quot;False&quot; IsTopLevel=&quot;False&quot; Layer=&quot;3/5 [3]&quot; Source=&quot;Process 5 levels&quot; /&gt;"/>
</p:tagLst>
</file>

<file path=ppt/tags/tag6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0c0445d-4adc-41fc-8624-0c261aa8f27c&quot; /&gt;"/>
  <p:tag name="SP_POWERSHAPE" val="&lt;PowerShapeTag ClassVersion=&quot;0&quot; GUID=&quot;ca83c7ad-c59f-4af5-b527-5b2b5c85cfa4&quot; IsConsolidated=&quot;False&quot; IsTopLevel=&quot;False&quot; Layer=&quot;0/5 [0+]&quot; Source=&quot;Process 5 levels&quot; /&gt;"/>
</p:tagLst>
</file>

<file path=ppt/tags/tag6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0c0445d-4adc-41fc-8624-0c261aa8f27c&quot; /&gt;"/>
  <p:tag name="SP_POWERSHAPE" val="&lt;PowerShapeTag ClassVersion=&quot;0&quot; GUID=&quot;ca83c7ad-c59f-4af5-b527-5b2b5c85cfa4&quot; IsConsolidated=&quot;False&quot; IsTopLevel=&quot;False&quot; Layer=&quot;4/5 [4]&quot; Source=&quot;Process 5 levels&quot; /&gt;"/>
</p:tagLst>
</file>

<file path=ppt/tags/tag6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0c0445d-4adc-41fc-8624-0c261aa8f27c&quot; /&gt;"/>
  <p:tag name="SP_POWERSHAPE" val="&lt;PowerShapeTag ClassVersion=&quot;0&quot; GUID=&quot;ca83c7ad-c59f-4af5-b527-5b2b5c85cfa4&quot; IsConsolidated=&quot;False&quot; IsTopLevel=&quot;False&quot; Layer=&quot;0/5 [0+]&quot; Source=&quot;Process 5 levels&quot; /&gt;"/>
</p:tagLst>
</file>

<file path=ppt/tags/tag6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0c0445d-4adc-41fc-8624-0c261aa8f27c&quot; /&gt;"/>
  <p:tag name="SP_POWERSHAPE" val="&lt;PowerShapeTag ClassVersion=&quot;0&quot; GUID=&quot;ca83c7ad-c59f-4af5-b527-5b2b5c85cfa4&quot; IsConsolidated=&quot;False&quot; IsTopLevel=&quot;False&quot; Layer=&quot;5/5 [5]&quot; Source=&quot;Process 5 levels&quot; /&gt;"/>
</p:tagLst>
</file>

<file path=ppt/tags/tag6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0eb7950-261f-4638-98c4-05e27e5f6a47&quot; /&gt;"/>
  <p:tag name="SP_POWERSHAPE" val="&lt;PowerShapeTag ClassVersion=&quot;0&quot; GUID=&quot;08160077-344f-41f5-9107-e8ccfacadd2a&quot; IsConsolidated=&quot;False&quot; IsTopLevel=&quot;False&quot; Layer=&quot;0/5 [0+]&quot; Source=&quot;Stars 5 levels&quot; /&gt;"/>
</p:tagLst>
</file>

<file path=ppt/tags/tag6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0eb7950-261f-4638-98c4-05e27e5f6a47&quot; /&gt;"/>
  <p:tag name="SP_POWERSHAPE" val="&lt;PowerShapeTag ClassVersion=&quot;0&quot; GUID=&quot;08160077-344f-41f5-9107-e8ccfacadd2a&quot; IsConsolidated=&quot;False&quot; IsTopLevel=&quot;False&quot; Layer=&quot;1/5 [1+]&quot; Source=&quot;Stars 5 levels&quot; /&gt;"/>
</p:tagLst>
</file>

<file path=ppt/tags/tag6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0eb7950-261f-4638-98c4-05e27e5f6a47&quot; /&gt;"/>
  <p:tag name="SP_POWERSHAPE" val="&lt;PowerShapeTag ClassVersion=&quot;0&quot; GUID=&quot;08160077-344f-41f5-9107-e8ccfacadd2a&quot; IsConsolidated=&quot;False&quot; IsTopLevel=&quot;False&quot; Layer=&quot;0/5 [0+]&quot; Source=&quot;Stars 5 levels&quot; /&gt;"/>
</p:tagLst>
</file>

<file path=ppt/tags/tag6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0eb7950-261f-4638-98c4-05e27e5f6a47&quot; /&gt;"/>
  <p:tag name="SP_POWERSHAPE" val="&lt;PowerShapeTag ClassVersion=&quot;0&quot; GUID=&quot;08160077-344f-41f5-9107-e8ccfacadd2a&quot; IsConsolidated=&quot;False&quot; IsTopLevel=&quot;False&quot; Layer=&quot;2/5 [2+]&quot; Source=&quot;Stars 5 levels&quot; /&gt;"/>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2 [0] [1]&quot; Source=&quot;Purple number with Left arrow&quot; /&gt;"/>
</p:tagLst>
</file>

<file path=ppt/tags/tag7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0eb7950-261f-4638-98c4-05e27e5f6a47&quot; /&gt;"/>
  <p:tag name="SP_POWERSHAPE" val="&lt;PowerShapeTag ClassVersion=&quot;0&quot; GUID=&quot;08160077-344f-41f5-9107-e8ccfacadd2a&quot; IsConsolidated=&quot;False&quot; IsTopLevel=&quot;False&quot; Layer=&quot;0/5 [0+]&quot; Source=&quot;Stars 5 levels&quot; /&gt;"/>
</p:tagLst>
</file>

<file path=ppt/tags/tag7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0eb7950-261f-4638-98c4-05e27e5f6a47&quot; /&gt;"/>
  <p:tag name="SP_POWERSHAPE" val="&lt;PowerShapeTag ClassVersion=&quot;0&quot; GUID=&quot;08160077-344f-41f5-9107-e8ccfacadd2a&quot; IsConsolidated=&quot;False&quot; IsTopLevel=&quot;False&quot; Layer=&quot;3/5 [3+]&quot; Source=&quot;Stars 5 levels&quot; /&gt;"/>
</p:tagLst>
</file>

<file path=ppt/tags/tag7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0eb7950-261f-4638-98c4-05e27e5f6a47&quot; /&gt;"/>
  <p:tag name="SP_POWERSHAPE" val="&lt;PowerShapeTag ClassVersion=&quot;0&quot; GUID=&quot;08160077-344f-41f5-9107-e8ccfacadd2a&quot; IsConsolidated=&quot;False&quot; IsTopLevel=&quot;False&quot; Layer=&quot;0/5 [0+]&quot; Source=&quot;Stars 5 levels&quot; /&gt;"/>
</p:tagLst>
</file>

<file path=ppt/tags/tag7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0eb7950-261f-4638-98c4-05e27e5f6a47&quot; /&gt;"/>
  <p:tag name="SP_POWERSHAPE" val="&lt;PowerShapeTag ClassVersion=&quot;0&quot; GUID=&quot;08160077-344f-41f5-9107-e8ccfacadd2a&quot; IsConsolidated=&quot;False&quot; IsTopLevel=&quot;False&quot; Layer=&quot;4/5 [4+]&quot; Source=&quot;Stars 5 levels&quot; /&gt;"/>
</p:tagLst>
</file>

<file path=ppt/tags/tag7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0eb7950-261f-4638-98c4-05e27e5f6a47&quot; /&gt;"/>
  <p:tag name="SP_POWERSHAPE" val="&lt;PowerShapeTag ClassVersion=&quot;0&quot; GUID=&quot;08160077-344f-41f5-9107-e8ccfacadd2a&quot; IsConsolidated=&quot;False&quot; IsTopLevel=&quot;False&quot; Layer=&quot;0/5 [0+]&quot; Source=&quot;Stars 5 levels&quot; /&gt;"/>
</p:tagLst>
</file>

<file path=ppt/tags/tag7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0eb7950-261f-4638-98c4-05e27e5f6a47&quot; /&gt;"/>
  <p:tag name="SP_POWERSHAPE" val="&lt;PowerShapeTag ClassVersion=&quot;0&quot; GUID=&quot;08160077-344f-41f5-9107-e8ccfacadd2a&quot; IsConsolidated=&quot;False&quot; IsTopLevel=&quot;False&quot; Layer=&quot;5/5 [5+]&quot; Source=&quot;Stars 5 levels&quot; /&gt;"/>
</p:tagLst>
</file>

<file path=ppt/tags/tag7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 [0]&quot; Source=&quot;Weather&quot; /&gt;"/>
</p:tagLst>
</file>

<file path=ppt/tags/tag7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 [0]&quot; Source=&quot;Weather&quot; /&gt;"/>
</p:tagLst>
</file>

<file path=ppt/tags/tag7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 [0]&quot; Source=&quot;Weather&quot; /&gt;"/>
</p:tagLst>
</file>

<file path=ppt/tags/tag7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 [0]&quot; Source=&quot;Weather&quot; /&gt;"/>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Isosceles Triangle 140 [0] [2]&quot; Source=&quot;Purple number with Left arrow&quot; /&gt;"/>
</p:tagLst>
</file>

<file path=ppt/tags/tag8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 [0]&quot; Source=&quot;Weather&quot; /&gt;"/>
</p:tagLst>
</file>

<file path=ppt/tags/tag8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 [0]&quot; Source=&quot;Weather&quot; /&gt;"/>
</p:tagLst>
</file>

<file path=ppt/tags/tag8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 [0]&quot; Source=&quot;Weather&quot; /&gt;"/>
</p:tagLst>
</file>

<file path=ppt/tags/tag8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 [0]&quot; Source=&quot;Weather&quot; /&gt;"/>
</p:tagLst>
</file>

<file path=ppt/tags/tag8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 [0]&quot; Source=&quot;Weather&quot; /&gt;"/>
</p:tagLst>
</file>

<file path=ppt/tags/tag8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 [0]&quot; Source=&quot;Weather&quot; /&gt;"/>
</p:tagLst>
</file>

<file path=ppt/tags/tag8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 [0]&quot; Source=&quot;Weather&quot; /&gt;"/>
</p:tagLst>
</file>

<file path=ppt/tags/tag8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 [0]&quot; Source=&quot;Weather&quot; /&gt;"/>
</p:tagLst>
</file>

<file path=ppt/tags/tag8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 [0]&quot; Source=&quot;Weather&quot; /&gt;"/>
</p:tagLst>
</file>

<file path=ppt/tags/tag8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 [1]&quot; Source=&quot;Weather&quot; /&gt;"/>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caac6b37-38f2-453d-b84b-7217b5313516&quot; /&gt;"/>
  <p:tag name="SP_POWERSHAPE" val="&lt;PowerShapeTag ClassVersion=&quot;0&quot; GUID=&quot;28c65b57-9dff-4b37-b48f-2a95688b7aee&quot; IsConsolidated=&quot;False&quot; IsTopLevel=&quot;False&quot; Layer=&quot;Oval 141 [0] [2]&quot; Source=&quot;Purple number with Left arrow&quot; /&gt;"/>
</p:tagLst>
</file>

<file path=ppt/tags/tag9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 [2]&quot; Source=&quot;Weather&quot; /&gt;"/>
</p:tagLst>
</file>

<file path=ppt/tags/tag9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 [2]&quot; Source=&quot;Weather&quot; /&gt;"/>
</p:tagLst>
</file>

<file path=ppt/tags/tag9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 [2]&quot; Source=&quot;Weather&quot; /&gt;"/>
</p:tagLst>
</file>

<file path=ppt/tags/tag9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 [2]&quot; Source=&quot;Weather&quot; /&gt;"/>
</p:tagLst>
</file>

<file path=ppt/tags/tag9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88a3e1de-4fa1-4b77-8310-60c965f3e4b2&quot; /&gt;"/>
  <p:tag name="SP_POWERSHAPE" val="&lt;PowerShapeTag ClassVersion=&quot;0&quot; GUID=&quot;9e52dcad-4a3f-4850-851e-82ad5f47ef9a&quot; IsConsolidated=&quot;False&quot; IsTopLevel=&quot;False&quot; Layer=&quot;Weather [3]&quot; Source=&quot;Weather&quot; /&gt;"/>
</p:tagLst>
</file>

<file path=ppt/tags/tag9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6de9aa35-7530-4c38-abdc-8f83471eb69c&quot; /&gt;"/>
  <p:tag name="SP_POWERSHAPE" val="&lt;PowerShapeTag ClassVersion=&quot;0&quot; GUID=&quot;71da3d78-6bbb-4a04-aa10-eed5d4402fae&quot; IsConsolidated=&quot;False&quot; IsTopLevel=&quot;False&quot; Layer=&quot;Bg [-1+]&quot; Source=&quot;Thermometer 5&quot; /&gt;"/>
</p:tagLst>
</file>

<file path=ppt/tags/tag9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6de9aa35-7530-4c38-abdc-8f83471eb69c&quot; /&gt;"/>
  <p:tag name="SP_POWERSHAPE" val="&lt;PowerShapeTag ClassVersion=&quot;0&quot; GUID=&quot;71da3d78-6bbb-4a04-aa10-eed5d4402fae&quot; IsConsolidated=&quot;False&quot; IsTopLevel=&quot;False&quot; Layer=&quot;0/5 [0]&quot; Source=&quot;Thermometer 5&quot; /&gt;"/>
</p:tagLst>
</file>

<file path=ppt/tags/tag9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6de9aa35-7530-4c38-abdc-8f83471eb69c&quot; /&gt;"/>
  <p:tag name="SP_POWERSHAPE" val="&lt;PowerShapeTag ClassVersion=&quot;0&quot; GUID=&quot;71da3d78-6bbb-4a04-aa10-eed5d4402fae&quot; IsConsolidated=&quot;False&quot; IsTopLevel=&quot;False&quot; Layer=&quot;1/5 [1]&quot; Source=&quot;Thermometer 5&quot; /&gt;"/>
</p:tagLst>
</file>

<file path=ppt/tags/tag9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6de9aa35-7530-4c38-abdc-8f83471eb69c&quot; /&gt;"/>
  <p:tag name="SP_POWERSHAPE" val="&lt;PowerShapeTag ClassVersion=&quot;0&quot; GUID=&quot;71da3d78-6bbb-4a04-aa10-eed5d4402fae&quot; IsConsolidated=&quot;False&quot; IsTopLevel=&quot;False&quot; Layer=&quot;2/5 [2]&quot; Source=&quot;Thermometer 5&quot; /&gt;"/>
</p:tagLst>
</file>

<file path=ppt/tags/tag9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6de9aa35-7530-4c38-abdc-8f83471eb69c&quot; /&gt;"/>
  <p:tag name="SP_POWERSHAPE" val="&lt;PowerShapeTag ClassVersion=&quot;0&quot; GUID=&quot;71da3d78-6bbb-4a04-aa10-eed5d4402fae&quot; IsConsolidated=&quot;False&quot; IsTopLevel=&quot;False&quot; Layer=&quot;3/5 [3]&quot; Source=&quot;Thermometer 5&quot; /&gt;"/>
</p:tagLst>
</file>

<file path=ppt/theme/theme1.xml><?xml version="1.0" encoding="utf-8"?>
<a:theme xmlns:a="http://schemas.openxmlformats.org/drawingml/2006/main" name="Wavestone">
  <a:themeElements>
    <a:clrScheme name="Wavestone 2">
      <a:dk1>
        <a:srgbClr val="5F5F5F"/>
      </a:dk1>
      <a:lt1>
        <a:srgbClr val="FFFFFF"/>
      </a:lt1>
      <a:dk2>
        <a:srgbClr val="F4F3F0"/>
      </a:dk2>
      <a:lt2>
        <a:srgbClr val="503078"/>
      </a:lt2>
      <a:accent1>
        <a:srgbClr val="8C9B9C"/>
      </a:accent1>
      <a:accent2>
        <a:srgbClr val="CAC5B8"/>
      </a:accent2>
      <a:accent3>
        <a:srgbClr val="667E76"/>
      </a:accent3>
      <a:accent4>
        <a:srgbClr val="938481"/>
      </a:accent4>
      <a:accent5>
        <a:srgbClr val="048B9A"/>
      </a:accent5>
      <a:accent6>
        <a:srgbClr val="D1B4A6"/>
      </a:accent6>
      <a:hlink>
        <a:srgbClr val="048B9A"/>
      </a:hlink>
      <a:folHlink>
        <a:srgbClr val="048B9A"/>
      </a:folHlink>
    </a:clrScheme>
    <a:fontScheme name="Wavestone 2">
      <a:majorFont>
        <a:latin typeface="Tahoma"/>
        <a:ea typeface=""/>
        <a:cs typeface=""/>
      </a:majorFont>
      <a:minorFont>
        <a:latin typeface="Tahom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defRPr dirty="0" smtClean="0">
            <a:solidFill>
              <a:schemeClr val="bg2"/>
            </a:solidFill>
            <a:ea typeface="+mj-ea"/>
            <a:cs typeface="+mj-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rIns="108000" rtlCol="0">
        <a:spAutoFit/>
      </a:bodyPr>
      <a:lstStyle>
        <a:defPPr>
          <a:defRPr sz="1400" dirty="0" smtClean="0"/>
        </a:defPPr>
      </a:lstStyle>
    </a:txDef>
  </a:objectDefaults>
  <a:extraClrSchemeLst/>
  <a:extLst>
    <a:ext uri="{05A4C25C-085E-4340-85A3-A5531E510DB2}">
      <thm15:themeFamily xmlns:thm15="http://schemas.microsoft.com/office/thememl/2012/main" name="DRAFT-FR-A4-Deliverable-201619.potx" id="{7BA29E06-6629-4775-857F-3E88B6CCFC97}" vid="{1B4B9C82-FFEF-400F-B15A-BCDC1ADCF466}"/>
    </a:ext>
  </a:extLst>
</a:theme>
</file>

<file path=ppt/theme/theme2.xml><?xml version="1.0" encoding="utf-8"?>
<a:theme xmlns:a="http://schemas.openxmlformats.org/drawingml/2006/main" name="3-Deliverable-EN-A4-Landscape-201609">
  <a:themeElements>
    <a:clrScheme name="Wavestone 2">
      <a:dk1>
        <a:srgbClr val="5F5F5F"/>
      </a:dk1>
      <a:lt1>
        <a:srgbClr val="FFFFFF"/>
      </a:lt1>
      <a:dk2>
        <a:srgbClr val="F4F3F0"/>
      </a:dk2>
      <a:lt2>
        <a:srgbClr val="503078"/>
      </a:lt2>
      <a:accent1>
        <a:srgbClr val="8C9B9C"/>
      </a:accent1>
      <a:accent2>
        <a:srgbClr val="CAC5B8"/>
      </a:accent2>
      <a:accent3>
        <a:srgbClr val="667E76"/>
      </a:accent3>
      <a:accent4>
        <a:srgbClr val="938481"/>
      </a:accent4>
      <a:accent5>
        <a:srgbClr val="048B9A"/>
      </a:accent5>
      <a:accent6>
        <a:srgbClr val="D1B4A6"/>
      </a:accent6>
      <a:hlink>
        <a:srgbClr val="048B9A"/>
      </a:hlink>
      <a:folHlink>
        <a:srgbClr val="048B9A"/>
      </a:folHlink>
    </a:clrScheme>
    <a:fontScheme name="Wavestone 2">
      <a:majorFont>
        <a:latin typeface="Tahoma"/>
        <a:ea typeface=""/>
        <a:cs typeface=""/>
      </a:majorFont>
      <a:minorFont>
        <a:latin typeface="Tahom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defRPr dirty="0" smtClean="0">
            <a:solidFill>
              <a:schemeClr val="bg2"/>
            </a:solidFill>
            <a:ea typeface="+mj-ea"/>
            <a:cs typeface="+mj-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rIns="108000" rtlCol="0">
        <a:spAutoFit/>
      </a:bodyPr>
      <a:lstStyle>
        <a:defPPr>
          <a:defRPr sz="1400" dirty="0" smtClean="0"/>
        </a:defPPr>
      </a:lstStyle>
    </a:txDef>
  </a:objectDefaults>
  <a:extraClrSchemeLst/>
  <a:extLst>
    <a:ext uri="{05A4C25C-085E-4340-85A3-A5531E510DB2}">
      <thm15:themeFamily xmlns:thm15="http://schemas.microsoft.com/office/thememl/2012/main" name="Corporate overview_A4_EN_201610.pptx" id="{49288E10-31FC-4A31-99AF-78486081ACD7}" vid="{43D82146-9EB5-4F45-AD46-13A9D5153583}"/>
    </a:ext>
  </a:extLst>
</a:theme>
</file>

<file path=ppt/theme/theme3.xml><?xml version="1.0" encoding="utf-8"?>
<a:theme xmlns:a="http://schemas.openxmlformats.org/drawingml/2006/main" name="1_Livrable-FR-A4-Paysage-201609">
  <a:themeElements>
    <a:clrScheme name="Wavestone 2">
      <a:dk1>
        <a:srgbClr val="5F5F5F"/>
      </a:dk1>
      <a:lt1>
        <a:srgbClr val="FFFFFF"/>
      </a:lt1>
      <a:dk2>
        <a:srgbClr val="F4F3F0"/>
      </a:dk2>
      <a:lt2>
        <a:srgbClr val="503078"/>
      </a:lt2>
      <a:accent1>
        <a:srgbClr val="8C9B9C"/>
      </a:accent1>
      <a:accent2>
        <a:srgbClr val="CAC5B8"/>
      </a:accent2>
      <a:accent3>
        <a:srgbClr val="667E76"/>
      </a:accent3>
      <a:accent4>
        <a:srgbClr val="938481"/>
      </a:accent4>
      <a:accent5>
        <a:srgbClr val="048B9A"/>
      </a:accent5>
      <a:accent6>
        <a:srgbClr val="D1B4A6"/>
      </a:accent6>
      <a:hlink>
        <a:srgbClr val="048B9A"/>
      </a:hlink>
      <a:folHlink>
        <a:srgbClr val="048B9A"/>
      </a:folHlink>
    </a:clrScheme>
    <a:fontScheme name="Wavestone 2">
      <a:majorFont>
        <a:latin typeface="Tahoma"/>
        <a:ea typeface=""/>
        <a:cs typeface=""/>
      </a:majorFont>
      <a:minorFont>
        <a:latin typeface="Tahom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defRPr dirty="0" smtClean="0">
            <a:solidFill>
              <a:schemeClr val="bg2"/>
            </a:solidFill>
            <a:ea typeface="+mj-ea"/>
            <a:cs typeface="+mj-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rIns="108000" rtlCol="0">
        <a:spAutoFit/>
      </a:bodyPr>
      <a:lstStyle>
        <a:defPPr>
          <a:defRPr sz="1400" dirty="0" smtClean="0"/>
        </a:defPPr>
      </a:lstStyle>
    </a:txDef>
  </a:objectDefaults>
  <a:extraClrSchemeLst/>
  <a:extLst>
    <a:ext uri="{05A4C25C-085E-4340-85A3-A5531E510DB2}">
      <thm15:themeFamily xmlns:thm15="http://schemas.microsoft.com/office/thememl/2012/main" name="A4-FR-Livrable-Paysage-201707" id="{6AE3F238-0C54-4209-B33E-BD58D328EDF9}" vid="{1B71BB92-726E-4B01-B7D2-9F6718007BB8}"/>
    </a:ext>
  </a:extLst>
</a:theme>
</file>

<file path=ppt/theme/theme4.xml><?xml version="1.0" encoding="utf-8"?>
<a:theme xmlns:a="http://schemas.openxmlformats.org/drawingml/2006/main" name="1_Deliverable-EN-A4-Landscape-201910">
  <a:themeElements>
    <a:clrScheme name="Wavestone">
      <a:dk1>
        <a:srgbClr val="5F5F5F"/>
      </a:dk1>
      <a:lt1>
        <a:srgbClr val="FFFFFF"/>
      </a:lt1>
      <a:dk2>
        <a:srgbClr val="F6F6F6"/>
      </a:dk2>
      <a:lt2>
        <a:srgbClr val="503078"/>
      </a:lt2>
      <a:accent1>
        <a:srgbClr val="546B8C"/>
      </a:accent1>
      <a:accent2>
        <a:srgbClr val="B0ADCC"/>
      </a:accent2>
      <a:accent3>
        <a:srgbClr val="CCADC7"/>
      </a:accent3>
      <a:accent4>
        <a:srgbClr val="B24669"/>
      </a:accent4>
      <a:accent5>
        <a:srgbClr val="FF6363"/>
      </a:accent5>
      <a:accent6>
        <a:srgbClr val="21A6A6"/>
      </a:accent6>
      <a:hlink>
        <a:srgbClr val="503078"/>
      </a:hlink>
      <a:folHlink>
        <a:srgbClr val="503078"/>
      </a:folHlink>
    </a:clrScheme>
    <a:fontScheme name="Wavestone 2">
      <a:majorFont>
        <a:latin typeface="Tahoma"/>
        <a:ea typeface=""/>
        <a:cs typeface=""/>
      </a:majorFont>
      <a:minorFont>
        <a:latin typeface="Tahom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defRPr dirty="0" smtClean="0">
            <a:solidFill>
              <a:schemeClr val="bg2"/>
            </a:solidFill>
            <a:ea typeface="+mj-ea"/>
            <a:cs typeface="+mj-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rIns="108000" rtlCol="0">
        <a:spAutoFit/>
      </a:bodyPr>
      <a:lstStyle>
        <a:defPPr>
          <a:defRPr sz="1400" dirty="0" smtClean="0"/>
        </a:defPPr>
      </a:lstStyle>
    </a:txDef>
  </a:objectDefaults>
  <a:extraClrSchemeLst/>
  <a:extLst>
    <a:ext uri="{05A4C25C-085E-4340-85A3-A5531E510DB2}">
      <thm15:themeFamily xmlns:thm15="http://schemas.microsoft.com/office/thememl/2012/main" name="A4-EN-Deliverable-Landscape-201910.potx" id="{2995AE92-92DA-4689-9EF6-D8157DD1C50F}" vid="{29033D84-71E0-4B2F-A9A2-D3E877E65C1A}"/>
    </a:ext>
  </a:extLst>
</a:theme>
</file>

<file path=ppt/theme/theme5.xml><?xml version="1.0" encoding="utf-8"?>
<a:theme xmlns:a="http://schemas.openxmlformats.org/drawingml/2006/main" name="1_Thème Office">
  <a:themeElements>
    <a:clrScheme name="Wavestone 2">
      <a:dk1>
        <a:srgbClr val="5F5F5F"/>
      </a:dk1>
      <a:lt1>
        <a:srgbClr val="FFFFFF"/>
      </a:lt1>
      <a:dk2>
        <a:srgbClr val="F4F3F0"/>
      </a:dk2>
      <a:lt2>
        <a:srgbClr val="503078"/>
      </a:lt2>
      <a:accent1>
        <a:srgbClr val="8C9B9C"/>
      </a:accent1>
      <a:accent2>
        <a:srgbClr val="CAC5B8"/>
      </a:accent2>
      <a:accent3>
        <a:srgbClr val="667E76"/>
      </a:accent3>
      <a:accent4>
        <a:srgbClr val="938481"/>
      </a:accent4>
      <a:accent5>
        <a:srgbClr val="048B9A"/>
      </a:accent5>
      <a:accent6>
        <a:srgbClr val="D1B4A6"/>
      </a:accent6>
      <a:hlink>
        <a:srgbClr val="048B9A"/>
      </a:hlink>
      <a:folHlink>
        <a:srgbClr val="048B9A"/>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TotalTime>
  <Words>19996</Words>
  <Application>Microsoft Office PowerPoint</Application>
  <PresentationFormat>Grand écran</PresentationFormat>
  <Paragraphs>1973</Paragraphs>
  <Slides>71</Slides>
  <Notes>27</Notes>
  <HiddenSlides>0</HiddenSlides>
  <MMClips>0</MMClips>
  <ScaleCrop>false</ScaleCrop>
  <HeadingPairs>
    <vt:vector size="6" baseType="variant">
      <vt:variant>
        <vt:lpstr>Polices utilisées</vt:lpstr>
      </vt:variant>
      <vt:variant>
        <vt:i4>7</vt:i4>
      </vt:variant>
      <vt:variant>
        <vt:lpstr>Thème</vt:lpstr>
      </vt:variant>
      <vt:variant>
        <vt:i4>5</vt:i4>
      </vt:variant>
      <vt:variant>
        <vt:lpstr>Titres des diapositives</vt:lpstr>
      </vt:variant>
      <vt:variant>
        <vt:i4>71</vt:i4>
      </vt:variant>
    </vt:vector>
  </HeadingPairs>
  <TitlesOfParts>
    <vt:vector size="83" baseType="lpstr">
      <vt:lpstr>Arial</vt:lpstr>
      <vt:lpstr>Calibri</vt:lpstr>
      <vt:lpstr>Calibri Light</vt:lpstr>
      <vt:lpstr>Courier New</vt:lpstr>
      <vt:lpstr>Tahoma</vt:lpstr>
      <vt:lpstr>Tempus Sans ITC</vt:lpstr>
      <vt:lpstr>Wingdings</vt:lpstr>
      <vt:lpstr>Wavestone</vt:lpstr>
      <vt:lpstr>3-Deliverable-EN-A4-Landscape-201609</vt:lpstr>
      <vt:lpstr>1_Livrable-FR-A4-Paysage-201609</vt:lpstr>
      <vt:lpstr>1_Deliverable-EN-A4-Landscape-201910</vt:lpstr>
      <vt:lpstr>1_Thème Office</vt:lpstr>
      <vt:lpstr>Caisse des dépôts / Banque des Territoires </vt:lpstr>
      <vt:lpstr>Présentation PowerPoint</vt:lpstr>
      <vt:lpstr>Introduction</vt:lpstr>
      <vt:lpstr>Contexte et enjeux de l’étude</vt:lpstr>
      <vt:lpstr>Méthodologie utilisée</vt:lpstr>
      <vt:lpstr>Etat des lieux des modèles existants</vt:lpstr>
      <vt:lpstr>Analyse des modèles</vt:lpstr>
      <vt:lpstr>De nouvelles solutions de répit en émergence</vt:lpstr>
      <vt:lpstr>Une offre de centres de répit en cours de développement </vt:lpstr>
      <vt:lpstr>Panorama des modèles existants</vt:lpstr>
      <vt:lpstr>Modèle 1 : les villages de vacances « autonomes » Exemples : VRF Touraine, Le Domaine Porte-Neuve, le Centre Les Bruyères</vt:lpstr>
      <vt:lpstr>Modèle 2 : les villages de vacances adossés à des ESMS Exemples : VRF les Cizes et VRF La Salamandre</vt:lpstr>
      <vt:lpstr>Modèle 3 : les partenariats entre ESMS Exemples : expérimentation sur les séjours de répit - CNSA</vt:lpstr>
      <vt:lpstr>Modèle 4 : les partenariats entre associations / ESMS et acteurs du tourisme Exemples : France Alzheimer, Expérimentation PADA (ANCV), Réseau Passerelles, INT’ACT… </vt:lpstr>
      <vt:lpstr>Forces et faiblesses des modèles identifiés </vt:lpstr>
      <vt:lpstr>Freins et opportunités identifiées </vt:lpstr>
      <vt:lpstr>Les facteurs clés de succès pour les centres de répit</vt:lpstr>
      <vt:lpstr>Cartographie et positionnement des acteurs</vt:lpstr>
      <vt:lpstr>Eléments règlementaires au sujet des aidants </vt:lpstr>
      <vt:lpstr>Présentation PowerPoint</vt:lpstr>
      <vt:lpstr>Présentation PowerPoint</vt:lpstr>
      <vt:lpstr>Présentation PowerPoint</vt:lpstr>
      <vt:lpstr>Présentation PowerPoint</vt:lpstr>
      <vt:lpstr>Facteurs clés de succès par typologie d’acteurs</vt:lpstr>
      <vt:lpstr>Dimensionnement des besoins et du marché</vt:lpstr>
      <vt:lpstr>Une définition d’aidant à construire </vt:lpstr>
      <vt:lpstr>Entre 8,3 et 11 millions d’aidants en France soit 1 français sur 6 </vt:lpstr>
      <vt:lpstr>Personnes âgées en perte de dépendance : bénéficiaires de l’APA </vt:lpstr>
      <vt:lpstr>Personnes en situation de handicap : bénéficiaires de l’AAH</vt:lpstr>
      <vt:lpstr>Les aidants expriment des besoins de répit </vt:lpstr>
      <vt:lpstr>Approche de dimensionnement du marché</vt:lpstr>
      <vt:lpstr>Synthèse et recommandations</vt:lpstr>
      <vt:lpstr>Synthèse des modèles opérationnels</vt:lpstr>
      <vt:lpstr>Synthèse des freins et recommandations relatives aux projets</vt:lpstr>
      <vt:lpstr>Les séjours de répit : un levier d’amélioration des conditions de vie des aidants mais des modèles encore incertains </vt:lpstr>
      <vt:lpstr>Conclusion</vt:lpstr>
      <vt:lpstr>Les séjours de répit : des besoins et un potentiel de marché importants</vt:lpstr>
      <vt:lpstr>Présentation PowerPoint</vt:lpstr>
      <vt:lpstr>Compléments sur l’état des lieux</vt:lpstr>
      <vt:lpstr>Forces et faiblesses des modèles identifiés </vt:lpstr>
      <vt:lpstr>Fiches initiatives </vt:lpstr>
      <vt:lpstr>Vacances Répit Familles (VRF) – Présentation générale</vt:lpstr>
      <vt:lpstr>VRF Touraine</vt:lpstr>
      <vt:lpstr>VRF Les Cizes</vt:lpstr>
      <vt:lpstr>VRF La Salamandre</vt:lpstr>
      <vt:lpstr>Le Domaine Porte-Neuve</vt:lpstr>
      <vt:lpstr>Centre de répit Les Bruyères</vt:lpstr>
      <vt:lpstr>Les bobos à la ferme</vt:lpstr>
      <vt:lpstr>L’Association de Vacances de la Mutualité Agricole</vt:lpstr>
      <vt:lpstr>Fiches initiatives </vt:lpstr>
      <vt:lpstr>Centre de Répit de Laruns</vt:lpstr>
      <vt:lpstr>VRF Mardor</vt:lpstr>
      <vt:lpstr>Fiches initiatives </vt:lpstr>
      <vt:lpstr>Maison de Répit de Lyon</vt:lpstr>
      <vt:lpstr>Maison de Répit de Boulogne-Billancourt</vt:lpstr>
      <vt:lpstr>Fiches initiatives </vt:lpstr>
      <vt:lpstr>Réseau passerelles </vt:lpstr>
      <vt:lpstr>Union Nationale France Alzheimer</vt:lpstr>
      <vt:lpstr>Association INT’ACT</vt:lpstr>
      <vt:lpstr>Fiches initiatives </vt:lpstr>
      <vt:lpstr>Initiatives de l’Agence Nationale des Chèques Vacances (ANCV)</vt:lpstr>
      <vt:lpstr>Expérimentation Relayage et Séjours de répit aidants / aidés - CNSA</vt:lpstr>
      <vt:lpstr>Compléments sur le dimensionnement du marché</vt:lpstr>
      <vt:lpstr>Eléments statistiques sur le ressenti des aidants</vt:lpstr>
      <vt:lpstr>Les aidants et le répit </vt:lpstr>
      <vt:lpstr>Des études d'impact réalisées sur les effets des séjours de vacances</vt:lpstr>
      <vt:lpstr>Personnes âgées en perte d’autonomie : projection Insee (1/2)</vt:lpstr>
      <vt:lpstr>Personnes âgées en perte d’autonomie : projection Insee (2/2)</vt:lpstr>
      <vt:lpstr>Personnes en situation de handicap : compléments (1/3)</vt:lpstr>
      <vt:lpstr>Personnes en situation de handicap : compléments (2/3)</vt:lpstr>
      <vt:lpstr>Personnes en situation de handicap : compléments (3/3)</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isse des dépôts / Banque des Territoires</dc:title>
  <dc:creator>Delroise, Hubert</dc:creator>
  <cp:lastModifiedBy>Jacques CECILLON</cp:lastModifiedBy>
  <cp:revision>1</cp:revision>
  <dcterms:created xsi:type="dcterms:W3CDTF">2022-10-03T13:24:25Z</dcterms:created>
  <dcterms:modified xsi:type="dcterms:W3CDTF">2022-10-05T16:3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387ec98-8aff-418c-9455-dc857e1ea7dc_Enabled">
    <vt:lpwstr>true</vt:lpwstr>
  </property>
  <property fmtid="{D5CDD505-2E9C-101B-9397-08002B2CF9AE}" pid="3" name="MSIP_Label_1387ec98-8aff-418c-9455-dc857e1ea7dc_SetDate">
    <vt:lpwstr>2022-10-03T13:25:55Z</vt:lpwstr>
  </property>
  <property fmtid="{D5CDD505-2E9C-101B-9397-08002B2CF9AE}" pid="4" name="MSIP_Label_1387ec98-8aff-418c-9455-dc857e1ea7dc_Method">
    <vt:lpwstr>Standard</vt:lpwstr>
  </property>
  <property fmtid="{D5CDD505-2E9C-101B-9397-08002B2CF9AE}" pid="5" name="MSIP_Label_1387ec98-8aff-418c-9455-dc857e1ea7dc_Name">
    <vt:lpwstr>1387ec98-8aff-418c-9455-dc857e1ea7dc</vt:lpwstr>
  </property>
  <property fmtid="{D5CDD505-2E9C-101B-9397-08002B2CF9AE}" pid="6" name="MSIP_Label_1387ec98-8aff-418c-9455-dc857e1ea7dc_SiteId">
    <vt:lpwstr>6eab6365-8194-49c6-a4d0-e2d1a0fbeb74</vt:lpwstr>
  </property>
  <property fmtid="{D5CDD505-2E9C-101B-9397-08002B2CF9AE}" pid="7" name="MSIP_Label_1387ec98-8aff-418c-9455-dc857e1ea7dc_ActionId">
    <vt:lpwstr>5dd2fe71-b370-402b-831f-a5ff9478d31e</vt:lpwstr>
  </property>
  <property fmtid="{D5CDD505-2E9C-101B-9397-08002B2CF9AE}" pid="8" name="MSIP_Label_1387ec98-8aff-418c-9455-dc857e1ea7dc_ContentBits">
    <vt:lpwstr>2</vt:lpwstr>
  </property>
</Properties>
</file>